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93" r:id="rId2"/>
    <p:sldMasterId id="2147483697" r:id="rId3"/>
    <p:sldMasterId id="2147483699" r:id="rId4"/>
    <p:sldMasterId id="2147483705" r:id="rId5"/>
  </p:sldMasterIdLst>
  <p:notesMasterIdLst>
    <p:notesMasterId r:id="rId22"/>
  </p:notesMasterIdLst>
  <p:sldIdLst>
    <p:sldId id="336" r:id="rId6"/>
    <p:sldId id="337" r:id="rId7"/>
    <p:sldId id="388" r:id="rId8"/>
    <p:sldId id="387" r:id="rId9"/>
    <p:sldId id="389" r:id="rId10"/>
    <p:sldId id="351" r:id="rId11"/>
    <p:sldId id="361" r:id="rId12"/>
    <p:sldId id="362" r:id="rId13"/>
    <p:sldId id="363" r:id="rId14"/>
    <p:sldId id="364" r:id="rId15"/>
    <p:sldId id="365" r:id="rId16"/>
    <p:sldId id="360" r:id="rId17"/>
    <p:sldId id="390" r:id="rId18"/>
    <p:sldId id="391" r:id="rId19"/>
    <p:sldId id="384" r:id="rId20"/>
    <p:sldId id="355" r:id="rId21"/>
  </p:sldIdLst>
  <p:sldSz cx="9144000" cy="5143500" type="screen16x9"/>
  <p:notesSz cx="6858000" cy="9144000"/>
  <p:defaultText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12">
          <p15:clr>
            <a:srgbClr val="A4A3A4"/>
          </p15:clr>
        </p15:guide>
        <p15:guide id="2" pos="3840">
          <p15:clr>
            <a:srgbClr val="A4A3A4"/>
          </p15:clr>
        </p15:guide>
        <p15:guide id="3" orient="horz" pos="1620">
          <p15:clr>
            <a:srgbClr val="A4A3A4"/>
          </p15:clr>
        </p15:guide>
        <p15:guide id="4"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D69D"/>
    <a:srgbClr val="FA990A"/>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94" autoAdjust="0"/>
    <p:restoredTop sz="94660"/>
  </p:normalViewPr>
  <p:slideViewPr>
    <p:cSldViewPr snapToGrid="0">
      <p:cViewPr varScale="1">
        <p:scale>
          <a:sx n="97" d="100"/>
          <a:sy n="97" d="100"/>
        </p:scale>
        <p:origin x="822" y="84"/>
      </p:cViewPr>
      <p:guideLst>
        <p:guide orient="horz" pos="3312"/>
        <p:guide pos="3840"/>
        <p:guide orient="horz" pos="1620"/>
        <p:guide pos="2880"/>
      </p:guideLst>
    </p:cSldViewPr>
  </p:slideViewPr>
  <p:notesTextViewPr>
    <p:cViewPr>
      <p:scale>
        <a:sx n="1" d="1"/>
        <a:sy n="1" d="1"/>
      </p:scale>
      <p:origin x="0" y="0"/>
    </p:cViewPr>
  </p:notesTextViewPr>
  <p:sorterViewPr>
    <p:cViewPr>
      <p:scale>
        <a:sx n="100" d="100"/>
        <a:sy n="100" d="100"/>
      </p:scale>
      <p:origin x="0" y="-126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6.xml"/><Relationship Id="rId50"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Revenue</c:v>
                </c:pt>
              </c:strCache>
            </c:strRef>
          </c:tx>
          <c:dPt>
            <c:idx val="0"/>
            <c:bubble3D val="0"/>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1-2D65-462A-B6B0-FC95585119EA}"/>
              </c:ext>
            </c:extLst>
          </c:dPt>
          <c:dPt>
            <c:idx val="1"/>
            <c:bubble3D val="0"/>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3-2D65-462A-B6B0-FC95585119EA}"/>
              </c:ext>
            </c:extLst>
          </c:dPt>
          <c:dPt>
            <c:idx val="2"/>
            <c:bubble3D val="0"/>
            <c:spPr>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chemeClr>
                </a:solid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5-2D65-462A-B6B0-FC95585119EA}"/>
              </c:ext>
            </c:extLst>
          </c:dPt>
          <c:dPt>
            <c:idx val="3"/>
            <c:bubble3D val="0"/>
            <c:spPr>
              <a:gradFill rotWithShape="1">
                <a:gsLst>
                  <a:gs pos="0">
                    <a:schemeClr val="accent4">
                      <a:tint val="50000"/>
                      <a:satMod val="300000"/>
                    </a:schemeClr>
                  </a:gs>
                  <a:gs pos="35000">
                    <a:schemeClr val="accent4">
                      <a:tint val="37000"/>
                      <a:satMod val="300000"/>
                    </a:schemeClr>
                  </a:gs>
                  <a:gs pos="100000">
                    <a:schemeClr val="accent4">
                      <a:tint val="15000"/>
                      <a:satMod val="350000"/>
                    </a:schemeClr>
                  </a:gs>
                </a:gsLst>
                <a:lin ang="16200000" scaled="1"/>
              </a:gradFill>
              <a:ln w="9525" cap="flat" cmpd="sng" algn="ctr">
                <a:solidFill>
                  <a:schemeClr val="accent4">
                    <a:shade val="95000"/>
                  </a:schemeClr>
                </a:solid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7-2D65-462A-B6B0-FC95585119EA}"/>
              </c:ext>
            </c:extLst>
          </c:dPt>
          <c:dPt>
            <c:idx val="4"/>
            <c:bubble3D val="0"/>
            <c:spPr>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chemeClr>
                </a:solid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9-2D65-462A-B6B0-FC95585119E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65000"/>
                        <a:lumOff val="35000"/>
                      </a:schemeClr>
                    </a:solidFill>
                    <a:latin typeface="+mn-lt"/>
                    <a:ea typeface="+mn-ea"/>
                    <a:cs typeface="+mn-cs"/>
                  </a:defRPr>
                </a:pPr>
                <a:endParaRPr lang="da-DK"/>
              </a:p>
            </c:txPr>
            <c:dLblPos val="bestFit"/>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15:layout/>
              </c:ext>
            </c:extLst>
          </c:dLbls>
          <c:cat>
            <c:strRef>
              <c:f>Sheet1!$A$2:$A$6</c:f>
              <c:strCache>
                <c:ptCount val="5"/>
                <c:pt idx="0">
                  <c:v>Americas</c:v>
                </c:pt>
                <c:pt idx="1">
                  <c:v>Europe</c:v>
                </c:pt>
                <c:pt idx="2">
                  <c:v>APAC</c:v>
                </c:pt>
                <c:pt idx="3">
                  <c:v>India</c:v>
                </c:pt>
                <c:pt idx="4">
                  <c:v>MEA</c:v>
                </c:pt>
              </c:strCache>
            </c:strRef>
          </c:cat>
          <c:val>
            <c:numRef>
              <c:f>Sheet1!$B$2:$B$6</c:f>
              <c:numCache>
                <c:formatCode>0%</c:formatCode>
                <c:ptCount val="5"/>
                <c:pt idx="0">
                  <c:v>0.54</c:v>
                </c:pt>
                <c:pt idx="1">
                  <c:v>0.28000000000000003</c:v>
                </c:pt>
                <c:pt idx="2">
                  <c:v>0.1</c:v>
                </c:pt>
                <c:pt idx="3">
                  <c:v>0.06</c:v>
                </c:pt>
                <c:pt idx="4">
                  <c:v>0.02</c:v>
                </c:pt>
              </c:numCache>
            </c:numRef>
          </c:val>
          <c:extLst>
            <c:ext xmlns:c16="http://schemas.microsoft.com/office/drawing/2014/chart" uri="{C3380CC4-5D6E-409C-BE32-E72D297353CC}">
              <c16:uniqueId val="{0000000A-2D65-462A-B6B0-FC95585119EA}"/>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6.9232650137738203E-2"/>
          <c:y val="0.89144932027453272"/>
          <c:w val="0.876388839758663"/>
          <c:h val="7.8041708406302632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50000"/>
                  <a:lumOff val="50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0D7749-8AB3-4AA6-BE64-9F77844403A2}" type="doc">
      <dgm:prSet loTypeId="urn:microsoft.com/office/officeart/2005/8/layout/list1" loCatId="list" qsTypeId="urn:microsoft.com/office/officeart/2005/8/quickstyle/simple3" qsCatId="simple" csTypeId="urn:microsoft.com/office/officeart/2005/8/colors/accent1_1" csCatId="accent1" phldr="1"/>
      <dgm:spPr/>
      <dgm:t>
        <a:bodyPr/>
        <a:lstStyle/>
        <a:p>
          <a:endParaRPr lang="en-US"/>
        </a:p>
      </dgm:t>
    </dgm:pt>
    <dgm:pt modelId="{8AD15FFF-0CAD-43E5-BEB1-A957226B9718}">
      <dgm:prSet phldrT="[Text]"/>
      <dgm:spPr/>
      <dgm:t>
        <a:bodyPr/>
        <a:lstStyle/>
        <a:p>
          <a:r>
            <a:rPr lang="en-US" dirty="0" smtClean="0"/>
            <a:t>Ambitious customers</a:t>
          </a:r>
          <a:endParaRPr lang="en-US" dirty="0"/>
        </a:p>
      </dgm:t>
    </dgm:pt>
    <dgm:pt modelId="{FD083E79-89B8-4B7C-AFEC-12B7009917C0}" type="parTrans" cxnId="{9D008589-B6FF-4957-9125-5531D01AD209}">
      <dgm:prSet/>
      <dgm:spPr/>
      <dgm:t>
        <a:bodyPr/>
        <a:lstStyle/>
        <a:p>
          <a:endParaRPr lang="en-US"/>
        </a:p>
      </dgm:t>
    </dgm:pt>
    <dgm:pt modelId="{B591CA14-FD02-4DEB-9E07-19D4A7B1A525}" type="sibTrans" cxnId="{9D008589-B6FF-4957-9125-5531D01AD209}">
      <dgm:prSet/>
      <dgm:spPr/>
      <dgm:t>
        <a:bodyPr/>
        <a:lstStyle/>
        <a:p>
          <a:endParaRPr lang="en-US"/>
        </a:p>
      </dgm:t>
    </dgm:pt>
    <dgm:pt modelId="{59585C3D-F386-41B7-9267-2A6B70E90B36}">
      <dgm:prSet phldrT="[Text]"/>
      <dgm:spPr/>
      <dgm:t>
        <a:bodyPr/>
        <a:lstStyle/>
        <a:p>
          <a:r>
            <a:rPr lang="en-US" dirty="0" smtClean="0"/>
            <a:t>Open-ness</a:t>
          </a:r>
          <a:endParaRPr lang="en-US" dirty="0"/>
        </a:p>
      </dgm:t>
    </dgm:pt>
    <dgm:pt modelId="{4C15EC56-228E-4AAE-BB36-9A6263801213}" type="parTrans" cxnId="{57F8B0B3-6D56-4253-AAA7-84F33BC6F008}">
      <dgm:prSet/>
      <dgm:spPr/>
      <dgm:t>
        <a:bodyPr/>
        <a:lstStyle/>
        <a:p>
          <a:endParaRPr lang="en-US"/>
        </a:p>
      </dgm:t>
    </dgm:pt>
    <dgm:pt modelId="{54979055-ACB7-4AF5-BDFA-CF43482C32B5}" type="sibTrans" cxnId="{57F8B0B3-6D56-4253-AAA7-84F33BC6F008}">
      <dgm:prSet/>
      <dgm:spPr/>
      <dgm:t>
        <a:bodyPr/>
        <a:lstStyle/>
        <a:p>
          <a:endParaRPr lang="en-US"/>
        </a:p>
      </dgm:t>
    </dgm:pt>
    <dgm:pt modelId="{0CC63E9F-716A-4B2F-9416-2E0394707A9A}">
      <dgm:prSet phldrT="[Text]"/>
      <dgm:spPr/>
      <dgm:t>
        <a:bodyPr/>
        <a:lstStyle/>
        <a:p>
          <a:r>
            <a:rPr lang="en-US" dirty="0" smtClean="0"/>
            <a:t>Culture of innovation</a:t>
          </a:r>
          <a:endParaRPr lang="en-US" dirty="0"/>
        </a:p>
      </dgm:t>
    </dgm:pt>
    <dgm:pt modelId="{F3E040B2-6CCD-4863-8BD4-46BC07F946DE}" type="parTrans" cxnId="{CCA3CFC5-538C-4895-A235-4EABD85E5CE6}">
      <dgm:prSet/>
      <dgm:spPr/>
      <dgm:t>
        <a:bodyPr/>
        <a:lstStyle/>
        <a:p>
          <a:endParaRPr lang="en-US"/>
        </a:p>
      </dgm:t>
    </dgm:pt>
    <dgm:pt modelId="{C5FE7CF4-314B-4D7F-B8FA-14C1015972B9}" type="sibTrans" cxnId="{CCA3CFC5-538C-4895-A235-4EABD85E5CE6}">
      <dgm:prSet/>
      <dgm:spPr/>
      <dgm:t>
        <a:bodyPr/>
        <a:lstStyle/>
        <a:p>
          <a:endParaRPr lang="en-US"/>
        </a:p>
      </dgm:t>
    </dgm:pt>
    <dgm:pt modelId="{7B808755-C8A2-4A52-8048-EECC6654357E}" type="pres">
      <dgm:prSet presAssocID="{010D7749-8AB3-4AA6-BE64-9F77844403A2}" presName="linear" presStyleCnt="0">
        <dgm:presLayoutVars>
          <dgm:dir/>
          <dgm:animLvl val="lvl"/>
          <dgm:resizeHandles val="exact"/>
        </dgm:presLayoutVars>
      </dgm:prSet>
      <dgm:spPr/>
      <dgm:t>
        <a:bodyPr/>
        <a:lstStyle/>
        <a:p>
          <a:endParaRPr lang="en-US"/>
        </a:p>
      </dgm:t>
    </dgm:pt>
    <dgm:pt modelId="{2050F0A2-B222-4D0A-84D6-26FA5D41E22F}" type="pres">
      <dgm:prSet presAssocID="{8AD15FFF-0CAD-43E5-BEB1-A957226B9718}" presName="parentLin" presStyleCnt="0"/>
      <dgm:spPr/>
      <dgm:t>
        <a:bodyPr/>
        <a:lstStyle/>
        <a:p>
          <a:endParaRPr lang="en-US"/>
        </a:p>
      </dgm:t>
    </dgm:pt>
    <dgm:pt modelId="{7BADC218-8177-4186-B455-9F2781B6FDD7}" type="pres">
      <dgm:prSet presAssocID="{8AD15FFF-0CAD-43E5-BEB1-A957226B9718}" presName="parentLeftMargin" presStyleLbl="node1" presStyleIdx="0" presStyleCnt="3"/>
      <dgm:spPr/>
      <dgm:t>
        <a:bodyPr/>
        <a:lstStyle/>
        <a:p>
          <a:endParaRPr lang="en-US"/>
        </a:p>
      </dgm:t>
    </dgm:pt>
    <dgm:pt modelId="{45533090-869D-406A-BADF-E2887A3783DA}" type="pres">
      <dgm:prSet presAssocID="{8AD15FFF-0CAD-43E5-BEB1-A957226B9718}" presName="parentText" presStyleLbl="node1" presStyleIdx="0" presStyleCnt="3">
        <dgm:presLayoutVars>
          <dgm:chMax val="0"/>
          <dgm:bulletEnabled val="1"/>
        </dgm:presLayoutVars>
      </dgm:prSet>
      <dgm:spPr/>
      <dgm:t>
        <a:bodyPr/>
        <a:lstStyle/>
        <a:p>
          <a:endParaRPr lang="en-US"/>
        </a:p>
      </dgm:t>
    </dgm:pt>
    <dgm:pt modelId="{1AF7FA16-4017-4026-9516-565A8E621E69}" type="pres">
      <dgm:prSet presAssocID="{8AD15FFF-0CAD-43E5-BEB1-A957226B9718}" presName="negativeSpace" presStyleCnt="0"/>
      <dgm:spPr/>
      <dgm:t>
        <a:bodyPr/>
        <a:lstStyle/>
        <a:p>
          <a:endParaRPr lang="en-US"/>
        </a:p>
      </dgm:t>
    </dgm:pt>
    <dgm:pt modelId="{948B3A19-0D7B-4D80-92C6-338EEFBEBEAC}" type="pres">
      <dgm:prSet presAssocID="{8AD15FFF-0CAD-43E5-BEB1-A957226B9718}" presName="childText" presStyleLbl="conFgAcc1" presStyleIdx="0" presStyleCnt="3">
        <dgm:presLayoutVars>
          <dgm:bulletEnabled val="1"/>
        </dgm:presLayoutVars>
      </dgm:prSet>
      <dgm:spPr/>
      <dgm:t>
        <a:bodyPr/>
        <a:lstStyle/>
        <a:p>
          <a:endParaRPr lang="en-US"/>
        </a:p>
      </dgm:t>
    </dgm:pt>
    <dgm:pt modelId="{48CBA731-74B2-4F9B-9CA0-16CBFA4F5932}" type="pres">
      <dgm:prSet presAssocID="{B591CA14-FD02-4DEB-9E07-19D4A7B1A525}" presName="spaceBetweenRectangles" presStyleCnt="0"/>
      <dgm:spPr/>
      <dgm:t>
        <a:bodyPr/>
        <a:lstStyle/>
        <a:p>
          <a:endParaRPr lang="en-US"/>
        </a:p>
      </dgm:t>
    </dgm:pt>
    <dgm:pt modelId="{22D78D68-1295-4A37-B8E6-8A6661312D9B}" type="pres">
      <dgm:prSet presAssocID="{59585C3D-F386-41B7-9267-2A6B70E90B36}" presName="parentLin" presStyleCnt="0"/>
      <dgm:spPr/>
      <dgm:t>
        <a:bodyPr/>
        <a:lstStyle/>
        <a:p>
          <a:endParaRPr lang="en-US"/>
        </a:p>
      </dgm:t>
    </dgm:pt>
    <dgm:pt modelId="{70BCE722-6E69-48FC-AF21-902E8C2CBC2A}" type="pres">
      <dgm:prSet presAssocID="{59585C3D-F386-41B7-9267-2A6B70E90B36}" presName="parentLeftMargin" presStyleLbl="node1" presStyleIdx="0" presStyleCnt="3"/>
      <dgm:spPr/>
      <dgm:t>
        <a:bodyPr/>
        <a:lstStyle/>
        <a:p>
          <a:endParaRPr lang="en-US"/>
        </a:p>
      </dgm:t>
    </dgm:pt>
    <dgm:pt modelId="{0EA61AF3-FDAB-48E2-AD9A-17FC5400A889}" type="pres">
      <dgm:prSet presAssocID="{59585C3D-F386-41B7-9267-2A6B70E90B36}" presName="parentText" presStyleLbl="node1" presStyleIdx="1" presStyleCnt="3">
        <dgm:presLayoutVars>
          <dgm:chMax val="0"/>
          <dgm:bulletEnabled val="1"/>
        </dgm:presLayoutVars>
      </dgm:prSet>
      <dgm:spPr/>
      <dgm:t>
        <a:bodyPr/>
        <a:lstStyle/>
        <a:p>
          <a:endParaRPr lang="en-US"/>
        </a:p>
      </dgm:t>
    </dgm:pt>
    <dgm:pt modelId="{36047F43-34ED-42BE-A2FB-FCF5009C345C}" type="pres">
      <dgm:prSet presAssocID="{59585C3D-F386-41B7-9267-2A6B70E90B36}" presName="negativeSpace" presStyleCnt="0"/>
      <dgm:spPr/>
      <dgm:t>
        <a:bodyPr/>
        <a:lstStyle/>
        <a:p>
          <a:endParaRPr lang="en-US"/>
        </a:p>
      </dgm:t>
    </dgm:pt>
    <dgm:pt modelId="{8FDA782F-6FD6-46DB-AAEB-7428726A0B74}" type="pres">
      <dgm:prSet presAssocID="{59585C3D-F386-41B7-9267-2A6B70E90B36}" presName="childText" presStyleLbl="conFgAcc1" presStyleIdx="1" presStyleCnt="3">
        <dgm:presLayoutVars>
          <dgm:bulletEnabled val="1"/>
        </dgm:presLayoutVars>
      </dgm:prSet>
      <dgm:spPr/>
      <dgm:t>
        <a:bodyPr/>
        <a:lstStyle/>
        <a:p>
          <a:endParaRPr lang="en-US"/>
        </a:p>
      </dgm:t>
    </dgm:pt>
    <dgm:pt modelId="{0149CFA6-330A-4A4A-8BB5-E8C1B188E4CE}" type="pres">
      <dgm:prSet presAssocID="{54979055-ACB7-4AF5-BDFA-CF43482C32B5}" presName="spaceBetweenRectangles" presStyleCnt="0"/>
      <dgm:spPr/>
      <dgm:t>
        <a:bodyPr/>
        <a:lstStyle/>
        <a:p>
          <a:endParaRPr lang="en-US"/>
        </a:p>
      </dgm:t>
    </dgm:pt>
    <dgm:pt modelId="{5B516BEC-B87A-4874-BF82-ADF443494B24}" type="pres">
      <dgm:prSet presAssocID="{0CC63E9F-716A-4B2F-9416-2E0394707A9A}" presName="parentLin" presStyleCnt="0"/>
      <dgm:spPr/>
      <dgm:t>
        <a:bodyPr/>
        <a:lstStyle/>
        <a:p>
          <a:endParaRPr lang="en-US"/>
        </a:p>
      </dgm:t>
    </dgm:pt>
    <dgm:pt modelId="{73A62F65-4115-46A5-ACA5-0E396546BB95}" type="pres">
      <dgm:prSet presAssocID="{0CC63E9F-716A-4B2F-9416-2E0394707A9A}" presName="parentLeftMargin" presStyleLbl="node1" presStyleIdx="1" presStyleCnt="3"/>
      <dgm:spPr/>
      <dgm:t>
        <a:bodyPr/>
        <a:lstStyle/>
        <a:p>
          <a:endParaRPr lang="en-US"/>
        </a:p>
      </dgm:t>
    </dgm:pt>
    <dgm:pt modelId="{21909339-1BBE-46C1-AE8C-428C0C7F9D01}" type="pres">
      <dgm:prSet presAssocID="{0CC63E9F-716A-4B2F-9416-2E0394707A9A}" presName="parentText" presStyleLbl="node1" presStyleIdx="2" presStyleCnt="3">
        <dgm:presLayoutVars>
          <dgm:chMax val="0"/>
          <dgm:bulletEnabled val="1"/>
        </dgm:presLayoutVars>
      </dgm:prSet>
      <dgm:spPr/>
      <dgm:t>
        <a:bodyPr/>
        <a:lstStyle/>
        <a:p>
          <a:endParaRPr lang="en-US"/>
        </a:p>
      </dgm:t>
    </dgm:pt>
    <dgm:pt modelId="{12FF4D26-8F9C-4AAE-B366-B7BB48729828}" type="pres">
      <dgm:prSet presAssocID="{0CC63E9F-716A-4B2F-9416-2E0394707A9A}" presName="negativeSpace" presStyleCnt="0"/>
      <dgm:spPr/>
      <dgm:t>
        <a:bodyPr/>
        <a:lstStyle/>
        <a:p>
          <a:endParaRPr lang="en-US"/>
        </a:p>
      </dgm:t>
    </dgm:pt>
    <dgm:pt modelId="{3E3B8BA8-B148-471F-8112-28AA6ED926FA}" type="pres">
      <dgm:prSet presAssocID="{0CC63E9F-716A-4B2F-9416-2E0394707A9A}" presName="childText" presStyleLbl="conFgAcc1" presStyleIdx="2" presStyleCnt="3">
        <dgm:presLayoutVars>
          <dgm:bulletEnabled val="1"/>
        </dgm:presLayoutVars>
      </dgm:prSet>
      <dgm:spPr/>
      <dgm:t>
        <a:bodyPr/>
        <a:lstStyle/>
        <a:p>
          <a:endParaRPr lang="en-US"/>
        </a:p>
      </dgm:t>
    </dgm:pt>
  </dgm:ptLst>
  <dgm:cxnLst>
    <dgm:cxn modelId="{4560432C-663E-4CC0-B915-88033B3CCF52}" type="presOf" srcId="{59585C3D-F386-41B7-9267-2A6B70E90B36}" destId="{0EA61AF3-FDAB-48E2-AD9A-17FC5400A889}" srcOrd="1" destOrd="0" presId="urn:microsoft.com/office/officeart/2005/8/layout/list1"/>
    <dgm:cxn modelId="{510CFF25-ECA7-41FB-AB99-5332540D515C}" type="presOf" srcId="{0CC63E9F-716A-4B2F-9416-2E0394707A9A}" destId="{21909339-1BBE-46C1-AE8C-428C0C7F9D01}" srcOrd="1" destOrd="0" presId="urn:microsoft.com/office/officeart/2005/8/layout/list1"/>
    <dgm:cxn modelId="{CCA3CFC5-538C-4895-A235-4EABD85E5CE6}" srcId="{010D7749-8AB3-4AA6-BE64-9F77844403A2}" destId="{0CC63E9F-716A-4B2F-9416-2E0394707A9A}" srcOrd="2" destOrd="0" parTransId="{F3E040B2-6CCD-4863-8BD4-46BC07F946DE}" sibTransId="{C5FE7CF4-314B-4D7F-B8FA-14C1015972B9}"/>
    <dgm:cxn modelId="{C244BED3-0003-485C-A7DF-8A96AF98BA0C}" type="presOf" srcId="{0CC63E9F-716A-4B2F-9416-2E0394707A9A}" destId="{73A62F65-4115-46A5-ACA5-0E396546BB95}" srcOrd="0" destOrd="0" presId="urn:microsoft.com/office/officeart/2005/8/layout/list1"/>
    <dgm:cxn modelId="{3CC2FEE5-B1DF-477A-ACD5-752ABDCBFAE0}" type="presOf" srcId="{8AD15FFF-0CAD-43E5-BEB1-A957226B9718}" destId="{45533090-869D-406A-BADF-E2887A3783DA}" srcOrd="1" destOrd="0" presId="urn:microsoft.com/office/officeart/2005/8/layout/list1"/>
    <dgm:cxn modelId="{5C463213-7F43-40D2-BF03-AE2E769171ED}" type="presOf" srcId="{59585C3D-F386-41B7-9267-2A6B70E90B36}" destId="{70BCE722-6E69-48FC-AF21-902E8C2CBC2A}" srcOrd="0" destOrd="0" presId="urn:microsoft.com/office/officeart/2005/8/layout/list1"/>
    <dgm:cxn modelId="{F9684262-B5E1-4304-A54E-FC597D8364F6}" type="presOf" srcId="{010D7749-8AB3-4AA6-BE64-9F77844403A2}" destId="{7B808755-C8A2-4A52-8048-EECC6654357E}" srcOrd="0" destOrd="0" presId="urn:microsoft.com/office/officeart/2005/8/layout/list1"/>
    <dgm:cxn modelId="{9D008589-B6FF-4957-9125-5531D01AD209}" srcId="{010D7749-8AB3-4AA6-BE64-9F77844403A2}" destId="{8AD15FFF-0CAD-43E5-BEB1-A957226B9718}" srcOrd="0" destOrd="0" parTransId="{FD083E79-89B8-4B7C-AFEC-12B7009917C0}" sibTransId="{B591CA14-FD02-4DEB-9E07-19D4A7B1A525}"/>
    <dgm:cxn modelId="{A092EA7B-3A06-45F2-AE2F-679D509E29F2}" type="presOf" srcId="{8AD15FFF-0CAD-43E5-BEB1-A957226B9718}" destId="{7BADC218-8177-4186-B455-9F2781B6FDD7}" srcOrd="0" destOrd="0" presId="urn:microsoft.com/office/officeart/2005/8/layout/list1"/>
    <dgm:cxn modelId="{57F8B0B3-6D56-4253-AAA7-84F33BC6F008}" srcId="{010D7749-8AB3-4AA6-BE64-9F77844403A2}" destId="{59585C3D-F386-41B7-9267-2A6B70E90B36}" srcOrd="1" destOrd="0" parTransId="{4C15EC56-228E-4AAE-BB36-9A6263801213}" sibTransId="{54979055-ACB7-4AF5-BDFA-CF43482C32B5}"/>
    <dgm:cxn modelId="{2763BB8B-80F2-49E0-B080-1B543734CCFA}" type="presParOf" srcId="{7B808755-C8A2-4A52-8048-EECC6654357E}" destId="{2050F0A2-B222-4D0A-84D6-26FA5D41E22F}" srcOrd="0" destOrd="0" presId="urn:microsoft.com/office/officeart/2005/8/layout/list1"/>
    <dgm:cxn modelId="{94BA7776-8435-4C94-AF0D-73A213989CD5}" type="presParOf" srcId="{2050F0A2-B222-4D0A-84D6-26FA5D41E22F}" destId="{7BADC218-8177-4186-B455-9F2781B6FDD7}" srcOrd="0" destOrd="0" presId="urn:microsoft.com/office/officeart/2005/8/layout/list1"/>
    <dgm:cxn modelId="{59A016F2-1A65-437C-95BD-760A28F5492A}" type="presParOf" srcId="{2050F0A2-B222-4D0A-84D6-26FA5D41E22F}" destId="{45533090-869D-406A-BADF-E2887A3783DA}" srcOrd="1" destOrd="0" presId="urn:microsoft.com/office/officeart/2005/8/layout/list1"/>
    <dgm:cxn modelId="{A566D4CA-9F94-4951-9367-AF9DEC1DC339}" type="presParOf" srcId="{7B808755-C8A2-4A52-8048-EECC6654357E}" destId="{1AF7FA16-4017-4026-9516-565A8E621E69}" srcOrd="1" destOrd="0" presId="urn:microsoft.com/office/officeart/2005/8/layout/list1"/>
    <dgm:cxn modelId="{841F4430-19BC-4E9C-B9BB-FEF52B7F1BCD}" type="presParOf" srcId="{7B808755-C8A2-4A52-8048-EECC6654357E}" destId="{948B3A19-0D7B-4D80-92C6-338EEFBEBEAC}" srcOrd="2" destOrd="0" presId="urn:microsoft.com/office/officeart/2005/8/layout/list1"/>
    <dgm:cxn modelId="{18F67C8A-606C-4C2B-8991-E1C9C140D15E}" type="presParOf" srcId="{7B808755-C8A2-4A52-8048-EECC6654357E}" destId="{48CBA731-74B2-4F9B-9CA0-16CBFA4F5932}" srcOrd="3" destOrd="0" presId="urn:microsoft.com/office/officeart/2005/8/layout/list1"/>
    <dgm:cxn modelId="{1090DF2A-61F9-4B9A-BADF-8089D38FB52F}" type="presParOf" srcId="{7B808755-C8A2-4A52-8048-EECC6654357E}" destId="{22D78D68-1295-4A37-B8E6-8A6661312D9B}" srcOrd="4" destOrd="0" presId="urn:microsoft.com/office/officeart/2005/8/layout/list1"/>
    <dgm:cxn modelId="{A0743EBC-9B92-4D4A-935B-F48464EB9CC0}" type="presParOf" srcId="{22D78D68-1295-4A37-B8E6-8A6661312D9B}" destId="{70BCE722-6E69-48FC-AF21-902E8C2CBC2A}" srcOrd="0" destOrd="0" presId="urn:microsoft.com/office/officeart/2005/8/layout/list1"/>
    <dgm:cxn modelId="{F33043F0-EF18-4869-B515-43AB97FDE9AF}" type="presParOf" srcId="{22D78D68-1295-4A37-B8E6-8A6661312D9B}" destId="{0EA61AF3-FDAB-48E2-AD9A-17FC5400A889}" srcOrd="1" destOrd="0" presId="urn:microsoft.com/office/officeart/2005/8/layout/list1"/>
    <dgm:cxn modelId="{74D318B6-0DC2-4859-B1E9-B570BB670A7A}" type="presParOf" srcId="{7B808755-C8A2-4A52-8048-EECC6654357E}" destId="{36047F43-34ED-42BE-A2FB-FCF5009C345C}" srcOrd="5" destOrd="0" presId="urn:microsoft.com/office/officeart/2005/8/layout/list1"/>
    <dgm:cxn modelId="{943AC999-7BB6-4D27-9611-829D102D6E59}" type="presParOf" srcId="{7B808755-C8A2-4A52-8048-EECC6654357E}" destId="{8FDA782F-6FD6-46DB-AAEB-7428726A0B74}" srcOrd="6" destOrd="0" presId="urn:microsoft.com/office/officeart/2005/8/layout/list1"/>
    <dgm:cxn modelId="{5E760048-F063-4863-9347-8D4E637D5A9F}" type="presParOf" srcId="{7B808755-C8A2-4A52-8048-EECC6654357E}" destId="{0149CFA6-330A-4A4A-8BB5-E8C1B188E4CE}" srcOrd="7" destOrd="0" presId="urn:microsoft.com/office/officeart/2005/8/layout/list1"/>
    <dgm:cxn modelId="{44DD5474-737E-44BF-8685-0591256BE013}" type="presParOf" srcId="{7B808755-C8A2-4A52-8048-EECC6654357E}" destId="{5B516BEC-B87A-4874-BF82-ADF443494B24}" srcOrd="8" destOrd="0" presId="urn:microsoft.com/office/officeart/2005/8/layout/list1"/>
    <dgm:cxn modelId="{C8F5E760-15C2-4BC4-96D6-C4ADDF30BB0C}" type="presParOf" srcId="{5B516BEC-B87A-4874-BF82-ADF443494B24}" destId="{73A62F65-4115-46A5-ACA5-0E396546BB95}" srcOrd="0" destOrd="0" presId="urn:microsoft.com/office/officeart/2005/8/layout/list1"/>
    <dgm:cxn modelId="{66264B3B-F7A1-4205-92DC-3232E9B4481F}" type="presParOf" srcId="{5B516BEC-B87A-4874-BF82-ADF443494B24}" destId="{21909339-1BBE-46C1-AE8C-428C0C7F9D01}" srcOrd="1" destOrd="0" presId="urn:microsoft.com/office/officeart/2005/8/layout/list1"/>
    <dgm:cxn modelId="{6B8DBCF4-9983-4E5A-BB16-AA8A89865F1D}" type="presParOf" srcId="{7B808755-C8A2-4A52-8048-EECC6654357E}" destId="{12FF4D26-8F9C-4AAE-B366-B7BB48729828}" srcOrd="9" destOrd="0" presId="urn:microsoft.com/office/officeart/2005/8/layout/list1"/>
    <dgm:cxn modelId="{172A44A6-2081-4360-BB14-8DC31D818DEB}" type="presParOf" srcId="{7B808755-C8A2-4A52-8048-EECC6654357E}" destId="{3E3B8BA8-B148-471F-8112-28AA6ED926FA}"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8B3A19-0D7B-4D80-92C6-338EEFBEBEAC}">
      <dsp:nvSpPr>
        <dsp:cNvPr id="0" name=""/>
        <dsp:cNvSpPr/>
      </dsp:nvSpPr>
      <dsp:spPr>
        <a:xfrm>
          <a:off x="0" y="280674"/>
          <a:ext cx="6898469" cy="453600"/>
        </a:xfrm>
        <a:prstGeom prst="rect">
          <a:avLst/>
        </a:prstGeom>
        <a:solidFill>
          <a:schemeClr val="accent1">
            <a:alpha val="9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5533090-869D-406A-BADF-E2887A3783DA}">
      <dsp:nvSpPr>
        <dsp:cNvPr id="0" name=""/>
        <dsp:cNvSpPr/>
      </dsp:nvSpPr>
      <dsp:spPr>
        <a:xfrm>
          <a:off x="344923" y="14994"/>
          <a:ext cx="4828928" cy="53136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82522" tIns="0" rIns="182522" bIns="0" numCol="1" spcCol="1270" anchor="ctr" anchorCtr="0">
          <a:noAutofit/>
        </a:bodyPr>
        <a:lstStyle/>
        <a:p>
          <a:pPr lvl="0" algn="l" defTabSz="800100">
            <a:lnSpc>
              <a:spcPct val="90000"/>
            </a:lnSpc>
            <a:spcBef>
              <a:spcPct val="0"/>
            </a:spcBef>
            <a:spcAft>
              <a:spcPct val="35000"/>
            </a:spcAft>
          </a:pPr>
          <a:r>
            <a:rPr lang="en-US" sz="1800" kern="1200" dirty="0" smtClean="0"/>
            <a:t>Ambitious customers</a:t>
          </a:r>
          <a:endParaRPr lang="en-US" sz="1800" kern="1200" dirty="0"/>
        </a:p>
      </dsp:txBody>
      <dsp:txXfrm>
        <a:off x="370862" y="40933"/>
        <a:ext cx="4777050" cy="479482"/>
      </dsp:txXfrm>
    </dsp:sp>
    <dsp:sp modelId="{8FDA782F-6FD6-46DB-AAEB-7428726A0B74}">
      <dsp:nvSpPr>
        <dsp:cNvPr id="0" name=""/>
        <dsp:cNvSpPr/>
      </dsp:nvSpPr>
      <dsp:spPr>
        <a:xfrm>
          <a:off x="0" y="1097154"/>
          <a:ext cx="6898469" cy="453600"/>
        </a:xfrm>
        <a:prstGeom prst="rect">
          <a:avLst/>
        </a:prstGeom>
        <a:solidFill>
          <a:schemeClr val="accent1">
            <a:alpha val="9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EA61AF3-FDAB-48E2-AD9A-17FC5400A889}">
      <dsp:nvSpPr>
        <dsp:cNvPr id="0" name=""/>
        <dsp:cNvSpPr/>
      </dsp:nvSpPr>
      <dsp:spPr>
        <a:xfrm>
          <a:off x="344923" y="831474"/>
          <a:ext cx="4828928" cy="53136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82522" tIns="0" rIns="182522" bIns="0" numCol="1" spcCol="1270" anchor="ctr" anchorCtr="0">
          <a:noAutofit/>
        </a:bodyPr>
        <a:lstStyle/>
        <a:p>
          <a:pPr lvl="0" algn="l" defTabSz="800100">
            <a:lnSpc>
              <a:spcPct val="90000"/>
            </a:lnSpc>
            <a:spcBef>
              <a:spcPct val="0"/>
            </a:spcBef>
            <a:spcAft>
              <a:spcPct val="35000"/>
            </a:spcAft>
          </a:pPr>
          <a:r>
            <a:rPr lang="en-US" sz="1800" kern="1200" dirty="0" smtClean="0"/>
            <a:t>Open-ness</a:t>
          </a:r>
          <a:endParaRPr lang="en-US" sz="1800" kern="1200" dirty="0"/>
        </a:p>
      </dsp:txBody>
      <dsp:txXfrm>
        <a:off x="370862" y="857413"/>
        <a:ext cx="4777050" cy="479482"/>
      </dsp:txXfrm>
    </dsp:sp>
    <dsp:sp modelId="{3E3B8BA8-B148-471F-8112-28AA6ED926FA}">
      <dsp:nvSpPr>
        <dsp:cNvPr id="0" name=""/>
        <dsp:cNvSpPr/>
      </dsp:nvSpPr>
      <dsp:spPr>
        <a:xfrm>
          <a:off x="0" y="1913634"/>
          <a:ext cx="6898469" cy="453600"/>
        </a:xfrm>
        <a:prstGeom prst="rect">
          <a:avLst/>
        </a:prstGeom>
        <a:solidFill>
          <a:schemeClr val="accent1">
            <a:alpha val="90000"/>
            <a:tint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1909339-1BBE-46C1-AE8C-428C0C7F9D01}">
      <dsp:nvSpPr>
        <dsp:cNvPr id="0" name=""/>
        <dsp:cNvSpPr/>
      </dsp:nvSpPr>
      <dsp:spPr>
        <a:xfrm>
          <a:off x="344923" y="1647954"/>
          <a:ext cx="4828928" cy="531360"/>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82522" tIns="0" rIns="182522" bIns="0" numCol="1" spcCol="1270" anchor="ctr" anchorCtr="0">
          <a:noAutofit/>
        </a:bodyPr>
        <a:lstStyle/>
        <a:p>
          <a:pPr lvl="0" algn="l" defTabSz="800100">
            <a:lnSpc>
              <a:spcPct val="90000"/>
            </a:lnSpc>
            <a:spcBef>
              <a:spcPct val="0"/>
            </a:spcBef>
            <a:spcAft>
              <a:spcPct val="35000"/>
            </a:spcAft>
          </a:pPr>
          <a:r>
            <a:rPr lang="en-US" sz="1800" kern="1200" dirty="0" smtClean="0"/>
            <a:t>Culture of innovation</a:t>
          </a:r>
          <a:endParaRPr lang="en-US" sz="1800" kern="1200" dirty="0"/>
        </a:p>
      </dsp:txBody>
      <dsp:txXfrm>
        <a:off x="370862" y="1673893"/>
        <a:ext cx="4777050" cy="47948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36ACDD-C55B-4FC4-89E7-E9F98F22F217}" type="datetimeFigureOut">
              <a:rPr lang="en-US" smtClean="0"/>
              <a:t>10/1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D4190E-9D7B-4847-98AB-991B2B42748F}" type="slidenum">
              <a:rPr lang="en-US" smtClean="0"/>
              <a:t>‹#›</a:t>
            </a:fld>
            <a:endParaRPr lang="en-US"/>
          </a:p>
        </p:txBody>
      </p:sp>
    </p:spTree>
    <p:extLst>
      <p:ext uri="{BB962C8B-B14F-4D97-AF65-F5344CB8AC3E}">
        <p14:creationId xmlns:p14="http://schemas.microsoft.com/office/powerpoint/2010/main" val="3289008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60D0153-1735-47E7-B784-4B944269EC0B}" type="slidenum">
              <a:rPr lang="en-US" smtClean="0"/>
              <a:t>4</a:t>
            </a:fld>
            <a:endParaRPr lang="en-US" dirty="0"/>
          </a:p>
        </p:txBody>
      </p:sp>
    </p:spTree>
    <p:extLst>
      <p:ext uri="{BB962C8B-B14F-4D97-AF65-F5344CB8AC3E}">
        <p14:creationId xmlns:p14="http://schemas.microsoft.com/office/powerpoint/2010/main" val="4557358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Date Format">
    <p:bg>
      <p:bgPr>
        <a:solidFill>
          <a:srgbClr val="7156A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81003" y="1560458"/>
            <a:ext cx="7157083" cy="397764"/>
          </a:xfrm>
        </p:spPr>
        <p:txBody>
          <a:bodyPr>
            <a:noAutofit/>
          </a:bodyPr>
          <a:lstStyle>
            <a:lvl1pPr algn="l">
              <a:defRPr sz="230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381003" y="2006850"/>
            <a:ext cx="7157083" cy="342900"/>
          </a:xfrm>
        </p:spPr>
        <p:txBody>
          <a:bodyPr>
            <a:noAutofit/>
          </a:bodyPr>
          <a:lstStyle>
            <a:lvl1pPr marL="0" indent="0" algn="l">
              <a:buNone/>
              <a:defRPr sz="1800">
                <a:solidFill>
                  <a:schemeClr val="bg1"/>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7" name="Rectangle 16"/>
          <p:cNvSpPr/>
          <p:nvPr userDrawn="1"/>
        </p:nvSpPr>
        <p:spPr>
          <a:xfrm>
            <a:off x="0" y="0"/>
            <a:ext cx="9144000" cy="876300"/>
          </a:xfrm>
          <a:prstGeom prst="rect">
            <a:avLst/>
          </a:prstGeom>
          <a:solidFill>
            <a:srgbClr val="7156A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935736"/>
          </a:xfrm>
          <a:prstGeom prst="rect">
            <a:avLst/>
          </a:prstGeom>
        </p:spPr>
      </p:pic>
      <p:pic>
        <p:nvPicPr>
          <p:cNvPr id="23" name="Picture 2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563608"/>
            <a:ext cx="9144000" cy="579892"/>
          </a:xfrm>
          <a:prstGeom prst="rect">
            <a:avLst/>
          </a:prstGeom>
        </p:spPr>
      </p:pic>
      <p:sp>
        <p:nvSpPr>
          <p:cNvPr id="24" name="Text Placeholder 5"/>
          <p:cNvSpPr>
            <a:spLocks noGrp="1"/>
          </p:cNvSpPr>
          <p:nvPr>
            <p:ph type="body" sz="quarter" idx="11" hasCustomPrompt="1"/>
          </p:nvPr>
        </p:nvSpPr>
        <p:spPr>
          <a:xfrm>
            <a:off x="399646" y="4466926"/>
            <a:ext cx="1856666" cy="301760"/>
          </a:xfrm>
        </p:spPr>
        <p:txBody>
          <a:bodyPr>
            <a:noAutofit/>
          </a:bodyPr>
          <a:lstStyle>
            <a:lvl1pPr marL="0" indent="0">
              <a:buNone/>
              <a:defRPr sz="1400">
                <a:solidFill>
                  <a:schemeClr val="bg1"/>
                </a:solidFill>
                <a:latin typeface="+mj-lt"/>
              </a:defRPr>
            </a:lvl1pPr>
          </a:lstStyle>
          <a:p>
            <a:pPr lvl="0"/>
            <a:r>
              <a:rPr lang="en-US" dirty="0"/>
              <a:t>Insert Date</a:t>
            </a:r>
          </a:p>
        </p:txBody>
      </p:sp>
      <p:sp>
        <p:nvSpPr>
          <p:cNvPr id="25" name="TextBox 24"/>
          <p:cNvSpPr txBox="1"/>
          <p:nvPr userDrawn="1"/>
        </p:nvSpPr>
        <p:spPr>
          <a:xfrm>
            <a:off x="6780738" y="4845355"/>
            <a:ext cx="2210862" cy="200055"/>
          </a:xfrm>
          <a:prstGeom prst="rect">
            <a:avLst/>
          </a:prstGeom>
          <a:noFill/>
        </p:spPr>
        <p:txBody>
          <a:bodyPr wrap="none" rtlCol="0">
            <a:spAutoFit/>
          </a:bodyPr>
          <a:lstStyle/>
          <a:p>
            <a:pPr algn="r"/>
            <a:r>
              <a:rPr lang="en-US" sz="700" dirty="0">
                <a:solidFill>
                  <a:prstClr val="white"/>
                </a:solidFill>
                <a:latin typeface="+mj-lt"/>
              </a:rPr>
              <a:t>|   Copyright © 2018 Tata Consultancy Services Limited</a:t>
            </a:r>
          </a:p>
        </p:txBody>
      </p:sp>
      <p:sp>
        <p:nvSpPr>
          <p:cNvPr id="26" name="Text Placeholder 4"/>
          <p:cNvSpPr>
            <a:spLocks noGrp="1"/>
          </p:cNvSpPr>
          <p:nvPr>
            <p:ph type="body" sz="quarter" idx="14" hasCustomPrompt="1"/>
          </p:nvPr>
        </p:nvSpPr>
        <p:spPr>
          <a:xfrm>
            <a:off x="4610100" y="4844889"/>
            <a:ext cx="2286000" cy="152400"/>
          </a:xfrm>
        </p:spPr>
        <p:txBody>
          <a:bodyPr wrap="none">
            <a:noAutofit/>
          </a:bodyPr>
          <a:lstStyle>
            <a:lvl1pPr marL="0" indent="0" algn="r">
              <a:buNone/>
              <a:defRPr sz="800">
                <a:solidFill>
                  <a:schemeClr val="bg1"/>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2656014678"/>
      </p:ext>
    </p:extLst>
  </p:cSld>
  <p:clrMapOvr>
    <a:masterClrMapping/>
  </p:clrMapOvr>
  <p:extLst mod="1">
    <p:ext uri="{DCECCB84-F9BA-43D5-87BE-67443E8EF086}">
      <p15:sldGuideLst xmlns:p15="http://schemas.microsoft.com/office/powerpoint/2012/main">
        <p15:guide id="1" orient="horz" pos="2160">
          <p15:clr>
            <a:srgbClr val="FBAE40"/>
          </p15:clr>
        </p15:guide>
        <p15:guide id="2" pos="74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28173" y="844153"/>
            <a:ext cx="3008313" cy="590549"/>
          </a:xfrm>
        </p:spPr>
        <p:txBody>
          <a:bodyPr anchor="b">
            <a:noAutofit/>
          </a:bodyPr>
          <a:lstStyle>
            <a:lvl1pPr algn="l">
              <a:defRPr sz="1650" b="1">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a:xfrm>
            <a:off x="3604078" y="844153"/>
            <a:ext cx="5111750" cy="3899297"/>
          </a:xfrm>
        </p:spPr>
        <p:txBody>
          <a:bodyPr>
            <a:noAutofit/>
          </a:bodyPr>
          <a:lstStyle>
            <a:lvl1pPr>
              <a:defRPr sz="1650"/>
            </a:lvl1pPr>
            <a:lvl2pPr>
              <a:defRPr sz="1500"/>
            </a:lvl2pPr>
            <a:lvl3pPr>
              <a:defRPr sz="1350"/>
            </a:lvl3pPr>
            <a:lvl4pPr>
              <a:defRPr sz="12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3"/>
          <p:cNvSpPr>
            <a:spLocks noGrp="1"/>
          </p:cNvSpPr>
          <p:nvPr>
            <p:ph type="body" sz="half" idx="2"/>
          </p:nvPr>
        </p:nvSpPr>
        <p:spPr>
          <a:xfrm>
            <a:off x="428173" y="1463278"/>
            <a:ext cx="3008313" cy="3280172"/>
          </a:xfrm>
        </p:spPr>
        <p:txBody>
          <a:bodyPr>
            <a:noAutofit/>
          </a:bodyPr>
          <a:lstStyle>
            <a:lvl1pPr marL="0" indent="0">
              <a:buNone/>
              <a:defRPr sz="16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672023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57601"/>
            <a:ext cx="5486400" cy="425054"/>
          </a:xfrm>
        </p:spPr>
        <p:txBody>
          <a:bodyPr anchor="b">
            <a:noAutofit/>
          </a:bodyPr>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857251"/>
            <a:ext cx="5486400" cy="2745581"/>
          </a:xfrm>
        </p:spPr>
        <p:txBody>
          <a:bodyPr>
            <a:no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1792288" y="4082654"/>
            <a:ext cx="5486400" cy="603647"/>
          </a:xfrm>
        </p:spPr>
        <p:txBody>
          <a:bodyPr>
            <a:no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1821307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100"/>
            </a:lvl1pPr>
          </a:lstStyle>
          <a:p>
            <a:r>
              <a:rPr lang="en-US"/>
              <a:t>Click to edit Master title style</a:t>
            </a:r>
            <a:endParaRPr lang="en-US" dirty="0"/>
          </a:p>
        </p:txBody>
      </p:sp>
      <p:sp>
        <p:nvSpPr>
          <p:cNvPr id="3" name="Table Placeholder 2"/>
          <p:cNvSpPr>
            <a:spLocks noGrp="1"/>
          </p:cNvSpPr>
          <p:nvPr>
            <p:ph type="tbl" idx="1"/>
          </p:nvPr>
        </p:nvSpPr>
        <p:spPr>
          <a:xfrm>
            <a:off x="513304" y="892969"/>
            <a:ext cx="8370888" cy="992981"/>
          </a:xfrm>
          <a:ln>
            <a:solidFill>
              <a:schemeClr val="bg1"/>
            </a:solidFill>
          </a:ln>
        </p:spPr>
        <p:txBody>
          <a:bodyPr/>
          <a:lstStyle>
            <a:lvl1pPr>
              <a:buNone/>
              <a:defRPr>
                <a:solidFill>
                  <a:schemeClr val="bg1"/>
                </a:solidFill>
              </a:defRPr>
            </a:lvl1pPr>
          </a:lstStyle>
          <a:p>
            <a:pPr lvl="0"/>
            <a:r>
              <a:rPr lang="en-US" noProof="0" dirty="0"/>
              <a:t>Click icon to add table</a:t>
            </a:r>
          </a:p>
        </p:txBody>
      </p:sp>
      <p:sp>
        <p:nvSpPr>
          <p:cNvPr id="5"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15550520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Click to edit Master title style</a:t>
            </a:r>
            <a:endParaRPr lang="en-US" dirty="0"/>
          </a:p>
        </p:txBody>
      </p:sp>
      <p:sp>
        <p:nvSpPr>
          <p:cNvPr id="3" name="Vertical Text Placeholder 2"/>
          <p:cNvSpPr>
            <a:spLocks noGrp="1"/>
          </p:cNvSpPr>
          <p:nvPr>
            <p:ph type="body" orient="vert" idx="1"/>
          </p:nvPr>
        </p:nvSpPr>
        <p:spPr>
          <a:xfrm>
            <a:off x="411144" y="876300"/>
            <a:ext cx="8428056" cy="3867150"/>
          </a:xfrm>
        </p:spPr>
        <p:txBody>
          <a:bodyPr vert="eaVert">
            <a:noAutofit/>
          </a:bodyPr>
          <a:lstStyle>
            <a:lvl3pPr>
              <a:defRPr/>
            </a:lvl3pPr>
            <a:lvl4pPr>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29464809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3568" y="891778"/>
            <a:ext cx="2057400" cy="3851672"/>
          </a:xfrm>
        </p:spPr>
        <p:txBody>
          <a:bodyPr vert="eaVert">
            <a:normAutofit/>
          </a:bodyPr>
          <a:lstStyle>
            <a:lvl1pPr>
              <a:defRPr>
                <a:solidFill>
                  <a:schemeClr val="tx1"/>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413658" y="891778"/>
            <a:ext cx="6190342" cy="3851672"/>
          </a:xfrm>
        </p:spPr>
        <p:txBody>
          <a:bodyPr vert="eaVert">
            <a:noAutofit/>
          </a:bodyPr>
          <a:lstStyle>
            <a:lvl3pPr>
              <a:defRPr/>
            </a:lvl3pPr>
            <a:lvl4pPr>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10129120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parator Slide 1">
    <p:bg>
      <p:bgPr>
        <a:gradFill>
          <a:gsLst>
            <a:gs pos="0">
              <a:srgbClr val="5DABDC"/>
            </a:gs>
            <a:gs pos="100000">
              <a:srgbClr val="6AC3A7"/>
            </a:gs>
          </a:gsLst>
          <a:lin ang="54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86328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dirty="0"/>
          </a:p>
        </p:txBody>
      </p:sp>
      <p:sp>
        <p:nvSpPr>
          <p:cNvPr id="3" name="Content Placeholder 2"/>
          <p:cNvSpPr>
            <a:spLocks noGrp="1"/>
          </p:cNvSpPr>
          <p:nvPr>
            <p:ph idx="1"/>
          </p:nvPr>
        </p:nvSpPr>
        <p:spPr/>
        <p:txBody>
          <a:bodyPr>
            <a:noAutofit/>
          </a:bodyPr>
          <a:lstStyle>
            <a:lvl3pPr>
              <a:defRPr/>
            </a:lvl3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5905059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a:p>
        </p:txBody>
      </p:sp>
      <p:sp>
        <p:nvSpPr>
          <p:cNvPr id="3" name="Text Placeholder 5"/>
          <p:cNvSpPr>
            <a:spLocks noGrp="1"/>
          </p:cNvSpPr>
          <p:nvPr>
            <p:ph type="body" sz="quarter" idx="10" hasCustomPrompt="1"/>
          </p:nvPr>
        </p:nvSpPr>
        <p:spPr>
          <a:xfrm>
            <a:off x="4654014" y="4889067"/>
            <a:ext cx="2584986" cy="192082"/>
          </a:xfrm>
        </p:spPr>
        <p:txBody>
          <a:bodyPr wrap="none" anchor="ctr">
            <a:noAutofit/>
          </a:bodyPr>
          <a:lstStyle>
            <a:lvl1pPr marL="0" indent="0" algn="ctr">
              <a:buNone/>
              <a:defRPr sz="909">
                <a:solidFill>
                  <a:schemeClr val="tx1">
                    <a:lumMod val="65000"/>
                    <a:lumOff val="35000"/>
                  </a:schemeClr>
                </a:solidFill>
              </a:defRPr>
            </a:lvl1pPr>
          </a:lstStyle>
          <a:p>
            <a:pPr lvl="0"/>
            <a:r>
              <a:rPr lang="en-US" dirty="0" smtClean="0"/>
              <a:t>Click to add Information Classification</a:t>
            </a:r>
            <a:endParaRPr lang="en-US" dirty="0"/>
          </a:p>
        </p:txBody>
      </p:sp>
    </p:spTree>
    <p:extLst>
      <p:ext uri="{BB962C8B-B14F-4D97-AF65-F5344CB8AC3E}">
        <p14:creationId xmlns:p14="http://schemas.microsoft.com/office/powerpoint/2010/main" val="87608608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a:p>
        </p:txBody>
      </p:sp>
    </p:spTree>
    <p:extLst>
      <p:ext uri="{BB962C8B-B14F-4D97-AF65-F5344CB8AC3E}">
        <p14:creationId xmlns:p14="http://schemas.microsoft.com/office/powerpoint/2010/main" val="28512641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a:p>
        </p:txBody>
      </p:sp>
    </p:spTree>
    <p:extLst>
      <p:ext uri="{BB962C8B-B14F-4D97-AF65-F5344CB8AC3E}">
        <p14:creationId xmlns:p14="http://schemas.microsoft.com/office/powerpoint/2010/main" val="3117532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with Date Format">
    <p:spTree>
      <p:nvGrpSpPr>
        <p:cNvPr id="1" name=""/>
        <p:cNvGrpSpPr/>
        <p:nvPr/>
      </p:nvGrpSpPr>
      <p:grpSpPr>
        <a:xfrm>
          <a:off x="0" y="0"/>
          <a:ext cx="0" cy="0"/>
          <a:chOff x="0" y="0"/>
          <a:chExt cx="0" cy="0"/>
        </a:xfrm>
      </p:grpSpPr>
      <p:sp>
        <p:nvSpPr>
          <p:cNvPr id="2" name="Title 1"/>
          <p:cNvSpPr>
            <a:spLocks noGrp="1"/>
          </p:cNvSpPr>
          <p:nvPr>
            <p:ph type="ctrTitle"/>
          </p:nvPr>
        </p:nvSpPr>
        <p:spPr>
          <a:xfrm>
            <a:off x="381003" y="1560458"/>
            <a:ext cx="7157083" cy="397764"/>
          </a:xfrm>
        </p:spPr>
        <p:txBody>
          <a:bodyPr>
            <a:noAutofit/>
          </a:bodyPr>
          <a:lstStyle>
            <a:lvl1pPr algn="l">
              <a:defRPr sz="2300">
                <a:solidFill>
                  <a:schemeClr val="tx2"/>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381003" y="2006850"/>
            <a:ext cx="7157083" cy="342900"/>
          </a:xfrm>
        </p:spPr>
        <p:txBody>
          <a:bodyPr>
            <a:noAutofit/>
          </a:bodyPr>
          <a:lstStyle>
            <a:lvl1pPr marL="0" indent="0" algn="l">
              <a:buNone/>
              <a:defRPr sz="1800">
                <a:solidFill>
                  <a:schemeClr val="tx2"/>
                </a:solidFill>
                <a:latin typeface="+mj-l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7" name="Rectangle 16"/>
          <p:cNvSpPr/>
          <p:nvPr userDrawn="1"/>
        </p:nvSpPr>
        <p:spPr>
          <a:xfrm>
            <a:off x="0" y="0"/>
            <a:ext cx="9144000" cy="8763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3999" cy="935736"/>
          </a:xfrm>
          <a:prstGeom prst="rect">
            <a:avLst/>
          </a:prstGeom>
        </p:spPr>
      </p:pic>
      <p:sp>
        <p:nvSpPr>
          <p:cNvPr id="10" name="Text Placeholder 5"/>
          <p:cNvSpPr>
            <a:spLocks noGrp="1"/>
          </p:cNvSpPr>
          <p:nvPr>
            <p:ph type="body" sz="quarter" idx="11" hasCustomPrompt="1"/>
          </p:nvPr>
        </p:nvSpPr>
        <p:spPr>
          <a:xfrm>
            <a:off x="399646" y="4473276"/>
            <a:ext cx="1856666" cy="301760"/>
          </a:xfrm>
        </p:spPr>
        <p:txBody>
          <a:bodyPr>
            <a:noAutofit/>
          </a:bodyPr>
          <a:lstStyle>
            <a:lvl1pPr marL="0" indent="0">
              <a:buNone/>
              <a:defRPr sz="1400">
                <a:solidFill>
                  <a:schemeClr val="bg1">
                    <a:lumMod val="50000"/>
                  </a:schemeClr>
                </a:solidFill>
                <a:latin typeface="+mj-lt"/>
              </a:defRPr>
            </a:lvl1pPr>
          </a:lstStyle>
          <a:p>
            <a:pPr lvl="0"/>
            <a:r>
              <a:rPr lang="en-US" dirty="0"/>
              <a:t>Insert Date</a:t>
            </a:r>
          </a:p>
        </p:txBody>
      </p:sp>
      <p:sp>
        <p:nvSpPr>
          <p:cNvPr id="11" name="TextBox 10"/>
          <p:cNvSpPr txBox="1"/>
          <p:nvPr userDrawn="1"/>
        </p:nvSpPr>
        <p:spPr>
          <a:xfrm>
            <a:off x="6780738" y="4851705"/>
            <a:ext cx="2210862" cy="200055"/>
          </a:xfrm>
          <a:prstGeom prst="rect">
            <a:avLst/>
          </a:prstGeom>
          <a:noFill/>
        </p:spPr>
        <p:txBody>
          <a:bodyPr wrap="none" rtlCol="0">
            <a:spAutoFit/>
          </a:bodyPr>
          <a:lstStyle/>
          <a:p>
            <a:pPr algn="r"/>
            <a:r>
              <a:rPr lang="en-US" sz="700" dirty="0">
                <a:solidFill>
                  <a:schemeClr val="bg1">
                    <a:lumMod val="50000"/>
                  </a:schemeClr>
                </a:solidFill>
                <a:latin typeface="+mj-lt"/>
              </a:rPr>
              <a:t>|   Copyright © 2018 Tata Consultancy Services Limited</a:t>
            </a:r>
          </a:p>
        </p:txBody>
      </p:sp>
      <p:sp>
        <p:nvSpPr>
          <p:cNvPr id="12" name="Text Placeholder 4"/>
          <p:cNvSpPr>
            <a:spLocks noGrp="1"/>
          </p:cNvSpPr>
          <p:nvPr>
            <p:ph type="body" sz="quarter" idx="14" hasCustomPrompt="1"/>
          </p:nvPr>
        </p:nvSpPr>
        <p:spPr>
          <a:xfrm>
            <a:off x="4610100" y="4851239"/>
            <a:ext cx="2286000" cy="152400"/>
          </a:xfrm>
        </p:spPr>
        <p:txBody>
          <a:bodyPr wrap="none">
            <a:noAutofit/>
          </a:bodyPr>
          <a:lstStyle>
            <a:lvl1pPr marL="0" indent="0" algn="r">
              <a:buNone/>
              <a:defRPr sz="800">
                <a:solidFill>
                  <a:schemeClr val="bg1">
                    <a:lumMod val="50000"/>
                  </a:schemeClr>
                </a:solidFill>
                <a:latin typeface="+mj-lt"/>
              </a:defRPr>
            </a:lvl1pPr>
          </a:lstStyle>
          <a:p>
            <a:pPr lvl="0"/>
            <a:r>
              <a:rPr lang="en-US" dirty="0"/>
              <a:t>TCS – </a:t>
            </a:r>
            <a:r>
              <a:rPr lang="en-US" dirty="0" err="1"/>
              <a:t>Arla</a:t>
            </a:r>
            <a:r>
              <a:rPr lang="en-US" dirty="0"/>
              <a:t> Foods Confidential</a:t>
            </a:r>
          </a:p>
        </p:txBody>
      </p:sp>
    </p:spTree>
    <p:extLst>
      <p:ext uri="{BB962C8B-B14F-4D97-AF65-F5344CB8AC3E}">
        <p14:creationId xmlns:p14="http://schemas.microsoft.com/office/powerpoint/2010/main" val="4205771337"/>
      </p:ext>
    </p:extLst>
  </p:cSld>
  <p:clrMapOvr>
    <a:masterClrMapping/>
  </p:clrMapOvr>
  <p:extLst mod="1">
    <p:ext uri="{DCECCB84-F9BA-43D5-87BE-67443E8EF086}">
      <p15:sldGuideLst xmlns:p15="http://schemas.microsoft.com/office/powerpoint/2012/main">
        <p15:guide id="1" orient="horz" pos="2160">
          <p15:clr>
            <a:srgbClr val="FBAE40"/>
          </p15:clr>
        </p15:guide>
        <p15:guide id="2" pos="74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104" y="53458"/>
            <a:ext cx="8798447" cy="473166"/>
          </a:xfrm>
        </p:spPr>
        <p:txBody>
          <a:bodyPr wrap="square">
            <a:noAutofit/>
          </a:bodyPr>
          <a:lstStyle>
            <a:lvl1pPr>
              <a:defRPr sz="2100" b="1"/>
            </a:lvl1pPr>
          </a:lstStyle>
          <a:p>
            <a:r>
              <a:rPr lang="en-US" dirty="0" smtClean="0"/>
              <a:t>Click to edit Master title style</a:t>
            </a:r>
            <a:endParaRPr lang="en-US" dirty="0"/>
          </a:p>
        </p:txBody>
      </p:sp>
    </p:spTree>
    <p:extLst>
      <p:ext uri="{BB962C8B-B14F-4D97-AF65-F5344CB8AC3E}">
        <p14:creationId xmlns:p14="http://schemas.microsoft.com/office/powerpoint/2010/main" val="79903881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a:p>
        </p:txBody>
      </p:sp>
      <p:sp>
        <p:nvSpPr>
          <p:cNvPr id="3" name="Text Placeholder 5"/>
          <p:cNvSpPr>
            <a:spLocks noGrp="1"/>
          </p:cNvSpPr>
          <p:nvPr>
            <p:ph type="body" sz="quarter" idx="10" hasCustomPrompt="1"/>
          </p:nvPr>
        </p:nvSpPr>
        <p:spPr>
          <a:xfrm>
            <a:off x="4730214" y="4889067"/>
            <a:ext cx="2813586" cy="192082"/>
          </a:xfrm>
          <a:prstGeom prst="rect">
            <a:avLst/>
          </a:prstGeom>
        </p:spPr>
        <p:txBody>
          <a:bodyPr wrap="none" anchor="ctr">
            <a:noAutofit/>
          </a:bodyPr>
          <a:lstStyle>
            <a:lvl1pPr marL="0" indent="0" algn="ctr">
              <a:buNone/>
              <a:defRPr sz="750">
                <a:solidFill>
                  <a:schemeClr val="tx1">
                    <a:lumMod val="65000"/>
                    <a:lumOff val="35000"/>
                  </a:schemeClr>
                </a:solidFill>
              </a:defRPr>
            </a:lvl1pPr>
          </a:lstStyle>
          <a:p>
            <a:pPr lvl="0"/>
            <a:r>
              <a:rPr lang="en-US" dirty="0" smtClean="0"/>
              <a:t>Click to add Information Classification</a:t>
            </a:r>
            <a:endParaRPr lang="en-US" dirty="0"/>
          </a:p>
        </p:txBody>
      </p:sp>
    </p:spTree>
    <p:extLst>
      <p:ext uri="{BB962C8B-B14F-4D97-AF65-F5344CB8AC3E}">
        <p14:creationId xmlns:p14="http://schemas.microsoft.com/office/powerpoint/2010/main" val="39367932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873587" y="4860784"/>
            <a:ext cx="2057400" cy="273844"/>
          </a:xfrm>
          <a:prstGeom prst="rect">
            <a:avLst/>
          </a:prstGeom>
          <a:ln>
            <a:noFill/>
          </a:ln>
        </p:spPr>
        <p:txBody>
          <a:bodyPr/>
          <a:lstStyle/>
          <a:p>
            <a:fld id="{579DDA49-D960-4841-855E-D7871186B261}" type="slidenum">
              <a:rPr lang="en-US" smtClean="0"/>
              <a:t>‹#›</a:t>
            </a:fld>
            <a:endParaRPr lang="en-US"/>
          </a:p>
        </p:txBody>
      </p:sp>
      <p:sp>
        <p:nvSpPr>
          <p:cNvPr id="7" name="Text Placeholder 7"/>
          <p:cNvSpPr>
            <a:spLocks noGrp="1"/>
          </p:cNvSpPr>
          <p:nvPr>
            <p:ph type="body" sz="quarter" idx="13" hasCustomPrompt="1"/>
          </p:nvPr>
        </p:nvSpPr>
        <p:spPr>
          <a:xfrm>
            <a:off x="3543300" y="4891958"/>
            <a:ext cx="2057401" cy="244957"/>
          </a:xfrm>
          <a:ln>
            <a:noFill/>
          </a:ln>
        </p:spPr>
        <p:txBody>
          <a:bodyPr anchor="ctr">
            <a:normAutofit/>
          </a:bodyPr>
          <a:lstStyle>
            <a:lvl1pPr marL="0" indent="0" algn="ctr">
              <a:buNone/>
              <a:defRPr sz="900">
                <a:solidFill>
                  <a:schemeClr val="bg1">
                    <a:lumMod val="6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TCS Confidential</a:t>
            </a:r>
            <a:endParaRPr lang="en-US" dirty="0"/>
          </a:p>
        </p:txBody>
      </p:sp>
    </p:spTree>
    <p:extLst>
      <p:ext uri="{BB962C8B-B14F-4D97-AF65-F5344CB8AC3E}">
        <p14:creationId xmlns:p14="http://schemas.microsoft.com/office/powerpoint/2010/main" val="15353648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dirty="0"/>
              <a:t>Click to edit Master title style</a:t>
            </a:r>
          </a:p>
        </p:txBody>
      </p:sp>
      <p:sp>
        <p:nvSpPr>
          <p:cNvPr id="3" name="Text Placeholder 5"/>
          <p:cNvSpPr>
            <a:spLocks noGrp="1"/>
          </p:cNvSpPr>
          <p:nvPr>
            <p:ph type="body" sz="quarter" idx="10" hasCustomPrompt="1"/>
          </p:nvPr>
        </p:nvSpPr>
        <p:spPr>
          <a:xfrm>
            <a:off x="6330414" y="4889067"/>
            <a:ext cx="2813586" cy="192082"/>
          </a:xfrm>
        </p:spPr>
        <p:txBody>
          <a:bodyPr wrap="none" anchor="ctr">
            <a:noAutofit/>
          </a:bodyPr>
          <a:lstStyle>
            <a:lvl1pPr marL="0" indent="0" algn="ctr">
              <a:buNone/>
              <a:defRPr sz="900">
                <a:solidFill>
                  <a:schemeClr val="tx1">
                    <a:lumMod val="65000"/>
                    <a:lumOff val="35000"/>
                  </a:schemeClr>
                </a:solidFill>
              </a:defRPr>
            </a:lvl1pPr>
          </a:lstStyle>
          <a:p>
            <a:r>
              <a:rPr lang="en-US" dirty="0"/>
              <a:t>TCS Confidential</a:t>
            </a:r>
          </a:p>
        </p:txBody>
      </p:sp>
    </p:spTree>
    <p:extLst>
      <p:ext uri="{BB962C8B-B14F-4D97-AF65-F5344CB8AC3E}">
        <p14:creationId xmlns:p14="http://schemas.microsoft.com/office/powerpoint/2010/main" val="688765390"/>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80" name="Title Text"/>
          <p:cNvSpPr>
            <a:spLocks noGrp="1"/>
          </p:cNvSpPr>
          <p:nvPr>
            <p:ph type="title"/>
          </p:nvPr>
        </p:nvSpPr>
        <p:spPr>
          <a:xfrm>
            <a:off x="666750" y="862013"/>
            <a:ext cx="7810500" cy="1743075"/>
          </a:xfrm>
          <a:prstGeom prst="rect">
            <a:avLst/>
          </a:prstGeom>
        </p:spPr>
        <p:txBody>
          <a:bodyPr anchor="b"/>
          <a:lstStyle>
            <a:lvl1pPr algn="ctr">
              <a:defRPr sz="4200">
                <a:latin typeface="+mn-lt"/>
                <a:ea typeface="+mn-ea"/>
                <a:cs typeface="+mn-cs"/>
                <a:sym typeface="Helvetica Light"/>
              </a:defRPr>
            </a:lvl1pPr>
          </a:lstStyle>
          <a:p>
            <a:r>
              <a:t>Title Text</a:t>
            </a:r>
          </a:p>
        </p:txBody>
      </p:sp>
      <p:sp>
        <p:nvSpPr>
          <p:cNvPr id="81" name="Body Level One…"/>
          <p:cNvSpPr>
            <a:spLocks noGrp="1"/>
          </p:cNvSpPr>
          <p:nvPr>
            <p:ph type="body" sz="quarter" idx="1"/>
          </p:nvPr>
        </p:nvSpPr>
        <p:spPr>
          <a:xfrm>
            <a:off x="666750" y="2652712"/>
            <a:ext cx="7810500" cy="595313"/>
          </a:xfrm>
          <a:prstGeom prst="rect">
            <a:avLst/>
          </a:prstGeom>
        </p:spPr>
        <p:txBody>
          <a:bodyPr anchor="t"/>
          <a:lstStyle>
            <a:lvl1pPr marL="0" indent="0" algn="ctr">
              <a:spcBef>
                <a:spcPts val="0"/>
              </a:spcBef>
              <a:buSzTx/>
              <a:buNone/>
              <a:defRPr sz="1650"/>
            </a:lvl1pPr>
            <a:lvl2pPr marL="0" indent="85725" algn="ctr">
              <a:spcBef>
                <a:spcPts val="0"/>
              </a:spcBef>
              <a:buSzTx/>
              <a:buNone/>
              <a:defRPr sz="1650"/>
            </a:lvl2pPr>
            <a:lvl3pPr marL="0" indent="171450" algn="ctr">
              <a:spcBef>
                <a:spcPts val="0"/>
              </a:spcBef>
              <a:buSzTx/>
              <a:buNone/>
              <a:defRPr sz="1650"/>
            </a:lvl3pPr>
            <a:lvl4pPr marL="0" indent="257175" algn="ctr">
              <a:spcBef>
                <a:spcPts val="0"/>
              </a:spcBef>
              <a:buSzTx/>
              <a:buNone/>
              <a:defRPr sz="1650"/>
            </a:lvl4pPr>
            <a:lvl5pPr marL="0" indent="342900" algn="ctr">
              <a:spcBef>
                <a:spcPts val="0"/>
              </a:spcBef>
              <a:buSzTx/>
              <a:buNone/>
              <a:defRPr sz="1650"/>
            </a:lvl5pPr>
          </a:lstStyle>
          <a:p>
            <a:r>
              <a:t>Body Level One</a:t>
            </a:r>
          </a:p>
          <a:p>
            <a:pPr lvl="1"/>
            <a:r>
              <a:t>Body Level Two</a:t>
            </a:r>
          </a:p>
          <a:p>
            <a:pPr lvl="2"/>
            <a:r>
              <a:t>Body Level Three</a:t>
            </a:r>
          </a:p>
          <a:p>
            <a:pPr lvl="3"/>
            <a:r>
              <a:t>Body Level Four</a:t>
            </a:r>
          </a:p>
          <a:p>
            <a:pPr lvl="4"/>
            <a:r>
              <a:t>Body Level Five</a:t>
            </a:r>
          </a:p>
        </p:txBody>
      </p:sp>
      <p:sp>
        <p:nvSpPr>
          <p:cNvPr id="82" name="Slide Number"/>
          <p:cNvSpPr>
            <a:spLocks noGrp="1"/>
          </p:cNvSpPr>
          <p:nvPr>
            <p:ph type="sldNum" sz="quarter" idx="2"/>
          </p:nvPr>
        </p:nvSpPr>
        <p:spPr>
          <a:xfrm>
            <a:off x="6873587" y="4860784"/>
            <a:ext cx="2057400" cy="273844"/>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44733388"/>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5" name="TextBox 4"/>
          <p:cNvSpPr txBox="1"/>
          <p:nvPr userDrawn="1"/>
        </p:nvSpPr>
        <p:spPr>
          <a:xfrm>
            <a:off x="47892" y="4937760"/>
            <a:ext cx="981359" cy="230832"/>
          </a:xfrm>
          <a:prstGeom prst="rect">
            <a:avLst/>
          </a:prstGeom>
          <a:noFill/>
        </p:spPr>
        <p:txBody>
          <a:bodyPr wrap="none" rtlCol="0">
            <a:spAutoFit/>
          </a:bodyPr>
          <a:lstStyle/>
          <a:p>
            <a:r>
              <a:rPr lang="en-US" sz="900" dirty="0">
                <a:solidFill>
                  <a:schemeClr val="bg1">
                    <a:lumMod val="50000"/>
                  </a:schemeClr>
                </a:solidFill>
                <a:latin typeface="Berlin Sans FB" panose="020E0602020502020306" pitchFamily="34" charset="0"/>
                <a:cs typeface="Calibri" panose="020F0502020204030204" pitchFamily="34" charset="0"/>
              </a:rPr>
              <a:t>TCS Confidential</a:t>
            </a:r>
          </a:p>
        </p:txBody>
      </p:sp>
      <p:sp>
        <p:nvSpPr>
          <p:cNvPr id="57" name="Freeform 56"/>
          <p:cNvSpPr>
            <a:spLocks noEditPoints="1"/>
          </p:cNvSpPr>
          <p:nvPr userDrawn="1"/>
        </p:nvSpPr>
        <p:spPr bwMode="auto">
          <a:xfrm>
            <a:off x="8342907" y="5013580"/>
            <a:ext cx="652551" cy="84203"/>
          </a:xfrm>
          <a:custGeom>
            <a:avLst/>
            <a:gdLst/>
            <a:ahLst/>
            <a:cxnLst>
              <a:cxn ang="0">
                <a:pos x="3511" y="637"/>
              </a:cxn>
              <a:cxn ang="0">
                <a:pos x="3625" y="591"/>
              </a:cxn>
              <a:cxn ang="0">
                <a:pos x="3691" y="454"/>
              </a:cxn>
              <a:cxn ang="0">
                <a:pos x="3616" y="313"/>
              </a:cxn>
              <a:cxn ang="0">
                <a:pos x="3441" y="224"/>
              </a:cxn>
              <a:cxn ang="0">
                <a:pos x="3415" y="147"/>
              </a:cxn>
              <a:cxn ang="0">
                <a:pos x="3489" y="95"/>
              </a:cxn>
              <a:cxn ang="0">
                <a:pos x="3666" y="31"/>
              </a:cxn>
              <a:cxn ang="0">
                <a:pos x="3447" y="8"/>
              </a:cxn>
              <a:cxn ang="0">
                <a:pos x="3301" y="142"/>
              </a:cxn>
              <a:cxn ang="0">
                <a:pos x="3355" y="299"/>
              </a:cxn>
              <a:cxn ang="0">
                <a:pos x="3534" y="392"/>
              </a:cxn>
              <a:cxn ang="0">
                <a:pos x="3575" y="471"/>
              </a:cxn>
              <a:cxn ang="0">
                <a:pos x="3511" y="540"/>
              </a:cxn>
              <a:cxn ang="0">
                <a:pos x="3327" y="514"/>
              </a:cxn>
              <a:cxn ang="0">
                <a:pos x="3216" y="537"/>
              </a:cxn>
              <a:cxn ang="0">
                <a:pos x="2637" y="544"/>
              </a:cxn>
              <a:cxn ang="0">
                <a:pos x="2502" y="526"/>
              </a:cxn>
              <a:cxn ang="0">
                <a:pos x="2420" y="453"/>
              </a:cxn>
              <a:cxn ang="0">
                <a:pos x="2390" y="282"/>
              </a:cxn>
              <a:cxn ang="0">
                <a:pos x="2435" y="168"/>
              </a:cxn>
              <a:cxn ang="0">
                <a:pos x="2538" y="102"/>
              </a:cxn>
              <a:cxn ang="0">
                <a:pos x="2726" y="118"/>
              </a:cxn>
              <a:cxn ang="0">
                <a:pos x="2566" y="2"/>
              </a:cxn>
              <a:cxn ang="0">
                <a:pos x="2399" y="59"/>
              </a:cxn>
              <a:cxn ang="0">
                <a:pos x="2293" y="190"/>
              </a:cxn>
              <a:cxn ang="0">
                <a:pos x="2272" y="380"/>
              </a:cxn>
              <a:cxn ang="0">
                <a:pos x="2333" y="534"/>
              </a:cxn>
              <a:cxn ang="0">
                <a:pos x="2467" y="623"/>
              </a:cxn>
              <a:cxn ang="0">
                <a:pos x="2684" y="632"/>
              </a:cxn>
              <a:cxn ang="0">
                <a:pos x="1776" y="631"/>
              </a:cxn>
              <a:cxn ang="0">
                <a:pos x="1717" y="518"/>
              </a:cxn>
              <a:cxn ang="0">
                <a:pos x="1447" y="10"/>
              </a:cxn>
              <a:cxn ang="0">
                <a:pos x="1210" y="97"/>
              </a:cxn>
              <a:cxn ang="0">
                <a:pos x="1281" y="178"/>
              </a:cxn>
              <a:cxn ang="0">
                <a:pos x="1231" y="277"/>
              </a:cxn>
              <a:cxn ang="0">
                <a:pos x="1090" y="375"/>
              </a:cxn>
              <a:cxn ang="0">
                <a:pos x="1233" y="415"/>
              </a:cxn>
              <a:cxn ang="0">
                <a:pos x="1297" y="622"/>
              </a:cxn>
              <a:cxn ang="0">
                <a:pos x="1362" y="436"/>
              </a:cxn>
              <a:cxn ang="0">
                <a:pos x="1282" y="337"/>
              </a:cxn>
              <a:cxn ang="0">
                <a:pos x="1374" y="258"/>
              </a:cxn>
              <a:cxn ang="0">
                <a:pos x="1373" y="94"/>
              </a:cxn>
              <a:cxn ang="0">
                <a:pos x="1263" y="17"/>
              </a:cxn>
              <a:cxn ang="0">
                <a:pos x="995" y="15"/>
              </a:cxn>
              <a:cxn ang="0">
                <a:pos x="879" y="537"/>
              </a:cxn>
              <a:cxn ang="0">
                <a:pos x="118" y="637"/>
              </a:cxn>
              <a:cxn ang="0">
                <a:pos x="303" y="613"/>
              </a:cxn>
              <a:cxn ang="0">
                <a:pos x="388" y="526"/>
              </a:cxn>
              <a:cxn ang="0">
                <a:pos x="373" y="355"/>
              </a:cxn>
              <a:cxn ang="0">
                <a:pos x="190" y="247"/>
              </a:cxn>
              <a:cxn ang="0">
                <a:pos x="125" y="177"/>
              </a:cxn>
              <a:cxn ang="0">
                <a:pos x="163" y="107"/>
              </a:cxn>
              <a:cxn ang="0">
                <a:pos x="317" y="108"/>
              </a:cxn>
              <a:cxn ang="0">
                <a:pos x="254" y="1"/>
              </a:cxn>
              <a:cxn ang="0">
                <a:pos x="44" y="77"/>
              </a:cxn>
              <a:cxn ang="0">
                <a:pos x="29" y="253"/>
              </a:cxn>
              <a:cxn ang="0">
                <a:pos x="178" y="359"/>
              </a:cxn>
              <a:cxn ang="0">
                <a:pos x="284" y="437"/>
              </a:cxn>
              <a:cxn ang="0">
                <a:pos x="259" y="524"/>
              </a:cxn>
              <a:cxn ang="0">
                <a:pos x="112" y="540"/>
              </a:cxn>
            </a:cxnLst>
            <a:rect l="0" t="0" r="r" b="b"/>
            <a:pathLst>
              <a:path w="3691" h="641">
                <a:moveTo>
                  <a:pt x="3288" y="601"/>
                </a:moveTo>
                <a:lnTo>
                  <a:pt x="3302" y="609"/>
                </a:lnTo>
                <a:lnTo>
                  <a:pt x="3319" y="616"/>
                </a:lnTo>
                <a:lnTo>
                  <a:pt x="3338" y="622"/>
                </a:lnTo>
                <a:lnTo>
                  <a:pt x="3360" y="629"/>
                </a:lnTo>
                <a:lnTo>
                  <a:pt x="3382" y="634"/>
                </a:lnTo>
                <a:lnTo>
                  <a:pt x="3406" y="637"/>
                </a:lnTo>
                <a:lnTo>
                  <a:pt x="3431" y="640"/>
                </a:lnTo>
                <a:lnTo>
                  <a:pt x="3455" y="641"/>
                </a:lnTo>
                <a:lnTo>
                  <a:pt x="3484" y="640"/>
                </a:lnTo>
                <a:lnTo>
                  <a:pt x="3511" y="637"/>
                </a:lnTo>
                <a:lnTo>
                  <a:pt x="3524" y="635"/>
                </a:lnTo>
                <a:lnTo>
                  <a:pt x="3536" y="632"/>
                </a:lnTo>
                <a:lnTo>
                  <a:pt x="3548" y="629"/>
                </a:lnTo>
                <a:lnTo>
                  <a:pt x="3559" y="625"/>
                </a:lnTo>
                <a:lnTo>
                  <a:pt x="3570" y="621"/>
                </a:lnTo>
                <a:lnTo>
                  <a:pt x="3581" y="617"/>
                </a:lnTo>
                <a:lnTo>
                  <a:pt x="3590" y="613"/>
                </a:lnTo>
                <a:lnTo>
                  <a:pt x="3600" y="608"/>
                </a:lnTo>
                <a:lnTo>
                  <a:pt x="3608" y="603"/>
                </a:lnTo>
                <a:lnTo>
                  <a:pt x="3618" y="597"/>
                </a:lnTo>
                <a:lnTo>
                  <a:pt x="3625" y="591"/>
                </a:lnTo>
                <a:lnTo>
                  <a:pt x="3633" y="584"/>
                </a:lnTo>
                <a:lnTo>
                  <a:pt x="3639" y="578"/>
                </a:lnTo>
                <a:lnTo>
                  <a:pt x="3646" y="571"/>
                </a:lnTo>
                <a:lnTo>
                  <a:pt x="3653" y="564"/>
                </a:lnTo>
                <a:lnTo>
                  <a:pt x="3658" y="557"/>
                </a:lnTo>
                <a:lnTo>
                  <a:pt x="3668" y="541"/>
                </a:lnTo>
                <a:lnTo>
                  <a:pt x="3676" y="526"/>
                </a:lnTo>
                <a:lnTo>
                  <a:pt x="3682" y="508"/>
                </a:lnTo>
                <a:lnTo>
                  <a:pt x="3687" y="491"/>
                </a:lnTo>
                <a:lnTo>
                  <a:pt x="3690" y="472"/>
                </a:lnTo>
                <a:lnTo>
                  <a:pt x="3691" y="454"/>
                </a:lnTo>
                <a:lnTo>
                  <a:pt x="3690" y="437"/>
                </a:lnTo>
                <a:lnTo>
                  <a:pt x="3688" y="422"/>
                </a:lnTo>
                <a:lnTo>
                  <a:pt x="3684" y="407"/>
                </a:lnTo>
                <a:lnTo>
                  <a:pt x="3680" y="393"/>
                </a:lnTo>
                <a:lnTo>
                  <a:pt x="3675" y="380"/>
                </a:lnTo>
                <a:lnTo>
                  <a:pt x="3668" y="367"/>
                </a:lnTo>
                <a:lnTo>
                  <a:pt x="3660" y="355"/>
                </a:lnTo>
                <a:lnTo>
                  <a:pt x="3651" y="344"/>
                </a:lnTo>
                <a:lnTo>
                  <a:pt x="3640" y="332"/>
                </a:lnTo>
                <a:lnTo>
                  <a:pt x="3629" y="322"/>
                </a:lnTo>
                <a:lnTo>
                  <a:pt x="3616" y="313"/>
                </a:lnTo>
                <a:lnTo>
                  <a:pt x="3601" y="303"/>
                </a:lnTo>
                <a:lnTo>
                  <a:pt x="3586" y="294"/>
                </a:lnTo>
                <a:lnTo>
                  <a:pt x="3568" y="286"/>
                </a:lnTo>
                <a:lnTo>
                  <a:pt x="3550" y="278"/>
                </a:lnTo>
                <a:lnTo>
                  <a:pt x="3530" y="270"/>
                </a:lnTo>
                <a:lnTo>
                  <a:pt x="3502" y="258"/>
                </a:lnTo>
                <a:lnTo>
                  <a:pt x="3477" y="247"/>
                </a:lnTo>
                <a:lnTo>
                  <a:pt x="3467" y="242"/>
                </a:lnTo>
                <a:lnTo>
                  <a:pt x="3457" y="236"/>
                </a:lnTo>
                <a:lnTo>
                  <a:pt x="3448" y="230"/>
                </a:lnTo>
                <a:lnTo>
                  <a:pt x="3441" y="224"/>
                </a:lnTo>
                <a:lnTo>
                  <a:pt x="3434" y="219"/>
                </a:lnTo>
                <a:lnTo>
                  <a:pt x="3428" y="213"/>
                </a:lnTo>
                <a:lnTo>
                  <a:pt x="3423" y="206"/>
                </a:lnTo>
                <a:lnTo>
                  <a:pt x="3419" y="200"/>
                </a:lnTo>
                <a:lnTo>
                  <a:pt x="3416" y="192"/>
                </a:lnTo>
                <a:lnTo>
                  <a:pt x="3414" y="184"/>
                </a:lnTo>
                <a:lnTo>
                  <a:pt x="3412" y="177"/>
                </a:lnTo>
                <a:lnTo>
                  <a:pt x="3412" y="168"/>
                </a:lnTo>
                <a:lnTo>
                  <a:pt x="3412" y="162"/>
                </a:lnTo>
                <a:lnTo>
                  <a:pt x="3413" y="154"/>
                </a:lnTo>
                <a:lnTo>
                  <a:pt x="3415" y="147"/>
                </a:lnTo>
                <a:lnTo>
                  <a:pt x="3418" y="141"/>
                </a:lnTo>
                <a:lnTo>
                  <a:pt x="3421" y="135"/>
                </a:lnTo>
                <a:lnTo>
                  <a:pt x="3426" y="129"/>
                </a:lnTo>
                <a:lnTo>
                  <a:pt x="3431" y="122"/>
                </a:lnTo>
                <a:lnTo>
                  <a:pt x="3437" y="117"/>
                </a:lnTo>
                <a:lnTo>
                  <a:pt x="3443" y="112"/>
                </a:lnTo>
                <a:lnTo>
                  <a:pt x="3450" y="107"/>
                </a:lnTo>
                <a:lnTo>
                  <a:pt x="3459" y="103"/>
                </a:lnTo>
                <a:lnTo>
                  <a:pt x="3469" y="100"/>
                </a:lnTo>
                <a:lnTo>
                  <a:pt x="3479" y="97"/>
                </a:lnTo>
                <a:lnTo>
                  <a:pt x="3489" y="95"/>
                </a:lnTo>
                <a:lnTo>
                  <a:pt x="3502" y="94"/>
                </a:lnTo>
                <a:lnTo>
                  <a:pt x="3515" y="94"/>
                </a:lnTo>
                <a:lnTo>
                  <a:pt x="3535" y="94"/>
                </a:lnTo>
                <a:lnTo>
                  <a:pt x="3555" y="96"/>
                </a:lnTo>
                <a:lnTo>
                  <a:pt x="3573" y="100"/>
                </a:lnTo>
                <a:lnTo>
                  <a:pt x="3590" y="104"/>
                </a:lnTo>
                <a:lnTo>
                  <a:pt x="3604" y="108"/>
                </a:lnTo>
                <a:lnTo>
                  <a:pt x="3618" y="113"/>
                </a:lnTo>
                <a:lnTo>
                  <a:pt x="3629" y="118"/>
                </a:lnTo>
                <a:lnTo>
                  <a:pt x="3638" y="122"/>
                </a:lnTo>
                <a:lnTo>
                  <a:pt x="3666" y="31"/>
                </a:lnTo>
                <a:lnTo>
                  <a:pt x="3653" y="25"/>
                </a:lnTo>
                <a:lnTo>
                  <a:pt x="3638" y="20"/>
                </a:lnTo>
                <a:lnTo>
                  <a:pt x="3622" y="14"/>
                </a:lnTo>
                <a:lnTo>
                  <a:pt x="3604" y="9"/>
                </a:lnTo>
                <a:lnTo>
                  <a:pt x="3585" y="6"/>
                </a:lnTo>
                <a:lnTo>
                  <a:pt x="3564" y="3"/>
                </a:lnTo>
                <a:lnTo>
                  <a:pt x="3542" y="1"/>
                </a:lnTo>
                <a:lnTo>
                  <a:pt x="3517" y="0"/>
                </a:lnTo>
                <a:lnTo>
                  <a:pt x="3492" y="1"/>
                </a:lnTo>
                <a:lnTo>
                  <a:pt x="3469" y="4"/>
                </a:lnTo>
                <a:lnTo>
                  <a:pt x="3447" y="8"/>
                </a:lnTo>
                <a:lnTo>
                  <a:pt x="3426" y="14"/>
                </a:lnTo>
                <a:lnTo>
                  <a:pt x="3406" y="22"/>
                </a:lnTo>
                <a:lnTo>
                  <a:pt x="3389" y="30"/>
                </a:lnTo>
                <a:lnTo>
                  <a:pt x="3372" y="40"/>
                </a:lnTo>
                <a:lnTo>
                  <a:pt x="3357" y="51"/>
                </a:lnTo>
                <a:lnTo>
                  <a:pt x="3343" y="64"/>
                </a:lnTo>
                <a:lnTo>
                  <a:pt x="3331" y="77"/>
                </a:lnTo>
                <a:lnTo>
                  <a:pt x="3322" y="93"/>
                </a:lnTo>
                <a:lnTo>
                  <a:pt x="3312" y="108"/>
                </a:lnTo>
                <a:lnTo>
                  <a:pt x="3306" y="124"/>
                </a:lnTo>
                <a:lnTo>
                  <a:pt x="3301" y="142"/>
                </a:lnTo>
                <a:lnTo>
                  <a:pt x="3298" y="159"/>
                </a:lnTo>
                <a:lnTo>
                  <a:pt x="3297" y="179"/>
                </a:lnTo>
                <a:lnTo>
                  <a:pt x="3298" y="194"/>
                </a:lnTo>
                <a:lnTo>
                  <a:pt x="3300" y="211"/>
                </a:lnTo>
                <a:lnTo>
                  <a:pt x="3304" y="225"/>
                </a:lnTo>
                <a:lnTo>
                  <a:pt x="3309" y="240"/>
                </a:lnTo>
                <a:lnTo>
                  <a:pt x="3316" y="253"/>
                </a:lnTo>
                <a:lnTo>
                  <a:pt x="3324" y="265"/>
                </a:lnTo>
                <a:lnTo>
                  <a:pt x="3333" y="277"/>
                </a:lnTo>
                <a:lnTo>
                  <a:pt x="3343" y="288"/>
                </a:lnTo>
                <a:lnTo>
                  <a:pt x="3355" y="299"/>
                </a:lnTo>
                <a:lnTo>
                  <a:pt x="3367" y="310"/>
                </a:lnTo>
                <a:lnTo>
                  <a:pt x="3381" y="319"/>
                </a:lnTo>
                <a:lnTo>
                  <a:pt x="3396" y="328"/>
                </a:lnTo>
                <a:lnTo>
                  <a:pt x="3412" y="336"/>
                </a:lnTo>
                <a:lnTo>
                  <a:pt x="3429" y="345"/>
                </a:lnTo>
                <a:lnTo>
                  <a:pt x="3447" y="352"/>
                </a:lnTo>
                <a:lnTo>
                  <a:pt x="3466" y="359"/>
                </a:lnTo>
                <a:lnTo>
                  <a:pt x="3492" y="369"/>
                </a:lnTo>
                <a:lnTo>
                  <a:pt x="3516" y="381"/>
                </a:lnTo>
                <a:lnTo>
                  <a:pt x="3525" y="386"/>
                </a:lnTo>
                <a:lnTo>
                  <a:pt x="3534" y="392"/>
                </a:lnTo>
                <a:lnTo>
                  <a:pt x="3543" y="397"/>
                </a:lnTo>
                <a:lnTo>
                  <a:pt x="3550" y="403"/>
                </a:lnTo>
                <a:lnTo>
                  <a:pt x="3556" y="409"/>
                </a:lnTo>
                <a:lnTo>
                  <a:pt x="3561" y="417"/>
                </a:lnTo>
                <a:lnTo>
                  <a:pt x="3565" y="423"/>
                </a:lnTo>
                <a:lnTo>
                  <a:pt x="3569" y="430"/>
                </a:lnTo>
                <a:lnTo>
                  <a:pt x="3571" y="437"/>
                </a:lnTo>
                <a:lnTo>
                  <a:pt x="3573" y="445"/>
                </a:lnTo>
                <a:lnTo>
                  <a:pt x="3575" y="454"/>
                </a:lnTo>
                <a:lnTo>
                  <a:pt x="3576" y="462"/>
                </a:lnTo>
                <a:lnTo>
                  <a:pt x="3575" y="471"/>
                </a:lnTo>
                <a:lnTo>
                  <a:pt x="3573" y="480"/>
                </a:lnTo>
                <a:lnTo>
                  <a:pt x="3571" y="489"/>
                </a:lnTo>
                <a:lnTo>
                  <a:pt x="3567" y="497"/>
                </a:lnTo>
                <a:lnTo>
                  <a:pt x="3563" y="504"/>
                </a:lnTo>
                <a:lnTo>
                  <a:pt x="3558" y="511"/>
                </a:lnTo>
                <a:lnTo>
                  <a:pt x="3553" y="517"/>
                </a:lnTo>
                <a:lnTo>
                  <a:pt x="3546" y="524"/>
                </a:lnTo>
                <a:lnTo>
                  <a:pt x="3539" y="529"/>
                </a:lnTo>
                <a:lnTo>
                  <a:pt x="3530" y="533"/>
                </a:lnTo>
                <a:lnTo>
                  <a:pt x="3521" y="537"/>
                </a:lnTo>
                <a:lnTo>
                  <a:pt x="3511" y="540"/>
                </a:lnTo>
                <a:lnTo>
                  <a:pt x="3500" y="543"/>
                </a:lnTo>
                <a:lnTo>
                  <a:pt x="3488" y="545"/>
                </a:lnTo>
                <a:lnTo>
                  <a:pt x="3476" y="546"/>
                </a:lnTo>
                <a:lnTo>
                  <a:pt x="3463" y="546"/>
                </a:lnTo>
                <a:lnTo>
                  <a:pt x="3441" y="546"/>
                </a:lnTo>
                <a:lnTo>
                  <a:pt x="3420" y="543"/>
                </a:lnTo>
                <a:lnTo>
                  <a:pt x="3400" y="540"/>
                </a:lnTo>
                <a:lnTo>
                  <a:pt x="3379" y="535"/>
                </a:lnTo>
                <a:lnTo>
                  <a:pt x="3361" y="529"/>
                </a:lnTo>
                <a:lnTo>
                  <a:pt x="3343" y="523"/>
                </a:lnTo>
                <a:lnTo>
                  <a:pt x="3327" y="514"/>
                </a:lnTo>
                <a:lnTo>
                  <a:pt x="3312" y="507"/>
                </a:lnTo>
                <a:lnTo>
                  <a:pt x="3288" y="601"/>
                </a:lnTo>
                <a:close/>
                <a:moveTo>
                  <a:pt x="3188" y="263"/>
                </a:moveTo>
                <a:lnTo>
                  <a:pt x="2955" y="263"/>
                </a:lnTo>
                <a:lnTo>
                  <a:pt x="2955" y="104"/>
                </a:lnTo>
                <a:lnTo>
                  <a:pt x="3202" y="104"/>
                </a:lnTo>
                <a:lnTo>
                  <a:pt x="3202" y="10"/>
                </a:lnTo>
                <a:lnTo>
                  <a:pt x="2841" y="10"/>
                </a:lnTo>
                <a:lnTo>
                  <a:pt x="2841" y="631"/>
                </a:lnTo>
                <a:lnTo>
                  <a:pt x="3216" y="631"/>
                </a:lnTo>
                <a:lnTo>
                  <a:pt x="3216" y="537"/>
                </a:lnTo>
                <a:lnTo>
                  <a:pt x="2955" y="537"/>
                </a:lnTo>
                <a:lnTo>
                  <a:pt x="2955" y="355"/>
                </a:lnTo>
                <a:lnTo>
                  <a:pt x="3188" y="355"/>
                </a:lnTo>
                <a:lnTo>
                  <a:pt x="3188" y="263"/>
                </a:lnTo>
                <a:close/>
                <a:moveTo>
                  <a:pt x="2727" y="523"/>
                </a:moveTo>
                <a:lnTo>
                  <a:pt x="2714" y="528"/>
                </a:lnTo>
                <a:lnTo>
                  <a:pt x="2701" y="532"/>
                </a:lnTo>
                <a:lnTo>
                  <a:pt x="2687" y="536"/>
                </a:lnTo>
                <a:lnTo>
                  <a:pt x="2671" y="539"/>
                </a:lnTo>
                <a:lnTo>
                  <a:pt x="2655" y="542"/>
                </a:lnTo>
                <a:lnTo>
                  <a:pt x="2637" y="544"/>
                </a:lnTo>
                <a:lnTo>
                  <a:pt x="2621" y="545"/>
                </a:lnTo>
                <a:lnTo>
                  <a:pt x="2604" y="545"/>
                </a:lnTo>
                <a:lnTo>
                  <a:pt x="2590" y="545"/>
                </a:lnTo>
                <a:lnTo>
                  <a:pt x="2579" y="544"/>
                </a:lnTo>
                <a:lnTo>
                  <a:pt x="2567" y="543"/>
                </a:lnTo>
                <a:lnTo>
                  <a:pt x="2555" y="541"/>
                </a:lnTo>
                <a:lnTo>
                  <a:pt x="2544" y="539"/>
                </a:lnTo>
                <a:lnTo>
                  <a:pt x="2533" y="537"/>
                </a:lnTo>
                <a:lnTo>
                  <a:pt x="2522" y="534"/>
                </a:lnTo>
                <a:lnTo>
                  <a:pt x="2512" y="530"/>
                </a:lnTo>
                <a:lnTo>
                  <a:pt x="2502" y="526"/>
                </a:lnTo>
                <a:lnTo>
                  <a:pt x="2493" y="522"/>
                </a:lnTo>
                <a:lnTo>
                  <a:pt x="2483" y="516"/>
                </a:lnTo>
                <a:lnTo>
                  <a:pt x="2475" y="511"/>
                </a:lnTo>
                <a:lnTo>
                  <a:pt x="2467" y="505"/>
                </a:lnTo>
                <a:lnTo>
                  <a:pt x="2459" y="499"/>
                </a:lnTo>
                <a:lnTo>
                  <a:pt x="2451" y="492"/>
                </a:lnTo>
                <a:lnTo>
                  <a:pt x="2444" y="486"/>
                </a:lnTo>
                <a:lnTo>
                  <a:pt x="2437" y="477"/>
                </a:lnTo>
                <a:lnTo>
                  <a:pt x="2431" y="470"/>
                </a:lnTo>
                <a:lnTo>
                  <a:pt x="2426" y="462"/>
                </a:lnTo>
                <a:lnTo>
                  <a:pt x="2420" y="453"/>
                </a:lnTo>
                <a:lnTo>
                  <a:pt x="2414" y="443"/>
                </a:lnTo>
                <a:lnTo>
                  <a:pt x="2410" y="434"/>
                </a:lnTo>
                <a:lnTo>
                  <a:pt x="2406" y="425"/>
                </a:lnTo>
                <a:lnTo>
                  <a:pt x="2402" y="415"/>
                </a:lnTo>
                <a:lnTo>
                  <a:pt x="2396" y="393"/>
                </a:lnTo>
                <a:lnTo>
                  <a:pt x="2391" y="371"/>
                </a:lnTo>
                <a:lnTo>
                  <a:pt x="2389" y="347"/>
                </a:lnTo>
                <a:lnTo>
                  <a:pt x="2388" y="322"/>
                </a:lnTo>
                <a:lnTo>
                  <a:pt x="2388" y="309"/>
                </a:lnTo>
                <a:lnTo>
                  <a:pt x="2389" y="295"/>
                </a:lnTo>
                <a:lnTo>
                  <a:pt x="2390" y="282"/>
                </a:lnTo>
                <a:lnTo>
                  <a:pt x="2392" y="270"/>
                </a:lnTo>
                <a:lnTo>
                  <a:pt x="2394" y="257"/>
                </a:lnTo>
                <a:lnTo>
                  <a:pt x="2397" y="246"/>
                </a:lnTo>
                <a:lnTo>
                  <a:pt x="2400" y="235"/>
                </a:lnTo>
                <a:lnTo>
                  <a:pt x="2403" y="223"/>
                </a:lnTo>
                <a:lnTo>
                  <a:pt x="2408" y="213"/>
                </a:lnTo>
                <a:lnTo>
                  <a:pt x="2412" y="203"/>
                </a:lnTo>
                <a:lnTo>
                  <a:pt x="2418" y="193"/>
                </a:lnTo>
                <a:lnTo>
                  <a:pt x="2423" y="184"/>
                </a:lnTo>
                <a:lnTo>
                  <a:pt x="2429" y="176"/>
                </a:lnTo>
                <a:lnTo>
                  <a:pt x="2435" y="168"/>
                </a:lnTo>
                <a:lnTo>
                  <a:pt x="2441" y="159"/>
                </a:lnTo>
                <a:lnTo>
                  <a:pt x="2448" y="152"/>
                </a:lnTo>
                <a:lnTo>
                  <a:pt x="2457" y="145"/>
                </a:lnTo>
                <a:lnTo>
                  <a:pt x="2464" y="139"/>
                </a:lnTo>
                <a:lnTo>
                  <a:pt x="2472" y="133"/>
                </a:lnTo>
                <a:lnTo>
                  <a:pt x="2480" y="127"/>
                </a:lnTo>
                <a:lnTo>
                  <a:pt x="2489" y="121"/>
                </a:lnTo>
                <a:lnTo>
                  <a:pt x="2499" y="117"/>
                </a:lnTo>
                <a:lnTo>
                  <a:pt x="2508" y="112"/>
                </a:lnTo>
                <a:lnTo>
                  <a:pt x="2517" y="109"/>
                </a:lnTo>
                <a:lnTo>
                  <a:pt x="2538" y="102"/>
                </a:lnTo>
                <a:lnTo>
                  <a:pt x="2559" y="98"/>
                </a:lnTo>
                <a:lnTo>
                  <a:pt x="2582" y="95"/>
                </a:lnTo>
                <a:lnTo>
                  <a:pt x="2605" y="94"/>
                </a:lnTo>
                <a:lnTo>
                  <a:pt x="2623" y="95"/>
                </a:lnTo>
                <a:lnTo>
                  <a:pt x="2641" y="96"/>
                </a:lnTo>
                <a:lnTo>
                  <a:pt x="2658" y="98"/>
                </a:lnTo>
                <a:lnTo>
                  <a:pt x="2673" y="101"/>
                </a:lnTo>
                <a:lnTo>
                  <a:pt x="2688" y="105"/>
                </a:lnTo>
                <a:lnTo>
                  <a:pt x="2701" y="109"/>
                </a:lnTo>
                <a:lnTo>
                  <a:pt x="2714" y="113"/>
                </a:lnTo>
                <a:lnTo>
                  <a:pt x="2726" y="118"/>
                </a:lnTo>
                <a:lnTo>
                  <a:pt x="2750" y="28"/>
                </a:lnTo>
                <a:lnTo>
                  <a:pt x="2740" y="24"/>
                </a:lnTo>
                <a:lnTo>
                  <a:pt x="2728" y="19"/>
                </a:lnTo>
                <a:lnTo>
                  <a:pt x="2712" y="13"/>
                </a:lnTo>
                <a:lnTo>
                  <a:pt x="2695" y="9"/>
                </a:lnTo>
                <a:lnTo>
                  <a:pt x="2674" y="6"/>
                </a:lnTo>
                <a:lnTo>
                  <a:pt x="2652" y="3"/>
                </a:lnTo>
                <a:lnTo>
                  <a:pt x="2627" y="1"/>
                </a:lnTo>
                <a:lnTo>
                  <a:pt x="2600" y="0"/>
                </a:lnTo>
                <a:lnTo>
                  <a:pt x="2583" y="1"/>
                </a:lnTo>
                <a:lnTo>
                  <a:pt x="2566" y="2"/>
                </a:lnTo>
                <a:lnTo>
                  <a:pt x="2548" y="4"/>
                </a:lnTo>
                <a:lnTo>
                  <a:pt x="2532" y="6"/>
                </a:lnTo>
                <a:lnTo>
                  <a:pt x="2515" y="9"/>
                </a:lnTo>
                <a:lnTo>
                  <a:pt x="2499" y="13"/>
                </a:lnTo>
                <a:lnTo>
                  <a:pt x="2483" y="17"/>
                </a:lnTo>
                <a:lnTo>
                  <a:pt x="2468" y="23"/>
                </a:lnTo>
                <a:lnTo>
                  <a:pt x="2454" y="29"/>
                </a:lnTo>
                <a:lnTo>
                  <a:pt x="2439" y="35"/>
                </a:lnTo>
                <a:lnTo>
                  <a:pt x="2426" y="42"/>
                </a:lnTo>
                <a:lnTo>
                  <a:pt x="2411" y="50"/>
                </a:lnTo>
                <a:lnTo>
                  <a:pt x="2399" y="59"/>
                </a:lnTo>
                <a:lnTo>
                  <a:pt x="2387" y="68"/>
                </a:lnTo>
                <a:lnTo>
                  <a:pt x="2374" y="77"/>
                </a:lnTo>
                <a:lnTo>
                  <a:pt x="2363" y="87"/>
                </a:lnTo>
                <a:lnTo>
                  <a:pt x="2352" y="99"/>
                </a:lnTo>
                <a:lnTo>
                  <a:pt x="2342" y="110"/>
                </a:lnTo>
                <a:lnTo>
                  <a:pt x="2332" y="122"/>
                </a:lnTo>
                <a:lnTo>
                  <a:pt x="2323" y="135"/>
                </a:lnTo>
                <a:lnTo>
                  <a:pt x="2315" y="148"/>
                </a:lnTo>
                <a:lnTo>
                  <a:pt x="2307" y="162"/>
                </a:lnTo>
                <a:lnTo>
                  <a:pt x="2300" y="176"/>
                </a:lnTo>
                <a:lnTo>
                  <a:pt x="2293" y="190"/>
                </a:lnTo>
                <a:lnTo>
                  <a:pt x="2288" y="206"/>
                </a:lnTo>
                <a:lnTo>
                  <a:pt x="2283" y="222"/>
                </a:lnTo>
                <a:lnTo>
                  <a:pt x="2278" y="239"/>
                </a:lnTo>
                <a:lnTo>
                  <a:pt x="2275" y="255"/>
                </a:lnTo>
                <a:lnTo>
                  <a:pt x="2272" y="273"/>
                </a:lnTo>
                <a:lnTo>
                  <a:pt x="2270" y="290"/>
                </a:lnTo>
                <a:lnTo>
                  <a:pt x="2269" y="309"/>
                </a:lnTo>
                <a:lnTo>
                  <a:pt x="2269" y="328"/>
                </a:lnTo>
                <a:lnTo>
                  <a:pt x="2269" y="346"/>
                </a:lnTo>
                <a:lnTo>
                  <a:pt x="2270" y="362"/>
                </a:lnTo>
                <a:lnTo>
                  <a:pt x="2272" y="380"/>
                </a:lnTo>
                <a:lnTo>
                  <a:pt x="2274" y="395"/>
                </a:lnTo>
                <a:lnTo>
                  <a:pt x="2277" y="412"/>
                </a:lnTo>
                <a:lnTo>
                  <a:pt x="2281" y="427"/>
                </a:lnTo>
                <a:lnTo>
                  <a:pt x="2285" y="441"/>
                </a:lnTo>
                <a:lnTo>
                  <a:pt x="2290" y="457"/>
                </a:lnTo>
                <a:lnTo>
                  <a:pt x="2295" y="470"/>
                </a:lnTo>
                <a:lnTo>
                  <a:pt x="2302" y="484"/>
                </a:lnTo>
                <a:lnTo>
                  <a:pt x="2309" y="497"/>
                </a:lnTo>
                <a:lnTo>
                  <a:pt x="2317" y="509"/>
                </a:lnTo>
                <a:lnTo>
                  <a:pt x="2325" y="522"/>
                </a:lnTo>
                <a:lnTo>
                  <a:pt x="2333" y="534"/>
                </a:lnTo>
                <a:lnTo>
                  <a:pt x="2343" y="544"/>
                </a:lnTo>
                <a:lnTo>
                  <a:pt x="2353" y="555"/>
                </a:lnTo>
                <a:lnTo>
                  <a:pt x="2363" y="565"/>
                </a:lnTo>
                <a:lnTo>
                  <a:pt x="2374" y="574"/>
                </a:lnTo>
                <a:lnTo>
                  <a:pt x="2386" y="583"/>
                </a:lnTo>
                <a:lnTo>
                  <a:pt x="2398" y="592"/>
                </a:lnTo>
                <a:lnTo>
                  <a:pt x="2411" y="599"/>
                </a:lnTo>
                <a:lnTo>
                  <a:pt x="2424" y="606"/>
                </a:lnTo>
                <a:lnTo>
                  <a:pt x="2438" y="612"/>
                </a:lnTo>
                <a:lnTo>
                  <a:pt x="2452" y="618"/>
                </a:lnTo>
                <a:lnTo>
                  <a:pt x="2467" y="623"/>
                </a:lnTo>
                <a:lnTo>
                  <a:pt x="2482" y="628"/>
                </a:lnTo>
                <a:lnTo>
                  <a:pt x="2499" y="632"/>
                </a:lnTo>
                <a:lnTo>
                  <a:pt x="2515" y="635"/>
                </a:lnTo>
                <a:lnTo>
                  <a:pt x="2532" y="637"/>
                </a:lnTo>
                <a:lnTo>
                  <a:pt x="2549" y="639"/>
                </a:lnTo>
                <a:lnTo>
                  <a:pt x="2567" y="640"/>
                </a:lnTo>
                <a:lnTo>
                  <a:pt x="2585" y="641"/>
                </a:lnTo>
                <a:lnTo>
                  <a:pt x="2612" y="640"/>
                </a:lnTo>
                <a:lnTo>
                  <a:pt x="2637" y="638"/>
                </a:lnTo>
                <a:lnTo>
                  <a:pt x="2661" y="635"/>
                </a:lnTo>
                <a:lnTo>
                  <a:pt x="2684" y="632"/>
                </a:lnTo>
                <a:lnTo>
                  <a:pt x="2702" y="628"/>
                </a:lnTo>
                <a:lnTo>
                  <a:pt x="2720" y="622"/>
                </a:lnTo>
                <a:lnTo>
                  <a:pt x="2734" y="617"/>
                </a:lnTo>
                <a:lnTo>
                  <a:pt x="2745" y="612"/>
                </a:lnTo>
                <a:lnTo>
                  <a:pt x="2727" y="523"/>
                </a:lnTo>
                <a:close/>
                <a:moveTo>
                  <a:pt x="2058" y="10"/>
                </a:moveTo>
                <a:lnTo>
                  <a:pt x="2058" y="631"/>
                </a:lnTo>
                <a:lnTo>
                  <a:pt x="2171" y="631"/>
                </a:lnTo>
                <a:lnTo>
                  <a:pt x="2171" y="10"/>
                </a:lnTo>
                <a:lnTo>
                  <a:pt x="2058" y="10"/>
                </a:lnTo>
                <a:close/>
                <a:moveTo>
                  <a:pt x="1776" y="631"/>
                </a:moveTo>
                <a:lnTo>
                  <a:pt x="1991" y="10"/>
                </a:lnTo>
                <a:lnTo>
                  <a:pt x="1871" y="10"/>
                </a:lnTo>
                <a:lnTo>
                  <a:pt x="1780" y="294"/>
                </a:lnTo>
                <a:lnTo>
                  <a:pt x="1771" y="322"/>
                </a:lnTo>
                <a:lnTo>
                  <a:pt x="1762" y="351"/>
                </a:lnTo>
                <a:lnTo>
                  <a:pt x="1754" y="379"/>
                </a:lnTo>
                <a:lnTo>
                  <a:pt x="1746" y="407"/>
                </a:lnTo>
                <a:lnTo>
                  <a:pt x="1738" y="435"/>
                </a:lnTo>
                <a:lnTo>
                  <a:pt x="1730" y="463"/>
                </a:lnTo>
                <a:lnTo>
                  <a:pt x="1724" y="491"/>
                </a:lnTo>
                <a:lnTo>
                  <a:pt x="1717" y="518"/>
                </a:lnTo>
                <a:lnTo>
                  <a:pt x="1715" y="518"/>
                </a:lnTo>
                <a:lnTo>
                  <a:pt x="1709" y="491"/>
                </a:lnTo>
                <a:lnTo>
                  <a:pt x="1702" y="462"/>
                </a:lnTo>
                <a:lnTo>
                  <a:pt x="1695" y="434"/>
                </a:lnTo>
                <a:lnTo>
                  <a:pt x="1688" y="406"/>
                </a:lnTo>
                <a:lnTo>
                  <a:pt x="1680" y="379"/>
                </a:lnTo>
                <a:lnTo>
                  <a:pt x="1672" y="350"/>
                </a:lnTo>
                <a:lnTo>
                  <a:pt x="1663" y="321"/>
                </a:lnTo>
                <a:lnTo>
                  <a:pt x="1654" y="292"/>
                </a:lnTo>
                <a:lnTo>
                  <a:pt x="1570" y="10"/>
                </a:lnTo>
                <a:lnTo>
                  <a:pt x="1447" y="10"/>
                </a:lnTo>
                <a:lnTo>
                  <a:pt x="1647" y="631"/>
                </a:lnTo>
                <a:lnTo>
                  <a:pt x="1776" y="631"/>
                </a:lnTo>
                <a:close/>
                <a:moveTo>
                  <a:pt x="1090" y="97"/>
                </a:moveTo>
                <a:lnTo>
                  <a:pt x="1101" y="95"/>
                </a:lnTo>
                <a:lnTo>
                  <a:pt x="1117" y="93"/>
                </a:lnTo>
                <a:lnTo>
                  <a:pt x="1136" y="92"/>
                </a:lnTo>
                <a:lnTo>
                  <a:pt x="1161" y="91"/>
                </a:lnTo>
                <a:lnTo>
                  <a:pt x="1174" y="92"/>
                </a:lnTo>
                <a:lnTo>
                  <a:pt x="1187" y="93"/>
                </a:lnTo>
                <a:lnTo>
                  <a:pt x="1199" y="95"/>
                </a:lnTo>
                <a:lnTo>
                  <a:pt x="1210" y="97"/>
                </a:lnTo>
                <a:lnTo>
                  <a:pt x="1222" y="100"/>
                </a:lnTo>
                <a:lnTo>
                  <a:pt x="1231" y="105"/>
                </a:lnTo>
                <a:lnTo>
                  <a:pt x="1240" y="109"/>
                </a:lnTo>
                <a:lnTo>
                  <a:pt x="1248" y="115"/>
                </a:lnTo>
                <a:lnTo>
                  <a:pt x="1256" y="121"/>
                </a:lnTo>
                <a:lnTo>
                  <a:pt x="1263" y="130"/>
                </a:lnTo>
                <a:lnTo>
                  <a:pt x="1268" y="137"/>
                </a:lnTo>
                <a:lnTo>
                  <a:pt x="1273" y="146"/>
                </a:lnTo>
                <a:lnTo>
                  <a:pt x="1277" y="156"/>
                </a:lnTo>
                <a:lnTo>
                  <a:pt x="1279" y="167"/>
                </a:lnTo>
                <a:lnTo>
                  <a:pt x="1281" y="178"/>
                </a:lnTo>
                <a:lnTo>
                  <a:pt x="1281" y="190"/>
                </a:lnTo>
                <a:lnTo>
                  <a:pt x="1281" y="202"/>
                </a:lnTo>
                <a:lnTo>
                  <a:pt x="1279" y="212"/>
                </a:lnTo>
                <a:lnTo>
                  <a:pt x="1277" y="222"/>
                </a:lnTo>
                <a:lnTo>
                  <a:pt x="1273" y="232"/>
                </a:lnTo>
                <a:lnTo>
                  <a:pt x="1268" y="242"/>
                </a:lnTo>
                <a:lnTo>
                  <a:pt x="1263" y="250"/>
                </a:lnTo>
                <a:lnTo>
                  <a:pt x="1255" y="257"/>
                </a:lnTo>
                <a:lnTo>
                  <a:pt x="1248" y="264"/>
                </a:lnTo>
                <a:lnTo>
                  <a:pt x="1240" y="271"/>
                </a:lnTo>
                <a:lnTo>
                  <a:pt x="1231" y="277"/>
                </a:lnTo>
                <a:lnTo>
                  <a:pt x="1221" y="281"/>
                </a:lnTo>
                <a:lnTo>
                  <a:pt x="1209" y="285"/>
                </a:lnTo>
                <a:lnTo>
                  <a:pt x="1197" y="288"/>
                </a:lnTo>
                <a:lnTo>
                  <a:pt x="1185" y="291"/>
                </a:lnTo>
                <a:lnTo>
                  <a:pt x="1171" y="292"/>
                </a:lnTo>
                <a:lnTo>
                  <a:pt x="1158" y="292"/>
                </a:lnTo>
                <a:lnTo>
                  <a:pt x="1090" y="292"/>
                </a:lnTo>
                <a:lnTo>
                  <a:pt x="1090" y="97"/>
                </a:lnTo>
                <a:close/>
                <a:moveTo>
                  <a:pt x="978" y="631"/>
                </a:moveTo>
                <a:lnTo>
                  <a:pt x="1090" y="631"/>
                </a:lnTo>
                <a:lnTo>
                  <a:pt x="1090" y="375"/>
                </a:lnTo>
                <a:lnTo>
                  <a:pt x="1148" y="375"/>
                </a:lnTo>
                <a:lnTo>
                  <a:pt x="1159" y="377"/>
                </a:lnTo>
                <a:lnTo>
                  <a:pt x="1170" y="378"/>
                </a:lnTo>
                <a:lnTo>
                  <a:pt x="1180" y="380"/>
                </a:lnTo>
                <a:lnTo>
                  <a:pt x="1190" y="382"/>
                </a:lnTo>
                <a:lnTo>
                  <a:pt x="1198" y="385"/>
                </a:lnTo>
                <a:lnTo>
                  <a:pt x="1206" y="389"/>
                </a:lnTo>
                <a:lnTo>
                  <a:pt x="1213" y="394"/>
                </a:lnTo>
                <a:lnTo>
                  <a:pt x="1221" y="400"/>
                </a:lnTo>
                <a:lnTo>
                  <a:pt x="1227" y="407"/>
                </a:lnTo>
                <a:lnTo>
                  <a:pt x="1233" y="415"/>
                </a:lnTo>
                <a:lnTo>
                  <a:pt x="1238" y="424"/>
                </a:lnTo>
                <a:lnTo>
                  <a:pt x="1243" y="433"/>
                </a:lnTo>
                <a:lnTo>
                  <a:pt x="1247" y="444"/>
                </a:lnTo>
                <a:lnTo>
                  <a:pt x="1251" y="457"/>
                </a:lnTo>
                <a:lnTo>
                  <a:pt x="1255" y="470"/>
                </a:lnTo>
                <a:lnTo>
                  <a:pt x="1259" y="485"/>
                </a:lnTo>
                <a:lnTo>
                  <a:pt x="1272" y="537"/>
                </a:lnTo>
                <a:lnTo>
                  <a:pt x="1283" y="579"/>
                </a:lnTo>
                <a:lnTo>
                  <a:pt x="1288" y="597"/>
                </a:lnTo>
                <a:lnTo>
                  <a:pt x="1292" y="611"/>
                </a:lnTo>
                <a:lnTo>
                  <a:pt x="1297" y="622"/>
                </a:lnTo>
                <a:lnTo>
                  <a:pt x="1301" y="631"/>
                </a:lnTo>
                <a:lnTo>
                  <a:pt x="1417" y="631"/>
                </a:lnTo>
                <a:lnTo>
                  <a:pt x="1413" y="619"/>
                </a:lnTo>
                <a:lnTo>
                  <a:pt x="1406" y="605"/>
                </a:lnTo>
                <a:lnTo>
                  <a:pt x="1401" y="585"/>
                </a:lnTo>
                <a:lnTo>
                  <a:pt x="1395" y="565"/>
                </a:lnTo>
                <a:lnTo>
                  <a:pt x="1389" y="540"/>
                </a:lnTo>
                <a:lnTo>
                  <a:pt x="1382" y="514"/>
                </a:lnTo>
                <a:lnTo>
                  <a:pt x="1376" y="487"/>
                </a:lnTo>
                <a:lnTo>
                  <a:pt x="1368" y="458"/>
                </a:lnTo>
                <a:lnTo>
                  <a:pt x="1362" y="436"/>
                </a:lnTo>
                <a:lnTo>
                  <a:pt x="1354" y="416"/>
                </a:lnTo>
                <a:lnTo>
                  <a:pt x="1346" y="398"/>
                </a:lnTo>
                <a:lnTo>
                  <a:pt x="1336" y="382"/>
                </a:lnTo>
                <a:lnTo>
                  <a:pt x="1330" y="374"/>
                </a:lnTo>
                <a:lnTo>
                  <a:pt x="1324" y="367"/>
                </a:lnTo>
                <a:lnTo>
                  <a:pt x="1318" y="361"/>
                </a:lnTo>
                <a:lnTo>
                  <a:pt x="1312" y="355"/>
                </a:lnTo>
                <a:lnTo>
                  <a:pt x="1305" y="350"/>
                </a:lnTo>
                <a:lnTo>
                  <a:pt x="1298" y="346"/>
                </a:lnTo>
                <a:lnTo>
                  <a:pt x="1290" y="342"/>
                </a:lnTo>
                <a:lnTo>
                  <a:pt x="1282" y="337"/>
                </a:lnTo>
                <a:lnTo>
                  <a:pt x="1282" y="335"/>
                </a:lnTo>
                <a:lnTo>
                  <a:pt x="1292" y="330"/>
                </a:lnTo>
                <a:lnTo>
                  <a:pt x="1304" y="326"/>
                </a:lnTo>
                <a:lnTo>
                  <a:pt x="1314" y="320"/>
                </a:lnTo>
                <a:lnTo>
                  <a:pt x="1324" y="314"/>
                </a:lnTo>
                <a:lnTo>
                  <a:pt x="1334" y="306"/>
                </a:lnTo>
                <a:lnTo>
                  <a:pt x="1343" y="298"/>
                </a:lnTo>
                <a:lnTo>
                  <a:pt x="1352" y="289"/>
                </a:lnTo>
                <a:lnTo>
                  <a:pt x="1360" y="280"/>
                </a:lnTo>
                <a:lnTo>
                  <a:pt x="1367" y="270"/>
                </a:lnTo>
                <a:lnTo>
                  <a:pt x="1374" y="258"/>
                </a:lnTo>
                <a:lnTo>
                  <a:pt x="1380" y="247"/>
                </a:lnTo>
                <a:lnTo>
                  <a:pt x="1385" y="235"/>
                </a:lnTo>
                <a:lnTo>
                  <a:pt x="1389" y="222"/>
                </a:lnTo>
                <a:lnTo>
                  <a:pt x="1392" y="209"/>
                </a:lnTo>
                <a:lnTo>
                  <a:pt x="1394" y="194"/>
                </a:lnTo>
                <a:lnTo>
                  <a:pt x="1394" y="180"/>
                </a:lnTo>
                <a:lnTo>
                  <a:pt x="1393" y="160"/>
                </a:lnTo>
                <a:lnTo>
                  <a:pt x="1391" y="142"/>
                </a:lnTo>
                <a:lnTo>
                  <a:pt x="1386" y="124"/>
                </a:lnTo>
                <a:lnTo>
                  <a:pt x="1381" y="108"/>
                </a:lnTo>
                <a:lnTo>
                  <a:pt x="1373" y="94"/>
                </a:lnTo>
                <a:lnTo>
                  <a:pt x="1363" y="79"/>
                </a:lnTo>
                <a:lnTo>
                  <a:pt x="1353" y="67"/>
                </a:lnTo>
                <a:lnTo>
                  <a:pt x="1341" y="56"/>
                </a:lnTo>
                <a:lnTo>
                  <a:pt x="1333" y="49"/>
                </a:lnTo>
                <a:lnTo>
                  <a:pt x="1324" y="43"/>
                </a:lnTo>
                <a:lnTo>
                  <a:pt x="1315" y="38"/>
                </a:lnTo>
                <a:lnTo>
                  <a:pt x="1306" y="33"/>
                </a:lnTo>
                <a:lnTo>
                  <a:pt x="1296" y="28"/>
                </a:lnTo>
                <a:lnTo>
                  <a:pt x="1285" y="24"/>
                </a:lnTo>
                <a:lnTo>
                  <a:pt x="1275" y="21"/>
                </a:lnTo>
                <a:lnTo>
                  <a:pt x="1263" y="17"/>
                </a:lnTo>
                <a:lnTo>
                  <a:pt x="1238" y="12"/>
                </a:lnTo>
                <a:lnTo>
                  <a:pt x="1211" y="8"/>
                </a:lnTo>
                <a:lnTo>
                  <a:pt x="1181" y="6"/>
                </a:lnTo>
                <a:lnTo>
                  <a:pt x="1150" y="5"/>
                </a:lnTo>
                <a:lnTo>
                  <a:pt x="1125" y="5"/>
                </a:lnTo>
                <a:lnTo>
                  <a:pt x="1101" y="6"/>
                </a:lnTo>
                <a:lnTo>
                  <a:pt x="1078" y="7"/>
                </a:lnTo>
                <a:lnTo>
                  <a:pt x="1055" y="9"/>
                </a:lnTo>
                <a:lnTo>
                  <a:pt x="1034" y="11"/>
                </a:lnTo>
                <a:lnTo>
                  <a:pt x="1014" y="13"/>
                </a:lnTo>
                <a:lnTo>
                  <a:pt x="995" y="15"/>
                </a:lnTo>
                <a:lnTo>
                  <a:pt x="978" y="19"/>
                </a:lnTo>
                <a:lnTo>
                  <a:pt x="978" y="631"/>
                </a:lnTo>
                <a:close/>
                <a:moveTo>
                  <a:pt x="852" y="263"/>
                </a:moveTo>
                <a:lnTo>
                  <a:pt x="617" y="263"/>
                </a:lnTo>
                <a:lnTo>
                  <a:pt x="617" y="104"/>
                </a:lnTo>
                <a:lnTo>
                  <a:pt x="865" y="104"/>
                </a:lnTo>
                <a:lnTo>
                  <a:pt x="865" y="10"/>
                </a:lnTo>
                <a:lnTo>
                  <a:pt x="504" y="10"/>
                </a:lnTo>
                <a:lnTo>
                  <a:pt x="504" y="631"/>
                </a:lnTo>
                <a:lnTo>
                  <a:pt x="879" y="631"/>
                </a:lnTo>
                <a:lnTo>
                  <a:pt x="879" y="537"/>
                </a:lnTo>
                <a:lnTo>
                  <a:pt x="617" y="537"/>
                </a:lnTo>
                <a:lnTo>
                  <a:pt x="617" y="355"/>
                </a:lnTo>
                <a:lnTo>
                  <a:pt x="852" y="355"/>
                </a:lnTo>
                <a:lnTo>
                  <a:pt x="852" y="263"/>
                </a:lnTo>
                <a:close/>
                <a:moveTo>
                  <a:pt x="0" y="601"/>
                </a:moveTo>
                <a:lnTo>
                  <a:pt x="14" y="609"/>
                </a:lnTo>
                <a:lnTo>
                  <a:pt x="32" y="616"/>
                </a:lnTo>
                <a:lnTo>
                  <a:pt x="50" y="622"/>
                </a:lnTo>
                <a:lnTo>
                  <a:pt x="72" y="629"/>
                </a:lnTo>
                <a:lnTo>
                  <a:pt x="94" y="634"/>
                </a:lnTo>
                <a:lnTo>
                  <a:pt x="118" y="637"/>
                </a:lnTo>
                <a:lnTo>
                  <a:pt x="143" y="640"/>
                </a:lnTo>
                <a:lnTo>
                  <a:pt x="167" y="641"/>
                </a:lnTo>
                <a:lnTo>
                  <a:pt x="196" y="640"/>
                </a:lnTo>
                <a:lnTo>
                  <a:pt x="224" y="637"/>
                </a:lnTo>
                <a:lnTo>
                  <a:pt x="236" y="635"/>
                </a:lnTo>
                <a:lnTo>
                  <a:pt x="248" y="632"/>
                </a:lnTo>
                <a:lnTo>
                  <a:pt x="261" y="629"/>
                </a:lnTo>
                <a:lnTo>
                  <a:pt x="272" y="625"/>
                </a:lnTo>
                <a:lnTo>
                  <a:pt x="282" y="621"/>
                </a:lnTo>
                <a:lnTo>
                  <a:pt x="293" y="617"/>
                </a:lnTo>
                <a:lnTo>
                  <a:pt x="303" y="613"/>
                </a:lnTo>
                <a:lnTo>
                  <a:pt x="312" y="608"/>
                </a:lnTo>
                <a:lnTo>
                  <a:pt x="321" y="603"/>
                </a:lnTo>
                <a:lnTo>
                  <a:pt x="330" y="597"/>
                </a:lnTo>
                <a:lnTo>
                  <a:pt x="338" y="591"/>
                </a:lnTo>
                <a:lnTo>
                  <a:pt x="345" y="584"/>
                </a:lnTo>
                <a:lnTo>
                  <a:pt x="352" y="578"/>
                </a:lnTo>
                <a:lnTo>
                  <a:pt x="358" y="571"/>
                </a:lnTo>
                <a:lnTo>
                  <a:pt x="365" y="564"/>
                </a:lnTo>
                <a:lnTo>
                  <a:pt x="371" y="557"/>
                </a:lnTo>
                <a:lnTo>
                  <a:pt x="380" y="541"/>
                </a:lnTo>
                <a:lnTo>
                  <a:pt x="388" y="526"/>
                </a:lnTo>
                <a:lnTo>
                  <a:pt x="394" y="508"/>
                </a:lnTo>
                <a:lnTo>
                  <a:pt x="400" y="491"/>
                </a:lnTo>
                <a:lnTo>
                  <a:pt x="402" y="472"/>
                </a:lnTo>
                <a:lnTo>
                  <a:pt x="403" y="454"/>
                </a:lnTo>
                <a:lnTo>
                  <a:pt x="402" y="437"/>
                </a:lnTo>
                <a:lnTo>
                  <a:pt x="401" y="422"/>
                </a:lnTo>
                <a:lnTo>
                  <a:pt x="397" y="407"/>
                </a:lnTo>
                <a:lnTo>
                  <a:pt x="393" y="393"/>
                </a:lnTo>
                <a:lnTo>
                  <a:pt x="387" y="380"/>
                </a:lnTo>
                <a:lnTo>
                  <a:pt x="381" y="367"/>
                </a:lnTo>
                <a:lnTo>
                  <a:pt x="373" y="355"/>
                </a:lnTo>
                <a:lnTo>
                  <a:pt x="364" y="344"/>
                </a:lnTo>
                <a:lnTo>
                  <a:pt x="353" y="332"/>
                </a:lnTo>
                <a:lnTo>
                  <a:pt x="341" y="322"/>
                </a:lnTo>
                <a:lnTo>
                  <a:pt x="328" y="313"/>
                </a:lnTo>
                <a:lnTo>
                  <a:pt x="313" y="303"/>
                </a:lnTo>
                <a:lnTo>
                  <a:pt x="298" y="294"/>
                </a:lnTo>
                <a:lnTo>
                  <a:pt x="281" y="286"/>
                </a:lnTo>
                <a:lnTo>
                  <a:pt x="263" y="278"/>
                </a:lnTo>
                <a:lnTo>
                  <a:pt x="243" y="270"/>
                </a:lnTo>
                <a:lnTo>
                  <a:pt x="215" y="258"/>
                </a:lnTo>
                <a:lnTo>
                  <a:pt x="190" y="247"/>
                </a:lnTo>
                <a:lnTo>
                  <a:pt x="179" y="242"/>
                </a:lnTo>
                <a:lnTo>
                  <a:pt x="169" y="236"/>
                </a:lnTo>
                <a:lnTo>
                  <a:pt x="161" y="230"/>
                </a:lnTo>
                <a:lnTo>
                  <a:pt x="153" y="224"/>
                </a:lnTo>
                <a:lnTo>
                  <a:pt x="146" y="219"/>
                </a:lnTo>
                <a:lnTo>
                  <a:pt x="141" y="213"/>
                </a:lnTo>
                <a:lnTo>
                  <a:pt x="135" y="206"/>
                </a:lnTo>
                <a:lnTo>
                  <a:pt x="131" y="200"/>
                </a:lnTo>
                <a:lnTo>
                  <a:pt x="128" y="192"/>
                </a:lnTo>
                <a:lnTo>
                  <a:pt x="126" y="184"/>
                </a:lnTo>
                <a:lnTo>
                  <a:pt x="125" y="177"/>
                </a:lnTo>
                <a:lnTo>
                  <a:pt x="125" y="168"/>
                </a:lnTo>
                <a:lnTo>
                  <a:pt x="125" y="162"/>
                </a:lnTo>
                <a:lnTo>
                  <a:pt x="126" y="154"/>
                </a:lnTo>
                <a:lnTo>
                  <a:pt x="128" y="147"/>
                </a:lnTo>
                <a:lnTo>
                  <a:pt x="130" y="141"/>
                </a:lnTo>
                <a:lnTo>
                  <a:pt x="134" y="135"/>
                </a:lnTo>
                <a:lnTo>
                  <a:pt x="139" y="129"/>
                </a:lnTo>
                <a:lnTo>
                  <a:pt x="143" y="122"/>
                </a:lnTo>
                <a:lnTo>
                  <a:pt x="149" y="117"/>
                </a:lnTo>
                <a:lnTo>
                  <a:pt x="156" y="112"/>
                </a:lnTo>
                <a:lnTo>
                  <a:pt x="163" y="107"/>
                </a:lnTo>
                <a:lnTo>
                  <a:pt x="171" y="103"/>
                </a:lnTo>
                <a:lnTo>
                  <a:pt x="181" y="100"/>
                </a:lnTo>
                <a:lnTo>
                  <a:pt x="191" y="97"/>
                </a:lnTo>
                <a:lnTo>
                  <a:pt x="202" y="95"/>
                </a:lnTo>
                <a:lnTo>
                  <a:pt x="215" y="94"/>
                </a:lnTo>
                <a:lnTo>
                  <a:pt x="227" y="94"/>
                </a:lnTo>
                <a:lnTo>
                  <a:pt x="248" y="94"/>
                </a:lnTo>
                <a:lnTo>
                  <a:pt x="268" y="96"/>
                </a:lnTo>
                <a:lnTo>
                  <a:pt x="285" y="100"/>
                </a:lnTo>
                <a:lnTo>
                  <a:pt x="302" y="104"/>
                </a:lnTo>
                <a:lnTo>
                  <a:pt x="317" y="108"/>
                </a:lnTo>
                <a:lnTo>
                  <a:pt x="331" y="113"/>
                </a:lnTo>
                <a:lnTo>
                  <a:pt x="342" y="118"/>
                </a:lnTo>
                <a:lnTo>
                  <a:pt x="351" y="122"/>
                </a:lnTo>
                <a:lnTo>
                  <a:pt x="378" y="31"/>
                </a:lnTo>
                <a:lnTo>
                  <a:pt x="366" y="25"/>
                </a:lnTo>
                <a:lnTo>
                  <a:pt x="350" y="20"/>
                </a:lnTo>
                <a:lnTo>
                  <a:pt x="335" y="14"/>
                </a:lnTo>
                <a:lnTo>
                  <a:pt x="316" y="9"/>
                </a:lnTo>
                <a:lnTo>
                  <a:pt x="298" y="6"/>
                </a:lnTo>
                <a:lnTo>
                  <a:pt x="276" y="3"/>
                </a:lnTo>
                <a:lnTo>
                  <a:pt x="254" y="1"/>
                </a:lnTo>
                <a:lnTo>
                  <a:pt x="229" y="0"/>
                </a:lnTo>
                <a:lnTo>
                  <a:pt x="204" y="1"/>
                </a:lnTo>
                <a:lnTo>
                  <a:pt x="182" y="4"/>
                </a:lnTo>
                <a:lnTo>
                  <a:pt x="159" y="8"/>
                </a:lnTo>
                <a:lnTo>
                  <a:pt x="139" y="14"/>
                </a:lnTo>
                <a:lnTo>
                  <a:pt x="119" y="22"/>
                </a:lnTo>
                <a:lnTo>
                  <a:pt x="101" y="30"/>
                </a:lnTo>
                <a:lnTo>
                  <a:pt x="84" y="40"/>
                </a:lnTo>
                <a:lnTo>
                  <a:pt x="70" y="51"/>
                </a:lnTo>
                <a:lnTo>
                  <a:pt x="56" y="64"/>
                </a:lnTo>
                <a:lnTo>
                  <a:pt x="44" y="77"/>
                </a:lnTo>
                <a:lnTo>
                  <a:pt x="34" y="93"/>
                </a:lnTo>
                <a:lnTo>
                  <a:pt x="26" y="108"/>
                </a:lnTo>
                <a:lnTo>
                  <a:pt x="18" y="124"/>
                </a:lnTo>
                <a:lnTo>
                  <a:pt x="14" y="142"/>
                </a:lnTo>
                <a:lnTo>
                  <a:pt x="11" y="159"/>
                </a:lnTo>
                <a:lnTo>
                  <a:pt x="10" y="179"/>
                </a:lnTo>
                <a:lnTo>
                  <a:pt x="11" y="194"/>
                </a:lnTo>
                <a:lnTo>
                  <a:pt x="13" y="211"/>
                </a:lnTo>
                <a:lnTo>
                  <a:pt x="16" y="225"/>
                </a:lnTo>
                <a:lnTo>
                  <a:pt x="21" y="240"/>
                </a:lnTo>
                <a:lnTo>
                  <a:pt x="29" y="253"/>
                </a:lnTo>
                <a:lnTo>
                  <a:pt x="36" y="265"/>
                </a:lnTo>
                <a:lnTo>
                  <a:pt x="45" y="277"/>
                </a:lnTo>
                <a:lnTo>
                  <a:pt x="55" y="288"/>
                </a:lnTo>
                <a:lnTo>
                  <a:pt x="67" y="299"/>
                </a:lnTo>
                <a:lnTo>
                  <a:pt x="80" y="310"/>
                </a:lnTo>
                <a:lnTo>
                  <a:pt x="93" y="319"/>
                </a:lnTo>
                <a:lnTo>
                  <a:pt x="109" y="328"/>
                </a:lnTo>
                <a:lnTo>
                  <a:pt x="124" y="336"/>
                </a:lnTo>
                <a:lnTo>
                  <a:pt x="142" y="345"/>
                </a:lnTo>
                <a:lnTo>
                  <a:pt x="159" y="352"/>
                </a:lnTo>
                <a:lnTo>
                  <a:pt x="178" y="359"/>
                </a:lnTo>
                <a:lnTo>
                  <a:pt x="205" y="369"/>
                </a:lnTo>
                <a:lnTo>
                  <a:pt x="228" y="381"/>
                </a:lnTo>
                <a:lnTo>
                  <a:pt x="238" y="386"/>
                </a:lnTo>
                <a:lnTo>
                  <a:pt x="247" y="392"/>
                </a:lnTo>
                <a:lnTo>
                  <a:pt x="255" y="397"/>
                </a:lnTo>
                <a:lnTo>
                  <a:pt x="262" y="403"/>
                </a:lnTo>
                <a:lnTo>
                  <a:pt x="268" y="409"/>
                </a:lnTo>
                <a:lnTo>
                  <a:pt x="273" y="417"/>
                </a:lnTo>
                <a:lnTo>
                  <a:pt x="278" y="423"/>
                </a:lnTo>
                <a:lnTo>
                  <a:pt x="281" y="430"/>
                </a:lnTo>
                <a:lnTo>
                  <a:pt x="284" y="437"/>
                </a:lnTo>
                <a:lnTo>
                  <a:pt x="287" y="445"/>
                </a:lnTo>
                <a:lnTo>
                  <a:pt x="288" y="454"/>
                </a:lnTo>
                <a:lnTo>
                  <a:pt x="288" y="462"/>
                </a:lnTo>
                <a:lnTo>
                  <a:pt x="288" y="471"/>
                </a:lnTo>
                <a:lnTo>
                  <a:pt x="285" y="480"/>
                </a:lnTo>
                <a:lnTo>
                  <a:pt x="283" y="489"/>
                </a:lnTo>
                <a:lnTo>
                  <a:pt x="280" y="497"/>
                </a:lnTo>
                <a:lnTo>
                  <a:pt x="276" y="504"/>
                </a:lnTo>
                <a:lnTo>
                  <a:pt x="271" y="511"/>
                </a:lnTo>
                <a:lnTo>
                  <a:pt x="265" y="517"/>
                </a:lnTo>
                <a:lnTo>
                  <a:pt x="259" y="524"/>
                </a:lnTo>
                <a:lnTo>
                  <a:pt x="251" y="529"/>
                </a:lnTo>
                <a:lnTo>
                  <a:pt x="242" y="533"/>
                </a:lnTo>
                <a:lnTo>
                  <a:pt x="233" y="537"/>
                </a:lnTo>
                <a:lnTo>
                  <a:pt x="223" y="540"/>
                </a:lnTo>
                <a:lnTo>
                  <a:pt x="213" y="543"/>
                </a:lnTo>
                <a:lnTo>
                  <a:pt x="200" y="545"/>
                </a:lnTo>
                <a:lnTo>
                  <a:pt x="188" y="546"/>
                </a:lnTo>
                <a:lnTo>
                  <a:pt x="175" y="546"/>
                </a:lnTo>
                <a:lnTo>
                  <a:pt x="154" y="546"/>
                </a:lnTo>
                <a:lnTo>
                  <a:pt x="132" y="543"/>
                </a:lnTo>
                <a:lnTo>
                  <a:pt x="112" y="540"/>
                </a:lnTo>
                <a:lnTo>
                  <a:pt x="92" y="535"/>
                </a:lnTo>
                <a:lnTo>
                  <a:pt x="74" y="529"/>
                </a:lnTo>
                <a:lnTo>
                  <a:pt x="56" y="523"/>
                </a:lnTo>
                <a:lnTo>
                  <a:pt x="40" y="514"/>
                </a:lnTo>
                <a:lnTo>
                  <a:pt x="26" y="507"/>
                </a:lnTo>
                <a:lnTo>
                  <a:pt x="0" y="601"/>
                </a:lnTo>
                <a:close/>
              </a:path>
            </a:pathLst>
          </a:custGeom>
          <a:solidFill>
            <a:schemeClr val="bg1">
              <a:lumMod val="5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050" dirty="0">
              <a:solidFill>
                <a:prstClr val="white"/>
              </a:solidFill>
            </a:endParaRPr>
          </a:p>
        </p:txBody>
      </p:sp>
      <p:sp>
        <p:nvSpPr>
          <p:cNvPr id="58" name="Freeform 57"/>
          <p:cNvSpPr>
            <a:spLocks noEditPoints="1"/>
          </p:cNvSpPr>
          <p:nvPr userDrawn="1"/>
        </p:nvSpPr>
        <p:spPr bwMode="auto">
          <a:xfrm>
            <a:off x="7262387" y="5013580"/>
            <a:ext cx="1040973" cy="84203"/>
          </a:xfrm>
          <a:custGeom>
            <a:avLst/>
            <a:gdLst/>
            <a:ahLst/>
            <a:cxnLst>
              <a:cxn ang="0">
                <a:pos x="5506" y="10"/>
              </a:cxn>
              <a:cxn ang="0">
                <a:pos x="5169" y="544"/>
              </a:cxn>
              <a:cxn ang="0">
                <a:pos x="5029" y="477"/>
              </a:cxn>
              <a:cxn ang="0">
                <a:pos x="4982" y="270"/>
              </a:cxn>
              <a:cxn ang="0">
                <a:pos x="5063" y="133"/>
              </a:cxn>
              <a:cxn ang="0">
                <a:pos x="5293" y="109"/>
              </a:cxn>
              <a:cxn ang="0">
                <a:pos x="5122" y="6"/>
              </a:cxn>
              <a:cxn ang="0">
                <a:pos x="4924" y="122"/>
              </a:cxn>
              <a:cxn ang="0">
                <a:pos x="4861" y="362"/>
              </a:cxn>
              <a:cxn ang="0">
                <a:pos x="4955" y="565"/>
              </a:cxn>
              <a:cxn ang="0">
                <a:pos x="5175" y="641"/>
              </a:cxn>
              <a:cxn ang="0">
                <a:pos x="4373" y="269"/>
              </a:cxn>
              <a:cxn ang="0">
                <a:pos x="4761" y="631"/>
              </a:cxn>
              <a:cxn ang="0">
                <a:pos x="4630" y="407"/>
              </a:cxn>
              <a:cxn ang="0">
                <a:pos x="3905" y="100"/>
              </a:cxn>
              <a:cxn ang="0">
                <a:pos x="3809" y="456"/>
              </a:cxn>
              <a:cxn ang="0">
                <a:pos x="3020" y="10"/>
              </a:cxn>
              <a:cxn ang="0">
                <a:pos x="2324" y="528"/>
              </a:cxn>
              <a:cxn ang="0">
                <a:pos x="2455" y="633"/>
              </a:cxn>
              <a:cxn ang="0">
                <a:pos x="2663" y="610"/>
              </a:cxn>
              <a:cxn ang="0">
                <a:pos x="2767" y="461"/>
              </a:cxn>
              <a:cxn ang="0">
                <a:pos x="2644" y="481"/>
              </a:cxn>
              <a:cxn ang="0">
                <a:pos x="2470" y="533"/>
              </a:cxn>
              <a:cxn ang="0">
                <a:pos x="1803" y="609"/>
              </a:cxn>
              <a:cxn ang="0">
                <a:pos x="2082" y="617"/>
              </a:cxn>
              <a:cxn ang="0">
                <a:pos x="2191" y="472"/>
              </a:cxn>
              <a:cxn ang="0">
                <a:pos x="2070" y="286"/>
              </a:cxn>
              <a:cxn ang="0">
                <a:pos x="1914" y="177"/>
              </a:cxn>
              <a:cxn ang="0">
                <a:pos x="1991" y="95"/>
              </a:cxn>
              <a:cxn ang="0">
                <a:pos x="2106" y="9"/>
              </a:cxn>
              <a:cxn ang="0">
                <a:pos x="1823" y="93"/>
              </a:cxn>
              <a:cxn ang="0">
                <a:pos x="1869" y="310"/>
              </a:cxn>
              <a:cxn ang="0">
                <a:pos x="2067" y="423"/>
              </a:cxn>
              <a:cxn ang="0">
                <a:pos x="2031" y="533"/>
              </a:cxn>
              <a:cxn ang="0">
                <a:pos x="1789" y="601"/>
              </a:cxn>
              <a:cxn ang="0">
                <a:pos x="1348" y="251"/>
              </a:cxn>
              <a:cxn ang="0">
                <a:pos x="1587" y="422"/>
              </a:cxn>
              <a:cxn ang="0">
                <a:pos x="1300" y="631"/>
              </a:cxn>
              <a:cxn ang="0">
                <a:pos x="679" y="482"/>
              </a:cxn>
              <a:cxn ang="0">
                <a:pos x="668" y="177"/>
              </a:cxn>
              <a:cxn ang="0">
                <a:pos x="807" y="91"/>
              </a:cxn>
              <a:cxn ang="0">
                <a:pos x="944" y="177"/>
              </a:cxn>
              <a:cxn ang="0">
                <a:pos x="933" y="482"/>
              </a:cxn>
              <a:cxn ang="0">
                <a:pos x="804" y="550"/>
              </a:cxn>
              <a:cxn ang="0">
                <a:pos x="993" y="575"/>
              </a:cxn>
              <a:cxn ang="0">
                <a:pos x="1094" y="370"/>
              </a:cxn>
              <a:cxn ang="0">
                <a:pos x="1054" y="137"/>
              </a:cxn>
              <a:cxn ang="0">
                <a:pos x="890" y="9"/>
              </a:cxn>
              <a:cxn ang="0">
                <a:pos x="665" y="37"/>
              </a:cxn>
              <a:cxn ang="0">
                <a:pos x="531" y="209"/>
              </a:cxn>
              <a:cxn ang="0">
                <a:pos x="535" y="452"/>
              </a:cxn>
              <a:cxn ang="0">
                <a:pos x="670" y="611"/>
              </a:cxn>
              <a:cxn ang="0">
                <a:pos x="403" y="539"/>
              </a:cxn>
              <a:cxn ang="0">
                <a:pos x="216" y="516"/>
              </a:cxn>
              <a:cxn ang="0">
                <a:pos x="123" y="371"/>
              </a:cxn>
              <a:cxn ang="0">
                <a:pos x="160" y="176"/>
              </a:cxn>
              <a:cxn ang="0">
                <a:pos x="337" y="94"/>
              </a:cxn>
              <a:cxn ang="0">
                <a:pos x="383" y="3"/>
              </a:cxn>
              <a:cxn ang="0">
                <a:pos x="130" y="59"/>
              </a:cxn>
              <a:cxn ang="0">
                <a:pos x="6" y="255"/>
              </a:cxn>
              <a:cxn ang="0">
                <a:pos x="41" y="497"/>
              </a:cxn>
              <a:cxn ang="0">
                <a:pos x="215" y="628"/>
              </a:cxn>
              <a:cxn ang="0">
                <a:pos x="458" y="523"/>
              </a:cxn>
            </a:cxnLst>
            <a:rect l="0" t="0" r="r" b="b"/>
            <a:pathLst>
              <a:path w="5893" h="641">
                <a:moveTo>
                  <a:pt x="5686" y="631"/>
                </a:moveTo>
                <a:lnTo>
                  <a:pt x="5686" y="369"/>
                </a:lnTo>
                <a:lnTo>
                  <a:pt x="5893" y="10"/>
                </a:lnTo>
                <a:lnTo>
                  <a:pt x="5764" y="10"/>
                </a:lnTo>
                <a:lnTo>
                  <a:pt x="5690" y="169"/>
                </a:lnTo>
                <a:lnTo>
                  <a:pt x="5675" y="202"/>
                </a:lnTo>
                <a:lnTo>
                  <a:pt x="5661" y="232"/>
                </a:lnTo>
                <a:lnTo>
                  <a:pt x="5648" y="262"/>
                </a:lnTo>
                <a:lnTo>
                  <a:pt x="5636" y="292"/>
                </a:lnTo>
                <a:lnTo>
                  <a:pt x="5635" y="292"/>
                </a:lnTo>
                <a:lnTo>
                  <a:pt x="5621" y="261"/>
                </a:lnTo>
                <a:lnTo>
                  <a:pt x="5609" y="232"/>
                </a:lnTo>
                <a:lnTo>
                  <a:pt x="5596" y="202"/>
                </a:lnTo>
                <a:lnTo>
                  <a:pt x="5580" y="170"/>
                </a:lnTo>
                <a:lnTo>
                  <a:pt x="5506" y="10"/>
                </a:lnTo>
                <a:lnTo>
                  <a:pt x="5377" y="10"/>
                </a:lnTo>
                <a:lnTo>
                  <a:pt x="5573" y="372"/>
                </a:lnTo>
                <a:lnTo>
                  <a:pt x="5573" y="631"/>
                </a:lnTo>
                <a:lnTo>
                  <a:pt x="5686" y="631"/>
                </a:lnTo>
                <a:close/>
                <a:moveTo>
                  <a:pt x="5318" y="523"/>
                </a:moveTo>
                <a:lnTo>
                  <a:pt x="5306" y="528"/>
                </a:lnTo>
                <a:lnTo>
                  <a:pt x="5293" y="532"/>
                </a:lnTo>
                <a:lnTo>
                  <a:pt x="5277" y="536"/>
                </a:lnTo>
                <a:lnTo>
                  <a:pt x="5262" y="539"/>
                </a:lnTo>
                <a:lnTo>
                  <a:pt x="5245" y="542"/>
                </a:lnTo>
                <a:lnTo>
                  <a:pt x="5229" y="544"/>
                </a:lnTo>
                <a:lnTo>
                  <a:pt x="5211" y="545"/>
                </a:lnTo>
                <a:lnTo>
                  <a:pt x="5194" y="545"/>
                </a:lnTo>
                <a:lnTo>
                  <a:pt x="5182" y="545"/>
                </a:lnTo>
                <a:lnTo>
                  <a:pt x="5169" y="544"/>
                </a:lnTo>
                <a:lnTo>
                  <a:pt x="5157" y="543"/>
                </a:lnTo>
                <a:lnTo>
                  <a:pt x="5146" y="541"/>
                </a:lnTo>
                <a:lnTo>
                  <a:pt x="5134" y="539"/>
                </a:lnTo>
                <a:lnTo>
                  <a:pt x="5124" y="537"/>
                </a:lnTo>
                <a:lnTo>
                  <a:pt x="5113" y="534"/>
                </a:lnTo>
                <a:lnTo>
                  <a:pt x="5104" y="530"/>
                </a:lnTo>
                <a:lnTo>
                  <a:pt x="5093" y="526"/>
                </a:lnTo>
                <a:lnTo>
                  <a:pt x="5084" y="522"/>
                </a:lnTo>
                <a:lnTo>
                  <a:pt x="5075" y="516"/>
                </a:lnTo>
                <a:lnTo>
                  <a:pt x="5067" y="511"/>
                </a:lnTo>
                <a:lnTo>
                  <a:pt x="5057" y="505"/>
                </a:lnTo>
                <a:lnTo>
                  <a:pt x="5050" y="499"/>
                </a:lnTo>
                <a:lnTo>
                  <a:pt x="5042" y="492"/>
                </a:lnTo>
                <a:lnTo>
                  <a:pt x="5036" y="486"/>
                </a:lnTo>
                <a:lnTo>
                  <a:pt x="5029" y="477"/>
                </a:lnTo>
                <a:lnTo>
                  <a:pt x="5022" y="470"/>
                </a:lnTo>
                <a:lnTo>
                  <a:pt x="5016" y="462"/>
                </a:lnTo>
                <a:lnTo>
                  <a:pt x="5011" y="453"/>
                </a:lnTo>
                <a:lnTo>
                  <a:pt x="5006" y="443"/>
                </a:lnTo>
                <a:lnTo>
                  <a:pt x="5001" y="434"/>
                </a:lnTo>
                <a:lnTo>
                  <a:pt x="4997" y="425"/>
                </a:lnTo>
                <a:lnTo>
                  <a:pt x="4993" y="415"/>
                </a:lnTo>
                <a:lnTo>
                  <a:pt x="4986" y="393"/>
                </a:lnTo>
                <a:lnTo>
                  <a:pt x="4982" y="371"/>
                </a:lnTo>
                <a:lnTo>
                  <a:pt x="4979" y="347"/>
                </a:lnTo>
                <a:lnTo>
                  <a:pt x="4978" y="322"/>
                </a:lnTo>
                <a:lnTo>
                  <a:pt x="4979" y="309"/>
                </a:lnTo>
                <a:lnTo>
                  <a:pt x="4979" y="295"/>
                </a:lnTo>
                <a:lnTo>
                  <a:pt x="4981" y="282"/>
                </a:lnTo>
                <a:lnTo>
                  <a:pt x="4982" y="270"/>
                </a:lnTo>
                <a:lnTo>
                  <a:pt x="4985" y="257"/>
                </a:lnTo>
                <a:lnTo>
                  <a:pt x="4987" y="246"/>
                </a:lnTo>
                <a:lnTo>
                  <a:pt x="4991" y="235"/>
                </a:lnTo>
                <a:lnTo>
                  <a:pt x="4995" y="223"/>
                </a:lnTo>
                <a:lnTo>
                  <a:pt x="4999" y="213"/>
                </a:lnTo>
                <a:lnTo>
                  <a:pt x="5004" y="203"/>
                </a:lnTo>
                <a:lnTo>
                  <a:pt x="5008" y="193"/>
                </a:lnTo>
                <a:lnTo>
                  <a:pt x="5014" y="184"/>
                </a:lnTo>
                <a:lnTo>
                  <a:pt x="5019" y="176"/>
                </a:lnTo>
                <a:lnTo>
                  <a:pt x="5026" y="168"/>
                </a:lnTo>
                <a:lnTo>
                  <a:pt x="5033" y="159"/>
                </a:lnTo>
                <a:lnTo>
                  <a:pt x="5040" y="152"/>
                </a:lnTo>
                <a:lnTo>
                  <a:pt x="5047" y="145"/>
                </a:lnTo>
                <a:lnTo>
                  <a:pt x="5055" y="139"/>
                </a:lnTo>
                <a:lnTo>
                  <a:pt x="5063" y="133"/>
                </a:lnTo>
                <a:lnTo>
                  <a:pt x="5072" y="127"/>
                </a:lnTo>
                <a:lnTo>
                  <a:pt x="5080" y="121"/>
                </a:lnTo>
                <a:lnTo>
                  <a:pt x="5089" y="117"/>
                </a:lnTo>
                <a:lnTo>
                  <a:pt x="5098" y="112"/>
                </a:lnTo>
                <a:lnTo>
                  <a:pt x="5109" y="109"/>
                </a:lnTo>
                <a:lnTo>
                  <a:pt x="5129" y="102"/>
                </a:lnTo>
                <a:lnTo>
                  <a:pt x="5150" y="98"/>
                </a:lnTo>
                <a:lnTo>
                  <a:pt x="5172" y="95"/>
                </a:lnTo>
                <a:lnTo>
                  <a:pt x="5196" y="94"/>
                </a:lnTo>
                <a:lnTo>
                  <a:pt x="5215" y="95"/>
                </a:lnTo>
                <a:lnTo>
                  <a:pt x="5232" y="96"/>
                </a:lnTo>
                <a:lnTo>
                  <a:pt x="5248" y="98"/>
                </a:lnTo>
                <a:lnTo>
                  <a:pt x="5264" y="101"/>
                </a:lnTo>
                <a:lnTo>
                  <a:pt x="5279" y="105"/>
                </a:lnTo>
                <a:lnTo>
                  <a:pt x="5293" y="109"/>
                </a:lnTo>
                <a:lnTo>
                  <a:pt x="5305" y="113"/>
                </a:lnTo>
                <a:lnTo>
                  <a:pt x="5316" y="118"/>
                </a:lnTo>
                <a:lnTo>
                  <a:pt x="5341" y="28"/>
                </a:lnTo>
                <a:lnTo>
                  <a:pt x="5332" y="24"/>
                </a:lnTo>
                <a:lnTo>
                  <a:pt x="5318" y="19"/>
                </a:lnTo>
                <a:lnTo>
                  <a:pt x="5303" y="13"/>
                </a:lnTo>
                <a:lnTo>
                  <a:pt x="5285" y="9"/>
                </a:lnTo>
                <a:lnTo>
                  <a:pt x="5265" y="6"/>
                </a:lnTo>
                <a:lnTo>
                  <a:pt x="5242" y="3"/>
                </a:lnTo>
                <a:lnTo>
                  <a:pt x="5218" y="1"/>
                </a:lnTo>
                <a:lnTo>
                  <a:pt x="5191" y="0"/>
                </a:lnTo>
                <a:lnTo>
                  <a:pt x="5173" y="1"/>
                </a:lnTo>
                <a:lnTo>
                  <a:pt x="5156" y="2"/>
                </a:lnTo>
                <a:lnTo>
                  <a:pt x="5139" y="4"/>
                </a:lnTo>
                <a:lnTo>
                  <a:pt x="5122" y="6"/>
                </a:lnTo>
                <a:lnTo>
                  <a:pt x="5106" y="9"/>
                </a:lnTo>
                <a:lnTo>
                  <a:pt x="5090" y="13"/>
                </a:lnTo>
                <a:lnTo>
                  <a:pt x="5075" y="17"/>
                </a:lnTo>
                <a:lnTo>
                  <a:pt x="5059" y="23"/>
                </a:lnTo>
                <a:lnTo>
                  <a:pt x="5045" y="29"/>
                </a:lnTo>
                <a:lnTo>
                  <a:pt x="5031" y="35"/>
                </a:lnTo>
                <a:lnTo>
                  <a:pt x="5016" y="42"/>
                </a:lnTo>
                <a:lnTo>
                  <a:pt x="5003" y="50"/>
                </a:lnTo>
                <a:lnTo>
                  <a:pt x="4989" y="59"/>
                </a:lnTo>
                <a:lnTo>
                  <a:pt x="4977" y="68"/>
                </a:lnTo>
                <a:lnTo>
                  <a:pt x="4966" y="77"/>
                </a:lnTo>
                <a:lnTo>
                  <a:pt x="4955" y="87"/>
                </a:lnTo>
                <a:lnTo>
                  <a:pt x="4943" y="99"/>
                </a:lnTo>
                <a:lnTo>
                  <a:pt x="4933" y="110"/>
                </a:lnTo>
                <a:lnTo>
                  <a:pt x="4924" y="122"/>
                </a:lnTo>
                <a:lnTo>
                  <a:pt x="4914" y="135"/>
                </a:lnTo>
                <a:lnTo>
                  <a:pt x="4906" y="148"/>
                </a:lnTo>
                <a:lnTo>
                  <a:pt x="4898" y="162"/>
                </a:lnTo>
                <a:lnTo>
                  <a:pt x="4891" y="176"/>
                </a:lnTo>
                <a:lnTo>
                  <a:pt x="4885" y="190"/>
                </a:lnTo>
                <a:lnTo>
                  <a:pt x="4879" y="206"/>
                </a:lnTo>
                <a:lnTo>
                  <a:pt x="4873" y="222"/>
                </a:lnTo>
                <a:lnTo>
                  <a:pt x="4869" y="239"/>
                </a:lnTo>
                <a:lnTo>
                  <a:pt x="4866" y="255"/>
                </a:lnTo>
                <a:lnTo>
                  <a:pt x="4863" y="273"/>
                </a:lnTo>
                <a:lnTo>
                  <a:pt x="4861" y="290"/>
                </a:lnTo>
                <a:lnTo>
                  <a:pt x="4860" y="309"/>
                </a:lnTo>
                <a:lnTo>
                  <a:pt x="4859" y="328"/>
                </a:lnTo>
                <a:lnTo>
                  <a:pt x="4860" y="346"/>
                </a:lnTo>
                <a:lnTo>
                  <a:pt x="4861" y="362"/>
                </a:lnTo>
                <a:lnTo>
                  <a:pt x="4862" y="380"/>
                </a:lnTo>
                <a:lnTo>
                  <a:pt x="4865" y="395"/>
                </a:lnTo>
                <a:lnTo>
                  <a:pt x="4868" y="412"/>
                </a:lnTo>
                <a:lnTo>
                  <a:pt x="4871" y="427"/>
                </a:lnTo>
                <a:lnTo>
                  <a:pt x="4876" y="441"/>
                </a:lnTo>
                <a:lnTo>
                  <a:pt x="4881" y="457"/>
                </a:lnTo>
                <a:lnTo>
                  <a:pt x="4887" y="470"/>
                </a:lnTo>
                <a:lnTo>
                  <a:pt x="4893" y="484"/>
                </a:lnTo>
                <a:lnTo>
                  <a:pt x="4900" y="497"/>
                </a:lnTo>
                <a:lnTo>
                  <a:pt x="4907" y="509"/>
                </a:lnTo>
                <a:lnTo>
                  <a:pt x="4915" y="522"/>
                </a:lnTo>
                <a:lnTo>
                  <a:pt x="4925" y="534"/>
                </a:lnTo>
                <a:lnTo>
                  <a:pt x="4934" y="544"/>
                </a:lnTo>
                <a:lnTo>
                  <a:pt x="4943" y="555"/>
                </a:lnTo>
                <a:lnTo>
                  <a:pt x="4955" y="565"/>
                </a:lnTo>
                <a:lnTo>
                  <a:pt x="4965" y="574"/>
                </a:lnTo>
                <a:lnTo>
                  <a:pt x="4977" y="583"/>
                </a:lnTo>
                <a:lnTo>
                  <a:pt x="4989" y="592"/>
                </a:lnTo>
                <a:lnTo>
                  <a:pt x="5002" y="599"/>
                </a:lnTo>
                <a:lnTo>
                  <a:pt x="5015" y="606"/>
                </a:lnTo>
                <a:lnTo>
                  <a:pt x="5029" y="612"/>
                </a:lnTo>
                <a:lnTo>
                  <a:pt x="5043" y="618"/>
                </a:lnTo>
                <a:lnTo>
                  <a:pt x="5058" y="623"/>
                </a:lnTo>
                <a:lnTo>
                  <a:pt x="5074" y="628"/>
                </a:lnTo>
                <a:lnTo>
                  <a:pt x="5089" y="632"/>
                </a:lnTo>
                <a:lnTo>
                  <a:pt x="5106" y="635"/>
                </a:lnTo>
                <a:lnTo>
                  <a:pt x="5122" y="637"/>
                </a:lnTo>
                <a:lnTo>
                  <a:pt x="5139" y="639"/>
                </a:lnTo>
                <a:lnTo>
                  <a:pt x="5158" y="640"/>
                </a:lnTo>
                <a:lnTo>
                  <a:pt x="5175" y="641"/>
                </a:lnTo>
                <a:lnTo>
                  <a:pt x="5203" y="640"/>
                </a:lnTo>
                <a:lnTo>
                  <a:pt x="5229" y="638"/>
                </a:lnTo>
                <a:lnTo>
                  <a:pt x="5253" y="635"/>
                </a:lnTo>
                <a:lnTo>
                  <a:pt x="5274" y="632"/>
                </a:lnTo>
                <a:lnTo>
                  <a:pt x="5294" y="628"/>
                </a:lnTo>
                <a:lnTo>
                  <a:pt x="5310" y="622"/>
                </a:lnTo>
                <a:lnTo>
                  <a:pt x="5324" y="617"/>
                </a:lnTo>
                <a:lnTo>
                  <a:pt x="5337" y="612"/>
                </a:lnTo>
                <a:lnTo>
                  <a:pt x="5318" y="523"/>
                </a:lnTo>
                <a:close/>
                <a:moveTo>
                  <a:pt x="4374" y="631"/>
                </a:moveTo>
                <a:lnTo>
                  <a:pt x="4374" y="408"/>
                </a:lnTo>
                <a:lnTo>
                  <a:pt x="4374" y="371"/>
                </a:lnTo>
                <a:lnTo>
                  <a:pt x="4374" y="335"/>
                </a:lnTo>
                <a:lnTo>
                  <a:pt x="4374" y="301"/>
                </a:lnTo>
                <a:lnTo>
                  <a:pt x="4373" y="269"/>
                </a:lnTo>
                <a:lnTo>
                  <a:pt x="4372" y="237"/>
                </a:lnTo>
                <a:lnTo>
                  <a:pt x="4371" y="205"/>
                </a:lnTo>
                <a:lnTo>
                  <a:pt x="4370" y="175"/>
                </a:lnTo>
                <a:lnTo>
                  <a:pt x="4369" y="144"/>
                </a:lnTo>
                <a:lnTo>
                  <a:pt x="4371" y="144"/>
                </a:lnTo>
                <a:lnTo>
                  <a:pt x="4383" y="170"/>
                </a:lnTo>
                <a:lnTo>
                  <a:pt x="4396" y="198"/>
                </a:lnTo>
                <a:lnTo>
                  <a:pt x="4410" y="224"/>
                </a:lnTo>
                <a:lnTo>
                  <a:pt x="4423" y="251"/>
                </a:lnTo>
                <a:lnTo>
                  <a:pt x="4438" y="279"/>
                </a:lnTo>
                <a:lnTo>
                  <a:pt x="4453" y="306"/>
                </a:lnTo>
                <a:lnTo>
                  <a:pt x="4468" y="332"/>
                </a:lnTo>
                <a:lnTo>
                  <a:pt x="4483" y="358"/>
                </a:lnTo>
                <a:lnTo>
                  <a:pt x="4644" y="631"/>
                </a:lnTo>
                <a:lnTo>
                  <a:pt x="4761" y="631"/>
                </a:lnTo>
                <a:lnTo>
                  <a:pt x="4761" y="10"/>
                </a:lnTo>
                <a:lnTo>
                  <a:pt x="4657" y="10"/>
                </a:lnTo>
                <a:lnTo>
                  <a:pt x="4657" y="226"/>
                </a:lnTo>
                <a:lnTo>
                  <a:pt x="4657" y="261"/>
                </a:lnTo>
                <a:lnTo>
                  <a:pt x="4658" y="295"/>
                </a:lnTo>
                <a:lnTo>
                  <a:pt x="4658" y="328"/>
                </a:lnTo>
                <a:lnTo>
                  <a:pt x="4659" y="360"/>
                </a:lnTo>
                <a:lnTo>
                  <a:pt x="4661" y="391"/>
                </a:lnTo>
                <a:lnTo>
                  <a:pt x="4662" y="422"/>
                </a:lnTo>
                <a:lnTo>
                  <a:pt x="4665" y="453"/>
                </a:lnTo>
                <a:lnTo>
                  <a:pt x="4667" y="484"/>
                </a:lnTo>
                <a:lnTo>
                  <a:pt x="4665" y="485"/>
                </a:lnTo>
                <a:lnTo>
                  <a:pt x="4653" y="459"/>
                </a:lnTo>
                <a:lnTo>
                  <a:pt x="4642" y="433"/>
                </a:lnTo>
                <a:lnTo>
                  <a:pt x="4630" y="407"/>
                </a:lnTo>
                <a:lnTo>
                  <a:pt x="4616" y="381"/>
                </a:lnTo>
                <a:lnTo>
                  <a:pt x="4603" y="355"/>
                </a:lnTo>
                <a:lnTo>
                  <a:pt x="4589" y="328"/>
                </a:lnTo>
                <a:lnTo>
                  <a:pt x="4574" y="302"/>
                </a:lnTo>
                <a:lnTo>
                  <a:pt x="4559" y="277"/>
                </a:lnTo>
                <a:lnTo>
                  <a:pt x="4399" y="10"/>
                </a:lnTo>
                <a:lnTo>
                  <a:pt x="4270" y="10"/>
                </a:lnTo>
                <a:lnTo>
                  <a:pt x="4270" y="631"/>
                </a:lnTo>
                <a:lnTo>
                  <a:pt x="4374" y="631"/>
                </a:lnTo>
                <a:close/>
                <a:moveTo>
                  <a:pt x="3827" y="369"/>
                </a:moveTo>
                <a:lnTo>
                  <a:pt x="3876" y="216"/>
                </a:lnTo>
                <a:lnTo>
                  <a:pt x="3884" y="187"/>
                </a:lnTo>
                <a:lnTo>
                  <a:pt x="3891" y="158"/>
                </a:lnTo>
                <a:lnTo>
                  <a:pt x="3898" y="129"/>
                </a:lnTo>
                <a:lnTo>
                  <a:pt x="3905" y="100"/>
                </a:lnTo>
                <a:lnTo>
                  <a:pt x="3908" y="100"/>
                </a:lnTo>
                <a:lnTo>
                  <a:pt x="3915" y="128"/>
                </a:lnTo>
                <a:lnTo>
                  <a:pt x="3922" y="157"/>
                </a:lnTo>
                <a:lnTo>
                  <a:pt x="3930" y="187"/>
                </a:lnTo>
                <a:lnTo>
                  <a:pt x="3938" y="217"/>
                </a:lnTo>
                <a:lnTo>
                  <a:pt x="3988" y="369"/>
                </a:lnTo>
                <a:lnTo>
                  <a:pt x="3827" y="369"/>
                </a:lnTo>
                <a:close/>
                <a:moveTo>
                  <a:pt x="4006" y="456"/>
                </a:moveTo>
                <a:lnTo>
                  <a:pt x="4063" y="631"/>
                </a:lnTo>
                <a:lnTo>
                  <a:pt x="4184" y="631"/>
                </a:lnTo>
                <a:lnTo>
                  <a:pt x="3983" y="10"/>
                </a:lnTo>
                <a:lnTo>
                  <a:pt x="3839" y="10"/>
                </a:lnTo>
                <a:lnTo>
                  <a:pt x="3639" y="631"/>
                </a:lnTo>
                <a:lnTo>
                  <a:pt x="3756" y="631"/>
                </a:lnTo>
                <a:lnTo>
                  <a:pt x="3809" y="456"/>
                </a:lnTo>
                <a:lnTo>
                  <a:pt x="4006" y="456"/>
                </a:lnTo>
                <a:close/>
                <a:moveTo>
                  <a:pt x="3389" y="631"/>
                </a:moveTo>
                <a:lnTo>
                  <a:pt x="3502" y="631"/>
                </a:lnTo>
                <a:lnTo>
                  <a:pt x="3502" y="105"/>
                </a:lnTo>
                <a:lnTo>
                  <a:pt x="3680" y="105"/>
                </a:lnTo>
                <a:lnTo>
                  <a:pt x="3680" y="10"/>
                </a:lnTo>
                <a:lnTo>
                  <a:pt x="3211" y="10"/>
                </a:lnTo>
                <a:lnTo>
                  <a:pt x="3211" y="105"/>
                </a:lnTo>
                <a:lnTo>
                  <a:pt x="3389" y="105"/>
                </a:lnTo>
                <a:lnTo>
                  <a:pt x="3389" y="631"/>
                </a:lnTo>
                <a:close/>
                <a:moveTo>
                  <a:pt x="2906" y="631"/>
                </a:moveTo>
                <a:lnTo>
                  <a:pt x="3275" y="631"/>
                </a:lnTo>
                <a:lnTo>
                  <a:pt x="3275" y="536"/>
                </a:lnTo>
                <a:lnTo>
                  <a:pt x="3020" y="536"/>
                </a:lnTo>
                <a:lnTo>
                  <a:pt x="3020" y="10"/>
                </a:lnTo>
                <a:lnTo>
                  <a:pt x="2906" y="10"/>
                </a:lnTo>
                <a:lnTo>
                  <a:pt x="2906" y="631"/>
                </a:lnTo>
                <a:close/>
                <a:moveTo>
                  <a:pt x="2293" y="10"/>
                </a:moveTo>
                <a:lnTo>
                  <a:pt x="2293" y="365"/>
                </a:lnTo>
                <a:lnTo>
                  <a:pt x="2293" y="383"/>
                </a:lnTo>
                <a:lnTo>
                  <a:pt x="2294" y="400"/>
                </a:lnTo>
                <a:lnTo>
                  <a:pt x="2295" y="417"/>
                </a:lnTo>
                <a:lnTo>
                  <a:pt x="2297" y="433"/>
                </a:lnTo>
                <a:lnTo>
                  <a:pt x="2299" y="449"/>
                </a:lnTo>
                <a:lnTo>
                  <a:pt x="2303" y="463"/>
                </a:lnTo>
                <a:lnTo>
                  <a:pt x="2306" y="477"/>
                </a:lnTo>
                <a:lnTo>
                  <a:pt x="2310" y="491"/>
                </a:lnTo>
                <a:lnTo>
                  <a:pt x="2314" y="503"/>
                </a:lnTo>
                <a:lnTo>
                  <a:pt x="2319" y="515"/>
                </a:lnTo>
                <a:lnTo>
                  <a:pt x="2324" y="528"/>
                </a:lnTo>
                <a:lnTo>
                  <a:pt x="2330" y="538"/>
                </a:lnTo>
                <a:lnTo>
                  <a:pt x="2336" y="548"/>
                </a:lnTo>
                <a:lnTo>
                  <a:pt x="2343" y="559"/>
                </a:lnTo>
                <a:lnTo>
                  <a:pt x="2350" y="568"/>
                </a:lnTo>
                <a:lnTo>
                  <a:pt x="2357" y="576"/>
                </a:lnTo>
                <a:lnTo>
                  <a:pt x="2365" y="584"/>
                </a:lnTo>
                <a:lnTo>
                  <a:pt x="2373" y="592"/>
                </a:lnTo>
                <a:lnTo>
                  <a:pt x="2383" y="599"/>
                </a:lnTo>
                <a:lnTo>
                  <a:pt x="2392" y="605"/>
                </a:lnTo>
                <a:lnTo>
                  <a:pt x="2401" y="611"/>
                </a:lnTo>
                <a:lnTo>
                  <a:pt x="2411" y="616"/>
                </a:lnTo>
                <a:lnTo>
                  <a:pt x="2422" y="621"/>
                </a:lnTo>
                <a:lnTo>
                  <a:pt x="2432" y="625"/>
                </a:lnTo>
                <a:lnTo>
                  <a:pt x="2443" y="629"/>
                </a:lnTo>
                <a:lnTo>
                  <a:pt x="2455" y="633"/>
                </a:lnTo>
                <a:lnTo>
                  <a:pt x="2466" y="635"/>
                </a:lnTo>
                <a:lnTo>
                  <a:pt x="2478" y="637"/>
                </a:lnTo>
                <a:lnTo>
                  <a:pt x="2503" y="640"/>
                </a:lnTo>
                <a:lnTo>
                  <a:pt x="2530" y="641"/>
                </a:lnTo>
                <a:lnTo>
                  <a:pt x="2543" y="641"/>
                </a:lnTo>
                <a:lnTo>
                  <a:pt x="2556" y="640"/>
                </a:lnTo>
                <a:lnTo>
                  <a:pt x="2570" y="639"/>
                </a:lnTo>
                <a:lnTo>
                  <a:pt x="2583" y="637"/>
                </a:lnTo>
                <a:lnTo>
                  <a:pt x="2595" y="635"/>
                </a:lnTo>
                <a:lnTo>
                  <a:pt x="2608" y="632"/>
                </a:lnTo>
                <a:lnTo>
                  <a:pt x="2619" y="629"/>
                </a:lnTo>
                <a:lnTo>
                  <a:pt x="2631" y="624"/>
                </a:lnTo>
                <a:lnTo>
                  <a:pt x="2643" y="620"/>
                </a:lnTo>
                <a:lnTo>
                  <a:pt x="2653" y="615"/>
                </a:lnTo>
                <a:lnTo>
                  <a:pt x="2663" y="610"/>
                </a:lnTo>
                <a:lnTo>
                  <a:pt x="2673" y="604"/>
                </a:lnTo>
                <a:lnTo>
                  <a:pt x="2683" y="598"/>
                </a:lnTo>
                <a:lnTo>
                  <a:pt x="2692" y="591"/>
                </a:lnTo>
                <a:lnTo>
                  <a:pt x="2701" y="582"/>
                </a:lnTo>
                <a:lnTo>
                  <a:pt x="2709" y="574"/>
                </a:lnTo>
                <a:lnTo>
                  <a:pt x="2718" y="566"/>
                </a:lnTo>
                <a:lnTo>
                  <a:pt x="2725" y="557"/>
                </a:lnTo>
                <a:lnTo>
                  <a:pt x="2732" y="546"/>
                </a:lnTo>
                <a:lnTo>
                  <a:pt x="2738" y="536"/>
                </a:lnTo>
                <a:lnTo>
                  <a:pt x="2744" y="525"/>
                </a:lnTo>
                <a:lnTo>
                  <a:pt x="2750" y="513"/>
                </a:lnTo>
                <a:lnTo>
                  <a:pt x="2755" y="501"/>
                </a:lnTo>
                <a:lnTo>
                  <a:pt x="2760" y="489"/>
                </a:lnTo>
                <a:lnTo>
                  <a:pt x="2764" y="475"/>
                </a:lnTo>
                <a:lnTo>
                  <a:pt x="2767" y="461"/>
                </a:lnTo>
                <a:lnTo>
                  <a:pt x="2770" y="446"/>
                </a:lnTo>
                <a:lnTo>
                  <a:pt x="2772" y="431"/>
                </a:lnTo>
                <a:lnTo>
                  <a:pt x="2774" y="416"/>
                </a:lnTo>
                <a:lnTo>
                  <a:pt x="2776" y="399"/>
                </a:lnTo>
                <a:lnTo>
                  <a:pt x="2777" y="383"/>
                </a:lnTo>
                <a:lnTo>
                  <a:pt x="2777" y="364"/>
                </a:lnTo>
                <a:lnTo>
                  <a:pt x="2777" y="10"/>
                </a:lnTo>
                <a:lnTo>
                  <a:pt x="2664" y="10"/>
                </a:lnTo>
                <a:lnTo>
                  <a:pt x="2664" y="372"/>
                </a:lnTo>
                <a:lnTo>
                  <a:pt x="2663" y="394"/>
                </a:lnTo>
                <a:lnTo>
                  <a:pt x="2661" y="415"/>
                </a:lnTo>
                <a:lnTo>
                  <a:pt x="2659" y="433"/>
                </a:lnTo>
                <a:lnTo>
                  <a:pt x="2655" y="451"/>
                </a:lnTo>
                <a:lnTo>
                  <a:pt x="2650" y="467"/>
                </a:lnTo>
                <a:lnTo>
                  <a:pt x="2644" y="481"/>
                </a:lnTo>
                <a:lnTo>
                  <a:pt x="2638" y="495"/>
                </a:lnTo>
                <a:lnTo>
                  <a:pt x="2629" y="506"/>
                </a:lnTo>
                <a:lnTo>
                  <a:pt x="2620" y="516"/>
                </a:lnTo>
                <a:lnTo>
                  <a:pt x="2611" y="526"/>
                </a:lnTo>
                <a:lnTo>
                  <a:pt x="2600" y="533"/>
                </a:lnTo>
                <a:lnTo>
                  <a:pt x="2588" y="539"/>
                </a:lnTo>
                <a:lnTo>
                  <a:pt x="2576" y="544"/>
                </a:lnTo>
                <a:lnTo>
                  <a:pt x="2563" y="547"/>
                </a:lnTo>
                <a:lnTo>
                  <a:pt x="2548" y="549"/>
                </a:lnTo>
                <a:lnTo>
                  <a:pt x="2534" y="549"/>
                </a:lnTo>
                <a:lnTo>
                  <a:pt x="2519" y="549"/>
                </a:lnTo>
                <a:lnTo>
                  <a:pt x="2506" y="547"/>
                </a:lnTo>
                <a:lnTo>
                  <a:pt x="2493" y="543"/>
                </a:lnTo>
                <a:lnTo>
                  <a:pt x="2481" y="539"/>
                </a:lnTo>
                <a:lnTo>
                  <a:pt x="2470" y="533"/>
                </a:lnTo>
                <a:lnTo>
                  <a:pt x="2460" y="526"/>
                </a:lnTo>
                <a:lnTo>
                  <a:pt x="2449" y="516"/>
                </a:lnTo>
                <a:lnTo>
                  <a:pt x="2441" y="506"/>
                </a:lnTo>
                <a:lnTo>
                  <a:pt x="2433" y="495"/>
                </a:lnTo>
                <a:lnTo>
                  <a:pt x="2426" y="481"/>
                </a:lnTo>
                <a:lnTo>
                  <a:pt x="2421" y="467"/>
                </a:lnTo>
                <a:lnTo>
                  <a:pt x="2416" y="451"/>
                </a:lnTo>
                <a:lnTo>
                  <a:pt x="2411" y="433"/>
                </a:lnTo>
                <a:lnTo>
                  <a:pt x="2408" y="415"/>
                </a:lnTo>
                <a:lnTo>
                  <a:pt x="2406" y="394"/>
                </a:lnTo>
                <a:lnTo>
                  <a:pt x="2406" y="372"/>
                </a:lnTo>
                <a:lnTo>
                  <a:pt x="2406" y="10"/>
                </a:lnTo>
                <a:lnTo>
                  <a:pt x="2293" y="10"/>
                </a:lnTo>
                <a:close/>
                <a:moveTo>
                  <a:pt x="1789" y="601"/>
                </a:moveTo>
                <a:lnTo>
                  <a:pt x="1803" y="609"/>
                </a:lnTo>
                <a:lnTo>
                  <a:pt x="1821" y="616"/>
                </a:lnTo>
                <a:lnTo>
                  <a:pt x="1840" y="622"/>
                </a:lnTo>
                <a:lnTo>
                  <a:pt x="1861" y="629"/>
                </a:lnTo>
                <a:lnTo>
                  <a:pt x="1883" y="634"/>
                </a:lnTo>
                <a:lnTo>
                  <a:pt x="1908" y="637"/>
                </a:lnTo>
                <a:lnTo>
                  <a:pt x="1932" y="640"/>
                </a:lnTo>
                <a:lnTo>
                  <a:pt x="1956" y="641"/>
                </a:lnTo>
                <a:lnTo>
                  <a:pt x="1986" y="640"/>
                </a:lnTo>
                <a:lnTo>
                  <a:pt x="2013" y="637"/>
                </a:lnTo>
                <a:lnTo>
                  <a:pt x="2025" y="635"/>
                </a:lnTo>
                <a:lnTo>
                  <a:pt x="2037" y="632"/>
                </a:lnTo>
                <a:lnTo>
                  <a:pt x="2050" y="629"/>
                </a:lnTo>
                <a:lnTo>
                  <a:pt x="2061" y="625"/>
                </a:lnTo>
                <a:lnTo>
                  <a:pt x="2071" y="621"/>
                </a:lnTo>
                <a:lnTo>
                  <a:pt x="2082" y="617"/>
                </a:lnTo>
                <a:lnTo>
                  <a:pt x="2092" y="613"/>
                </a:lnTo>
                <a:lnTo>
                  <a:pt x="2101" y="608"/>
                </a:lnTo>
                <a:lnTo>
                  <a:pt x="2110" y="603"/>
                </a:lnTo>
                <a:lnTo>
                  <a:pt x="2119" y="597"/>
                </a:lnTo>
                <a:lnTo>
                  <a:pt x="2127" y="591"/>
                </a:lnTo>
                <a:lnTo>
                  <a:pt x="2134" y="584"/>
                </a:lnTo>
                <a:lnTo>
                  <a:pt x="2141" y="578"/>
                </a:lnTo>
                <a:lnTo>
                  <a:pt x="2147" y="571"/>
                </a:lnTo>
                <a:lnTo>
                  <a:pt x="2154" y="564"/>
                </a:lnTo>
                <a:lnTo>
                  <a:pt x="2160" y="557"/>
                </a:lnTo>
                <a:lnTo>
                  <a:pt x="2170" y="541"/>
                </a:lnTo>
                <a:lnTo>
                  <a:pt x="2177" y="526"/>
                </a:lnTo>
                <a:lnTo>
                  <a:pt x="2183" y="508"/>
                </a:lnTo>
                <a:lnTo>
                  <a:pt x="2189" y="491"/>
                </a:lnTo>
                <a:lnTo>
                  <a:pt x="2191" y="472"/>
                </a:lnTo>
                <a:lnTo>
                  <a:pt x="2192" y="454"/>
                </a:lnTo>
                <a:lnTo>
                  <a:pt x="2192" y="437"/>
                </a:lnTo>
                <a:lnTo>
                  <a:pt x="2190" y="422"/>
                </a:lnTo>
                <a:lnTo>
                  <a:pt x="2186" y="407"/>
                </a:lnTo>
                <a:lnTo>
                  <a:pt x="2182" y="393"/>
                </a:lnTo>
                <a:lnTo>
                  <a:pt x="2176" y="380"/>
                </a:lnTo>
                <a:lnTo>
                  <a:pt x="2170" y="367"/>
                </a:lnTo>
                <a:lnTo>
                  <a:pt x="2162" y="355"/>
                </a:lnTo>
                <a:lnTo>
                  <a:pt x="2153" y="344"/>
                </a:lnTo>
                <a:lnTo>
                  <a:pt x="2142" y="332"/>
                </a:lnTo>
                <a:lnTo>
                  <a:pt x="2130" y="322"/>
                </a:lnTo>
                <a:lnTo>
                  <a:pt x="2117" y="313"/>
                </a:lnTo>
                <a:lnTo>
                  <a:pt x="2102" y="303"/>
                </a:lnTo>
                <a:lnTo>
                  <a:pt x="2087" y="294"/>
                </a:lnTo>
                <a:lnTo>
                  <a:pt x="2070" y="286"/>
                </a:lnTo>
                <a:lnTo>
                  <a:pt x="2052" y="278"/>
                </a:lnTo>
                <a:lnTo>
                  <a:pt x="2032" y="270"/>
                </a:lnTo>
                <a:lnTo>
                  <a:pt x="2004" y="258"/>
                </a:lnTo>
                <a:lnTo>
                  <a:pt x="1979" y="247"/>
                </a:lnTo>
                <a:lnTo>
                  <a:pt x="1969" y="242"/>
                </a:lnTo>
                <a:lnTo>
                  <a:pt x="1958" y="236"/>
                </a:lnTo>
                <a:lnTo>
                  <a:pt x="1950" y="230"/>
                </a:lnTo>
                <a:lnTo>
                  <a:pt x="1942" y="224"/>
                </a:lnTo>
                <a:lnTo>
                  <a:pt x="1936" y="219"/>
                </a:lnTo>
                <a:lnTo>
                  <a:pt x="1930" y="213"/>
                </a:lnTo>
                <a:lnTo>
                  <a:pt x="1924" y="206"/>
                </a:lnTo>
                <a:lnTo>
                  <a:pt x="1920" y="200"/>
                </a:lnTo>
                <a:lnTo>
                  <a:pt x="1917" y="192"/>
                </a:lnTo>
                <a:lnTo>
                  <a:pt x="1915" y="184"/>
                </a:lnTo>
                <a:lnTo>
                  <a:pt x="1914" y="177"/>
                </a:lnTo>
                <a:lnTo>
                  <a:pt x="1914" y="168"/>
                </a:lnTo>
                <a:lnTo>
                  <a:pt x="1914" y="162"/>
                </a:lnTo>
                <a:lnTo>
                  <a:pt x="1915" y="154"/>
                </a:lnTo>
                <a:lnTo>
                  <a:pt x="1917" y="147"/>
                </a:lnTo>
                <a:lnTo>
                  <a:pt x="1919" y="141"/>
                </a:lnTo>
                <a:lnTo>
                  <a:pt x="1923" y="135"/>
                </a:lnTo>
                <a:lnTo>
                  <a:pt x="1928" y="129"/>
                </a:lnTo>
                <a:lnTo>
                  <a:pt x="1933" y="122"/>
                </a:lnTo>
                <a:lnTo>
                  <a:pt x="1938" y="117"/>
                </a:lnTo>
                <a:lnTo>
                  <a:pt x="1945" y="112"/>
                </a:lnTo>
                <a:lnTo>
                  <a:pt x="1952" y="107"/>
                </a:lnTo>
                <a:lnTo>
                  <a:pt x="1960" y="103"/>
                </a:lnTo>
                <a:lnTo>
                  <a:pt x="1970" y="100"/>
                </a:lnTo>
                <a:lnTo>
                  <a:pt x="1980" y="97"/>
                </a:lnTo>
                <a:lnTo>
                  <a:pt x="1991" y="95"/>
                </a:lnTo>
                <a:lnTo>
                  <a:pt x="2004" y="94"/>
                </a:lnTo>
                <a:lnTo>
                  <a:pt x="2016" y="94"/>
                </a:lnTo>
                <a:lnTo>
                  <a:pt x="2037" y="94"/>
                </a:lnTo>
                <a:lnTo>
                  <a:pt x="2057" y="96"/>
                </a:lnTo>
                <a:lnTo>
                  <a:pt x="2075" y="100"/>
                </a:lnTo>
                <a:lnTo>
                  <a:pt x="2092" y="104"/>
                </a:lnTo>
                <a:lnTo>
                  <a:pt x="2106" y="108"/>
                </a:lnTo>
                <a:lnTo>
                  <a:pt x="2120" y="113"/>
                </a:lnTo>
                <a:lnTo>
                  <a:pt x="2131" y="118"/>
                </a:lnTo>
                <a:lnTo>
                  <a:pt x="2140" y="122"/>
                </a:lnTo>
                <a:lnTo>
                  <a:pt x="2167" y="31"/>
                </a:lnTo>
                <a:lnTo>
                  <a:pt x="2155" y="25"/>
                </a:lnTo>
                <a:lnTo>
                  <a:pt x="2139" y="20"/>
                </a:lnTo>
                <a:lnTo>
                  <a:pt x="2124" y="14"/>
                </a:lnTo>
                <a:lnTo>
                  <a:pt x="2106" y="9"/>
                </a:lnTo>
                <a:lnTo>
                  <a:pt x="2087" y="6"/>
                </a:lnTo>
                <a:lnTo>
                  <a:pt x="2065" y="3"/>
                </a:lnTo>
                <a:lnTo>
                  <a:pt x="2043" y="1"/>
                </a:lnTo>
                <a:lnTo>
                  <a:pt x="2019" y="0"/>
                </a:lnTo>
                <a:lnTo>
                  <a:pt x="1994" y="1"/>
                </a:lnTo>
                <a:lnTo>
                  <a:pt x="1971" y="4"/>
                </a:lnTo>
                <a:lnTo>
                  <a:pt x="1948" y="8"/>
                </a:lnTo>
                <a:lnTo>
                  <a:pt x="1928" y="14"/>
                </a:lnTo>
                <a:lnTo>
                  <a:pt x="1908" y="22"/>
                </a:lnTo>
                <a:lnTo>
                  <a:pt x="1890" y="30"/>
                </a:lnTo>
                <a:lnTo>
                  <a:pt x="1873" y="40"/>
                </a:lnTo>
                <a:lnTo>
                  <a:pt x="1859" y="51"/>
                </a:lnTo>
                <a:lnTo>
                  <a:pt x="1845" y="64"/>
                </a:lnTo>
                <a:lnTo>
                  <a:pt x="1833" y="77"/>
                </a:lnTo>
                <a:lnTo>
                  <a:pt x="1823" y="93"/>
                </a:lnTo>
                <a:lnTo>
                  <a:pt x="1815" y="108"/>
                </a:lnTo>
                <a:lnTo>
                  <a:pt x="1808" y="124"/>
                </a:lnTo>
                <a:lnTo>
                  <a:pt x="1803" y="142"/>
                </a:lnTo>
                <a:lnTo>
                  <a:pt x="1800" y="159"/>
                </a:lnTo>
                <a:lnTo>
                  <a:pt x="1799" y="179"/>
                </a:lnTo>
                <a:lnTo>
                  <a:pt x="1800" y="194"/>
                </a:lnTo>
                <a:lnTo>
                  <a:pt x="1802" y="211"/>
                </a:lnTo>
                <a:lnTo>
                  <a:pt x="1806" y="225"/>
                </a:lnTo>
                <a:lnTo>
                  <a:pt x="1811" y="240"/>
                </a:lnTo>
                <a:lnTo>
                  <a:pt x="1818" y="253"/>
                </a:lnTo>
                <a:lnTo>
                  <a:pt x="1825" y="265"/>
                </a:lnTo>
                <a:lnTo>
                  <a:pt x="1834" y="277"/>
                </a:lnTo>
                <a:lnTo>
                  <a:pt x="1844" y="288"/>
                </a:lnTo>
                <a:lnTo>
                  <a:pt x="1857" y="299"/>
                </a:lnTo>
                <a:lnTo>
                  <a:pt x="1869" y="310"/>
                </a:lnTo>
                <a:lnTo>
                  <a:pt x="1882" y="319"/>
                </a:lnTo>
                <a:lnTo>
                  <a:pt x="1898" y="328"/>
                </a:lnTo>
                <a:lnTo>
                  <a:pt x="1913" y="336"/>
                </a:lnTo>
                <a:lnTo>
                  <a:pt x="1931" y="345"/>
                </a:lnTo>
                <a:lnTo>
                  <a:pt x="1948" y="352"/>
                </a:lnTo>
                <a:lnTo>
                  <a:pt x="1967" y="359"/>
                </a:lnTo>
                <a:lnTo>
                  <a:pt x="1994" y="369"/>
                </a:lnTo>
                <a:lnTo>
                  <a:pt x="2017" y="381"/>
                </a:lnTo>
                <a:lnTo>
                  <a:pt x="2027" y="386"/>
                </a:lnTo>
                <a:lnTo>
                  <a:pt x="2036" y="392"/>
                </a:lnTo>
                <a:lnTo>
                  <a:pt x="2044" y="397"/>
                </a:lnTo>
                <a:lnTo>
                  <a:pt x="2051" y="403"/>
                </a:lnTo>
                <a:lnTo>
                  <a:pt x="2057" y="409"/>
                </a:lnTo>
                <a:lnTo>
                  <a:pt x="2062" y="417"/>
                </a:lnTo>
                <a:lnTo>
                  <a:pt x="2067" y="423"/>
                </a:lnTo>
                <a:lnTo>
                  <a:pt x="2070" y="430"/>
                </a:lnTo>
                <a:lnTo>
                  <a:pt x="2073" y="437"/>
                </a:lnTo>
                <a:lnTo>
                  <a:pt x="2075" y="445"/>
                </a:lnTo>
                <a:lnTo>
                  <a:pt x="2077" y="454"/>
                </a:lnTo>
                <a:lnTo>
                  <a:pt x="2077" y="462"/>
                </a:lnTo>
                <a:lnTo>
                  <a:pt x="2077" y="471"/>
                </a:lnTo>
                <a:lnTo>
                  <a:pt x="2074" y="480"/>
                </a:lnTo>
                <a:lnTo>
                  <a:pt x="2072" y="489"/>
                </a:lnTo>
                <a:lnTo>
                  <a:pt x="2069" y="497"/>
                </a:lnTo>
                <a:lnTo>
                  <a:pt x="2065" y="504"/>
                </a:lnTo>
                <a:lnTo>
                  <a:pt x="2060" y="511"/>
                </a:lnTo>
                <a:lnTo>
                  <a:pt x="2054" y="517"/>
                </a:lnTo>
                <a:lnTo>
                  <a:pt x="2048" y="524"/>
                </a:lnTo>
                <a:lnTo>
                  <a:pt x="2040" y="529"/>
                </a:lnTo>
                <a:lnTo>
                  <a:pt x="2031" y="533"/>
                </a:lnTo>
                <a:lnTo>
                  <a:pt x="2022" y="537"/>
                </a:lnTo>
                <a:lnTo>
                  <a:pt x="2012" y="540"/>
                </a:lnTo>
                <a:lnTo>
                  <a:pt x="2002" y="543"/>
                </a:lnTo>
                <a:lnTo>
                  <a:pt x="1989" y="545"/>
                </a:lnTo>
                <a:lnTo>
                  <a:pt x="1977" y="546"/>
                </a:lnTo>
                <a:lnTo>
                  <a:pt x="1965" y="546"/>
                </a:lnTo>
                <a:lnTo>
                  <a:pt x="1943" y="546"/>
                </a:lnTo>
                <a:lnTo>
                  <a:pt x="1921" y="543"/>
                </a:lnTo>
                <a:lnTo>
                  <a:pt x="1901" y="540"/>
                </a:lnTo>
                <a:lnTo>
                  <a:pt x="1881" y="535"/>
                </a:lnTo>
                <a:lnTo>
                  <a:pt x="1863" y="529"/>
                </a:lnTo>
                <a:lnTo>
                  <a:pt x="1845" y="523"/>
                </a:lnTo>
                <a:lnTo>
                  <a:pt x="1829" y="514"/>
                </a:lnTo>
                <a:lnTo>
                  <a:pt x="1815" y="507"/>
                </a:lnTo>
                <a:lnTo>
                  <a:pt x="1789" y="601"/>
                </a:lnTo>
                <a:close/>
                <a:moveTo>
                  <a:pt x="1300" y="631"/>
                </a:moveTo>
                <a:lnTo>
                  <a:pt x="1300" y="408"/>
                </a:lnTo>
                <a:lnTo>
                  <a:pt x="1300" y="371"/>
                </a:lnTo>
                <a:lnTo>
                  <a:pt x="1299" y="335"/>
                </a:lnTo>
                <a:lnTo>
                  <a:pt x="1299" y="301"/>
                </a:lnTo>
                <a:lnTo>
                  <a:pt x="1298" y="269"/>
                </a:lnTo>
                <a:lnTo>
                  <a:pt x="1298" y="237"/>
                </a:lnTo>
                <a:lnTo>
                  <a:pt x="1297" y="205"/>
                </a:lnTo>
                <a:lnTo>
                  <a:pt x="1295" y="175"/>
                </a:lnTo>
                <a:lnTo>
                  <a:pt x="1294" y="144"/>
                </a:lnTo>
                <a:lnTo>
                  <a:pt x="1297" y="144"/>
                </a:lnTo>
                <a:lnTo>
                  <a:pt x="1308" y="170"/>
                </a:lnTo>
                <a:lnTo>
                  <a:pt x="1321" y="198"/>
                </a:lnTo>
                <a:lnTo>
                  <a:pt x="1335" y="224"/>
                </a:lnTo>
                <a:lnTo>
                  <a:pt x="1348" y="251"/>
                </a:lnTo>
                <a:lnTo>
                  <a:pt x="1362" y="279"/>
                </a:lnTo>
                <a:lnTo>
                  <a:pt x="1378" y="306"/>
                </a:lnTo>
                <a:lnTo>
                  <a:pt x="1392" y="332"/>
                </a:lnTo>
                <a:lnTo>
                  <a:pt x="1408" y="358"/>
                </a:lnTo>
                <a:lnTo>
                  <a:pt x="1569" y="631"/>
                </a:lnTo>
                <a:lnTo>
                  <a:pt x="1686" y="631"/>
                </a:lnTo>
                <a:lnTo>
                  <a:pt x="1686" y="10"/>
                </a:lnTo>
                <a:lnTo>
                  <a:pt x="1582" y="10"/>
                </a:lnTo>
                <a:lnTo>
                  <a:pt x="1582" y="226"/>
                </a:lnTo>
                <a:lnTo>
                  <a:pt x="1582" y="261"/>
                </a:lnTo>
                <a:lnTo>
                  <a:pt x="1582" y="295"/>
                </a:lnTo>
                <a:lnTo>
                  <a:pt x="1583" y="328"/>
                </a:lnTo>
                <a:lnTo>
                  <a:pt x="1584" y="360"/>
                </a:lnTo>
                <a:lnTo>
                  <a:pt x="1585" y="391"/>
                </a:lnTo>
                <a:lnTo>
                  <a:pt x="1587" y="422"/>
                </a:lnTo>
                <a:lnTo>
                  <a:pt x="1589" y="453"/>
                </a:lnTo>
                <a:lnTo>
                  <a:pt x="1592" y="484"/>
                </a:lnTo>
                <a:lnTo>
                  <a:pt x="1589" y="485"/>
                </a:lnTo>
                <a:lnTo>
                  <a:pt x="1578" y="459"/>
                </a:lnTo>
                <a:lnTo>
                  <a:pt x="1567" y="433"/>
                </a:lnTo>
                <a:lnTo>
                  <a:pt x="1555" y="407"/>
                </a:lnTo>
                <a:lnTo>
                  <a:pt x="1541" y="381"/>
                </a:lnTo>
                <a:lnTo>
                  <a:pt x="1528" y="355"/>
                </a:lnTo>
                <a:lnTo>
                  <a:pt x="1513" y="328"/>
                </a:lnTo>
                <a:lnTo>
                  <a:pt x="1499" y="302"/>
                </a:lnTo>
                <a:lnTo>
                  <a:pt x="1484" y="277"/>
                </a:lnTo>
                <a:lnTo>
                  <a:pt x="1324" y="10"/>
                </a:lnTo>
                <a:lnTo>
                  <a:pt x="1195" y="10"/>
                </a:lnTo>
                <a:lnTo>
                  <a:pt x="1195" y="631"/>
                </a:lnTo>
                <a:lnTo>
                  <a:pt x="1300" y="631"/>
                </a:lnTo>
                <a:close/>
                <a:moveTo>
                  <a:pt x="804" y="550"/>
                </a:moveTo>
                <a:lnTo>
                  <a:pt x="795" y="549"/>
                </a:lnTo>
                <a:lnTo>
                  <a:pt x="785" y="549"/>
                </a:lnTo>
                <a:lnTo>
                  <a:pt x="776" y="547"/>
                </a:lnTo>
                <a:lnTo>
                  <a:pt x="766" y="545"/>
                </a:lnTo>
                <a:lnTo>
                  <a:pt x="757" y="543"/>
                </a:lnTo>
                <a:lnTo>
                  <a:pt x="749" y="540"/>
                </a:lnTo>
                <a:lnTo>
                  <a:pt x="741" y="536"/>
                </a:lnTo>
                <a:lnTo>
                  <a:pt x="733" y="532"/>
                </a:lnTo>
                <a:lnTo>
                  <a:pt x="724" y="527"/>
                </a:lnTo>
                <a:lnTo>
                  <a:pt x="717" y="523"/>
                </a:lnTo>
                <a:lnTo>
                  <a:pt x="710" y="516"/>
                </a:lnTo>
                <a:lnTo>
                  <a:pt x="703" y="510"/>
                </a:lnTo>
                <a:lnTo>
                  <a:pt x="690" y="497"/>
                </a:lnTo>
                <a:lnTo>
                  <a:pt x="679" y="482"/>
                </a:lnTo>
                <a:lnTo>
                  <a:pt x="668" y="466"/>
                </a:lnTo>
                <a:lnTo>
                  <a:pt x="660" y="449"/>
                </a:lnTo>
                <a:lnTo>
                  <a:pt x="651" y="430"/>
                </a:lnTo>
                <a:lnTo>
                  <a:pt x="645" y="410"/>
                </a:lnTo>
                <a:lnTo>
                  <a:pt x="640" y="389"/>
                </a:lnTo>
                <a:lnTo>
                  <a:pt x="637" y="367"/>
                </a:lnTo>
                <a:lnTo>
                  <a:pt x="634" y="346"/>
                </a:lnTo>
                <a:lnTo>
                  <a:pt x="634" y="322"/>
                </a:lnTo>
                <a:lnTo>
                  <a:pt x="634" y="299"/>
                </a:lnTo>
                <a:lnTo>
                  <a:pt x="636" y="277"/>
                </a:lnTo>
                <a:lnTo>
                  <a:pt x="640" y="255"/>
                </a:lnTo>
                <a:lnTo>
                  <a:pt x="645" y="235"/>
                </a:lnTo>
                <a:lnTo>
                  <a:pt x="651" y="214"/>
                </a:lnTo>
                <a:lnTo>
                  <a:pt x="659" y="194"/>
                </a:lnTo>
                <a:lnTo>
                  <a:pt x="668" y="177"/>
                </a:lnTo>
                <a:lnTo>
                  <a:pt x="677" y="160"/>
                </a:lnTo>
                <a:lnTo>
                  <a:pt x="689" y="145"/>
                </a:lnTo>
                <a:lnTo>
                  <a:pt x="702" y="132"/>
                </a:lnTo>
                <a:lnTo>
                  <a:pt x="709" y="126"/>
                </a:lnTo>
                <a:lnTo>
                  <a:pt x="716" y="119"/>
                </a:lnTo>
                <a:lnTo>
                  <a:pt x="723" y="114"/>
                </a:lnTo>
                <a:lnTo>
                  <a:pt x="732" y="109"/>
                </a:lnTo>
                <a:lnTo>
                  <a:pt x="740" y="105"/>
                </a:lnTo>
                <a:lnTo>
                  <a:pt x="748" y="102"/>
                </a:lnTo>
                <a:lnTo>
                  <a:pt x="757" y="99"/>
                </a:lnTo>
                <a:lnTo>
                  <a:pt x="766" y="96"/>
                </a:lnTo>
                <a:lnTo>
                  <a:pt x="776" y="94"/>
                </a:lnTo>
                <a:lnTo>
                  <a:pt x="786" y="92"/>
                </a:lnTo>
                <a:lnTo>
                  <a:pt x="795" y="91"/>
                </a:lnTo>
                <a:lnTo>
                  <a:pt x="807" y="91"/>
                </a:lnTo>
                <a:lnTo>
                  <a:pt x="817" y="91"/>
                </a:lnTo>
                <a:lnTo>
                  <a:pt x="827" y="92"/>
                </a:lnTo>
                <a:lnTo>
                  <a:pt x="836" y="94"/>
                </a:lnTo>
                <a:lnTo>
                  <a:pt x="846" y="96"/>
                </a:lnTo>
                <a:lnTo>
                  <a:pt x="855" y="99"/>
                </a:lnTo>
                <a:lnTo>
                  <a:pt x="864" y="102"/>
                </a:lnTo>
                <a:lnTo>
                  <a:pt x="872" y="106"/>
                </a:lnTo>
                <a:lnTo>
                  <a:pt x="881" y="110"/>
                </a:lnTo>
                <a:lnTo>
                  <a:pt x="889" y="114"/>
                </a:lnTo>
                <a:lnTo>
                  <a:pt x="896" y="120"/>
                </a:lnTo>
                <a:lnTo>
                  <a:pt x="903" y="126"/>
                </a:lnTo>
                <a:lnTo>
                  <a:pt x="910" y="132"/>
                </a:lnTo>
                <a:lnTo>
                  <a:pt x="923" y="145"/>
                </a:lnTo>
                <a:lnTo>
                  <a:pt x="934" y="160"/>
                </a:lnTo>
                <a:lnTo>
                  <a:pt x="944" y="177"/>
                </a:lnTo>
                <a:lnTo>
                  <a:pt x="952" y="194"/>
                </a:lnTo>
                <a:lnTo>
                  <a:pt x="961" y="214"/>
                </a:lnTo>
                <a:lnTo>
                  <a:pt x="967" y="234"/>
                </a:lnTo>
                <a:lnTo>
                  <a:pt x="971" y="254"/>
                </a:lnTo>
                <a:lnTo>
                  <a:pt x="974" y="275"/>
                </a:lnTo>
                <a:lnTo>
                  <a:pt x="976" y="296"/>
                </a:lnTo>
                <a:lnTo>
                  <a:pt x="977" y="318"/>
                </a:lnTo>
                <a:lnTo>
                  <a:pt x="976" y="343"/>
                </a:lnTo>
                <a:lnTo>
                  <a:pt x="974" y="365"/>
                </a:lnTo>
                <a:lnTo>
                  <a:pt x="971" y="388"/>
                </a:lnTo>
                <a:lnTo>
                  <a:pt x="966" y="409"/>
                </a:lnTo>
                <a:lnTo>
                  <a:pt x="960" y="430"/>
                </a:lnTo>
                <a:lnTo>
                  <a:pt x="951" y="449"/>
                </a:lnTo>
                <a:lnTo>
                  <a:pt x="943" y="467"/>
                </a:lnTo>
                <a:lnTo>
                  <a:pt x="933" y="482"/>
                </a:lnTo>
                <a:lnTo>
                  <a:pt x="921" y="498"/>
                </a:lnTo>
                <a:lnTo>
                  <a:pt x="908" y="511"/>
                </a:lnTo>
                <a:lnTo>
                  <a:pt x="901" y="517"/>
                </a:lnTo>
                <a:lnTo>
                  <a:pt x="894" y="523"/>
                </a:lnTo>
                <a:lnTo>
                  <a:pt x="887" y="528"/>
                </a:lnTo>
                <a:lnTo>
                  <a:pt x="878" y="532"/>
                </a:lnTo>
                <a:lnTo>
                  <a:pt x="870" y="536"/>
                </a:lnTo>
                <a:lnTo>
                  <a:pt x="862" y="540"/>
                </a:lnTo>
                <a:lnTo>
                  <a:pt x="854" y="543"/>
                </a:lnTo>
                <a:lnTo>
                  <a:pt x="845" y="545"/>
                </a:lnTo>
                <a:lnTo>
                  <a:pt x="835" y="547"/>
                </a:lnTo>
                <a:lnTo>
                  <a:pt x="826" y="549"/>
                </a:lnTo>
                <a:lnTo>
                  <a:pt x="816" y="549"/>
                </a:lnTo>
                <a:lnTo>
                  <a:pt x="805" y="550"/>
                </a:lnTo>
                <a:lnTo>
                  <a:pt x="804" y="550"/>
                </a:lnTo>
                <a:close/>
                <a:moveTo>
                  <a:pt x="802" y="641"/>
                </a:moveTo>
                <a:lnTo>
                  <a:pt x="818" y="641"/>
                </a:lnTo>
                <a:lnTo>
                  <a:pt x="833" y="640"/>
                </a:lnTo>
                <a:lnTo>
                  <a:pt x="849" y="638"/>
                </a:lnTo>
                <a:lnTo>
                  <a:pt x="863" y="636"/>
                </a:lnTo>
                <a:lnTo>
                  <a:pt x="878" y="633"/>
                </a:lnTo>
                <a:lnTo>
                  <a:pt x="893" y="629"/>
                </a:lnTo>
                <a:lnTo>
                  <a:pt x="906" y="624"/>
                </a:lnTo>
                <a:lnTo>
                  <a:pt x="920" y="619"/>
                </a:lnTo>
                <a:lnTo>
                  <a:pt x="933" y="613"/>
                </a:lnTo>
                <a:lnTo>
                  <a:pt x="946" y="607"/>
                </a:lnTo>
                <a:lnTo>
                  <a:pt x="959" y="600"/>
                </a:lnTo>
                <a:lnTo>
                  <a:pt x="970" y="593"/>
                </a:lnTo>
                <a:lnTo>
                  <a:pt x="982" y="584"/>
                </a:lnTo>
                <a:lnTo>
                  <a:pt x="993" y="575"/>
                </a:lnTo>
                <a:lnTo>
                  <a:pt x="1004" y="566"/>
                </a:lnTo>
                <a:lnTo>
                  <a:pt x="1013" y="556"/>
                </a:lnTo>
                <a:lnTo>
                  <a:pt x="1023" y="545"/>
                </a:lnTo>
                <a:lnTo>
                  <a:pt x="1033" y="533"/>
                </a:lnTo>
                <a:lnTo>
                  <a:pt x="1041" y="522"/>
                </a:lnTo>
                <a:lnTo>
                  <a:pt x="1049" y="509"/>
                </a:lnTo>
                <a:lnTo>
                  <a:pt x="1056" y="496"/>
                </a:lnTo>
                <a:lnTo>
                  <a:pt x="1063" y="482"/>
                </a:lnTo>
                <a:lnTo>
                  <a:pt x="1070" y="468"/>
                </a:lnTo>
                <a:lnTo>
                  <a:pt x="1076" y="453"/>
                </a:lnTo>
                <a:lnTo>
                  <a:pt x="1081" y="437"/>
                </a:lnTo>
                <a:lnTo>
                  <a:pt x="1085" y="422"/>
                </a:lnTo>
                <a:lnTo>
                  <a:pt x="1089" y="405"/>
                </a:lnTo>
                <a:lnTo>
                  <a:pt x="1092" y="388"/>
                </a:lnTo>
                <a:lnTo>
                  <a:pt x="1094" y="370"/>
                </a:lnTo>
                <a:lnTo>
                  <a:pt x="1096" y="352"/>
                </a:lnTo>
                <a:lnTo>
                  <a:pt x="1097" y="333"/>
                </a:lnTo>
                <a:lnTo>
                  <a:pt x="1097" y="314"/>
                </a:lnTo>
                <a:lnTo>
                  <a:pt x="1097" y="297"/>
                </a:lnTo>
                <a:lnTo>
                  <a:pt x="1096" y="281"/>
                </a:lnTo>
                <a:lnTo>
                  <a:pt x="1095" y="265"/>
                </a:lnTo>
                <a:lnTo>
                  <a:pt x="1093" y="250"/>
                </a:lnTo>
                <a:lnTo>
                  <a:pt x="1090" y="235"/>
                </a:lnTo>
                <a:lnTo>
                  <a:pt x="1087" y="219"/>
                </a:lnTo>
                <a:lnTo>
                  <a:pt x="1083" y="205"/>
                </a:lnTo>
                <a:lnTo>
                  <a:pt x="1078" y="190"/>
                </a:lnTo>
                <a:lnTo>
                  <a:pt x="1073" y="176"/>
                </a:lnTo>
                <a:lnTo>
                  <a:pt x="1068" y="163"/>
                </a:lnTo>
                <a:lnTo>
                  <a:pt x="1061" y="149"/>
                </a:lnTo>
                <a:lnTo>
                  <a:pt x="1054" y="137"/>
                </a:lnTo>
                <a:lnTo>
                  <a:pt x="1047" y="124"/>
                </a:lnTo>
                <a:lnTo>
                  <a:pt x="1039" y="113"/>
                </a:lnTo>
                <a:lnTo>
                  <a:pt x="1031" y="102"/>
                </a:lnTo>
                <a:lnTo>
                  <a:pt x="1021" y="91"/>
                </a:lnTo>
                <a:lnTo>
                  <a:pt x="1012" y="80"/>
                </a:lnTo>
                <a:lnTo>
                  <a:pt x="1002" y="71"/>
                </a:lnTo>
                <a:lnTo>
                  <a:pt x="991" y="62"/>
                </a:lnTo>
                <a:lnTo>
                  <a:pt x="980" y="52"/>
                </a:lnTo>
                <a:lnTo>
                  <a:pt x="969" y="44"/>
                </a:lnTo>
                <a:lnTo>
                  <a:pt x="957" y="37"/>
                </a:lnTo>
                <a:lnTo>
                  <a:pt x="944" y="30"/>
                </a:lnTo>
                <a:lnTo>
                  <a:pt x="932" y="24"/>
                </a:lnTo>
                <a:lnTo>
                  <a:pt x="917" y="19"/>
                </a:lnTo>
                <a:lnTo>
                  <a:pt x="904" y="13"/>
                </a:lnTo>
                <a:lnTo>
                  <a:pt x="890" y="9"/>
                </a:lnTo>
                <a:lnTo>
                  <a:pt x="874" y="6"/>
                </a:lnTo>
                <a:lnTo>
                  <a:pt x="859" y="3"/>
                </a:lnTo>
                <a:lnTo>
                  <a:pt x="844" y="2"/>
                </a:lnTo>
                <a:lnTo>
                  <a:pt x="827" y="0"/>
                </a:lnTo>
                <a:lnTo>
                  <a:pt x="811" y="0"/>
                </a:lnTo>
                <a:lnTo>
                  <a:pt x="794" y="0"/>
                </a:lnTo>
                <a:lnTo>
                  <a:pt x="778" y="2"/>
                </a:lnTo>
                <a:lnTo>
                  <a:pt x="762" y="3"/>
                </a:lnTo>
                <a:lnTo>
                  <a:pt x="747" y="6"/>
                </a:lnTo>
                <a:lnTo>
                  <a:pt x="733" y="9"/>
                </a:lnTo>
                <a:lnTo>
                  <a:pt x="718" y="13"/>
                </a:lnTo>
                <a:lnTo>
                  <a:pt x="704" y="19"/>
                </a:lnTo>
                <a:lnTo>
                  <a:pt x="690" y="24"/>
                </a:lnTo>
                <a:lnTo>
                  <a:pt x="677" y="30"/>
                </a:lnTo>
                <a:lnTo>
                  <a:pt x="665" y="37"/>
                </a:lnTo>
                <a:lnTo>
                  <a:pt x="652" y="44"/>
                </a:lnTo>
                <a:lnTo>
                  <a:pt x="640" y="52"/>
                </a:lnTo>
                <a:lnTo>
                  <a:pt x="629" y="62"/>
                </a:lnTo>
                <a:lnTo>
                  <a:pt x="617" y="71"/>
                </a:lnTo>
                <a:lnTo>
                  <a:pt x="607" y="80"/>
                </a:lnTo>
                <a:lnTo>
                  <a:pt x="597" y="92"/>
                </a:lnTo>
                <a:lnTo>
                  <a:pt x="588" y="102"/>
                </a:lnTo>
                <a:lnTo>
                  <a:pt x="578" y="114"/>
                </a:lnTo>
                <a:lnTo>
                  <a:pt x="570" y="126"/>
                </a:lnTo>
                <a:lnTo>
                  <a:pt x="562" y="139"/>
                </a:lnTo>
                <a:lnTo>
                  <a:pt x="555" y="151"/>
                </a:lnTo>
                <a:lnTo>
                  <a:pt x="549" y="166"/>
                </a:lnTo>
                <a:lnTo>
                  <a:pt x="542" y="179"/>
                </a:lnTo>
                <a:lnTo>
                  <a:pt x="536" y="194"/>
                </a:lnTo>
                <a:lnTo>
                  <a:pt x="531" y="209"/>
                </a:lnTo>
                <a:lnTo>
                  <a:pt x="527" y="224"/>
                </a:lnTo>
                <a:lnTo>
                  <a:pt x="524" y="241"/>
                </a:lnTo>
                <a:lnTo>
                  <a:pt x="521" y="256"/>
                </a:lnTo>
                <a:lnTo>
                  <a:pt x="518" y="273"/>
                </a:lnTo>
                <a:lnTo>
                  <a:pt x="517" y="290"/>
                </a:lnTo>
                <a:lnTo>
                  <a:pt x="516" y="308"/>
                </a:lnTo>
                <a:lnTo>
                  <a:pt x="515" y="325"/>
                </a:lnTo>
                <a:lnTo>
                  <a:pt x="516" y="342"/>
                </a:lnTo>
                <a:lnTo>
                  <a:pt x="517" y="359"/>
                </a:lnTo>
                <a:lnTo>
                  <a:pt x="518" y="374"/>
                </a:lnTo>
                <a:lnTo>
                  <a:pt x="520" y="391"/>
                </a:lnTo>
                <a:lnTo>
                  <a:pt x="523" y="406"/>
                </a:lnTo>
                <a:lnTo>
                  <a:pt x="526" y="422"/>
                </a:lnTo>
                <a:lnTo>
                  <a:pt x="530" y="436"/>
                </a:lnTo>
                <a:lnTo>
                  <a:pt x="535" y="452"/>
                </a:lnTo>
                <a:lnTo>
                  <a:pt x="540" y="465"/>
                </a:lnTo>
                <a:lnTo>
                  <a:pt x="547" y="479"/>
                </a:lnTo>
                <a:lnTo>
                  <a:pt x="553" y="492"/>
                </a:lnTo>
                <a:lnTo>
                  <a:pt x="559" y="505"/>
                </a:lnTo>
                <a:lnTo>
                  <a:pt x="567" y="517"/>
                </a:lnTo>
                <a:lnTo>
                  <a:pt x="575" y="529"/>
                </a:lnTo>
                <a:lnTo>
                  <a:pt x="584" y="540"/>
                </a:lnTo>
                <a:lnTo>
                  <a:pt x="593" y="551"/>
                </a:lnTo>
                <a:lnTo>
                  <a:pt x="602" y="562"/>
                </a:lnTo>
                <a:lnTo>
                  <a:pt x="612" y="571"/>
                </a:lnTo>
                <a:lnTo>
                  <a:pt x="623" y="580"/>
                </a:lnTo>
                <a:lnTo>
                  <a:pt x="634" y="588"/>
                </a:lnTo>
                <a:lnTo>
                  <a:pt x="645" y="597"/>
                </a:lnTo>
                <a:lnTo>
                  <a:pt x="658" y="604"/>
                </a:lnTo>
                <a:lnTo>
                  <a:pt x="670" y="611"/>
                </a:lnTo>
                <a:lnTo>
                  <a:pt x="682" y="617"/>
                </a:lnTo>
                <a:lnTo>
                  <a:pt x="696" y="622"/>
                </a:lnTo>
                <a:lnTo>
                  <a:pt x="710" y="628"/>
                </a:lnTo>
                <a:lnTo>
                  <a:pt x="724" y="632"/>
                </a:lnTo>
                <a:lnTo>
                  <a:pt x="739" y="635"/>
                </a:lnTo>
                <a:lnTo>
                  <a:pt x="753" y="638"/>
                </a:lnTo>
                <a:lnTo>
                  <a:pt x="769" y="640"/>
                </a:lnTo>
                <a:lnTo>
                  <a:pt x="785" y="641"/>
                </a:lnTo>
                <a:lnTo>
                  <a:pt x="801" y="641"/>
                </a:lnTo>
                <a:lnTo>
                  <a:pt x="802" y="641"/>
                </a:lnTo>
                <a:close/>
                <a:moveTo>
                  <a:pt x="458" y="523"/>
                </a:moveTo>
                <a:lnTo>
                  <a:pt x="447" y="528"/>
                </a:lnTo>
                <a:lnTo>
                  <a:pt x="434" y="532"/>
                </a:lnTo>
                <a:lnTo>
                  <a:pt x="418" y="536"/>
                </a:lnTo>
                <a:lnTo>
                  <a:pt x="403" y="539"/>
                </a:lnTo>
                <a:lnTo>
                  <a:pt x="386" y="542"/>
                </a:lnTo>
                <a:lnTo>
                  <a:pt x="370" y="544"/>
                </a:lnTo>
                <a:lnTo>
                  <a:pt x="352" y="545"/>
                </a:lnTo>
                <a:lnTo>
                  <a:pt x="335" y="545"/>
                </a:lnTo>
                <a:lnTo>
                  <a:pt x="323" y="545"/>
                </a:lnTo>
                <a:lnTo>
                  <a:pt x="310" y="544"/>
                </a:lnTo>
                <a:lnTo>
                  <a:pt x="298" y="543"/>
                </a:lnTo>
                <a:lnTo>
                  <a:pt x="287" y="541"/>
                </a:lnTo>
                <a:lnTo>
                  <a:pt x="275" y="539"/>
                </a:lnTo>
                <a:lnTo>
                  <a:pt x="265" y="537"/>
                </a:lnTo>
                <a:lnTo>
                  <a:pt x="254" y="534"/>
                </a:lnTo>
                <a:lnTo>
                  <a:pt x="243" y="530"/>
                </a:lnTo>
                <a:lnTo>
                  <a:pt x="234" y="526"/>
                </a:lnTo>
                <a:lnTo>
                  <a:pt x="225" y="522"/>
                </a:lnTo>
                <a:lnTo>
                  <a:pt x="216" y="516"/>
                </a:lnTo>
                <a:lnTo>
                  <a:pt x="207" y="511"/>
                </a:lnTo>
                <a:lnTo>
                  <a:pt x="198" y="505"/>
                </a:lnTo>
                <a:lnTo>
                  <a:pt x="191" y="499"/>
                </a:lnTo>
                <a:lnTo>
                  <a:pt x="183" y="492"/>
                </a:lnTo>
                <a:lnTo>
                  <a:pt x="177" y="486"/>
                </a:lnTo>
                <a:lnTo>
                  <a:pt x="169" y="477"/>
                </a:lnTo>
                <a:lnTo>
                  <a:pt x="163" y="470"/>
                </a:lnTo>
                <a:lnTo>
                  <a:pt x="157" y="462"/>
                </a:lnTo>
                <a:lnTo>
                  <a:pt x="152" y="453"/>
                </a:lnTo>
                <a:lnTo>
                  <a:pt x="147" y="443"/>
                </a:lnTo>
                <a:lnTo>
                  <a:pt x="142" y="434"/>
                </a:lnTo>
                <a:lnTo>
                  <a:pt x="138" y="425"/>
                </a:lnTo>
                <a:lnTo>
                  <a:pt x="134" y="415"/>
                </a:lnTo>
                <a:lnTo>
                  <a:pt x="127" y="393"/>
                </a:lnTo>
                <a:lnTo>
                  <a:pt x="123" y="371"/>
                </a:lnTo>
                <a:lnTo>
                  <a:pt x="120" y="347"/>
                </a:lnTo>
                <a:lnTo>
                  <a:pt x="119" y="322"/>
                </a:lnTo>
                <a:lnTo>
                  <a:pt x="119" y="309"/>
                </a:lnTo>
                <a:lnTo>
                  <a:pt x="120" y="295"/>
                </a:lnTo>
                <a:lnTo>
                  <a:pt x="122" y="282"/>
                </a:lnTo>
                <a:lnTo>
                  <a:pt x="123" y="270"/>
                </a:lnTo>
                <a:lnTo>
                  <a:pt x="125" y="257"/>
                </a:lnTo>
                <a:lnTo>
                  <a:pt x="128" y="246"/>
                </a:lnTo>
                <a:lnTo>
                  <a:pt x="131" y="235"/>
                </a:lnTo>
                <a:lnTo>
                  <a:pt x="136" y="223"/>
                </a:lnTo>
                <a:lnTo>
                  <a:pt x="140" y="213"/>
                </a:lnTo>
                <a:lnTo>
                  <a:pt x="145" y="203"/>
                </a:lnTo>
                <a:lnTo>
                  <a:pt x="149" y="193"/>
                </a:lnTo>
                <a:lnTo>
                  <a:pt x="155" y="184"/>
                </a:lnTo>
                <a:lnTo>
                  <a:pt x="160" y="176"/>
                </a:lnTo>
                <a:lnTo>
                  <a:pt x="167" y="168"/>
                </a:lnTo>
                <a:lnTo>
                  <a:pt x="174" y="159"/>
                </a:lnTo>
                <a:lnTo>
                  <a:pt x="181" y="152"/>
                </a:lnTo>
                <a:lnTo>
                  <a:pt x="188" y="145"/>
                </a:lnTo>
                <a:lnTo>
                  <a:pt x="196" y="139"/>
                </a:lnTo>
                <a:lnTo>
                  <a:pt x="204" y="133"/>
                </a:lnTo>
                <a:lnTo>
                  <a:pt x="213" y="127"/>
                </a:lnTo>
                <a:lnTo>
                  <a:pt x="221" y="121"/>
                </a:lnTo>
                <a:lnTo>
                  <a:pt x="230" y="117"/>
                </a:lnTo>
                <a:lnTo>
                  <a:pt x="239" y="112"/>
                </a:lnTo>
                <a:lnTo>
                  <a:pt x="250" y="109"/>
                </a:lnTo>
                <a:lnTo>
                  <a:pt x="270" y="102"/>
                </a:lnTo>
                <a:lnTo>
                  <a:pt x="291" y="98"/>
                </a:lnTo>
                <a:lnTo>
                  <a:pt x="313" y="95"/>
                </a:lnTo>
                <a:lnTo>
                  <a:pt x="337" y="94"/>
                </a:lnTo>
                <a:lnTo>
                  <a:pt x="355" y="95"/>
                </a:lnTo>
                <a:lnTo>
                  <a:pt x="373" y="96"/>
                </a:lnTo>
                <a:lnTo>
                  <a:pt x="389" y="98"/>
                </a:lnTo>
                <a:lnTo>
                  <a:pt x="405" y="101"/>
                </a:lnTo>
                <a:lnTo>
                  <a:pt x="420" y="105"/>
                </a:lnTo>
                <a:lnTo>
                  <a:pt x="434" y="109"/>
                </a:lnTo>
                <a:lnTo>
                  <a:pt x="446" y="113"/>
                </a:lnTo>
                <a:lnTo>
                  <a:pt x="457" y="118"/>
                </a:lnTo>
                <a:lnTo>
                  <a:pt x="482" y="28"/>
                </a:lnTo>
                <a:lnTo>
                  <a:pt x="473" y="24"/>
                </a:lnTo>
                <a:lnTo>
                  <a:pt x="459" y="19"/>
                </a:lnTo>
                <a:lnTo>
                  <a:pt x="444" y="13"/>
                </a:lnTo>
                <a:lnTo>
                  <a:pt x="426" y="9"/>
                </a:lnTo>
                <a:lnTo>
                  <a:pt x="406" y="6"/>
                </a:lnTo>
                <a:lnTo>
                  <a:pt x="383" y="3"/>
                </a:lnTo>
                <a:lnTo>
                  <a:pt x="359" y="1"/>
                </a:lnTo>
                <a:lnTo>
                  <a:pt x="332" y="0"/>
                </a:lnTo>
                <a:lnTo>
                  <a:pt x="314" y="1"/>
                </a:lnTo>
                <a:lnTo>
                  <a:pt x="297" y="2"/>
                </a:lnTo>
                <a:lnTo>
                  <a:pt x="280" y="4"/>
                </a:lnTo>
                <a:lnTo>
                  <a:pt x="263" y="6"/>
                </a:lnTo>
                <a:lnTo>
                  <a:pt x="247" y="9"/>
                </a:lnTo>
                <a:lnTo>
                  <a:pt x="231" y="13"/>
                </a:lnTo>
                <a:lnTo>
                  <a:pt x="216" y="17"/>
                </a:lnTo>
                <a:lnTo>
                  <a:pt x="200" y="23"/>
                </a:lnTo>
                <a:lnTo>
                  <a:pt x="185" y="29"/>
                </a:lnTo>
                <a:lnTo>
                  <a:pt x="172" y="35"/>
                </a:lnTo>
                <a:lnTo>
                  <a:pt x="157" y="42"/>
                </a:lnTo>
                <a:lnTo>
                  <a:pt x="144" y="50"/>
                </a:lnTo>
                <a:lnTo>
                  <a:pt x="130" y="59"/>
                </a:lnTo>
                <a:lnTo>
                  <a:pt x="118" y="68"/>
                </a:lnTo>
                <a:lnTo>
                  <a:pt x="107" y="77"/>
                </a:lnTo>
                <a:lnTo>
                  <a:pt x="94" y="87"/>
                </a:lnTo>
                <a:lnTo>
                  <a:pt x="84" y="99"/>
                </a:lnTo>
                <a:lnTo>
                  <a:pt x="74" y="110"/>
                </a:lnTo>
                <a:lnTo>
                  <a:pt x="65" y="122"/>
                </a:lnTo>
                <a:lnTo>
                  <a:pt x="55" y="135"/>
                </a:lnTo>
                <a:lnTo>
                  <a:pt x="47" y="148"/>
                </a:lnTo>
                <a:lnTo>
                  <a:pt x="39" y="162"/>
                </a:lnTo>
                <a:lnTo>
                  <a:pt x="32" y="176"/>
                </a:lnTo>
                <a:lnTo>
                  <a:pt x="26" y="190"/>
                </a:lnTo>
                <a:lnTo>
                  <a:pt x="19" y="206"/>
                </a:lnTo>
                <a:lnTo>
                  <a:pt x="14" y="222"/>
                </a:lnTo>
                <a:lnTo>
                  <a:pt x="10" y="239"/>
                </a:lnTo>
                <a:lnTo>
                  <a:pt x="6" y="255"/>
                </a:lnTo>
                <a:lnTo>
                  <a:pt x="4" y="273"/>
                </a:lnTo>
                <a:lnTo>
                  <a:pt x="2" y="290"/>
                </a:lnTo>
                <a:lnTo>
                  <a:pt x="1" y="309"/>
                </a:lnTo>
                <a:lnTo>
                  <a:pt x="0" y="328"/>
                </a:lnTo>
                <a:lnTo>
                  <a:pt x="1" y="346"/>
                </a:lnTo>
                <a:lnTo>
                  <a:pt x="2" y="362"/>
                </a:lnTo>
                <a:lnTo>
                  <a:pt x="3" y="380"/>
                </a:lnTo>
                <a:lnTo>
                  <a:pt x="6" y="395"/>
                </a:lnTo>
                <a:lnTo>
                  <a:pt x="9" y="412"/>
                </a:lnTo>
                <a:lnTo>
                  <a:pt x="12" y="427"/>
                </a:lnTo>
                <a:lnTo>
                  <a:pt x="16" y="441"/>
                </a:lnTo>
                <a:lnTo>
                  <a:pt x="22" y="457"/>
                </a:lnTo>
                <a:lnTo>
                  <a:pt x="28" y="470"/>
                </a:lnTo>
                <a:lnTo>
                  <a:pt x="34" y="484"/>
                </a:lnTo>
                <a:lnTo>
                  <a:pt x="41" y="497"/>
                </a:lnTo>
                <a:lnTo>
                  <a:pt x="48" y="509"/>
                </a:lnTo>
                <a:lnTo>
                  <a:pt x="56" y="522"/>
                </a:lnTo>
                <a:lnTo>
                  <a:pt x="66" y="534"/>
                </a:lnTo>
                <a:lnTo>
                  <a:pt x="75" y="544"/>
                </a:lnTo>
                <a:lnTo>
                  <a:pt x="84" y="555"/>
                </a:lnTo>
                <a:lnTo>
                  <a:pt x="95" y="565"/>
                </a:lnTo>
                <a:lnTo>
                  <a:pt x="106" y="574"/>
                </a:lnTo>
                <a:lnTo>
                  <a:pt x="118" y="583"/>
                </a:lnTo>
                <a:lnTo>
                  <a:pt x="130" y="592"/>
                </a:lnTo>
                <a:lnTo>
                  <a:pt x="143" y="599"/>
                </a:lnTo>
                <a:lnTo>
                  <a:pt x="156" y="606"/>
                </a:lnTo>
                <a:lnTo>
                  <a:pt x="169" y="612"/>
                </a:lnTo>
                <a:lnTo>
                  <a:pt x="184" y="618"/>
                </a:lnTo>
                <a:lnTo>
                  <a:pt x="199" y="623"/>
                </a:lnTo>
                <a:lnTo>
                  <a:pt x="215" y="628"/>
                </a:lnTo>
                <a:lnTo>
                  <a:pt x="230" y="632"/>
                </a:lnTo>
                <a:lnTo>
                  <a:pt x="247" y="635"/>
                </a:lnTo>
                <a:lnTo>
                  <a:pt x="263" y="637"/>
                </a:lnTo>
                <a:lnTo>
                  <a:pt x="280" y="639"/>
                </a:lnTo>
                <a:lnTo>
                  <a:pt x="298" y="640"/>
                </a:lnTo>
                <a:lnTo>
                  <a:pt x="316" y="641"/>
                </a:lnTo>
                <a:lnTo>
                  <a:pt x="344" y="640"/>
                </a:lnTo>
                <a:lnTo>
                  <a:pt x="370" y="638"/>
                </a:lnTo>
                <a:lnTo>
                  <a:pt x="393" y="635"/>
                </a:lnTo>
                <a:lnTo>
                  <a:pt x="415" y="632"/>
                </a:lnTo>
                <a:lnTo>
                  <a:pt x="435" y="628"/>
                </a:lnTo>
                <a:lnTo>
                  <a:pt x="451" y="622"/>
                </a:lnTo>
                <a:lnTo>
                  <a:pt x="465" y="617"/>
                </a:lnTo>
                <a:lnTo>
                  <a:pt x="478" y="612"/>
                </a:lnTo>
                <a:lnTo>
                  <a:pt x="458" y="523"/>
                </a:lnTo>
                <a:close/>
              </a:path>
            </a:pathLst>
          </a:custGeom>
          <a:solidFill>
            <a:schemeClr val="bg1">
              <a:lumMod val="5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050" dirty="0">
              <a:solidFill>
                <a:prstClr val="white"/>
              </a:solidFill>
            </a:endParaRPr>
          </a:p>
        </p:txBody>
      </p:sp>
      <p:sp>
        <p:nvSpPr>
          <p:cNvPr id="59" name="Freeform 58"/>
          <p:cNvSpPr>
            <a:spLocks noEditPoints="1"/>
          </p:cNvSpPr>
          <p:nvPr userDrawn="1"/>
        </p:nvSpPr>
        <p:spPr bwMode="auto">
          <a:xfrm>
            <a:off x="6768031" y="5014634"/>
            <a:ext cx="439271" cy="82097"/>
          </a:xfrm>
          <a:custGeom>
            <a:avLst/>
            <a:gdLst/>
            <a:ahLst/>
            <a:cxnLst>
              <a:cxn ang="0">
                <a:pos x="598" y="179"/>
              </a:cxn>
              <a:cxn ang="0">
                <a:pos x="598" y="0"/>
              </a:cxn>
              <a:cxn ang="0">
                <a:pos x="524" y="0"/>
              </a:cxn>
              <a:cxn ang="0">
                <a:pos x="449" y="0"/>
              </a:cxn>
              <a:cxn ang="0">
                <a:pos x="374" y="0"/>
              </a:cxn>
              <a:cxn ang="0">
                <a:pos x="299" y="0"/>
              </a:cxn>
              <a:cxn ang="0">
                <a:pos x="224" y="0"/>
              </a:cxn>
              <a:cxn ang="0">
                <a:pos x="150" y="0"/>
              </a:cxn>
              <a:cxn ang="0">
                <a:pos x="75" y="0"/>
              </a:cxn>
              <a:cxn ang="0">
                <a:pos x="0" y="0"/>
              </a:cxn>
              <a:cxn ang="0">
                <a:pos x="0" y="179"/>
              </a:cxn>
              <a:cxn ang="0">
                <a:pos x="176" y="179"/>
              </a:cxn>
              <a:cxn ang="0">
                <a:pos x="176" y="621"/>
              </a:cxn>
              <a:cxn ang="0">
                <a:pos x="423" y="621"/>
              </a:cxn>
              <a:cxn ang="0">
                <a:pos x="423" y="179"/>
              </a:cxn>
              <a:cxn ang="0">
                <a:pos x="598" y="179"/>
              </a:cxn>
              <a:cxn ang="0">
                <a:pos x="907" y="250"/>
              </a:cxn>
              <a:cxn ang="0">
                <a:pos x="781" y="621"/>
              </a:cxn>
              <a:cxn ang="0">
                <a:pos x="539" y="621"/>
              </a:cxn>
              <a:cxn ang="0">
                <a:pos x="776" y="0"/>
              </a:cxn>
              <a:cxn ang="0">
                <a:pos x="809" y="0"/>
              </a:cxn>
              <a:cxn ang="0">
                <a:pos x="842" y="0"/>
              </a:cxn>
              <a:cxn ang="0">
                <a:pos x="874" y="0"/>
              </a:cxn>
              <a:cxn ang="0">
                <a:pos x="907" y="0"/>
              </a:cxn>
              <a:cxn ang="0">
                <a:pos x="939" y="0"/>
              </a:cxn>
              <a:cxn ang="0">
                <a:pos x="972" y="0"/>
              </a:cxn>
              <a:cxn ang="0">
                <a:pos x="1005" y="0"/>
              </a:cxn>
              <a:cxn ang="0">
                <a:pos x="1038" y="0"/>
              </a:cxn>
              <a:cxn ang="0">
                <a:pos x="1275" y="621"/>
              </a:cxn>
              <a:cxn ang="0">
                <a:pos x="1033" y="621"/>
              </a:cxn>
              <a:cxn ang="0">
                <a:pos x="907" y="250"/>
              </a:cxn>
              <a:cxn ang="0">
                <a:pos x="1814" y="179"/>
              </a:cxn>
              <a:cxn ang="0">
                <a:pos x="1814" y="0"/>
              </a:cxn>
              <a:cxn ang="0">
                <a:pos x="1740" y="0"/>
              </a:cxn>
              <a:cxn ang="0">
                <a:pos x="1665" y="0"/>
              </a:cxn>
              <a:cxn ang="0">
                <a:pos x="1590" y="0"/>
              </a:cxn>
              <a:cxn ang="0">
                <a:pos x="1515" y="0"/>
              </a:cxn>
              <a:cxn ang="0">
                <a:pos x="1440" y="0"/>
              </a:cxn>
              <a:cxn ang="0">
                <a:pos x="1366" y="0"/>
              </a:cxn>
              <a:cxn ang="0">
                <a:pos x="1291" y="0"/>
              </a:cxn>
              <a:cxn ang="0">
                <a:pos x="1216" y="0"/>
              </a:cxn>
              <a:cxn ang="0">
                <a:pos x="1216" y="179"/>
              </a:cxn>
              <a:cxn ang="0">
                <a:pos x="1391" y="179"/>
              </a:cxn>
              <a:cxn ang="0">
                <a:pos x="1391" y="621"/>
              </a:cxn>
              <a:cxn ang="0">
                <a:pos x="1639" y="621"/>
              </a:cxn>
              <a:cxn ang="0">
                <a:pos x="1639" y="179"/>
              </a:cxn>
              <a:cxn ang="0">
                <a:pos x="1814" y="179"/>
              </a:cxn>
              <a:cxn ang="0">
                <a:pos x="2123" y="250"/>
              </a:cxn>
              <a:cxn ang="0">
                <a:pos x="1996" y="621"/>
              </a:cxn>
              <a:cxn ang="0">
                <a:pos x="1754" y="621"/>
              </a:cxn>
              <a:cxn ang="0">
                <a:pos x="1991" y="0"/>
              </a:cxn>
              <a:cxn ang="0">
                <a:pos x="2024" y="0"/>
              </a:cxn>
              <a:cxn ang="0">
                <a:pos x="2057" y="0"/>
              </a:cxn>
              <a:cxn ang="0">
                <a:pos x="2090" y="0"/>
              </a:cxn>
              <a:cxn ang="0">
                <a:pos x="2123" y="0"/>
              </a:cxn>
              <a:cxn ang="0">
                <a:pos x="2155" y="0"/>
              </a:cxn>
              <a:cxn ang="0">
                <a:pos x="2188" y="0"/>
              </a:cxn>
              <a:cxn ang="0">
                <a:pos x="2220" y="0"/>
              </a:cxn>
              <a:cxn ang="0">
                <a:pos x="2253" y="0"/>
              </a:cxn>
              <a:cxn ang="0">
                <a:pos x="2491" y="621"/>
              </a:cxn>
              <a:cxn ang="0">
                <a:pos x="2248" y="621"/>
              </a:cxn>
              <a:cxn ang="0">
                <a:pos x="2123" y="250"/>
              </a:cxn>
            </a:cxnLst>
            <a:rect l="0" t="0" r="r" b="b"/>
            <a:pathLst>
              <a:path w="2491" h="621">
                <a:moveTo>
                  <a:pt x="598" y="179"/>
                </a:moveTo>
                <a:lnTo>
                  <a:pt x="598" y="0"/>
                </a:lnTo>
                <a:lnTo>
                  <a:pt x="524" y="0"/>
                </a:lnTo>
                <a:lnTo>
                  <a:pt x="449" y="0"/>
                </a:lnTo>
                <a:lnTo>
                  <a:pt x="374" y="0"/>
                </a:lnTo>
                <a:lnTo>
                  <a:pt x="299" y="0"/>
                </a:lnTo>
                <a:lnTo>
                  <a:pt x="224" y="0"/>
                </a:lnTo>
                <a:lnTo>
                  <a:pt x="150" y="0"/>
                </a:lnTo>
                <a:lnTo>
                  <a:pt x="75" y="0"/>
                </a:lnTo>
                <a:lnTo>
                  <a:pt x="0" y="0"/>
                </a:lnTo>
                <a:lnTo>
                  <a:pt x="0" y="179"/>
                </a:lnTo>
                <a:lnTo>
                  <a:pt x="176" y="179"/>
                </a:lnTo>
                <a:lnTo>
                  <a:pt x="176" y="621"/>
                </a:lnTo>
                <a:lnTo>
                  <a:pt x="423" y="621"/>
                </a:lnTo>
                <a:lnTo>
                  <a:pt x="423" y="179"/>
                </a:lnTo>
                <a:lnTo>
                  <a:pt x="598" y="179"/>
                </a:lnTo>
                <a:close/>
                <a:moveTo>
                  <a:pt x="907" y="250"/>
                </a:moveTo>
                <a:lnTo>
                  <a:pt x="781" y="621"/>
                </a:lnTo>
                <a:lnTo>
                  <a:pt x="539" y="621"/>
                </a:lnTo>
                <a:lnTo>
                  <a:pt x="776" y="0"/>
                </a:lnTo>
                <a:lnTo>
                  <a:pt x="809" y="0"/>
                </a:lnTo>
                <a:lnTo>
                  <a:pt x="842" y="0"/>
                </a:lnTo>
                <a:lnTo>
                  <a:pt x="874" y="0"/>
                </a:lnTo>
                <a:lnTo>
                  <a:pt x="907" y="0"/>
                </a:lnTo>
                <a:lnTo>
                  <a:pt x="939" y="0"/>
                </a:lnTo>
                <a:lnTo>
                  <a:pt x="972" y="0"/>
                </a:lnTo>
                <a:lnTo>
                  <a:pt x="1005" y="0"/>
                </a:lnTo>
                <a:lnTo>
                  <a:pt x="1038" y="0"/>
                </a:lnTo>
                <a:lnTo>
                  <a:pt x="1275" y="621"/>
                </a:lnTo>
                <a:lnTo>
                  <a:pt x="1033" y="621"/>
                </a:lnTo>
                <a:lnTo>
                  <a:pt x="907" y="250"/>
                </a:lnTo>
                <a:close/>
                <a:moveTo>
                  <a:pt x="1814" y="179"/>
                </a:moveTo>
                <a:lnTo>
                  <a:pt x="1814" y="0"/>
                </a:lnTo>
                <a:lnTo>
                  <a:pt x="1740" y="0"/>
                </a:lnTo>
                <a:lnTo>
                  <a:pt x="1665" y="0"/>
                </a:lnTo>
                <a:lnTo>
                  <a:pt x="1590" y="0"/>
                </a:lnTo>
                <a:lnTo>
                  <a:pt x="1515" y="0"/>
                </a:lnTo>
                <a:lnTo>
                  <a:pt x="1440" y="0"/>
                </a:lnTo>
                <a:lnTo>
                  <a:pt x="1366" y="0"/>
                </a:lnTo>
                <a:lnTo>
                  <a:pt x="1291" y="0"/>
                </a:lnTo>
                <a:lnTo>
                  <a:pt x="1216" y="0"/>
                </a:lnTo>
                <a:lnTo>
                  <a:pt x="1216" y="179"/>
                </a:lnTo>
                <a:lnTo>
                  <a:pt x="1391" y="179"/>
                </a:lnTo>
                <a:lnTo>
                  <a:pt x="1391" y="621"/>
                </a:lnTo>
                <a:lnTo>
                  <a:pt x="1639" y="621"/>
                </a:lnTo>
                <a:lnTo>
                  <a:pt x="1639" y="179"/>
                </a:lnTo>
                <a:lnTo>
                  <a:pt x="1814" y="179"/>
                </a:lnTo>
                <a:close/>
                <a:moveTo>
                  <a:pt x="2123" y="250"/>
                </a:moveTo>
                <a:lnTo>
                  <a:pt x="1996" y="621"/>
                </a:lnTo>
                <a:lnTo>
                  <a:pt x="1754" y="621"/>
                </a:lnTo>
                <a:lnTo>
                  <a:pt x="1991" y="0"/>
                </a:lnTo>
                <a:lnTo>
                  <a:pt x="2024" y="0"/>
                </a:lnTo>
                <a:lnTo>
                  <a:pt x="2057" y="0"/>
                </a:lnTo>
                <a:lnTo>
                  <a:pt x="2090" y="0"/>
                </a:lnTo>
                <a:lnTo>
                  <a:pt x="2123" y="0"/>
                </a:lnTo>
                <a:lnTo>
                  <a:pt x="2155" y="0"/>
                </a:lnTo>
                <a:lnTo>
                  <a:pt x="2188" y="0"/>
                </a:lnTo>
                <a:lnTo>
                  <a:pt x="2220" y="0"/>
                </a:lnTo>
                <a:lnTo>
                  <a:pt x="2253" y="0"/>
                </a:lnTo>
                <a:lnTo>
                  <a:pt x="2491" y="621"/>
                </a:lnTo>
                <a:lnTo>
                  <a:pt x="2248" y="621"/>
                </a:lnTo>
                <a:lnTo>
                  <a:pt x="2123" y="250"/>
                </a:lnTo>
                <a:close/>
              </a:path>
            </a:pathLst>
          </a:custGeom>
          <a:solidFill>
            <a:schemeClr val="bg1">
              <a:lumMod val="5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en-US" sz="1050" dirty="0">
              <a:solidFill>
                <a:prstClr val="white"/>
              </a:solidFill>
            </a:endParaRPr>
          </a:p>
        </p:txBody>
      </p:sp>
      <p:sp>
        <p:nvSpPr>
          <p:cNvPr id="60" name="Rectangle 71"/>
          <p:cNvSpPr txBox="1">
            <a:spLocks noChangeArrowheads="1"/>
          </p:cNvSpPr>
          <p:nvPr userDrawn="1"/>
        </p:nvSpPr>
        <p:spPr bwMode="auto">
          <a:xfrm>
            <a:off x="4343402" y="4924046"/>
            <a:ext cx="663575" cy="270272"/>
          </a:xfrm>
          <a:prstGeom prst="rect">
            <a:avLst/>
          </a:prstGeom>
          <a:noFill/>
          <a:ln w="9525">
            <a:noFill/>
            <a:miter lim="800000"/>
            <a:headEnd/>
            <a:tailEnd/>
          </a:ln>
          <a:effectLst/>
        </p:spPr>
        <p:txBody>
          <a:bodyPr vert="horz" wrap="square" lIns="68580" tIns="34290" rIns="68580" bIns="34290" numCol="1" anchor="ctr" anchorCtr="0" compatLnSpc="1">
            <a:prstTxWarp prst="textNoShape">
              <a:avLst/>
            </a:prstTxWarp>
          </a:bodyPr>
          <a:lstStyle>
            <a:lvl1pPr>
              <a:defRPr sz="1000">
                <a:solidFill>
                  <a:srgbClr val="4E84C4"/>
                </a:solidFill>
              </a:defRPr>
            </a:lvl1pPr>
          </a:lstStyle>
          <a:p>
            <a:pPr algn="ctr">
              <a:defRPr/>
            </a:pPr>
            <a:fld id="{13B55AB4-0D57-4FBE-946B-A81E4A9D2A4C}" type="slidenum">
              <a:rPr lang="en-US" sz="750" b="1" smtClean="0">
                <a:solidFill>
                  <a:prstClr val="white">
                    <a:lumMod val="50000"/>
                  </a:prstClr>
                </a:solidFill>
                <a:cs typeface="Arial" pitchFamily="34" charset="0"/>
              </a:rPr>
              <a:pPr algn="ctr">
                <a:defRPr/>
              </a:pPr>
              <a:t>‹#›</a:t>
            </a:fld>
            <a:r>
              <a:rPr lang="en-US" sz="750" b="1" dirty="0">
                <a:solidFill>
                  <a:prstClr val="white">
                    <a:lumMod val="50000"/>
                  </a:prstClr>
                </a:solidFill>
                <a:cs typeface="Arial" pitchFamily="34" charset="0"/>
              </a:rPr>
              <a:t> </a:t>
            </a:r>
          </a:p>
        </p:txBody>
      </p:sp>
    </p:spTree>
    <p:extLst>
      <p:ext uri="{BB962C8B-B14F-4D97-AF65-F5344CB8AC3E}">
        <p14:creationId xmlns:p14="http://schemas.microsoft.com/office/powerpoint/2010/main" val="35250550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a:p>
        </p:txBody>
      </p:sp>
      <p:sp>
        <p:nvSpPr>
          <p:cNvPr id="3" name="Text Placeholder 5"/>
          <p:cNvSpPr>
            <a:spLocks noGrp="1"/>
          </p:cNvSpPr>
          <p:nvPr>
            <p:ph type="body" sz="quarter" idx="10" hasCustomPrompt="1"/>
          </p:nvPr>
        </p:nvSpPr>
        <p:spPr>
          <a:xfrm>
            <a:off x="4654014" y="4889067"/>
            <a:ext cx="2584986" cy="192082"/>
          </a:xfrm>
        </p:spPr>
        <p:txBody>
          <a:bodyPr wrap="none" anchor="ctr">
            <a:noAutofit/>
          </a:bodyPr>
          <a:lstStyle>
            <a:lvl1pPr marL="0" indent="0" algn="ctr">
              <a:buNone/>
              <a:defRPr sz="1000">
                <a:solidFill>
                  <a:schemeClr val="tx1">
                    <a:lumMod val="65000"/>
                    <a:lumOff val="35000"/>
                  </a:schemeClr>
                </a:solidFill>
              </a:defRPr>
            </a:lvl1pPr>
          </a:lstStyle>
          <a:p>
            <a:pPr lvl="0"/>
            <a:r>
              <a:rPr lang="en-US" dirty="0" smtClean="0"/>
              <a:t>Click to add Information Classification</a:t>
            </a:r>
            <a:endParaRPr lang="en-US" dirty="0"/>
          </a:p>
        </p:txBody>
      </p:sp>
      <p:sp>
        <p:nvSpPr>
          <p:cNvPr id="4" name="Footer Placeholder 3"/>
          <p:cNvSpPr>
            <a:spLocks noGrp="1"/>
          </p:cNvSpPr>
          <p:nvPr>
            <p:ph type="ftr" sz="quarter" idx="11"/>
          </p:nvPr>
        </p:nvSpPr>
        <p:spPr>
          <a:xfrm>
            <a:off x="3962400" y="4946307"/>
            <a:ext cx="2514600" cy="182880"/>
          </a:xfrm>
          <a:prstGeom prst="rect">
            <a:avLst/>
          </a:prstGeom>
        </p:spPr>
        <p:txBody>
          <a:bodyPr/>
          <a:lstStyle/>
          <a:p>
            <a:r>
              <a:rPr lang="en-US" smtClean="0"/>
              <a:t>TCS DSV Confidential</a:t>
            </a:r>
            <a:endParaRPr lang="en-US" dirty="0"/>
          </a:p>
        </p:txBody>
      </p:sp>
      <p:sp>
        <p:nvSpPr>
          <p:cNvPr id="5" name="Slide Number Placeholder 4"/>
          <p:cNvSpPr>
            <a:spLocks noGrp="1"/>
          </p:cNvSpPr>
          <p:nvPr>
            <p:ph type="sldNum" sz="quarter" idx="12"/>
          </p:nvPr>
        </p:nvSpPr>
        <p:spPr>
          <a:xfrm>
            <a:off x="1981200" y="4946307"/>
            <a:ext cx="1600200" cy="182880"/>
          </a:xfrm>
          <a:prstGeom prst="rect">
            <a:avLst/>
          </a:prstGeom>
        </p:spPr>
        <p:txBody>
          <a:bodyPr/>
          <a:lstStyle/>
          <a:p>
            <a:fld id="{D31A677F-1EA8-4E2A-B8F3-E3460EA85E47}" type="slidenum">
              <a:rPr lang="en-US" smtClean="0"/>
              <a:pPr/>
              <a:t>‹#›</a:t>
            </a:fld>
            <a:endParaRPr lang="en-US"/>
          </a:p>
        </p:txBody>
      </p:sp>
    </p:spTree>
    <p:extLst>
      <p:ext uri="{BB962C8B-B14F-4D97-AF65-F5344CB8AC3E}">
        <p14:creationId xmlns:p14="http://schemas.microsoft.com/office/powerpoint/2010/main" val="2301424701"/>
      </p:ext>
    </p:extLst>
  </p:cSld>
  <p:clrMapOvr>
    <a:masterClrMapping/>
  </p:clrMapOvr>
  <p:transition>
    <p:fade thruBlk="1"/>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parator Slide 3">
    <p:bg>
      <p:bgPr>
        <a:gradFill>
          <a:gsLst>
            <a:gs pos="0">
              <a:srgbClr val="633D94"/>
            </a:gs>
            <a:gs pos="100000">
              <a:srgbClr val="EF5731"/>
            </a:gs>
          </a:gsLst>
          <a:lin ang="54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6118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a:p>
        </p:txBody>
      </p:sp>
      <p:sp>
        <p:nvSpPr>
          <p:cNvPr id="3" name="Text Placeholder 5"/>
          <p:cNvSpPr>
            <a:spLocks noGrp="1"/>
          </p:cNvSpPr>
          <p:nvPr>
            <p:ph type="body" sz="quarter" idx="10" hasCustomPrompt="1"/>
          </p:nvPr>
        </p:nvSpPr>
        <p:spPr>
          <a:xfrm>
            <a:off x="4730214" y="4889066"/>
            <a:ext cx="2813586" cy="192082"/>
          </a:xfrm>
        </p:spPr>
        <p:txBody>
          <a:bodyPr wrap="none" anchor="ctr">
            <a:noAutofit/>
          </a:bodyPr>
          <a:lstStyle>
            <a:lvl1pPr marL="0" indent="0" algn="ctr">
              <a:buNone/>
              <a:defRPr sz="1000">
                <a:solidFill>
                  <a:schemeClr val="tx1">
                    <a:lumMod val="65000"/>
                    <a:lumOff val="35000"/>
                  </a:schemeClr>
                </a:solidFill>
              </a:defRPr>
            </a:lvl1pPr>
          </a:lstStyle>
          <a:p>
            <a:pPr lvl="0"/>
            <a:r>
              <a:rPr lang="en-US" dirty="0" smtClean="0"/>
              <a:t>Click to add Information Classification</a:t>
            </a:r>
            <a:endParaRPr lang="en-US" dirty="0"/>
          </a:p>
        </p:txBody>
      </p:sp>
    </p:spTree>
    <p:extLst>
      <p:ext uri="{BB962C8B-B14F-4D97-AF65-F5344CB8AC3E}">
        <p14:creationId xmlns:p14="http://schemas.microsoft.com/office/powerpoint/2010/main" val="2195547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a:p>
        </p:txBody>
      </p:sp>
    </p:spTree>
    <p:extLst>
      <p:ext uri="{BB962C8B-B14F-4D97-AF65-F5344CB8AC3E}">
        <p14:creationId xmlns:p14="http://schemas.microsoft.com/office/powerpoint/2010/main" val="28499926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a:t>Click to edit Master title style</a:t>
            </a:r>
            <a:endParaRPr lang="en-US" dirty="0"/>
          </a:p>
        </p:txBody>
      </p:sp>
      <p:sp>
        <p:nvSpPr>
          <p:cNvPr id="5"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
        <p:nvSpPr>
          <p:cNvPr id="7" name="Text Placeholder 2"/>
          <p:cNvSpPr>
            <a:spLocks noGrp="1"/>
          </p:cNvSpPr>
          <p:nvPr>
            <p:ph idx="1"/>
          </p:nvPr>
        </p:nvSpPr>
        <p:spPr>
          <a:xfrm>
            <a:off x="403760" y="693709"/>
            <a:ext cx="8511639" cy="3394472"/>
          </a:xfrm>
          <a:prstGeom prst="rect">
            <a:avLst/>
          </a:prstGeom>
        </p:spPr>
        <p:txBody>
          <a:bodyPr vert="horz" lIns="68580" tIns="34290" rIns="68580" bIns="3429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4107721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smtClean="0"/>
              <a:t>Click to edit Master title style</a:t>
            </a:r>
            <a:endParaRPr lang="en-US" dirty="0"/>
          </a:p>
        </p:txBody>
      </p:sp>
      <p:sp>
        <p:nvSpPr>
          <p:cNvPr id="3" name="Content Placeholder 2"/>
          <p:cNvSpPr>
            <a:spLocks noGrp="1"/>
          </p:cNvSpPr>
          <p:nvPr>
            <p:ph idx="1"/>
          </p:nvPr>
        </p:nvSpPr>
        <p:spPr/>
        <p:txBody>
          <a:bodyPr>
            <a:noAutofit/>
          </a:bodyPr>
          <a:lstStyle>
            <a:lvl3pPr>
              <a:defRPr/>
            </a:lvl3pPr>
            <a:lvl4pPr>
              <a:defRPr sz="12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35781208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parator Slide 1">
    <p:bg>
      <p:bgPr>
        <a:gradFill>
          <a:gsLst>
            <a:gs pos="0">
              <a:srgbClr val="5DABDC"/>
            </a:gs>
            <a:gs pos="100000">
              <a:srgbClr val="6AC3A7"/>
            </a:gs>
          </a:gsLst>
          <a:lin ang="54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08239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parator Slide 3">
    <p:bg>
      <p:bgPr>
        <a:gradFill>
          <a:gsLst>
            <a:gs pos="0">
              <a:srgbClr val="633D94"/>
            </a:gs>
            <a:gs pos="100000">
              <a:srgbClr val="EF5731"/>
            </a:gs>
          </a:gsLst>
          <a:lin ang="54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399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a:t>Click to edit Master title style</a:t>
            </a:r>
          </a:p>
        </p:txBody>
      </p:sp>
      <p:sp>
        <p:nvSpPr>
          <p:cNvPr id="3" name="Text Placeholder 5"/>
          <p:cNvSpPr>
            <a:spLocks noGrp="1"/>
          </p:cNvSpPr>
          <p:nvPr>
            <p:ph type="body" sz="quarter" idx="10" hasCustomPrompt="1"/>
          </p:nvPr>
        </p:nvSpPr>
        <p:spPr>
          <a:xfrm>
            <a:off x="4730214" y="4889065"/>
            <a:ext cx="2813586" cy="192082"/>
          </a:xfrm>
        </p:spPr>
        <p:txBody>
          <a:bodyPr wrap="none" anchor="ctr">
            <a:noAutofit/>
          </a:bodyPr>
          <a:lstStyle>
            <a:lvl1pPr marL="0" indent="0" algn="ctr">
              <a:buNone/>
              <a:defRPr sz="1000">
                <a:solidFill>
                  <a:schemeClr val="tx1">
                    <a:lumMod val="65000"/>
                    <a:lumOff val="35000"/>
                  </a:schemeClr>
                </a:solidFill>
              </a:defRPr>
            </a:lvl1pPr>
          </a:lstStyle>
          <a:p>
            <a:pPr lvl="0"/>
            <a:r>
              <a:rPr lang="en-US" dirty="0"/>
              <a:t>Click to add Information Classification</a:t>
            </a:r>
          </a:p>
        </p:txBody>
      </p:sp>
    </p:spTree>
    <p:extLst>
      <p:ext uri="{BB962C8B-B14F-4D97-AF65-F5344CB8AC3E}">
        <p14:creationId xmlns:p14="http://schemas.microsoft.com/office/powerpoint/2010/main" val="39475024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lgn="l" defTabSz="685800" rtl="0" eaLnBrk="1" latinLnBrk="0" hangingPunct="1">
              <a:spcBef>
                <a:spcPct val="20000"/>
              </a:spcBef>
              <a:buClr>
                <a:srgbClr val="4E84C4"/>
              </a:buClr>
              <a:buFont typeface="Wingdings" pitchFamily="2" charset="2"/>
              <a:buChar char="§"/>
              <a:defRPr lang="en-US" sz="1650" kern="1200" dirty="0" smtClean="0">
                <a:solidFill>
                  <a:schemeClr val="bg2"/>
                </a:solidFill>
                <a:latin typeface="Myriad Pro" pitchFamily="34" charset="0"/>
                <a:ea typeface="+mn-ea"/>
                <a:cs typeface="+mn-cs"/>
              </a:defRPr>
            </a:lvl1pPr>
            <a:lvl2pPr algn="l" defTabSz="685800" rtl="0" eaLnBrk="1" latinLnBrk="0" hangingPunct="1">
              <a:spcBef>
                <a:spcPct val="20000"/>
              </a:spcBef>
              <a:buClr>
                <a:srgbClr val="4E84C4"/>
              </a:buClr>
              <a:buFont typeface="Myriad Pro" pitchFamily="34" charset="0"/>
              <a:buChar char="–"/>
              <a:defRPr lang="en-US" sz="1650" kern="1200" dirty="0" smtClean="0">
                <a:solidFill>
                  <a:schemeClr val="bg2"/>
                </a:solidFill>
                <a:latin typeface="Myriad Pro" pitchFamily="34" charset="0"/>
                <a:ea typeface="+mn-ea"/>
                <a:cs typeface="+mn-cs"/>
              </a:defRPr>
            </a:lvl2pPr>
          </a:lstStyle>
          <a:p>
            <a:pPr marL="257175" lvl="0" indent="-257175" algn="l" defTabSz="685800" rtl="0" eaLnBrk="1" latinLnBrk="0" hangingPunct="1">
              <a:spcBef>
                <a:spcPct val="20000"/>
              </a:spcBef>
              <a:buClr>
                <a:srgbClr val="4E84C4"/>
              </a:buClr>
              <a:buFont typeface="Wingdings" pitchFamily="2" charset="2"/>
              <a:buChar char="§"/>
            </a:pPr>
            <a:r>
              <a:rPr lang="en-US"/>
              <a:t>Click to edit Master text styles</a:t>
            </a:r>
          </a:p>
          <a:p>
            <a:pPr marL="257175" lvl="1" indent="-257175" algn="l" defTabSz="685800" rtl="0" eaLnBrk="1" latinLnBrk="0" hangingPunct="1">
              <a:spcBef>
                <a:spcPct val="20000"/>
              </a:spcBef>
              <a:buClr>
                <a:srgbClr val="4E84C4"/>
              </a:buClr>
              <a:buFont typeface="Wingdings" pitchFamily="2" charset="2"/>
              <a:buChar char="§"/>
            </a:pPr>
            <a:r>
              <a:rPr lang="en-US"/>
              <a:t>Second level</a:t>
            </a:r>
          </a:p>
        </p:txBody>
      </p:sp>
    </p:spTree>
    <p:extLst>
      <p:ext uri="{BB962C8B-B14F-4D97-AF65-F5344CB8AC3E}">
        <p14:creationId xmlns:p14="http://schemas.microsoft.com/office/powerpoint/2010/main" val="24361606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a:t>Click to edit Master title style</a:t>
            </a:r>
          </a:p>
        </p:txBody>
      </p:sp>
    </p:spTree>
    <p:extLst>
      <p:ext uri="{BB962C8B-B14F-4D97-AF65-F5344CB8AC3E}">
        <p14:creationId xmlns:p14="http://schemas.microsoft.com/office/powerpoint/2010/main" val="36877063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parator Slide 4">
    <p:bg>
      <p:bgPr>
        <a:gradFill>
          <a:gsLst>
            <a:gs pos="1000">
              <a:srgbClr val="9F55A0"/>
            </a:gs>
            <a:gs pos="100000">
              <a:srgbClr val="6C499D"/>
            </a:gs>
          </a:gsLst>
          <a:lin ang="54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643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971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a:t>Click to edit Master title style</a:t>
            </a:r>
            <a:endParaRPr lang="en-US" dirty="0"/>
          </a:p>
        </p:txBody>
      </p:sp>
      <p:sp>
        <p:nvSpPr>
          <p:cNvPr id="3" name="Content Placeholder 2"/>
          <p:cNvSpPr>
            <a:spLocks noGrp="1"/>
          </p:cNvSpPr>
          <p:nvPr>
            <p:ph idx="1"/>
          </p:nvPr>
        </p:nvSpPr>
        <p:spPr/>
        <p:txBody>
          <a:bodyPr>
            <a:noAutofit/>
          </a:bodyPr>
          <a:lstStyle>
            <a:lvl3pPr>
              <a:defRPr/>
            </a:lvl3pPr>
            <a:lvl4pPr>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24806412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rmAutofit/>
          </a:bodyPr>
          <a:lstStyle/>
          <a:p>
            <a:r>
              <a:rPr lang="en-US"/>
              <a:t>Click to edit Master title style</a:t>
            </a:r>
          </a:p>
        </p:txBody>
      </p:sp>
      <p:sp>
        <p:nvSpPr>
          <p:cNvPr id="4"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837745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3338299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Click to edit Master title style</a:t>
            </a:r>
          </a:p>
        </p:txBody>
      </p:sp>
      <p:sp>
        <p:nvSpPr>
          <p:cNvPr id="3" name="Content Placeholder 2"/>
          <p:cNvSpPr>
            <a:spLocks noGrp="1"/>
          </p:cNvSpPr>
          <p:nvPr>
            <p:ph sz="half" idx="1"/>
          </p:nvPr>
        </p:nvSpPr>
        <p:spPr>
          <a:xfrm>
            <a:off x="428172" y="891778"/>
            <a:ext cx="4038600" cy="3394472"/>
          </a:xfrm>
        </p:spPr>
        <p:txBody>
          <a:bodyPr>
            <a:noAutofit/>
          </a:bodyPr>
          <a:lstStyle>
            <a:lvl1pPr>
              <a:defRPr sz="1650"/>
            </a:lvl1pPr>
            <a:lvl2pPr>
              <a:defRPr sz="1500"/>
            </a:lvl2pPr>
            <a:lvl3pPr>
              <a:defRPr sz="1350"/>
            </a:lvl3pPr>
            <a:lvl4pPr>
              <a:defRPr sz="120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2"/>
          <p:cNvSpPr>
            <a:spLocks noGrp="1"/>
          </p:cNvSpPr>
          <p:nvPr>
            <p:ph sz="half" idx="13"/>
          </p:nvPr>
        </p:nvSpPr>
        <p:spPr>
          <a:xfrm>
            <a:off x="4778826" y="891778"/>
            <a:ext cx="4038600" cy="3394472"/>
          </a:xfrm>
        </p:spPr>
        <p:txBody>
          <a:bodyPr>
            <a:noAutofit/>
          </a:bodyPr>
          <a:lstStyle>
            <a:lvl1pPr>
              <a:defRPr sz="1650"/>
            </a:lvl1pPr>
            <a:lvl2pPr>
              <a:defRPr sz="1500"/>
            </a:lvl2pPr>
            <a:lvl3pPr>
              <a:defRPr sz="1350"/>
            </a:lvl3pPr>
            <a:lvl4pPr>
              <a:defRPr sz="120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36026688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914650"/>
            <a:ext cx="7772400" cy="466725"/>
          </a:xfrm>
        </p:spPr>
        <p:txBody>
          <a:bodyPr anchor="t">
            <a:noAutofit/>
          </a:bodyPr>
          <a:lstStyle>
            <a:lvl1pPr algn="ctr">
              <a:defRPr sz="2100" b="0" cap="all">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180035"/>
            <a:ext cx="7772400" cy="563165"/>
          </a:xfrm>
        </p:spPr>
        <p:txBody>
          <a:bodyPr anchor="b">
            <a:noAutofit/>
          </a:bodyPr>
          <a:lstStyle>
            <a:lvl1pPr marL="0" indent="0" algn="ctr">
              <a:buNone/>
              <a:defRPr sz="2100">
                <a:solidFill>
                  <a:schemeClr val="tx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5"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1059187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28172" y="890587"/>
            <a:ext cx="4040188" cy="534590"/>
          </a:xfrm>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28172" y="1437084"/>
            <a:ext cx="4040188" cy="2963466"/>
          </a:xfrm>
        </p:spPr>
        <p:txBody>
          <a:bodyPr>
            <a:noAutofit/>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761138" y="890587"/>
            <a:ext cx="4041775" cy="534590"/>
          </a:xfrm>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761138" y="1437084"/>
            <a:ext cx="4041775" cy="2963466"/>
          </a:xfrm>
        </p:spPr>
        <p:txBody>
          <a:bodyPr>
            <a:noAutofit/>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4"/>
          <p:cNvSpPr>
            <a:spLocks noGrp="1"/>
          </p:cNvSpPr>
          <p:nvPr>
            <p:ph type="body" sz="quarter" idx="14" hasCustomPrompt="1"/>
          </p:nvPr>
        </p:nvSpPr>
        <p:spPr>
          <a:xfrm>
            <a:off x="4610100" y="4894419"/>
            <a:ext cx="2286000" cy="167640"/>
          </a:xfrm>
        </p:spPr>
        <p:txBody>
          <a:bodyPr wrap="none">
            <a:noAutofit/>
          </a:bodyPr>
          <a:lstStyle>
            <a:lvl1pPr marL="0" indent="0" algn="r">
              <a:buNone/>
              <a:defRPr sz="800">
                <a:solidFill>
                  <a:schemeClr val="bg1">
                    <a:lumMod val="50000"/>
                  </a:schemeClr>
                </a:solidFill>
                <a:latin typeface="+mj-lt"/>
              </a:defRPr>
            </a:lvl1pPr>
          </a:lstStyle>
          <a:p>
            <a:pPr lvl="0"/>
            <a:r>
              <a:rPr lang="en-US" dirty="0"/>
              <a:t>Click to add Information Classification</a:t>
            </a:r>
          </a:p>
        </p:txBody>
      </p:sp>
    </p:spTree>
    <p:extLst>
      <p:ext uri="{BB962C8B-B14F-4D97-AF65-F5344CB8AC3E}">
        <p14:creationId xmlns:p14="http://schemas.microsoft.com/office/powerpoint/2010/main" val="334373126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2.xml"/><Relationship Id="rId1"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6.png"/><Relationship Id="rId5" Type="http://schemas.openxmlformats.org/officeDocument/2006/relationships/theme" Target="../theme/theme3.xml"/><Relationship Id="rId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37.xml"/><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3761" y="45555"/>
            <a:ext cx="6244784" cy="481985"/>
          </a:xfrm>
          <a:prstGeom prst="rect">
            <a:avLst/>
          </a:prstGeom>
        </p:spPr>
        <p:txBody>
          <a:bodyPr vert="horz" wrap="square" lIns="68580" tIns="34290" rIns="68580" bIns="34290" rtlCol="0" anchor="ctr">
            <a:normAutofit/>
          </a:bodyPr>
          <a:lstStyle/>
          <a:p>
            <a:r>
              <a:rPr lang="en-US" dirty="0"/>
              <a:t>Click to edit Master title style</a:t>
            </a:r>
          </a:p>
        </p:txBody>
      </p:sp>
      <p:sp>
        <p:nvSpPr>
          <p:cNvPr id="3" name="Text Placeholder 2"/>
          <p:cNvSpPr>
            <a:spLocks noGrp="1"/>
          </p:cNvSpPr>
          <p:nvPr>
            <p:ph type="body" idx="1"/>
          </p:nvPr>
        </p:nvSpPr>
        <p:spPr>
          <a:xfrm>
            <a:off x="403760" y="693709"/>
            <a:ext cx="8511639" cy="3394472"/>
          </a:xfrm>
          <a:prstGeom prst="rect">
            <a:avLst/>
          </a:prstGeom>
        </p:spPr>
        <p:txBody>
          <a:bodyPr vert="horz" lIns="68580" tIns="34290" rIns="68580" bIns="3429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35" name="Rectangle 71"/>
          <p:cNvSpPr txBox="1">
            <a:spLocks noChangeArrowheads="1"/>
          </p:cNvSpPr>
          <p:nvPr/>
        </p:nvSpPr>
        <p:spPr bwMode="auto">
          <a:xfrm>
            <a:off x="4343401" y="4855464"/>
            <a:ext cx="663575" cy="270272"/>
          </a:xfrm>
          <a:prstGeom prst="rect">
            <a:avLst/>
          </a:prstGeom>
          <a:noFill/>
          <a:ln w="9525">
            <a:noFill/>
            <a:miter lim="800000"/>
            <a:headEnd/>
            <a:tailEnd/>
          </a:ln>
          <a:effectLst/>
        </p:spPr>
        <p:txBody>
          <a:bodyPr vert="horz" wrap="square" lIns="68580" tIns="34290" rIns="68580" bIns="34290" numCol="1" anchor="ctr" anchorCtr="0" compatLnSpc="1">
            <a:prstTxWarp prst="textNoShape">
              <a:avLst/>
            </a:prstTxWarp>
          </a:bodyPr>
          <a:lstStyle>
            <a:lvl1pPr>
              <a:defRPr sz="1000">
                <a:solidFill>
                  <a:srgbClr val="4E84C4"/>
                </a:solidFil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fld id="{13B55AB4-0D57-4FBE-946B-A81E4A9D2A4C}" type="slidenum">
              <a:rPr lang="en-US" sz="800" b="1" kern="1200" noProof="0" smtClean="0">
                <a:solidFill>
                  <a:schemeClr val="bg1">
                    <a:lumMod val="50000"/>
                  </a:schemeClr>
                </a:solidFill>
                <a:latin typeface="+mj-lt"/>
                <a:ea typeface="+mn-ea"/>
                <a:cs typeface="Arial" pitchFamily="34" charset="0"/>
              </a:rPr>
              <a:pPr marL="0" marR="0" lvl="0" indent="0" algn="ctr" defTabSz="685800" rtl="0" eaLnBrk="1" fontAlgn="auto" latinLnBrk="0" hangingPunct="1">
                <a:lnSpc>
                  <a:spcPct val="100000"/>
                </a:lnSpc>
                <a:spcBef>
                  <a:spcPts val="0"/>
                </a:spcBef>
                <a:spcAft>
                  <a:spcPts val="0"/>
                </a:spcAft>
                <a:buClrTx/>
                <a:buSzTx/>
                <a:buFontTx/>
                <a:buNone/>
                <a:tabLst/>
                <a:defRPr/>
              </a:pPr>
              <a:t>‹#›</a:t>
            </a:fld>
            <a:r>
              <a:rPr lang="en-US" sz="800" b="1" kern="1200" noProof="0" dirty="0">
                <a:solidFill>
                  <a:schemeClr val="bg1">
                    <a:lumMod val="50000"/>
                  </a:schemeClr>
                </a:solidFill>
                <a:latin typeface="+mj-lt"/>
                <a:ea typeface="+mn-ea"/>
                <a:cs typeface="Arial" pitchFamily="34" charset="0"/>
              </a:rPr>
              <a:t> </a:t>
            </a:r>
          </a:p>
        </p:txBody>
      </p:sp>
      <p:pic>
        <p:nvPicPr>
          <p:cNvPr id="6" name="Picture 5"/>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8" y="4563608"/>
            <a:ext cx="9143984" cy="579892"/>
          </a:xfrm>
          <a:prstGeom prst="rect">
            <a:avLst/>
          </a:prstGeom>
        </p:spPr>
      </p:pic>
      <p:pic>
        <p:nvPicPr>
          <p:cNvPr id="10" name="Picture 9"/>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6775699" y="0"/>
            <a:ext cx="2368301" cy="712013"/>
          </a:xfrm>
          <a:prstGeom prst="rect">
            <a:avLst/>
          </a:prstGeom>
        </p:spPr>
      </p:pic>
    </p:spTree>
    <p:extLst>
      <p:ext uri="{BB962C8B-B14F-4D97-AF65-F5344CB8AC3E}">
        <p14:creationId xmlns:p14="http://schemas.microsoft.com/office/powerpoint/2010/main" val="419142049"/>
      </p:ext>
    </p:extLst>
  </p:cSld>
  <p:clrMap bg1="lt1" tx1="dk1" bg2="lt2" tx2="dk2" accent1="accent1" accent2="accent2" accent3="accent3" accent4="accent4" accent5="accent5" accent6="accent6" hlink="hlink" folHlink="folHlink"/>
  <p:sldLayoutIdLst>
    <p:sldLayoutId id="2147483673" r:id="rId1"/>
    <p:sldLayoutId id="2147483717" r:id="rId2"/>
    <p:sldLayoutId id="2147483729"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31"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9" r:id="rId24"/>
    <p:sldLayoutId id="2147483750" r:id="rId25"/>
    <p:sldLayoutId id="2147483751" r:id="rId26"/>
    <p:sldLayoutId id="2147483752" r:id="rId27"/>
    <p:sldLayoutId id="2147483757" r:id="rId28"/>
    <p:sldLayoutId id="2147483758" r:id="rId29"/>
    <p:sldLayoutId id="2147483776" r:id="rId30"/>
  </p:sldLayoutIdLst>
  <p:txStyles>
    <p:titleStyle>
      <a:lvl1pPr algn="l" defTabSz="685800" rtl="0" eaLnBrk="1" latinLnBrk="0" hangingPunct="1">
        <a:spcBef>
          <a:spcPct val="0"/>
        </a:spcBef>
        <a:buNone/>
        <a:defRPr sz="2100" kern="1200">
          <a:solidFill>
            <a:schemeClr val="tx2"/>
          </a:solidFill>
          <a:latin typeface="+mj-lt"/>
          <a:ea typeface="+mj-ea"/>
          <a:cs typeface="Arial" pitchFamily="34" charset="0"/>
        </a:defRPr>
      </a:lvl1pPr>
    </p:titleStyle>
    <p:bodyStyle>
      <a:lvl1pPr marL="257175" indent="-257175" algn="l" defTabSz="685800" rtl="0" eaLnBrk="1" latinLnBrk="0" hangingPunct="1">
        <a:spcBef>
          <a:spcPct val="20000"/>
        </a:spcBef>
        <a:buClr>
          <a:srgbClr val="4E84C4"/>
        </a:buClr>
        <a:buFont typeface="Wingdings" pitchFamily="2" charset="2"/>
        <a:buChar char="§"/>
        <a:defRPr sz="1500" kern="1200">
          <a:solidFill>
            <a:schemeClr val="tx1"/>
          </a:solidFill>
          <a:latin typeface="+mj-lt"/>
          <a:ea typeface="+mn-ea"/>
          <a:cs typeface="Arial" pitchFamily="34" charset="0"/>
        </a:defRPr>
      </a:lvl1pPr>
      <a:lvl2pPr marL="557213" indent="-214313" algn="l" defTabSz="685800" rtl="0" eaLnBrk="1" latinLnBrk="0" hangingPunct="1">
        <a:spcBef>
          <a:spcPct val="20000"/>
        </a:spcBef>
        <a:buClr>
          <a:srgbClr val="4E84C4"/>
        </a:buClr>
        <a:buFont typeface="Myriad Pro" pitchFamily="34" charset="0"/>
        <a:buChar char="–"/>
        <a:defRPr sz="1500" kern="1200">
          <a:solidFill>
            <a:schemeClr val="tx1"/>
          </a:solidFill>
          <a:latin typeface="+mj-lt"/>
          <a:ea typeface="+mn-ea"/>
          <a:cs typeface="Arial" pitchFamily="34" charset="0"/>
        </a:defRPr>
      </a:lvl2pPr>
      <a:lvl3pPr marL="857250" indent="-171450" algn="l" defTabSz="685800" rtl="0" eaLnBrk="1" latinLnBrk="0" hangingPunct="1">
        <a:spcBef>
          <a:spcPct val="20000"/>
        </a:spcBef>
        <a:buClr>
          <a:srgbClr val="4E84C4"/>
        </a:buClr>
        <a:buFont typeface="Courier New" pitchFamily="49" charset="0"/>
        <a:buChar char="o"/>
        <a:defRPr sz="1400" kern="1200">
          <a:solidFill>
            <a:schemeClr val="tx1"/>
          </a:solidFill>
          <a:latin typeface="+mj-lt"/>
          <a:ea typeface="+mn-ea"/>
          <a:cs typeface="Arial" pitchFamily="34" charset="0"/>
        </a:defRPr>
      </a:lvl3pPr>
      <a:lvl4pPr marL="1200150" indent="-171450" algn="l" defTabSz="685800" rtl="0" eaLnBrk="1" latinLnBrk="0" hangingPunct="1">
        <a:spcBef>
          <a:spcPct val="20000"/>
        </a:spcBef>
        <a:buClr>
          <a:srgbClr val="4E84C4"/>
        </a:buClr>
        <a:buFont typeface="Arial" pitchFamily="34" charset="0"/>
        <a:buChar char="•"/>
        <a:defRPr sz="1200" kern="1200" baseline="0">
          <a:solidFill>
            <a:schemeClr val="tx1"/>
          </a:solidFill>
          <a:latin typeface="+mj-lt"/>
          <a:ea typeface="+mn-ea"/>
          <a:cs typeface="Arial" pitchFamily="34" charset="0"/>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yriad Pro"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5DABDC"/>
            </a:gs>
            <a:gs pos="100000">
              <a:srgbClr val="6AC3A7"/>
            </a:gs>
          </a:gsLst>
          <a:lin ang="5400000" scaled="1"/>
        </a:gradFill>
        <a:effectLst/>
      </p:bgPr>
    </p:bg>
    <p:spTree>
      <p:nvGrpSpPr>
        <p:cNvPr id="1" name=""/>
        <p:cNvGrpSpPr/>
        <p:nvPr/>
      </p:nvGrpSpPr>
      <p:grpSpPr>
        <a:xfrm>
          <a:off x="0" y="0"/>
          <a:ext cx="0" cy="0"/>
          <a:chOff x="0" y="0"/>
          <a:chExt cx="0" cy="0"/>
        </a:xfrm>
      </p:grpSpPr>
      <p:grpSp>
        <p:nvGrpSpPr>
          <p:cNvPr id="15" name="Group 14"/>
          <p:cNvGrpSpPr/>
          <p:nvPr userDrawn="1"/>
        </p:nvGrpSpPr>
        <p:grpSpPr>
          <a:xfrm>
            <a:off x="0" y="1"/>
            <a:ext cx="9144000" cy="5154544"/>
            <a:chOff x="0" y="1733550"/>
            <a:chExt cx="9142413" cy="5124451"/>
          </a:xfrm>
        </p:grpSpPr>
        <p:grpSp>
          <p:nvGrpSpPr>
            <p:cNvPr id="16" name="Group 205"/>
            <p:cNvGrpSpPr>
              <a:grpSpLocks/>
            </p:cNvGrpSpPr>
            <p:nvPr userDrawn="1"/>
          </p:nvGrpSpPr>
          <p:grpSpPr bwMode="auto">
            <a:xfrm>
              <a:off x="0" y="1733550"/>
              <a:ext cx="9142413" cy="5124450"/>
              <a:chOff x="0" y="1092"/>
              <a:chExt cx="5759" cy="3228"/>
            </a:xfrm>
            <a:solidFill>
              <a:schemeClr val="bg1">
                <a:alpha val="20000"/>
              </a:schemeClr>
            </a:solidFill>
          </p:grpSpPr>
          <p:sp>
            <p:nvSpPr>
              <p:cNvPr id="72" name="Freeform 5"/>
              <p:cNvSpPr>
                <a:spLocks noEditPoints="1"/>
              </p:cNvSpPr>
              <p:nvPr userDrawn="1"/>
            </p:nvSpPr>
            <p:spPr bwMode="auto">
              <a:xfrm>
                <a:off x="585" y="2443"/>
                <a:ext cx="432" cy="434"/>
              </a:xfrm>
              <a:custGeom>
                <a:avLst/>
                <a:gdLst>
                  <a:gd name="T0" fmla="*/ 950 w 1297"/>
                  <a:gd name="T1" fmla="*/ 1302 h 1302"/>
                  <a:gd name="T2" fmla="*/ 945 w 1297"/>
                  <a:gd name="T3" fmla="*/ 1301 h 1302"/>
                  <a:gd name="T4" fmla="*/ 940 w 1297"/>
                  <a:gd name="T5" fmla="*/ 1298 h 1302"/>
                  <a:gd name="T6" fmla="*/ 3 w 1297"/>
                  <a:gd name="T7" fmla="*/ 373 h 1302"/>
                  <a:gd name="T8" fmla="*/ 1 w 1297"/>
                  <a:gd name="T9" fmla="*/ 370 h 1302"/>
                  <a:gd name="T10" fmla="*/ 0 w 1297"/>
                  <a:gd name="T11" fmla="*/ 366 h 1302"/>
                  <a:gd name="T12" fmla="*/ 0 w 1297"/>
                  <a:gd name="T13" fmla="*/ 363 h 1302"/>
                  <a:gd name="T14" fmla="*/ 0 w 1297"/>
                  <a:gd name="T15" fmla="*/ 360 h 1302"/>
                  <a:gd name="T16" fmla="*/ 1 w 1297"/>
                  <a:gd name="T17" fmla="*/ 356 h 1302"/>
                  <a:gd name="T18" fmla="*/ 3 w 1297"/>
                  <a:gd name="T19" fmla="*/ 353 h 1302"/>
                  <a:gd name="T20" fmla="*/ 6 w 1297"/>
                  <a:gd name="T21" fmla="*/ 351 h 1302"/>
                  <a:gd name="T22" fmla="*/ 9 w 1297"/>
                  <a:gd name="T23" fmla="*/ 350 h 1302"/>
                  <a:gd name="T24" fmla="*/ 1279 w 1297"/>
                  <a:gd name="T25" fmla="*/ 1 h 1302"/>
                  <a:gd name="T26" fmla="*/ 1283 w 1297"/>
                  <a:gd name="T27" fmla="*/ 0 h 1302"/>
                  <a:gd name="T28" fmla="*/ 1287 w 1297"/>
                  <a:gd name="T29" fmla="*/ 1 h 1302"/>
                  <a:gd name="T30" fmla="*/ 1290 w 1297"/>
                  <a:gd name="T31" fmla="*/ 3 h 1302"/>
                  <a:gd name="T32" fmla="*/ 1292 w 1297"/>
                  <a:gd name="T33" fmla="*/ 5 h 1302"/>
                  <a:gd name="T34" fmla="*/ 1294 w 1297"/>
                  <a:gd name="T35" fmla="*/ 8 h 1302"/>
                  <a:gd name="T36" fmla="*/ 1297 w 1297"/>
                  <a:gd name="T37" fmla="*/ 11 h 1302"/>
                  <a:gd name="T38" fmla="*/ 1297 w 1297"/>
                  <a:gd name="T39" fmla="*/ 14 h 1302"/>
                  <a:gd name="T40" fmla="*/ 1297 w 1297"/>
                  <a:gd name="T41" fmla="*/ 18 h 1302"/>
                  <a:gd name="T42" fmla="*/ 963 w 1297"/>
                  <a:gd name="T43" fmla="*/ 1291 h 1302"/>
                  <a:gd name="T44" fmla="*/ 962 w 1297"/>
                  <a:gd name="T45" fmla="*/ 1295 h 1302"/>
                  <a:gd name="T46" fmla="*/ 960 w 1297"/>
                  <a:gd name="T47" fmla="*/ 1298 h 1302"/>
                  <a:gd name="T48" fmla="*/ 956 w 1297"/>
                  <a:gd name="T49" fmla="*/ 1300 h 1302"/>
                  <a:gd name="T50" fmla="*/ 953 w 1297"/>
                  <a:gd name="T51" fmla="*/ 1301 h 1302"/>
                  <a:gd name="T52" fmla="*/ 951 w 1297"/>
                  <a:gd name="T53" fmla="*/ 1301 h 1302"/>
                  <a:gd name="T54" fmla="*/ 950 w 1297"/>
                  <a:gd name="T55" fmla="*/ 1302 h 1302"/>
                  <a:gd name="T56" fmla="*/ 39 w 1297"/>
                  <a:gd name="T57" fmla="*/ 370 h 1302"/>
                  <a:gd name="T58" fmla="*/ 39 w 1297"/>
                  <a:gd name="T59" fmla="*/ 370 h 1302"/>
                  <a:gd name="T60" fmla="*/ 942 w 1297"/>
                  <a:gd name="T61" fmla="*/ 1262 h 1302"/>
                  <a:gd name="T62" fmla="*/ 1264 w 1297"/>
                  <a:gd name="T63" fmla="*/ 34 h 1302"/>
                  <a:gd name="T64" fmla="*/ 39 w 1297"/>
                  <a:gd name="T65" fmla="*/ 370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7" h="1302">
                    <a:moveTo>
                      <a:pt x="950" y="1302"/>
                    </a:moveTo>
                    <a:lnTo>
                      <a:pt x="945" y="1301"/>
                    </a:lnTo>
                    <a:lnTo>
                      <a:pt x="940" y="1298"/>
                    </a:lnTo>
                    <a:lnTo>
                      <a:pt x="3" y="373"/>
                    </a:lnTo>
                    <a:lnTo>
                      <a:pt x="1" y="370"/>
                    </a:lnTo>
                    <a:lnTo>
                      <a:pt x="0" y="366"/>
                    </a:lnTo>
                    <a:lnTo>
                      <a:pt x="0" y="363"/>
                    </a:lnTo>
                    <a:lnTo>
                      <a:pt x="0" y="360"/>
                    </a:lnTo>
                    <a:lnTo>
                      <a:pt x="1" y="356"/>
                    </a:lnTo>
                    <a:lnTo>
                      <a:pt x="3" y="353"/>
                    </a:lnTo>
                    <a:lnTo>
                      <a:pt x="6" y="351"/>
                    </a:lnTo>
                    <a:lnTo>
                      <a:pt x="9" y="350"/>
                    </a:lnTo>
                    <a:lnTo>
                      <a:pt x="1279" y="1"/>
                    </a:lnTo>
                    <a:lnTo>
                      <a:pt x="1283" y="0"/>
                    </a:lnTo>
                    <a:lnTo>
                      <a:pt x="1287" y="1"/>
                    </a:lnTo>
                    <a:lnTo>
                      <a:pt x="1290" y="3"/>
                    </a:lnTo>
                    <a:lnTo>
                      <a:pt x="1292" y="5"/>
                    </a:lnTo>
                    <a:lnTo>
                      <a:pt x="1294" y="8"/>
                    </a:lnTo>
                    <a:lnTo>
                      <a:pt x="1297" y="11"/>
                    </a:lnTo>
                    <a:lnTo>
                      <a:pt x="1297" y="14"/>
                    </a:lnTo>
                    <a:lnTo>
                      <a:pt x="1297" y="18"/>
                    </a:lnTo>
                    <a:lnTo>
                      <a:pt x="963" y="1291"/>
                    </a:lnTo>
                    <a:lnTo>
                      <a:pt x="962" y="1295"/>
                    </a:lnTo>
                    <a:lnTo>
                      <a:pt x="960" y="1298"/>
                    </a:lnTo>
                    <a:lnTo>
                      <a:pt x="956" y="1300"/>
                    </a:lnTo>
                    <a:lnTo>
                      <a:pt x="953" y="1301"/>
                    </a:lnTo>
                    <a:lnTo>
                      <a:pt x="951" y="1301"/>
                    </a:lnTo>
                    <a:lnTo>
                      <a:pt x="950" y="1302"/>
                    </a:lnTo>
                    <a:close/>
                    <a:moveTo>
                      <a:pt x="39" y="370"/>
                    </a:moveTo>
                    <a:lnTo>
                      <a:pt x="39" y="370"/>
                    </a:lnTo>
                    <a:lnTo>
                      <a:pt x="942" y="1262"/>
                    </a:lnTo>
                    <a:lnTo>
                      <a:pt x="1264" y="34"/>
                    </a:lnTo>
                    <a:lnTo>
                      <a:pt x="39"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
              <p:cNvSpPr>
                <a:spLocks noEditPoints="1"/>
              </p:cNvSpPr>
              <p:nvPr userDrawn="1"/>
            </p:nvSpPr>
            <p:spPr bwMode="auto">
              <a:xfrm>
                <a:off x="580" y="2476"/>
                <a:ext cx="433" cy="433"/>
              </a:xfrm>
              <a:custGeom>
                <a:avLst/>
                <a:gdLst>
                  <a:gd name="T0" fmla="*/ 950 w 1297"/>
                  <a:gd name="T1" fmla="*/ 1300 h 1300"/>
                  <a:gd name="T2" fmla="*/ 944 w 1297"/>
                  <a:gd name="T3" fmla="*/ 1299 h 1300"/>
                  <a:gd name="T4" fmla="*/ 940 w 1297"/>
                  <a:gd name="T5" fmla="*/ 1296 h 1300"/>
                  <a:gd name="T6" fmla="*/ 3 w 1297"/>
                  <a:gd name="T7" fmla="*/ 371 h 1300"/>
                  <a:gd name="T8" fmla="*/ 1 w 1297"/>
                  <a:gd name="T9" fmla="*/ 368 h 1300"/>
                  <a:gd name="T10" fmla="*/ 0 w 1297"/>
                  <a:gd name="T11" fmla="*/ 365 h 1300"/>
                  <a:gd name="T12" fmla="*/ 0 w 1297"/>
                  <a:gd name="T13" fmla="*/ 361 h 1300"/>
                  <a:gd name="T14" fmla="*/ 0 w 1297"/>
                  <a:gd name="T15" fmla="*/ 358 h 1300"/>
                  <a:gd name="T16" fmla="*/ 1 w 1297"/>
                  <a:gd name="T17" fmla="*/ 355 h 1300"/>
                  <a:gd name="T18" fmla="*/ 3 w 1297"/>
                  <a:gd name="T19" fmla="*/ 352 h 1300"/>
                  <a:gd name="T20" fmla="*/ 6 w 1297"/>
                  <a:gd name="T21" fmla="*/ 349 h 1300"/>
                  <a:gd name="T22" fmla="*/ 9 w 1297"/>
                  <a:gd name="T23" fmla="*/ 348 h 1300"/>
                  <a:gd name="T24" fmla="*/ 1279 w 1297"/>
                  <a:gd name="T25" fmla="*/ 0 h 1300"/>
                  <a:gd name="T26" fmla="*/ 1282 w 1297"/>
                  <a:gd name="T27" fmla="*/ 0 h 1300"/>
                  <a:gd name="T28" fmla="*/ 1287 w 1297"/>
                  <a:gd name="T29" fmla="*/ 0 h 1300"/>
                  <a:gd name="T30" fmla="*/ 1290 w 1297"/>
                  <a:gd name="T31" fmla="*/ 1 h 1300"/>
                  <a:gd name="T32" fmla="*/ 1292 w 1297"/>
                  <a:gd name="T33" fmla="*/ 3 h 1300"/>
                  <a:gd name="T34" fmla="*/ 1294 w 1297"/>
                  <a:gd name="T35" fmla="*/ 6 h 1300"/>
                  <a:gd name="T36" fmla="*/ 1297 w 1297"/>
                  <a:gd name="T37" fmla="*/ 9 h 1300"/>
                  <a:gd name="T38" fmla="*/ 1297 w 1297"/>
                  <a:gd name="T39" fmla="*/ 13 h 1300"/>
                  <a:gd name="T40" fmla="*/ 1297 w 1297"/>
                  <a:gd name="T41" fmla="*/ 16 h 1300"/>
                  <a:gd name="T42" fmla="*/ 963 w 1297"/>
                  <a:gd name="T43" fmla="*/ 1290 h 1300"/>
                  <a:gd name="T44" fmla="*/ 962 w 1297"/>
                  <a:gd name="T45" fmla="*/ 1293 h 1300"/>
                  <a:gd name="T46" fmla="*/ 960 w 1297"/>
                  <a:gd name="T47" fmla="*/ 1296 h 1300"/>
                  <a:gd name="T48" fmla="*/ 956 w 1297"/>
                  <a:gd name="T49" fmla="*/ 1298 h 1300"/>
                  <a:gd name="T50" fmla="*/ 953 w 1297"/>
                  <a:gd name="T51" fmla="*/ 1299 h 1300"/>
                  <a:gd name="T52" fmla="*/ 952 w 1297"/>
                  <a:gd name="T53" fmla="*/ 1300 h 1300"/>
                  <a:gd name="T54" fmla="*/ 950 w 1297"/>
                  <a:gd name="T55" fmla="*/ 1300 h 1300"/>
                  <a:gd name="T56" fmla="*/ 39 w 1297"/>
                  <a:gd name="T57" fmla="*/ 368 h 1300"/>
                  <a:gd name="T58" fmla="*/ 39 w 1297"/>
                  <a:gd name="T59" fmla="*/ 368 h 1300"/>
                  <a:gd name="T60" fmla="*/ 942 w 1297"/>
                  <a:gd name="T61" fmla="*/ 1261 h 1300"/>
                  <a:gd name="T62" fmla="*/ 1264 w 1297"/>
                  <a:gd name="T63" fmla="*/ 32 h 1300"/>
                  <a:gd name="T64" fmla="*/ 39 w 1297"/>
                  <a:gd name="T65" fmla="*/ 368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7" h="1300">
                    <a:moveTo>
                      <a:pt x="950" y="1300"/>
                    </a:moveTo>
                    <a:lnTo>
                      <a:pt x="944" y="1299"/>
                    </a:lnTo>
                    <a:lnTo>
                      <a:pt x="940" y="1296"/>
                    </a:lnTo>
                    <a:lnTo>
                      <a:pt x="3" y="371"/>
                    </a:lnTo>
                    <a:lnTo>
                      <a:pt x="1" y="368"/>
                    </a:lnTo>
                    <a:lnTo>
                      <a:pt x="0" y="365"/>
                    </a:lnTo>
                    <a:lnTo>
                      <a:pt x="0" y="361"/>
                    </a:lnTo>
                    <a:lnTo>
                      <a:pt x="0" y="358"/>
                    </a:lnTo>
                    <a:lnTo>
                      <a:pt x="1" y="355"/>
                    </a:lnTo>
                    <a:lnTo>
                      <a:pt x="3" y="352"/>
                    </a:lnTo>
                    <a:lnTo>
                      <a:pt x="6" y="349"/>
                    </a:lnTo>
                    <a:lnTo>
                      <a:pt x="9" y="348"/>
                    </a:lnTo>
                    <a:lnTo>
                      <a:pt x="1279" y="0"/>
                    </a:lnTo>
                    <a:lnTo>
                      <a:pt x="1282" y="0"/>
                    </a:lnTo>
                    <a:lnTo>
                      <a:pt x="1287" y="0"/>
                    </a:lnTo>
                    <a:lnTo>
                      <a:pt x="1290" y="1"/>
                    </a:lnTo>
                    <a:lnTo>
                      <a:pt x="1292" y="3"/>
                    </a:lnTo>
                    <a:lnTo>
                      <a:pt x="1294" y="6"/>
                    </a:lnTo>
                    <a:lnTo>
                      <a:pt x="1297" y="9"/>
                    </a:lnTo>
                    <a:lnTo>
                      <a:pt x="1297" y="13"/>
                    </a:lnTo>
                    <a:lnTo>
                      <a:pt x="1297" y="16"/>
                    </a:lnTo>
                    <a:lnTo>
                      <a:pt x="963" y="1290"/>
                    </a:lnTo>
                    <a:lnTo>
                      <a:pt x="962" y="1293"/>
                    </a:lnTo>
                    <a:lnTo>
                      <a:pt x="960" y="1296"/>
                    </a:lnTo>
                    <a:lnTo>
                      <a:pt x="956" y="1298"/>
                    </a:lnTo>
                    <a:lnTo>
                      <a:pt x="953" y="1299"/>
                    </a:lnTo>
                    <a:lnTo>
                      <a:pt x="952" y="1300"/>
                    </a:lnTo>
                    <a:lnTo>
                      <a:pt x="950" y="1300"/>
                    </a:lnTo>
                    <a:close/>
                    <a:moveTo>
                      <a:pt x="39" y="368"/>
                    </a:moveTo>
                    <a:lnTo>
                      <a:pt x="39" y="368"/>
                    </a:lnTo>
                    <a:lnTo>
                      <a:pt x="942" y="1261"/>
                    </a:lnTo>
                    <a:lnTo>
                      <a:pt x="1264" y="32"/>
                    </a:lnTo>
                    <a:lnTo>
                      <a:pt x="39"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
              <p:cNvSpPr>
                <a:spLocks noEditPoints="1"/>
              </p:cNvSpPr>
              <p:nvPr userDrawn="1"/>
            </p:nvSpPr>
            <p:spPr bwMode="auto">
              <a:xfrm>
                <a:off x="4446" y="1619"/>
                <a:ext cx="460" cy="457"/>
              </a:xfrm>
              <a:custGeom>
                <a:avLst/>
                <a:gdLst>
                  <a:gd name="T0" fmla="*/ 991 w 1380"/>
                  <a:gd name="T1" fmla="*/ 1371 h 1371"/>
                  <a:gd name="T2" fmla="*/ 988 w 1380"/>
                  <a:gd name="T3" fmla="*/ 1370 h 1371"/>
                  <a:gd name="T4" fmla="*/ 985 w 1380"/>
                  <a:gd name="T5" fmla="*/ 1368 h 1371"/>
                  <a:gd name="T6" fmla="*/ 2 w 1380"/>
                  <a:gd name="T7" fmla="*/ 364 h 1371"/>
                  <a:gd name="T8" fmla="*/ 1 w 1380"/>
                  <a:gd name="T9" fmla="*/ 362 h 1371"/>
                  <a:gd name="T10" fmla="*/ 0 w 1380"/>
                  <a:gd name="T11" fmla="*/ 360 h 1371"/>
                  <a:gd name="T12" fmla="*/ 0 w 1380"/>
                  <a:gd name="T13" fmla="*/ 358 h 1371"/>
                  <a:gd name="T14" fmla="*/ 0 w 1380"/>
                  <a:gd name="T15" fmla="*/ 354 h 1371"/>
                  <a:gd name="T16" fmla="*/ 1 w 1380"/>
                  <a:gd name="T17" fmla="*/ 352 h 1371"/>
                  <a:gd name="T18" fmla="*/ 3 w 1380"/>
                  <a:gd name="T19" fmla="*/ 350 h 1371"/>
                  <a:gd name="T20" fmla="*/ 4 w 1380"/>
                  <a:gd name="T21" fmla="*/ 349 h 1371"/>
                  <a:gd name="T22" fmla="*/ 6 w 1380"/>
                  <a:gd name="T23" fmla="*/ 348 h 1371"/>
                  <a:gd name="T24" fmla="*/ 1368 w 1380"/>
                  <a:gd name="T25" fmla="*/ 0 h 1371"/>
                  <a:gd name="T26" fmla="*/ 1370 w 1380"/>
                  <a:gd name="T27" fmla="*/ 0 h 1371"/>
                  <a:gd name="T28" fmla="*/ 1372 w 1380"/>
                  <a:gd name="T29" fmla="*/ 0 h 1371"/>
                  <a:gd name="T30" fmla="*/ 1374 w 1380"/>
                  <a:gd name="T31" fmla="*/ 1 h 1371"/>
                  <a:gd name="T32" fmla="*/ 1377 w 1380"/>
                  <a:gd name="T33" fmla="*/ 3 h 1371"/>
                  <a:gd name="T34" fmla="*/ 1379 w 1380"/>
                  <a:gd name="T35" fmla="*/ 5 h 1371"/>
                  <a:gd name="T36" fmla="*/ 1380 w 1380"/>
                  <a:gd name="T37" fmla="*/ 7 h 1371"/>
                  <a:gd name="T38" fmla="*/ 1380 w 1380"/>
                  <a:gd name="T39" fmla="*/ 9 h 1371"/>
                  <a:gd name="T40" fmla="*/ 1379 w 1380"/>
                  <a:gd name="T41" fmla="*/ 12 h 1371"/>
                  <a:gd name="T42" fmla="*/ 1000 w 1380"/>
                  <a:gd name="T43" fmla="*/ 1364 h 1371"/>
                  <a:gd name="T44" fmla="*/ 999 w 1380"/>
                  <a:gd name="T45" fmla="*/ 1367 h 1371"/>
                  <a:gd name="T46" fmla="*/ 998 w 1380"/>
                  <a:gd name="T47" fmla="*/ 1368 h 1371"/>
                  <a:gd name="T48" fmla="*/ 995 w 1380"/>
                  <a:gd name="T49" fmla="*/ 1370 h 1371"/>
                  <a:gd name="T50" fmla="*/ 993 w 1380"/>
                  <a:gd name="T51" fmla="*/ 1371 h 1371"/>
                  <a:gd name="T52" fmla="*/ 992 w 1380"/>
                  <a:gd name="T53" fmla="*/ 1371 h 1371"/>
                  <a:gd name="T54" fmla="*/ 991 w 1380"/>
                  <a:gd name="T55" fmla="*/ 1371 h 1371"/>
                  <a:gd name="T56" fmla="*/ 27 w 1380"/>
                  <a:gd name="T57" fmla="*/ 362 h 1371"/>
                  <a:gd name="T58" fmla="*/ 27 w 1380"/>
                  <a:gd name="T59" fmla="*/ 362 h 1371"/>
                  <a:gd name="T60" fmla="*/ 987 w 1380"/>
                  <a:gd name="T61" fmla="*/ 1343 h 1371"/>
                  <a:gd name="T62" fmla="*/ 1357 w 1380"/>
                  <a:gd name="T63" fmla="*/ 23 h 1371"/>
                  <a:gd name="T64" fmla="*/ 27 w 1380"/>
                  <a:gd name="T65" fmla="*/ 362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0" h="1371">
                    <a:moveTo>
                      <a:pt x="991" y="1371"/>
                    </a:moveTo>
                    <a:lnTo>
                      <a:pt x="988" y="1370"/>
                    </a:lnTo>
                    <a:lnTo>
                      <a:pt x="985" y="1368"/>
                    </a:lnTo>
                    <a:lnTo>
                      <a:pt x="2" y="364"/>
                    </a:lnTo>
                    <a:lnTo>
                      <a:pt x="1" y="362"/>
                    </a:lnTo>
                    <a:lnTo>
                      <a:pt x="0" y="360"/>
                    </a:lnTo>
                    <a:lnTo>
                      <a:pt x="0" y="358"/>
                    </a:lnTo>
                    <a:lnTo>
                      <a:pt x="0" y="354"/>
                    </a:lnTo>
                    <a:lnTo>
                      <a:pt x="1" y="352"/>
                    </a:lnTo>
                    <a:lnTo>
                      <a:pt x="3" y="350"/>
                    </a:lnTo>
                    <a:lnTo>
                      <a:pt x="4" y="349"/>
                    </a:lnTo>
                    <a:lnTo>
                      <a:pt x="6" y="348"/>
                    </a:lnTo>
                    <a:lnTo>
                      <a:pt x="1368" y="0"/>
                    </a:lnTo>
                    <a:lnTo>
                      <a:pt x="1370" y="0"/>
                    </a:lnTo>
                    <a:lnTo>
                      <a:pt x="1372" y="0"/>
                    </a:lnTo>
                    <a:lnTo>
                      <a:pt x="1374" y="1"/>
                    </a:lnTo>
                    <a:lnTo>
                      <a:pt x="1377" y="3"/>
                    </a:lnTo>
                    <a:lnTo>
                      <a:pt x="1379" y="5"/>
                    </a:lnTo>
                    <a:lnTo>
                      <a:pt x="1380" y="7"/>
                    </a:lnTo>
                    <a:lnTo>
                      <a:pt x="1380" y="9"/>
                    </a:lnTo>
                    <a:lnTo>
                      <a:pt x="1379" y="12"/>
                    </a:lnTo>
                    <a:lnTo>
                      <a:pt x="1000" y="1364"/>
                    </a:lnTo>
                    <a:lnTo>
                      <a:pt x="999" y="1367"/>
                    </a:lnTo>
                    <a:lnTo>
                      <a:pt x="998" y="1368"/>
                    </a:lnTo>
                    <a:lnTo>
                      <a:pt x="995" y="1370"/>
                    </a:lnTo>
                    <a:lnTo>
                      <a:pt x="993" y="1371"/>
                    </a:lnTo>
                    <a:lnTo>
                      <a:pt x="992" y="1371"/>
                    </a:lnTo>
                    <a:lnTo>
                      <a:pt x="991" y="1371"/>
                    </a:lnTo>
                    <a:close/>
                    <a:moveTo>
                      <a:pt x="27" y="362"/>
                    </a:moveTo>
                    <a:lnTo>
                      <a:pt x="27" y="362"/>
                    </a:lnTo>
                    <a:lnTo>
                      <a:pt x="987" y="1343"/>
                    </a:lnTo>
                    <a:lnTo>
                      <a:pt x="1357" y="23"/>
                    </a:lnTo>
                    <a:lnTo>
                      <a:pt x="27"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8"/>
              <p:cNvSpPr>
                <a:spLocks noEditPoints="1"/>
              </p:cNvSpPr>
              <p:nvPr userDrawn="1"/>
            </p:nvSpPr>
            <p:spPr bwMode="auto">
              <a:xfrm>
                <a:off x="3771" y="3402"/>
                <a:ext cx="451" cy="462"/>
              </a:xfrm>
              <a:custGeom>
                <a:avLst/>
                <a:gdLst>
                  <a:gd name="T0" fmla="*/ 1039 w 1352"/>
                  <a:gd name="T1" fmla="*/ 1384 h 1384"/>
                  <a:gd name="T2" fmla="*/ 1034 w 1352"/>
                  <a:gd name="T3" fmla="*/ 1383 h 1384"/>
                  <a:gd name="T4" fmla="*/ 1029 w 1352"/>
                  <a:gd name="T5" fmla="*/ 1381 h 1384"/>
                  <a:gd name="T6" fmla="*/ 5 w 1352"/>
                  <a:gd name="T7" fmla="*/ 442 h 1384"/>
                  <a:gd name="T8" fmla="*/ 2 w 1352"/>
                  <a:gd name="T9" fmla="*/ 440 h 1384"/>
                  <a:gd name="T10" fmla="*/ 0 w 1352"/>
                  <a:gd name="T11" fmla="*/ 436 h 1384"/>
                  <a:gd name="T12" fmla="*/ 0 w 1352"/>
                  <a:gd name="T13" fmla="*/ 433 h 1384"/>
                  <a:gd name="T14" fmla="*/ 0 w 1352"/>
                  <a:gd name="T15" fmla="*/ 429 h 1384"/>
                  <a:gd name="T16" fmla="*/ 1 w 1352"/>
                  <a:gd name="T17" fmla="*/ 426 h 1384"/>
                  <a:gd name="T18" fmla="*/ 3 w 1352"/>
                  <a:gd name="T19" fmla="*/ 423 h 1384"/>
                  <a:gd name="T20" fmla="*/ 6 w 1352"/>
                  <a:gd name="T21" fmla="*/ 421 h 1384"/>
                  <a:gd name="T22" fmla="*/ 9 w 1352"/>
                  <a:gd name="T23" fmla="*/ 419 h 1384"/>
                  <a:gd name="T24" fmla="*/ 1335 w 1352"/>
                  <a:gd name="T25" fmla="*/ 1 h 1384"/>
                  <a:gd name="T26" fmla="*/ 1338 w 1352"/>
                  <a:gd name="T27" fmla="*/ 0 h 1384"/>
                  <a:gd name="T28" fmla="*/ 1342 w 1352"/>
                  <a:gd name="T29" fmla="*/ 0 h 1384"/>
                  <a:gd name="T30" fmla="*/ 1346 w 1352"/>
                  <a:gd name="T31" fmla="*/ 2 h 1384"/>
                  <a:gd name="T32" fmla="*/ 1348 w 1352"/>
                  <a:gd name="T33" fmla="*/ 4 h 1384"/>
                  <a:gd name="T34" fmla="*/ 1350 w 1352"/>
                  <a:gd name="T35" fmla="*/ 7 h 1384"/>
                  <a:gd name="T36" fmla="*/ 1352 w 1352"/>
                  <a:gd name="T37" fmla="*/ 10 h 1384"/>
                  <a:gd name="T38" fmla="*/ 1352 w 1352"/>
                  <a:gd name="T39" fmla="*/ 13 h 1384"/>
                  <a:gd name="T40" fmla="*/ 1352 w 1352"/>
                  <a:gd name="T41" fmla="*/ 17 h 1384"/>
                  <a:gd name="T42" fmla="*/ 1052 w 1352"/>
                  <a:gd name="T43" fmla="*/ 1373 h 1384"/>
                  <a:gd name="T44" fmla="*/ 1051 w 1352"/>
                  <a:gd name="T45" fmla="*/ 1377 h 1384"/>
                  <a:gd name="T46" fmla="*/ 1049 w 1352"/>
                  <a:gd name="T47" fmla="*/ 1380 h 1384"/>
                  <a:gd name="T48" fmla="*/ 1045 w 1352"/>
                  <a:gd name="T49" fmla="*/ 1382 h 1384"/>
                  <a:gd name="T50" fmla="*/ 1042 w 1352"/>
                  <a:gd name="T51" fmla="*/ 1384 h 1384"/>
                  <a:gd name="T52" fmla="*/ 1040 w 1352"/>
                  <a:gd name="T53" fmla="*/ 1384 h 1384"/>
                  <a:gd name="T54" fmla="*/ 1039 w 1352"/>
                  <a:gd name="T55" fmla="*/ 1384 h 1384"/>
                  <a:gd name="T56" fmla="*/ 40 w 1352"/>
                  <a:gd name="T57" fmla="*/ 439 h 1384"/>
                  <a:gd name="T58" fmla="*/ 40 w 1352"/>
                  <a:gd name="T59" fmla="*/ 439 h 1384"/>
                  <a:gd name="T60" fmla="*/ 1030 w 1352"/>
                  <a:gd name="T61" fmla="*/ 1345 h 1384"/>
                  <a:gd name="T62" fmla="*/ 1321 w 1352"/>
                  <a:gd name="T63" fmla="*/ 34 h 1384"/>
                  <a:gd name="T64" fmla="*/ 40 w 1352"/>
                  <a:gd name="T65" fmla="*/ 439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2" h="1384">
                    <a:moveTo>
                      <a:pt x="1039" y="1384"/>
                    </a:moveTo>
                    <a:lnTo>
                      <a:pt x="1034" y="1383"/>
                    </a:lnTo>
                    <a:lnTo>
                      <a:pt x="1029" y="1381"/>
                    </a:lnTo>
                    <a:lnTo>
                      <a:pt x="5" y="442"/>
                    </a:lnTo>
                    <a:lnTo>
                      <a:pt x="2" y="440"/>
                    </a:lnTo>
                    <a:lnTo>
                      <a:pt x="0" y="436"/>
                    </a:lnTo>
                    <a:lnTo>
                      <a:pt x="0" y="433"/>
                    </a:lnTo>
                    <a:lnTo>
                      <a:pt x="0" y="429"/>
                    </a:lnTo>
                    <a:lnTo>
                      <a:pt x="1" y="426"/>
                    </a:lnTo>
                    <a:lnTo>
                      <a:pt x="3" y="423"/>
                    </a:lnTo>
                    <a:lnTo>
                      <a:pt x="6" y="421"/>
                    </a:lnTo>
                    <a:lnTo>
                      <a:pt x="9" y="419"/>
                    </a:lnTo>
                    <a:lnTo>
                      <a:pt x="1335" y="1"/>
                    </a:lnTo>
                    <a:lnTo>
                      <a:pt x="1338" y="0"/>
                    </a:lnTo>
                    <a:lnTo>
                      <a:pt x="1342" y="0"/>
                    </a:lnTo>
                    <a:lnTo>
                      <a:pt x="1346" y="2"/>
                    </a:lnTo>
                    <a:lnTo>
                      <a:pt x="1348" y="4"/>
                    </a:lnTo>
                    <a:lnTo>
                      <a:pt x="1350" y="7"/>
                    </a:lnTo>
                    <a:lnTo>
                      <a:pt x="1352" y="10"/>
                    </a:lnTo>
                    <a:lnTo>
                      <a:pt x="1352" y="13"/>
                    </a:lnTo>
                    <a:lnTo>
                      <a:pt x="1352" y="17"/>
                    </a:lnTo>
                    <a:lnTo>
                      <a:pt x="1052" y="1373"/>
                    </a:lnTo>
                    <a:lnTo>
                      <a:pt x="1051" y="1377"/>
                    </a:lnTo>
                    <a:lnTo>
                      <a:pt x="1049" y="1380"/>
                    </a:lnTo>
                    <a:lnTo>
                      <a:pt x="1045" y="1382"/>
                    </a:lnTo>
                    <a:lnTo>
                      <a:pt x="1042" y="1384"/>
                    </a:lnTo>
                    <a:lnTo>
                      <a:pt x="1040" y="1384"/>
                    </a:lnTo>
                    <a:lnTo>
                      <a:pt x="1039" y="1384"/>
                    </a:lnTo>
                    <a:close/>
                    <a:moveTo>
                      <a:pt x="40" y="439"/>
                    </a:moveTo>
                    <a:lnTo>
                      <a:pt x="40" y="439"/>
                    </a:lnTo>
                    <a:lnTo>
                      <a:pt x="1030" y="1345"/>
                    </a:lnTo>
                    <a:lnTo>
                      <a:pt x="1321" y="34"/>
                    </a:lnTo>
                    <a:lnTo>
                      <a:pt x="4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9"/>
              <p:cNvSpPr>
                <a:spLocks noEditPoints="1"/>
              </p:cNvSpPr>
              <p:nvPr userDrawn="1"/>
            </p:nvSpPr>
            <p:spPr bwMode="auto">
              <a:xfrm>
                <a:off x="4391" y="1651"/>
                <a:ext cx="460" cy="457"/>
              </a:xfrm>
              <a:custGeom>
                <a:avLst/>
                <a:gdLst>
                  <a:gd name="T0" fmla="*/ 992 w 1380"/>
                  <a:gd name="T1" fmla="*/ 1370 h 1370"/>
                  <a:gd name="T2" fmla="*/ 988 w 1380"/>
                  <a:gd name="T3" fmla="*/ 1370 h 1370"/>
                  <a:gd name="T4" fmla="*/ 985 w 1380"/>
                  <a:gd name="T5" fmla="*/ 1368 h 1370"/>
                  <a:gd name="T6" fmla="*/ 3 w 1380"/>
                  <a:gd name="T7" fmla="*/ 363 h 1370"/>
                  <a:gd name="T8" fmla="*/ 2 w 1380"/>
                  <a:gd name="T9" fmla="*/ 361 h 1370"/>
                  <a:gd name="T10" fmla="*/ 1 w 1380"/>
                  <a:gd name="T11" fmla="*/ 359 h 1370"/>
                  <a:gd name="T12" fmla="*/ 0 w 1380"/>
                  <a:gd name="T13" fmla="*/ 357 h 1370"/>
                  <a:gd name="T14" fmla="*/ 1 w 1380"/>
                  <a:gd name="T15" fmla="*/ 355 h 1370"/>
                  <a:gd name="T16" fmla="*/ 2 w 1380"/>
                  <a:gd name="T17" fmla="*/ 352 h 1370"/>
                  <a:gd name="T18" fmla="*/ 3 w 1380"/>
                  <a:gd name="T19" fmla="*/ 350 h 1370"/>
                  <a:gd name="T20" fmla="*/ 5 w 1380"/>
                  <a:gd name="T21" fmla="*/ 348 h 1370"/>
                  <a:gd name="T22" fmla="*/ 7 w 1380"/>
                  <a:gd name="T23" fmla="*/ 348 h 1370"/>
                  <a:gd name="T24" fmla="*/ 1368 w 1380"/>
                  <a:gd name="T25" fmla="*/ 0 h 1370"/>
                  <a:gd name="T26" fmla="*/ 1371 w 1380"/>
                  <a:gd name="T27" fmla="*/ 0 h 1370"/>
                  <a:gd name="T28" fmla="*/ 1373 w 1380"/>
                  <a:gd name="T29" fmla="*/ 0 h 1370"/>
                  <a:gd name="T30" fmla="*/ 1375 w 1380"/>
                  <a:gd name="T31" fmla="*/ 1 h 1370"/>
                  <a:gd name="T32" fmla="*/ 1378 w 1380"/>
                  <a:gd name="T33" fmla="*/ 3 h 1370"/>
                  <a:gd name="T34" fmla="*/ 1379 w 1380"/>
                  <a:gd name="T35" fmla="*/ 4 h 1370"/>
                  <a:gd name="T36" fmla="*/ 1380 w 1380"/>
                  <a:gd name="T37" fmla="*/ 7 h 1370"/>
                  <a:gd name="T38" fmla="*/ 1380 w 1380"/>
                  <a:gd name="T39" fmla="*/ 9 h 1370"/>
                  <a:gd name="T40" fmla="*/ 1380 w 1380"/>
                  <a:gd name="T41" fmla="*/ 11 h 1370"/>
                  <a:gd name="T42" fmla="*/ 1001 w 1380"/>
                  <a:gd name="T43" fmla="*/ 1364 h 1370"/>
                  <a:gd name="T44" fmla="*/ 1000 w 1380"/>
                  <a:gd name="T45" fmla="*/ 1366 h 1370"/>
                  <a:gd name="T46" fmla="*/ 999 w 1380"/>
                  <a:gd name="T47" fmla="*/ 1368 h 1370"/>
                  <a:gd name="T48" fmla="*/ 996 w 1380"/>
                  <a:gd name="T49" fmla="*/ 1369 h 1370"/>
                  <a:gd name="T50" fmla="*/ 994 w 1380"/>
                  <a:gd name="T51" fmla="*/ 1370 h 1370"/>
                  <a:gd name="T52" fmla="*/ 993 w 1380"/>
                  <a:gd name="T53" fmla="*/ 1370 h 1370"/>
                  <a:gd name="T54" fmla="*/ 992 w 1380"/>
                  <a:gd name="T55" fmla="*/ 1370 h 1370"/>
                  <a:gd name="T56" fmla="*/ 28 w 1380"/>
                  <a:gd name="T57" fmla="*/ 362 h 1370"/>
                  <a:gd name="T58" fmla="*/ 28 w 1380"/>
                  <a:gd name="T59" fmla="*/ 362 h 1370"/>
                  <a:gd name="T60" fmla="*/ 987 w 1380"/>
                  <a:gd name="T61" fmla="*/ 1342 h 1370"/>
                  <a:gd name="T62" fmla="*/ 1357 w 1380"/>
                  <a:gd name="T63" fmla="*/ 22 h 1370"/>
                  <a:gd name="T64" fmla="*/ 28 w 1380"/>
                  <a:gd name="T65" fmla="*/ 36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0" h="1370">
                    <a:moveTo>
                      <a:pt x="992" y="1370"/>
                    </a:moveTo>
                    <a:lnTo>
                      <a:pt x="988" y="1370"/>
                    </a:lnTo>
                    <a:lnTo>
                      <a:pt x="985" y="1368"/>
                    </a:lnTo>
                    <a:lnTo>
                      <a:pt x="3" y="363"/>
                    </a:lnTo>
                    <a:lnTo>
                      <a:pt x="2" y="361"/>
                    </a:lnTo>
                    <a:lnTo>
                      <a:pt x="1" y="359"/>
                    </a:lnTo>
                    <a:lnTo>
                      <a:pt x="0" y="357"/>
                    </a:lnTo>
                    <a:lnTo>
                      <a:pt x="1" y="355"/>
                    </a:lnTo>
                    <a:lnTo>
                      <a:pt x="2" y="352"/>
                    </a:lnTo>
                    <a:lnTo>
                      <a:pt x="3" y="350"/>
                    </a:lnTo>
                    <a:lnTo>
                      <a:pt x="5" y="348"/>
                    </a:lnTo>
                    <a:lnTo>
                      <a:pt x="7" y="348"/>
                    </a:lnTo>
                    <a:lnTo>
                      <a:pt x="1368" y="0"/>
                    </a:lnTo>
                    <a:lnTo>
                      <a:pt x="1371" y="0"/>
                    </a:lnTo>
                    <a:lnTo>
                      <a:pt x="1373" y="0"/>
                    </a:lnTo>
                    <a:lnTo>
                      <a:pt x="1375" y="1"/>
                    </a:lnTo>
                    <a:lnTo>
                      <a:pt x="1378" y="3"/>
                    </a:lnTo>
                    <a:lnTo>
                      <a:pt x="1379" y="4"/>
                    </a:lnTo>
                    <a:lnTo>
                      <a:pt x="1380" y="7"/>
                    </a:lnTo>
                    <a:lnTo>
                      <a:pt x="1380" y="9"/>
                    </a:lnTo>
                    <a:lnTo>
                      <a:pt x="1380" y="11"/>
                    </a:lnTo>
                    <a:lnTo>
                      <a:pt x="1001" y="1364"/>
                    </a:lnTo>
                    <a:lnTo>
                      <a:pt x="1000" y="1366"/>
                    </a:lnTo>
                    <a:lnTo>
                      <a:pt x="999" y="1368"/>
                    </a:lnTo>
                    <a:lnTo>
                      <a:pt x="996" y="1369"/>
                    </a:lnTo>
                    <a:lnTo>
                      <a:pt x="994" y="1370"/>
                    </a:lnTo>
                    <a:lnTo>
                      <a:pt x="993" y="1370"/>
                    </a:lnTo>
                    <a:lnTo>
                      <a:pt x="992" y="1370"/>
                    </a:lnTo>
                    <a:close/>
                    <a:moveTo>
                      <a:pt x="28" y="362"/>
                    </a:moveTo>
                    <a:lnTo>
                      <a:pt x="28" y="362"/>
                    </a:lnTo>
                    <a:lnTo>
                      <a:pt x="987" y="1342"/>
                    </a:lnTo>
                    <a:lnTo>
                      <a:pt x="1357" y="22"/>
                    </a:lnTo>
                    <a:lnTo>
                      <a:pt x="28"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0"/>
              <p:cNvSpPr>
                <a:spLocks noEditPoints="1"/>
              </p:cNvSpPr>
              <p:nvPr userDrawn="1"/>
            </p:nvSpPr>
            <p:spPr bwMode="auto">
              <a:xfrm>
                <a:off x="3741" y="3435"/>
                <a:ext cx="451" cy="461"/>
              </a:xfrm>
              <a:custGeom>
                <a:avLst/>
                <a:gdLst>
                  <a:gd name="T0" fmla="*/ 1038 w 1353"/>
                  <a:gd name="T1" fmla="*/ 1384 h 1384"/>
                  <a:gd name="T2" fmla="*/ 1034 w 1353"/>
                  <a:gd name="T3" fmla="*/ 1384 h 1384"/>
                  <a:gd name="T4" fmla="*/ 1030 w 1353"/>
                  <a:gd name="T5" fmla="*/ 1381 h 1384"/>
                  <a:gd name="T6" fmla="*/ 4 w 1353"/>
                  <a:gd name="T7" fmla="*/ 442 h 1384"/>
                  <a:gd name="T8" fmla="*/ 2 w 1353"/>
                  <a:gd name="T9" fmla="*/ 440 h 1384"/>
                  <a:gd name="T10" fmla="*/ 1 w 1353"/>
                  <a:gd name="T11" fmla="*/ 437 h 1384"/>
                  <a:gd name="T12" fmla="*/ 0 w 1353"/>
                  <a:gd name="T13" fmla="*/ 433 h 1384"/>
                  <a:gd name="T14" fmla="*/ 1 w 1353"/>
                  <a:gd name="T15" fmla="*/ 430 h 1384"/>
                  <a:gd name="T16" fmla="*/ 2 w 1353"/>
                  <a:gd name="T17" fmla="*/ 426 h 1384"/>
                  <a:gd name="T18" fmla="*/ 4 w 1353"/>
                  <a:gd name="T19" fmla="*/ 424 h 1384"/>
                  <a:gd name="T20" fmla="*/ 6 w 1353"/>
                  <a:gd name="T21" fmla="*/ 421 h 1384"/>
                  <a:gd name="T22" fmla="*/ 9 w 1353"/>
                  <a:gd name="T23" fmla="*/ 419 h 1384"/>
                  <a:gd name="T24" fmla="*/ 1335 w 1353"/>
                  <a:gd name="T25" fmla="*/ 2 h 1384"/>
                  <a:gd name="T26" fmla="*/ 1339 w 1353"/>
                  <a:gd name="T27" fmla="*/ 0 h 1384"/>
                  <a:gd name="T28" fmla="*/ 1342 w 1353"/>
                  <a:gd name="T29" fmla="*/ 2 h 1384"/>
                  <a:gd name="T30" fmla="*/ 1345 w 1353"/>
                  <a:gd name="T31" fmla="*/ 3 h 1384"/>
                  <a:gd name="T32" fmla="*/ 1348 w 1353"/>
                  <a:gd name="T33" fmla="*/ 5 h 1384"/>
                  <a:gd name="T34" fmla="*/ 1350 w 1353"/>
                  <a:gd name="T35" fmla="*/ 7 h 1384"/>
                  <a:gd name="T36" fmla="*/ 1353 w 1353"/>
                  <a:gd name="T37" fmla="*/ 10 h 1384"/>
                  <a:gd name="T38" fmla="*/ 1353 w 1353"/>
                  <a:gd name="T39" fmla="*/ 13 h 1384"/>
                  <a:gd name="T40" fmla="*/ 1353 w 1353"/>
                  <a:gd name="T41" fmla="*/ 18 h 1384"/>
                  <a:gd name="T42" fmla="*/ 1052 w 1353"/>
                  <a:gd name="T43" fmla="*/ 1375 h 1384"/>
                  <a:gd name="T44" fmla="*/ 1050 w 1353"/>
                  <a:gd name="T45" fmla="*/ 1378 h 1384"/>
                  <a:gd name="T46" fmla="*/ 1049 w 1353"/>
                  <a:gd name="T47" fmla="*/ 1380 h 1384"/>
                  <a:gd name="T48" fmla="*/ 1046 w 1353"/>
                  <a:gd name="T49" fmla="*/ 1382 h 1384"/>
                  <a:gd name="T50" fmla="*/ 1043 w 1353"/>
                  <a:gd name="T51" fmla="*/ 1384 h 1384"/>
                  <a:gd name="T52" fmla="*/ 1041 w 1353"/>
                  <a:gd name="T53" fmla="*/ 1384 h 1384"/>
                  <a:gd name="T54" fmla="*/ 1038 w 1353"/>
                  <a:gd name="T55" fmla="*/ 1384 h 1384"/>
                  <a:gd name="T56" fmla="*/ 40 w 1353"/>
                  <a:gd name="T57" fmla="*/ 439 h 1384"/>
                  <a:gd name="T58" fmla="*/ 40 w 1353"/>
                  <a:gd name="T59" fmla="*/ 439 h 1384"/>
                  <a:gd name="T60" fmla="*/ 1031 w 1353"/>
                  <a:gd name="T61" fmla="*/ 1346 h 1384"/>
                  <a:gd name="T62" fmla="*/ 1321 w 1353"/>
                  <a:gd name="T63" fmla="*/ 34 h 1384"/>
                  <a:gd name="T64" fmla="*/ 40 w 1353"/>
                  <a:gd name="T65" fmla="*/ 439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3" h="1384">
                    <a:moveTo>
                      <a:pt x="1038" y="1384"/>
                    </a:moveTo>
                    <a:lnTo>
                      <a:pt x="1034" y="1384"/>
                    </a:lnTo>
                    <a:lnTo>
                      <a:pt x="1030" y="1381"/>
                    </a:lnTo>
                    <a:lnTo>
                      <a:pt x="4" y="442"/>
                    </a:lnTo>
                    <a:lnTo>
                      <a:pt x="2" y="440"/>
                    </a:lnTo>
                    <a:lnTo>
                      <a:pt x="1" y="437"/>
                    </a:lnTo>
                    <a:lnTo>
                      <a:pt x="0" y="433"/>
                    </a:lnTo>
                    <a:lnTo>
                      <a:pt x="1" y="430"/>
                    </a:lnTo>
                    <a:lnTo>
                      <a:pt x="2" y="426"/>
                    </a:lnTo>
                    <a:lnTo>
                      <a:pt x="4" y="424"/>
                    </a:lnTo>
                    <a:lnTo>
                      <a:pt x="6" y="421"/>
                    </a:lnTo>
                    <a:lnTo>
                      <a:pt x="9" y="419"/>
                    </a:lnTo>
                    <a:lnTo>
                      <a:pt x="1335" y="2"/>
                    </a:lnTo>
                    <a:lnTo>
                      <a:pt x="1339" y="0"/>
                    </a:lnTo>
                    <a:lnTo>
                      <a:pt x="1342" y="2"/>
                    </a:lnTo>
                    <a:lnTo>
                      <a:pt x="1345" y="3"/>
                    </a:lnTo>
                    <a:lnTo>
                      <a:pt x="1348" y="5"/>
                    </a:lnTo>
                    <a:lnTo>
                      <a:pt x="1350" y="7"/>
                    </a:lnTo>
                    <a:lnTo>
                      <a:pt x="1353" y="10"/>
                    </a:lnTo>
                    <a:lnTo>
                      <a:pt x="1353" y="13"/>
                    </a:lnTo>
                    <a:lnTo>
                      <a:pt x="1353" y="18"/>
                    </a:lnTo>
                    <a:lnTo>
                      <a:pt x="1052" y="1375"/>
                    </a:lnTo>
                    <a:lnTo>
                      <a:pt x="1050" y="1378"/>
                    </a:lnTo>
                    <a:lnTo>
                      <a:pt x="1049" y="1380"/>
                    </a:lnTo>
                    <a:lnTo>
                      <a:pt x="1046" y="1382"/>
                    </a:lnTo>
                    <a:lnTo>
                      <a:pt x="1043" y="1384"/>
                    </a:lnTo>
                    <a:lnTo>
                      <a:pt x="1041" y="1384"/>
                    </a:lnTo>
                    <a:lnTo>
                      <a:pt x="1038" y="1384"/>
                    </a:lnTo>
                    <a:close/>
                    <a:moveTo>
                      <a:pt x="40" y="439"/>
                    </a:moveTo>
                    <a:lnTo>
                      <a:pt x="40" y="439"/>
                    </a:lnTo>
                    <a:lnTo>
                      <a:pt x="1031" y="1346"/>
                    </a:lnTo>
                    <a:lnTo>
                      <a:pt x="1321" y="34"/>
                    </a:lnTo>
                    <a:lnTo>
                      <a:pt x="4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1"/>
              <p:cNvSpPr>
                <a:spLocks/>
              </p:cNvSpPr>
              <p:nvPr userDrawn="1"/>
            </p:nvSpPr>
            <p:spPr bwMode="auto">
              <a:xfrm>
                <a:off x="0" y="3094"/>
                <a:ext cx="590" cy="835"/>
              </a:xfrm>
              <a:custGeom>
                <a:avLst/>
                <a:gdLst>
                  <a:gd name="T0" fmla="*/ 1206 w 1770"/>
                  <a:gd name="T1" fmla="*/ 2503 h 2503"/>
                  <a:gd name="T2" fmla="*/ 1201 w 1770"/>
                  <a:gd name="T3" fmla="*/ 2501 h 2503"/>
                  <a:gd name="T4" fmla="*/ 1196 w 1770"/>
                  <a:gd name="T5" fmla="*/ 2499 h 2503"/>
                  <a:gd name="T6" fmla="*/ 0 w 1770"/>
                  <a:gd name="T7" fmla="*/ 1401 h 2503"/>
                  <a:gd name="T8" fmla="*/ 0 w 1770"/>
                  <a:gd name="T9" fmla="*/ 1365 h 2503"/>
                  <a:gd name="T10" fmla="*/ 1198 w 1770"/>
                  <a:gd name="T11" fmla="*/ 2464 h 2503"/>
                  <a:gd name="T12" fmla="*/ 1737 w 1770"/>
                  <a:gd name="T13" fmla="*/ 34 h 2503"/>
                  <a:gd name="T14" fmla="*/ 0 w 1770"/>
                  <a:gd name="T15" fmla="*/ 580 h 2503"/>
                  <a:gd name="T16" fmla="*/ 0 w 1770"/>
                  <a:gd name="T17" fmla="*/ 552 h 2503"/>
                  <a:gd name="T18" fmla="*/ 1753 w 1770"/>
                  <a:gd name="T19" fmla="*/ 0 h 2503"/>
                  <a:gd name="T20" fmla="*/ 1756 w 1770"/>
                  <a:gd name="T21" fmla="*/ 0 h 2503"/>
                  <a:gd name="T22" fmla="*/ 1759 w 1770"/>
                  <a:gd name="T23" fmla="*/ 0 h 2503"/>
                  <a:gd name="T24" fmla="*/ 1762 w 1770"/>
                  <a:gd name="T25" fmla="*/ 1 h 2503"/>
                  <a:gd name="T26" fmla="*/ 1765 w 1770"/>
                  <a:gd name="T27" fmla="*/ 4 h 2503"/>
                  <a:gd name="T28" fmla="*/ 1768 w 1770"/>
                  <a:gd name="T29" fmla="*/ 6 h 2503"/>
                  <a:gd name="T30" fmla="*/ 1769 w 1770"/>
                  <a:gd name="T31" fmla="*/ 9 h 2503"/>
                  <a:gd name="T32" fmla="*/ 1770 w 1770"/>
                  <a:gd name="T33" fmla="*/ 13 h 2503"/>
                  <a:gd name="T34" fmla="*/ 1770 w 1770"/>
                  <a:gd name="T35" fmla="*/ 16 h 2503"/>
                  <a:gd name="T36" fmla="*/ 1219 w 1770"/>
                  <a:gd name="T37" fmla="*/ 2492 h 2503"/>
                  <a:gd name="T38" fmla="*/ 1218 w 1770"/>
                  <a:gd name="T39" fmla="*/ 2495 h 2503"/>
                  <a:gd name="T40" fmla="*/ 1216 w 1770"/>
                  <a:gd name="T41" fmla="*/ 2498 h 2503"/>
                  <a:gd name="T42" fmla="*/ 1213 w 1770"/>
                  <a:gd name="T43" fmla="*/ 2500 h 2503"/>
                  <a:gd name="T44" fmla="*/ 1210 w 1770"/>
                  <a:gd name="T45" fmla="*/ 2501 h 2503"/>
                  <a:gd name="T46" fmla="*/ 1208 w 1770"/>
                  <a:gd name="T47" fmla="*/ 2503 h 2503"/>
                  <a:gd name="T48" fmla="*/ 1206 w 1770"/>
                  <a:gd name="T49" fmla="*/ 2503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70" h="2503">
                    <a:moveTo>
                      <a:pt x="1206" y="2503"/>
                    </a:moveTo>
                    <a:lnTo>
                      <a:pt x="1201" y="2501"/>
                    </a:lnTo>
                    <a:lnTo>
                      <a:pt x="1196" y="2499"/>
                    </a:lnTo>
                    <a:lnTo>
                      <a:pt x="0" y="1401"/>
                    </a:lnTo>
                    <a:lnTo>
                      <a:pt x="0" y="1365"/>
                    </a:lnTo>
                    <a:lnTo>
                      <a:pt x="1198" y="2464"/>
                    </a:lnTo>
                    <a:lnTo>
                      <a:pt x="1737" y="34"/>
                    </a:lnTo>
                    <a:lnTo>
                      <a:pt x="0" y="580"/>
                    </a:lnTo>
                    <a:lnTo>
                      <a:pt x="0" y="552"/>
                    </a:lnTo>
                    <a:lnTo>
                      <a:pt x="1753" y="0"/>
                    </a:lnTo>
                    <a:lnTo>
                      <a:pt x="1756" y="0"/>
                    </a:lnTo>
                    <a:lnTo>
                      <a:pt x="1759" y="0"/>
                    </a:lnTo>
                    <a:lnTo>
                      <a:pt x="1762" y="1"/>
                    </a:lnTo>
                    <a:lnTo>
                      <a:pt x="1765" y="4"/>
                    </a:lnTo>
                    <a:lnTo>
                      <a:pt x="1768" y="6"/>
                    </a:lnTo>
                    <a:lnTo>
                      <a:pt x="1769" y="9"/>
                    </a:lnTo>
                    <a:lnTo>
                      <a:pt x="1770" y="13"/>
                    </a:lnTo>
                    <a:lnTo>
                      <a:pt x="1770" y="16"/>
                    </a:lnTo>
                    <a:lnTo>
                      <a:pt x="1219" y="2492"/>
                    </a:lnTo>
                    <a:lnTo>
                      <a:pt x="1218" y="2495"/>
                    </a:lnTo>
                    <a:lnTo>
                      <a:pt x="1216" y="2498"/>
                    </a:lnTo>
                    <a:lnTo>
                      <a:pt x="1213" y="2500"/>
                    </a:lnTo>
                    <a:lnTo>
                      <a:pt x="1210" y="2501"/>
                    </a:lnTo>
                    <a:lnTo>
                      <a:pt x="1208" y="2503"/>
                    </a:lnTo>
                    <a:lnTo>
                      <a:pt x="1206" y="2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2"/>
              <p:cNvSpPr>
                <a:spLocks/>
              </p:cNvSpPr>
              <p:nvPr userDrawn="1"/>
            </p:nvSpPr>
            <p:spPr bwMode="auto">
              <a:xfrm>
                <a:off x="1059" y="2687"/>
                <a:ext cx="311" cy="310"/>
              </a:xfrm>
              <a:custGeom>
                <a:avLst/>
                <a:gdLst>
                  <a:gd name="T0" fmla="*/ 918 w 931"/>
                  <a:gd name="T1" fmla="*/ 931 h 931"/>
                  <a:gd name="T2" fmla="*/ 912 w 931"/>
                  <a:gd name="T3" fmla="*/ 930 h 931"/>
                  <a:gd name="T4" fmla="*/ 908 w 931"/>
                  <a:gd name="T5" fmla="*/ 926 h 931"/>
                  <a:gd name="T6" fmla="*/ 4 w 931"/>
                  <a:gd name="T7" fmla="*/ 24 h 931"/>
                  <a:gd name="T8" fmla="*/ 1 w 931"/>
                  <a:gd name="T9" fmla="*/ 19 h 931"/>
                  <a:gd name="T10" fmla="*/ 0 w 931"/>
                  <a:gd name="T11" fmla="*/ 14 h 931"/>
                  <a:gd name="T12" fmla="*/ 1 w 931"/>
                  <a:gd name="T13" fmla="*/ 9 h 931"/>
                  <a:gd name="T14" fmla="*/ 4 w 931"/>
                  <a:gd name="T15" fmla="*/ 5 h 931"/>
                  <a:gd name="T16" fmla="*/ 9 w 931"/>
                  <a:gd name="T17" fmla="*/ 1 h 931"/>
                  <a:gd name="T18" fmla="*/ 14 w 931"/>
                  <a:gd name="T19" fmla="*/ 0 h 931"/>
                  <a:gd name="T20" fmla="*/ 18 w 931"/>
                  <a:gd name="T21" fmla="*/ 1 h 931"/>
                  <a:gd name="T22" fmla="*/ 24 w 931"/>
                  <a:gd name="T23" fmla="*/ 5 h 931"/>
                  <a:gd name="T24" fmla="*/ 926 w 931"/>
                  <a:gd name="T25" fmla="*/ 908 h 931"/>
                  <a:gd name="T26" fmla="*/ 930 w 931"/>
                  <a:gd name="T27" fmla="*/ 912 h 931"/>
                  <a:gd name="T28" fmla="*/ 931 w 931"/>
                  <a:gd name="T29" fmla="*/ 918 h 931"/>
                  <a:gd name="T30" fmla="*/ 930 w 931"/>
                  <a:gd name="T31" fmla="*/ 922 h 931"/>
                  <a:gd name="T32" fmla="*/ 926 w 931"/>
                  <a:gd name="T33" fmla="*/ 926 h 931"/>
                  <a:gd name="T34" fmla="*/ 922 w 931"/>
                  <a:gd name="T35" fmla="*/ 930 h 931"/>
                  <a:gd name="T36" fmla="*/ 918 w 931"/>
                  <a:gd name="T37"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1" h="931">
                    <a:moveTo>
                      <a:pt x="918" y="931"/>
                    </a:moveTo>
                    <a:lnTo>
                      <a:pt x="912" y="930"/>
                    </a:lnTo>
                    <a:lnTo>
                      <a:pt x="908" y="926"/>
                    </a:lnTo>
                    <a:lnTo>
                      <a:pt x="4" y="24"/>
                    </a:lnTo>
                    <a:lnTo>
                      <a:pt x="1" y="19"/>
                    </a:lnTo>
                    <a:lnTo>
                      <a:pt x="0" y="14"/>
                    </a:lnTo>
                    <a:lnTo>
                      <a:pt x="1" y="9"/>
                    </a:lnTo>
                    <a:lnTo>
                      <a:pt x="4" y="5"/>
                    </a:lnTo>
                    <a:lnTo>
                      <a:pt x="9" y="1"/>
                    </a:lnTo>
                    <a:lnTo>
                      <a:pt x="14" y="0"/>
                    </a:lnTo>
                    <a:lnTo>
                      <a:pt x="18" y="1"/>
                    </a:lnTo>
                    <a:lnTo>
                      <a:pt x="24" y="5"/>
                    </a:lnTo>
                    <a:lnTo>
                      <a:pt x="926" y="908"/>
                    </a:lnTo>
                    <a:lnTo>
                      <a:pt x="930" y="912"/>
                    </a:lnTo>
                    <a:lnTo>
                      <a:pt x="931" y="918"/>
                    </a:lnTo>
                    <a:lnTo>
                      <a:pt x="930" y="922"/>
                    </a:lnTo>
                    <a:lnTo>
                      <a:pt x="926" y="926"/>
                    </a:lnTo>
                    <a:lnTo>
                      <a:pt x="922" y="930"/>
                    </a:lnTo>
                    <a:lnTo>
                      <a:pt x="918" y="9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3"/>
              <p:cNvSpPr>
                <a:spLocks/>
              </p:cNvSpPr>
              <p:nvPr userDrawn="1"/>
            </p:nvSpPr>
            <p:spPr bwMode="auto">
              <a:xfrm>
                <a:off x="3382" y="2897"/>
                <a:ext cx="504" cy="504"/>
              </a:xfrm>
              <a:custGeom>
                <a:avLst/>
                <a:gdLst>
                  <a:gd name="T0" fmla="*/ 1500 w 1513"/>
                  <a:gd name="T1" fmla="*/ 1512 h 1512"/>
                  <a:gd name="T2" fmla="*/ 1494 w 1513"/>
                  <a:gd name="T3" fmla="*/ 1511 h 1512"/>
                  <a:gd name="T4" fmla="*/ 1490 w 1513"/>
                  <a:gd name="T5" fmla="*/ 1508 h 1512"/>
                  <a:gd name="T6" fmla="*/ 4 w 1513"/>
                  <a:gd name="T7" fmla="*/ 23 h 1512"/>
                  <a:gd name="T8" fmla="*/ 1 w 1513"/>
                  <a:gd name="T9" fmla="*/ 19 h 1512"/>
                  <a:gd name="T10" fmla="*/ 0 w 1513"/>
                  <a:gd name="T11" fmla="*/ 14 h 1512"/>
                  <a:gd name="T12" fmla="*/ 1 w 1513"/>
                  <a:gd name="T13" fmla="*/ 8 h 1512"/>
                  <a:gd name="T14" fmla="*/ 4 w 1513"/>
                  <a:gd name="T15" fmla="*/ 4 h 1512"/>
                  <a:gd name="T16" fmla="*/ 9 w 1513"/>
                  <a:gd name="T17" fmla="*/ 1 h 1512"/>
                  <a:gd name="T18" fmla="*/ 14 w 1513"/>
                  <a:gd name="T19" fmla="*/ 0 h 1512"/>
                  <a:gd name="T20" fmla="*/ 18 w 1513"/>
                  <a:gd name="T21" fmla="*/ 1 h 1512"/>
                  <a:gd name="T22" fmla="*/ 24 w 1513"/>
                  <a:gd name="T23" fmla="*/ 4 h 1512"/>
                  <a:gd name="T24" fmla="*/ 1508 w 1513"/>
                  <a:gd name="T25" fmla="*/ 1489 h 1512"/>
                  <a:gd name="T26" fmla="*/ 1512 w 1513"/>
                  <a:gd name="T27" fmla="*/ 1494 h 1512"/>
                  <a:gd name="T28" fmla="*/ 1513 w 1513"/>
                  <a:gd name="T29" fmla="*/ 1499 h 1512"/>
                  <a:gd name="T30" fmla="*/ 1512 w 1513"/>
                  <a:gd name="T31" fmla="*/ 1503 h 1512"/>
                  <a:gd name="T32" fmla="*/ 1508 w 1513"/>
                  <a:gd name="T33" fmla="*/ 1508 h 1512"/>
                  <a:gd name="T34" fmla="*/ 1504 w 1513"/>
                  <a:gd name="T35" fmla="*/ 1511 h 1512"/>
                  <a:gd name="T36" fmla="*/ 1500 w 1513"/>
                  <a:gd name="T37" fmla="*/ 1512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3" h="1512">
                    <a:moveTo>
                      <a:pt x="1500" y="1512"/>
                    </a:moveTo>
                    <a:lnTo>
                      <a:pt x="1494" y="1511"/>
                    </a:lnTo>
                    <a:lnTo>
                      <a:pt x="1490" y="1508"/>
                    </a:lnTo>
                    <a:lnTo>
                      <a:pt x="4" y="23"/>
                    </a:lnTo>
                    <a:lnTo>
                      <a:pt x="1" y="19"/>
                    </a:lnTo>
                    <a:lnTo>
                      <a:pt x="0" y="14"/>
                    </a:lnTo>
                    <a:lnTo>
                      <a:pt x="1" y="8"/>
                    </a:lnTo>
                    <a:lnTo>
                      <a:pt x="4" y="4"/>
                    </a:lnTo>
                    <a:lnTo>
                      <a:pt x="9" y="1"/>
                    </a:lnTo>
                    <a:lnTo>
                      <a:pt x="14" y="0"/>
                    </a:lnTo>
                    <a:lnTo>
                      <a:pt x="18" y="1"/>
                    </a:lnTo>
                    <a:lnTo>
                      <a:pt x="24" y="4"/>
                    </a:lnTo>
                    <a:lnTo>
                      <a:pt x="1508" y="1489"/>
                    </a:lnTo>
                    <a:lnTo>
                      <a:pt x="1512" y="1494"/>
                    </a:lnTo>
                    <a:lnTo>
                      <a:pt x="1513" y="1499"/>
                    </a:lnTo>
                    <a:lnTo>
                      <a:pt x="1512" y="1503"/>
                    </a:lnTo>
                    <a:lnTo>
                      <a:pt x="1508" y="1508"/>
                    </a:lnTo>
                    <a:lnTo>
                      <a:pt x="1504" y="1511"/>
                    </a:lnTo>
                    <a:lnTo>
                      <a:pt x="1500" y="1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4"/>
              <p:cNvSpPr>
                <a:spLocks/>
              </p:cNvSpPr>
              <p:nvPr userDrawn="1"/>
            </p:nvSpPr>
            <p:spPr bwMode="auto">
              <a:xfrm>
                <a:off x="4667" y="1876"/>
                <a:ext cx="353" cy="353"/>
              </a:xfrm>
              <a:custGeom>
                <a:avLst/>
                <a:gdLst>
                  <a:gd name="T0" fmla="*/ 1048 w 1058"/>
                  <a:gd name="T1" fmla="*/ 1058 h 1058"/>
                  <a:gd name="T2" fmla="*/ 1045 w 1058"/>
                  <a:gd name="T3" fmla="*/ 1057 h 1058"/>
                  <a:gd name="T4" fmla="*/ 1042 w 1058"/>
                  <a:gd name="T5" fmla="*/ 1055 h 1058"/>
                  <a:gd name="T6" fmla="*/ 3 w 1058"/>
                  <a:gd name="T7" fmla="*/ 16 h 1058"/>
                  <a:gd name="T8" fmla="*/ 1 w 1058"/>
                  <a:gd name="T9" fmla="*/ 13 h 1058"/>
                  <a:gd name="T10" fmla="*/ 0 w 1058"/>
                  <a:gd name="T11" fmla="*/ 10 h 1058"/>
                  <a:gd name="T12" fmla="*/ 1 w 1058"/>
                  <a:gd name="T13" fmla="*/ 7 h 1058"/>
                  <a:gd name="T14" fmla="*/ 3 w 1058"/>
                  <a:gd name="T15" fmla="*/ 4 h 1058"/>
                  <a:gd name="T16" fmla="*/ 6 w 1058"/>
                  <a:gd name="T17" fmla="*/ 1 h 1058"/>
                  <a:gd name="T18" fmla="*/ 10 w 1058"/>
                  <a:gd name="T19" fmla="*/ 0 h 1058"/>
                  <a:gd name="T20" fmla="*/ 13 w 1058"/>
                  <a:gd name="T21" fmla="*/ 1 h 1058"/>
                  <a:gd name="T22" fmla="*/ 16 w 1058"/>
                  <a:gd name="T23" fmla="*/ 4 h 1058"/>
                  <a:gd name="T24" fmla="*/ 1055 w 1058"/>
                  <a:gd name="T25" fmla="*/ 1042 h 1058"/>
                  <a:gd name="T26" fmla="*/ 1057 w 1058"/>
                  <a:gd name="T27" fmla="*/ 1045 h 1058"/>
                  <a:gd name="T28" fmla="*/ 1058 w 1058"/>
                  <a:gd name="T29" fmla="*/ 1048 h 1058"/>
                  <a:gd name="T30" fmla="*/ 1057 w 1058"/>
                  <a:gd name="T31" fmla="*/ 1053 h 1058"/>
                  <a:gd name="T32" fmla="*/ 1055 w 1058"/>
                  <a:gd name="T33" fmla="*/ 1055 h 1058"/>
                  <a:gd name="T34" fmla="*/ 1053 w 1058"/>
                  <a:gd name="T35" fmla="*/ 1057 h 1058"/>
                  <a:gd name="T36" fmla="*/ 1048 w 1058"/>
                  <a:gd name="T37" fmla="*/ 1058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8" h="1058">
                    <a:moveTo>
                      <a:pt x="1048" y="1058"/>
                    </a:moveTo>
                    <a:lnTo>
                      <a:pt x="1045" y="1057"/>
                    </a:lnTo>
                    <a:lnTo>
                      <a:pt x="1042" y="1055"/>
                    </a:lnTo>
                    <a:lnTo>
                      <a:pt x="3" y="16"/>
                    </a:lnTo>
                    <a:lnTo>
                      <a:pt x="1" y="13"/>
                    </a:lnTo>
                    <a:lnTo>
                      <a:pt x="0" y="10"/>
                    </a:lnTo>
                    <a:lnTo>
                      <a:pt x="1" y="7"/>
                    </a:lnTo>
                    <a:lnTo>
                      <a:pt x="3" y="4"/>
                    </a:lnTo>
                    <a:lnTo>
                      <a:pt x="6" y="1"/>
                    </a:lnTo>
                    <a:lnTo>
                      <a:pt x="10" y="0"/>
                    </a:lnTo>
                    <a:lnTo>
                      <a:pt x="13" y="1"/>
                    </a:lnTo>
                    <a:lnTo>
                      <a:pt x="16" y="4"/>
                    </a:lnTo>
                    <a:lnTo>
                      <a:pt x="1055" y="1042"/>
                    </a:lnTo>
                    <a:lnTo>
                      <a:pt x="1057" y="1045"/>
                    </a:lnTo>
                    <a:lnTo>
                      <a:pt x="1058" y="1048"/>
                    </a:lnTo>
                    <a:lnTo>
                      <a:pt x="1057" y="1053"/>
                    </a:lnTo>
                    <a:lnTo>
                      <a:pt x="1055" y="1055"/>
                    </a:lnTo>
                    <a:lnTo>
                      <a:pt x="1053" y="1057"/>
                    </a:lnTo>
                    <a:lnTo>
                      <a:pt x="1048" y="10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5"/>
              <p:cNvSpPr>
                <a:spLocks/>
              </p:cNvSpPr>
              <p:nvPr userDrawn="1"/>
            </p:nvSpPr>
            <p:spPr bwMode="auto">
              <a:xfrm>
                <a:off x="4095" y="3653"/>
                <a:ext cx="479" cy="479"/>
              </a:xfrm>
              <a:custGeom>
                <a:avLst/>
                <a:gdLst>
                  <a:gd name="T0" fmla="*/ 1423 w 1436"/>
                  <a:gd name="T1" fmla="*/ 1435 h 1435"/>
                  <a:gd name="T2" fmla="*/ 1418 w 1436"/>
                  <a:gd name="T3" fmla="*/ 1434 h 1435"/>
                  <a:gd name="T4" fmla="*/ 1414 w 1436"/>
                  <a:gd name="T5" fmla="*/ 1431 h 1435"/>
                  <a:gd name="T6" fmla="*/ 4 w 1436"/>
                  <a:gd name="T7" fmla="*/ 23 h 1435"/>
                  <a:gd name="T8" fmla="*/ 1 w 1436"/>
                  <a:gd name="T9" fmla="*/ 18 h 1435"/>
                  <a:gd name="T10" fmla="*/ 0 w 1436"/>
                  <a:gd name="T11" fmla="*/ 14 h 1435"/>
                  <a:gd name="T12" fmla="*/ 1 w 1436"/>
                  <a:gd name="T13" fmla="*/ 8 h 1435"/>
                  <a:gd name="T14" fmla="*/ 4 w 1436"/>
                  <a:gd name="T15" fmla="*/ 4 h 1435"/>
                  <a:gd name="T16" fmla="*/ 9 w 1436"/>
                  <a:gd name="T17" fmla="*/ 1 h 1435"/>
                  <a:gd name="T18" fmla="*/ 14 w 1436"/>
                  <a:gd name="T19" fmla="*/ 0 h 1435"/>
                  <a:gd name="T20" fmla="*/ 20 w 1436"/>
                  <a:gd name="T21" fmla="*/ 1 h 1435"/>
                  <a:gd name="T22" fmla="*/ 24 w 1436"/>
                  <a:gd name="T23" fmla="*/ 4 h 1435"/>
                  <a:gd name="T24" fmla="*/ 1432 w 1436"/>
                  <a:gd name="T25" fmla="*/ 1413 h 1435"/>
                  <a:gd name="T26" fmla="*/ 1435 w 1436"/>
                  <a:gd name="T27" fmla="*/ 1417 h 1435"/>
                  <a:gd name="T28" fmla="*/ 1436 w 1436"/>
                  <a:gd name="T29" fmla="*/ 1422 h 1435"/>
                  <a:gd name="T30" fmla="*/ 1435 w 1436"/>
                  <a:gd name="T31" fmla="*/ 1427 h 1435"/>
                  <a:gd name="T32" fmla="*/ 1432 w 1436"/>
                  <a:gd name="T33" fmla="*/ 1431 h 1435"/>
                  <a:gd name="T34" fmla="*/ 1428 w 1436"/>
                  <a:gd name="T35" fmla="*/ 1434 h 1435"/>
                  <a:gd name="T36" fmla="*/ 1423 w 1436"/>
                  <a:gd name="T37" fmla="*/ 1435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6" h="1435">
                    <a:moveTo>
                      <a:pt x="1423" y="1435"/>
                    </a:moveTo>
                    <a:lnTo>
                      <a:pt x="1418" y="1434"/>
                    </a:lnTo>
                    <a:lnTo>
                      <a:pt x="1414" y="1431"/>
                    </a:lnTo>
                    <a:lnTo>
                      <a:pt x="4" y="23"/>
                    </a:lnTo>
                    <a:lnTo>
                      <a:pt x="1" y="18"/>
                    </a:lnTo>
                    <a:lnTo>
                      <a:pt x="0" y="14"/>
                    </a:lnTo>
                    <a:lnTo>
                      <a:pt x="1" y="8"/>
                    </a:lnTo>
                    <a:lnTo>
                      <a:pt x="4" y="4"/>
                    </a:lnTo>
                    <a:lnTo>
                      <a:pt x="9" y="1"/>
                    </a:lnTo>
                    <a:lnTo>
                      <a:pt x="14" y="0"/>
                    </a:lnTo>
                    <a:lnTo>
                      <a:pt x="20" y="1"/>
                    </a:lnTo>
                    <a:lnTo>
                      <a:pt x="24" y="4"/>
                    </a:lnTo>
                    <a:lnTo>
                      <a:pt x="1432" y="1413"/>
                    </a:lnTo>
                    <a:lnTo>
                      <a:pt x="1435" y="1417"/>
                    </a:lnTo>
                    <a:lnTo>
                      <a:pt x="1436" y="1422"/>
                    </a:lnTo>
                    <a:lnTo>
                      <a:pt x="1435" y="1427"/>
                    </a:lnTo>
                    <a:lnTo>
                      <a:pt x="1432" y="1431"/>
                    </a:lnTo>
                    <a:lnTo>
                      <a:pt x="1428" y="1434"/>
                    </a:lnTo>
                    <a:lnTo>
                      <a:pt x="1423" y="1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6"/>
              <p:cNvSpPr>
                <a:spLocks/>
              </p:cNvSpPr>
              <p:nvPr userDrawn="1"/>
            </p:nvSpPr>
            <p:spPr bwMode="auto">
              <a:xfrm>
                <a:off x="970" y="2617"/>
                <a:ext cx="345" cy="344"/>
              </a:xfrm>
              <a:custGeom>
                <a:avLst/>
                <a:gdLst>
                  <a:gd name="T0" fmla="*/ 1022 w 1035"/>
                  <a:gd name="T1" fmla="*/ 1034 h 1034"/>
                  <a:gd name="T2" fmla="*/ 1016 w 1035"/>
                  <a:gd name="T3" fmla="*/ 1033 h 1034"/>
                  <a:gd name="T4" fmla="*/ 1012 w 1035"/>
                  <a:gd name="T5" fmla="*/ 1031 h 1034"/>
                  <a:gd name="T6" fmla="*/ 4 w 1035"/>
                  <a:gd name="T7" fmla="*/ 23 h 1034"/>
                  <a:gd name="T8" fmla="*/ 1 w 1035"/>
                  <a:gd name="T9" fmla="*/ 18 h 1034"/>
                  <a:gd name="T10" fmla="*/ 0 w 1035"/>
                  <a:gd name="T11" fmla="*/ 14 h 1034"/>
                  <a:gd name="T12" fmla="*/ 1 w 1035"/>
                  <a:gd name="T13" fmla="*/ 8 h 1034"/>
                  <a:gd name="T14" fmla="*/ 4 w 1035"/>
                  <a:gd name="T15" fmla="*/ 4 h 1034"/>
                  <a:gd name="T16" fmla="*/ 9 w 1035"/>
                  <a:gd name="T17" fmla="*/ 1 h 1034"/>
                  <a:gd name="T18" fmla="*/ 14 w 1035"/>
                  <a:gd name="T19" fmla="*/ 0 h 1034"/>
                  <a:gd name="T20" fmla="*/ 20 w 1035"/>
                  <a:gd name="T21" fmla="*/ 1 h 1034"/>
                  <a:gd name="T22" fmla="*/ 24 w 1035"/>
                  <a:gd name="T23" fmla="*/ 4 h 1034"/>
                  <a:gd name="T24" fmla="*/ 1031 w 1035"/>
                  <a:gd name="T25" fmla="*/ 1011 h 1034"/>
                  <a:gd name="T26" fmla="*/ 1033 w 1035"/>
                  <a:gd name="T27" fmla="*/ 1016 h 1034"/>
                  <a:gd name="T28" fmla="*/ 1035 w 1035"/>
                  <a:gd name="T29" fmla="*/ 1021 h 1034"/>
                  <a:gd name="T30" fmla="*/ 1033 w 1035"/>
                  <a:gd name="T31" fmla="*/ 1026 h 1034"/>
                  <a:gd name="T32" fmla="*/ 1031 w 1035"/>
                  <a:gd name="T33" fmla="*/ 1031 h 1034"/>
                  <a:gd name="T34" fmla="*/ 1027 w 1035"/>
                  <a:gd name="T35" fmla="*/ 1033 h 1034"/>
                  <a:gd name="T36" fmla="*/ 1022 w 1035"/>
                  <a:gd name="T37" fmla="*/ 103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5" h="1034">
                    <a:moveTo>
                      <a:pt x="1022" y="1034"/>
                    </a:moveTo>
                    <a:lnTo>
                      <a:pt x="1016" y="1033"/>
                    </a:lnTo>
                    <a:lnTo>
                      <a:pt x="1012" y="1031"/>
                    </a:lnTo>
                    <a:lnTo>
                      <a:pt x="4" y="23"/>
                    </a:lnTo>
                    <a:lnTo>
                      <a:pt x="1" y="18"/>
                    </a:lnTo>
                    <a:lnTo>
                      <a:pt x="0" y="14"/>
                    </a:lnTo>
                    <a:lnTo>
                      <a:pt x="1" y="8"/>
                    </a:lnTo>
                    <a:lnTo>
                      <a:pt x="4" y="4"/>
                    </a:lnTo>
                    <a:lnTo>
                      <a:pt x="9" y="1"/>
                    </a:lnTo>
                    <a:lnTo>
                      <a:pt x="14" y="0"/>
                    </a:lnTo>
                    <a:lnTo>
                      <a:pt x="20" y="1"/>
                    </a:lnTo>
                    <a:lnTo>
                      <a:pt x="24" y="4"/>
                    </a:lnTo>
                    <a:lnTo>
                      <a:pt x="1031" y="1011"/>
                    </a:lnTo>
                    <a:lnTo>
                      <a:pt x="1033" y="1016"/>
                    </a:lnTo>
                    <a:lnTo>
                      <a:pt x="1035" y="1021"/>
                    </a:lnTo>
                    <a:lnTo>
                      <a:pt x="1033" y="1026"/>
                    </a:lnTo>
                    <a:lnTo>
                      <a:pt x="1031" y="1031"/>
                    </a:lnTo>
                    <a:lnTo>
                      <a:pt x="1027" y="1033"/>
                    </a:lnTo>
                    <a:lnTo>
                      <a:pt x="1022" y="10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7"/>
              <p:cNvSpPr>
                <a:spLocks/>
              </p:cNvSpPr>
              <p:nvPr userDrawn="1"/>
            </p:nvSpPr>
            <p:spPr bwMode="auto">
              <a:xfrm>
                <a:off x="0" y="3056"/>
                <a:ext cx="566" cy="834"/>
              </a:xfrm>
              <a:custGeom>
                <a:avLst/>
                <a:gdLst>
                  <a:gd name="T0" fmla="*/ 1134 w 1697"/>
                  <a:gd name="T1" fmla="*/ 2502 h 2502"/>
                  <a:gd name="T2" fmla="*/ 1128 w 1697"/>
                  <a:gd name="T3" fmla="*/ 2501 h 2502"/>
                  <a:gd name="T4" fmla="*/ 1125 w 1697"/>
                  <a:gd name="T5" fmla="*/ 2499 h 2502"/>
                  <a:gd name="T6" fmla="*/ 0 w 1697"/>
                  <a:gd name="T7" fmla="*/ 1467 h 2502"/>
                  <a:gd name="T8" fmla="*/ 0 w 1697"/>
                  <a:gd name="T9" fmla="*/ 1430 h 2502"/>
                  <a:gd name="T10" fmla="*/ 1125 w 1697"/>
                  <a:gd name="T11" fmla="*/ 2463 h 2502"/>
                  <a:gd name="T12" fmla="*/ 1666 w 1697"/>
                  <a:gd name="T13" fmla="*/ 33 h 2502"/>
                  <a:gd name="T14" fmla="*/ 0 w 1697"/>
                  <a:gd name="T15" fmla="*/ 557 h 2502"/>
                  <a:gd name="T16" fmla="*/ 0 w 1697"/>
                  <a:gd name="T17" fmla="*/ 529 h 2502"/>
                  <a:gd name="T18" fmla="*/ 1680 w 1697"/>
                  <a:gd name="T19" fmla="*/ 0 h 2502"/>
                  <a:gd name="T20" fmla="*/ 1683 w 1697"/>
                  <a:gd name="T21" fmla="*/ 0 h 2502"/>
                  <a:gd name="T22" fmla="*/ 1687 w 1697"/>
                  <a:gd name="T23" fmla="*/ 0 h 2502"/>
                  <a:gd name="T24" fmla="*/ 1690 w 1697"/>
                  <a:gd name="T25" fmla="*/ 1 h 2502"/>
                  <a:gd name="T26" fmla="*/ 1693 w 1697"/>
                  <a:gd name="T27" fmla="*/ 3 h 2502"/>
                  <a:gd name="T28" fmla="*/ 1695 w 1697"/>
                  <a:gd name="T29" fmla="*/ 6 h 2502"/>
                  <a:gd name="T30" fmla="*/ 1697 w 1697"/>
                  <a:gd name="T31" fmla="*/ 10 h 2502"/>
                  <a:gd name="T32" fmla="*/ 1697 w 1697"/>
                  <a:gd name="T33" fmla="*/ 13 h 2502"/>
                  <a:gd name="T34" fmla="*/ 1697 w 1697"/>
                  <a:gd name="T35" fmla="*/ 16 h 2502"/>
                  <a:gd name="T36" fmla="*/ 1147 w 1697"/>
                  <a:gd name="T37" fmla="*/ 2491 h 2502"/>
                  <a:gd name="T38" fmla="*/ 1146 w 1697"/>
                  <a:gd name="T39" fmla="*/ 2495 h 2502"/>
                  <a:gd name="T40" fmla="*/ 1144 w 1697"/>
                  <a:gd name="T41" fmla="*/ 2498 h 2502"/>
                  <a:gd name="T42" fmla="*/ 1141 w 1697"/>
                  <a:gd name="T43" fmla="*/ 2500 h 2502"/>
                  <a:gd name="T44" fmla="*/ 1138 w 1697"/>
                  <a:gd name="T45" fmla="*/ 2501 h 2502"/>
                  <a:gd name="T46" fmla="*/ 1136 w 1697"/>
                  <a:gd name="T47" fmla="*/ 2502 h 2502"/>
                  <a:gd name="T48" fmla="*/ 1134 w 1697"/>
                  <a:gd name="T49" fmla="*/ 2502 h 2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7" h="2502">
                    <a:moveTo>
                      <a:pt x="1134" y="2502"/>
                    </a:moveTo>
                    <a:lnTo>
                      <a:pt x="1128" y="2501"/>
                    </a:lnTo>
                    <a:lnTo>
                      <a:pt x="1125" y="2499"/>
                    </a:lnTo>
                    <a:lnTo>
                      <a:pt x="0" y="1467"/>
                    </a:lnTo>
                    <a:lnTo>
                      <a:pt x="0" y="1430"/>
                    </a:lnTo>
                    <a:lnTo>
                      <a:pt x="1125" y="2463"/>
                    </a:lnTo>
                    <a:lnTo>
                      <a:pt x="1666" y="33"/>
                    </a:lnTo>
                    <a:lnTo>
                      <a:pt x="0" y="557"/>
                    </a:lnTo>
                    <a:lnTo>
                      <a:pt x="0" y="529"/>
                    </a:lnTo>
                    <a:lnTo>
                      <a:pt x="1680" y="0"/>
                    </a:lnTo>
                    <a:lnTo>
                      <a:pt x="1683" y="0"/>
                    </a:lnTo>
                    <a:lnTo>
                      <a:pt x="1687" y="0"/>
                    </a:lnTo>
                    <a:lnTo>
                      <a:pt x="1690" y="1"/>
                    </a:lnTo>
                    <a:lnTo>
                      <a:pt x="1693" y="3"/>
                    </a:lnTo>
                    <a:lnTo>
                      <a:pt x="1695" y="6"/>
                    </a:lnTo>
                    <a:lnTo>
                      <a:pt x="1697" y="10"/>
                    </a:lnTo>
                    <a:lnTo>
                      <a:pt x="1697" y="13"/>
                    </a:lnTo>
                    <a:lnTo>
                      <a:pt x="1697" y="16"/>
                    </a:lnTo>
                    <a:lnTo>
                      <a:pt x="1147" y="2491"/>
                    </a:lnTo>
                    <a:lnTo>
                      <a:pt x="1146" y="2495"/>
                    </a:lnTo>
                    <a:lnTo>
                      <a:pt x="1144" y="2498"/>
                    </a:lnTo>
                    <a:lnTo>
                      <a:pt x="1141" y="2500"/>
                    </a:lnTo>
                    <a:lnTo>
                      <a:pt x="1138" y="2501"/>
                    </a:lnTo>
                    <a:lnTo>
                      <a:pt x="1136" y="2502"/>
                    </a:lnTo>
                    <a:lnTo>
                      <a:pt x="1134" y="2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8"/>
              <p:cNvSpPr>
                <a:spLocks/>
              </p:cNvSpPr>
              <p:nvPr userDrawn="1"/>
            </p:nvSpPr>
            <p:spPr bwMode="auto">
              <a:xfrm>
                <a:off x="362" y="3427"/>
                <a:ext cx="340" cy="340"/>
              </a:xfrm>
              <a:custGeom>
                <a:avLst/>
                <a:gdLst>
                  <a:gd name="T0" fmla="*/ 1009 w 1022"/>
                  <a:gd name="T1" fmla="*/ 1020 h 1020"/>
                  <a:gd name="T2" fmla="*/ 1003 w 1022"/>
                  <a:gd name="T3" fmla="*/ 1019 h 1020"/>
                  <a:gd name="T4" fmla="*/ 999 w 1022"/>
                  <a:gd name="T5" fmla="*/ 1017 h 1020"/>
                  <a:gd name="T6" fmla="*/ 5 w 1022"/>
                  <a:gd name="T7" fmla="*/ 22 h 1020"/>
                  <a:gd name="T8" fmla="*/ 1 w 1022"/>
                  <a:gd name="T9" fmla="*/ 18 h 1020"/>
                  <a:gd name="T10" fmla="*/ 0 w 1022"/>
                  <a:gd name="T11" fmla="*/ 13 h 1020"/>
                  <a:gd name="T12" fmla="*/ 1 w 1022"/>
                  <a:gd name="T13" fmla="*/ 7 h 1020"/>
                  <a:gd name="T14" fmla="*/ 5 w 1022"/>
                  <a:gd name="T15" fmla="*/ 3 h 1020"/>
                  <a:gd name="T16" fmla="*/ 9 w 1022"/>
                  <a:gd name="T17" fmla="*/ 0 h 1020"/>
                  <a:gd name="T18" fmla="*/ 14 w 1022"/>
                  <a:gd name="T19" fmla="*/ 0 h 1020"/>
                  <a:gd name="T20" fmla="*/ 20 w 1022"/>
                  <a:gd name="T21" fmla="*/ 0 h 1020"/>
                  <a:gd name="T22" fmla="*/ 24 w 1022"/>
                  <a:gd name="T23" fmla="*/ 3 h 1020"/>
                  <a:gd name="T24" fmla="*/ 1017 w 1022"/>
                  <a:gd name="T25" fmla="*/ 997 h 1020"/>
                  <a:gd name="T26" fmla="*/ 1021 w 1022"/>
                  <a:gd name="T27" fmla="*/ 1002 h 1020"/>
                  <a:gd name="T28" fmla="*/ 1022 w 1022"/>
                  <a:gd name="T29" fmla="*/ 1007 h 1020"/>
                  <a:gd name="T30" fmla="*/ 1021 w 1022"/>
                  <a:gd name="T31" fmla="*/ 1011 h 1020"/>
                  <a:gd name="T32" fmla="*/ 1017 w 1022"/>
                  <a:gd name="T33" fmla="*/ 1017 h 1020"/>
                  <a:gd name="T34" fmla="*/ 1013 w 1022"/>
                  <a:gd name="T35" fmla="*/ 1019 h 1020"/>
                  <a:gd name="T36" fmla="*/ 1009 w 1022"/>
                  <a:gd name="T37"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2" h="1020">
                    <a:moveTo>
                      <a:pt x="1009" y="1020"/>
                    </a:moveTo>
                    <a:lnTo>
                      <a:pt x="1003" y="1019"/>
                    </a:lnTo>
                    <a:lnTo>
                      <a:pt x="999" y="1017"/>
                    </a:lnTo>
                    <a:lnTo>
                      <a:pt x="5" y="22"/>
                    </a:lnTo>
                    <a:lnTo>
                      <a:pt x="1" y="18"/>
                    </a:lnTo>
                    <a:lnTo>
                      <a:pt x="0" y="13"/>
                    </a:lnTo>
                    <a:lnTo>
                      <a:pt x="1" y="7"/>
                    </a:lnTo>
                    <a:lnTo>
                      <a:pt x="5" y="3"/>
                    </a:lnTo>
                    <a:lnTo>
                      <a:pt x="9" y="0"/>
                    </a:lnTo>
                    <a:lnTo>
                      <a:pt x="14" y="0"/>
                    </a:lnTo>
                    <a:lnTo>
                      <a:pt x="20" y="0"/>
                    </a:lnTo>
                    <a:lnTo>
                      <a:pt x="24" y="3"/>
                    </a:lnTo>
                    <a:lnTo>
                      <a:pt x="1017" y="997"/>
                    </a:lnTo>
                    <a:lnTo>
                      <a:pt x="1021" y="1002"/>
                    </a:lnTo>
                    <a:lnTo>
                      <a:pt x="1022" y="1007"/>
                    </a:lnTo>
                    <a:lnTo>
                      <a:pt x="1021" y="1011"/>
                    </a:lnTo>
                    <a:lnTo>
                      <a:pt x="1017" y="1017"/>
                    </a:lnTo>
                    <a:lnTo>
                      <a:pt x="1013" y="1019"/>
                    </a:lnTo>
                    <a:lnTo>
                      <a:pt x="100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9"/>
              <p:cNvSpPr>
                <a:spLocks/>
              </p:cNvSpPr>
              <p:nvPr userDrawn="1"/>
            </p:nvSpPr>
            <p:spPr bwMode="auto">
              <a:xfrm>
                <a:off x="0" y="3049"/>
                <a:ext cx="548" cy="835"/>
              </a:xfrm>
              <a:custGeom>
                <a:avLst/>
                <a:gdLst>
                  <a:gd name="T0" fmla="*/ 1081 w 1645"/>
                  <a:gd name="T1" fmla="*/ 2503 h 2503"/>
                  <a:gd name="T2" fmla="*/ 1075 w 1645"/>
                  <a:gd name="T3" fmla="*/ 2502 h 2503"/>
                  <a:gd name="T4" fmla="*/ 1071 w 1645"/>
                  <a:gd name="T5" fmla="*/ 2499 h 2503"/>
                  <a:gd name="T6" fmla="*/ 0 w 1645"/>
                  <a:gd name="T7" fmla="*/ 1517 h 2503"/>
                  <a:gd name="T8" fmla="*/ 0 w 1645"/>
                  <a:gd name="T9" fmla="*/ 1480 h 2503"/>
                  <a:gd name="T10" fmla="*/ 1072 w 1645"/>
                  <a:gd name="T11" fmla="*/ 2464 h 2503"/>
                  <a:gd name="T12" fmla="*/ 1613 w 1645"/>
                  <a:gd name="T13" fmla="*/ 34 h 2503"/>
                  <a:gd name="T14" fmla="*/ 0 w 1645"/>
                  <a:gd name="T15" fmla="*/ 541 h 2503"/>
                  <a:gd name="T16" fmla="*/ 0 w 1645"/>
                  <a:gd name="T17" fmla="*/ 513 h 2503"/>
                  <a:gd name="T18" fmla="*/ 1627 w 1645"/>
                  <a:gd name="T19" fmla="*/ 1 h 2503"/>
                  <a:gd name="T20" fmla="*/ 1631 w 1645"/>
                  <a:gd name="T21" fmla="*/ 0 h 2503"/>
                  <a:gd name="T22" fmla="*/ 1634 w 1645"/>
                  <a:gd name="T23" fmla="*/ 0 h 2503"/>
                  <a:gd name="T24" fmla="*/ 1637 w 1645"/>
                  <a:gd name="T25" fmla="*/ 3 h 2503"/>
                  <a:gd name="T26" fmla="*/ 1640 w 1645"/>
                  <a:gd name="T27" fmla="*/ 4 h 2503"/>
                  <a:gd name="T28" fmla="*/ 1642 w 1645"/>
                  <a:gd name="T29" fmla="*/ 7 h 2503"/>
                  <a:gd name="T30" fmla="*/ 1643 w 1645"/>
                  <a:gd name="T31" fmla="*/ 10 h 2503"/>
                  <a:gd name="T32" fmla="*/ 1645 w 1645"/>
                  <a:gd name="T33" fmla="*/ 13 h 2503"/>
                  <a:gd name="T34" fmla="*/ 1645 w 1645"/>
                  <a:gd name="T35" fmla="*/ 17 h 2503"/>
                  <a:gd name="T36" fmla="*/ 1094 w 1645"/>
                  <a:gd name="T37" fmla="*/ 2493 h 2503"/>
                  <a:gd name="T38" fmla="*/ 1093 w 1645"/>
                  <a:gd name="T39" fmla="*/ 2496 h 2503"/>
                  <a:gd name="T40" fmla="*/ 1091 w 1645"/>
                  <a:gd name="T41" fmla="*/ 2498 h 2503"/>
                  <a:gd name="T42" fmla="*/ 1088 w 1645"/>
                  <a:gd name="T43" fmla="*/ 2500 h 2503"/>
                  <a:gd name="T44" fmla="*/ 1085 w 1645"/>
                  <a:gd name="T45" fmla="*/ 2503 h 2503"/>
                  <a:gd name="T46" fmla="*/ 1083 w 1645"/>
                  <a:gd name="T47" fmla="*/ 2503 h 2503"/>
                  <a:gd name="T48" fmla="*/ 1081 w 1645"/>
                  <a:gd name="T49" fmla="*/ 2503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5" h="2503">
                    <a:moveTo>
                      <a:pt x="1081" y="2503"/>
                    </a:moveTo>
                    <a:lnTo>
                      <a:pt x="1075" y="2502"/>
                    </a:lnTo>
                    <a:lnTo>
                      <a:pt x="1071" y="2499"/>
                    </a:lnTo>
                    <a:lnTo>
                      <a:pt x="0" y="1517"/>
                    </a:lnTo>
                    <a:lnTo>
                      <a:pt x="0" y="1480"/>
                    </a:lnTo>
                    <a:lnTo>
                      <a:pt x="1072" y="2464"/>
                    </a:lnTo>
                    <a:lnTo>
                      <a:pt x="1613" y="34"/>
                    </a:lnTo>
                    <a:lnTo>
                      <a:pt x="0" y="541"/>
                    </a:lnTo>
                    <a:lnTo>
                      <a:pt x="0" y="513"/>
                    </a:lnTo>
                    <a:lnTo>
                      <a:pt x="1627" y="1"/>
                    </a:lnTo>
                    <a:lnTo>
                      <a:pt x="1631" y="0"/>
                    </a:lnTo>
                    <a:lnTo>
                      <a:pt x="1634" y="0"/>
                    </a:lnTo>
                    <a:lnTo>
                      <a:pt x="1637" y="3"/>
                    </a:lnTo>
                    <a:lnTo>
                      <a:pt x="1640" y="4"/>
                    </a:lnTo>
                    <a:lnTo>
                      <a:pt x="1642" y="7"/>
                    </a:lnTo>
                    <a:lnTo>
                      <a:pt x="1643" y="10"/>
                    </a:lnTo>
                    <a:lnTo>
                      <a:pt x="1645" y="13"/>
                    </a:lnTo>
                    <a:lnTo>
                      <a:pt x="1645" y="17"/>
                    </a:lnTo>
                    <a:lnTo>
                      <a:pt x="1094" y="2493"/>
                    </a:lnTo>
                    <a:lnTo>
                      <a:pt x="1093" y="2496"/>
                    </a:lnTo>
                    <a:lnTo>
                      <a:pt x="1091" y="2498"/>
                    </a:lnTo>
                    <a:lnTo>
                      <a:pt x="1088" y="2500"/>
                    </a:lnTo>
                    <a:lnTo>
                      <a:pt x="1085" y="2503"/>
                    </a:lnTo>
                    <a:lnTo>
                      <a:pt x="1083" y="2503"/>
                    </a:lnTo>
                    <a:lnTo>
                      <a:pt x="1081" y="2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0"/>
              <p:cNvSpPr>
                <a:spLocks/>
              </p:cNvSpPr>
              <p:nvPr userDrawn="1"/>
            </p:nvSpPr>
            <p:spPr bwMode="auto">
              <a:xfrm>
                <a:off x="343" y="3427"/>
                <a:ext cx="341" cy="340"/>
              </a:xfrm>
              <a:custGeom>
                <a:avLst/>
                <a:gdLst>
                  <a:gd name="T0" fmla="*/ 1008 w 1022"/>
                  <a:gd name="T1" fmla="*/ 1020 h 1020"/>
                  <a:gd name="T2" fmla="*/ 1002 w 1022"/>
                  <a:gd name="T3" fmla="*/ 1019 h 1020"/>
                  <a:gd name="T4" fmla="*/ 998 w 1022"/>
                  <a:gd name="T5" fmla="*/ 1017 h 1020"/>
                  <a:gd name="T6" fmla="*/ 4 w 1022"/>
                  <a:gd name="T7" fmla="*/ 22 h 1020"/>
                  <a:gd name="T8" fmla="*/ 1 w 1022"/>
                  <a:gd name="T9" fmla="*/ 18 h 1020"/>
                  <a:gd name="T10" fmla="*/ 0 w 1022"/>
                  <a:gd name="T11" fmla="*/ 13 h 1020"/>
                  <a:gd name="T12" fmla="*/ 1 w 1022"/>
                  <a:gd name="T13" fmla="*/ 7 h 1020"/>
                  <a:gd name="T14" fmla="*/ 4 w 1022"/>
                  <a:gd name="T15" fmla="*/ 3 h 1020"/>
                  <a:gd name="T16" fmla="*/ 9 w 1022"/>
                  <a:gd name="T17" fmla="*/ 0 h 1020"/>
                  <a:gd name="T18" fmla="*/ 13 w 1022"/>
                  <a:gd name="T19" fmla="*/ 0 h 1020"/>
                  <a:gd name="T20" fmla="*/ 18 w 1022"/>
                  <a:gd name="T21" fmla="*/ 0 h 1020"/>
                  <a:gd name="T22" fmla="*/ 23 w 1022"/>
                  <a:gd name="T23" fmla="*/ 3 h 1020"/>
                  <a:gd name="T24" fmla="*/ 1017 w 1022"/>
                  <a:gd name="T25" fmla="*/ 997 h 1020"/>
                  <a:gd name="T26" fmla="*/ 1020 w 1022"/>
                  <a:gd name="T27" fmla="*/ 1002 h 1020"/>
                  <a:gd name="T28" fmla="*/ 1022 w 1022"/>
                  <a:gd name="T29" fmla="*/ 1007 h 1020"/>
                  <a:gd name="T30" fmla="*/ 1020 w 1022"/>
                  <a:gd name="T31" fmla="*/ 1011 h 1020"/>
                  <a:gd name="T32" fmla="*/ 1017 w 1022"/>
                  <a:gd name="T33" fmla="*/ 1017 h 1020"/>
                  <a:gd name="T34" fmla="*/ 1013 w 1022"/>
                  <a:gd name="T35" fmla="*/ 1019 h 1020"/>
                  <a:gd name="T36" fmla="*/ 1008 w 1022"/>
                  <a:gd name="T37"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2" h="1020">
                    <a:moveTo>
                      <a:pt x="1008" y="1020"/>
                    </a:moveTo>
                    <a:lnTo>
                      <a:pt x="1002" y="1019"/>
                    </a:lnTo>
                    <a:lnTo>
                      <a:pt x="998" y="1017"/>
                    </a:lnTo>
                    <a:lnTo>
                      <a:pt x="4" y="22"/>
                    </a:lnTo>
                    <a:lnTo>
                      <a:pt x="1" y="18"/>
                    </a:lnTo>
                    <a:lnTo>
                      <a:pt x="0" y="13"/>
                    </a:lnTo>
                    <a:lnTo>
                      <a:pt x="1" y="7"/>
                    </a:lnTo>
                    <a:lnTo>
                      <a:pt x="4" y="3"/>
                    </a:lnTo>
                    <a:lnTo>
                      <a:pt x="9" y="0"/>
                    </a:lnTo>
                    <a:lnTo>
                      <a:pt x="13" y="0"/>
                    </a:lnTo>
                    <a:lnTo>
                      <a:pt x="18" y="0"/>
                    </a:lnTo>
                    <a:lnTo>
                      <a:pt x="23" y="3"/>
                    </a:lnTo>
                    <a:lnTo>
                      <a:pt x="1017" y="997"/>
                    </a:lnTo>
                    <a:lnTo>
                      <a:pt x="1020" y="1002"/>
                    </a:lnTo>
                    <a:lnTo>
                      <a:pt x="1022" y="1007"/>
                    </a:lnTo>
                    <a:lnTo>
                      <a:pt x="1020" y="1011"/>
                    </a:lnTo>
                    <a:lnTo>
                      <a:pt x="1017" y="1017"/>
                    </a:lnTo>
                    <a:lnTo>
                      <a:pt x="1013" y="1019"/>
                    </a:lnTo>
                    <a:lnTo>
                      <a:pt x="1008"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1"/>
              <p:cNvSpPr>
                <a:spLocks/>
              </p:cNvSpPr>
              <p:nvPr userDrawn="1"/>
            </p:nvSpPr>
            <p:spPr bwMode="auto">
              <a:xfrm>
                <a:off x="3382" y="2897"/>
                <a:ext cx="553" cy="553"/>
              </a:xfrm>
              <a:custGeom>
                <a:avLst/>
                <a:gdLst>
                  <a:gd name="T0" fmla="*/ 1647 w 1660"/>
                  <a:gd name="T1" fmla="*/ 1659 h 1659"/>
                  <a:gd name="T2" fmla="*/ 1641 w 1660"/>
                  <a:gd name="T3" fmla="*/ 1658 h 1659"/>
                  <a:gd name="T4" fmla="*/ 1637 w 1660"/>
                  <a:gd name="T5" fmla="*/ 1656 h 1659"/>
                  <a:gd name="T6" fmla="*/ 4 w 1660"/>
                  <a:gd name="T7" fmla="*/ 23 h 1659"/>
                  <a:gd name="T8" fmla="*/ 1 w 1660"/>
                  <a:gd name="T9" fmla="*/ 19 h 1659"/>
                  <a:gd name="T10" fmla="*/ 0 w 1660"/>
                  <a:gd name="T11" fmla="*/ 14 h 1659"/>
                  <a:gd name="T12" fmla="*/ 1 w 1660"/>
                  <a:gd name="T13" fmla="*/ 8 h 1659"/>
                  <a:gd name="T14" fmla="*/ 4 w 1660"/>
                  <a:gd name="T15" fmla="*/ 4 h 1659"/>
                  <a:gd name="T16" fmla="*/ 9 w 1660"/>
                  <a:gd name="T17" fmla="*/ 1 h 1659"/>
                  <a:gd name="T18" fmla="*/ 14 w 1660"/>
                  <a:gd name="T19" fmla="*/ 0 h 1659"/>
                  <a:gd name="T20" fmla="*/ 18 w 1660"/>
                  <a:gd name="T21" fmla="*/ 1 h 1659"/>
                  <a:gd name="T22" fmla="*/ 24 w 1660"/>
                  <a:gd name="T23" fmla="*/ 4 h 1659"/>
                  <a:gd name="T24" fmla="*/ 1656 w 1660"/>
                  <a:gd name="T25" fmla="*/ 1636 h 1659"/>
                  <a:gd name="T26" fmla="*/ 1659 w 1660"/>
                  <a:gd name="T27" fmla="*/ 1641 h 1659"/>
                  <a:gd name="T28" fmla="*/ 1660 w 1660"/>
                  <a:gd name="T29" fmla="*/ 1646 h 1659"/>
                  <a:gd name="T30" fmla="*/ 1659 w 1660"/>
                  <a:gd name="T31" fmla="*/ 1650 h 1659"/>
                  <a:gd name="T32" fmla="*/ 1656 w 1660"/>
                  <a:gd name="T33" fmla="*/ 1656 h 1659"/>
                  <a:gd name="T34" fmla="*/ 1651 w 1660"/>
                  <a:gd name="T35" fmla="*/ 1658 h 1659"/>
                  <a:gd name="T36" fmla="*/ 1647 w 1660"/>
                  <a:gd name="T37" fmla="*/ 1659 h 1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60" h="1659">
                    <a:moveTo>
                      <a:pt x="1647" y="1659"/>
                    </a:moveTo>
                    <a:lnTo>
                      <a:pt x="1641" y="1658"/>
                    </a:lnTo>
                    <a:lnTo>
                      <a:pt x="1637" y="1656"/>
                    </a:lnTo>
                    <a:lnTo>
                      <a:pt x="4" y="23"/>
                    </a:lnTo>
                    <a:lnTo>
                      <a:pt x="1" y="19"/>
                    </a:lnTo>
                    <a:lnTo>
                      <a:pt x="0" y="14"/>
                    </a:lnTo>
                    <a:lnTo>
                      <a:pt x="1" y="8"/>
                    </a:lnTo>
                    <a:lnTo>
                      <a:pt x="4" y="4"/>
                    </a:lnTo>
                    <a:lnTo>
                      <a:pt x="9" y="1"/>
                    </a:lnTo>
                    <a:lnTo>
                      <a:pt x="14" y="0"/>
                    </a:lnTo>
                    <a:lnTo>
                      <a:pt x="18" y="1"/>
                    </a:lnTo>
                    <a:lnTo>
                      <a:pt x="24" y="4"/>
                    </a:lnTo>
                    <a:lnTo>
                      <a:pt x="1656" y="1636"/>
                    </a:lnTo>
                    <a:lnTo>
                      <a:pt x="1659" y="1641"/>
                    </a:lnTo>
                    <a:lnTo>
                      <a:pt x="1660" y="1646"/>
                    </a:lnTo>
                    <a:lnTo>
                      <a:pt x="1659" y="1650"/>
                    </a:lnTo>
                    <a:lnTo>
                      <a:pt x="1656" y="1656"/>
                    </a:lnTo>
                    <a:lnTo>
                      <a:pt x="1651" y="1658"/>
                    </a:lnTo>
                    <a:lnTo>
                      <a:pt x="1647" y="16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2"/>
              <p:cNvSpPr>
                <a:spLocks/>
              </p:cNvSpPr>
              <p:nvPr userDrawn="1"/>
            </p:nvSpPr>
            <p:spPr bwMode="auto">
              <a:xfrm>
                <a:off x="4095" y="3593"/>
                <a:ext cx="270" cy="269"/>
              </a:xfrm>
              <a:custGeom>
                <a:avLst/>
                <a:gdLst>
                  <a:gd name="T0" fmla="*/ 794 w 808"/>
                  <a:gd name="T1" fmla="*/ 808 h 808"/>
                  <a:gd name="T2" fmla="*/ 789 w 808"/>
                  <a:gd name="T3" fmla="*/ 807 h 808"/>
                  <a:gd name="T4" fmla="*/ 785 w 808"/>
                  <a:gd name="T5" fmla="*/ 804 h 808"/>
                  <a:gd name="T6" fmla="*/ 4 w 808"/>
                  <a:gd name="T7" fmla="*/ 24 h 808"/>
                  <a:gd name="T8" fmla="*/ 1 w 808"/>
                  <a:gd name="T9" fmla="*/ 19 h 808"/>
                  <a:gd name="T10" fmla="*/ 0 w 808"/>
                  <a:gd name="T11" fmla="*/ 14 h 808"/>
                  <a:gd name="T12" fmla="*/ 1 w 808"/>
                  <a:gd name="T13" fmla="*/ 9 h 808"/>
                  <a:gd name="T14" fmla="*/ 4 w 808"/>
                  <a:gd name="T15" fmla="*/ 5 h 808"/>
                  <a:gd name="T16" fmla="*/ 9 w 808"/>
                  <a:gd name="T17" fmla="*/ 2 h 808"/>
                  <a:gd name="T18" fmla="*/ 14 w 808"/>
                  <a:gd name="T19" fmla="*/ 0 h 808"/>
                  <a:gd name="T20" fmla="*/ 20 w 808"/>
                  <a:gd name="T21" fmla="*/ 2 h 808"/>
                  <a:gd name="T22" fmla="*/ 24 w 808"/>
                  <a:gd name="T23" fmla="*/ 5 h 808"/>
                  <a:gd name="T24" fmla="*/ 803 w 808"/>
                  <a:gd name="T25" fmla="*/ 784 h 808"/>
                  <a:gd name="T26" fmla="*/ 807 w 808"/>
                  <a:gd name="T27" fmla="*/ 790 h 808"/>
                  <a:gd name="T28" fmla="*/ 808 w 808"/>
                  <a:gd name="T29" fmla="*/ 794 h 808"/>
                  <a:gd name="T30" fmla="*/ 807 w 808"/>
                  <a:gd name="T31" fmla="*/ 799 h 808"/>
                  <a:gd name="T32" fmla="*/ 803 w 808"/>
                  <a:gd name="T33" fmla="*/ 804 h 808"/>
                  <a:gd name="T34" fmla="*/ 799 w 808"/>
                  <a:gd name="T35" fmla="*/ 807 h 808"/>
                  <a:gd name="T36" fmla="*/ 794 w 808"/>
                  <a:gd name="T37"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8" h="808">
                    <a:moveTo>
                      <a:pt x="794" y="808"/>
                    </a:moveTo>
                    <a:lnTo>
                      <a:pt x="789" y="807"/>
                    </a:lnTo>
                    <a:lnTo>
                      <a:pt x="785" y="804"/>
                    </a:lnTo>
                    <a:lnTo>
                      <a:pt x="4" y="24"/>
                    </a:lnTo>
                    <a:lnTo>
                      <a:pt x="1" y="19"/>
                    </a:lnTo>
                    <a:lnTo>
                      <a:pt x="0" y="14"/>
                    </a:lnTo>
                    <a:lnTo>
                      <a:pt x="1" y="9"/>
                    </a:lnTo>
                    <a:lnTo>
                      <a:pt x="4" y="5"/>
                    </a:lnTo>
                    <a:lnTo>
                      <a:pt x="9" y="2"/>
                    </a:lnTo>
                    <a:lnTo>
                      <a:pt x="14" y="0"/>
                    </a:lnTo>
                    <a:lnTo>
                      <a:pt x="20" y="2"/>
                    </a:lnTo>
                    <a:lnTo>
                      <a:pt x="24" y="5"/>
                    </a:lnTo>
                    <a:lnTo>
                      <a:pt x="803" y="784"/>
                    </a:lnTo>
                    <a:lnTo>
                      <a:pt x="807" y="790"/>
                    </a:lnTo>
                    <a:lnTo>
                      <a:pt x="808" y="794"/>
                    </a:lnTo>
                    <a:lnTo>
                      <a:pt x="807" y="799"/>
                    </a:lnTo>
                    <a:lnTo>
                      <a:pt x="803" y="804"/>
                    </a:lnTo>
                    <a:lnTo>
                      <a:pt x="799" y="807"/>
                    </a:lnTo>
                    <a:lnTo>
                      <a:pt x="794" y="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3"/>
              <p:cNvSpPr>
                <a:spLocks/>
              </p:cNvSpPr>
              <p:nvPr userDrawn="1"/>
            </p:nvSpPr>
            <p:spPr bwMode="auto">
              <a:xfrm>
                <a:off x="4667" y="1876"/>
                <a:ext cx="412" cy="412"/>
              </a:xfrm>
              <a:custGeom>
                <a:avLst/>
                <a:gdLst>
                  <a:gd name="T0" fmla="*/ 1227 w 1236"/>
                  <a:gd name="T1" fmla="*/ 1236 h 1236"/>
                  <a:gd name="T2" fmla="*/ 1223 w 1236"/>
                  <a:gd name="T3" fmla="*/ 1235 h 1236"/>
                  <a:gd name="T4" fmla="*/ 1220 w 1236"/>
                  <a:gd name="T5" fmla="*/ 1233 h 1236"/>
                  <a:gd name="T6" fmla="*/ 3 w 1236"/>
                  <a:gd name="T7" fmla="*/ 16 h 1236"/>
                  <a:gd name="T8" fmla="*/ 1 w 1236"/>
                  <a:gd name="T9" fmla="*/ 13 h 1236"/>
                  <a:gd name="T10" fmla="*/ 0 w 1236"/>
                  <a:gd name="T11" fmla="*/ 10 h 1236"/>
                  <a:gd name="T12" fmla="*/ 1 w 1236"/>
                  <a:gd name="T13" fmla="*/ 7 h 1236"/>
                  <a:gd name="T14" fmla="*/ 3 w 1236"/>
                  <a:gd name="T15" fmla="*/ 4 h 1236"/>
                  <a:gd name="T16" fmla="*/ 6 w 1236"/>
                  <a:gd name="T17" fmla="*/ 1 h 1236"/>
                  <a:gd name="T18" fmla="*/ 10 w 1236"/>
                  <a:gd name="T19" fmla="*/ 0 h 1236"/>
                  <a:gd name="T20" fmla="*/ 13 w 1236"/>
                  <a:gd name="T21" fmla="*/ 1 h 1236"/>
                  <a:gd name="T22" fmla="*/ 16 w 1236"/>
                  <a:gd name="T23" fmla="*/ 4 h 1236"/>
                  <a:gd name="T24" fmla="*/ 1233 w 1236"/>
                  <a:gd name="T25" fmla="*/ 1220 h 1236"/>
                  <a:gd name="T26" fmla="*/ 1235 w 1236"/>
                  <a:gd name="T27" fmla="*/ 1223 h 1236"/>
                  <a:gd name="T28" fmla="*/ 1236 w 1236"/>
                  <a:gd name="T29" fmla="*/ 1227 h 1236"/>
                  <a:gd name="T30" fmla="*/ 1235 w 1236"/>
                  <a:gd name="T31" fmla="*/ 1230 h 1236"/>
                  <a:gd name="T32" fmla="*/ 1233 w 1236"/>
                  <a:gd name="T33" fmla="*/ 1233 h 1236"/>
                  <a:gd name="T34" fmla="*/ 1230 w 1236"/>
                  <a:gd name="T35" fmla="*/ 1235 h 1236"/>
                  <a:gd name="T36" fmla="*/ 1227 w 1236"/>
                  <a:gd name="T37" fmla="*/ 1236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6" h="1236">
                    <a:moveTo>
                      <a:pt x="1227" y="1236"/>
                    </a:moveTo>
                    <a:lnTo>
                      <a:pt x="1223" y="1235"/>
                    </a:lnTo>
                    <a:lnTo>
                      <a:pt x="1220" y="1233"/>
                    </a:lnTo>
                    <a:lnTo>
                      <a:pt x="3" y="16"/>
                    </a:lnTo>
                    <a:lnTo>
                      <a:pt x="1" y="13"/>
                    </a:lnTo>
                    <a:lnTo>
                      <a:pt x="0" y="10"/>
                    </a:lnTo>
                    <a:lnTo>
                      <a:pt x="1" y="7"/>
                    </a:lnTo>
                    <a:lnTo>
                      <a:pt x="3" y="4"/>
                    </a:lnTo>
                    <a:lnTo>
                      <a:pt x="6" y="1"/>
                    </a:lnTo>
                    <a:lnTo>
                      <a:pt x="10" y="0"/>
                    </a:lnTo>
                    <a:lnTo>
                      <a:pt x="13" y="1"/>
                    </a:lnTo>
                    <a:lnTo>
                      <a:pt x="16" y="4"/>
                    </a:lnTo>
                    <a:lnTo>
                      <a:pt x="1233" y="1220"/>
                    </a:lnTo>
                    <a:lnTo>
                      <a:pt x="1235" y="1223"/>
                    </a:lnTo>
                    <a:lnTo>
                      <a:pt x="1236" y="1227"/>
                    </a:lnTo>
                    <a:lnTo>
                      <a:pt x="1235" y="1230"/>
                    </a:lnTo>
                    <a:lnTo>
                      <a:pt x="1233" y="1233"/>
                    </a:lnTo>
                    <a:lnTo>
                      <a:pt x="1230" y="1235"/>
                    </a:lnTo>
                    <a:lnTo>
                      <a:pt x="1227" y="1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4"/>
              <p:cNvSpPr>
                <a:spLocks/>
              </p:cNvSpPr>
              <p:nvPr userDrawn="1"/>
            </p:nvSpPr>
            <p:spPr bwMode="auto">
              <a:xfrm>
                <a:off x="155" y="2075"/>
                <a:ext cx="232" cy="232"/>
              </a:xfrm>
              <a:custGeom>
                <a:avLst/>
                <a:gdLst>
                  <a:gd name="T0" fmla="*/ 685 w 698"/>
                  <a:gd name="T1" fmla="*/ 697 h 697"/>
                  <a:gd name="T2" fmla="*/ 680 w 698"/>
                  <a:gd name="T3" fmla="*/ 696 h 697"/>
                  <a:gd name="T4" fmla="*/ 675 w 698"/>
                  <a:gd name="T5" fmla="*/ 694 h 697"/>
                  <a:gd name="T6" fmla="*/ 4 w 698"/>
                  <a:gd name="T7" fmla="*/ 23 h 697"/>
                  <a:gd name="T8" fmla="*/ 1 w 698"/>
                  <a:gd name="T9" fmla="*/ 18 h 697"/>
                  <a:gd name="T10" fmla="*/ 0 w 698"/>
                  <a:gd name="T11" fmla="*/ 13 h 697"/>
                  <a:gd name="T12" fmla="*/ 1 w 698"/>
                  <a:gd name="T13" fmla="*/ 8 h 697"/>
                  <a:gd name="T14" fmla="*/ 4 w 698"/>
                  <a:gd name="T15" fmla="*/ 3 h 697"/>
                  <a:gd name="T16" fmla="*/ 9 w 698"/>
                  <a:gd name="T17" fmla="*/ 1 h 697"/>
                  <a:gd name="T18" fmla="*/ 13 w 698"/>
                  <a:gd name="T19" fmla="*/ 0 h 697"/>
                  <a:gd name="T20" fmla="*/ 19 w 698"/>
                  <a:gd name="T21" fmla="*/ 1 h 697"/>
                  <a:gd name="T22" fmla="*/ 23 w 698"/>
                  <a:gd name="T23" fmla="*/ 3 h 697"/>
                  <a:gd name="T24" fmla="*/ 695 w 698"/>
                  <a:gd name="T25" fmla="*/ 675 h 697"/>
                  <a:gd name="T26" fmla="*/ 698 w 698"/>
                  <a:gd name="T27" fmla="*/ 679 h 697"/>
                  <a:gd name="T28" fmla="*/ 698 w 698"/>
                  <a:gd name="T29" fmla="*/ 684 h 697"/>
                  <a:gd name="T30" fmla="*/ 698 w 698"/>
                  <a:gd name="T31" fmla="*/ 690 h 697"/>
                  <a:gd name="T32" fmla="*/ 695 w 698"/>
                  <a:gd name="T33" fmla="*/ 694 h 697"/>
                  <a:gd name="T34" fmla="*/ 690 w 698"/>
                  <a:gd name="T35" fmla="*/ 696 h 697"/>
                  <a:gd name="T36" fmla="*/ 685 w 698"/>
                  <a:gd name="T37"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8" h="697">
                    <a:moveTo>
                      <a:pt x="685" y="697"/>
                    </a:moveTo>
                    <a:lnTo>
                      <a:pt x="680" y="696"/>
                    </a:lnTo>
                    <a:lnTo>
                      <a:pt x="675" y="694"/>
                    </a:lnTo>
                    <a:lnTo>
                      <a:pt x="4" y="23"/>
                    </a:lnTo>
                    <a:lnTo>
                      <a:pt x="1" y="18"/>
                    </a:lnTo>
                    <a:lnTo>
                      <a:pt x="0" y="13"/>
                    </a:lnTo>
                    <a:lnTo>
                      <a:pt x="1" y="8"/>
                    </a:lnTo>
                    <a:lnTo>
                      <a:pt x="4" y="3"/>
                    </a:lnTo>
                    <a:lnTo>
                      <a:pt x="9" y="1"/>
                    </a:lnTo>
                    <a:lnTo>
                      <a:pt x="13" y="0"/>
                    </a:lnTo>
                    <a:lnTo>
                      <a:pt x="19" y="1"/>
                    </a:lnTo>
                    <a:lnTo>
                      <a:pt x="23" y="3"/>
                    </a:lnTo>
                    <a:lnTo>
                      <a:pt x="695" y="675"/>
                    </a:lnTo>
                    <a:lnTo>
                      <a:pt x="698" y="679"/>
                    </a:lnTo>
                    <a:lnTo>
                      <a:pt x="698" y="684"/>
                    </a:lnTo>
                    <a:lnTo>
                      <a:pt x="698" y="690"/>
                    </a:lnTo>
                    <a:lnTo>
                      <a:pt x="695" y="694"/>
                    </a:lnTo>
                    <a:lnTo>
                      <a:pt x="690" y="696"/>
                    </a:lnTo>
                    <a:lnTo>
                      <a:pt x="685" y="6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5"/>
              <p:cNvSpPr>
                <a:spLocks/>
              </p:cNvSpPr>
              <p:nvPr userDrawn="1"/>
            </p:nvSpPr>
            <p:spPr bwMode="auto">
              <a:xfrm>
                <a:off x="3057" y="2939"/>
                <a:ext cx="233" cy="233"/>
              </a:xfrm>
              <a:custGeom>
                <a:avLst/>
                <a:gdLst>
                  <a:gd name="T0" fmla="*/ 685 w 697"/>
                  <a:gd name="T1" fmla="*/ 698 h 698"/>
                  <a:gd name="T2" fmla="*/ 679 w 697"/>
                  <a:gd name="T3" fmla="*/ 697 h 698"/>
                  <a:gd name="T4" fmla="*/ 675 w 697"/>
                  <a:gd name="T5" fmla="*/ 694 h 698"/>
                  <a:gd name="T6" fmla="*/ 3 w 697"/>
                  <a:gd name="T7" fmla="*/ 24 h 698"/>
                  <a:gd name="T8" fmla="*/ 1 w 697"/>
                  <a:gd name="T9" fmla="*/ 18 h 698"/>
                  <a:gd name="T10" fmla="*/ 0 w 697"/>
                  <a:gd name="T11" fmla="*/ 14 h 698"/>
                  <a:gd name="T12" fmla="*/ 1 w 697"/>
                  <a:gd name="T13" fmla="*/ 9 h 698"/>
                  <a:gd name="T14" fmla="*/ 3 w 697"/>
                  <a:gd name="T15" fmla="*/ 4 h 698"/>
                  <a:gd name="T16" fmla="*/ 9 w 697"/>
                  <a:gd name="T17" fmla="*/ 1 h 698"/>
                  <a:gd name="T18" fmla="*/ 13 w 697"/>
                  <a:gd name="T19" fmla="*/ 0 h 698"/>
                  <a:gd name="T20" fmla="*/ 18 w 697"/>
                  <a:gd name="T21" fmla="*/ 1 h 698"/>
                  <a:gd name="T22" fmla="*/ 23 w 697"/>
                  <a:gd name="T23" fmla="*/ 4 h 698"/>
                  <a:gd name="T24" fmla="*/ 694 w 697"/>
                  <a:gd name="T25" fmla="*/ 676 h 698"/>
                  <a:gd name="T26" fmla="*/ 697 w 697"/>
                  <a:gd name="T27" fmla="*/ 680 h 698"/>
                  <a:gd name="T28" fmla="*/ 697 w 697"/>
                  <a:gd name="T29" fmla="*/ 684 h 698"/>
                  <a:gd name="T30" fmla="*/ 697 w 697"/>
                  <a:gd name="T31" fmla="*/ 690 h 698"/>
                  <a:gd name="T32" fmla="*/ 694 w 697"/>
                  <a:gd name="T33" fmla="*/ 694 h 698"/>
                  <a:gd name="T34" fmla="*/ 690 w 697"/>
                  <a:gd name="T35" fmla="*/ 697 h 698"/>
                  <a:gd name="T36" fmla="*/ 685 w 697"/>
                  <a:gd name="T37"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7" h="698">
                    <a:moveTo>
                      <a:pt x="685" y="698"/>
                    </a:moveTo>
                    <a:lnTo>
                      <a:pt x="679" y="697"/>
                    </a:lnTo>
                    <a:lnTo>
                      <a:pt x="675" y="694"/>
                    </a:lnTo>
                    <a:lnTo>
                      <a:pt x="3" y="24"/>
                    </a:lnTo>
                    <a:lnTo>
                      <a:pt x="1" y="18"/>
                    </a:lnTo>
                    <a:lnTo>
                      <a:pt x="0" y="14"/>
                    </a:lnTo>
                    <a:lnTo>
                      <a:pt x="1" y="9"/>
                    </a:lnTo>
                    <a:lnTo>
                      <a:pt x="3" y="4"/>
                    </a:lnTo>
                    <a:lnTo>
                      <a:pt x="9" y="1"/>
                    </a:lnTo>
                    <a:lnTo>
                      <a:pt x="13" y="0"/>
                    </a:lnTo>
                    <a:lnTo>
                      <a:pt x="18" y="1"/>
                    </a:lnTo>
                    <a:lnTo>
                      <a:pt x="23" y="4"/>
                    </a:lnTo>
                    <a:lnTo>
                      <a:pt x="694" y="676"/>
                    </a:lnTo>
                    <a:lnTo>
                      <a:pt x="697" y="680"/>
                    </a:lnTo>
                    <a:lnTo>
                      <a:pt x="697" y="684"/>
                    </a:lnTo>
                    <a:lnTo>
                      <a:pt x="697" y="690"/>
                    </a:lnTo>
                    <a:lnTo>
                      <a:pt x="694" y="694"/>
                    </a:lnTo>
                    <a:lnTo>
                      <a:pt x="690" y="697"/>
                    </a:lnTo>
                    <a:lnTo>
                      <a:pt x="685" y="6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6"/>
              <p:cNvSpPr>
                <a:spLocks noEditPoints="1"/>
              </p:cNvSpPr>
              <p:nvPr userDrawn="1"/>
            </p:nvSpPr>
            <p:spPr bwMode="auto">
              <a:xfrm>
                <a:off x="233" y="2717"/>
                <a:ext cx="202" cy="204"/>
              </a:xfrm>
              <a:custGeom>
                <a:avLst/>
                <a:gdLst>
                  <a:gd name="T0" fmla="*/ 449 w 604"/>
                  <a:gd name="T1" fmla="*/ 612 h 612"/>
                  <a:gd name="T2" fmla="*/ 444 w 604"/>
                  <a:gd name="T3" fmla="*/ 611 h 612"/>
                  <a:gd name="T4" fmla="*/ 439 w 604"/>
                  <a:gd name="T5" fmla="*/ 609 h 612"/>
                  <a:gd name="T6" fmla="*/ 4 w 604"/>
                  <a:gd name="T7" fmla="*/ 193 h 612"/>
                  <a:gd name="T8" fmla="*/ 2 w 604"/>
                  <a:gd name="T9" fmla="*/ 191 h 612"/>
                  <a:gd name="T10" fmla="*/ 0 w 604"/>
                  <a:gd name="T11" fmla="*/ 188 h 612"/>
                  <a:gd name="T12" fmla="*/ 0 w 604"/>
                  <a:gd name="T13" fmla="*/ 184 h 612"/>
                  <a:gd name="T14" fmla="*/ 0 w 604"/>
                  <a:gd name="T15" fmla="*/ 180 h 612"/>
                  <a:gd name="T16" fmla="*/ 1 w 604"/>
                  <a:gd name="T17" fmla="*/ 177 h 612"/>
                  <a:gd name="T18" fmla="*/ 3 w 604"/>
                  <a:gd name="T19" fmla="*/ 175 h 612"/>
                  <a:gd name="T20" fmla="*/ 6 w 604"/>
                  <a:gd name="T21" fmla="*/ 173 h 612"/>
                  <a:gd name="T22" fmla="*/ 9 w 604"/>
                  <a:gd name="T23" fmla="*/ 170 h 612"/>
                  <a:gd name="T24" fmla="*/ 586 w 604"/>
                  <a:gd name="T25" fmla="*/ 1 h 612"/>
                  <a:gd name="T26" fmla="*/ 590 w 604"/>
                  <a:gd name="T27" fmla="*/ 0 h 612"/>
                  <a:gd name="T28" fmla="*/ 594 w 604"/>
                  <a:gd name="T29" fmla="*/ 1 h 612"/>
                  <a:gd name="T30" fmla="*/ 597 w 604"/>
                  <a:gd name="T31" fmla="*/ 2 h 612"/>
                  <a:gd name="T32" fmla="*/ 600 w 604"/>
                  <a:gd name="T33" fmla="*/ 4 h 612"/>
                  <a:gd name="T34" fmla="*/ 602 w 604"/>
                  <a:gd name="T35" fmla="*/ 6 h 612"/>
                  <a:gd name="T36" fmla="*/ 603 w 604"/>
                  <a:gd name="T37" fmla="*/ 10 h 612"/>
                  <a:gd name="T38" fmla="*/ 604 w 604"/>
                  <a:gd name="T39" fmla="*/ 14 h 612"/>
                  <a:gd name="T40" fmla="*/ 603 w 604"/>
                  <a:gd name="T41" fmla="*/ 17 h 612"/>
                  <a:gd name="T42" fmla="*/ 462 w 604"/>
                  <a:gd name="T43" fmla="*/ 601 h 612"/>
                  <a:gd name="T44" fmla="*/ 461 w 604"/>
                  <a:gd name="T45" fmla="*/ 604 h 612"/>
                  <a:gd name="T46" fmla="*/ 459 w 604"/>
                  <a:gd name="T47" fmla="*/ 608 h 612"/>
                  <a:gd name="T48" fmla="*/ 456 w 604"/>
                  <a:gd name="T49" fmla="*/ 610 h 612"/>
                  <a:gd name="T50" fmla="*/ 453 w 604"/>
                  <a:gd name="T51" fmla="*/ 611 h 612"/>
                  <a:gd name="T52" fmla="*/ 451 w 604"/>
                  <a:gd name="T53" fmla="*/ 612 h 612"/>
                  <a:gd name="T54" fmla="*/ 449 w 604"/>
                  <a:gd name="T55" fmla="*/ 612 h 612"/>
                  <a:gd name="T56" fmla="*/ 40 w 604"/>
                  <a:gd name="T57" fmla="*/ 190 h 612"/>
                  <a:gd name="T58" fmla="*/ 40 w 604"/>
                  <a:gd name="T59" fmla="*/ 190 h 612"/>
                  <a:gd name="T60" fmla="*/ 441 w 604"/>
                  <a:gd name="T61" fmla="*/ 572 h 612"/>
                  <a:gd name="T62" fmla="*/ 572 w 604"/>
                  <a:gd name="T63" fmla="*/ 33 h 612"/>
                  <a:gd name="T64" fmla="*/ 40 w 604"/>
                  <a:gd name="T65" fmla="*/ 190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4" h="612">
                    <a:moveTo>
                      <a:pt x="449" y="612"/>
                    </a:moveTo>
                    <a:lnTo>
                      <a:pt x="444" y="611"/>
                    </a:lnTo>
                    <a:lnTo>
                      <a:pt x="439" y="609"/>
                    </a:lnTo>
                    <a:lnTo>
                      <a:pt x="4" y="193"/>
                    </a:lnTo>
                    <a:lnTo>
                      <a:pt x="2" y="191"/>
                    </a:lnTo>
                    <a:lnTo>
                      <a:pt x="0" y="188"/>
                    </a:lnTo>
                    <a:lnTo>
                      <a:pt x="0" y="184"/>
                    </a:lnTo>
                    <a:lnTo>
                      <a:pt x="0" y="180"/>
                    </a:lnTo>
                    <a:lnTo>
                      <a:pt x="1" y="177"/>
                    </a:lnTo>
                    <a:lnTo>
                      <a:pt x="3" y="175"/>
                    </a:lnTo>
                    <a:lnTo>
                      <a:pt x="6" y="173"/>
                    </a:lnTo>
                    <a:lnTo>
                      <a:pt x="9" y="170"/>
                    </a:lnTo>
                    <a:lnTo>
                      <a:pt x="586" y="1"/>
                    </a:lnTo>
                    <a:lnTo>
                      <a:pt x="590" y="0"/>
                    </a:lnTo>
                    <a:lnTo>
                      <a:pt x="594" y="1"/>
                    </a:lnTo>
                    <a:lnTo>
                      <a:pt x="597" y="2"/>
                    </a:lnTo>
                    <a:lnTo>
                      <a:pt x="600" y="4"/>
                    </a:lnTo>
                    <a:lnTo>
                      <a:pt x="602" y="6"/>
                    </a:lnTo>
                    <a:lnTo>
                      <a:pt x="603" y="10"/>
                    </a:lnTo>
                    <a:lnTo>
                      <a:pt x="604" y="14"/>
                    </a:lnTo>
                    <a:lnTo>
                      <a:pt x="603" y="17"/>
                    </a:lnTo>
                    <a:lnTo>
                      <a:pt x="462" y="601"/>
                    </a:lnTo>
                    <a:lnTo>
                      <a:pt x="461" y="604"/>
                    </a:lnTo>
                    <a:lnTo>
                      <a:pt x="459" y="608"/>
                    </a:lnTo>
                    <a:lnTo>
                      <a:pt x="456" y="610"/>
                    </a:lnTo>
                    <a:lnTo>
                      <a:pt x="453" y="611"/>
                    </a:lnTo>
                    <a:lnTo>
                      <a:pt x="451" y="612"/>
                    </a:lnTo>
                    <a:lnTo>
                      <a:pt x="449" y="612"/>
                    </a:lnTo>
                    <a:close/>
                    <a:moveTo>
                      <a:pt x="40" y="190"/>
                    </a:moveTo>
                    <a:lnTo>
                      <a:pt x="40" y="190"/>
                    </a:lnTo>
                    <a:lnTo>
                      <a:pt x="441" y="572"/>
                    </a:lnTo>
                    <a:lnTo>
                      <a:pt x="572" y="33"/>
                    </a:lnTo>
                    <a:lnTo>
                      <a:pt x="40"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7"/>
              <p:cNvSpPr>
                <a:spLocks noEditPoints="1"/>
              </p:cNvSpPr>
              <p:nvPr userDrawn="1"/>
            </p:nvSpPr>
            <p:spPr bwMode="auto">
              <a:xfrm>
                <a:off x="40" y="1958"/>
                <a:ext cx="267" cy="271"/>
              </a:xfrm>
              <a:custGeom>
                <a:avLst/>
                <a:gdLst>
                  <a:gd name="T0" fmla="*/ 600 w 803"/>
                  <a:gd name="T1" fmla="*/ 813 h 813"/>
                  <a:gd name="T2" fmla="*/ 595 w 803"/>
                  <a:gd name="T3" fmla="*/ 812 h 813"/>
                  <a:gd name="T4" fmla="*/ 590 w 803"/>
                  <a:gd name="T5" fmla="*/ 809 h 813"/>
                  <a:gd name="T6" fmla="*/ 4 w 803"/>
                  <a:gd name="T7" fmla="*/ 252 h 813"/>
                  <a:gd name="T8" fmla="*/ 2 w 803"/>
                  <a:gd name="T9" fmla="*/ 249 h 813"/>
                  <a:gd name="T10" fmla="*/ 1 w 803"/>
                  <a:gd name="T11" fmla="*/ 245 h 813"/>
                  <a:gd name="T12" fmla="*/ 0 w 803"/>
                  <a:gd name="T13" fmla="*/ 242 h 813"/>
                  <a:gd name="T14" fmla="*/ 1 w 803"/>
                  <a:gd name="T15" fmla="*/ 239 h 813"/>
                  <a:gd name="T16" fmla="*/ 2 w 803"/>
                  <a:gd name="T17" fmla="*/ 236 h 813"/>
                  <a:gd name="T18" fmla="*/ 4 w 803"/>
                  <a:gd name="T19" fmla="*/ 232 h 813"/>
                  <a:gd name="T20" fmla="*/ 6 w 803"/>
                  <a:gd name="T21" fmla="*/ 230 h 813"/>
                  <a:gd name="T22" fmla="*/ 9 w 803"/>
                  <a:gd name="T23" fmla="*/ 229 h 813"/>
                  <a:gd name="T24" fmla="*/ 786 w 803"/>
                  <a:gd name="T25" fmla="*/ 0 h 813"/>
                  <a:gd name="T26" fmla="*/ 789 w 803"/>
                  <a:gd name="T27" fmla="*/ 0 h 813"/>
                  <a:gd name="T28" fmla="*/ 793 w 803"/>
                  <a:gd name="T29" fmla="*/ 0 h 813"/>
                  <a:gd name="T30" fmla="*/ 797 w 803"/>
                  <a:gd name="T31" fmla="*/ 1 h 813"/>
                  <a:gd name="T32" fmla="*/ 799 w 803"/>
                  <a:gd name="T33" fmla="*/ 3 h 813"/>
                  <a:gd name="T34" fmla="*/ 801 w 803"/>
                  <a:gd name="T35" fmla="*/ 7 h 813"/>
                  <a:gd name="T36" fmla="*/ 803 w 803"/>
                  <a:gd name="T37" fmla="*/ 10 h 813"/>
                  <a:gd name="T38" fmla="*/ 803 w 803"/>
                  <a:gd name="T39" fmla="*/ 13 h 813"/>
                  <a:gd name="T40" fmla="*/ 803 w 803"/>
                  <a:gd name="T41" fmla="*/ 16 h 813"/>
                  <a:gd name="T42" fmla="*/ 613 w 803"/>
                  <a:gd name="T43" fmla="*/ 802 h 813"/>
                  <a:gd name="T44" fmla="*/ 611 w 803"/>
                  <a:gd name="T45" fmla="*/ 806 h 813"/>
                  <a:gd name="T46" fmla="*/ 610 w 803"/>
                  <a:gd name="T47" fmla="*/ 809 h 813"/>
                  <a:gd name="T48" fmla="*/ 607 w 803"/>
                  <a:gd name="T49" fmla="*/ 811 h 813"/>
                  <a:gd name="T50" fmla="*/ 603 w 803"/>
                  <a:gd name="T51" fmla="*/ 812 h 813"/>
                  <a:gd name="T52" fmla="*/ 601 w 803"/>
                  <a:gd name="T53" fmla="*/ 813 h 813"/>
                  <a:gd name="T54" fmla="*/ 600 w 803"/>
                  <a:gd name="T55" fmla="*/ 813 h 813"/>
                  <a:gd name="T56" fmla="*/ 40 w 803"/>
                  <a:gd name="T57" fmla="*/ 249 h 813"/>
                  <a:gd name="T58" fmla="*/ 40 w 803"/>
                  <a:gd name="T59" fmla="*/ 249 h 813"/>
                  <a:gd name="T60" fmla="*/ 592 w 803"/>
                  <a:gd name="T61" fmla="*/ 773 h 813"/>
                  <a:gd name="T62" fmla="*/ 771 w 803"/>
                  <a:gd name="T63" fmla="*/ 33 h 813"/>
                  <a:gd name="T64" fmla="*/ 40 w 803"/>
                  <a:gd name="T65" fmla="*/ 249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3" h="813">
                    <a:moveTo>
                      <a:pt x="600" y="813"/>
                    </a:moveTo>
                    <a:lnTo>
                      <a:pt x="595" y="812"/>
                    </a:lnTo>
                    <a:lnTo>
                      <a:pt x="590" y="809"/>
                    </a:lnTo>
                    <a:lnTo>
                      <a:pt x="4" y="252"/>
                    </a:lnTo>
                    <a:lnTo>
                      <a:pt x="2" y="249"/>
                    </a:lnTo>
                    <a:lnTo>
                      <a:pt x="1" y="245"/>
                    </a:lnTo>
                    <a:lnTo>
                      <a:pt x="0" y="242"/>
                    </a:lnTo>
                    <a:lnTo>
                      <a:pt x="1" y="239"/>
                    </a:lnTo>
                    <a:lnTo>
                      <a:pt x="2" y="236"/>
                    </a:lnTo>
                    <a:lnTo>
                      <a:pt x="4" y="232"/>
                    </a:lnTo>
                    <a:lnTo>
                      <a:pt x="6" y="230"/>
                    </a:lnTo>
                    <a:lnTo>
                      <a:pt x="9" y="229"/>
                    </a:lnTo>
                    <a:lnTo>
                      <a:pt x="786" y="0"/>
                    </a:lnTo>
                    <a:lnTo>
                      <a:pt x="789" y="0"/>
                    </a:lnTo>
                    <a:lnTo>
                      <a:pt x="793" y="0"/>
                    </a:lnTo>
                    <a:lnTo>
                      <a:pt x="797" y="1"/>
                    </a:lnTo>
                    <a:lnTo>
                      <a:pt x="799" y="3"/>
                    </a:lnTo>
                    <a:lnTo>
                      <a:pt x="801" y="7"/>
                    </a:lnTo>
                    <a:lnTo>
                      <a:pt x="803" y="10"/>
                    </a:lnTo>
                    <a:lnTo>
                      <a:pt x="803" y="13"/>
                    </a:lnTo>
                    <a:lnTo>
                      <a:pt x="803" y="16"/>
                    </a:lnTo>
                    <a:lnTo>
                      <a:pt x="613" y="802"/>
                    </a:lnTo>
                    <a:lnTo>
                      <a:pt x="611" y="806"/>
                    </a:lnTo>
                    <a:lnTo>
                      <a:pt x="610" y="809"/>
                    </a:lnTo>
                    <a:lnTo>
                      <a:pt x="607" y="811"/>
                    </a:lnTo>
                    <a:lnTo>
                      <a:pt x="603" y="812"/>
                    </a:lnTo>
                    <a:lnTo>
                      <a:pt x="601" y="813"/>
                    </a:lnTo>
                    <a:lnTo>
                      <a:pt x="600" y="813"/>
                    </a:lnTo>
                    <a:close/>
                    <a:moveTo>
                      <a:pt x="40" y="249"/>
                    </a:moveTo>
                    <a:lnTo>
                      <a:pt x="40" y="249"/>
                    </a:lnTo>
                    <a:lnTo>
                      <a:pt x="592" y="773"/>
                    </a:lnTo>
                    <a:lnTo>
                      <a:pt x="771" y="33"/>
                    </a:lnTo>
                    <a:lnTo>
                      <a:pt x="40"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8"/>
              <p:cNvSpPr>
                <a:spLocks/>
              </p:cNvSpPr>
              <p:nvPr userDrawn="1"/>
            </p:nvSpPr>
            <p:spPr bwMode="auto">
              <a:xfrm>
                <a:off x="396" y="1386"/>
                <a:ext cx="232" cy="233"/>
              </a:xfrm>
              <a:custGeom>
                <a:avLst/>
                <a:gdLst>
                  <a:gd name="T0" fmla="*/ 684 w 697"/>
                  <a:gd name="T1" fmla="*/ 698 h 698"/>
                  <a:gd name="T2" fmla="*/ 679 w 697"/>
                  <a:gd name="T3" fmla="*/ 697 h 698"/>
                  <a:gd name="T4" fmla="*/ 675 w 697"/>
                  <a:gd name="T5" fmla="*/ 694 h 698"/>
                  <a:gd name="T6" fmla="*/ 3 w 697"/>
                  <a:gd name="T7" fmla="*/ 24 h 698"/>
                  <a:gd name="T8" fmla="*/ 1 w 697"/>
                  <a:gd name="T9" fmla="*/ 19 h 698"/>
                  <a:gd name="T10" fmla="*/ 0 w 697"/>
                  <a:gd name="T11" fmla="*/ 14 h 698"/>
                  <a:gd name="T12" fmla="*/ 1 w 697"/>
                  <a:gd name="T13" fmla="*/ 9 h 698"/>
                  <a:gd name="T14" fmla="*/ 3 w 697"/>
                  <a:gd name="T15" fmla="*/ 4 h 698"/>
                  <a:gd name="T16" fmla="*/ 7 w 697"/>
                  <a:gd name="T17" fmla="*/ 1 h 698"/>
                  <a:gd name="T18" fmla="*/ 13 w 697"/>
                  <a:gd name="T19" fmla="*/ 0 h 698"/>
                  <a:gd name="T20" fmla="*/ 18 w 697"/>
                  <a:gd name="T21" fmla="*/ 1 h 698"/>
                  <a:gd name="T22" fmla="*/ 22 w 697"/>
                  <a:gd name="T23" fmla="*/ 4 h 698"/>
                  <a:gd name="T24" fmla="*/ 694 w 697"/>
                  <a:gd name="T25" fmla="*/ 676 h 698"/>
                  <a:gd name="T26" fmla="*/ 696 w 697"/>
                  <a:gd name="T27" fmla="*/ 680 h 698"/>
                  <a:gd name="T28" fmla="*/ 697 w 697"/>
                  <a:gd name="T29" fmla="*/ 685 h 698"/>
                  <a:gd name="T30" fmla="*/ 696 w 697"/>
                  <a:gd name="T31" fmla="*/ 690 h 698"/>
                  <a:gd name="T32" fmla="*/ 694 w 697"/>
                  <a:gd name="T33" fmla="*/ 694 h 698"/>
                  <a:gd name="T34" fmla="*/ 690 w 697"/>
                  <a:gd name="T35" fmla="*/ 697 h 698"/>
                  <a:gd name="T36" fmla="*/ 684 w 697"/>
                  <a:gd name="T37"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7" h="698">
                    <a:moveTo>
                      <a:pt x="684" y="698"/>
                    </a:moveTo>
                    <a:lnTo>
                      <a:pt x="679" y="697"/>
                    </a:lnTo>
                    <a:lnTo>
                      <a:pt x="675" y="694"/>
                    </a:lnTo>
                    <a:lnTo>
                      <a:pt x="3" y="24"/>
                    </a:lnTo>
                    <a:lnTo>
                      <a:pt x="1" y="19"/>
                    </a:lnTo>
                    <a:lnTo>
                      <a:pt x="0" y="14"/>
                    </a:lnTo>
                    <a:lnTo>
                      <a:pt x="1" y="9"/>
                    </a:lnTo>
                    <a:lnTo>
                      <a:pt x="3" y="4"/>
                    </a:lnTo>
                    <a:lnTo>
                      <a:pt x="7" y="1"/>
                    </a:lnTo>
                    <a:lnTo>
                      <a:pt x="13" y="0"/>
                    </a:lnTo>
                    <a:lnTo>
                      <a:pt x="18" y="1"/>
                    </a:lnTo>
                    <a:lnTo>
                      <a:pt x="22" y="4"/>
                    </a:lnTo>
                    <a:lnTo>
                      <a:pt x="694" y="676"/>
                    </a:lnTo>
                    <a:lnTo>
                      <a:pt x="696" y="680"/>
                    </a:lnTo>
                    <a:lnTo>
                      <a:pt x="697" y="685"/>
                    </a:lnTo>
                    <a:lnTo>
                      <a:pt x="696" y="690"/>
                    </a:lnTo>
                    <a:lnTo>
                      <a:pt x="694" y="694"/>
                    </a:lnTo>
                    <a:lnTo>
                      <a:pt x="690" y="697"/>
                    </a:lnTo>
                    <a:lnTo>
                      <a:pt x="684" y="6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9"/>
              <p:cNvSpPr>
                <a:spLocks noEditPoints="1"/>
              </p:cNvSpPr>
              <p:nvPr userDrawn="1"/>
            </p:nvSpPr>
            <p:spPr bwMode="auto">
              <a:xfrm>
                <a:off x="280" y="1269"/>
                <a:ext cx="268" cy="272"/>
              </a:xfrm>
              <a:custGeom>
                <a:avLst/>
                <a:gdLst>
                  <a:gd name="T0" fmla="*/ 599 w 804"/>
                  <a:gd name="T1" fmla="*/ 814 h 814"/>
                  <a:gd name="T2" fmla="*/ 595 w 804"/>
                  <a:gd name="T3" fmla="*/ 813 h 814"/>
                  <a:gd name="T4" fmla="*/ 591 w 804"/>
                  <a:gd name="T5" fmla="*/ 810 h 814"/>
                  <a:gd name="T6" fmla="*/ 4 w 804"/>
                  <a:gd name="T7" fmla="*/ 252 h 814"/>
                  <a:gd name="T8" fmla="*/ 2 w 804"/>
                  <a:gd name="T9" fmla="*/ 250 h 814"/>
                  <a:gd name="T10" fmla="*/ 1 w 804"/>
                  <a:gd name="T11" fmla="*/ 246 h 814"/>
                  <a:gd name="T12" fmla="*/ 0 w 804"/>
                  <a:gd name="T13" fmla="*/ 243 h 814"/>
                  <a:gd name="T14" fmla="*/ 1 w 804"/>
                  <a:gd name="T15" fmla="*/ 239 h 814"/>
                  <a:gd name="T16" fmla="*/ 2 w 804"/>
                  <a:gd name="T17" fmla="*/ 236 h 814"/>
                  <a:gd name="T18" fmla="*/ 4 w 804"/>
                  <a:gd name="T19" fmla="*/ 233 h 814"/>
                  <a:gd name="T20" fmla="*/ 7 w 804"/>
                  <a:gd name="T21" fmla="*/ 231 h 814"/>
                  <a:gd name="T22" fmla="*/ 10 w 804"/>
                  <a:gd name="T23" fmla="*/ 229 h 814"/>
                  <a:gd name="T24" fmla="*/ 786 w 804"/>
                  <a:gd name="T25" fmla="*/ 1 h 814"/>
                  <a:gd name="T26" fmla="*/ 790 w 804"/>
                  <a:gd name="T27" fmla="*/ 0 h 814"/>
                  <a:gd name="T28" fmla="*/ 793 w 804"/>
                  <a:gd name="T29" fmla="*/ 1 h 814"/>
                  <a:gd name="T30" fmla="*/ 797 w 804"/>
                  <a:gd name="T31" fmla="*/ 2 h 814"/>
                  <a:gd name="T32" fmla="*/ 799 w 804"/>
                  <a:gd name="T33" fmla="*/ 5 h 814"/>
                  <a:gd name="T34" fmla="*/ 801 w 804"/>
                  <a:gd name="T35" fmla="*/ 7 h 814"/>
                  <a:gd name="T36" fmla="*/ 804 w 804"/>
                  <a:gd name="T37" fmla="*/ 10 h 814"/>
                  <a:gd name="T38" fmla="*/ 804 w 804"/>
                  <a:gd name="T39" fmla="*/ 13 h 814"/>
                  <a:gd name="T40" fmla="*/ 804 w 804"/>
                  <a:gd name="T41" fmla="*/ 17 h 814"/>
                  <a:gd name="T42" fmla="*/ 614 w 804"/>
                  <a:gd name="T43" fmla="*/ 803 h 814"/>
                  <a:gd name="T44" fmla="*/ 611 w 804"/>
                  <a:gd name="T45" fmla="*/ 807 h 814"/>
                  <a:gd name="T46" fmla="*/ 609 w 804"/>
                  <a:gd name="T47" fmla="*/ 810 h 814"/>
                  <a:gd name="T48" fmla="*/ 607 w 804"/>
                  <a:gd name="T49" fmla="*/ 812 h 814"/>
                  <a:gd name="T50" fmla="*/ 604 w 804"/>
                  <a:gd name="T51" fmla="*/ 813 h 814"/>
                  <a:gd name="T52" fmla="*/ 602 w 804"/>
                  <a:gd name="T53" fmla="*/ 813 h 814"/>
                  <a:gd name="T54" fmla="*/ 599 w 804"/>
                  <a:gd name="T55" fmla="*/ 814 h 814"/>
                  <a:gd name="T56" fmla="*/ 40 w 804"/>
                  <a:gd name="T57" fmla="*/ 248 h 814"/>
                  <a:gd name="T58" fmla="*/ 40 w 804"/>
                  <a:gd name="T59" fmla="*/ 248 h 814"/>
                  <a:gd name="T60" fmla="*/ 592 w 804"/>
                  <a:gd name="T61" fmla="*/ 774 h 814"/>
                  <a:gd name="T62" fmla="*/ 771 w 804"/>
                  <a:gd name="T63" fmla="*/ 34 h 814"/>
                  <a:gd name="T64" fmla="*/ 40 w 804"/>
                  <a:gd name="T65" fmla="*/ 248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4" h="814">
                    <a:moveTo>
                      <a:pt x="599" y="814"/>
                    </a:moveTo>
                    <a:lnTo>
                      <a:pt x="595" y="813"/>
                    </a:lnTo>
                    <a:lnTo>
                      <a:pt x="591" y="810"/>
                    </a:lnTo>
                    <a:lnTo>
                      <a:pt x="4" y="252"/>
                    </a:lnTo>
                    <a:lnTo>
                      <a:pt x="2" y="250"/>
                    </a:lnTo>
                    <a:lnTo>
                      <a:pt x="1" y="246"/>
                    </a:lnTo>
                    <a:lnTo>
                      <a:pt x="0" y="243"/>
                    </a:lnTo>
                    <a:lnTo>
                      <a:pt x="1" y="239"/>
                    </a:lnTo>
                    <a:lnTo>
                      <a:pt x="2" y="236"/>
                    </a:lnTo>
                    <a:lnTo>
                      <a:pt x="4" y="233"/>
                    </a:lnTo>
                    <a:lnTo>
                      <a:pt x="7" y="231"/>
                    </a:lnTo>
                    <a:lnTo>
                      <a:pt x="10" y="229"/>
                    </a:lnTo>
                    <a:lnTo>
                      <a:pt x="786" y="1"/>
                    </a:lnTo>
                    <a:lnTo>
                      <a:pt x="790" y="0"/>
                    </a:lnTo>
                    <a:lnTo>
                      <a:pt x="793" y="1"/>
                    </a:lnTo>
                    <a:lnTo>
                      <a:pt x="797" y="2"/>
                    </a:lnTo>
                    <a:lnTo>
                      <a:pt x="799" y="5"/>
                    </a:lnTo>
                    <a:lnTo>
                      <a:pt x="801" y="7"/>
                    </a:lnTo>
                    <a:lnTo>
                      <a:pt x="804" y="10"/>
                    </a:lnTo>
                    <a:lnTo>
                      <a:pt x="804" y="13"/>
                    </a:lnTo>
                    <a:lnTo>
                      <a:pt x="804" y="17"/>
                    </a:lnTo>
                    <a:lnTo>
                      <a:pt x="614" y="803"/>
                    </a:lnTo>
                    <a:lnTo>
                      <a:pt x="611" y="807"/>
                    </a:lnTo>
                    <a:lnTo>
                      <a:pt x="609" y="810"/>
                    </a:lnTo>
                    <a:lnTo>
                      <a:pt x="607" y="812"/>
                    </a:lnTo>
                    <a:lnTo>
                      <a:pt x="604" y="813"/>
                    </a:lnTo>
                    <a:lnTo>
                      <a:pt x="602" y="813"/>
                    </a:lnTo>
                    <a:lnTo>
                      <a:pt x="599" y="814"/>
                    </a:lnTo>
                    <a:close/>
                    <a:moveTo>
                      <a:pt x="40" y="248"/>
                    </a:moveTo>
                    <a:lnTo>
                      <a:pt x="40" y="248"/>
                    </a:lnTo>
                    <a:lnTo>
                      <a:pt x="592" y="774"/>
                    </a:lnTo>
                    <a:lnTo>
                      <a:pt x="771" y="34"/>
                    </a:lnTo>
                    <a:lnTo>
                      <a:pt x="40"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0"/>
              <p:cNvSpPr>
                <a:spLocks noEditPoints="1"/>
              </p:cNvSpPr>
              <p:nvPr userDrawn="1"/>
            </p:nvSpPr>
            <p:spPr bwMode="auto">
              <a:xfrm>
                <a:off x="341" y="1101"/>
                <a:ext cx="306" cy="321"/>
              </a:xfrm>
              <a:custGeom>
                <a:avLst/>
                <a:gdLst>
                  <a:gd name="T0" fmla="*/ 744 w 919"/>
                  <a:gd name="T1" fmla="*/ 963 h 963"/>
                  <a:gd name="T2" fmla="*/ 739 w 919"/>
                  <a:gd name="T3" fmla="*/ 962 h 963"/>
                  <a:gd name="T4" fmla="*/ 735 w 919"/>
                  <a:gd name="T5" fmla="*/ 960 h 963"/>
                  <a:gd name="T6" fmla="*/ 5 w 919"/>
                  <a:gd name="T7" fmla="*/ 353 h 963"/>
                  <a:gd name="T8" fmla="*/ 3 w 919"/>
                  <a:gd name="T9" fmla="*/ 350 h 963"/>
                  <a:gd name="T10" fmla="*/ 1 w 919"/>
                  <a:gd name="T11" fmla="*/ 346 h 963"/>
                  <a:gd name="T12" fmla="*/ 0 w 919"/>
                  <a:gd name="T13" fmla="*/ 343 h 963"/>
                  <a:gd name="T14" fmla="*/ 1 w 919"/>
                  <a:gd name="T15" fmla="*/ 340 h 963"/>
                  <a:gd name="T16" fmla="*/ 2 w 919"/>
                  <a:gd name="T17" fmla="*/ 337 h 963"/>
                  <a:gd name="T18" fmla="*/ 3 w 919"/>
                  <a:gd name="T19" fmla="*/ 334 h 963"/>
                  <a:gd name="T20" fmla="*/ 6 w 919"/>
                  <a:gd name="T21" fmla="*/ 331 h 963"/>
                  <a:gd name="T22" fmla="*/ 9 w 919"/>
                  <a:gd name="T23" fmla="*/ 329 h 963"/>
                  <a:gd name="T24" fmla="*/ 900 w 919"/>
                  <a:gd name="T25" fmla="*/ 1 h 963"/>
                  <a:gd name="T26" fmla="*/ 903 w 919"/>
                  <a:gd name="T27" fmla="*/ 0 h 963"/>
                  <a:gd name="T28" fmla="*/ 907 w 919"/>
                  <a:gd name="T29" fmla="*/ 0 h 963"/>
                  <a:gd name="T30" fmla="*/ 910 w 919"/>
                  <a:gd name="T31" fmla="*/ 1 h 963"/>
                  <a:gd name="T32" fmla="*/ 913 w 919"/>
                  <a:gd name="T33" fmla="*/ 3 h 963"/>
                  <a:gd name="T34" fmla="*/ 915 w 919"/>
                  <a:gd name="T35" fmla="*/ 5 h 963"/>
                  <a:gd name="T36" fmla="*/ 917 w 919"/>
                  <a:gd name="T37" fmla="*/ 9 h 963"/>
                  <a:gd name="T38" fmla="*/ 919 w 919"/>
                  <a:gd name="T39" fmla="*/ 12 h 963"/>
                  <a:gd name="T40" fmla="*/ 919 w 919"/>
                  <a:gd name="T41" fmla="*/ 16 h 963"/>
                  <a:gd name="T42" fmla="*/ 758 w 919"/>
                  <a:gd name="T43" fmla="*/ 952 h 963"/>
                  <a:gd name="T44" fmla="*/ 757 w 919"/>
                  <a:gd name="T45" fmla="*/ 955 h 963"/>
                  <a:gd name="T46" fmla="*/ 754 w 919"/>
                  <a:gd name="T47" fmla="*/ 959 h 963"/>
                  <a:gd name="T48" fmla="*/ 752 w 919"/>
                  <a:gd name="T49" fmla="*/ 961 h 963"/>
                  <a:gd name="T50" fmla="*/ 749 w 919"/>
                  <a:gd name="T51" fmla="*/ 962 h 963"/>
                  <a:gd name="T52" fmla="*/ 746 w 919"/>
                  <a:gd name="T53" fmla="*/ 963 h 963"/>
                  <a:gd name="T54" fmla="*/ 744 w 919"/>
                  <a:gd name="T55" fmla="*/ 963 h 963"/>
                  <a:gd name="T56" fmla="*/ 41 w 919"/>
                  <a:gd name="T57" fmla="*/ 346 h 963"/>
                  <a:gd name="T58" fmla="*/ 41 w 919"/>
                  <a:gd name="T59" fmla="*/ 346 h 963"/>
                  <a:gd name="T60" fmla="*/ 735 w 919"/>
                  <a:gd name="T61" fmla="*/ 924 h 963"/>
                  <a:gd name="T62" fmla="*/ 887 w 919"/>
                  <a:gd name="T63" fmla="*/ 35 h 963"/>
                  <a:gd name="T64" fmla="*/ 41 w 919"/>
                  <a:gd name="T65" fmla="*/ 3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9" h="963">
                    <a:moveTo>
                      <a:pt x="744" y="963"/>
                    </a:moveTo>
                    <a:lnTo>
                      <a:pt x="739" y="962"/>
                    </a:lnTo>
                    <a:lnTo>
                      <a:pt x="735" y="960"/>
                    </a:lnTo>
                    <a:lnTo>
                      <a:pt x="5" y="353"/>
                    </a:lnTo>
                    <a:lnTo>
                      <a:pt x="3" y="350"/>
                    </a:lnTo>
                    <a:lnTo>
                      <a:pt x="1" y="346"/>
                    </a:lnTo>
                    <a:lnTo>
                      <a:pt x="0" y="343"/>
                    </a:lnTo>
                    <a:lnTo>
                      <a:pt x="1" y="340"/>
                    </a:lnTo>
                    <a:lnTo>
                      <a:pt x="2" y="337"/>
                    </a:lnTo>
                    <a:lnTo>
                      <a:pt x="3" y="334"/>
                    </a:lnTo>
                    <a:lnTo>
                      <a:pt x="6" y="331"/>
                    </a:lnTo>
                    <a:lnTo>
                      <a:pt x="9" y="329"/>
                    </a:lnTo>
                    <a:lnTo>
                      <a:pt x="900" y="1"/>
                    </a:lnTo>
                    <a:lnTo>
                      <a:pt x="903" y="0"/>
                    </a:lnTo>
                    <a:lnTo>
                      <a:pt x="907" y="0"/>
                    </a:lnTo>
                    <a:lnTo>
                      <a:pt x="910" y="1"/>
                    </a:lnTo>
                    <a:lnTo>
                      <a:pt x="913" y="3"/>
                    </a:lnTo>
                    <a:lnTo>
                      <a:pt x="915" y="5"/>
                    </a:lnTo>
                    <a:lnTo>
                      <a:pt x="917" y="9"/>
                    </a:lnTo>
                    <a:lnTo>
                      <a:pt x="919" y="12"/>
                    </a:lnTo>
                    <a:lnTo>
                      <a:pt x="919" y="16"/>
                    </a:lnTo>
                    <a:lnTo>
                      <a:pt x="758" y="952"/>
                    </a:lnTo>
                    <a:lnTo>
                      <a:pt x="757" y="955"/>
                    </a:lnTo>
                    <a:lnTo>
                      <a:pt x="754" y="959"/>
                    </a:lnTo>
                    <a:lnTo>
                      <a:pt x="752" y="961"/>
                    </a:lnTo>
                    <a:lnTo>
                      <a:pt x="749" y="962"/>
                    </a:lnTo>
                    <a:lnTo>
                      <a:pt x="746" y="963"/>
                    </a:lnTo>
                    <a:lnTo>
                      <a:pt x="744" y="963"/>
                    </a:lnTo>
                    <a:close/>
                    <a:moveTo>
                      <a:pt x="41" y="346"/>
                    </a:moveTo>
                    <a:lnTo>
                      <a:pt x="41" y="346"/>
                    </a:lnTo>
                    <a:lnTo>
                      <a:pt x="735" y="924"/>
                    </a:lnTo>
                    <a:lnTo>
                      <a:pt x="887" y="35"/>
                    </a:lnTo>
                    <a:lnTo>
                      <a:pt x="41"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1"/>
              <p:cNvSpPr>
                <a:spLocks noEditPoints="1"/>
              </p:cNvSpPr>
              <p:nvPr userDrawn="1"/>
            </p:nvSpPr>
            <p:spPr bwMode="auto">
              <a:xfrm>
                <a:off x="332" y="1092"/>
                <a:ext cx="306" cy="321"/>
              </a:xfrm>
              <a:custGeom>
                <a:avLst/>
                <a:gdLst>
                  <a:gd name="T0" fmla="*/ 744 w 919"/>
                  <a:gd name="T1" fmla="*/ 963 h 963"/>
                  <a:gd name="T2" fmla="*/ 739 w 919"/>
                  <a:gd name="T3" fmla="*/ 962 h 963"/>
                  <a:gd name="T4" fmla="*/ 735 w 919"/>
                  <a:gd name="T5" fmla="*/ 960 h 963"/>
                  <a:gd name="T6" fmla="*/ 5 w 919"/>
                  <a:gd name="T7" fmla="*/ 353 h 963"/>
                  <a:gd name="T8" fmla="*/ 3 w 919"/>
                  <a:gd name="T9" fmla="*/ 350 h 963"/>
                  <a:gd name="T10" fmla="*/ 1 w 919"/>
                  <a:gd name="T11" fmla="*/ 347 h 963"/>
                  <a:gd name="T12" fmla="*/ 0 w 919"/>
                  <a:gd name="T13" fmla="*/ 343 h 963"/>
                  <a:gd name="T14" fmla="*/ 1 w 919"/>
                  <a:gd name="T15" fmla="*/ 340 h 963"/>
                  <a:gd name="T16" fmla="*/ 2 w 919"/>
                  <a:gd name="T17" fmla="*/ 337 h 963"/>
                  <a:gd name="T18" fmla="*/ 3 w 919"/>
                  <a:gd name="T19" fmla="*/ 334 h 963"/>
                  <a:gd name="T20" fmla="*/ 6 w 919"/>
                  <a:gd name="T21" fmla="*/ 331 h 963"/>
                  <a:gd name="T22" fmla="*/ 9 w 919"/>
                  <a:gd name="T23" fmla="*/ 329 h 963"/>
                  <a:gd name="T24" fmla="*/ 900 w 919"/>
                  <a:gd name="T25" fmla="*/ 1 h 963"/>
                  <a:gd name="T26" fmla="*/ 903 w 919"/>
                  <a:gd name="T27" fmla="*/ 0 h 963"/>
                  <a:gd name="T28" fmla="*/ 907 w 919"/>
                  <a:gd name="T29" fmla="*/ 0 h 963"/>
                  <a:gd name="T30" fmla="*/ 910 w 919"/>
                  <a:gd name="T31" fmla="*/ 1 h 963"/>
                  <a:gd name="T32" fmla="*/ 913 w 919"/>
                  <a:gd name="T33" fmla="*/ 3 h 963"/>
                  <a:gd name="T34" fmla="*/ 915 w 919"/>
                  <a:gd name="T35" fmla="*/ 5 h 963"/>
                  <a:gd name="T36" fmla="*/ 917 w 919"/>
                  <a:gd name="T37" fmla="*/ 9 h 963"/>
                  <a:gd name="T38" fmla="*/ 919 w 919"/>
                  <a:gd name="T39" fmla="*/ 12 h 963"/>
                  <a:gd name="T40" fmla="*/ 917 w 919"/>
                  <a:gd name="T41" fmla="*/ 16 h 963"/>
                  <a:gd name="T42" fmla="*/ 758 w 919"/>
                  <a:gd name="T43" fmla="*/ 952 h 963"/>
                  <a:gd name="T44" fmla="*/ 757 w 919"/>
                  <a:gd name="T45" fmla="*/ 955 h 963"/>
                  <a:gd name="T46" fmla="*/ 754 w 919"/>
                  <a:gd name="T47" fmla="*/ 959 h 963"/>
                  <a:gd name="T48" fmla="*/ 751 w 919"/>
                  <a:gd name="T49" fmla="*/ 961 h 963"/>
                  <a:gd name="T50" fmla="*/ 749 w 919"/>
                  <a:gd name="T51" fmla="*/ 962 h 963"/>
                  <a:gd name="T52" fmla="*/ 746 w 919"/>
                  <a:gd name="T53" fmla="*/ 963 h 963"/>
                  <a:gd name="T54" fmla="*/ 744 w 919"/>
                  <a:gd name="T55" fmla="*/ 963 h 963"/>
                  <a:gd name="T56" fmla="*/ 41 w 919"/>
                  <a:gd name="T57" fmla="*/ 347 h 963"/>
                  <a:gd name="T58" fmla="*/ 41 w 919"/>
                  <a:gd name="T59" fmla="*/ 347 h 963"/>
                  <a:gd name="T60" fmla="*/ 735 w 919"/>
                  <a:gd name="T61" fmla="*/ 924 h 963"/>
                  <a:gd name="T62" fmla="*/ 887 w 919"/>
                  <a:gd name="T63" fmla="*/ 35 h 963"/>
                  <a:gd name="T64" fmla="*/ 41 w 919"/>
                  <a:gd name="T65" fmla="*/ 347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9" h="963">
                    <a:moveTo>
                      <a:pt x="744" y="963"/>
                    </a:moveTo>
                    <a:lnTo>
                      <a:pt x="739" y="962"/>
                    </a:lnTo>
                    <a:lnTo>
                      <a:pt x="735" y="960"/>
                    </a:lnTo>
                    <a:lnTo>
                      <a:pt x="5" y="353"/>
                    </a:lnTo>
                    <a:lnTo>
                      <a:pt x="3" y="350"/>
                    </a:lnTo>
                    <a:lnTo>
                      <a:pt x="1" y="347"/>
                    </a:lnTo>
                    <a:lnTo>
                      <a:pt x="0" y="343"/>
                    </a:lnTo>
                    <a:lnTo>
                      <a:pt x="1" y="340"/>
                    </a:lnTo>
                    <a:lnTo>
                      <a:pt x="2" y="337"/>
                    </a:lnTo>
                    <a:lnTo>
                      <a:pt x="3" y="334"/>
                    </a:lnTo>
                    <a:lnTo>
                      <a:pt x="6" y="331"/>
                    </a:lnTo>
                    <a:lnTo>
                      <a:pt x="9" y="329"/>
                    </a:lnTo>
                    <a:lnTo>
                      <a:pt x="900" y="1"/>
                    </a:lnTo>
                    <a:lnTo>
                      <a:pt x="903" y="0"/>
                    </a:lnTo>
                    <a:lnTo>
                      <a:pt x="907" y="0"/>
                    </a:lnTo>
                    <a:lnTo>
                      <a:pt x="910" y="1"/>
                    </a:lnTo>
                    <a:lnTo>
                      <a:pt x="913" y="3"/>
                    </a:lnTo>
                    <a:lnTo>
                      <a:pt x="915" y="5"/>
                    </a:lnTo>
                    <a:lnTo>
                      <a:pt x="917" y="9"/>
                    </a:lnTo>
                    <a:lnTo>
                      <a:pt x="919" y="12"/>
                    </a:lnTo>
                    <a:lnTo>
                      <a:pt x="917" y="16"/>
                    </a:lnTo>
                    <a:lnTo>
                      <a:pt x="758" y="952"/>
                    </a:lnTo>
                    <a:lnTo>
                      <a:pt x="757" y="955"/>
                    </a:lnTo>
                    <a:lnTo>
                      <a:pt x="754" y="959"/>
                    </a:lnTo>
                    <a:lnTo>
                      <a:pt x="751" y="961"/>
                    </a:lnTo>
                    <a:lnTo>
                      <a:pt x="749" y="962"/>
                    </a:lnTo>
                    <a:lnTo>
                      <a:pt x="746" y="963"/>
                    </a:lnTo>
                    <a:lnTo>
                      <a:pt x="744" y="963"/>
                    </a:lnTo>
                    <a:close/>
                    <a:moveTo>
                      <a:pt x="41" y="347"/>
                    </a:moveTo>
                    <a:lnTo>
                      <a:pt x="41" y="347"/>
                    </a:lnTo>
                    <a:lnTo>
                      <a:pt x="735" y="924"/>
                    </a:lnTo>
                    <a:lnTo>
                      <a:pt x="887" y="35"/>
                    </a:lnTo>
                    <a:lnTo>
                      <a:pt x="41" y="3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32"/>
              <p:cNvSpPr>
                <a:spLocks noEditPoints="1"/>
              </p:cNvSpPr>
              <p:nvPr userDrawn="1"/>
            </p:nvSpPr>
            <p:spPr bwMode="auto">
              <a:xfrm>
                <a:off x="3248" y="2786"/>
                <a:ext cx="251" cy="254"/>
              </a:xfrm>
              <a:custGeom>
                <a:avLst/>
                <a:gdLst>
                  <a:gd name="T0" fmla="*/ 566 w 752"/>
                  <a:gd name="T1" fmla="*/ 764 h 764"/>
                  <a:gd name="T2" fmla="*/ 562 w 752"/>
                  <a:gd name="T3" fmla="*/ 763 h 764"/>
                  <a:gd name="T4" fmla="*/ 557 w 752"/>
                  <a:gd name="T5" fmla="*/ 761 h 764"/>
                  <a:gd name="T6" fmla="*/ 5 w 752"/>
                  <a:gd name="T7" fmla="*/ 243 h 764"/>
                  <a:gd name="T8" fmla="*/ 2 w 752"/>
                  <a:gd name="T9" fmla="*/ 240 h 764"/>
                  <a:gd name="T10" fmla="*/ 0 w 752"/>
                  <a:gd name="T11" fmla="*/ 237 h 764"/>
                  <a:gd name="T12" fmla="*/ 0 w 752"/>
                  <a:gd name="T13" fmla="*/ 233 h 764"/>
                  <a:gd name="T14" fmla="*/ 0 w 752"/>
                  <a:gd name="T15" fmla="*/ 230 h 764"/>
                  <a:gd name="T16" fmla="*/ 1 w 752"/>
                  <a:gd name="T17" fmla="*/ 227 h 764"/>
                  <a:gd name="T18" fmla="*/ 4 w 752"/>
                  <a:gd name="T19" fmla="*/ 224 h 764"/>
                  <a:gd name="T20" fmla="*/ 7 w 752"/>
                  <a:gd name="T21" fmla="*/ 221 h 764"/>
                  <a:gd name="T22" fmla="*/ 10 w 752"/>
                  <a:gd name="T23" fmla="*/ 220 h 764"/>
                  <a:gd name="T24" fmla="*/ 735 w 752"/>
                  <a:gd name="T25" fmla="*/ 0 h 764"/>
                  <a:gd name="T26" fmla="*/ 738 w 752"/>
                  <a:gd name="T27" fmla="*/ 0 h 764"/>
                  <a:gd name="T28" fmla="*/ 742 w 752"/>
                  <a:gd name="T29" fmla="*/ 0 h 764"/>
                  <a:gd name="T30" fmla="*/ 745 w 752"/>
                  <a:gd name="T31" fmla="*/ 1 h 764"/>
                  <a:gd name="T32" fmla="*/ 748 w 752"/>
                  <a:gd name="T33" fmla="*/ 3 h 764"/>
                  <a:gd name="T34" fmla="*/ 750 w 752"/>
                  <a:gd name="T35" fmla="*/ 6 h 764"/>
                  <a:gd name="T36" fmla="*/ 752 w 752"/>
                  <a:gd name="T37" fmla="*/ 9 h 764"/>
                  <a:gd name="T38" fmla="*/ 752 w 752"/>
                  <a:gd name="T39" fmla="*/ 13 h 764"/>
                  <a:gd name="T40" fmla="*/ 752 w 752"/>
                  <a:gd name="T41" fmla="*/ 16 h 764"/>
                  <a:gd name="T42" fmla="*/ 579 w 752"/>
                  <a:gd name="T43" fmla="*/ 754 h 764"/>
                  <a:gd name="T44" fmla="*/ 578 w 752"/>
                  <a:gd name="T45" fmla="*/ 757 h 764"/>
                  <a:gd name="T46" fmla="*/ 576 w 752"/>
                  <a:gd name="T47" fmla="*/ 760 h 764"/>
                  <a:gd name="T48" fmla="*/ 574 w 752"/>
                  <a:gd name="T49" fmla="*/ 762 h 764"/>
                  <a:gd name="T50" fmla="*/ 570 w 752"/>
                  <a:gd name="T51" fmla="*/ 763 h 764"/>
                  <a:gd name="T52" fmla="*/ 568 w 752"/>
                  <a:gd name="T53" fmla="*/ 764 h 764"/>
                  <a:gd name="T54" fmla="*/ 566 w 752"/>
                  <a:gd name="T55" fmla="*/ 764 h 764"/>
                  <a:gd name="T56" fmla="*/ 40 w 752"/>
                  <a:gd name="T57" fmla="*/ 239 h 764"/>
                  <a:gd name="T58" fmla="*/ 40 w 752"/>
                  <a:gd name="T59" fmla="*/ 239 h 764"/>
                  <a:gd name="T60" fmla="*/ 559 w 752"/>
                  <a:gd name="T61" fmla="*/ 724 h 764"/>
                  <a:gd name="T62" fmla="*/ 721 w 752"/>
                  <a:gd name="T63" fmla="*/ 32 h 764"/>
                  <a:gd name="T64" fmla="*/ 40 w 752"/>
                  <a:gd name="T65" fmla="*/ 239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2" h="764">
                    <a:moveTo>
                      <a:pt x="566" y="764"/>
                    </a:moveTo>
                    <a:lnTo>
                      <a:pt x="562" y="763"/>
                    </a:lnTo>
                    <a:lnTo>
                      <a:pt x="557" y="761"/>
                    </a:lnTo>
                    <a:lnTo>
                      <a:pt x="5" y="243"/>
                    </a:lnTo>
                    <a:lnTo>
                      <a:pt x="2" y="240"/>
                    </a:lnTo>
                    <a:lnTo>
                      <a:pt x="0" y="237"/>
                    </a:lnTo>
                    <a:lnTo>
                      <a:pt x="0" y="233"/>
                    </a:lnTo>
                    <a:lnTo>
                      <a:pt x="0" y="230"/>
                    </a:lnTo>
                    <a:lnTo>
                      <a:pt x="1" y="227"/>
                    </a:lnTo>
                    <a:lnTo>
                      <a:pt x="4" y="224"/>
                    </a:lnTo>
                    <a:lnTo>
                      <a:pt x="7" y="221"/>
                    </a:lnTo>
                    <a:lnTo>
                      <a:pt x="10" y="220"/>
                    </a:lnTo>
                    <a:lnTo>
                      <a:pt x="735" y="0"/>
                    </a:lnTo>
                    <a:lnTo>
                      <a:pt x="738" y="0"/>
                    </a:lnTo>
                    <a:lnTo>
                      <a:pt x="742" y="0"/>
                    </a:lnTo>
                    <a:lnTo>
                      <a:pt x="745" y="1"/>
                    </a:lnTo>
                    <a:lnTo>
                      <a:pt x="748" y="3"/>
                    </a:lnTo>
                    <a:lnTo>
                      <a:pt x="750" y="6"/>
                    </a:lnTo>
                    <a:lnTo>
                      <a:pt x="752" y="9"/>
                    </a:lnTo>
                    <a:lnTo>
                      <a:pt x="752" y="13"/>
                    </a:lnTo>
                    <a:lnTo>
                      <a:pt x="752" y="16"/>
                    </a:lnTo>
                    <a:lnTo>
                      <a:pt x="579" y="754"/>
                    </a:lnTo>
                    <a:lnTo>
                      <a:pt x="578" y="757"/>
                    </a:lnTo>
                    <a:lnTo>
                      <a:pt x="576" y="760"/>
                    </a:lnTo>
                    <a:lnTo>
                      <a:pt x="574" y="762"/>
                    </a:lnTo>
                    <a:lnTo>
                      <a:pt x="570" y="763"/>
                    </a:lnTo>
                    <a:lnTo>
                      <a:pt x="568" y="764"/>
                    </a:lnTo>
                    <a:lnTo>
                      <a:pt x="566" y="764"/>
                    </a:lnTo>
                    <a:close/>
                    <a:moveTo>
                      <a:pt x="40" y="239"/>
                    </a:moveTo>
                    <a:lnTo>
                      <a:pt x="40" y="239"/>
                    </a:lnTo>
                    <a:lnTo>
                      <a:pt x="559" y="724"/>
                    </a:lnTo>
                    <a:lnTo>
                      <a:pt x="721" y="32"/>
                    </a:lnTo>
                    <a:lnTo>
                      <a:pt x="40"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33"/>
              <p:cNvSpPr>
                <a:spLocks/>
              </p:cNvSpPr>
              <p:nvPr userDrawn="1"/>
            </p:nvSpPr>
            <p:spPr bwMode="auto">
              <a:xfrm>
                <a:off x="519" y="2533"/>
                <a:ext cx="358" cy="357"/>
              </a:xfrm>
              <a:custGeom>
                <a:avLst/>
                <a:gdLst>
                  <a:gd name="T0" fmla="*/ 1058 w 1072"/>
                  <a:gd name="T1" fmla="*/ 1073 h 1073"/>
                  <a:gd name="T2" fmla="*/ 1054 w 1072"/>
                  <a:gd name="T3" fmla="*/ 1072 h 1073"/>
                  <a:gd name="T4" fmla="*/ 1049 w 1072"/>
                  <a:gd name="T5" fmla="*/ 1069 h 1073"/>
                  <a:gd name="T6" fmla="*/ 3 w 1072"/>
                  <a:gd name="T7" fmla="*/ 24 h 1073"/>
                  <a:gd name="T8" fmla="*/ 0 w 1072"/>
                  <a:gd name="T9" fmla="*/ 20 h 1073"/>
                  <a:gd name="T10" fmla="*/ 0 w 1072"/>
                  <a:gd name="T11" fmla="*/ 14 h 1073"/>
                  <a:gd name="T12" fmla="*/ 0 w 1072"/>
                  <a:gd name="T13" fmla="*/ 9 h 1073"/>
                  <a:gd name="T14" fmla="*/ 3 w 1072"/>
                  <a:gd name="T15" fmla="*/ 5 h 1073"/>
                  <a:gd name="T16" fmla="*/ 8 w 1072"/>
                  <a:gd name="T17" fmla="*/ 1 h 1073"/>
                  <a:gd name="T18" fmla="*/ 13 w 1072"/>
                  <a:gd name="T19" fmla="*/ 0 h 1073"/>
                  <a:gd name="T20" fmla="*/ 19 w 1072"/>
                  <a:gd name="T21" fmla="*/ 1 h 1073"/>
                  <a:gd name="T22" fmla="*/ 23 w 1072"/>
                  <a:gd name="T23" fmla="*/ 5 h 1073"/>
                  <a:gd name="T24" fmla="*/ 1068 w 1072"/>
                  <a:gd name="T25" fmla="*/ 1049 h 1073"/>
                  <a:gd name="T26" fmla="*/ 1071 w 1072"/>
                  <a:gd name="T27" fmla="*/ 1054 h 1073"/>
                  <a:gd name="T28" fmla="*/ 1072 w 1072"/>
                  <a:gd name="T29" fmla="*/ 1059 h 1073"/>
                  <a:gd name="T30" fmla="*/ 1071 w 1072"/>
                  <a:gd name="T31" fmla="*/ 1065 h 1073"/>
                  <a:gd name="T32" fmla="*/ 1068 w 1072"/>
                  <a:gd name="T33" fmla="*/ 1069 h 1073"/>
                  <a:gd name="T34" fmla="*/ 1064 w 1072"/>
                  <a:gd name="T35" fmla="*/ 1072 h 1073"/>
                  <a:gd name="T36" fmla="*/ 1058 w 1072"/>
                  <a:gd name="T37"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2" h="1073">
                    <a:moveTo>
                      <a:pt x="1058" y="1073"/>
                    </a:moveTo>
                    <a:lnTo>
                      <a:pt x="1054" y="1072"/>
                    </a:lnTo>
                    <a:lnTo>
                      <a:pt x="1049" y="1069"/>
                    </a:lnTo>
                    <a:lnTo>
                      <a:pt x="3" y="24"/>
                    </a:lnTo>
                    <a:lnTo>
                      <a:pt x="0" y="20"/>
                    </a:lnTo>
                    <a:lnTo>
                      <a:pt x="0" y="14"/>
                    </a:lnTo>
                    <a:lnTo>
                      <a:pt x="0" y="9"/>
                    </a:lnTo>
                    <a:lnTo>
                      <a:pt x="3" y="5"/>
                    </a:lnTo>
                    <a:lnTo>
                      <a:pt x="8" y="1"/>
                    </a:lnTo>
                    <a:lnTo>
                      <a:pt x="13" y="0"/>
                    </a:lnTo>
                    <a:lnTo>
                      <a:pt x="19" y="1"/>
                    </a:lnTo>
                    <a:lnTo>
                      <a:pt x="23" y="5"/>
                    </a:lnTo>
                    <a:lnTo>
                      <a:pt x="1068" y="1049"/>
                    </a:lnTo>
                    <a:lnTo>
                      <a:pt x="1071" y="1054"/>
                    </a:lnTo>
                    <a:lnTo>
                      <a:pt x="1072" y="1059"/>
                    </a:lnTo>
                    <a:lnTo>
                      <a:pt x="1071" y="1065"/>
                    </a:lnTo>
                    <a:lnTo>
                      <a:pt x="1068" y="1069"/>
                    </a:lnTo>
                    <a:lnTo>
                      <a:pt x="1064" y="1072"/>
                    </a:lnTo>
                    <a:lnTo>
                      <a:pt x="1058" y="10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4"/>
              <p:cNvSpPr>
                <a:spLocks/>
              </p:cNvSpPr>
              <p:nvPr userDrawn="1"/>
            </p:nvSpPr>
            <p:spPr bwMode="auto">
              <a:xfrm>
                <a:off x="2788" y="2595"/>
                <a:ext cx="657" cy="656"/>
              </a:xfrm>
              <a:custGeom>
                <a:avLst/>
                <a:gdLst>
                  <a:gd name="T0" fmla="*/ 1958 w 1972"/>
                  <a:gd name="T1" fmla="*/ 1970 h 1970"/>
                  <a:gd name="T2" fmla="*/ 1953 w 1972"/>
                  <a:gd name="T3" fmla="*/ 1969 h 1970"/>
                  <a:gd name="T4" fmla="*/ 1948 w 1972"/>
                  <a:gd name="T5" fmla="*/ 1967 h 1970"/>
                  <a:gd name="T6" fmla="*/ 5 w 1972"/>
                  <a:gd name="T7" fmla="*/ 23 h 1970"/>
                  <a:gd name="T8" fmla="*/ 1 w 1972"/>
                  <a:gd name="T9" fmla="*/ 18 h 1970"/>
                  <a:gd name="T10" fmla="*/ 0 w 1972"/>
                  <a:gd name="T11" fmla="*/ 13 h 1970"/>
                  <a:gd name="T12" fmla="*/ 1 w 1972"/>
                  <a:gd name="T13" fmla="*/ 7 h 1970"/>
                  <a:gd name="T14" fmla="*/ 5 w 1972"/>
                  <a:gd name="T15" fmla="*/ 3 h 1970"/>
                  <a:gd name="T16" fmla="*/ 9 w 1972"/>
                  <a:gd name="T17" fmla="*/ 0 h 1970"/>
                  <a:gd name="T18" fmla="*/ 13 w 1972"/>
                  <a:gd name="T19" fmla="*/ 0 h 1970"/>
                  <a:gd name="T20" fmla="*/ 19 w 1972"/>
                  <a:gd name="T21" fmla="*/ 0 h 1970"/>
                  <a:gd name="T22" fmla="*/ 23 w 1972"/>
                  <a:gd name="T23" fmla="*/ 3 h 1970"/>
                  <a:gd name="T24" fmla="*/ 1968 w 1972"/>
                  <a:gd name="T25" fmla="*/ 1947 h 1970"/>
                  <a:gd name="T26" fmla="*/ 1971 w 1972"/>
                  <a:gd name="T27" fmla="*/ 1952 h 1970"/>
                  <a:gd name="T28" fmla="*/ 1972 w 1972"/>
                  <a:gd name="T29" fmla="*/ 1957 h 1970"/>
                  <a:gd name="T30" fmla="*/ 1971 w 1972"/>
                  <a:gd name="T31" fmla="*/ 1962 h 1970"/>
                  <a:gd name="T32" fmla="*/ 1968 w 1972"/>
                  <a:gd name="T33" fmla="*/ 1967 h 1970"/>
                  <a:gd name="T34" fmla="*/ 1963 w 1972"/>
                  <a:gd name="T35" fmla="*/ 1969 h 1970"/>
                  <a:gd name="T36" fmla="*/ 1958 w 1972"/>
                  <a:gd name="T37" fmla="*/ 1970 h 1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2" h="1970">
                    <a:moveTo>
                      <a:pt x="1958" y="1970"/>
                    </a:moveTo>
                    <a:lnTo>
                      <a:pt x="1953" y="1969"/>
                    </a:lnTo>
                    <a:lnTo>
                      <a:pt x="1948" y="1967"/>
                    </a:lnTo>
                    <a:lnTo>
                      <a:pt x="5" y="23"/>
                    </a:lnTo>
                    <a:lnTo>
                      <a:pt x="1" y="18"/>
                    </a:lnTo>
                    <a:lnTo>
                      <a:pt x="0" y="13"/>
                    </a:lnTo>
                    <a:lnTo>
                      <a:pt x="1" y="7"/>
                    </a:lnTo>
                    <a:lnTo>
                      <a:pt x="5" y="3"/>
                    </a:lnTo>
                    <a:lnTo>
                      <a:pt x="9" y="0"/>
                    </a:lnTo>
                    <a:lnTo>
                      <a:pt x="13" y="0"/>
                    </a:lnTo>
                    <a:lnTo>
                      <a:pt x="19" y="0"/>
                    </a:lnTo>
                    <a:lnTo>
                      <a:pt x="23" y="3"/>
                    </a:lnTo>
                    <a:lnTo>
                      <a:pt x="1968" y="1947"/>
                    </a:lnTo>
                    <a:lnTo>
                      <a:pt x="1971" y="1952"/>
                    </a:lnTo>
                    <a:lnTo>
                      <a:pt x="1972" y="1957"/>
                    </a:lnTo>
                    <a:lnTo>
                      <a:pt x="1971" y="1962"/>
                    </a:lnTo>
                    <a:lnTo>
                      <a:pt x="1968" y="1967"/>
                    </a:lnTo>
                    <a:lnTo>
                      <a:pt x="1963" y="1969"/>
                    </a:lnTo>
                    <a:lnTo>
                      <a:pt x="1958" y="1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5"/>
              <p:cNvSpPr>
                <a:spLocks/>
              </p:cNvSpPr>
              <p:nvPr userDrawn="1"/>
            </p:nvSpPr>
            <p:spPr bwMode="auto">
              <a:xfrm>
                <a:off x="3417" y="1733"/>
                <a:ext cx="553" cy="553"/>
              </a:xfrm>
              <a:custGeom>
                <a:avLst/>
                <a:gdLst>
                  <a:gd name="T0" fmla="*/ 1646 w 1659"/>
                  <a:gd name="T1" fmla="*/ 1659 h 1659"/>
                  <a:gd name="T2" fmla="*/ 1641 w 1659"/>
                  <a:gd name="T3" fmla="*/ 1658 h 1659"/>
                  <a:gd name="T4" fmla="*/ 1637 w 1659"/>
                  <a:gd name="T5" fmla="*/ 1654 h 1659"/>
                  <a:gd name="T6" fmla="*/ 4 w 1659"/>
                  <a:gd name="T7" fmla="*/ 22 h 1659"/>
                  <a:gd name="T8" fmla="*/ 1 w 1659"/>
                  <a:gd name="T9" fmla="*/ 18 h 1659"/>
                  <a:gd name="T10" fmla="*/ 0 w 1659"/>
                  <a:gd name="T11" fmla="*/ 14 h 1659"/>
                  <a:gd name="T12" fmla="*/ 1 w 1659"/>
                  <a:gd name="T13" fmla="*/ 8 h 1659"/>
                  <a:gd name="T14" fmla="*/ 4 w 1659"/>
                  <a:gd name="T15" fmla="*/ 4 h 1659"/>
                  <a:gd name="T16" fmla="*/ 8 w 1659"/>
                  <a:gd name="T17" fmla="*/ 1 h 1659"/>
                  <a:gd name="T18" fmla="*/ 14 w 1659"/>
                  <a:gd name="T19" fmla="*/ 0 h 1659"/>
                  <a:gd name="T20" fmla="*/ 18 w 1659"/>
                  <a:gd name="T21" fmla="*/ 1 h 1659"/>
                  <a:gd name="T22" fmla="*/ 23 w 1659"/>
                  <a:gd name="T23" fmla="*/ 4 h 1659"/>
                  <a:gd name="T24" fmla="*/ 1655 w 1659"/>
                  <a:gd name="T25" fmla="*/ 1636 h 1659"/>
                  <a:gd name="T26" fmla="*/ 1658 w 1659"/>
                  <a:gd name="T27" fmla="*/ 1640 h 1659"/>
                  <a:gd name="T28" fmla="*/ 1659 w 1659"/>
                  <a:gd name="T29" fmla="*/ 1646 h 1659"/>
                  <a:gd name="T30" fmla="*/ 1658 w 1659"/>
                  <a:gd name="T31" fmla="*/ 1650 h 1659"/>
                  <a:gd name="T32" fmla="*/ 1655 w 1659"/>
                  <a:gd name="T33" fmla="*/ 1654 h 1659"/>
                  <a:gd name="T34" fmla="*/ 1651 w 1659"/>
                  <a:gd name="T35" fmla="*/ 1658 h 1659"/>
                  <a:gd name="T36" fmla="*/ 1646 w 1659"/>
                  <a:gd name="T37" fmla="*/ 1659 h 1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9" h="1659">
                    <a:moveTo>
                      <a:pt x="1646" y="1659"/>
                    </a:moveTo>
                    <a:lnTo>
                      <a:pt x="1641" y="1658"/>
                    </a:lnTo>
                    <a:lnTo>
                      <a:pt x="1637" y="1654"/>
                    </a:lnTo>
                    <a:lnTo>
                      <a:pt x="4" y="22"/>
                    </a:lnTo>
                    <a:lnTo>
                      <a:pt x="1" y="18"/>
                    </a:lnTo>
                    <a:lnTo>
                      <a:pt x="0" y="14"/>
                    </a:lnTo>
                    <a:lnTo>
                      <a:pt x="1" y="8"/>
                    </a:lnTo>
                    <a:lnTo>
                      <a:pt x="4" y="4"/>
                    </a:lnTo>
                    <a:lnTo>
                      <a:pt x="8" y="1"/>
                    </a:lnTo>
                    <a:lnTo>
                      <a:pt x="14" y="0"/>
                    </a:lnTo>
                    <a:lnTo>
                      <a:pt x="18" y="1"/>
                    </a:lnTo>
                    <a:lnTo>
                      <a:pt x="23" y="4"/>
                    </a:lnTo>
                    <a:lnTo>
                      <a:pt x="1655" y="1636"/>
                    </a:lnTo>
                    <a:lnTo>
                      <a:pt x="1658" y="1640"/>
                    </a:lnTo>
                    <a:lnTo>
                      <a:pt x="1659" y="1646"/>
                    </a:lnTo>
                    <a:lnTo>
                      <a:pt x="1658" y="1650"/>
                    </a:lnTo>
                    <a:lnTo>
                      <a:pt x="1655" y="1654"/>
                    </a:lnTo>
                    <a:lnTo>
                      <a:pt x="1651" y="1658"/>
                    </a:lnTo>
                    <a:lnTo>
                      <a:pt x="1646" y="16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36"/>
              <p:cNvSpPr>
                <a:spLocks/>
              </p:cNvSpPr>
              <p:nvPr userDrawn="1"/>
            </p:nvSpPr>
            <p:spPr bwMode="auto">
              <a:xfrm>
                <a:off x="5266" y="3692"/>
                <a:ext cx="233" cy="233"/>
              </a:xfrm>
              <a:custGeom>
                <a:avLst/>
                <a:gdLst>
                  <a:gd name="T0" fmla="*/ 685 w 698"/>
                  <a:gd name="T1" fmla="*/ 699 h 699"/>
                  <a:gd name="T2" fmla="*/ 680 w 698"/>
                  <a:gd name="T3" fmla="*/ 698 h 699"/>
                  <a:gd name="T4" fmla="*/ 676 w 698"/>
                  <a:gd name="T5" fmla="*/ 694 h 699"/>
                  <a:gd name="T6" fmla="*/ 4 w 698"/>
                  <a:gd name="T7" fmla="*/ 24 h 699"/>
                  <a:gd name="T8" fmla="*/ 1 w 698"/>
                  <a:gd name="T9" fmla="*/ 19 h 699"/>
                  <a:gd name="T10" fmla="*/ 0 w 698"/>
                  <a:gd name="T11" fmla="*/ 14 h 699"/>
                  <a:gd name="T12" fmla="*/ 1 w 698"/>
                  <a:gd name="T13" fmla="*/ 9 h 699"/>
                  <a:gd name="T14" fmla="*/ 4 w 698"/>
                  <a:gd name="T15" fmla="*/ 5 h 699"/>
                  <a:gd name="T16" fmla="*/ 8 w 698"/>
                  <a:gd name="T17" fmla="*/ 1 h 699"/>
                  <a:gd name="T18" fmla="*/ 14 w 698"/>
                  <a:gd name="T19" fmla="*/ 0 h 699"/>
                  <a:gd name="T20" fmla="*/ 19 w 698"/>
                  <a:gd name="T21" fmla="*/ 1 h 699"/>
                  <a:gd name="T22" fmla="*/ 23 w 698"/>
                  <a:gd name="T23" fmla="*/ 5 h 699"/>
                  <a:gd name="T24" fmla="*/ 695 w 698"/>
                  <a:gd name="T25" fmla="*/ 676 h 699"/>
                  <a:gd name="T26" fmla="*/ 697 w 698"/>
                  <a:gd name="T27" fmla="*/ 680 h 699"/>
                  <a:gd name="T28" fmla="*/ 698 w 698"/>
                  <a:gd name="T29" fmla="*/ 685 h 699"/>
                  <a:gd name="T30" fmla="*/ 697 w 698"/>
                  <a:gd name="T31" fmla="*/ 690 h 699"/>
                  <a:gd name="T32" fmla="*/ 695 w 698"/>
                  <a:gd name="T33" fmla="*/ 694 h 699"/>
                  <a:gd name="T34" fmla="*/ 690 w 698"/>
                  <a:gd name="T35" fmla="*/ 698 h 699"/>
                  <a:gd name="T36" fmla="*/ 685 w 698"/>
                  <a:gd name="T3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8" h="699">
                    <a:moveTo>
                      <a:pt x="685" y="699"/>
                    </a:moveTo>
                    <a:lnTo>
                      <a:pt x="680" y="698"/>
                    </a:lnTo>
                    <a:lnTo>
                      <a:pt x="676" y="694"/>
                    </a:lnTo>
                    <a:lnTo>
                      <a:pt x="4" y="24"/>
                    </a:lnTo>
                    <a:lnTo>
                      <a:pt x="1" y="19"/>
                    </a:lnTo>
                    <a:lnTo>
                      <a:pt x="0" y="14"/>
                    </a:lnTo>
                    <a:lnTo>
                      <a:pt x="1" y="9"/>
                    </a:lnTo>
                    <a:lnTo>
                      <a:pt x="4" y="5"/>
                    </a:lnTo>
                    <a:lnTo>
                      <a:pt x="8" y="1"/>
                    </a:lnTo>
                    <a:lnTo>
                      <a:pt x="14" y="0"/>
                    </a:lnTo>
                    <a:lnTo>
                      <a:pt x="19" y="1"/>
                    </a:lnTo>
                    <a:lnTo>
                      <a:pt x="23" y="5"/>
                    </a:lnTo>
                    <a:lnTo>
                      <a:pt x="695" y="676"/>
                    </a:lnTo>
                    <a:lnTo>
                      <a:pt x="697" y="680"/>
                    </a:lnTo>
                    <a:lnTo>
                      <a:pt x="698" y="685"/>
                    </a:lnTo>
                    <a:lnTo>
                      <a:pt x="697" y="690"/>
                    </a:lnTo>
                    <a:lnTo>
                      <a:pt x="695" y="694"/>
                    </a:lnTo>
                    <a:lnTo>
                      <a:pt x="690" y="698"/>
                    </a:lnTo>
                    <a:lnTo>
                      <a:pt x="685" y="6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7"/>
              <p:cNvSpPr>
                <a:spLocks noEditPoints="1"/>
              </p:cNvSpPr>
              <p:nvPr userDrawn="1"/>
            </p:nvSpPr>
            <p:spPr bwMode="auto">
              <a:xfrm>
                <a:off x="5457" y="3538"/>
                <a:ext cx="251" cy="256"/>
              </a:xfrm>
              <a:custGeom>
                <a:avLst/>
                <a:gdLst>
                  <a:gd name="T0" fmla="*/ 567 w 753"/>
                  <a:gd name="T1" fmla="*/ 766 h 766"/>
                  <a:gd name="T2" fmla="*/ 562 w 753"/>
                  <a:gd name="T3" fmla="*/ 765 h 766"/>
                  <a:gd name="T4" fmla="*/ 558 w 753"/>
                  <a:gd name="T5" fmla="*/ 762 h 766"/>
                  <a:gd name="T6" fmla="*/ 4 w 753"/>
                  <a:gd name="T7" fmla="*/ 244 h 766"/>
                  <a:gd name="T8" fmla="*/ 2 w 753"/>
                  <a:gd name="T9" fmla="*/ 241 h 766"/>
                  <a:gd name="T10" fmla="*/ 1 w 753"/>
                  <a:gd name="T11" fmla="*/ 238 h 766"/>
                  <a:gd name="T12" fmla="*/ 0 w 753"/>
                  <a:gd name="T13" fmla="*/ 235 h 766"/>
                  <a:gd name="T14" fmla="*/ 1 w 753"/>
                  <a:gd name="T15" fmla="*/ 231 h 766"/>
                  <a:gd name="T16" fmla="*/ 2 w 753"/>
                  <a:gd name="T17" fmla="*/ 228 h 766"/>
                  <a:gd name="T18" fmla="*/ 4 w 753"/>
                  <a:gd name="T19" fmla="*/ 225 h 766"/>
                  <a:gd name="T20" fmla="*/ 7 w 753"/>
                  <a:gd name="T21" fmla="*/ 223 h 766"/>
                  <a:gd name="T22" fmla="*/ 10 w 753"/>
                  <a:gd name="T23" fmla="*/ 222 h 766"/>
                  <a:gd name="T24" fmla="*/ 735 w 753"/>
                  <a:gd name="T25" fmla="*/ 1 h 766"/>
                  <a:gd name="T26" fmla="*/ 739 w 753"/>
                  <a:gd name="T27" fmla="*/ 0 h 766"/>
                  <a:gd name="T28" fmla="*/ 742 w 753"/>
                  <a:gd name="T29" fmla="*/ 1 h 766"/>
                  <a:gd name="T30" fmla="*/ 745 w 753"/>
                  <a:gd name="T31" fmla="*/ 3 h 766"/>
                  <a:gd name="T32" fmla="*/ 748 w 753"/>
                  <a:gd name="T33" fmla="*/ 5 h 766"/>
                  <a:gd name="T34" fmla="*/ 751 w 753"/>
                  <a:gd name="T35" fmla="*/ 7 h 766"/>
                  <a:gd name="T36" fmla="*/ 752 w 753"/>
                  <a:gd name="T37" fmla="*/ 10 h 766"/>
                  <a:gd name="T38" fmla="*/ 753 w 753"/>
                  <a:gd name="T39" fmla="*/ 14 h 766"/>
                  <a:gd name="T40" fmla="*/ 753 w 753"/>
                  <a:gd name="T41" fmla="*/ 18 h 766"/>
                  <a:gd name="T42" fmla="*/ 580 w 753"/>
                  <a:gd name="T43" fmla="*/ 755 h 766"/>
                  <a:gd name="T44" fmla="*/ 579 w 753"/>
                  <a:gd name="T45" fmla="*/ 758 h 766"/>
                  <a:gd name="T46" fmla="*/ 577 w 753"/>
                  <a:gd name="T47" fmla="*/ 761 h 766"/>
                  <a:gd name="T48" fmla="*/ 574 w 753"/>
                  <a:gd name="T49" fmla="*/ 764 h 766"/>
                  <a:gd name="T50" fmla="*/ 571 w 753"/>
                  <a:gd name="T51" fmla="*/ 765 h 766"/>
                  <a:gd name="T52" fmla="*/ 569 w 753"/>
                  <a:gd name="T53" fmla="*/ 766 h 766"/>
                  <a:gd name="T54" fmla="*/ 567 w 753"/>
                  <a:gd name="T55" fmla="*/ 766 h 766"/>
                  <a:gd name="T56" fmla="*/ 40 w 753"/>
                  <a:gd name="T57" fmla="*/ 240 h 766"/>
                  <a:gd name="T58" fmla="*/ 40 w 753"/>
                  <a:gd name="T59" fmla="*/ 240 h 766"/>
                  <a:gd name="T60" fmla="*/ 559 w 753"/>
                  <a:gd name="T61" fmla="*/ 726 h 766"/>
                  <a:gd name="T62" fmla="*/ 720 w 753"/>
                  <a:gd name="T63" fmla="*/ 34 h 766"/>
                  <a:gd name="T64" fmla="*/ 40 w 753"/>
                  <a:gd name="T65" fmla="*/ 24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3" h="766">
                    <a:moveTo>
                      <a:pt x="567" y="766"/>
                    </a:moveTo>
                    <a:lnTo>
                      <a:pt x="562" y="765"/>
                    </a:lnTo>
                    <a:lnTo>
                      <a:pt x="558" y="762"/>
                    </a:lnTo>
                    <a:lnTo>
                      <a:pt x="4" y="244"/>
                    </a:lnTo>
                    <a:lnTo>
                      <a:pt x="2" y="241"/>
                    </a:lnTo>
                    <a:lnTo>
                      <a:pt x="1" y="238"/>
                    </a:lnTo>
                    <a:lnTo>
                      <a:pt x="0" y="235"/>
                    </a:lnTo>
                    <a:lnTo>
                      <a:pt x="1" y="231"/>
                    </a:lnTo>
                    <a:lnTo>
                      <a:pt x="2" y="228"/>
                    </a:lnTo>
                    <a:lnTo>
                      <a:pt x="4" y="225"/>
                    </a:lnTo>
                    <a:lnTo>
                      <a:pt x="7" y="223"/>
                    </a:lnTo>
                    <a:lnTo>
                      <a:pt x="10" y="222"/>
                    </a:lnTo>
                    <a:lnTo>
                      <a:pt x="735" y="1"/>
                    </a:lnTo>
                    <a:lnTo>
                      <a:pt x="739" y="0"/>
                    </a:lnTo>
                    <a:lnTo>
                      <a:pt x="742" y="1"/>
                    </a:lnTo>
                    <a:lnTo>
                      <a:pt x="745" y="3"/>
                    </a:lnTo>
                    <a:lnTo>
                      <a:pt x="748" y="5"/>
                    </a:lnTo>
                    <a:lnTo>
                      <a:pt x="751" y="7"/>
                    </a:lnTo>
                    <a:lnTo>
                      <a:pt x="752" y="10"/>
                    </a:lnTo>
                    <a:lnTo>
                      <a:pt x="753" y="14"/>
                    </a:lnTo>
                    <a:lnTo>
                      <a:pt x="753" y="18"/>
                    </a:lnTo>
                    <a:lnTo>
                      <a:pt x="580" y="755"/>
                    </a:lnTo>
                    <a:lnTo>
                      <a:pt x="579" y="758"/>
                    </a:lnTo>
                    <a:lnTo>
                      <a:pt x="577" y="761"/>
                    </a:lnTo>
                    <a:lnTo>
                      <a:pt x="574" y="764"/>
                    </a:lnTo>
                    <a:lnTo>
                      <a:pt x="571" y="765"/>
                    </a:lnTo>
                    <a:lnTo>
                      <a:pt x="569" y="766"/>
                    </a:lnTo>
                    <a:lnTo>
                      <a:pt x="567" y="766"/>
                    </a:lnTo>
                    <a:close/>
                    <a:moveTo>
                      <a:pt x="40" y="240"/>
                    </a:moveTo>
                    <a:lnTo>
                      <a:pt x="40" y="240"/>
                    </a:lnTo>
                    <a:lnTo>
                      <a:pt x="559" y="726"/>
                    </a:lnTo>
                    <a:lnTo>
                      <a:pt x="720" y="34"/>
                    </a:lnTo>
                    <a:lnTo>
                      <a:pt x="4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8"/>
              <p:cNvSpPr>
                <a:spLocks/>
              </p:cNvSpPr>
              <p:nvPr userDrawn="1"/>
            </p:nvSpPr>
            <p:spPr bwMode="auto">
              <a:xfrm>
                <a:off x="5164" y="1444"/>
                <a:ext cx="595" cy="600"/>
              </a:xfrm>
              <a:custGeom>
                <a:avLst/>
                <a:gdLst>
                  <a:gd name="T0" fmla="*/ 1784 w 1784"/>
                  <a:gd name="T1" fmla="*/ 1802 h 1802"/>
                  <a:gd name="T2" fmla="*/ 4 w 1784"/>
                  <a:gd name="T3" fmla="*/ 22 h 1802"/>
                  <a:gd name="T4" fmla="*/ 1 w 1784"/>
                  <a:gd name="T5" fmla="*/ 18 h 1802"/>
                  <a:gd name="T6" fmla="*/ 0 w 1784"/>
                  <a:gd name="T7" fmla="*/ 14 h 1802"/>
                  <a:gd name="T8" fmla="*/ 1 w 1784"/>
                  <a:gd name="T9" fmla="*/ 8 h 1802"/>
                  <a:gd name="T10" fmla="*/ 4 w 1784"/>
                  <a:gd name="T11" fmla="*/ 4 h 1802"/>
                  <a:gd name="T12" fmla="*/ 9 w 1784"/>
                  <a:gd name="T13" fmla="*/ 1 h 1802"/>
                  <a:gd name="T14" fmla="*/ 14 w 1784"/>
                  <a:gd name="T15" fmla="*/ 0 h 1802"/>
                  <a:gd name="T16" fmla="*/ 20 w 1784"/>
                  <a:gd name="T17" fmla="*/ 1 h 1802"/>
                  <a:gd name="T18" fmla="*/ 24 w 1784"/>
                  <a:gd name="T19" fmla="*/ 4 h 1802"/>
                  <a:gd name="T20" fmla="*/ 1784 w 1784"/>
                  <a:gd name="T21" fmla="*/ 1764 h 1802"/>
                  <a:gd name="T22" fmla="*/ 1784 w 1784"/>
                  <a:gd name="T23" fmla="*/ 1802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4" h="1802">
                    <a:moveTo>
                      <a:pt x="1784" y="1802"/>
                    </a:moveTo>
                    <a:lnTo>
                      <a:pt x="4" y="22"/>
                    </a:lnTo>
                    <a:lnTo>
                      <a:pt x="1" y="18"/>
                    </a:lnTo>
                    <a:lnTo>
                      <a:pt x="0" y="14"/>
                    </a:lnTo>
                    <a:lnTo>
                      <a:pt x="1" y="8"/>
                    </a:lnTo>
                    <a:lnTo>
                      <a:pt x="4" y="4"/>
                    </a:lnTo>
                    <a:lnTo>
                      <a:pt x="9" y="1"/>
                    </a:lnTo>
                    <a:lnTo>
                      <a:pt x="14" y="0"/>
                    </a:lnTo>
                    <a:lnTo>
                      <a:pt x="20" y="1"/>
                    </a:lnTo>
                    <a:lnTo>
                      <a:pt x="24" y="4"/>
                    </a:lnTo>
                    <a:lnTo>
                      <a:pt x="1784" y="1764"/>
                    </a:lnTo>
                    <a:lnTo>
                      <a:pt x="1784" y="18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9"/>
              <p:cNvSpPr>
                <a:spLocks/>
              </p:cNvSpPr>
              <p:nvPr userDrawn="1"/>
            </p:nvSpPr>
            <p:spPr bwMode="auto">
              <a:xfrm>
                <a:off x="4188" y="1630"/>
                <a:ext cx="478" cy="477"/>
              </a:xfrm>
              <a:custGeom>
                <a:avLst/>
                <a:gdLst>
                  <a:gd name="T0" fmla="*/ 1424 w 1434"/>
                  <a:gd name="T1" fmla="*/ 1433 h 1433"/>
                  <a:gd name="T2" fmla="*/ 1421 w 1434"/>
                  <a:gd name="T3" fmla="*/ 1433 h 1433"/>
                  <a:gd name="T4" fmla="*/ 1417 w 1434"/>
                  <a:gd name="T5" fmla="*/ 1431 h 1433"/>
                  <a:gd name="T6" fmla="*/ 2 w 1434"/>
                  <a:gd name="T7" fmla="*/ 16 h 1433"/>
                  <a:gd name="T8" fmla="*/ 0 w 1434"/>
                  <a:gd name="T9" fmla="*/ 13 h 1433"/>
                  <a:gd name="T10" fmla="*/ 0 w 1434"/>
                  <a:gd name="T11" fmla="*/ 9 h 1433"/>
                  <a:gd name="T12" fmla="*/ 0 w 1434"/>
                  <a:gd name="T13" fmla="*/ 6 h 1433"/>
                  <a:gd name="T14" fmla="*/ 2 w 1434"/>
                  <a:gd name="T15" fmla="*/ 3 h 1433"/>
                  <a:gd name="T16" fmla="*/ 5 w 1434"/>
                  <a:gd name="T17" fmla="*/ 1 h 1433"/>
                  <a:gd name="T18" fmla="*/ 8 w 1434"/>
                  <a:gd name="T19" fmla="*/ 0 h 1433"/>
                  <a:gd name="T20" fmla="*/ 12 w 1434"/>
                  <a:gd name="T21" fmla="*/ 1 h 1433"/>
                  <a:gd name="T22" fmla="*/ 16 w 1434"/>
                  <a:gd name="T23" fmla="*/ 3 h 1433"/>
                  <a:gd name="T24" fmla="*/ 1430 w 1434"/>
                  <a:gd name="T25" fmla="*/ 1417 h 1433"/>
                  <a:gd name="T26" fmla="*/ 1432 w 1434"/>
                  <a:gd name="T27" fmla="*/ 1420 h 1433"/>
                  <a:gd name="T28" fmla="*/ 1434 w 1434"/>
                  <a:gd name="T29" fmla="*/ 1424 h 1433"/>
                  <a:gd name="T30" fmla="*/ 1432 w 1434"/>
                  <a:gd name="T31" fmla="*/ 1428 h 1433"/>
                  <a:gd name="T32" fmla="*/ 1430 w 1434"/>
                  <a:gd name="T33" fmla="*/ 1431 h 1433"/>
                  <a:gd name="T34" fmla="*/ 1427 w 1434"/>
                  <a:gd name="T35" fmla="*/ 1433 h 1433"/>
                  <a:gd name="T36" fmla="*/ 1424 w 1434"/>
                  <a:gd name="T37" fmla="*/ 1433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4" h="1433">
                    <a:moveTo>
                      <a:pt x="1424" y="1433"/>
                    </a:moveTo>
                    <a:lnTo>
                      <a:pt x="1421" y="1433"/>
                    </a:lnTo>
                    <a:lnTo>
                      <a:pt x="1417" y="1431"/>
                    </a:lnTo>
                    <a:lnTo>
                      <a:pt x="2" y="16"/>
                    </a:lnTo>
                    <a:lnTo>
                      <a:pt x="0" y="13"/>
                    </a:lnTo>
                    <a:lnTo>
                      <a:pt x="0" y="9"/>
                    </a:lnTo>
                    <a:lnTo>
                      <a:pt x="0" y="6"/>
                    </a:lnTo>
                    <a:lnTo>
                      <a:pt x="2" y="3"/>
                    </a:lnTo>
                    <a:lnTo>
                      <a:pt x="5" y="1"/>
                    </a:lnTo>
                    <a:lnTo>
                      <a:pt x="8" y="0"/>
                    </a:lnTo>
                    <a:lnTo>
                      <a:pt x="12" y="1"/>
                    </a:lnTo>
                    <a:lnTo>
                      <a:pt x="16" y="3"/>
                    </a:lnTo>
                    <a:lnTo>
                      <a:pt x="1430" y="1417"/>
                    </a:lnTo>
                    <a:lnTo>
                      <a:pt x="1432" y="1420"/>
                    </a:lnTo>
                    <a:lnTo>
                      <a:pt x="1434" y="1424"/>
                    </a:lnTo>
                    <a:lnTo>
                      <a:pt x="1432" y="1428"/>
                    </a:lnTo>
                    <a:lnTo>
                      <a:pt x="1430" y="1431"/>
                    </a:lnTo>
                    <a:lnTo>
                      <a:pt x="1427" y="1433"/>
                    </a:lnTo>
                    <a:lnTo>
                      <a:pt x="1424" y="14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0"/>
              <p:cNvSpPr>
                <a:spLocks/>
              </p:cNvSpPr>
              <p:nvPr userDrawn="1"/>
            </p:nvSpPr>
            <p:spPr bwMode="auto">
              <a:xfrm>
                <a:off x="3086" y="3503"/>
                <a:ext cx="608" cy="608"/>
              </a:xfrm>
              <a:custGeom>
                <a:avLst/>
                <a:gdLst>
                  <a:gd name="T0" fmla="*/ 1810 w 1824"/>
                  <a:gd name="T1" fmla="*/ 1823 h 1823"/>
                  <a:gd name="T2" fmla="*/ 1805 w 1824"/>
                  <a:gd name="T3" fmla="*/ 1822 h 1823"/>
                  <a:gd name="T4" fmla="*/ 1800 w 1824"/>
                  <a:gd name="T5" fmla="*/ 1819 h 1823"/>
                  <a:gd name="T6" fmla="*/ 5 w 1824"/>
                  <a:gd name="T7" fmla="*/ 22 h 1823"/>
                  <a:gd name="T8" fmla="*/ 1 w 1824"/>
                  <a:gd name="T9" fmla="*/ 18 h 1823"/>
                  <a:gd name="T10" fmla="*/ 0 w 1824"/>
                  <a:gd name="T11" fmla="*/ 14 h 1823"/>
                  <a:gd name="T12" fmla="*/ 1 w 1824"/>
                  <a:gd name="T13" fmla="*/ 8 h 1823"/>
                  <a:gd name="T14" fmla="*/ 5 w 1824"/>
                  <a:gd name="T15" fmla="*/ 4 h 1823"/>
                  <a:gd name="T16" fmla="*/ 9 w 1824"/>
                  <a:gd name="T17" fmla="*/ 1 h 1823"/>
                  <a:gd name="T18" fmla="*/ 14 w 1824"/>
                  <a:gd name="T19" fmla="*/ 0 h 1823"/>
                  <a:gd name="T20" fmla="*/ 19 w 1824"/>
                  <a:gd name="T21" fmla="*/ 1 h 1823"/>
                  <a:gd name="T22" fmla="*/ 23 w 1824"/>
                  <a:gd name="T23" fmla="*/ 4 h 1823"/>
                  <a:gd name="T24" fmla="*/ 1820 w 1824"/>
                  <a:gd name="T25" fmla="*/ 1799 h 1823"/>
                  <a:gd name="T26" fmla="*/ 1823 w 1824"/>
                  <a:gd name="T27" fmla="*/ 1804 h 1823"/>
                  <a:gd name="T28" fmla="*/ 1824 w 1824"/>
                  <a:gd name="T29" fmla="*/ 1809 h 1823"/>
                  <a:gd name="T30" fmla="*/ 1823 w 1824"/>
                  <a:gd name="T31" fmla="*/ 1814 h 1823"/>
                  <a:gd name="T32" fmla="*/ 1820 w 1824"/>
                  <a:gd name="T33" fmla="*/ 1819 h 1823"/>
                  <a:gd name="T34" fmla="*/ 1815 w 1824"/>
                  <a:gd name="T35" fmla="*/ 1822 h 1823"/>
                  <a:gd name="T36" fmla="*/ 1810 w 1824"/>
                  <a:gd name="T37" fmla="*/ 1823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4" h="1823">
                    <a:moveTo>
                      <a:pt x="1810" y="1823"/>
                    </a:moveTo>
                    <a:lnTo>
                      <a:pt x="1805" y="1822"/>
                    </a:lnTo>
                    <a:lnTo>
                      <a:pt x="1800" y="1819"/>
                    </a:lnTo>
                    <a:lnTo>
                      <a:pt x="5" y="22"/>
                    </a:lnTo>
                    <a:lnTo>
                      <a:pt x="1" y="18"/>
                    </a:lnTo>
                    <a:lnTo>
                      <a:pt x="0" y="14"/>
                    </a:lnTo>
                    <a:lnTo>
                      <a:pt x="1" y="8"/>
                    </a:lnTo>
                    <a:lnTo>
                      <a:pt x="5" y="4"/>
                    </a:lnTo>
                    <a:lnTo>
                      <a:pt x="9" y="1"/>
                    </a:lnTo>
                    <a:lnTo>
                      <a:pt x="14" y="0"/>
                    </a:lnTo>
                    <a:lnTo>
                      <a:pt x="19" y="1"/>
                    </a:lnTo>
                    <a:lnTo>
                      <a:pt x="23" y="4"/>
                    </a:lnTo>
                    <a:lnTo>
                      <a:pt x="1820" y="1799"/>
                    </a:lnTo>
                    <a:lnTo>
                      <a:pt x="1823" y="1804"/>
                    </a:lnTo>
                    <a:lnTo>
                      <a:pt x="1824" y="1809"/>
                    </a:lnTo>
                    <a:lnTo>
                      <a:pt x="1823" y="1814"/>
                    </a:lnTo>
                    <a:lnTo>
                      <a:pt x="1820" y="1819"/>
                    </a:lnTo>
                    <a:lnTo>
                      <a:pt x="1815" y="1822"/>
                    </a:lnTo>
                    <a:lnTo>
                      <a:pt x="1810" y="18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41"/>
              <p:cNvSpPr>
                <a:spLocks/>
              </p:cNvSpPr>
              <p:nvPr userDrawn="1"/>
            </p:nvSpPr>
            <p:spPr bwMode="auto">
              <a:xfrm>
                <a:off x="1815" y="1539"/>
                <a:ext cx="809" cy="426"/>
              </a:xfrm>
              <a:custGeom>
                <a:avLst/>
                <a:gdLst>
                  <a:gd name="T0" fmla="*/ 2402 w 2429"/>
                  <a:gd name="T1" fmla="*/ 1265 h 1278"/>
                  <a:gd name="T2" fmla="*/ 2381 w 2429"/>
                  <a:gd name="T3" fmla="*/ 1172 h 1278"/>
                  <a:gd name="T4" fmla="*/ 2324 w 2429"/>
                  <a:gd name="T5" fmla="*/ 1049 h 1278"/>
                  <a:gd name="T6" fmla="*/ 2277 w 2429"/>
                  <a:gd name="T7" fmla="*/ 989 h 1278"/>
                  <a:gd name="T8" fmla="*/ 2228 w 2429"/>
                  <a:gd name="T9" fmla="*/ 944 h 1278"/>
                  <a:gd name="T10" fmla="*/ 2215 w 2429"/>
                  <a:gd name="T11" fmla="*/ 900 h 1278"/>
                  <a:gd name="T12" fmla="*/ 2233 w 2429"/>
                  <a:gd name="T13" fmla="*/ 788 h 1278"/>
                  <a:gd name="T14" fmla="*/ 2257 w 2429"/>
                  <a:gd name="T15" fmla="*/ 658 h 1278"/>
                  <a:gd name="T16" fmla="*/ 2244 w 2429"/>
                  <a:gd name="T17" fmla="*/ 576 h 1278"/>
                  <a:gd name="T18" fmla="*/ 2222 w 2429"/>
                  <a:gd name="T19" fmla="*/ 543 h 1278"/>
                  <a:gd name="T20" fmla="*/ 2182 w 2429"/>
                  <a:gd name="T21" fmla="*/ 514 h 1278"/>
                  <a:gd name="T22" fmla="*/ 2125 w 2429"/>
                  <a:gd name="T23" fmla="*/ 500 h 1278"/>
                  <a:gd name="T24" fmla="*/ 2057 w 2429"/>
                  <a:gd name="T25" fmla="*/ 505 h 1278"/>
                  <a:gd name="T26" fmla="*/ 1978 w 2429"/>
                  <a:gd name="T27" fmla="*/ 530 h 1278"/>
                  <a:gd name="T28" fmla="*/ 1847 w 2429"/>
                  <a:gd name="T29" fmla="*/ 599 h 1278"/>
                  <a:gd name="T30" fmla="*/ 1640 w 2429"/>
                  <a:gd name="T31" fmla="*/ 749 h 1278"/>
                  <a:gd name="T32" fmla="*/ 1479 w 2429"/>
                  <a:gd name="T33" fmla="*/ 850 h 1278"/>
                  <a:gd name="T34" fmla="*/ 1342 w 2429"/>
                  <a:gd name="T35" fmla="*/ 913 h 1278"/>
                  <a:gd name="T36" fmla="*/ 1181 w 2429"/>
                  <a:gd name="T37" fmla="*/ 962 h 1278"/>
                  <a:gd name="T38" fmla="*/ 999 w 2429"/>
                  <a:gd name="T39" fmla="*/ 984 h 1278"/>
                  <a:gd name="T40" fmla="*/ 799 w 2429"/>
                  <a:gd name="T41" fmla="*/ 971 h 1278"/>
                  <a:gd name="T42" fmla="*/ 657 w 2429"/>
                  <a:gd name="T43" fmla="*/ 936 h 1278"/>
                  <a:gd name="T44" fmla="*/ 569 w 2429"/>
                  <a:gd name="T45" fmla="*/ 897 h 1278"/>
                  <a:gd name="T46" fmla="*/ 490 w 2429"/>
                  <a:gd name="T47" fmla="*/ 842 h 1278"/>
                  <a:gd name="T48" fmla="*/ 382 w 2429"/>
                  <a:gd name="T49" fmla="*/ 737 h 1278"/>
                  <a:gd name="T50" fmla="*/ 216 w 2429"/>
                  <a:gd name="T51" fmla="*/ 519 h 1278"/>
                  <a:gd name="T52" fmla="*/ 72 w 2429"/>
                  <a:gd name="T53" fmla="*/ 283 h 1278"/>
                  <a:gd name="T54" fmla="*/ 10 w 2429"/>
                  <a:gd name="T55" fmla="*/ 118 h 1278"/>
                  <a:gd name="T56" fmla="*/ 0 w 2429"/>
                  <a:gd name="T57" fmla="*/ 26 h 1278"/>
                  <a:gd name="T58" fmla="*/ 18 w 2429"/>
                  <a:gd name="T59" fmla="*/ 0 h 1278"/>
                  <a:gd name="T60" fmla="*/ 30 w 2429"/>
                  <a:gd name="T61" fmla="*/ 18 h 1278"/>
                  <a:gd name="T62" fmla="*/ 30 w 2429"/>
                  <a:gd name="T63" fmla="*/ 74 h 1278"/>
                  <a:gd name="T64" fmla="*/ 65 w 2429"/>
                  <a:gd name="T65" fmla="*/ 202 h 1278"/>
                  <a:gd name="T66" fmla="*/ 170 w 2429"/>
                  <a:gd name="T67" fmla="*/ 401 h 1278"/>
                  <a:gd name="T68" fmla="*/ 337 w 2429"/>
                  <a:gd name="T69" fmla="*/ 641 h 1278"/>
                  <a:gd name="T70" fmla="*/ 474 w 2429"/>
                  <a:gd name="T71" fmla="*/ 793 h 1278"/>
                  <a:gd name="T72" fmla="*/ 550 w 2429"/>
                  <a:gd name="T73" fmla="*/ 852 h 1278"/>
                  <a:gd name="T74" fmla="*/ 631 w 2429"/>
                  <a:gd name="T75" fmla="*/ 897 h 1278"/>
                  <a:gd name="T76" fmla="*/ 722 w 2429"/>
                  <a:gd name="T77" fmla="*/ 928 h 1278"/>
                  <a:gd name="T78" fmla="*/ 923 w 2429"/>
                  <a:gd name="T79" fmla="*/ 957 h 1278"/>
                  <a:gd name="T80" fmla="*/ 1107 w 2429"/>
                  <a:gd name="T81" fmla="*/ 947 h 1278"/>
                  <a:gd name="T82" fmla="*/ 1272 w 2429"/>
                  <a:gd name="T83" fmla="*/ 909 h 1278"/>
                  <a:gd name="T84" fmla="*/ 1416 w 2429"/>
                  <a:gd name="T85" fmla="*/ 851 h 1278"/>
                  <a:gd name="T86" fmla="*/ 1554 w 2429"/>
                  <a:gd name="T87" fmla="*/ 775 h 1278"/>
                  <a:gd name="T88" fmla="*/ 1750 w 2429"/>
                  <a:gd name="T89" fmla="*/ 632 h 1278"/>
                  <a:gd name="T90" fmla="*/ 1940 w 2429"/>
                  <a:gd name="T91" fmla="*/ 517 h 1278"/>
                  <a:gd name="T92" fmla="*/ 2028 w 2429"/>
                  <a:gd name="T93" fmla="*/ 483 h 1278"/>
                  <a:gd name="T94" fmla="*/ 2105 w 2429"/>
                  <a:gd name="T95" fmla="*/ 471 h 1278"/>
                  <a:gd name="T96" fmla="*/ 2172 w 2429"/>
                  <a:gd name="T97" fmla="*/ 480 h 1278"/>
                  <a:gd name="T98" fmla="*/ 2226 w 2429"/>
                  <a:gd name="T99" fmla="*/ 509 h 1278"/>
                  <a:gd name="T100" fmla="*/ 2259 w 2429"/>
                  <a:gd name="T101" fmla="*/ 546 h 1278"/>
                  <a:gd name="T102" fmla="*/ 2282 w 2429"/>
                  <a:gd name="T103" fmla="*/ 616 h 1278"/>
                  <a:gd name="T104" fmla="*/ 2277 w 2429"/>
                  <a:gd name="T105" fmla="*/ 715 h 1278"/>
                  <a:gd name="T106" fmla="*/ 2245 w 2429"/>
                  <a:gd name="T107" fmla="*/ 861 h 1278"/>
                  <a:gd name="T108" fmla="*/ 2244 w 2429"/>
                  <a:gd name="T109" fmla="*/ 914 h 1278"/>
                  <a:gd name="T110" fmla="*/ 2270 w 2429"/>
                  <a:gd name="T111" fmla="*/ 946 h 1278"/>
                  <a:gd name="T112" fmla="*/ 2327 w 2429"/>
                  <a:gd name="T113" fmla="*/ 1006 h 1278"/>
                  <a:gd name="T114" fmla="*/ 2388 w 2429"/>
                  <a:gd name="T115" fmla="*/ 1112 h 1278"/>
                  <a:gd name="T116" fmla="*/ 2422 w 2429"/>
                  <a:gd name="T117" fmla="*/ 1223 h 1278"/>
                  <a:gd name="T118" fmla="*/ 2422 w 2429"/>
                  <a:gd name="T119" fmla="*/ 1276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29" h="1278">
                    <a:moveTo>
                      <a:pt x="2416" y="1278"/>
                    </a:moveTo>
                    <a:lnTo>
                      <a:pt x="2411" y="1277"/>
                    </a:lnTo>
                    <a:lnTo>
                      <a:pt x="2406" y="1273"/>
                    </a:lnTo>
                    <a:lnTo>
                      <a:pt x="2404" y="1270"/>
                    </a:lnTo>
                    <a:lnTo>
                      <a:pt x="2402" y="1265"/>
                    </a:lnTo>
                    <a:lnTo>
                      <a:pt x="2401" y="1255"/>
                    </a:lnTo>
                    <a:lnTo>
                      <a:pt x="2397" y="1230"/>
                    </a:lnTo>
                    <a:lnTo>
                      <a:pt x="2392" y="1214"/>
                    </a:lnTo>
                    <a:lnTo>
                      <a:pt x="2388" y="1194"/>
                    </a:lnTo>
                    <a:lnTo>
                      <a:pt x="2381" y="1172"/>
                    </a:lnTo>
                    <a:lnTo>
                      <a:pt x="2373" y="1149"/>
                    </a:lnTo>
                    <a:lnTo>
                      <a:pt x="2364" y="1125"/>
                    </a:lnTo>
                    <a:lnTo>
                      <a:pt x="2352" y="1100"/>
                    </a:lnTo>
                    <a:lnTo>
                      <a:pt x="2339" y="1074"/>
                    </a:lnTo>
                    <a:lnTo>
                      <a:pt x="2324" y="1049"/>
                    </a:lnTo>
                    <a:lnTo>
                      <a:pt x="2316" y="1036"/>
                    </a:lnTo>
                    <a:lnTo>
                      <a:pt x="2307" y="1024"/>
                    </a:lnTo>
                    <a:lnTo>
                      <a:pt x="2297" y="1011"/>
                    </a:lnTo>
                    <a:lnTo>
                      <a:pt x="2287" y="999"/>
                    </a:lnTo>
                    <a:lnTo>
                      <a:pt x="2277" y="989"/>
                    </a:lnTo>
                    <a:lnTo>
                      <a:pt x="2265" y="978"/>
                    </a:lnTo>
                    <a:lnTo>
                      <a:pt x="2253" y="967"/>
                    </a:lnTo>
                    <a:lnTo>
                      <a:pt x="2240" y="957"/>
                    </a:lnTo>
                    <a:lnTo>
                      <a:pt x="2233" y="951"/>
                    </a:lnTo>
                    <a:lnTo>
                      <a:pt x="2228" y="944"/>
                    </a:lnTo>
                    <a:lnTo>
                      <a:pt x="2223" y="937"/>
                    </a:lnTo>
                    <a:lnTo>
                      <a:pt x="2219" y="928"/>
                    </a:lnTo>
                    <a:lnTo>
                      <a:pt x="2217" y="919"/>
                    </a:lnTo>
                    <a:lnTo>
                      <a:pt x="2216" y="910"/>
                    </a:lnTo>
                    <a:lnTo>
                      <a:pt x="2215" y="900"/>
                    </a:lnTo>
                    <a:lnTo>
                      <a:pt x="2215" y="889"/>
                    </a:lnTo>
                    <a:lnTo>
                      <a:pt x="2217" y="867"/>
                    </a:lnTo>
                    <a:lnTo>
                      <a:pt x="2222" y="842"/>
                    </a:lnTo>
                    <a:lnTo>
                      <a:pt x="2227" y="815"/>
                    </a:lnTo>
                    <a:lnTo>
                      <a:pt x="2233" y="788"/>
                    </a:lnTo>
                    <a:lnTo>
                      <a:pt x="2242" y="751"/>
                    </a:lnTo>
                    <a:lnTo>
                      <a:pt x="2250" y="713"/>
                    </a:lnTo>
                    <a:lnTo>
                      <a:pt x="2253" y="695"/>
                    </a:lnTo>
                    <a:lnTo>
                      <a:pt x="2255" y="677"/>
                    </a:lnTo>
                    <a:lnTo>
                      <a:pt x="2257" y="658"/>
                    </a:lnTo>
                    <a:lnTo>
                      <a:pt x="2257" y="641"/>
                    </a:lnTo>
                    <a:lnTo>
                      <a:pt x="2256" y="624"/>
                    </a:lnTo>
                    <a:lnTo>
                      <a:pt x="2254" y="607"/>
                    </a:lnTo>
                    <a:lnTo>
                      <a:pt x="2250" y="591"/>
                    </a:lnTo>
                    <a:lnTo>
                      <a:pt x="2244" y="576"/>
                    </a:lnTo>
                    <a:lnTo>
                      <a:pt x="2241" y="569"/>
                    </a:lnTo>
                    <a:lnTo>
                      <a:pt x="2237" y="562"/>
                    </a:lnTo>
                    <a:lnTo>
                      <a:pt x="2232" y="556"/>
                    </a:lnTo>
                    <a:lnTo>
                      <a:pt x="2227" y="548"/>
                    </a:lnTo>
                    <a:lnTo>
                      <a:pt x="2222" y="543"/>
                    </a:lnTo>
                    <a:lnTo>
                      <a:pt x="2216" y="536"/>
                    </a:lnTo>
                    <a:lnTo>
                      <a:pt x="2209" y="531"/>
                    </a:lnTo>
                    <a:lnTo>
                      <a:pt x="2202" y="525"/>
                    </a:lnTo>
                    <a:lnTo>
                      <a:pt x="2192" y="519"/>
                    </a:lnTo>
                    <a:lnTo>
                      <a:pt x="2182" y="514"/>
                    </a:lnTo>
                    <a:lnTo>
                      <a:pt x="2172" y="509"/>
                    </a:lnTo>
                    <a:lnTo>
                      <a:pt x="2161" y="506"/>
                    </a:lnTo>
                    <a:lnTo>
                      <a:pt x="2149" y="503"/>
                    </a:lnTo>
                    <a:lnTo>
                      <a:pt x="2137" y="501"/>
                    </a:lnTo>
                    <a:lnTo>
                      <a:pt x="2125" y="500"/>
                    </a:lnTo>
                    <a:lnTo>
                      <a:pt x="2113" y="498"/>
                    </a:lnTo>
                    <a:lnTo>
                      <a:pt x="2100" y="500"/>
                    </a:lnTo>
                    <a:lnTo>
                      <a:pt x="2086" y="501"/>
                    </a:lnTo>
                    <a:lnTo>
                      <a:pt x="2071" y="502"/>
                    </a:lnTo>
                    <a:lnTo>
                      <a:pt x="2057" y="505"/>
                    </a:lnTo>
                    <a:lnTo>
                      <a:pt x="2042" y="508"/>
                    </a:lnTo>
                    <a:lnTo>
                      <a:pt x="2026" y="512"/>
                    </a:lnTo>
                    <a:lnTo>
                      <a:pt x="2011" y="518"/>
                    </a:lnTo>
                    <a:lnTo>
                      <a:pt x="1995" y="523"/>
                    </a:lnTo>
                    <a:lnTo>
                      <a:pt x="1978" y="530"/>
                    </a:lnTo>
                    <a:lnTo>
                      <a:pt x="1960" y="537"/>
                    </a:lnTo>
                    <a:lnTo>
                      <a:pt x="1942" y="546"/>
                    </a:lnTo>
                    <a:lnTo>
                      <a:pt x="1925" y="555"/>
                    </a:lnTo>
                    <a:lnTo>
                      <a:pt x="1887" y="575"/>
                    </a:lnTo>
                    <a:lnTo>
                      <a:pt x="1847" y="599"/>
                    </a:lnTo>
                    <a:lnTo>
                      <a:pt x="1805" y="627"/>
                    </a:lnTo>
                    <a:lnTo>
                      <a:pt x="1762" y="657"/>
                    </a:lnTo>
                    <a:lnTo>
                      <a:pt x="1715" y="691"/>
                    </a:lnTo>
                    <a:lnTo>
                      <a:pt x="1668" y="727"/>
                    </a:lnTo>
                    <a:lnTo>
                      <a:pt x="1640" y="749"/>
                    </a:lnTo>
                    <a:lnTo>
                      <a:pt x="1607" y="773"/>
                    </a:lnTo>
                    <a:lnTo>
                      <a:pt x="1569" y="797"/>
                    </a:lnTo>
                    <a:lnTo>
                      <a:pt x="1526" y="824"/>
                    </a:lnTo>
                    <a:lnTo>
                      <a:pt x="1502" y="837"/>
                    </a:lnTo>
                    <a:lnTo>
                      <a:pt x="1479" y="850"/>
                    </a:lnTo>
                    <a:lnTo>
                      <a:pt x="1454" y="863"/>
                    </a:lnTo>
                    <a:lnTo>
                      <a:pt x="1427" y="876"/>
                    </a:lnTo>
                    <a:lnTo>
                      <a:pt x="1400" y="889"/>
                    </a:lnTo>
                    <a:lnTo>
                      <a:pt x="1371" y="901"/>
                    </a:lnTo>
                    <a:lnTo>
                      <a:pt x="1342" y="913"/>
                    </a:lnTo>
                    <a:lnTo>
                      <a:pt x="1311" y="924"/>
                    </a:lnTo>
                    <a:lnTo>
                      <a:pt x="1280" y="935"/>
                    </a:lnTo>
                    <a:lnTo>
                      <a:pt x="1248" y="944"/>
                    </a:lnTo>
                    <a:lnTo>
                      <a:pt x="1215" y="953"/>
                    </a:lnTo>
                    <a:lnTo>
                      <a:pt x="1181" y="962"/>
                    </a:lnTo>
                    <a:lnTo>
                      <a:pt x="1146" y="968"/>
                    </a:lnTo>
                    <a:lnTo>
                      <a:pt x="1110" y="974"/>
                    </a:lnTo>
                    <a:lnTo>
                      <a:pt x="1074" y="979"/>
                    </a:lnTo>
                    <a:lnTo>
                      <a:pt x="1037" y="982"/>
                    </a:lnTo>
                    <a:lnTo>
                      <a:pt x="999" y="984"/>
                    </a:lnTo>
                    <a:lnTo>
                      <a:pt x="960" y="985"/>
                    </a:lnTo>
                    <a:lnTo>
                      <a:pt x="921" y="984"/>
                    </a:lnTo>
                    <a:lnTo>
                      <a:pt x="882" y="982"/>
                    </a:lnTo>
                    <a:lnTo>
                      <a:pt x="841" y="978"/>
                    </a:lnTo>
                    <a:lnTo>
                      <a:pt x="799" y="971"/>
                    </a:lnTo>
                    <a:lnTo>
                      <a:pt x="757" y="964"/>
                    </a:lnTo>
                    <a:lnTo>
                      <a:pt x="715" y="954"/>
                    </a:lnTo>
                    <a:lnTo>
                      <a:pt x="696" y="949"/>
                    </a:lnTo>
                    <a:lnTo>
                      <a:pt x="676" y="942"/>
                    </a:lnTo>
                    <a:lnTo>
                      <a:pt x="657" y="936"/>
                    </a:lnTo>
                    <a:lnTo>
                      <a:pt x="639" y="929"/>
                    </a:lnTo>
                    <a:lnTo>
                      <a:pt x="621" y="922"/>
                    </a:lnTo>
                    <a:lnTo>
                      <a:pt x="604" y="914"/>
                    </a:lnTo>
                    <a:lnTo>
                      <a:pt x="587" y="905"/>
                    </a:lnTo>
                    <a:lnTo>
                      <a:pt x="569" y="897"/>
                    </a:lnTo>
                    <a:lnTo>
                      <a:pt x="553" y="887"/>
                    </a:lnTo>
                    <a:lnTo>
                      <a:pt x="537" y="876"/>
                    </a:lnTo>
                    <a:lnTo>
                      <a:pt x="521" y="865"/>
                    </a:lnTo>
                    <a:lnTo>
                      <a:pt x="505" y="854"/>
                    </a:lnTo>
                    <a:lnTo>
                      <a:pt x="490" y="842"/>
                    </a:lnTo>
                    <a:lnTo>
                      <a:pt x="473" y="829"/>
                    </a:lnTo>
                    <a:lnTo>
                      <a:pt x="458" y="816"/>
                    </a:lnTo>
                    <a:lnTo>
                      <a:pt x="443" y="801"/>
                    </a:lnTo>
                    <a:lnTo>
                      <a:pt x="412" y="770"/>
                    </a:lnTo>
                    <a:lnTo>
                      <a:pt x="382" y="737"/>
                    </a:lnTo>
                    <a:lnTo>
                      <a:pt x="350" y="700"/>
                    </a:lnTo>
                    <a:lnTo>
                      <a:pt x="318" y="660"/>
                    </a:lnTo>
                    <a:lnTo>
                      <a:pt x="285" y="616"/>
                    </a:lnTo>
                    <a:lnTo>
                      <a:pt x="252" y="570"/>
                    </a:lnTo>
                    <a:lnTo>
                      <a:pt x="216" y="519"/>
                    </a:lnTo>
                    <a:lnTo>
                      <a:pt x="179" y="465"/>
                    </a:lnTo>
                    <a:lnTo>
                      <a:pt x="146" y="415"/>
                    </a:lnTo>
                    <a:lnTo>
                      <a:pt x="118" y="368"/>
                    </a:lnTo>
                    <a:lnTo>
                      <a:pt x="93" y="324"/>
                    </a:lnTo>
                    <a:lnTo>
                      <a:pt x="72" y="283"/>
                    </a:lnTo>
                    <a:lnTo>
                      <a:pt x="53" y="244"/>
                    </a:lnTo>
                    <a:lnTo>
                      <a:pt x="39" y="208"/>
                    </a:lnTo>
                    <a:lnTo>
                      <a:pt x="26" y="175"/>
                    </a:lnTo>
                    <a:lnTo>
                      <a:pt x="18" y="145"/>
                    </a:lnTo>
                    <a:lnTo>
                      <a:pt x="10" y="118"/>
                    </a:lnTo>
                    <a:lnTo>
                      <a:pt x="5" y="94"/>
                    </a:lnTo>
                    <a:lnTo>
                      <a:pt x="1" y="72"/>
                    </a:lnTo>
                    <a:lnTo>
                      <a:pt x="0" y="54"/>
                    </a:lnTo>
                    <a:lnTo>
                      <a:pt x="0" y="39"/>
                    </a:lnTo>
                    <a:lnTo>
                      <a:pt x="0" y="26"/>
                    </a:lnTo>
                    <a:lnTo>
                      <a:pt x="3" y="15"/>
                    </a:lnTo>
                    <a:lnTo>
                      <a:pt x="5" y="7"/>
                    </a:lnTo>
                    <a:lnTo>
                      <a:pt x="8" y="3"/>
                    </a:lnTo>
                    <a:lnTo>
                      <a:pt x="12" y="1"/>
                    </a:lnTo>
                    <a:lnTo>
                      <a:pt x="18" y="0"/>
                    </a:lnTo>
                    <a:lnTo>
                      <a:pt x="23" y="1"/>
                    </a:lnTo>
                    <a:lnTo>
                      <a:pt x="27" y="4"/>
                    </a:lnTo>
                    <a:lnTo>
                      <a:pt x="30" y="8"/>
                    </a:lnTo>
                    <a:lnTo>
                      <a:pt x="31" y="14"/>
                    </a:lnTo>
                    <a:lnTo>
                      <a:pt x="30" y="18"/>
                    </a:lnTo>
                    <a:lnTo>
                      <a:pt x="28" y="23"/>
                    </a:lnTo>
                    <a:lnTo>
                      <a:pt x="27" y="32"/>
                    </a:lnTo>
                    <a:lnTo>
                      <a:pt x="26" y="44"/>
                    </a:lnTo>
                    <a:lnTo>
                      <a:pt x="27" y="58"/>
                    </a:lnTo>
                    <a:lnTo>
                      <a:pt x="30" y="74"/>
                    </a:lnTo>
                    <a:lnTo>
                      <a:pt x="33" y="94"/>
                    </a:lnTo>
                    <a:lnTo>
                      <a:pt x="37" y="116"/>
                    </a:lnTo>
                    <a:lnTo>
                      <a:pt x="45" y="142"/>
                    </a:lnTo>
                    <a:lnTo>
                      <a:pt x="54" y="170"/>
                    </a:lnTo>
                    <a:lnTo>
                      <a:pt x="65" y="202"/>
                    </a:lnTo>
                    <a:lnTo>
                      <a:pt x="80" y="236"/>
                    </a:lnTo>
                    <a:lnTo>
                      <a:pt x="98" y="273"/>
                    </a:lnTo>
                    <a:lnTo>
                      <a:pt x="118" y="313"/>
                    </a:lnTo>
                    <a:lnTo>
                      <a:pt x="142" y="356"/>
                    </a:lnTo>
                    <a:lnTo>
                      <a:pt x="170" y="401"/>
                    </a:lnTo>
                    <a:lnTo>
                      <a:pt x="201" y="450"/>
                    </a:lnTo>
                    <a:lnTo>
                      <a:pt x="238" y="503"/>
                    </a:lnTo>
                    <a:lnTo>
                      <a:pt x="273" y="552"/>
                    </a:lnTo>
                    <a:lnTo>
                      <a:pt x="306" y="599"/>
                    </a:lnTo>
                    <a:lnTo>
                      <a:pt x="337" y="641"/>
                    </a:lnTo>
                    <a:lnTo>
                      <a:pt x="369" y="680"/>
                    </a:lnTo>
                    <a:lnTo>
                      <a:pt x="399" y="716"/>
                    </a:lnTo>
                    <a:lnTo>
                      <a:pt x="429" y="749"/>
                    </a:lnTo>
                    <a:lnTo>
                      <a:pt x="459" y="779"/>
                    </a:lnTo>
                    <a:lnTo>
                      <a:pt x="474" y="793"/>
                    </a:lnTo>
                    <a:lnTo>
                      <a:pt x="488" y="806"/>
                    </a:lnTo>
                    <a:lnTo>
                      <a:pt x="504" y="819"/>
                    </a:lnTo>
                    <a:lnTo>
                      <a:pt x="519" y="831"/>
                    </a:lnTo>
                    <a:lnTo>
                      <a:pt x="535" y="842"/>
                    </a:lnTo>
                    <a:lnTo>
                      <a:pt x="550" y="852"/>
                    </a:lnTo>
                    <a:lnTo>
                      <a:pt x="566" y="862"/>
                    </a:lnTo>
                    <a:lnTo>
                      <a:pt x="581" y="872"/>
                    </a:lnTo>
                    <a:lnTo>
                      <a:pt x="598" y="881"/>
                    </a:lnTo>
                    <a:lnTo>
                      <a:pt x="615" y="889"/>
                    </a:lnTo>
                    <a:lnTo>
                      <a:pt x="631" y="897"/>
                    </a:lnTo>
                    <a:lnTo>
                      <a:pt x="648" y="904"/>
                    </a:lnTo>
                    <a:lnTo>
                      <a:pt x="667" y="911"/>
                    </a:lnTo>
                    <a:lnTo>
                      <a:pt x="684" y="917"/>
                    </a:lnTo>
                    <a:lnTo>
                      <a:pt x="702" y="923"/>
                    </a:lnTo>
                    <a:lnTo>
                      <a:pt x="722" y="928"/>
                    </a:lnTo>
                    <a:lnTo>
                      <a:pt x="763" y="937"/>
                    </a:lnTo>
                    <a:lnTo>
                      <a:pt x="804" y="945"/>
                    </a:lnTo>
                    <a:lnTo>
                      <a:pt x="844" y="951"/>
                    </a:lnTo>
                    <a:lnTo>
                      <a:pt x="884" y="955"/>
                    </a:lnTo>
                    <a:lnTo>
                      <a:pt x="923" y="957"/>
                    </a:lnTo>
                    <a:lnTo>
                      <a:pt x="960" y="958"/>
                    </a:lnTo>
                    <a:lnTo>
                      <a:pt x="998" y="957"/>
                    </a:lnTo>
                    <a:lnTo>
                      <a:pt x="1035" y="955"/>
                    </a:lnTo>
                    <a:lnTo>
                      <a:pt x="1072" y="952"/>
                    </a:lnTo>
                    <a:lnTo>
                      <a:pt x="1107" y="947"/>
                    </a:lnTo>
                    <a:lnTo>
                      <a:pt x="1142" y="942"/>
                    </a:lnTo>
                    <a:lnTo>
                      <a:pt x="1175" y="935"/>
                    </a:lnTo>
                    <a:lnTo>
                      <a:pt x="1209" y="927"/>
                    </a:lnTo>
                    <a:lnTo>
                      <a:pt x="1241" y="918"/>
                    </a:lnTo>
                    <a:lnTo>
                      <a:pt x="1272" y="909"/>
                    </a:lnTo>
                    <a:lnTo>
                      <a:pt x="1303" y="899"/>
                    </a:lnTo>
                    <a:lnTo>
                      <a:pt x="1333" y="887"/>
                    </a:lnTo>
                    <a:lnTo>
                      <a:pt x="1361" y="876"/>
                    </a:lnTo>
                    <a:lnTo>
                      <a:pt x="1389" y="864"/>
                    </a:lnTo>
                    <a:lnTo>
                      <a:pt x="1416" y="851"/>
                    </a:lnTo>
                    <a:lnTo>
                      <a:pt x="1442" y="840"/>
                    </a:lnTo>
                    <a:lnTo>
                      <a:pt x="1467" y="827"/>
                    </a:lnTo>
                    <a:lnTo>
                      <a:pt x="1491" y="814"/>
                    </a:lnTo>
                    <a:lnTo>
                      <a:pt x="1512" y="801"/>
                    </a:lnTo>
                    <a:lnTo>
                      <a:pt x="1554" y="775"/>
                    </a:lnTo>
                    <a:lnTo>
                      <a:pt x="1592" y="750"/>
                    </a:lnTo>
                    <a:lnTo>
                      <a:pt x="1624" y="727"/>
                    </a:lnTo>
                    <a:lnTo>
                      <a:pt x="1651" y="706"/>
                    </a:lnTo>
                    <a:lnTo>
                      <a:pt x="1701" y="667"/>
                    </a:lnTo>
                    <a:lnTo>
                      <a:pt x="1750" y="632"/>
                    </a:lnTo>
                    <a:lnTo>
                      <a:pt x="1795" y="600"/>
                    </a:lnTo>
                    <a:lnTo>
                      <a:pt x="1839" y="572"/>
                    </a:lnTo>
                    <a:lnTo>
                      <a:pt x="1880" y="547"/>
                    </a:lnTo>
                    <a:lnTo>
                      <a:pt x="1920" y="526"/>
                    </a:lnTo>
                    <a:lnTo>
                      <a:pt x="1940" y="517"/>
                    </a:lnTo>
                    <a:lnTo>
                      <a:pt x="1958" y="508"/>
                    </a:lnTo>
                    <a:lnTo>
                      <a:pt x="1976" y="501"/>
                    </a:lnTo>
                    <a:lnTo>
                      <a:pt x="1994" y="494"/>
                    </a:lnTo>
                    <a:lnTo>
                      <a:pt x="2011" y="489"/>
                    </a:lnTo>
                    <a:lnTo>
                      <a:pt x="2028" y="483"/>
                    </a:lnTo>
                    <a:lnTo>
                      <a:pt x="2044" y="479"/>
                    </a:lnTo>
                    <a:lnTo>
                      <a:pt x="2061" y="476"/>
                    </a:lnTo>
                    <a:lnTo>
                      <a:pt x="2076" y="474"/>
                    </a:lnTo>
                    <a:lnTo>
                      <a:pt x="2091" y="473"/>
                    </a:lnTo>
                    <a:lnTo>
                      <a:pt x="2105" y="471"/>
                    </a:lnTo>
                    <a:lnTo>
                      <a:pt x="2119" y="471"/>
                    </a:lnTo>
                    <a:lnTo>
                      <a:pt x="2133" y="473"/>
                    </a:lnTo>
                    <a:lnTo>
                      <a:pt x="2146" y="475"/>
                    </a:lnTo>
                    <a:lnTo>
                      <a:pt x="2159" y="477"/>
                    </a:lnTo>
                    <a:lnTo>
                      <a:pt x="2172" y="480"/>
                    </a:lnTo>
                    <a:lnTo>
                      <a:pt x="2184" y="484"/>
                    </a:lnTo>
                    <a:lnTo>
                      <a:pt x="2196" y="490"/>
                    </a:lnTo>
                    <a:lnTo>
                      <a:pt x="2206" y="496"/>
                    </a:lnTo>
                    <a:lnTo>
                      <a:pt x="2217" y="503"/>
                    </a:lnTo>
                    <a:lnTo>
                      <a:pt x="2226" y="509"/>
                    </a:lnTo>
                    <a:lnTo>
                      <a:pt x="2233" y="516"/>
                    </a:lnTo>
                    <a:lnTo>
                      <a:pt x="2241" y="523"/>
                    </a:lnTo>
                    <a:lnTo>
                      <a:pt x="2248" y="531"/>
                    </a:lnTo>
                    <a:lnTo>
                      <a:pt x="2254" y="538"/>
                    </a:lnTo>
                    <a:lnTo>
                      <a:pt x="2259" y="546"/>
                    </a:lnTo>
                    <a:lnTo>
                      <a:pt x="2264" y="555"/>
                    </a:lnTo>
                    <a:lnTo>
                      <a:pt x="2268" y="562"/>
                    </a:lnTo>
                    <a:lnTo>
                      <a:pt x="2274" y="579"/>
                    </a:lnTo>
                    <a:lnTo>
                      <a:pt x="2280" y="598"/>
                    </a:lnTo>
                    <a:lnTo>
                      <a:pt x="2282" y="616"/>
                    </a:lnTo>
                    <a:lnTo>
                      <a:pt x="2284" y="636"/>
                    </a:lnTo>
                    <a:lnTo>
                      <a:pt x="2284" y="655"/>
                    </a:lnTo>
                    <a:lnTo>
                      <a:pt x="2282" y="675"/>
                    </a:lnTo>
                    <a:lnTo>
                      <a:pt x="2280" y="695"/>
                    </a:lnTo>
                    <a:lnTo>
                      <a:pt x="2277" y="715"/>
                    </a:lnTo>
                    <a:lnTo>
                      <a:pt x="2269" y="755"/>
                    </a:lnTo>
                    <a:lnTo>
                      <a:pt x="2260" y="793"/>
                    </a:lnTo>
                    <a:lnTo>
                      <a:pt x="2255" y="817"/>
                    </a:lnTo>
                    <a:lnTo>
                      <a:pt x="2250" y="840"/>
                    </a:lnTo>
                    <a:lnTo>
                      <a:pt x="2245" y="861"/>
                    </a:lnTo>
                    <a:lnTo>
                      <a:pt x="2243" y="881"/>
                    </a:lnTo>
                    <a:lnTo>
                      <a:pt x="2242" y="890"/>
                    </a:lnTo>
                    <a:lnTo>
                      <a:pt x="2242" y="899"/>
                    </a:lnTo>
                    <a:lnTo>
                      <a:pt x="2243" y="906"/>
                    </a:lnTo>
                    <a:lnTo>
                      <a:pt x="2244" y="914"/>
                    </a:lnTo>
                    <a:lnTo>
                      <a:pt x="2245" y="921"/>
                    </a:lnTo>
                    <a:lnTo>
                      <a:pt x="2249" y="926"/>
                    </a:lnTo>
                    <a:lnTo>
                      <a:pt x="2252" y="931"/>
                    </a:lnTo>
                    <a:lnTo>
                      <a:pt x="2256" y="936"/>
                    </a:lnTo>
                    <a:lnTo>
                      <a:pt x="2270" y="946"/>
                    </a:lnTo>
                    <a:lnTo>
                      <a:pt x="2283" y="957"/>
                    </a:lnTo>
                    <a:lnTo>
                      <a:pt x="2295" y="969"/>
                    </a:lnTo>
                    <a:lnTo>
                      <a:pt x="2306" y="981"/>
                    </a:lnTo>
                    <a:lnTo>
                      <a:pt x="2317" y="993"/>
                    </a:lnTo>
                    <a:lnTo>
                      <a:pt x="2327" y="1006"/>
                    </a:lnTo>
                    <a:lnTo>
                      <a:pt x="2337" y="1019"/>
                    </a:lnTo>
                    <a:lnTo>
                      <a:pt x="2346" y="1032"/>
                    </a:lnTo>
                    <a:lnTo>
                      <a:pt x="2362" y="1059"/>
                    </a:lnTo>
                    <a:lnTo>
                      <a:pt x="2376" y="1085"/>
                    </a:lnTo>
                    <a:lnTo>
                      <a:pt x="2388" y="1112"/>
                    </a:lnTo>
                    <a:lnTo>
                      <a:pt x="2398" y="1137"/>
                    </a:lnTo>
                    <a:lnTo>
                      <a:pt x="2406" y="1161"/>
                    </a:lnTo>
                    <a:lnTo>
                      <a:pt x="2413" y="1184"/>
                    </a:lnTo>
                    <a:lnTo>
                      <a:pt x="2418" y="1204"/>
                    </a:lnTo>
                    <a:lnTo>
                      <a:pt x="2422" y="1223"/>
                    </a:lnTo>
                    <a:lnTo>
                      <a:pt x="2428" y="1251"/>
                    </a:lnTo>
                    <a:lnTo>
                      <a:pt x="2429" y="1263"/>
                    </a:lnTo>
                    <a:lnTo>
                      <a:pt x="2429" y="1268"/>
                    </a:lnTo>
                    <a:lnTo>
                      <a:pt x="2427" y="1272"/>
                    </a:lnTo>
                    <a:lnTo>
                      <a:pt x="2422" y="1276"/>
                    </a:lnTo>
                    <a:lnTo>
                      <a:pt x="2417" y="1277"/>
                    </a:lnTo>
                    <a:lnTo>
                      <a:pt x="2416" y="1278"/>
                    </a:lnTo>
                    <a:lnTo>
                      <a:pt x="2416" y="1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2"/>
              <p:cNvSpPr>
                <a:spLocks/>
              </p:cNvSpPr>
              <p:nvPr userDrawn="1"/>
            </p:nvSpPr>
            <p:spPr bwMode="auto">
              <a:xfrm>
                <a:off x="1834" y="1512"/>
                <a:ext cx="817" cy="428"/>
              </a:xfrm>
              <a:custGeom>
                <a:avLst/>
                <a:gdLst>
                  <a:gd name="T0" fmla="*/ 2425 w 2451"/>
                  <a:gd name="T1" fmla="*/ 1276 h 1284"/>
                  <a:gd name="T2" fmla="*/ 2400 w 2451"/>
                  <a:gd name="T3" fmla="*/ 1194 h 1284"/>
                  <a:gd name="T4" fmla="*/ 2325 w 2451"/>
                  <a:gd name="T5" fmla="*/ 1060 h 1284"/>
                  <a:gd name="T6" fmla="*/ 2242 w 2451"/>
                  <a:gd name="T7" fmla="*/ 980 h 1284"/>
                  <a:gd name="T8" fmla="*/ 2222 w 2451"/>
                  <a:gd name="T9" fmla="*/ 941 h 1284"/>
                  <a:gd name="T10" fmla="*/ 2226 w 2451"/>
                  <a:gd name="T11" fmla="*/ 850 h 1284"/>
                  <a:gd name="T12" fmla="*/ 2243 w 2451"/>
                  <a:gd name="T13" fmla="*/ 720 h 1284"/>
                  <a:gd name="T14" fmla="*/ 2232 w 2451"/>
                  <a:gd name="T15" fmla="*/ 640 h 1284"/>
                  <a:gd name="T16" fmla="*/ 2195 w 2451"/>
                  <a:gd name="T17" fmla="*/ 588 h 1284"/>
                  <a:gd name="T18" fmla="*/ 2139 w 2451"/>
                  <a:gd name="T19" fmla="*/ 559 h 1284"/>
                  <a:gd name="T20" fmla="*/ 2053 w 2451"/>
                  <a:gd name="T21" fmla="*/ 553 h 1284"/>
                  <a:gd name="T22" fmla="*/ 1948 w 2451"/>
                  <a:gd name="T23" fmla="*/ 582 h 1284"/>
                  <a:gd name="T24" fmla="*/ 1824 w 2451"/>
                  <a:gd name="T25" fmla="*/ 641 h 1284"/>
                  <a:gd name="T26" fmla="*/ 1679 w 2451"/>
                  <a:gd name="T27" fmla="*/ 734 h 1284"/>
                  <a:gd name="T28" fmla="*/ 1482 w 2451"/>
                  <a:gd name="T29" fmla="*/ 857 h 1284"/>
                  <a:gd name="T30" fmla="*/ 1350 w 2451"/>
                  <a:gd name="T31" fmla="*/ 917 h 1284"/>
                  <a:gd name="T32" fmla="*/ 1200 w 2451"/>
                  <a:gd name="T33" fmla="*/ 965 h 1284"/>
                  <a:gd name="T34" fmla="*/ 1032 w 2451"/>
                  <a:gd name="T35" fmla="*/ 993 h 1284"/>
                  <a:gd name="T36" fmla="*/ 849 w 2451"/>
                  <a:gd name="T37" fmla="*/ 992 h 1284"/>
                  <a:gd name="T38" fmla="*/ 676 w 2451"/>
                  <a:gd name="T39" fmla="*/ 959 h 1284"/>
                  <a:gd name="T40" fmla="*/ 586 w 2451"/>
                  <a:gd name="T41" fmla="*/ 926 h 1284"/>
                  <a:gd name="T42" fmla="*/ 505 w 2451"/>
                  <a:gd name="T43" fmla="*/ 876 h 1284"/>
                  <a:gd name="T44" fmla="*/ 428 w 2451"/>
                  <a:gd name="T45" fmla="*/ 810 h 1284"/>
                  <a:gd name="T46" fmla="*/ 273 w 2451"/>
                  <a:gd name="T47" fmla="*/ 623 h 1284"/>
                  <a:gd name="T48" fmla="*/ 114 w 2451"/>
                  <a:gd name="T49" fmla="*/ 380 h 1284"/>
                  <a:gd name="T50" fmla="*/ 27 w 2451"/>
                  <a:gd name="T51" fmla="*/ 193 h 1284"/>
                  <a:gd name="T52" fmla="*/ 0 w 2451"/>
                  <a:gd name="T53" fmla="*/ 63 h 1284"/>
                  <a:gd name="T54" fmla="*/ 11 w 2451"/>
                  <a:gd name="T55" fmla="*/ 3 h 1284"/>
                  <a:gd name="T56" fmla="*/ 33 w 2451"/>
                  <a:gd name="T57" fmla="*/ 9 h 1284"/>
                  <a:gd name="T58" fmla="*/ 27 w 2451"/>
                  <a:gd name="T59" fmla="*/ 44 h 1284"/>
                  <a:gd name="T60" fmla="*/ 41 w 2451"/>
                  <a:gd name="T61" fmla="*/ 143 h 1284"/>
                  <a:gd name="T62" fmla="*/ 110 w 2451"/>
                  <a:gd name="T63" fmla="*/ 316 h 1284"/>
                  <a:gd name="T64" fmla="*/ 261 w 2451"/>
                  <a:gd name="T65" fmla="*/ 558 h 1284"/>
                  <a:gd name="T66" fmla="*/ 414 w 2451"/>
                  <a:gd name="T67" fmla="*/ 757 h 1284"/>
                  <a:gd name="T68" fmla="*/ 504 w 2451"/>
                  <a:gd name="T69" fmla="*/ 841 h 1284"/>
                  <a:gd name="T70" fmla="*/ 581 w 2451"/>
                  <a:gd name="T71" fmla="*/ 892 h 1284"/>
                  <a:gd name="T72" fmla="*/ 665 w 2451"/>
                  <a:gd name="T73" fmla="*/ 928 h 1284"/>
                  <a:gd name="T74" fmla="*/ 815 w 2451"/>
                  <a:gd name="T75" fmla="*/ 960 h 1284"/>
                  <a:gd name="T76" fmla="*/ 995 w 2451"/>
                  <a:gd name="T77" fmla="*/ 968 h 1284"/>
                  <a:gd name="T78" fmla="*/ 1163 w 2451"/>
                  <a:gd name="T79" fmla="*/ 946 h 1284"/>
                  <a:gd name="T80" fmla="*/ 1314 w 2451"/>
                  <a:gd name="T81" fmla="*/ 902 h 1284"/>
                  <a:gd name="T82" fmla="*/ 1447 w 2451"/>
                  <a:gd name="T83" fmla="*/ 845 h 1284"/>
                  <a:gd name="T84" fmla="*/ 1629 w 2451"/>
                  <a:gd name="T85" fmla="*/ 736 h 1284"/>
                  <a:gd name="T86" fmla="*/ 1784 w 2451"/>
                  <a:gd name="T87" fmla="*/ 633 h 1284"/>
                  <a:gd name="T88" fmla="*/ 1915 w 2451"/>
                  <a:gd name="T89" fmla="*/ 565 h 1284"/>
                  <a:gd name="T90" fmla="*/ 2034 w 2451"/>
                  <a:gd name="T91" fmla="*/ 529 h 1284"/>
                  <a:gd name="T92" fmla="*/ 2131 w 2451"/>
                  <a:gd name="T93" fmla="*/ 529 h 1284"/>
                  <a:gd name="T94" fmla="*/ 2205 w 2451"/>
                  <a:gd name="T95" fmla="*/ 561 h 1284"/>
                  <a:gd name="T96" fmla="*/ 2238 w 2451"/>
                  <a:gd name="T97" fmla="*/ 596 h 1284"/>
                  <a:gd name="T98" fmla="*/ 2266 w 2451"/>
                  <a:gd name="T99" fmla="*/ 662 h 1284"/>
                  <a:gd name="T100" fmla="*/ 2267 w 2451"/>
                  <a:gd name="T101" fmla="*/ 754 h 1284"/>
                  <a:gd name="T102" fmla="*/ 2248 w 2451"/>
                  <a:gd name="T103" fmla="*/ 893 h 1284"/>
                  <a:gd name="T104" fmla="*/ 2251 w 2451"/>
                  <a:gd name="T105" fmla="*/ 943 h 1284"/>
                  <a:gd name="T106" fmla="*/ 2287 w 2451"/>
                  <a:gd name="T107" fmla="*/ 981 h 1284"/>
                  <a:gd name="T108" fmla="*/ 2382 w 2451"/>
                  <a:gd name="T109" fmla="*/ 1093 h 1284"/>
                  <a:gd name="T110" fmla="*/ 2442 w 2451"/>
                  <a:gd name="T111" fmla="*/ 1237 h 1284"/>
                  <a:gd name="T112" fmla="*/ 2451 w 2451"/>
                  <a:gd name="T113" fmla="*/ 1266 h 1284"/>
                  <a:gd name="T114" fmla="*/ 2440 w 2451"/>
                  <a:gd name="T115" fmla="*/ 1283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51" h="1284">
                    <a:moveTo>
                      <a:pt x="2438" y="1284"/>
                    </a:moveTo>
                    <a:lnTo>
                      <a:pt x="2435" y="1283"/>
                    </a:lnTo>
                    <a:lnTo>
                      <a:pt x="2431" y="1282"/>
                    </a:lnTo>
                    <a:lnTo>
                      <a:pt x="2428" y="1280"/>
                    </a:lnTo>
                    <a:lnTo>
                      <a:pt x="2425" y="1276"/>
                    </a:lnTo>
                    <a:lnTo>
                      <a:pt x="2423" y="1270"/>
                    </a:lnTo>
                    <a:lnTo>
                      <a:pt x="2421" y="1262"/>
                    </a:lnTo>
                    <a:lnTo>
                      <a:pt x="2416" y="1244"/>
                    </a:lnTo>
                    <a:lnTo>
                      <a:pt x="2410" y="1221"/>
                    </a:lnTo>
                    <a:lnTo>
                      <a:pt x="2400" y="1194"/>
                    </a:lnTo>
                    <a:lnTo>
                      <a:pt x="2387" y="1162"/>
                    </a:lnTo>
                    <a:lnTo>
                      <a:pt x="2373" y="1134"/>
                    </a:lnTo>
                    <a:lnTo>
                      <a:pt x="2358" y="1108"/>
                    </a:lnTo>
                    <a:lnTo>
                      <a:pt x="2343" y="1083"/>
                    </a:lnTo>
                    <a:lnTo>
                      <a:pt x="2325" y="1060"/>
                    </a:lnTo>
                    <a:lnTo>
                      <a:pt x="2308" y="1039"/>
                    </a:lnTo>
                    <a:lnTo>
                      <a:pt x="2290" y="1020"/>
                    </a:lnTo>
                    <a:lnTo>
                      <a:pt x="2269" y="1001"/>
                    </a:lnTo>
                    <a:lnTo>
                      <a:pt x="2249" y="986"/>
                    </a:lnTo>
                    <a:lnTo>
                      <a:pt x="2242" y="980"/>
                    </a:lnTo>
                    <a:lnTo>
                      <a:pt x="2236" y="973"/>
                    </a:lnTo>
                    <a:lnTo>
                      <a:pt x="2232" y="966"/>
                    </a:lnTo>
                    <a:lnTo>
                      <a:pt x="2227" y="958"/>
                    </a:lnTo>
                    <a:lnTo>
                      <a:pt x="2224" y="950"/>
                    </a:lnTo>
                    <a:lnTo>
                      <a:pt x="2222" y="941"/>
                    </a:lnTo>
                    <a:lnTo>
                      <a:pt x="2221" y="931"/>
                    </a:lnTo>
                    <a:lnTo>
                      <a:pt x="2220" y="920"/>
                    </a:lnTo>
                    <a:lnTo>
                      <a:pt x="2221" y="899"/>
                    </a:lnTo>
                    <a:lnTo>
                      <a:pt x="2223" y="875"/>
                    </a:lnTo>
                    <a:lnTo>
                      <a:pt x="2226" y="850"/>
                    </a:lnTo>
                    <a:lnTo>
                      <a:pt x="2230" y="823"/>
                    </a:lnTo>
                    <a:lnTo>
                      <a:pt x="2236" y="789"/>
                    </a:lnTo>
                    <a:lnTo>
                      <a:pt x="2240" y="754"/>
                    </a:lnTo>
                    <a:lnTo>
                      <a:pt x="2242" y="737"/>
                    </a:lnTo>
                    <a:lnTo>
                      <a:pt x="2243" y="720"/>
                    </a:lnTo>
                    <a:lnTo>
                      <a:pt x="2243" y="703"/>
                    </a:lnTo>
                    <a:lnTo>
                      <a:pt x="2242" y="687"/>
                    </a:lnTo>
                    <a:lnTo>
                      <a:pt x="2240" y="671"/>
                    </a:lnTo>
                    <a:lnTo>
                      <a:pt x="2237" y="655"/>
                    </a:lnTo>
                    <a:lnTo>
                      <a:pt x="2232" y="640"/>
                    </a:lnTo>
                    <a:lnTo>
                      <a:pt x="2225" y="626"/>
                    </a:lnTo>
                    <a:lnTo>
                      <a:pt x="2217" y="613"/>
                    </a:lnTo>
                    <a:lnTo>
                      <a:pt x="2207" y="600"/>
                    </a:lnTo>
                    <a:lnTo>
                      <a:pt x="2201" y="594"/>
                    </a:lnTo>
                    <a:lnTo>
                      <a:pt x="2195" y="588"/>
                    </a:lnTo>
                    <a:lnTo>
                      <a:pt x="2188" y="583"/>
                    </a:lnTo>
                    <a:lnTo>
                      <a:pt x="2181" y="578"/>
                    </a:lnTo>
                    <a:lnTo>
                      <a:pt x="2168" y="570"/>
                    </a:lnTo>
                    <a:lnTo>
                      <a:pt x="2154" y="564"/>
                    </a:lnTo>
                    <a:lnTo>
                      <a:pt x="2139" y="559"/>
                    </a:lnTo>
                    <a:lnTo>
                      <a:pt x="2124" y="555"/>
                    </a:lnTo>
                    <a:lnTo>
                      <a:pt x="2107" y="552"/>
                    </a:lnTo>
                    <a:lnTo>
                      <a:pt x="2090" y="551"/>
                    </a:lnTo>
                    <a:lnTo>
                      <a:pt x="2072" y="551"/>
                    </a:lnTo>
                    <a:lnTo>
                      <a:pt x="2053" y="553"/>
                    </a:lnTo>
                    <a:lnTo>
                      <a:pt x="2034" y="557"/>
                    </a:lnTo>
                    <a:lnTo>
                      <a:pt x="2013" y="561"/>
                    </a:lnTo>
                    <a:lnTo>
                      <a:pt x="1993" y="566"/>
                    </a:lnTo>
                    <a:lnTo>
                      <a:pt x="1970" y="573"/>
                    </a:lnTo>
                    <a:lnTo>
                      <a:pt x="1948" y="582"/>
                    </a:lnTo>
                    <a:lnTo>
                      <a:pt x="1924" y="591"/>
                    </a:lnTo>
                    <a:lnTo>
                      <a:pt x="1900" y="602"/>
                    </a:lnTo>
                    <a:lnTo>
                      <a:pt x="1874" y="614"/>
                    </a:lnTo>
                    <a:lnTo>
                      <a:pt x="1849" y="627"/>
                    </a:lnTo>
                    <a:lnTo>
                      <a:pt x="1824" y="641"/>
                    </a:lnTo>
                    <a:lnTo>
                      <a:pt x="1797" y="657"/>
                    </a:lnTo>
                    <a:lnTo>
                      <a:pt x="1769" y="673"/>
                    </a:lnTo>
                    <a:lnTo>
                      <a:pt x="1741" y="692"/>
                    </a:lnTo>
                    <a:lnTo>
                      <a:pt x="1710" y="712"/>
                    </a:lnTo>
                    <a:lnTo>
                      <a:pt x="1679" y="734"/>
                    </a:lnTo>
                    <a:lnTo>
                      <a:pt x="1645" y="757"/>
                    </a:lnTo>
                    <a:lnTo>
                      <a:pt x="1611" y="781"/>
                    </a:lnTo>
                    <a:lnTo>
                      <a:pt x="1572" y="806"/>
                    </a:lnTo>
                    <a:lnTo>
                      <a:pt x="1529" y="832"/>
                    </a:lnTo>
                    <a:lnTo>
                      <a:pt x="1482" y="857"/>
                    </a:lnTo>
                    <a:lnTo>
                      <a:pt x="1457" y="870"/>
                    </a:lnTo>
                    <a:lnTo>
                      <a:pt x="1432" y="882"/>
                    </a:lnTo>
                    <a:lnTo>
                      <a:pt x="1405" y="893"/>
                    </a:lnTo>
                    <a:lnTo>
                      <a:pt x="1378" y="905"/>
                    </a:lnTo>
                    <a:lnTo>
                      <a:pt x="1350" y="917"/>
                    </a:lnTo>
                    <a:lnTo>
                      <a:pt x="1322" y="928"/>
                    </a:lnTo>
                    <a:lnTo>
                      <a:pt x="1293" y="938"/>
                    </a:lnTo>
                    <a:lnTo>
                      <a:pt x="1263" y="947"/>
                    </a:lnTo>
                    <a:lnTo>
                      <a:pt x="1232" y="957"/>
                    </a:lnTo>
                    <a:lnTo>
                      <a:pt x="1200" y="965"/>
                    </a:lnTo>
                    <a:lnTo>
                      <a:pt x="1168" y="972"/>
                    </a:lnTo>
                    <a:lnTo>
                      <a:pt x="1134" y="979"/>
                    </a:lnTo>
                    <a:lnTo>
                      <a:pt x="1101" y="984"/>
                    </a:lnTo>
                    <a:lnTo>
                      <a:pt x="1066" y="990"/>
                    </a:lnTo>
                    <a:lnTo>
                      <a:pt x="1032" y="993"/>
                    </a:lnTo>
                    <a:lnTo>
                      <a:pt x="996" y="995"/>
                    </a:lnTo>
                    <a:lnTo>
                      <a:pt x="961" y="996"/>
                    </a:lnTo>
                    <a:lnTo>
                      <a:pt x="924" y="996"/>
                    </a:lnTo>
                    <a:lnTo>
                      <a:pt x="887" y="995"/>
                    </a:lnTo>
                    <a:lnTo>
                      <a:pt x="849" y="992"/>
                    </a:lnTo>
                    <a:lnTo>
                      <a:pt x="812" y="987"/>
                    </a:lnTo>
                    <a:lnTo>
                      <a:pt x="773" y="982"/>
                    </a:lnTo>
                    <a:lnTo>
                      <a:pt x="734" y="974"/>
                    </a:lnTo>
                    <a:lnTo>
                      <a:pt x="695" y="965"/>
                    </a:lnTo>
                    <a:lnTo>
                      <a:pt x="676" y="959"/>
                    </a:lnTo>
                    <a:lnTo>
                      <a:pt x="657" y="954"/>
                    </a:lnTo>
                    <a:lnTo>
                      <a:pt x="639" y="947"/>
                    </a:lnTo>
                    <a:lnTo>
                      <a:pt x="620" y="941"/>
                    </a:lnTo>
                    <a:lnTo>
                      <a:pt x="603" y="933"/>
                    </a:lnTo>
                    <a:lnTo>
                      <a:pt x="586" y="926"/>
                    </a:lnTo>
                    <a:lnTo>
                      <a:pt x="570" y="917"/>
                    </a:lnTo>
                    <a:lnTo>
                      <a:pt x="552" y="908"/>
                    </a:lnTo>
                    <a:lnTo>
                      <a:pt x="536" y="898"/>
                    </a:lnTo>
                    <a:lnTo>
                      <a:pt x="520" y="887"/>
                    </a:lnTo>
                    <a:lnTo>
                      <a:pt x="505" y="876"/>
                    </a:lnTo>
                    <a:lnTo>
                      <a:pt x="489" y="864"/>
                    </a:lnTo>
                    <a:lnTo>
                      <a:pt x="474" y="851"/>
                    </a:lnTo>
                    <a:lnTo>
                      <a:pt x="458" y="838"/>
                    </a:lnTo>
                    <a:lnTo>
                      <a:pt x="443" y="824"/>
                    </a:lnTo>
                    <a:lnTo>
                      <a:pt x="428" y="810"/>
                    </a:lnTo>
                    <a:lnTo>
                      <a:pt x="397" y="779"/>
                    </a:lnTo>
                    <a:lnTo>
                      <a:pt x="367" y="745"/>
                    </a:lnTo>
                    <a:lnTo>
                      <a:pt x="336" y="707"/>
                    </a:lnTo>
                    <a:lnTo>
                      <a:pt x="305" y="666"/>
                    </a:lnTo>
                    <a:lnTo>
                      <a:pt x="273" y="623"/>
                    </a:lnTo>
                    <a:lnTo>
                      <a:pt x="239" y="575"/>
                    </a:lnTo>
                    <a:lnTo>
                      <a:pt x="205" y="524"/>
                    </a:lnTo>
                    <a:lnTo>
                      <a:pt x="169" y="469"/>
                    </a:lnTo>
                    <a:lnTo>
                      <a:pt x="140" y="424"/>
                    </a:lnTo>
                    <a:lnTo>
                      <a:pt x="114" y="380"/>
                    </a:lnTo>
                    <a:lnTo>
                      <a:pt x="90" y="338"/>
                    </a:lnTo>
                    <a:lnTo>
                      <a:pt x="71" y="299"/>
                    </a:lnTo>
                    <a:lnTo>
                      <a:pt x="54" y="261"/>
                    </a:lnTo>
                    <a:lnTo>
                      <a:pt x="40" y="225"/>
                    </a:lnTo>
                    <a:lnTo>
                      <a:pt x="27" y="193"/>
                    </a:lnTo>
                    <a:lnTo>
                      <a:pt x="17" y="162"/>
                    </a:lnTo>
                    <a:lnTo>
                      <a:pt x="9" y="134"/>
                    </a:lnTo>
                    <a:lnTo>
                      <a:pt x="4" y="108"/>
                    </a:lnTo>
                    <a:lnTo>
                      <a:pt x="1" y="84"/>
                    </a:lnTo>
                    <a:lnTo>
                      <a:pt x="0" y="63"/>
                    </a:lnTo>
                    <a:lnTo>
                      <a:pt x="0" y="45"/>
                    </a:lnTo>
                    <a:lnTo>
                      <a:pt x="1" y="30"/>
                    </a:lnTo>
                    <a:lnTo>
                      <a:pt x="4" y="17"/>
                    </a:lnTo>
                    <a:lnTo>
                      <a:pt x="8" y="6"/>
                    </a:lnTo>
                    <a:lnTo>
                      <a:pt x="11" y="3"/>
                    </a:lnTo>
                    <a:lnTo>
                      <a:pt x="16" y="0"/>
                    </a:lnTo>
                    <a:lnTo>
                      <a:pt x="21" y="0"/>
                    </a:lnTo>
                    <a:lnTo>
                      <a:pt x="27" y="1"/>
                    </a:lnTo>
                    <a:lnTo>
                      <a:pt x="30" y="5"/>
                    </a:lnTo>
                    <a:lnTo>
                      <a:pt x="33" y="9"/>
                    </a:lnTo>
                    <a:lnTo>
                      <a:pt x="33" y="15"/>
                    </a:lnTo>
                    <a:lnTo>
                      <a:pt x="32" y="19"/>
                    </a:lnTo>
                    <a:lnTo>
                      <a:pt x="30" y="24"/>
                    </a:lnTo>
                    <a:lnTo>
                      <a:pt x="28" y="33"/>
                    </a:lnTo>
                    <a:lnTo>
                      <a:pt x="27" y="44"/>
                    </a:lnTo>
                    <a:lnTo>
                      <a:pt x="27" y="58"/>
                    </a:lnTo>
                    <a:lnTo>
                      <a:pt x="28" y="75"/>
                    </a:lnTo>
                    <a:lnTo>
                      <a:pt x="30" y="95"/>
                    </a:lnTo>
                    <a:lnTo>
                      <a:pt x="34" y="117"/>
                    </a:lnTo>
                    <a:lnTo>
                      <a:pt x="41" y="143"/>
                    </a:lnTo>
                    <a:lnTo>
                      <a:pt x="49" y="172"/>
                    </a:lnTo>
                    <a:lnTo>
                      <a:pt x="60" y="204"/>
                    </a:lnTo>
                    <a:lnTo>
                      <a:pt x="73" y="238"/>
                    </a:lnTo>
                    <a:lnTo>
                      <a:pt x="89" y="275"/>
                    </a:lnTo>
                    <a:lnTo>
                      <a:pt x="110" y="316"/>
                    </a:lnTo>
                    <a:lnTo>
                      <a:pt x="132" y="359"/>
                    </a:lnTo>
                    <a:lnTo>
                      <a:pt x="160" y="406"/>
                    </a:lnTo>
                    <a:lnTo>
                      <a:pt x="192" y="455"/>
                    </a:lnTo>
                    <a:lnTo>
                      <a:pt x="226" y="508"/>
                    </a:lnTo>
                    <a:lnTo>
                      <a:pt x="261" y="558"/>
                    </a:lnTo>
                    <a:lnTo>
                      <a:pt x="293" y="604"/>
                    </a:lnTo>
                    <a:lnTo>
                      <a:pt x="325" y="647"/>
                    </a:lnTo>
                    <a:lnTo>
                      <a:pt x="355" y="687"/>
                    </a:lnTo>
                    <a:lnTo>
                      <a:pt x="385" y="724"/>
                    </a:lnTo>
                    <a:lnTo>
                      <a:pt x="414" y="757"/>
                    </a:lnTo>
                    <a:lnTo>
                      <a:pt x="444" y="788"/>
                    </a:lnTo>
                    <a:lnTo>
                      <a:pt x="458" y="803"/>
                    </a:lnTo>
                    <a:lnTo>
                      <a:pt x="474" y="816"/>
                    </a:lnTo>
                    <a:lnTo>
                      <a:pt x="489" y="829"/>
                    </a:lnTo>
                    <a:lnTo>
                      <a:pt x="504" y="841"/>
                    </a:lnTo>
                    <a:lnTo>
                      <a:pt x="519" y="852"/>
                    </a:lnTo>
                    <a:lnTo>
                      <a:pt x="534" y="863"/>
                    </a:lnTo>
                    <a:lnTo>
                      <a:pt x="549" y="874"/>
                    </a:lnTo>
                    <a:lnTo>
                      <a:pt x="565" y="884"/>
                    </a:lnTo>
                    <a:lnTo>
                      <a:pt x="581" y="892"/>
                    </a:lnTo>
                    <a:lnTo>
                      <a:pt x="597" y="901"/>
                    </a:lnTo>
                    <a:lnTo>
                      <a:pt x="614" y="909"/>
                    </a:lnTo>
                    <a:lnTo>
                      <a:pt x="630" y="916"/>
                    </a:lnTo>
                    <a:lnTo>
                      <a:pt x="647" y="923"/>
                    </a:lnTo>
                    <a:lnTo>
                      <a:pt x="665" y="928"/>
                    </a:lnTo>
                    <a:lnTo>
                      <a:pt x="683" y="933"/>
                    </a:lnTo>
                    <a:lnTo>
                      <a:pt x="701" y="939"/>
                    </a:lnTo>
                    <a:lnTo>
                      <a:pt x="739" y="947"/>
                    </a:lnTo>
                    <a:lnTo>
                      <a:pt x="778" y="955"/>
                    </a:lnTo>
                    <a:lnTo>
                      <a:pt x="815" y="960"/>
                    </a:lnTo>
                    <a:lnTo>
                      <a:pt x="853" y="965"/>
                    </a:lnTo>
                    <a:lnTo>
                      <a:pt x="888" y="968"/>
                    </a:lnTo>
                    <a:lnTo>
                      <a:pt x="925" y="969"/>
                    </a:lnTo>
                    <a:lnTo>
                      <a:pt x="961" y="969"/>
                    </a:lnTo>
                    <a:lnTo>
                      <a:pt x="995" y="968"/>
                    </a:lnTo>
                    <a:lnTo>
                      <a:pt x="1030" y="966"/>
                    </a:lnTo>
                    <a:lnTo>
                      <a:pt x="1064" y="963"/>
                    </a:lnTo>
                    <a:lnTo>
                      <a:pt x="1098" y="958"/>
                    </a:lnTo>
                    <a:lnTo>
                      <a:pt x="1130" y="952"/>
                    </a:lnTo>
                    <a:lnTo>
                      <a:pt x="1163" y="946"/>
                    </a:lnTo>
                    <a:lnTo>
                      <a:pt x="1194" y="939"/>
                    </a:lnTo>
                    <a:lnTo>
                      <a:pt x="1225" y="930"/>
                    </a:lnTo>
                    <a:lnTo>
                      <a:pt x="1255" y="922"/>
                    </a:lnTo>
                    <a:lnTo>
                      <a:pt x="1285" y="912"/>
                    </a:lnTo>
                    <a:lnTo>
                      <a:pt x="1314" y="902"/>
                    </a:lnTo>
                    <a:lnTo>
                      <a:pt x="1342" y="891"/>
                    </a:lnTo>
                    <a:lnTo>
                      <a:pt x="1369" y="881"/>
                    </a:lnTo>
                    <a:lnTo>
                      <a:pt x="1396" y="869"/>
                    </a:lnTo>
                    <a:lnTo>
                      <a:pt x="1422" y="857"/>
                    </a:lnTo>
                    <a:lnTo>
                      <a:pt x="1447" y="845"/>
                    </a:lnTo>
                    <a:lnTo>
                      <a:pt x="1470" y="833"/>
                    </a:lnTo>
                    <a:lnTo>
                      <a:pt x="1516" y="808"/>
                    </a:lnTo>
                    <a:lnTo>
                      <a:pt x="1558" y="783"/>
                    </a:lnTo>
                    <a:lnTo>
                      <a:pt x="1596" y="759"/>
                    </a:lnTo>
                    <a:lnTo>
                      <a:pt x="1629" y="736"/>
                    </a:lnTo>
                    <a:lnTo>
                      <a:pt x="1664" y="711"/>
                    </a:lnTo>
                    <a:lnTo>
                      <a:pt x="1696" y="689"/>
                    </a:lnTo>
                    <a:lnTo>
                      <a:pt x="1726" y="669"/>
                    </a:lnTo>
                    <a:lnTo>
                      <a:pt x="1756" y="651"/>
                    </a:lnTo>
                    <a:lnTo>
                      <a:pt x="1784" y="633"/>
                    </a:lnTo>
                    <a:lnTo>
                      <a:pt x="1811" y="617"/>
                    </a:lnTo>
                    <a:lnTo>
                      <a:pt x="1837" y="603"/>
                    </a:lnTo>
                    <a:lnTo>
                      <a:pt x="1862" y="590"/>
                    </a:lnTo>
                    <a:lnTo>
                      <a:pt x="1889" y="577"/>
                    </a:lnTo>
                    <a:lnTo>
                      <a:pt x="1915" y="565"/>
                    </a:lnTo>
                    <a:lnTo>
                      <a:pt x="1941" y="556"/>
                    </a:lnTo>
                    <a:lnTo>
                      <a:pt x="1966" y="547"/>
                    </a:lnTo>
                    <a:lnTo>
                      <a:pt x="1989" y="539"/>
                    </a:lnTo>
                    <a:lnTo>
                      <a:pt x="2012" y="533"/>
                    </a:lnTo>
                    <a:lnTo>
                      <a:pt x="2034" y="529"/>
                    </a:lnTo>
                    <a:lnTo>
                      <a:pt x="2054" y="526"/>
                    </a:lnTo>
                    <a:lnTo>
                      <a:pt x="2075" y="524"/>
                    </a:lnTo>
                    <a:lnTo>
                      <a:pt x="2094" y="524"/>
                    </a:lnTo>
                    <a:lnTo>
                      <a:pt x="2114" y="526"/>
                    </a:lnTo>
                    <a:lnTo>
                      <a:pt x="2131" y="529"/>
                    </a:lnTo>
                    <a:lnTo>
                      <a:pt x="2148" y="533"/>
                    </a:lnTo>
                    <a:lnTo>
                      <a:pt x="2165" y="539"/>
                    </a:lnTo>
                    <a:lnTo>
                      <a:pt x="2181" y="547"/>
                    </a:lnTo>
                    <a:lnTo>
                      <a:pt x="2196" y="556"/>
                    </a:lnTo>
                    <a:lnTo>
                      <a:pt x="2205" y="561"/>
                    </a:lnTo>
                    <a:lnTo>
                      <a:pt x="2212" y="567"/>
                    </a:lnTo>
                    <a:lnTo>
                      <a:pt x="2220" y="574"/>
                    </a:lnTo>
                    <a:lnTo>
                      <a:pt x="2226" y="582"/>
                    </a:lnTo>
                    <a:lnTo>
                      <a:pt x="2233" y="588"/>
                    </a:lnTo>
                    <a:lnTo>
                      <a:pt x="2238" y="596"/>
                    </a:lnTo>
                    <a:lnTo>
                      <a:pt x="2243" y="603"/>
                    </a:lnTo>
                    <a:lnTo>
                      <a:pt x="2248" y="611"/>
                    </a:lnTo>
                    <a:lnTo>
                      <a:pt x="2255" y="628"/>
                    </a:lnTo>
                    <a:lnTo>
                      <a:pt x="2262" y="644"/>
                    </a:lnTo>
                    <a:lnTo>
                      <a:pt x="2266" y="662"/>
                    </a:lnTo>
                    <a:lnTo>
                      <a:pt x="2268" y="680"/>
                    </a:lnTo>
                    <a:lnTo>
                      <a:pt x="2269" y="698"/>
                    </a:lnTo>
                    <a:lnTo>
                      <a:pt x="2270" y="718"/>
                    </a:lnTo>
                    <a:lnTo>
                      <a:pt x="2269" y="736"/>
                    </a:lnTo>
                    <a:lnTo>
                      <a:pt x="2267" y="754"/>
                    </a:lnTo>
                    <a:lnTo>
                      <a:pt x="2263" y="792"/>
                    </a:lnTo>
                    <a:lnTo>
                      <a:pt x="2257" y="828"/>
                    </a:lnTo>
                    <a:lnTo>
                      <a:pt x="2253" y="851"/>
                    </a:lnTo>
                    <a:lnTo>
                      <a:pt x="2250" y="873"/>
                    </a:lnTo>
                    <a:lnTo>
                      <a:pt x="2248" y="893"/>
                    </a:lnTo>
                    <a:lnTo>
                      <a:pt x="2247" y="912"/>
                    </a:lnTo>
                    <a:lnTo>
                      <a:pt x="2247" y="920"/>
                    </a:lnTo>
                    <a:lnTo>
                      <a:pt x="2248" y="929"/>
                    </a:lnTo>
                    <a:lnTo>
                      <a:pt x="2249" y="937"/>
                    </a:lnTo>
                    <a:lnTo>
                      <a:pt x="2251" y="943"/>
                    </a:lnTo>
                    <a:lnTo>
                      <a:pt x="2253" y="950"/>
                    </a:lnTo>
                    <a:lnTo>
                      <a:pt x="2256" y="955"/>
                    </a:lnTo>
                    <a:lnTo>
                      <a:pt x="2260" y="959"/>
                    </a:lnTo>
                    <a:lnTo>
                      <a:pt x="2265" y="964"/>
                    </a:lnTo>
                    <a:lnTo>
                      <a:pt x="2287" y="981"/>
                    </a:lnTo>
                    <a:lnTo>
                      <a:pt x="2308" y="999"/>
                    </a:lnTo>
                    <a:lnTo>
                      <a:pt x="2328" y="1021"/>
                    </a:lnTo>
                    <a:lnTo>
                      <a:pt x="2347" y="1044"/>
                    </a:lnTo>
                    <a:lnTo>
                      <a:pt x="2364" y="1067"/>
                    </a:lnTo>
                    <a:lnTo>
                      <a:pt x="2382" y="1093"/>
                    </a:lnTo>
                    <a:lnTo>
                      <a:pt x="2397" y="1121"/>
                    </a:lnTo>
                    <a:lnTo>
                      <a:pt x="2411" y="1151"/>
                    </a:lnTo>
                    <a:lnTo>
                      <a:pt x="2425" y="1184"/>
                    </a:lnTo>
                    <a:lnTo>
                      <a:pt x="2435" y="1213"/>
                    </a:lnTo>
                    <a:lnTo>
                      <a:pt x="2442" y="1237"/>
                    </a:lnTo>
                    <a:lnTo>
                      <a:pt x="2446" y="1254"/>
                    </a:lnTo>
                    <a:lnTo>
                      <a:pt x="2449" y="1259"/>
                    </a:lnTo>
                    <a:lnTo>
                      <a:pt x="2450" y="1263"/>
                    </a:lnTo>
                    <a:lnTo>
                      <a:pt x="2450" y="1265"/>
                    </a:lnTo>
                    <a:lnTo>
                      <a:pt x="2451" y="1266"/>
                    </a:lnTo>
                    <a:lnTo>
                      <a:pt x="2451" y="1271"/>
                    </a:lnTo>
                    <a:lnTo>
                      <a:pt x="2450" y="1277"/>
                    </a:lnTo>
                    <a:lnTo>
                      <a:pt x="2446" y="1280"/>
                    </a:lnTo>
                    <a:lnTo>
                      <a:pt x="2442" y="1283"/>
                    </a:lnTo>
                    <a:lnTo>
                      <a:pt x="2440" y="1283"/>
                    </a:lnTo>
                    <a:lnTo>
                      <a:pt x="2438" y="1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3"/>
              <p:cNvSpPr>
                <a:spLocks/>
              </p:cNvSpPr>
              <p:nvPr userDrawn="1"/>
            </p:nvSpPr>
            <p:spPr bwMode="auto">
              <a:xfrm>
                <a:off x="1852" y="1484"/>
                <a:ext cx="825" cy="431"/>
              </a:xfrm>
              <a:custGeom>
                <a:avLst/>
                <a:gdLst>
                  <a:gd name="T0" fmla="*/ 2448 w 2475"/>
                  <a:gd name="T1" fmla="*/ 1282 h 1291"/>
                  <a:gd name="T2" fmla="*/ 2415 w 2475"/>
                  <a:gd name="T3" fmla="*/ 1204 h 1291"/>
                  <a:gd name="T4" fmla="*/ 2338 w 2475"/>
                  <a:gd name="T5" fmla="*/ 1085 h 1291"/>
                  <a:gd name="T6" fmla="*/ 2251 w 2475"/>
                  <a:gd name="T7" fmla="*/ 1009 h 1291"/>
                  <a:gd name="T8" fmla="*/ 2230 w 2475"/>
                  <a:gd name="T9" fmla="*/ 970 h 1291"/>
                  <a:gd name="T10" fmla="*/ 2226 w 2475"/>
                  <a:gd name="T11" fmla="*/ 884 h 1291"/>
                  <a:gd name="T12" fmla="*/ 2232 w 2475"/>
                  <a:gd name="T13" fmla="*/ 764 h 1291"/>
                  <a:gd name="T14" fmla="*/ 2214 w 2475"/>
                  <a:gd name="T15" fmla="*/ 689 h 1291"/>
                  <a:gd name="T16" fmla="*/ 2160 w 2475"/>
                  <a:gd name="T17" fmla="*/ 630 h 1291"/>
                  <a:gd name="T18" fmla="*/ 2087 w 2475"/>
                  <a:gd name="T19" fmla="*/ 605 h 1291"/>
                  <a:gd name="T20" fmla="*/ 1994 w 2475"/>
                  <a:gd name="T21" fmla="*/ 611 h 1291"/>
                  <a:gd name="T22" fmla="*/ 1881 w 2475"/>
                  <a:gd name="T23" fmla="*/ 647 h 1291"/>
                  <a:gd name="T24" fmla="*/ 1751 w 2475"/>
                  <a:gd name="T25" fmla="*/ 711 h 1291"/>
                  <a:gd name="T26" fmla="*/ 1592 w 2475"/>
                  <a:gd name="T27" fmla="*/ 806 h 1291"/>
                  <a:gd name="T28" fmla="*/ 1442 w 2475"/>
                  <a:gd name="T29" fmla="*/ 887 h 1291"/>
                  <a:gd name="T30" fmla="*/ 1293 w 2475"/>
                  <a:gd name="T31" fmla="*/ 947 h 1291"/>
                  <a:gd name="T32" fmla="*/ 1144 w 2475"/>
                  <a:gd name="T33" fmla="*/ 987 h 1291"/>
                  <a:gd name="T34" fmla="*/ 996 w 2475"/>
                  <a:gd name="T35" fmla="*/ 1007 h 1291"/>
                  <a:gd name="T36" fmla="*/ 850 w 2475"/>
                  <a:gd name="T37" fmla="*/ 1006 h 1291"/>
                  <a:gd name="T38" fmla="*/ 704 w 2475"/>
                  <a:gd name="T39" fmla="*/ 983 h 1291"/>
                  <a:gd name="T40" fmla="*/ 603 w 2475"/>
                  <a:gd name="T41" fmla="*/ 953 h 1291"/>
                  <a:gd name="T42" fmla="*/ 521 w 2475"/>
                  <a:gd name="T43" fmla="*/ 907 h 1291"/>
                  <a:gd name="T44" fmla="*/ 444 w 2475"/>
                  <a:gd name="T45" fmla="*/ 846 h 1291"/>
                  <a:gd name="T46" fmla="*/ 321 w 2475"/>
                  <a:gd name="T47" fmla="*/ 711 h 1291"/>
                  <a:gd name="T48" fmla="*/ 160 w 2475"/>
                  <a:gd name="T49" fmla="*/ 475 h 1291"/>
                  <a:gd name="T50" fmla="*/ 47 w 2475"/>
                  <a:gd name="T51" fmla="*/ 263 h 1291"/>
                  <a:gd name="T52" fmla="*/ 3 w 2475"/>
                  <a:gd name="T53" fmla="*/ 109 h 1291"/>
                  <a:gd name="T54" fmla="*/ 6 w 2475"/>
                  <a:gd name="T55" fmla="*/ 17 h 1291"/>
                  <a:gd name="T56" fmla="*/ 30 w 2475"/>
                  <a:gd name="T57" fmla="*/ 2 h 1291"/>
                  <a:gd name="T58" fmla="*/ 31 w 2475"/>
                  <a:gd name="T59" fmla="*/ 28 h 1291"/>
                  <a:gd name="T60" fmla="*/ 30 w 2475"/>
                  <a:gd name="T61" fmla="*/ 108 h 1291"/>
                  <a:gd name="T62" fmla="*/ 73 w 2475"/>
                  <a:gd name="T63" fmla="*/ 253 h 1291"/>
                  <a:gd name="T64" fmla="*/ 182 w 2475"/>
                  <a:gd name="T65" fmla="*/ 459 h 1291"/>
                  <a:gd name="T66" fmla="*/ 342 w 2475"/>
                  <a:gd name="T67" fmla="*/ 694 h 1291"/>
                  <a:gd name="T68" fmla="*/ 460 w 2475"/>
                  <a:gd name="T69" fmla="*/ 825 h 1291"/>
                  <a:gd name="T70" fmla="*/ 534 w 2475"/>
                  <a:gd name="T71" fmla="*/ 885 h 1291"/>
                  <a:gd name="T72" fmla="*/ 613 w 2475"/>
                  <a:gd name="T73" fmla="*/ 927 h 1291"/>
                  <a:gd name="T74" fmla="*/ 710 w 2475"/>
                  <a:gd name="T75" fmla="*/ 957 h 1291"/>
                  <a:gd name="T76" fmla="*/ 852 w 2475"/>
                  <a:gd name="T77" fmla="*/ 979 h 1291"/>
                  <a:gd name="T78" fmla="*/ 995 w 2475"/>
                  <a:gd name="T79" fmla="*/ 980 h 1291"/>
                  <a:gd name="T80" fmla="*/ 1140 w 2475"/>
                  <a:gd name="T81" fmla="*/ 960 h 1291"/>
                  <a:gd name="T82" fmla="*/ 1286 w 2475"/>
                  <a:gd name="T83" fmla="*/ 922 h 1291"/>
                  <a:gd name="T84" fmla="*/ 1432 w 2475"/>
                  <a:gd name="T85" fmla="*/ 862 h 1291"/>
                  <a:gd name="T86" fmla="*/ 1579 w 2475"/>
                  <a:gd name="T87" fmla="*/ 783 h 1291"/>
                  <a:gd name="T88" fmla="*/ 1739 w 2475"/>
                  <a:gd name="T89" fmla="*/ 687 h 1291"/>
                  <a:gd name="T90" fmla="*/ 1871 w 2475"/>
                  <a:gd name="T91" fmla="*/ 622 h 1291"/>
                  <a:gd name="T92" fmla="*/ 1993 w 2475"/>
                  <a:gd name="T93" fmla="*/ 584 h 1291"/>
                  <a:gd name="T94" fmla="*/ 2093 w 2475"/>
                  <a:gd name="T95" fmla="*/ 579 h 1291"/>
                  <a:gd name="T96" fmla="*/ 2176 w 2475"/>
                  <a:gd name="T97" fmla="*/ 607 h 1291"/>
                  <a:gd name="T98" fmla="*/ 2219 w 2475"/>
                  <a:gd name="T99" fmla="*/ 645 h 1291"/>
                  <a:gd name="T100" fmla="*/ 2254 w 2475"/>
                  <a:gd name="T101" fmla="*/ 724 h 1291"/>
                  <a:gd name="T102" fmla="*/ 2258 w 2475"/>
                  <a:gd name="T103" fmla="*/ 829 h 1291"/>
                  <a:gd name="T104" fmla="*/ 2252 w 2475"/>
                  <a:gd name="T105" fmla="*/ 942 h 1291"/>
                  <a:gd name="T106" fmla="*/ 2261 w 2475"/>
                  <a:gd name="T107" fmla="*/ 979 h 1291"/>
                  <a:gd name="T108" fmla="*/ 2317 w 2475"/>
                  <a:gd name="T109" fmla="*/ 1026 h 1291"/>
                  <a:gd name="T110" fmla="*/ 2411 w 2475"/>
                  <a:gd name="T111" fmla="*/ 1140 h 1291"/>
                  <a:gd name="T112" fmla="*/ 2464 w 2475"/>
                  <a:gd name="T113" fmla="*/ 1253 h 1291"/>
                  <a:gd name="T114" fmla="*/ 2475 w 2475"/>
                  <a:gd name="T115" fmla="*/ 1278 h 1291"/>
                  <a:gd name="T116" fmla="*/ 2460 w 2475"/>
                  <a:gd name="T117" fmla="*/ 1291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75" h="1291">
                    <a:moveTo>
                      <a:pt x="2460" y="1291"/>
                    </a:moveTo>
                    <a:lnTo>
                      <a:pt x="2456" y="1290"/>
                    </a:lnTo>
                    <a:lnTo>
                      <a:pt x="2453" y="1289"/>
                    </a:lnTo>
                    <a:lnTo>
                      <a:pt x="2450" y="1286"/>
                    </a:lnTo>
                    <a:lnTo>
                      <a:pt x="2448" y="1282"/>
                    </a:lnTo>
                    <a:lnTo>
                      <a:pt x="2443" y="1273"/>
                    </a:lnTo>
                    <a:lnTo>
                      <a:pt x="2439" y="1262"/>
                    </a:lnTo>
                    <a:lnTo>
                      <a:pt x="2433" y="1246"/>
                    </a:lnTo>
                    <a:lnTo>
                      <a:pt x="2425" y="1227"/>
                    </a:lnTo>
                    <a:lnTo>
                      <a:pt x="2415" y="1204"/>
                    </a:lnTo>
                    <a:lnTo>
                      <a:pt x="2403" y="1181"/>
                    </a:lnTo>
                    <a:lnTo>
                      <a:pt x="2387" y="1155"/>
                    </a:lnTo>
                    <a:lnTo>
                      <a:pt x="2372" y="1130"/>
                    </a:lnTo>
                    <a:lnTo>
                      <a:pt x="2355" y="1106"/>
                    </a:lnTo>
                    <a:lnTo>
                      <a:pt x="2338" y="1085"/>
                    </a:lnTo>
                    <a:lnTo>
                      <a:pt x="2318" y="1065"/>
                    </a:lnTo>
                    <a:lnTo>
                      <a:pt x="2300" y="1047"/>
                    </a:lnTo>
                    <a:lnTo>
                      <a:pt x="2279" y="1029"/>
                    </a:lnTo>
                    <a:lnTo>
                      <a:pt x="2259" y="1014"/>
                    </a:lnTo>
                    <a:lnTo>
                      <a:pt x="2251" y="1009"/>
                    </a:lnTo>
                    <a:lnTo>
                      <a:pt x="2246" y="1002"/>
                    </a:lnTo>
                    <a:lnTo>
                      <a:pt x="2240" y="996"/>
                    </a:lnTo>
                    <a:lnTo>
                      <a:pt x="2236" y="987"/>
                    </a:lnTo>
                    <a:lnTo>
                      <a:pt x="2232" y="980"/>
                    </a:lnTo>
                    <a:lnTo>
                      <a:pt x="2230" y="970"/>
                    </a:lnTo>
                    <a:lnTo>
                      <a:pt x="2227" y="961"/>
                    </a:lnTo>
                    <a:lnTo>
                      <a:pt x="2225" y="952"/>
                    </a:lnTo>
                    <a:lnTo>
                      <a:pt x="2224" y="930"/>
                    </a:lnTo>
                    <a:lnTo>
                      <a:pt x="2224" y="907"/>
                    </a:lnTo>
                    <a:lnTo>
                      <a:pt x="2226" y="884"/>
                    </a:lnTo>
                    <a:lnTo>
                      <a:pt x="2228" y="860"/>
                    </a:lnTo>
                    <a:lnTo>
                      <a:pt x="2231" y="828"/>
                    </a:lnTo>
                    <a:lnTo>
                      <a:pt x="2232" y="796"/>
                    </a:lnTo>
                    <a:lnTo>
                      <a:pt x="2232" y="780"/>
                    </a:lnTo>
                    <a:lnTo>
                      <a:pt x="2232" y="764"/>
                    </a:lnTo>
                    <a:lnTo>
                      <a:pt x="2231" y="748"/>
                    </a:lnTo>
                    <a:lnTo>
                      <a:pt x="2228" y="733"/>
                    </a:lnTo>
                    <a:lnTo>
                      <a:pt x="2224" y="717"/>
                    </a:lnTo>
                    <a:lnTo>
                      <a:pt x="2220" y="703"/>
                    </a:lnTo>
                    <a:lnTo>
                      <a:pt x="2214" y="689"/>
                    </a:lnTo>
                    <a:lnTo>
                      <a:pt x="2207" y="675"/>
                    </a:lnTo>
                    <a:lnTo>
                      <a:pt x="2198" y="664"/>
                    </a:lnTo>
                    <a:lnTo>
                      <a:pt x="2187" y="652"/>
                    </a:lnTo>
                    <a:lnTo>
                      <a:pt x="2176" y="641"/>
                    </a:lnTo>
                    <a:lnTo>
                      <a:pt x="2160" y="630"/>
                    </a:lnTo>
                    <a:lnTo>
                      <a:pt x="2147" y="622"/>
                    </a:lnTo>
                    <a:lnTo>
                      <a:pt x="2133" y="617"/>
                    </a:lnTo>
                    <a:lnTo>
                      <a:pt x="2118" y="612"/>
                    </a:lnTo>
                    <a:lnTo>
                      <a:pt x="2103" y="608"/>
                    </a:lnTo>
                    <a:lnTo>
                      <a:pt x="2087" y="605"/>
                    </a:lnTo>
                    <a:lnTo>
                      <a:pt x="2070" y="604"/>
                    </a:lnTo>
                    <a:lnTo>
                      <a:pt x="2052" y="604"/>
                    </a:lnTo>
                    <a:lnTo>
                      <a:pt x="2034" y="605"/>
                    </a:lnTo>
                    <a:lnTo>
                      <a:pt x="2015" y="607"/>
                    </a:lnTo>
                    <a:lnTo>
                      <a:pt x="1994" y="611"/>
                    </a:lnTo>
                    <a:lnTo>
                      <a:pt x="1974" y="616"/>
                    </a:lnTo>
                    <a:lnTo>
                      <a:pt x="1951" y="622"/>
                    </a:lnTo>
                    <a:lnTo>
                      <a:pt x="1928" y="629"/>
                    </a:lnTo>
                    <a:lnTo>
                      <a:pt x="1905" y="638"/>
                    </a:lnTo>
                    <a:lnTo>
                      <a:pt x="1881" y="647"/>
                    </a:lnTo>
                    <a:lnTo>
                      <a:pt x="1855" y="658"/>
                    </a:lnTo>
                    <a:lnTo>
                      <a:pt x="1831" y="670"/>
                    </a:lnTo>
                    <a:lnTo>
                      <a:pt x="1805" y="682"/>
                    </a:lnTo>
                    <a:lnTo>
                      <a:pt x="1779" y="696"/>
                    </a:lnTo>
                    <a:lnTo>
                      <a:pt x="1751" y="711"/>
                    </a:lnTo>
                    <a:lnTo>
                      <a:pt x="1722" y="727"/>
                    </a:lnTo>
                    <a:lnTo>
                      <a:pt x="1692" y="746"/>
                    </a:lnTo>
                    <a:lnTo>
                      <a:pt x="1658" y="766"/>
                    </a:lnTo>
                    <a:lnTo>
                      <a:pt x="1623" y="788"/>
                    </a:lnTo>
                    <a:lnTo>
                      <a:pt x="1592" y="806"/>
                    </a:lnTo>
                    <a:lnTo>
                      <a:pt x="1563" y="824"/>
                    </a:lnTo>
                    <a:lnTo>
                      <a:pt x="1533" y="842"/>
                    </a:lnTo>
                    <a:lnTo>
                      <a:pt x="1503" y="858"/>
                    </a:lnTo>
                    <a:lnTo>
                      <a:pt x="1473" y="873"/>
                    </a:lnTo>
                    <a:lnTo>
                      <a:pt x="1442" y="887"/>
                    </a:lnTo>
                    <a:lnTo>
                      <a:pt x="1412" y="901"/>
                    </a:lnTo>
                    <a:lnTo>
                      <a:pt x="1383" y="914"/>
                    </a:lnTo>
                    <a:lnTo>
                      <a:pt x="1353" y="926"/>
                    </a:lnTo>
                    <a:lnTo>
                      <a:pt x="1322" y="937"/>
                    </a:lnTo>
                    <a:lnTo>
                      <a:pt x="1293" y="947"/>
                    </a:lnTo>
                    <a:lnTo>
                      <a:pt x="1263" y="957"/>
                    </a:lnTo>
                    <a:lnTo>
                      <a:pt x="1233" y="966"/>
                    </a:lnTo>
                    <a:lnTo>
                      <a:pt x="1204" y="974"/>
                    </a:lnTo>
                    <a:lnTo>
                      <a:pt x="1173" y="981"/>
                    </a:lnTo>
                    <a:lnTo>
                      <a:pt x="1144" y="987"/>
                    </a:lnTo>
                    <a:lnTo>
                      <a:pt x="1114" y="993"/>
                    </a:lnTo>
                    <a:lnTo>
                      <a:pt x="1085" y="997"/>
                    </a:lnTo>
                    <a:lnTo>
                      <a:pt x="1055" y="1001"/>
                    </a:lnTo>
                    <a:lnTo>
                      <a:pt x="1026" y="1005"/>
                    </a:lnTo>
                    <a:lnTo>
                      <a:pt x="996" y="1007"/>
                    </a:lnTo>
                    <a:lnTo>
                      <a:pt x="966" y="1008"/>
                    </a:lnTo>
                    <a:lnTo>
                      <a:pt x="937" y="1009"/>
                    </a:lnTo>
                    <a:lnTo>
                      <a:pt x="908" y="1008"/>
                    </a:lnTo>
                    <a:lnTo>
                      <a:pt x="879" y="1007"/>
                    </a:lnTo>
                    <a:lnTo>
                      <a:pt x="850" y="1006"/>
                    </a:lnTo>
                    <a:lnTo>
                      <a:pt x="820" y="1002"/>
                    </a:lnTo>
                    <a:lnTo>
                      <a:pt x="791" y="999"/>
                    </a:lnTo>
                    <a:lnTo>
                      <a:pt x="762" y="995"/>
                    </a:lnTo>
                    <a:lnTo>
                      <a:pt x="733" y="990"/>
                    </a:lnTo>
                    <a:lnTo>
                      <a:pt x="704" y="983"/>
                    </a:lnTo>
                    <a:lnTo>
                      <a:pt x="676" y="977"/>
                    </a:lnTo>
                    <a:lnTo>
                      <a:pt x="657" y="971"/>
                    </a:lnTo>
                    <a:lnTo>
                      <a:pt x="639" y="966"/>
                    </a:lnTo>
                    <a:lnTo>
                      <a:pt x="622" y="959"/>
                    </a:lnTo>
                    <a:lnTo>
                      <a:pt x="603" y="953"/>
                    </a:lnTo>
                    <a:lnTo>
                      <a:pt x="587" y="945"/>
                    </a:lnTo>
                    <a:lnTo>
                      <a:pt x="570" y="937"/>
                    </a:lnTo>
                    <a:lnTo>
                      <a:pt x="554" y="928"/>
                    </a:lnTo>
                    <a:lnTo>
                      <a:pt x="537" y="918"/>
                    </a:lnTo>
                    <a:lnTo>
                      <a:pt x="521" y="907"/>
                    </a:lnTo>
                    <a:lnTo>
                      <a:pt x="505" y="897"/>
                    </a:lnTo>
                    <a:lnTo>
                      <a:pt x="490" y="885"/>
                    </a:lnTo>
                    <a:lnTo>
                      <a:pt x="474" y="873"/>
                    </a:lnTo>
                    <a:lnTo>
                      <a:pt x="459" y="860"/>
                    </a:lnTo>
                    <a:lnTo>
                      <a:pt x="444" y="846"/>
                    </a:lnTo>
                    <a:lnTo>
                      <a:pt x="428" y="832"/>
                    </a:lnTo>
                    <a:lnTo>
                      <a:pt x="413" y="817"/>
                    </a:lnTo>
                    <a:lnTo>
                      <a:pt x="383" y="784"/>
                    </a:lnTo>
                    <a:lnTo>
                      <a:pt x="353" y="749"/>
                    </a:lnTo>
                    <a:lnTo>
                      <a:pt x="321" y="711"/>
                    </a:lnTo>
                    <a:lnTo>
                      <a:pt x="291" y="670"/>
                    </a:lnTo>
                    <a:lnTo>
                      <a:pt x="259" y="626"/>
                    </a:lnTo>
                    <a:lnTo>
                      <a:pt x="228" y="578"/>
                    </a:lnTo>
                    <a:lnTo>
                      <a:pt x="194" y="527"/>
                    </a:lnTo>
                    <a:lnTo>
                      <a:pt x="160" y="475"/>
                    </a:lnTo>
                    <a:lnTo>
                      <a:pt x="131" y="428"/>
                    </a:lnTo>
                    <a:lnTo>
                      <a:pt x="106" y="383"/>
                    </a:lnTo>
                    <a:lnTo>
                      <a:pt x="83" y="341"/>
                    </a:lnTo>
                    <a:lnTo>
                      <a:pt x="65" y="301"/>
                    </a:lnTo>
                    <a:lnTo>
                      <a:pt x="47" y="263"/>
                    </a:lnTo>
                    <a:lnTo>
                      <a:pt x="34" y="227"/>
                    </a:lnTo>
                    <a:lnTo>
                      <a:pt x="22" y="194"/>
                    </a:lnTo>
                    <a:lnTo>
                      <a:pt x="14" y="163"/>
                    </a:lnTo>
                    <a:lnTo>
                      <a:pt x="7" y="135"/>
                    </a:lnTo>
                    <a:lnTo>
                      <a:pt x="3" y="109"/>
                    </a:lnTo>
                    <a:lnTo>
                      <a:pt x="0" y="85"/>
                    </a:lnTo>
                    <a:lnTo>
                      <a:pt x="0" y="64"/>
                    </a:lnTo>
                    <a:lnTo>
                      <a:pt x="1" y="46"/>
                    </a:lnTo>
                    <a:lnTo>
                      <a:pt x="3" y="30"/>
                    </a:lnTo>
                    <a:lnTo>
                      <a:pt x="6" y="17"/>
                    </a:lnTo>
                    <a:lnTo>
                      <a:pt x="12" y="6"/>
                    </a:lnTo>
                    <a:lnTo>
                      <a:pt x="15" y="2"/>
                    </a:lnTo>
                    <a:lnTo>
                      <a:pt x="19" y="0"/>
                    </a:lnTo>
                    <a:lnTo>
                      <a:pt x="25" y="0"/>
                    </a:lnTo>
                    <a:lnTo>
                      <a:pt x="30" y="2"/>
                    </a:lnTo>
                    <a:lnTo>
                      <a:pt x="33" y="5"/>
                    </a:lnTo>
                    <a:lnTo>
                      <a:pt x="36" y="9"/>
                    </a:lnTo>
                    <a:lnTo>
                      <a:pt x="36" y="15"/>
                    </a:lnTo>
                    <a:lnTo>
                      <a:pt x="34" y="20"/>
                    </a:lnTo>
                    <a:lnTo>
                      <a:pt x="31" y="28"/>
                    </a:lnTo>
                    <a:lnTo>
                      <a:pt x="28" y="38"/>
                    </a:lnTo>
                    <a:lnTo>
                      <a:pt x="27" y="51"/>
                    </a:lnTo>
                    <a:lnTo>
                      <a:pt x="27" y="68"/>
                    </a:lnTo>
                    <a:lnTo>
                      <a:pt x="28" y="87"/>
                    </a:lnTo>
                    <a:lnTo>
                      <a:pt x="30" y="108"/>
                    </a:lnTo>
                    <a:lnTo>
                      <a:pt x="34" y="132"/>
                    </a:lnTo>
                    <a:lnTo>
                      <a:pt x="41" y="158"/>
                    </a:lnTo>
                    <a:lnTo>
                      <a:pt x="49" y="187"/>
                    </a:lnTo>
                    <a:lnTo>
                      <a:pt x="60" y="220"/>
                    </a:lnTo>
                    <a:lnTo>
                      <a:pt x="73" y="253"/>
                    </a:lnTo>
                    <a:lnTo>
                      <a:pt x="89" y="290"/>
                    </a:lnTo>
                    <a:lnTo>
                      <a:pt x="108" y="329"/>
                    </a:lnTo>
                    <a:lnTo>
                      <a:pt x="129" y="370"/>
                    </a:lnTo>
                    <a:lnTo>
                      <a:pt x="154" y="414"/>
                    </a:lnTo>
                    <a:lnTo>
                      <a:pt x="182" y="459"/>
                    </a:lnTo>
                    <a:lnTo>
                      <a:pt x="217" y="513"/>
                    </a:lnTo>
                    <a:lnTo>
                      <a:pt x="249" y="563"/>
                    </a:lnTo>
                    <a:lnTo>
                      <a:pt x="282" y="611"/>
                    </a:lnTo>
                    <a:lnTo>
                      <a:pt x="312" y="654"/>
                    </a:lnTo>
                    <a:lnTo>
                      <a:pt x="342" y="694"/>
                    </a:lnTo>
                    <a:lnTo>
                      <a:pt x="372" y="732"/>
                    </a:lnTo>
                    <a:lnTo>
                      <a:pt x="401" y="766"/>
                    </a:lnTo>
                    <a:lnTo>
                      <a:pt x="431" y="797"/>
                    </a:lnTo>
                    <a:lnTo>
                      <a:pt x="445" y="811"/>
                    </a:lnTo>
                    <a:lnTo>
                      <a:pt x="460" y="825"/>
                    </a:lnTo>
                    <a:lnTo>
                      <a:pt x="475" y="838"/>
                    </a:lnTo>
                    <a:lnTo>
                      <a:pt x="489" y="851"/>
                    </a:lnTo>
                    <a:lnTo>
                      <a:pt x="504" y="863"/>
                    </a:lnTo>
                    <a:lnTo>
                      <a:pt x="519" y="874"/>
                    </a:lnTo>
                    <a:lnTo>
                      <a:pt x="534" y="885"/>
                    </a:lnTo>
                    <a:lnTo>
                      <a:pt x="549" y="895"/>
                    </a:lnTo>
                    <a:lnTo>
                      <a:pt x="566" y="903"/>
                    </a:lnTo>
                    <a:lnTo>
                      <a:pt x="581" y="912"/>
                    </a:lnTo>
                    <a:lnTo>
                      <a:pt x="597" y="920"/>
                    </a:lnTo>
                    <a:lnTo>
                      <a:pt x="613" y="927"/>
                    </a:lnTo>
                    <a:lnTo>
                      <a:pt x="630" y="934"/>
                    </a:lnTo>
                    <a:lnTo>
                      <a:pt x="647" y="940"/>
                    </a:lnTo>
                    <a:lnTo>
                      <a:pt x="665" y="945"/>
                    </a:lnTo>
                    <a:lnTo>
                      <a:pt x="682" y="951"/>
                    </a:lnTo>
                    <a:lnTo>
                      <a:pt x="710" y="957"/>
                    </a:lnTo>
                    <a:lnTo>
                      <a:pt x="738" y="963"/>
                    </a:lnTo>
                    <a:lnTo>
                      <a:pt x="766" y="968"/>
                    </a:lnTo>
                    <a:lnTo>
                      <a:pt x="796" y="972"/>
                    </a:lnTo>
                    <a:lnTo>
                      <a:pt x="824" y="975"/>
                    </a:lnTo>
                    <a:lnTo>
                      <a:pt x="852" y="979"/>
                    </a:lnTo>
                    <a:lnTo>
                      <a:pt x="881" y="980"/>
                    </a:lnTo>
                    <a:lnTo>
                      <a:pt x="909" y="981"/>
                    </a:lnTo>
                    <a:lnTo>
                      <a:pt x="938" y="982"/>
                    </a:lnTo>
                    <a:lnTo>
                      <a:pt x="966" y="981"/>
                    </a:lnTo>
                    <a:lnTo>
                      <a:pt x="995" y="980"/>
                    </a:lnTo>
                    <a:lnTo>
                      <a:pt x="1024" y="978"/>
                    </a:lnTo>
                    <a:lnTo>
                      <a:pt x="1053" y="974"/>
                    </a:lnTo>
                    <a:lnTo>
                      <a:pt x="1082" y="971"/>
                    </a:lnTo>
                    <a:lnTo>
                      <a:pt x="1111" y="966"/>
                    </a:lnTo>
                    <a:lnTo>
                      <a:pt x="1140" y="960"/>
                    </a:lnTo>
                    <a:lnTo>
                      <a:pt x="1169" y="955"/>
                    </a:lnTo>
                    <a:lnTo>
                      <a:pt x="1198" y="947"/>
                    </a:lnTo>
                    <a:lnTo>
                      <a:pt x="1227" y="940"/>
                    </a:lnTo>
                    <a:lnTo>
                      <a:pt x="1257" y="931"/>
                    </a:lnTo>
                    <a:lnTo>
                      <a:pt x="1286" y="922"/>
                    </a:lnTo>
                    <a:lnTo>
                      <a:pt x="1315" y="912"/>
                    </a:lnTo>
                    <a:lnTo>
                      <a:pt x="1344" y="900"/>
                    </a:lnTo>
                    <a:lnTo>
                      <a:pt x="1373" y="888"/>
                    </a:lnTo>
                    <a:lnTo>
                      <a:pt x="1402" y="876"/>
                    </a:lnTo>
                    <a:lnTo>
                      <a:pt x="1432" y="862"/>
                    </a:lnTo>
                    <a:lnTo>
                      <a:pt x="1462" y="848"/>
                    </a:lnTo>
                    <a:lnTo>
                      <a:pt x="1491" y="833"/>
                    </a:lnTo>
                    <a:lnTo>
                      <a:pt x="1520" y="817"/>
                    </a:lnTo>
                    <a:lnTo>
                      <a:pt x="1549" y="801"/>
                    </a:lnTo>
                    <a:lnTo>
                      <a:pt x="1579" y="783"/>
                    </a:lnTo>
                    <a:lnTo>
                      <a:pt x="1609" y="765"/>
                    </a:lnTo>
                    <a:lnTo>
                      <a:pt x="1644" y="742"/>
                    </a:lnTo>
                    <a:lnTo>
                      <a:pt x="1678" y="722"/>
                    </a:lnTo>
                    <a:lnTo>
                      <a:pt x="1709" y="703"/>
                    </a:lnTo>
                    <a:lnTo>
                      <a:pt x="1739" y="687"/>
                    </a:lnTo>
                    <a:lnTo>
                      <a:pt x="1767" y="671"/>
                    </a:lnTo>
                    <a:lnTo>
                      <a:pt x="1793" y="658"/>
                    </a:lnTo>
                    <a:lnTo>
                      <a:pt x="1819" y="645"/>
                    </a:lnTo>
                    <a:lnTo>
                      <a:pt x="1844" y="633"/>
                    </a:lnTo>
                    <a:lnTo>
                      <a:pt x="1871" y="622"/>
                    </a:lnTo>
                    <a:lnTo>
                      <a:pt x="1897" y="612"/>
                    </a:lnTo>
                    <a:lnTo>
                      <a:pt x="1923" y="603"/>
                    </a:lnTo>
                    <a:lnTo>
                      <a:pt x="1947" y="596"/>
                    </a:lnTo>
                    <a:lnTo>
                      <a:pt x="1970" y="589"/>
                    </a:lnTo>
                    <a:lnTo>
                      <a:pt x="1993" y="584"/>
                    </a:lnTo>
                    <a:lnTo>
                      <a:pt x="2015" y="580"/>
                    </a:lnTo>
                    <a:lnTo>
                      <a:pt x="2036" y="578"/>
                    </a:lnTo>
                    <a:lnTo>
                      <a:pt x="2056" y="577"/>
                    </a:lnTo>
                    <a:lnTo>
                      <a:pt x="2075" y="577"/>
                    </a:lnTo>
                    <a:lnTo>
                      <a:pt x="2093" y="579"/>
                    </a:lnTo>
                    <a:lnTo>
                      <a:pt x="2111" y="583"/>
                    </a:lnTo>
                    <a:lnTo>
                      <a:pt x="2128" y="587"/>
                    </a:lnTo>
                    <a:lnTo>
                      <a:pt x="2144" y="592"/>
                    </a:lnTo>
                    <a:lnTo>
                      <a:pt x="2160" y="599"/>
                    </a:lnTo>
                    <a:lnTo>
                      <a:pt x="2176" y="607"/>
                    </a:lnTo>
                    <a:lnTo>
                      <a:pt x="2184" y="613"/>
                    </a:lnTo>
                    <a:lnTo>
                      <a:pt x="2192" y="619"/>
                    </a:lnTo>
                    <a:lnTo>
                      <a:pt x="2199" y="626"/>
                    </a:lnTo>
                    <a:lnTo>
                      <a:pt x="2207" y="632"/>
                    </a:lnTo>
                    <a:lnTo>
                      <a:pt x="2219" y="645"/>
                    </a:lnTo>
                    <a:lnTo>
                      <a:pt x="2230" y="660"/>
                    </a:lnTo>
                    <a:lnTo>
                      <a:pt x="2238" y="675"/>
                    </a:lnTo>
                    <a:lnTo>
                      <a:pt x="2245" y="692"/>
                    </a:lnTo>
                    <a:lnTo>
                      <a:pt x="2250" y="708"/>
                    </a:lnTo>
                    <a:lnTo>
                      <a:pt x="2254" y="724"/>
                    </a:lnTo>
                    <a:lnTo>
                      <a:pt x="2257" y="741"/>
                    </a:lnTo>
                    <a:lnTo>
                      <a:pt x="2259" y="759"/>
                    </a:lnTo>
                    <a:lnTo>
                      <a:pt x="2259" y="777"/>
                    </a:lnTo>
                    <a:lnTo>
                      <a:pt x="2259" y="794"/>
                    </a:lnTo>
                    <a:lnTo>
                      <a:pt x="2258" y="829"/>
                    </a:lnTo>
                    <a:lnTo>
                      <a:pt x="2254" y="862"/>
                    </a:lnTo>
                    <a:lnTo>
                      <a:pt x="2253" y="884"/>
                    </a:lnTo>
                    <a:lnTo>
                      <a:pt x="2252" y="905"/>
                    </a:lnTo>
                    <a:lnTo>
                      <a:pt x="2251" y="925"/>
                    </a:lnTo>
                    <a:lnTo>
                      <a:pt x="2252" y="942"/>
                    </a:lnTo>
                    <a:lnTo>
                      <a:pt x="2252" y="951"/>
                    </a:lnTo>
                    <a:lnTo>
                      <a:pt x="2254" y="958"/>
                    </a:lnTo>
                    <a:lnTo>
                      <a:pt x="2255" y="966"/>
                    </a:lnTo>
                    <a:lnTo>
                      <a:pt x="2259" y="972"/>
                    </a:lnTo>
                    <a:lnTo>
                      <a:pt x="2261" y="979"/>
                    </a:lnTo>
                    <a:lnTo>
                      <a:pt x="2265" y="984"/>
                    </a:lnTo>
                    <a:lnTo>
                      <a:pt x="2268" y="988"/>
                    </a:lnTo>
                    <a:lnTo>
                      <a:pt x="2274" y="993"/>
                    </a:lnTo>
                    <a:lnTo>
                      <a:pt x="2295" y="1008"/>
                    </a:lnTo>
                    <a:lnTo>
                      <a:pt x="2317" y="1026"/>
                    </a:lnTo>
                    <a:lnTo>
                      <a:pt x="2338" y="1046"/>
                    </a:lnTo>
                    <a:lnTo>
                      <a:pt x="2357" y="1066"/>
                    </a:lnTo>
                    <a:lnTo>
                      <a:pt x="2375" y="1090"/>
                    </a:lnTo>
                    <a:lnTo>
                      <a:pt x="2394" y="1114"/>
                    </a:lnTo>
                    <a:lnTo>
                      <a:pt x="2411" y="1140"/>
                    </a:lnTo>
                    <a:lnTo>
                      <a:pt x="2426" y="1168"/>
                    </a:lnTo>
                    <a:lnTo>
                      <a:pt x="2440" y="1194"/>
                    </a:lnTo>
                    <a:lnTo>
                      <a:pt x="2450" y="1216"/>
                    </a:lnTo>
                    <a:lnTo>
                      <a:pt x="2458" y="1237"/>
                    </a:lnTo>
                    <a:lnTo>
                      <a:pt x="2464" y="1253"/>
                    </a:lnTo>
                    <a:lnTo>
                      <a:pt x="2467" y="1260"/>
                    </a:lnTo>
                    <a:lnTo>
                      <a:pt x="2469" y="1267"/>
                    </a:lnTo>
                    <a:lnTo>
                      <a:pt x="2471" y="1269"/>
                    </a:lnTo>
                    <a:lnTo>
                      <a:pt x="2474" y="1272"/>
                    </a:lnTo>
                    <a:lnTo>
                      <a:pt x="2475" y="1278"/>
                    </a:lnTo>
                    <a:lnTo>
                      <a:pt x="2472" y="1283"/>
                    </a:lnTo>
                    <a:lnTo>
                      <a:pt x="2469" y="1286"/>
                    </a:lnTo>
                    <a:lnTo>
                      <a:pt x="2465" y="1290"/>
                    </a:lnTo>
                    <a:lnTo>
                      <a:pt x="2462" y="1291"/>
                    </a:lnTo>
                    <a:lnTo>
                      <a:pt x="2460" y="1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4"/>
              <p:cNvSpPr>
                <a:spLocks/>
              </p:cNvSpPr>
              <p:nvPr userDrawn="1"/>
            </p:nvSpPr>
            <p:spPr bwMode="auto">
              <a:xfrm>
                <a:off x="1871" y="1457"/>
                <a:ext cx="832" cy="432"/>
              </a:xfrm>
              <a:custGeom>
                <a:avLst/>
                <a:gdLst>
                  <a:gd name="T0" fmla="*/ 2470 w 2498"/>
                  <a:gd name="T1" fmla="*/ 1288 h 1297"/>
                  <a:gd name="T2" fmla="*/ 2433 w 2498"/>
                  <a:gd name="T3" fmla="*/ 1218 h 1297"/>
                  <a:gd name="T4" fmla="*/ 2348 w 2498"/>
                  <a:gd name="T5" fmla="*/ 1109 h 1297"/>
                  <a:gd name="T6" fmla="*/ 2262 w 2498"/>
                  <a:gd name="T7" fmla="*/ 1038 h 1297"/>
                  <a:gd name="T8" fmla="*/ 2237 w 2498"/>
                  <a:gd name="T9" fmla="*/ 1001 h 1297"/>
                  <a:gd name="T10" fmla="*/ 2226 w 2498"/>
                  <a:gd name="T11" fmla="*/ 919 h 1297"/>
                  <a:gd name="T12" fmla="*/ 2221 w 2498"/>
                  <a:gd name="T13" fmla="*/ 808 h 1297"/>
                  <a:gd name="T14" fmla="*/ 2198 w 2498"/>
                  <a:gd name="T15" fmla="*/ 738 h 1297"/>
                  <a:gd name="T16" fmla="*/ 2142 w 2498"/>
                  <a:gd name="T17" fmla="*/ 683 h 1297"/>
                  <a:gd name="T18" fmla="*/ 2068 w 2498"/>
                  <a:gd name="T19" fmla="*/ 659 h 1297"/>
                  <a:gd name="T20" fmla="*/ 1976 w 2498"/>
                  <a:gd name="T21" fmla="*/ 662 h 1297"/>
                  <a:gd name="T22" fmla="*/ 1861 w 2498"/>
                  <a:gd name="T23" fmla="*/ 693 h 1297"/>
                  <a:gd name="T24" fmla="*/ 1717 w 2498"/>
                  <a:gd name="T25" fmla="*/ 756 h 1297"/>
                  <a:gd name="T26" fmla="*/ 1570 w 2498"/>
                  <a:gd name="T27" fmla="*/ 835 h 1297"/>
                  <a:gd name="T28" fmla="*/ 1414 w 2498"/>
                  <a:gd name="T29" fmla="*/ 911 h 1297"/>
                  <a:gd name="T30" fmla="*/ 1263 w 2498"/>
                  <a:gd name="T31" fmla="*/ 966 h 1297"/>
                  <a:gd name="T32" fmla="*/ 1114 w 2498"/>
                  <a:gd name="T33" fmla="*/ 1001 h 1297"/>
                  <a:gd name="T34" fmla="*/ 968 w 2498"/>
                  <a:gd name="T35" fmla="*/ 1019 h 1297"/>
                  <a:gd name="T36" fmla="*/ 826 w 2498"/>
                  <a:gd name="T37" fmla="*/ 1016 h 1297"/>
                  <a:gd name="T38" fmla="*/ 685 w 2498"/>
                  <a:gd name="T39" fmla="*/ 995 h 1297"/>
                  <a:gd name="T40" fmla="*/ 587 w 2498"/>
                  <a:gd name="T41" fmla="*/ 964 h 1297"/>
                  <a:gd name="T42" fmla="*/ 506 w 2498"/>
                  <a:gd name="T43" fmla="*/ 918 h 1297"/>
                  <a:gd name="T44" fmla="*/ 428 w 2498"/>
                  <a:gd name="T45" fmla="*/ 856 h 1297"/>
                  <a:gd name="T46" fmla="*/ 309 w 2498"/>
                  <a:gd name="T47" fmla="*/ 716 h 1297"/>
                  <a:gd name="T48" fmla="*/ 151 w 2498"/>
                  <a:gd name="T49" fmla="*/ 479 h 1297"/>
                  <a:gd name="T50" fmla="*/ 47 w 2498"/>
                  <a:gd name="T51" fmla="*/ 275 h 1297"/>
                  <a:gd name="T52" fmla="*/ 3 w 2498"/>
                  <a:gd name="T53" fmla="*/ 118 h 1297"/>
                  <a:gd name="T54" fmla="*/ 6 w 2498"/>
                  <a:gd name="T55" fmla="*/ 25 h 1297"/>
                  <a:gd name="T56" fmla="*/ 25 w 2498"/>
                  <a:gd name="T57" fmla="*/ 0 h 1297"/>
                  <a:gd name="T58" fmla="*/ 41 w 2498"/>
                  <a:gd name="T59" fmla="*/ 15 h 1297"/>
                  <a:gd name="T60" fmla="*/ 28 w 2498"/>
                  <a:gd name="T61" fmla="*/ 73 h 1297"/>
                  <a:gd name="T62" fmla="*/ 48 w 2498"/>
                  <a:gd name="T63" fmla="*/ 196 h 1297"/>
                  <a:gd name="T64" fmla="*/ 125 w 2498"/>
                  <a:gd name="T65" fmla="*/ 377 h 1297"/>
                  <a:gd name="T66" fmla="*/ 269 w 2498"/>
                  <a:gd name="T67" fmla="*/ 614 h 1297"/>
                  <a:gd name="T68" fmla="*/ 416 w 2498"/>
                  <a:gd name="T69" fmla="*/ 803 h 1297"/>
                  <a:gd name="T70" fmla="*/ 489 w 2498"/>
                  <a:gd name="T71" fmla="*/ 872 h 1297"/>
                  <a:gd name="T72" fmla="*/ 565 w 2498"/>
                  <a:gd name="T73" fmla="*/ 923 h 1297"/>
                  <a:gd name="T74" fmla="*/ 647 w 2498"/>
                  <a:gd name="T75" fmla="*/ 957 h 1297"/>
                  <a:gd name="T76" fmla="*/ 773 w 2498"/>
                  <a:gd name="T77" fmla="*/ 983 h 1297"/>
                  <a:gd name="T78" fmla="*/ 912 w 2498"/>
                  <a:gd name="T79" fmla="*/ 993 h 1297"/>
                  <a:gd name="T80" fmla="*/ 1054 w 2498"/>
                  <a:gd name="T81" fmla="*/ 984 h 1297"/>
                  <a:gd name="T82" fmla="*/ 1197 w 2498"/>
                  <a:gd name="T83" fmla="*/ 956 h 1297"/>
                  <a:gd name="T84" fmla="*/ 1345 w 2498"/>
                  <a:gd name="T85" fmla="*/ 910 h 1297"/>
                  <a:gd name="T86" fmla="*/ 1496 w 2498"/>
                  <a:gd name="T87" fmla="*/ 843 h 1297"/>
                  <a:gd name="T88" fmla="*/ 1645 w 2498"/>
                  <a:gd name="T89" fmla="*/ 764 h 1297"/>
                  <a:gd name="T90" fmla="*/ 1796 w 2498"/>
                  <a:gd name="T91" fmla="*/ 689 h 1297"/>
                  <a:gd name="T92" fmla="*/ 1928 w 2498"/>
                  <a:gd name="T93" fmla="*/ 644 h 1297"/>
                  <a:gd name="T94" fmla="*/ 2037 w 2498"/>
                  <a:gd name="T95" fmla="*/ 630 h 1297"/>
                  <a:gd name="T96" fmla="*/ 2125 w 2498"/>
                  <a:gd name="T97" fmla="*/ 645 h 1297"/>
                  <a:gd name="T98" fmla="*/ 2200 w 2498"/>
                  <a:gd name="T99" fmla="*/ 695 h 1297"/>
                  <a:gd name="T100" fmla="*/ 2240 w 2498"/>
                  <a:gd name="T101" fmla="*/ 768 h 1297"/>
                  <a:gd name="T102" fmla="*/ 2252 w 2498"/>
                  <a:gd name="T103" fmla="*/ 865 h 1297"/>
                  <a:gd name="T104" fmla="*/ 2258 w 2498"/>
                  <a:gd name="T105" fmla="*/ 972 h 1297"/>
                  <a:gd name="T106" fmla="*/ 2271 w 2498"/>
                  <a:gd name="T107" fmla="*/ 1007 h 1297"/>
                  <a:gd name="T108" fmla="*/ 2327 w 2498"/>
                  <a:gd name="T109" fmla="*/ 1052 h 1297"/>
                  <a:gd name="T110" fmla="*/ 2425 w 2498"/>
                  <a:gd name="T111" fmla="*/ 1158 h 1297"/>
                  <a:gd name="T112" fmla="*/ 2482 w 2498"/>
                  <a:gd name="T113" fmla="*/ 1254 h 1297"/>
                  <a:gd name="T114" fmla="*/ 2498 w 2498"/>
                  <a:gd name="T115" fmla="*/ 1284 h 1297"/>
                  <a:gd name="T116" fmla="*/ 2483 w 2498"/>
                  <a:gd name="T117"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8" h="1297">
                    <a:moveTo>
                      <a:pt x="2483" y="1297"/>
                    </a:moveTo>
                    <a:lnTo>
                      <a:pt x="2480" y="1296"/>
                    </a:lnTo>
                    <a:lnTo>
                      <a:pt x="2476" y="1295"/>
                    </a:lnTo>
                    <a:lnTo>
                      <a:pt x="2473" y="1292"/>
                    </a:lnTo>
                    <a:lnTo>
                      <a:pt x="2470" y="1288"/>
                    </a:lnTo>
                    <a:lnTo>
                      <a:pt x="2464" y="1279"/>
                    </a:lnTo>
                    <a:lnTo>
                      <a:pt x="2457" y="1266"/>
                    </a:lnTo>
                    <a:lnTo>
                      <a:pt x="2451" y="1252"/>
                    </a:lnTo>
                    <a:lnTo>
                      <a:pt x="2442" y="1236"/>
                    </a:lnTo>
                    <a:lnTo>
                      <a:pt x="2433" y="1218"/>
                    </a:lnTo>
                    <a:lnTo>
                      <a:pt x="2421" y="1199"/>
                    </a:lnTo>
                    <a:lnTo>
                      <a:pt x="2403" y="1174"/>
                    </a:lnTo>
                    <a:lnTo>
                      <a:pt x="2385" y="1151"/>
                    </a:lnTo>
                    <a:lnTo>
                      <a:pt x="2368" y="1129"/>
                    </a:lnTo>
                    <a:lnTo>
                      <a:pt x="2348" y="1109"/>
                    </a:lnTo>
                    <a:lnTo>
                      <a:pt x="2330" y="1091"/>
                    </a:lnTo>
                    <a:lnTo>
                      <a:pt x="2311" y="1074"/>
                    </a:lnTo>
                    <a:lnTo>
                      <a:pt x="2290" y="1057"/>
                    </a:lnTo>
                    <a:lnTo>
                      <a:pt x="2270" y="1043"/>
                    </a:lnTo>
                    <a:lnTo>
                      <a:pt x="2262" y="1038"/>
                    </a:lnTo>
                    <a:lnTo>
                      <a:pt x="2256" y="1032"/>
                    </a:lnTo>
                    <a:lnTo>
                      <a:pt x="2250" y="1025"/>
                    </a:lnTo>
                    <a:lnTo>
                      <a:pt x="2245" y="1018"/>
                    </a:lnTo>
                    <a:lnTo>
                      <a:pt x="2240" y="1010"/>
                    </a:lnTo>
                    <a:lnTo>
                      <a:pt x="2237" y="1001"/>
                    </a:lnTo>
                    <a:lnTo>
                      <a:pt x="2235" y="993"/>
                    </a:lnTo>
                    <a:lnTo>
                      <a:pt x="2232" y="983"/>
                    </a:lnTo>
                    <a:lnTo>
                      <a:pt x="2229" y="964"/>
                    </a:lnTo>
                    <a:lnTo>
                      <a:pt x="2227" y="942"/>
                    </a:lnTo>
                    <a:lnTo>
                      <a:pt x="2226" y="919"/>
                    </a:lnTo>
                    <a:lnTo>
                      <a:pt x="2226" y="897"/>
                    </a:lnTo>
                    <a:lnTo>
                      <a:pt x="2225" y="867"/>
                    </a:lnTo>
                    <a:lnTo>
                      <a:pt x="2224" y="837"/>
                    </a:lnTo>
                    <a:lnTo>
                      <a:pt x="2223" y="822"/>
                    </a:lnTo>
                    <a:lnTo>
                      <a:pt x="2221" y="808"/>
                    </a:lnTo>
                    <a:lnTo>
                      <a:pt x="2219" y="793"/>
                    </a:lnTo>
                    <a:lnTo>
                      <a:pt x="2214" y="779"/>
                    </a:lnTo>
                    <a:lnTo>
                      <a:pt x="2210" y="765"/>
                    </a:lnTo>
                    <a:lnTo>
                      <a:pt x="2205" y="751"/>
                    </a:lnTo>
                    <a:lnTo>
                      <a:pt x="2198" y="738"/>
                    </a:lnTo>
                    <a:lnTo>
                      <a:pt x="2190" y="726"/>
                    </a:lnTo>
                    <a:lnTo>
                      <a:pt x="2181" y="714"/>
                    </a:lnTo>
                    <a:lnTo>
                      <a:pt x="2169" y="702"/>
                    </a:lnTo>
                    <a:lnTo>
                      <a:pt x="2156" y="693"/>
                    </a:lnTo>
                    <a:lnTo>
                      <a:pt x="2142" y="683"/>
                    </a:lnTo>
                    <a:lnTo>
                      <a:pt x="2128" y="676"/>
                    </a:lnTo>
                    <a:lnTo>
                      <a:pt x="2114" y="670"/>
                    </a:lnTo>
                    <a:lnTo>
                      <a:pt x="2100" y="666"/>
                    </a:lnTo>
                    <a:lnTo>
                      <a:pt x="2084" y="661"/>
                    </a:lnTo>
                    <a:lnTo>
                      <a:pt x="2068" y="659"/>
                    </a:lnTo>
                    <a:lnTo>
                      <a:pt x="2051" y="657"/>
                    </a:lnTo>
                    <a:lnTo>
                      <a:pt x="2033" y="657"/>
                    </a:lnTo>
                    <a:lnTo>
                      <a:pt x="2015" y="657"/>
                    </a:lnTo>
                    <a:lnTo>
                      <a:pt x="1995" y="659"/>
                    </a:lnTo>
                    <a:lnTo>
                      <a:pt x="1976" y="662"/>
                    </a:lnTo>
                    <a:lnTo>
                      <a:pt x="1954" y="666"/>
                    </a:lnTo>
                    <a:lnTo>
                      <a:pt x="1933" y="671"/>
                    </a:lnTo>
                    <a:lnTo>
                      <a:pt x="1910" y="678"/>
                    </a:lnTo>
                    <a:lnTo>
                      <a:pt x="1886" y="685"/>
                    </a:lnTo>
                    <a:lnTo>
                      <a:pt x="1861" y="693"/>
                    </a:lnTo>
                    <a:lnTo>
                      <a:pt x="1835" y="702"/>
                    </a:lnTo>
                    <a:lnTo>
                      <a:pt x="1806" y="714"/>
                    </a:lnTo>
                    <a:lnTo>
                      <a:pt x="1776" y="728"/>
                    </a:lnTo>
                    <a:lnTo>
                      <a:pt x="1746" y="742"/>
                    </a:lnTo>
                    <a:lnTo>
                      <a:pt x="1717" y="756"/>
                    </a:lnTo>
                    <a:lnTo>
                      <a:pt x="1686" y="772"/>
                    </a:lnTo>
                    <a:lnTo>
                      <a:pt x="1657" y="788"/>
                    </a:lnTo>
                    <a:lnTo>
                      <a:pt x="1629" y="803"/>
                    </a:lnTo>
                    <a:lnTo>
                      <a:pt x="1602" y="818"/>
                    </a:lnTo>
                    <a:lnTo>
                      <a:pt x="1570" y="835"/>
                    </a:lnTo>
                    <a:lnTo>
                      <a:pt x="1539" y="852"/>
                    </a:lnTo>
                    <a:lnTo>
                      <a:pt x="1507" y="867"/>
                    </a:lnTo>
                    <a:lnTo>
                      <a:pt x="1476" y="883"/>
                    </a:lnTo>
                    <a:lnTo>
                      <a:pt x="1446" y="897"/>
                    </a:lnTo>
                    <a:lnTo>
                      <a:pt x="1414" y="911"/>
                    </a:lnTo>
                    <a:lnTo>
                      <a:pt x="1384" y="923"/>
                    </a:lnTo>
                    <a:lnTo>
                      <a:pt x="1354" y="934"/>
                    </a:lnTo>
                    <a:lnTo>
                      <a:pt x="1323" y="946"/>
                    </a:lnTo>
                    <a:lnTo>
                      <a:pt x="1292" y="956"/>
                    </a:lnTo>
                    <a:lnTo>
                      <a:pt x="1263" y="966"/>
                    </a:lnTo>
                    <a:lnTo>
                      <a:pt x="1233" y="974"/>
                    </a:lnTo>
                    <a:lnTo>
                      <a:pt x="1203" y="983"/>
                    </a:lnTo>
                    <a:lnTo>
                      <a:pt x="1174" y="989"/>
                    </a:lnTo>
                    <a:lnTo>
                      <a:pt x="1143" y="996"/>
                    </a:lnTo>
                    <a:lnTo>
                      <a:pt x="1114" y="1001"/>
                    </a:lnTo>
                    <a:lnTo>
                      <a:pt x="1085" y="1007"/>
                    </a:lnTo>
                    <a:lnTo>
                      <a:pt x="1056" y="1011"/>
                    </a:lnTo>
                    <a:lnTo>
                      <a:pt x="1027" y="1014"/>
                    </a:lnTo>
                    <a:lnTo>
                      <a:pt x="998" y="1016"/>
                    </a:lnTo>
                    <a:lnTo>
                      <a:pt x="968" y="1019"/>
                    </a:lnTo>
                    <a:lnTo>
                      <a:pt x="940" y="1020"/>
                    </a:lnTo>
                    <a:lnTo>
                      <a:pt x="911" y="1020"/>
                    </a:lnTo>
                    <a:lnTo>
                      <a:pt x="883" y="1020"/>
                    </a:lnTo>
                    <a:lnTo>
                      <a:pt x="854" y="1019"/>
                    </a:lnTo>
                    <a:lnTo>
                      <a:pt x="826" y="1016"/>
                    </a:lnTo>
                    <a:lnTo>
                      <a:pt x="798" y="1013"/>
                    </a:lnTo>
                    <a:lnTo>
                      <a:pt x="770" y="1010"/>
                    </a:lnTo>
                    <a:lnTo>
                      <a:pt x="741" y="1006"/>
                    </a:lnTo>
                    <a:lnTo>
                      <a:pt x="712" y="1000"/>
                    </a:lnTo>
                    <a:lnTo>
                      <a:pt x="685" y="995"/>
                    </a:lnTo>
                    <a:lnTo>
                      <a:pt x="657" y="987"/>
                    </a:lnTo>
                    <a:lnTo>
                      <a:pt x="639" y="983"/>
                    </a:lnTo>
                    <a:lnTo>
                      <a:pt x="622" y="978"/>
                    </a:lnTo>
                    <a:lnTo>
                      <a:pt x="604" y="971"/>
                    </a:lnTo>
                    <a:lnTo>
                      <a:pt x="587" y="964"/>
                    </a:lnTo>
                    <a:lnTo>
                      <a:pt x="570" y="956"/>
                    </a:lnTo>
                    <a:lnTo>
                      <a:pt x="554" y="947"/>
                    </a:lnTo>
                    <a:lnTo>
                      <a:pt x="538" y="939"/>
                    </a:lnTo>
                    <a:lnTo>
                      <a:pt x="521" y="929"/>
                    </a:lnTo>
                    <a:lnTo>
                      <a:pt x="506" y="918"/>
                    </a:lnTo>
                    <a:lnTo>
                      <a:pt x="490" y="907"/>
                    </a:lnTo>
                    <a:lnTo>
                      <a:pt x="475" y="896"/>
                    </a:lnTo>
                    <a:lnTo>
                      <a:pt x="459" y="883"/>
                    </a:lnTo>
                    <a:lnTo>
                      <a:pt x="444" y="870"/>
                    </a:lnTo>
                    <a:lnTo>
                      <a:pt x="428" y="856"/>
                    </a:lnTo>
                    <a:lnTo>
                      <a:pt x="413" y="841"/>
                    </a:lnTo>
                    <a:lnTo>
                      <a:pt x="398" y="824"/>
                    </a:lnTo>
                    <a:lnTo>
                      <a:pt x="369" y="792"/>
                    </a:lnTo>
                    <a:lnTo>
                      <a:pt x="339" y="755"/>
                    </a:lnTo>
                    <a:lnTo>
                      <a:pt x="309" y="716"/>
                    </a:lnTo>
                    <a:lnTo>
                      <a:pt x="278" y="675"/>
                    </a:lnTo>
                    <a:lnTo>
                      <a:pt x="248" y="631"/>
                    </a:lnTo>
                    <a:lnTo>
                      <a:pt x="217" y="584"/>
                    </a:lnTo>
                    <a:lnTo>
                      <a:pt x="184" y="533"/>
                    </a:lnTo>
                    <a:lnTo>
                      <a:pt x="151" y="479"/>
                    </a:lnTo>
                    <a:lnTo>
                      <a:pt x="125" y="435"/>
                    </a:lnTo>
                    <a:lnTo>
                      <a:pt x="101" y="393"/>
                    </a:lnTo>
                    <a:lnTo>
                      <a:pt x="81" y="352"/>
                    </a:lnTo>
                    <a:lnTo>
                      <a:pt x="62" y="313"/>
                    </a:lnTo>
                    <a:lnTo>
                      <a:pt x="47" y="275"/>
                    </a:lnTo>
                    <a:lnTo>
                      <a:pt x="34" y="239"/>
                    </a:lnTo>
                    <a:lnTo>
                      <a:pt x="22" y="206"/>
                    </a:lnTo>
                    <a:lnTo>
                      <a:pt x="14" y="174"/>
                    </a:lnTo>
                    <a:lnTo>
                      <a:pt x="7" y="145"/>
                    </a:lnTo>
                    <a:lnTo>
                      <a:pt x="3" y="118"/>
                    </a:lnTo>
                    <a:lnTo>
                      <a:pt x="1" y="94"/>
                    </a:lnTo>
                    <a:lnTo>
                      <a:pt x="0" y="71"/>
                    </a:lnTo>
                    <a:lnTo>
                      <a:pt x="2" y="51"/>
                    </a:lnTo>
                    <a:lnTo>
                      <a:pt x="4" y="33"/>
                    </a:lnTo>
                    <a:lnTo>
                      <a:pt x="6" y="25"/>
                    </a:lnTo>
                    <a:lnTo>
                      <a:pt x="10" y="18"/>
                    </a:lnTo>
                    <a:lnTo>
                      <a:pt x="13" y="11"/>
                    </a:lnTo>
                    <a:lnTo>
                      <a:pt x="16" y="6"/>
                    </a:lnTo>
                    <a:lnTo>
                      <a:pt x="19" y="2"/>
                    </a:lnTo>
                    <a:lnTo>
                      <a:pt x="25" y="0"/>
                    </a:lnTo>
                    <a:lnTo>
                      <a:pt x="29" y="0"/>
                    </a:lnTo>
                    <a:lnTo>
                      <a:pt x="34" y="2"/>
                    </a:lnTo>
                    <a:lnTo>
                      <a:pt x="39" y="5"/>
                    </a:lnTo>
                    <a:lnTo>
                      <a:pt x="40" y="10"/>
                    </a:lnTo>
                    <a:lnTo>
                      <a:pt x="41" y="15"/>
                    </a:lnTo>
                    <a:lnTo>
                      <a:pt x="39" y="20"/>
                    </a:lnTo>
                    <a:lnTo>
                      <a:pt x="34" y="30"/>
                    </a:lnTo>
                    <a:lnTo>
                      <a:pt x="30" y="42"/>
                    </a:lnTo>
                    <a:lnTo>
                      <a:pt x="28" y="56"/>
                    </a:lnTo>
                    <a:lnTo>
                      <a:pt x="28" y="73"/>
                    </a:lnTo>
                    <a:lnTo>
                      <a:pt x="28" y="92"/>
                    </a:lnTo>
                    <a:lnTo>
                      <a:pt x="30" y="115"/>
                    </a:lnTo>
                    <a:lnTo>
                      <a:pt x="34" y="140"/>
                    </a:lnTo>
                    <a:lnTo>
                      <a:pt x="41" y="167"/>
                    </a:lnTo>
                    <a:lnTo>
                      <a:pt x="48" y="196"/>
                    </a:lnTo>
                    <a:lnTo>
                      <a:pt x="59" y="228"/>
                    </a:lnTo>
                    <a:lnTo>
                      <a:pt x="71" y="262"/>
                    </a:lnTo>
                    <a:lnTo>
                      <a:pt x="86" y="299"/>
                    </a:lnTo>
                    <a:lnTo>
                      <a:pt x="105" y="337"/>
                    </a:lnTo>
                    <a:lnTo>
                      <a:pt x="125" y="377"/>
                    </a:lnTo>
                    <a:lnTo>
                      <a:pt x="148" y="421"/>
                    </a:lnTo>
                    <a:lnTo>
                      <a:pt x="175" y="465"/>
                    </a:lnTo>
                    <a:lnTo>
                      <a:pt x="207" y="518"/>
                    </a:lnTo>
                    <a:lnTo>
                      <a:pt x="238" y="566"/>
                    </a:lnTo>
                    <a:lnTo>
                      <a:pt x="269" y="614"/>
                    </a:lnTo>
                    <a:lnTo>
                      <a:pt x="299" y="657"/>
                    </a:lnTo>
                    <a:lnTo>
                      <a:pt x="328" y="698"/>
                    </a:lnTo>
                    <a:lnTo>
                      <a:pt x="357" y="736"/>
                    </a:lnTo>
                    <a:lnTo>
                      <a:pt x="386" y="771"/>
                    </a:lnTo>
                    <a:lnTo>
                      <a:pt x="416" y="803"/>
                    </a:lnTo>
                    <a:lnTo>
                      <a:pt x="430" y="819"/>
                    </a:lnTo>
                    <a:lnTo>
                      <a:pt x="445" y="833"/>
                    </a:lnTo>
                    <a:lnTo>
                      <a:pt x="460" y="847"/>
                    </a:lnTo>
                    <a:lnTo>
                      <a:pt x="474" y="860"/>
                    </a:lnTo>
                    <a:lnTo>
                      <a:pt x="489" y="872"/>
                    </a:lnTo>
                    <a:lnTo>
                      <a:pt x="504" y="884"/>
                    </a:lnTo>
                    <a:lnTo>
                      <a:pt x="519" y="894"/>
                    </a:lnTo>
                    <a:lnTo>
                      <a:pt x="534" y="904"/>
                    </a:lnTo>
                    <a:lnTo>
                      <a:pt x="549" y="914"/>
                    </a:lnTo>
                    <a:lnTo>
                      <a:pt x="565" y="923"/>
                    </a:lnTo>
                    <a:lnTo>
                      <a:pt x="581" y="931"/>
                    </a:lnTo>
                    <a:lnTo>
                      <a:pt x="597" y="939"/>
                    </a:lnTo>
                    <a:lnTo>
                      <a:pt x="613" y="945"/>
                    </a:lnTo>
                    <a:lnTo>
                      <a:pt x="629" y="952"/>
                    </a:lnTo>
                    <a:lnTo>
                      <a:pt x="647" y="957"/>
                    </a:lnTo>
                    <a:lnTo>
                      <a:pt x="664" y="961"/>
                    </a:lnTo>
                    <a:lnTo>
                      <a:pt x="691" y="968"/>
                    </a:lnTo>
                    <a:lnTo>
                      <a:pt x="718" y="973"/>
                    </a:lnTo>
                    <a:lnTo>
                      <a:pt x="746" y="979"/>
                    </a:lnTo>
                    <a:lnTo>
                      <a:pt x="773" y="983"/>
                    </a:lnTo>
                    <a:lnTo>
                      <a:pt x="801" y="986"/>
                    </a:lnTo>
                    <a:lnTo>
                      <a:pt x="828" y="989"/>
                    </a:lnTo>
                    <a:lnTo>
                      <a:pt x="856" y="992"/>
                    </a:lnTo>
                    <a:lnTo>
                      <a:pt x="884" y="993"/>
                    </a:lnTo>
                    <a:lnTo>
                      <a:pt x="912" y="993"/>
                    </a:lnTo>
                    <a:lnTo>
                      <a:pt x="940" y="993"/>
                    </a:lnTo>
                    <a:lnTo>
                      <a:pt x="968" y="992"/>
                    </a:lnTo>
                    <a:lnTo>
                      <a:pt x="996" y="989"/>
                    </a:lnTo>
                    <a:lnTo>
                      <a:pt x="1025" y="987"/>
                    </a:lnTo>
                    <a:lnTo>
                      <a:pt x="1054" y="984"/>
                    </a:lnTo>
                    <a:lnTo>
                      <a:pt x="1082" y="980"/>
                    </a:lnTo>
                    <a:lnTo>
                      <a:pt x="1111" y="975"/>
                    </a:lnTo>
                    <a:lnTo>
                      <a:pt x="1139" y="969"/>
                    </a:lnTo>
                    <a:lnTo>
                      <a:pt x="1168" y="964"/>
                    </a:lnTo>
                    <a:lnTo>
                      <a:pt x="1197" y="956"/>
                    </a:lnTo>
                    <a:lnTo>
                      <a:pt x="1226" y="948"/>
                    </a:lnTo>
                    <a:lnTo>
                      <a:pt x="1256" y="940"/>
                    </a:lnTo>
                    <a:lnTo>
                      <a:pt x="1286" y="930"/>
                    </a:lnTo>
                    <a:lnTo>
                      <a:pt x="1315" y="920"/>
                    </a:lnTo>
                    <a:lnTo>
                      <a:pt x="1345" y="910"/>
                    </a:lnTo>
                    <a:lnTo>
                      <a:pt x="1374" y="898"/>
                    </a:lnTo>
                    <a:lnTo>
                      <a:pt x="1405" y="885"/>
                    </a:lnTo>
                    <a:lnTo>
                      <a:pt x="1435" y="872"/>
                    </a:lnTo>
                    <a:lnTo>
                      <a:pt x="1465" y="858"/>
                    </a:lnTo>
                    <a:lnTo>
                      <a:pt x="1496" y="843"/>
                    </a:lnTo>
                    <a:lnTo>
                      <a:pt x="1527" y="828"/>
                    </a:lnTo>
                    <a:lnTo>
                      <a:pt x="1558" y="811"/>
                    </a:lnTo>
                    <a:lnTo>
                      <a:pt x="1589" y="794"/>
                    </a:lnTo>
                    <a:lnTo>
                      <a:pt x="1616" y="779"/>
                    </a:lnTo>
                    <a:lnTo>
                      <a:pt x="1645" y="764"/>
                    </a:lnTo>
                    <a:lnTo>
                      <a:pt x="1675" y="748"/>
                    </a:lnTo>
                    <a:lnTo>
                      <a:pt x="1705" y="733"/>
                    </a:lnTo>
                    <a:lnTo>
                      <a:pt x="1735" y="717"/>
                    </a:lnTo>
                    <a:lnTo>
                      <a:pt x="1765" y="703"/>
                    </a:lnTo>
                    <a:lnTo>
                      <a:pt x="1796" y="689"/>
                    </a:lnTo>
                    <a:lnTo>
                      <a:pt x="1826" y="678"/>
                    </a:lnTo>
                    <a:lnTo>
                      <a:pt x="1853" y="668"/>
                    </a:lnTo>
                    <a:lnTo>
                      <a:pt x="1880" y="658"/>
                    </a:lnTo>
                    <a:lnTo>
                      <a:pt x="1905" y="651"/>
                    </a:lnTo>
                    <a:lnTo>
                      <a:pt x="1928" y="644"/>
                    </a:lnTo>
                    <a:lnTo>
                      <a:pt x="1952" y="639"/>
                    </a:lnTo>
                    <a:lnTo>
                      <a:pt x="1975" y="635"/>
                    </a:lnTo>
                    <a:lnTo>
                      <a:pt x="1996" y="632"/>
                    </a:lnTo>
                    <a:lnTo>
                      <a:pt x="2017" y="630"/>
                    </a:lnTo>
                    <a:lnTo>
                      <a:pt x="2037" y="630"/>
                    </a:lnTo>
                    <a:lnTo>
                      <a:pt x="2056" y="630"/>
                    </a:lnTo>
                    <a:lnTo>
                      <a:pt x="2074" y="632"/>
                    </a:lnTo>
                    <a:lnTo>
                      <a:pt x="2092" y="635"/>
                    </a:lnTo>
                    <a:lnTo>
                      <a:pt x="2109" y="640"/>
                    </a:lnTo>
                    <a:lnTo>
                      <a:pt x="2125" y="645"/>
                    </a:lnTo>
                    <a:lnTo>
                      <a:pt x="2141" y="652"/>
                    </a:lnTo>
                    <a:lnTo>
                      <a:pt x="2155" y="659"/>
                    </a:lnTo>
                    <a:lnTo>
                      <a:pt x="2172" y="671"/>
                    </a:lnTo>
                    <a:lnTo>
                      <a:pt x="2187" y="683"/>
                    </a:lnTo>
                    <a:lnTo>
                      <a:pt x="2200" y="695"/>
                    </a:lnTo>
                    <a:lnTo>
                      <a:pt x="2211" y="709"/>
                    </a:lnTo>
                    <a:lnTo>
                      <a:pt x="2221" y="723"/>
                    </a:lnTo>
                    <a:lnTo>
                      <a:pt x="2229" y="738"/>
                    </a:lnTo>
                    <a:lnTo>
                      <a:pt x="2235" y="753"/>
                    </a:lnTo>
                    <a:lnTo>
                      <a:pt x="2240" y="768"/>
                    </a:lnTo>
                    <a:lnTo>
                      <a:pt x="2245" y="784"/>
                    </a:lnTo>
                    <a:lnTo>
                      <a:pt x="2247" y="801"/>
                    </a:lnTo>
                    <a:lnTo>
                      <a:pt x="2250" y="817"/>
                    </a:lnTo>
                    <a:lnTo>
                      <a:pt x="2251" y="833"/>
                    </a:lnTo>
                    <a:lnTo>
                      <a:pt x="2252" y="865"/>
                    </a:lnTo>
                    <a:lnTo>
                      <a:pt x="2253" y="897"/>
                    </a:lnTo>
                    <a:lnTo>
                      <a:pt x="2253" y="917"/>
                    </a:lnTo>
                    <a:lnTo>
                      <a:pt x="2254" y="938"/>
                    </a:lnTo>
                    <a:lnTo>
                      <a:pt x="2256" y="956"/>
                    </a:lnTo>
                    <a:lnTo>
                      <a:pt x="2258" y="972"/>
                    </a:lnTo>
                    <a:lnTo>
                      <a:pt x="2259" y="981"/>
                    </a:lnTo>
                    <a:lnTo>
                      <a:pt x="2261" y="988"/>
                    </a:lnTo>
                    <a:lnTo>
                      <a:pt x="2264" y="995"/>
                    </a:lnTo>
                    <a:lnTo>
                      <a:pt x="2266" y="1001"/>
                    </a:lnTo>
                    <a:lnTo>
                      <a:pt x="2271" y="1007"/>
                    </a:lnTo>
                    <a:lnTo>
                      <a:pt x="2274" y="1012"/>
                    </a:lnTo>
                    <a:lnTo>
                      <a:pt x="2279" y="1016"/>
                    </a:lnTo>
                    <a:lnTo>
                      <a:pt x="2285" y="1021"/>
                    </a:lnTo>
                    <a:lnTo>
                      <a:pt x="2306" y="1036"/>
                    </a:lnTo>
                    <a:lnTo>
                      <a:pt x="2327" y="1052"/>
                    </a:lnTo>
                    <a:lnTo>
                      <a:pt x="2348" y="1070"/>
                    </a:lnTo>
                    <a:lnTo>
                      <a:pt x="2368" y="1090"/>
                    </a:lnTo>
                    <a:lnTo>
                      <a:pt x="2387" y="1111"/>
                    </a:lnTo>
                    <a:lnTo>
                      <a:pt x="2407" y="1134"/>
                    </a:lnTo>
                    <a:lnTo>
                      <a:pt x="2425" y="1158"/>
                    </a:lnTo>
                    <a:lnTo>
                      <a:pt x="2442" y="1184"/>
                    </a:lnTo>
                    <a:lnTo>
                      <a:pt x="2455" y="1204"/>
                    </a:lnTo>
                    <a:lnTo>
                      <a:pt x="2466" y="1224"/>
                    </a:lnTo>
                    <a:lnTo>
                      <a:pt x="2475" y="1240"/>
                    </a:lnTo>
                    <a:lnTo>
                      <a:pt x="2482" y="1254"/>
                    </a:lnTo>
                    <a:lnTo>
                      <a:pt x="2487" y="1264"/>
                    </a:lnTo>
                    <a:lnTo>
                      <a:pt x="2491" y="1271"/>
                    </a:lnTo>
                    <a:lnTo>
                      <a:pt x="2495" y="1274"/>
                    </a:lnTo>
                    <a:lnTo>
                      <a:pt x="2497" y="1279"/>
                    </a:lnTo>
                    <a:lnTo>
                      <a:pt x="2498" y="1284"/>
                    </a:lnTo>
                    <a:lnTo>
                      <a:pt x="2496" y="1290"/>
                    </a:lnTo>
                    <a:lnTo>
                      <a:pt x="2493" y="1294"/>
                    </a:lnTo>
                    <a:lnTo>
                      <a:pt x="2489" y="1296"/>
                    </a:lnTo>
                    <a:lnTo>
                      <a:pt x="2486" y="1297"/>
                    </a:lnTo>
                    <a:lnTo>
                      <a:pt x="2483" y="12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5"/>
              <p:cNvSpPr>
                <a:spLocks/>
              </p:cNvSpPr>
              <p:nvPr userDrawn="1"/>
            </p:nvSpPr>
            <p:spPr bwMode="auto">
              <a:xfrm>
                <a:off x="1889" y="1430"/>
                <a:ext cx="841" cy="434"/>
              </a:xfrm>
              <a:custGeom>
                <a:avLst/>
                <a:gdLst>
                  <a:gd name="T0" fmla="*/ 2491 w 2521"/>
                  <a:gd name="T1" fmla="*/ 1295 h 1304"/>
                  <a:gd name="T2" fmla="*/ 2448 w 2521"/>
                  <a:gd name="T3" fmla="*/ 1232 h 1304"/>
                  <a:gd name="T4" fmla="*/ 2371 w 2521"/>
                  <a:gd name="T5" fmla="*/ 1145 h 1304"/>
                  <a:gd name="T6" fmla="*/ 2272 w 2521"/>
                  <a:gd name="T7" fmla="*/ 1067 h 1304"/>
                  <a:gd name="T8" fmla="*/ 2245 w 2521"/>
                  <a:gd name="T9" fmla="*/ 1033 h 1304"/>
                  <a:gd name="T10" fmla="*/ 2225 w 2521"/>
                  <a:gd name="T11" fmla="*/ 956 h 1304"/>
                  <a:gd name="T12" fmla="*/ 2209 w 2521"/>
                  <a:gd name="T13" fmla="*/ 852 h 1304"/>
                  <a:gd name="T14" fmla="*/ 2181 w 2521"/>
                  <a:gd name="T15" fmla="*/ 788 h 1304"/>
                  <a:gd name="T16" fmla="*/ 2122 w 2521"/>
                  <a:gd name="T17" fmla="*/ 736 h 1304"/>
                  <a:gd name="T18" fmla="*/ 2047 w 2521"/>
                  <a:gd name="T19" fmla="*/ 712 h 1304"/>
                  <a:gd name="T20" fmla="*/ 1955 w 2521"/>
                  <a:gd name="T21" fmla="*/ 713 h 1304"/>
                  <a:gd name="T22" fmla="*/ 1842 w 2521"/>
                  <a:gd name="T23" fmla="*/ 739 h 1304"/>
                  <a:gd name="T24" fmla="*/ 1697 w 2521"/>
                  <a:gd name="T25" fmla="*/ 793 h 1304"/>
                  <a:gd name="T26" fmla="*/ 1533 w 2521"/>
                  <a:gd name="T27" fmla="*/ 871 h 1304"/>
                  <a:gd name="T28" fmla="*/ 1273 w 2521"/>
                  <a:gd name="T29" fmla="*/ 973 h 1304"/>
                  <a:gd name="T30" fmla="*/ 1127 w 2521"/>
                  <a:gd name="T31" fmla="*/ 1009 h 1304"/>
                  <a:gd name="T32" fmla="*/ 972 w 2521"/>
                  <a:gd name="T33" fmla="*/ 1029 h 1304"/>
                  <a:gd name="T34" fmla="*/ 809 w 2521"/>
                  <a:gd name="T35" fmla="*/ 1027 h 1304"/>
                  <a:gd name="T36" fmla="*/ 638 w 2521"/>
                  <a:gd name="T37" fmla="*/ 999 h 1304"/>
                  <a:gd name="T38" fmla="*/ 553 w 2521"/>
                  <a:gd name="T39" fmla="*/ 967 h 1304"/>
                  <a:gd name="T40" fmla="*/ 473 w 2521"/>
                  <a:gd name="T41" fmla="*/ 916 h 1304"/>
                  <a:gd name="T42" fmla="*/ 396 w 2521"/>
                  <a:gd name="T43" fmla="*/ 846 h 1304"/>
                  <a:gd name="T44" fmla="*/ 263 w 2521"/>
                  <a:gd name="T45" fmla="*/ 677 h 1304"/>
                  <a:gd name="T46" fmla="*/ 117 w 2521"/>
                  <a:gd name="T47" fmla="*/ 439 h 1304"/>
                  <a:gd name="T48" fmla="*/ 29 w 2521"/>
                  <a:gd name="T49" fmla="*/ 242 h 1304"/>
                  <a:gd name="T50" fmla="*/ 0 w 2521"/>
                  <a:gd name="T51" fmla="*/ 96 h 1304"/>
                  <a:gd name="T52" fmla="*/ 12 w 2521"/>
                  <a:gd name="T53" fmla="*/ 19 h 1304"/>
                  <a:gd name="T54" fmla="*/ 32 w 2521"/>
                  <a:gd name="T55" fmla="*/ 0 h 1304"/>
                  <a:gd name="T56" fmla="*/ 42 w 2521"/>
                  <a:gd name="T57" fmla="*/ 20 h 1304"/>
                  <a:gd name="T58" fmla="*/ 28 w 2521"/>
                  <a:gd name="T59" fmla="*/ 95 h 1304"/>
                  <a:gd name="T60" fmla="*/ 55 w 2521"/>
                  <a:gd name="T61" fmla="*/ 232 h 1304"/>
                  <a:gd name="T62" fmla="*/ 140 w 2521"/>
                  <a:gd name="T63" fmla="*/ 425 h 1304"/>
                  <a:gd name="T64" fmla="*/ 284 w 2521"/>
                  <a:gd name="T65" fmla="*/ 659 h 1304"/>
                  <a:gd name="T66" fmla="*/ 414 w 2521"/>
                  <a:gd name="T67" fmla="*/ 824 h 1304"/>
                  <a:gd name="T68" fmla="*/ 487 w 2521"/>
                  <a:gd name="T69" fmla="*/ 892 h 1304"/>
                  <a:gd name="T70" fmla="*/ 563 w 2521"/>
                  <a:gd name="T71" fmla="*/ 942 h 1304"/>
                  <a:gd name="T72" fmla="*/ 645 w 2521"/>
                  <a:gd name="T73" fmla="*/ 973 h 1304"/>
                  <a:gd name="T74" fmla="*/ 811 w 2521"/>
                  <a:gd name="T75" fmla="*/ 1000 h 1304"/>
                  <a:gd name="T76" fmla="*/ 972 w 2521"/>
                  <a:gd name="T77" fmla="*/ 1002 h 1304"/>
                  <a:gd name="T78" fmla="*/ 1123 w 2521"/>
                  <a:gd name="T79" fmla="*/ 983 h 1304"/>
                  <a:gd name="T80" fmla="*/ 1267 w 2521"/>
                  <a:gd name="T81" fmla="*/ 946 h 1304"/>
                  <a:gd name="T82" fmla="*/ 1522 w 2521"/>
                  <a:gd name="T83" fmla="*/ 846 h 1304"/>
                  <a:gd name="T84" fmla="*/ 1688 w 2521"/>
                  <a:gd name="T85" fmla="*/ 768 h 1304"/>
                  <a:gd name="T86" fmla="*/ 1835 w 2521"/>
                  <a:gd name="T87" fmla="*/ 712 h 1304"/>
                  <a:gd name="T88" fmla="*/ 1955 w 2521"/>
                  <a:gd name="T89" fmla="*/ 685 h 1304"/>
                  <a:gd name="T90" fmla="*/ 2054 w 2521"/>
                  <a:gd name="T91" fmla="*/ 685 h 1304"/>
                  <a:gd name="T92" fmla="*/ 2135 w 2521"/>
                  <a:gd name="T93" fmla="*/ 712 h 1304"/>
                  <a:gd name="T94" fmla="*/ 2203 w 2521"/>
                  <a:gd name="T95" fmla="*/ 770 h 1304"/>
                  <a:gd name="T96" fmla="*/ 2235 w 2521"/>
                  <a:gd name="T97" fmla="*/ 843 h 1304"/>
                  <a:gd name="T98" fmla="*/ 2252 w 2521"/>
                  <a:gd name="T99" fmla="*/ 951 h 1304"/>
                  <a:gd name="T100" fmla="*/ 2274 w 2521"/>
                  <a:gd name="T101" fmla="*/ 1030 h 1304"/>
                  <a:gd name="T102" fmla="*/ 2320 w 2521"/>
                  <a:gd name="T103" fmla="*/ 1067 h 1304"/>
                  <a:gd name="T104" fmla="*/ 2427 w 2521"/>
                  <a:gd name="T105" fmla="*/ 1164 h 1304"/>
                  <a:gd name="T106" fmla="*/ 2490 w 2521"/>
                  <a:gd name="T107" fmla="*/ 1245 h 1304"/>
                  <a:gd name="T108" fmla="*/ 2517 w 2521"/>
                  <a:gd name="T109" fmla="*/ 1280 h 1304"/>
                  <a:gd name="T110" fmla="*/ 2517 w 2521"/>
                  <a:gd name="T111" fmla="*/ 1300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21" h="1304">
                    <a:moveTo>
                      <a:pt x="2506" y="1304"/>
                    </a:moveTo>
                    <a:lnTo>
                      <a:pt x="2502" y="1302"/>
                    </a:lnTo>
                    <a:lnTo>
                      <a:pt x="2499" y="1301"/>
                    </a:lnTo>
                    <a:lnTo>
                      <a:pt x="2494" y="1298"/>
                    </a:lnTo>
                    <a:lnTo>
                      <a:pt x="2491" y="1295"/>
                    </a:lnTo>
                    <a:lnTo>
                      <a:pt x="2484" y="1285"/>
                    </a:lnTo>
                    <a:lnTo>
                      <a:pt x="2475" y="1271"/>
                    </a:lnTo>
                    <a:lnTo>
                      <a:pt x="2467" y="1260"/>
                    </a:lnTo>
                    <a:lnTo>
                      <a:pt x="2459" y="1247"/>
                    </a:lnTo>
                    <a:lnTo>
                      <a:pt x="2448" y="1232"/>
                    </a:lnTo>
                    <a:lnTo>
                      <a:pt x="2437" y="1217"/>
                    </a:lnTo>
                    <a:lnTo>
                      <a:pt x="2423" y="1200"/>
                    </a:lnTo>
                    <a:lnTo>
                      <a:pt x="2407" y="1183"/>
                    </a:lnTo>
                    <a:lnTo>
                      <a:pt x="2391" y="1163"/>
                    </a:lnTo>
                    <a:lnTo>
                      <a:pt x="2371" y="1145"/>
                    </a:lnTo>
                    <a:lnTo>
                      <a:pt x="2352" y="1125"/>
                    </a:lnTo>
                    <a:lnTo>
                      <a:pt x="2329" y="1107"/>
                    </a:lnTo>
                    <a:lnTo>
                      <a:pt x="2305" y="1090"/>
                    </a:lnTo>
                    <a:lnTo>
                      <a:pt x="2279" y="1073"/>
                    </a:lnTo>
                    <a:lnTo>
                      <a:pt x="2272" y="1067"/>
                    </a:lnTo>
                    <a:lnTo>
                      <a:pt x="2265" y="1062"/>
                    </a:lnTo>
                    <a:lnTo>
                      <a:pt x="2259" y="1055"/>
                    </a:lnTo>
                    <a:lnTo>
                      <a:pt x="2254" y="1048"/>
                    </a:lnTo>
                    <a:lnTo>
                      <a:pt x="2249" y="1040"/>
                    </a:lnTo>
                    <a:lnTo>
                      <a:pt x="2245" y="1033"/>
                    </a:lnTo>
                    <a:lnTo>
                      <a:pt x="2241" y="1024"/>
                    </a:lnTo>
                    <a:lnTo>
                      <a:pt x="2237" y="1015"/>
                    </a:lnTo>
                    <a:lnTo>
                      <a:pt x="2233" y="996"/>
                    </a:lnTo>
                    <a:lnTo>
                      <a:pt x="2229" y="976"/>
                    </a:lnTo>
                    <a:lnTo>
                      <a:pt x="2225" y="956"/>
                    </a:lnTo>
                    <a:lnTo>
                      <a:pt x="2223" y="934"/>
                    </a:lnTo>
                    <a:lnTo>
                      <a:pt x="2220" y="907"/>
                    </a:lnTo>
                    <a:lnTo>
                      <a:pt x="2216" y="879"/>
                    </a:lnTo>
                    <a:lnTo>
                      <a:pt x="2214" y="865"/>
                    </a:lnTo>
                    <a:lnTo>
                      <a:pt x="2209" y="852"/>
                    </a:lnTo>
                    <a:lnTo>
                      <a:pt x="2206" y="838"/>
                    </a:lnTo>
                    <a:lnTo>
                      <a:pt x="2201" y="825"/>
                    </a:lnTo>
                    <a:lnTo>
                      <a:pt x="2195" y="812"/>
                    </a:lnTo>
                    <a:lnTo>
                      <a:pt x="2189" y="799"/>
                    </a:lnTo>
                    <a:lnTo>
                      <a:pt x="2181" y="788"/>
                    </a:lnTo>
                    <a:lnTo>
                      <a:pt x="2173" y="776"/>
                    </a:lnTo>
                    <a:lnTo>
                      <a:pt x="2162" y="765"/>
                    </a:lnTo>
                    <a:lnTo>
                      <a:pt x="2150" y="754"/>
                    </a:lnTo>
                    <a:lnTo>
                      <a:pt x="2137" y="744"/>
                    </a:lnTo>
                    <a:lnTo>
                      <a:pt x="2122" y="736"/>
                    </a:lnTo>
                    <a:lnTo>
                      <a:pt x="2109" y="729"/>
                    </a:lnTo>
                    <a:lnTo>
                      <a:pt x="2094" y="723"/>
                    </a:lnTo>
                    <a:lnTo>
                      <a:pt x="2080" y="718"/>
                    </a:lnTo>
                    <a:lnTo>
                      <a:pt x="2063" y="714"/>
                    </a:lnTo>
                    <a:lnTo>
                      <a:pt x="2047" y="712"/>
                    </a:lnTo>
                    <a:lnTo>
                      <a:pt x="2031" y="710"/>
                    </a:lnTo>
                    <a:lnTo>
                      <a:pt x="2014" y="709"/>
                    </a:lnTo>
                    <a:lnTo>
                      <a:pt x="1995" y="709"/>
                    </a:lnTo>
                    <a:lnTo>
                      <a:pt x="1976" y="710"/>
                    </a:lnTo>
                    <a:lnTo>
                      <a:pt x="1955" y="713"/>
                    </a:lnTo>
                    <a:lnTo>
                      <a:pt x="1935" y="715"/>
                    </a:lnTo>
                    <a:lnTo>
                      <a:pt x="1913" y="720"/>
                    </a:lnTo>
                    <a:lnTo>
                      <a:pt x="1891" y="725"/>
                    </a:lnTo>
                    <a:lnTo>
                      <a:pt x="1867" y="731"/>
                    </a:lnTo>
                    <a:lnTo>
                      <a:pt x="1842" y="739"/>
                    </a:lnTo>
                    <a:lnTo>
                      <a:pt x="1816" y="747"/>
                    </a:lnTo>
                    <a:lnTo>
                      <a:pt x="1787" y="757"/>
                    </a:lnTo>
                    <a:lnTo>
                      <a:pt x="1757" y="768"/>
                    </a:lnTo>
                    <a:lnTo>
                      <a:pt x="1728" y="780"/>
                    </a:lnTo>
                    <a:lnTo>
                      <a:pt x="1697" y="793"/>
                    </a:lnTo>
                    <a:lnTo>
                      <a:pt x="1668" y="806"/>
                    </a:lnTo>
                    <a:lnTo>
                      <a:pt x="1638" y="820"/>
                    </a:lnTo>
                    <a:lnTo>
                      <a:pt x="1609" y="834"/>
                    </a:lnTo>
                    <a:lnTo>
                      <a:pt x="1580" y="848"/>
                    </a:lnTo>
                    <a:lnTo>
                      <a:pt x="1533" y="871"/>
                    </a:lnTo>
                    <a:lnTo>
                      <a:pt x="1485" y="892"/>
                    </a:lnTo>
                    <a:lnTo>
                      <a:pt x="1434" y="915"/>
                    </a:lnTo>
                    <a:lnTo>
                      <a:pt x="1382" y="935"/>
                    </a:lnTo>
                    <a:lnTo>
                      <a:pt x="1328" y="955"/>
                    </a:lnTo>
                    <a:lnTo>
                      <a:pt x="1273" y="973"/>
                    </a:lnTo>
                    <a:lnTo>
                      <a:pt x="1244" y="981"/>
                    </a:lnTo>
                    <a:lnTo>
                      <a:pt x="1216" y="989"/>
                    </a:lnTo>
                    <a:lnTo>
                      <a:pt x="1187" y="997"/>
                    </a:lnTo>
                    <a:lnTo>
                      <a:pt x="1156" y="1003"/>
                    </a:lnTo>
                    <a:lnTo>
                      <a:pt x="1127" y="1009"/>
                    </a:lnTo>
                    <a:lnTo>
                      <a:pt x="1097" y="1015"/>
                    </a:lnTo>
                    <a:lnTo>
                      <a:pt x="1066" y="1020"/>
                    </a:lnTo>
                    <a:lnTo>
                      <a:pt x="1035" y="1024"/>
                    </a:lnTo>
                    <a:lnTo>
                      <a:pt x="1003" y="1027"/>
                    </a:lnTo>
                    <a:lnTo>
                      <a:pt x="972" y="1029"/>
                    </a:lnTo>
                    <a:lnTo>
                      <a:pt x="939" y="1030"/>
                    </a:lnTo>
                    <a:lnTo>
                      <a:pt x="907" y="1032"/>
                    </a:lnTo>
                    <a:lnTo>
                      <a:pt x="875" y="1032"/>
                    </a:lnTo>
                    <a:lnTo>
                      <a:pt x="842" y="1030"/>
                    </a:lnTo>
                    <a:lnTo>
                      <a:pt x="809" y="1027"/>
                    </a:lnTo>
                    <a:lnTo>
                      <a:pt x="775" y="1024"/>
                    </a:lnTo>
                    <a:lnTo>
                      <a:pt x="741" y="1020"/>
                    </a:lnTo>
                    <a:lnTo>
                      <a:pt x="707" y="1014"/>
                    </a:lnTo>
                    <a:lnTo>
                      <a:pt x="673" y="1007"/>
                    </a:lnTo>
                    <a:lnTo>
                      <a:pt x="638" y="999"/>
                    </a:lnTo>
                    <a:lnTo>
                      <a:pt x="620" y="995"/>
                    </a:lnTo>
                    <a:lnTo>
                      <a:pt x="602" y="988"/>
                    </a:lnTo>
                    <a:lnTo>
                      <a:pt x="586" y="982"/>
                    </a:lnTo>
                    <a:lnTo>
                      <a:pt x="569" y="975"/>
                    </a:lnTo>
                    <a:lnTo>
                      <a:pt x="553" y="967"/>
                    </a:lnTo>
                    <a:lnTo>
                      <a:pt x="537" y="958"/>
                    </a:lnTo>
                    <a:lnTo>
                      <a:pt x="520" y="948"/>
                    </a:lnTo>
                    <a:lnTo>
                      <a:pt x="504" y="939"/>
                    </a:lnTo>
                    <a:lnTo>
                      <a:pt x="488" y="928"/>
                    </a:lnTo>
                    <a:lnTo>
                      <a:pt x="473" y="916"/>
                    </a:lnTo>
                    <a:lnTo>
                      <a:pt x="457" y="903"/>
                    </a:lnTo>
                    <a:lnTo>
                      <a:pt x="442" y="890"/>
                    </a:lnTo>
                    <a:lnTo>
                      <a:pt x="426" y="876"/>
                    </a:lnTo>
                    <a:lnTo>
                      <a:pt x="411" y="861"/>
                    </a:lnTo>
                    <a:lnTo>
                      <a:pt x="396" y="846"/>
                    </a:lnTo>
                    <a:lnTo>
                      <a:pt x="381" y="830"/>
                    </a:lnTo>
                    <a:lnTo>
                      <a:pt x="352" y="796"/>
                    </a:lnTo>
                    <a:lnTo>
                      <a:pt x="322" y="758"/>
                    </a:lnTo>
                    <a:lnTo>
                      <a:pt x="293" y="720"/>
                    </a:lnTo>
                    <a:lnTo>
                      <a:pt x="263" y="677"/>
                    </a:lnTo>
                    <a:lnTo>
                      <a:pt x="233" y="633"/>
                    </a:lnTo>
                    <a:lnTo>
                      <a:pt x="203" y="586"/>
                    </a:lnTo>
                    <a:lnTo>
                      <a:pt x="173" y="536"/>
                    </a:lnTo>
                    <a:lnTo>
                      <a:pt x="142" y="484"/>
                    </a:lnTo>
                    <a:lnTo>
                      <a:pt x="117" y="439"/>
                    </a:lnTo>
                    <a:lnTo>
                      <a:pt x="94" y="397"/>
                    </a:lnTo>
                    <a:lnTo>
                      <a:pt x="74" y="355"/>
                    </a:lnTo>
                    <a:lnTo>
                      <a:pt x="57" y="316"/>
                    </a:lnTo>
                    <a:lnTo>
                      <a:pt x="42" y="278"/>
                    </a:lnTo>
                    <a:lnTo>
                      <a:pt x="29" y="242"/>
                    </a:lnTo>
                    <a:lnTo>
                      <a:pt x="19" y="209"/>
                    </a:lnTo>
                    <a:lnTo>
                      <a:pt x="12" y="178"/>
                    </a:lnTo>
                    <a:lnTo>
                      <a:pt x="5" y="147"/>
                    </a:lnTo>
                    <a:lnTo>
                      <a:pt x="2" y="120"/>
                    </a:lnTo>
                    <a:lnTo>
                      <a:pt x="0" y="96"/>
                    </a:lnTo>
                    <a:lnTo>
                      <a:pt x="1" y="73"/>
                    </a:lnTo>
                    <a:lnTo>
                      <a:pt x="3" y="52"/>
                    </a:lnTo>
                    <a:lnTo>
                      <a:pt x="6" y="34"/>
                    </a:lnTo>
                    <a:lnTo>
                      <a:pt x="9" y="27"/>
                    </a:lnTo>
                    <a:lnTo>
                      <a:pt x="12" y="19"/>
                    </a:lnTo>
                    <a:lnTo>
                      <a:pt x="15" y="11"/>
                    </a:lnTo>
                    <a:lnTo>
                      <a:pt x="19" y="5"/>
                    </a:lnTo>
                    <a:lnTo>
                      <a:pt x="23" y="2"/>
                    </a:lnTo>
                    <a:lnTo>
                      <a:pt x="28" y="0"/>
                    </a:lnTo>
                    <a:lnTo>
                      <a:pt x="32" y="0"/>
                    </a:lnTo>
                    <a:lnTo>
                      <a:pt x="38" y="2"/>
                    </a:lnTo>
                    <a:lnTo>
                      <a:pt x="42" y="5"/>
                    </a:lnTo>
                    <a:lnTo>
                      <a:pt x="43" y="10"/>
                    </a:lnTo>
                    <a:lnTo>
                      <a:pt x="43" y="15"/>
                    </a:lnTo>
                    <a:lnTo>
                      <a:pt x="42" y="20"/>
                    </a:lnTo>
                    <a:lnTo>
                      <a:pt x="37" y="30"/>
                    </a:lnTo>
                    <a:lnTo>
                      <a:pt x="32" y="43"/>
                    </a:lnTo>
                    <a:lnTo>
                      <a:pt x="29" y="58"/>
                    </a:lnTo>
                    <a:lnTo>
                      <a:pt x="28" y="75"/>
                    </a:lnTo>
                    <a:lnTo>
                      <a:pt x="28" y="95"/>
                    </a:lnTo>
                    <a:lnTo>
                      <a:pt x="29" y="117"/>
                    </a:lnTo>
                    <a:lnTo>
                      <a:pt x="32" y="142"/>
                    </a:lnTo>
                    <a:lnTo>
                      <a:pt x="38" y="170"/>
                    </a:lnTo>
                    <a:lnTo>
                      <a:pt x="45" y="199"/>
                    </a:lnTo>
                    <a:lnTo>
                      <a:pt x="55" y="232"/>
                    </a:lnTo>
                    <a:lnTo>
                      <a:pt x="67" y="265"/>
                    </a:lnTo>
                    <a:lnTo>
                      <a:pt x="81" y="302"/>
                    </a:lnTo>
                    <a:lnTo>
                      <a:pt x="97" y="341"/>
                    </a:lnTo>
                    <a:lnTo>
                      <a:pt x="118" y="382"/>
                    </a:lnTo>
                    <a:lnTo>
                      <a:pt x="140" y="425"/>
                    </a:lnTo>
                    <a:lnTo>
                      <a:pt x="165" y="470"/>
                    </a:lnTo>
                    <a:lnTo>
                      <a:pt x="195" y="521"/>
                    </a:lnTo>
                    <a:lnTo>
                      <a:pt x="226" y="570"/>
                    </a:lnTo>
                    <a:lnTo>
                      <a:pt x="255" y="616"/>
                    </a:lnTo>
                    <a:lnTo>
                      <a:pt x="284" y="659"/>
                    </a:lnTo>
                    <a:lnTo>
                      <a:pt x="312" y="700"/>
                    </a:lnTo>
                    <a:lnTo>
                      <a:pt x="341" y="739"/>
                    </a:lnTo>
                    <a:lnTo>
                      <a:pt x="369" y="776"/>
                    </a:lnTo>
                    <a:lnTo>
                      <a:pt x="398" y="809"/>
                    </a:lnTo>
                    <a:lnTo>
                      <a:pt x="414" y="824"/>
                    </a:lnTo>
                    <a:lnTo>
                      <a:pt x="428" y="839"/>
                    </a:lnTo>
                    <a:lnTo>
                      <a:pt x="442" y="853"/>
                    </a:lnTo>
                    <a:lnTo>
                      <a:pt x="457" y="867"/>
                    </a:lnTo>
                    <a:lnTo>
                      <a:pt x="472" y="880"/>
                    </a:lnTo>
                    <a:lnTo>
                      <a:pt x="487" y="892"/>
                    </a:lnTo>
                    <a:lnTo>
                      <a:pt x="501" y="904"/>
                    </a:lnTo>
                    <a:lnTo>
                      <a:pt x="516" y="914"/>
                    </a:lnTo>
                    <a:lnTo>
                      <a:pt x="532" y="925"/>
                    </a:lnTo>
                    <a:lnTo>
                      <a:pt x="547" y="933"/>
                    </a:lnTo>
                    <a:lnTo>
                      <a:pt x="563" y="942"/>
                    </a:lnTo>
                    <a:lnTo>
                      <a:pt x="579" y="949"/>
                    </a:lnTo>
                    <a:lnTo>
                      <a:pt x="595" y="957"/>
                    </a:lnTo>
                    <a:lnTo>
                      <a:pt x="611" y="962"/>
                    </a:lnTo>
                    <a:lnTo>
                      <a:pt x="627" y="968"/>
                    </a:lnTo>
                    <a:lnTo>
                      <a:pt x="645" y="973"/>
                    </a:lnTo>
                    <a:lnTo>
                      <a:pt x="678" y="981"/>
                    </a:lnTo>
                    <a:lnTo>
                      <a:pt x="712" y="987"/>
                    </a:lnTo>
                    <a:lnTo>
                      <a:pt x="745" y="993"/>
                    </a:lnTo>
                    <a:lnTo>
                      <a:pt x="778" y="997"/>
                    </a:lnTo>
                    <a:lnTo>
                      <a:pt x="811" y="1000"/>
                    </a:lnTo>
                    <a:lnTo>
                      <a:pt x="844" y="1003"/>
                    </a:lnTo>
                    <a:lnTo>
                      <a:pt x="877" y="1005"/>
                    </a:lnTo>
                    <a:lnTo>
                      <a:pt x="908" y="1005"/>
                    </a:lnTo>
                    <a:lnTo>
                      <a:pt x="940" y="1003"/>
                    </a:lnTo>
                    <a:lnTo>
                      <a:pt x="972" y="1002"/>
                    </a:lnTo>
                    <a:lnTo>
                      <a:pt x="1002" y="1000"/>
                    </a:lnTo>
                    <a:lnTo>
                      <a:pt x="1033" y="997"/>
                    </a:lnTo>
                    <a:lnTo>
                      <a:pt x="1064" y="993"/>
                    </a:lnTo>
                    <a:lnTo>
                      <a:pt x="1094" y="988"/>
                    </a:lnTo>
                    <a:lnTo>
                      <a:pt x="1123" y="983"/>
                    </a:lnTo>
                    <a:lnTo>
                      <a:pt x="1153" y="976"/>
                    </a:lnTo>
                    <a:lnTo>
                      <a:pt x="1181" y="970"/>
                    </a:lnTo>
                    <a:lnTo>
                      <a:pt x="1210" y="962"/>
                    </a:lnTo>
                    <a:lnTo>
                      <a:pt x="1238" y="955"/>
                    </a:lnTo>
                    <a:lnTo>
                      <a:pt x="1267" y="946"/>
                    </a:lnTo>
                    <a:lnTo>
                      <a:pt x="1321" y="929"/>
                    </a:lnTo>
                    <a:lnTo>
                      <a:pt x="1373" y="910"/>
                    </a:lnTo>
                    <a:lnTo>
                      <a:pt x="1425" y="889"/>
                    </a:lnTo>
                    <a:lnTo>
                      <a:pt x="1475" y="867"/>
                    </a:lnTo>
                    <a:lnTo>
                      <a:pt x="1522" y="846"/>
                    </a:lnTo>
                    <a:lnTo>
                      <a:pt x="1568" y="824"/>
                    </a:lnTo>
                    <a:lnTo>
                      <a:pt x="1597" y="810"/>
                    </a:lnTo>
                    <a:lnTo>
                      <a:pt x="1627" y="795"/>
                    </a:lnTo>
                    <a:lnTo>
                      <a:pt x="1657" y="782"/>
                    </a:lnTo>
                    <a:lnTo>
                      <a:pt x="1688" y="768"/>
                    </a:lnTo>
                    <a:lnTo>
                      <a:pt x="1718" y="755"/>
                    </a:lnTo>
                    <a:lnTo>
                      <a:pt x="1748" y="743"/>
                    </a:lnTo>
                    <a:lnTo>
                      <a:pt x="1777" y="731"/>
                    </a:lnTo>
                    <a:lnTo>
                      <a:pt x="1808" y="721"/>
                    </a:lnTo>
                    <a:lnTo>
                      <a:pt x="1835" y="712"/>
                    </a:lnTo>
                    <a:lnTo>
                      <a:pt x="1860" y="704"/>
                    </a:lnTo>
                    <a:lnTo>
                      <a:pt x="1886" y="698"/>
                    </a:lnTo>
                    <a:lnTo>
                      <a:pt x="1910" y="693"/>
                    </a:lnTo>
                    <a:lnTo>
                      <a:pt x="1933" y="688"/>
                    </a:lnTo>
                    <a:lnTo>
                      <a:pt x="1955" y="685"/>
                    </a:lnTo>
                    <a:lnTo>
                      <a:pt x="1977" y="683"/>
                    </a:lnTo>
                    <a:lnTo>
                      <a:pt x="1998" y="682"/>
                    </a:lnTo>
                    <a:lnTo>
                      <a:pt x="2017" y="682"/>
                    </a:lnTo>
                    <a:lnTo>
                      <a:pt x="2035" y="683"/>
                    </a:lnTo>
                    <a:lnTo>
                      <a:pt x="2054" y="685"/>
                    </a:lnTo>
                    <a:lnTo>
                      <a:pt x="2071" y="688"/>
                    </a:lnTo>
                    <a:lnTo>
                      <a:pt x="2088" y="693"/>
                    </a:lnTo>
                    <a:lnTo>
                      <a:pt x="2104" y="698"/>
                    </a:lnTo>
                    <a:lnTo>
                      <a:pt x="2120" y="704"/>
                    </a:lnTo>
                    <a:lnTo>
                      <a:pt x="2135" y="712"/>
                    </a:lnTo>
                    <a:lnTo>
                      <a:pt x="2152" y="722"/>
                    </a:lnTo>
                    <a:lnTo>
                      <a:pt x="2167" y="734"/>
                    </a:lnTo>
                    <a:lnTo>
                      <a:pt x="2180" y="745"/>
                    </a:lnTo>
                    <a:lnTo>
                      <a:pt x="2192" y="757"/>
                    </a:lnTo>
                    <a:lnTo>
                      <a:pt x="2203" y="770"/>
                    </a:lnTo>
                    <a:lnTo>
                      <a:pt x="2211" y="784"/>
                    </a:lnTo>
                    <a:lnTo>
                      <a:pt x="2219" y="798"/>
                    </a:lnTo>
                    <a:lnTo>
                      <a:pt x="2225" y="813"/>
                    </a:lnTo>
                    <a:lnTo>
                      <a:pt x="2231" y="828"/>
                    </a:lnTo>
                    <a:lnTo>
                      <a:pt x="2235" y="843"/>
                    </a:lnTo>
                    <a:lnTo>
                      <a:pt x="2239" y="858"/>
                    </a:lnTo>
                    <a:lnTo>
                      <a:pt x="2242" y="873"/>
                    </a:lnTo>
                    <a:lnTo>
                      <a:pt x="2247" y="903"/>
                    </a:lnTo>
                    <a:lnTo>
                      <a:pt x="2250" y="931"/>
                    </a:lnTo>
                    <a:lnTo>
                      <a:pt x="2252" y="951"/>
                    </a:lnTo>
                    <a:lnTo>
                      <a:pt x="2255" y="969"/>
                    </a:lnTo>
                    <a:lnTo>
                      <a:pt x="2258" y="987"/>
                    </a:lnTo>
                    <a:lnTo>
                      <a:pt x="2262" y="1003"/>
                    </a:lnTo>
                    <a:lnTo>
                      <a:pt x="2268" y="1017"/>
                    </a:lnTo>
                    <a:lnTo>
                      <a:pt x="2274" y="1030"/>
                    </a:lnTo>
                    <a:lnTo>
                      <a:pt x="2278" y="1036"/>
                    </a:lnTo>
                    <a:lnTo>
                      <a:pt x="2283" y="1041"/>
                    </a:lnTo>
                    <a:lnTo>
                      <a:pt x="2288" y="1046"/>
                    </a:lnTo>
                    <a:lnTo>
                      <a:pt x="2293" y="1050"/>
                    </a:lnTo>
                    <a:lnTo>
                      <a:pt x="2320" y="1067"/>
                    </a:lnTo>
                    <a:lnTo>
                      <a:pt x="2345" y="1087"/>
                    </a:lnTo>
                    <a:lnTo>
                      <a:pt x="2369" y="1105"/>
                    </a:lnTo>
                    <a:lnTo>
                      <a:pt x="2390" y="1125"/>
                    </a:lnTo>
                    <a:lnTo>
                      <a:pt x="2409" y="1145"/>
                    </a:lnTo>
                    <a:lnTo>
                      <a:pt x="2427" y="1164"/>
                    </a:lnTo>
                    <a:lnTo>
                      <a:pt x="2444" y="1183"/>
                    </a:lnTo>
                    <a:lnTo>
                      <a:pt x="2458" y="1200"/>
                    </a:lnTo>
                    <a:lnTo>
                      <a:pt x="2471" y="1216"/>
                    </a:lnTo>
                    <a:lnTo>
                      <a:pt x="2480" y="1231"/>
                    </a:lnTo>
                    <a:lnTo>
                      <a:pt x="2490" y="1245"/>
                    </a:lnTo>
                    <a:lnTo>
                      <a:pt x="2498" y="1257"/>
                    </a:lnTo>
                    <a:lnTo>
                      <a:pt x="2504" y="1268"/>
                    </a:lnTo>
                    <a:lnTo>
                      <a:pt x="2510" y="1277"/>
                    </a:lnTo>
                    <a:lnTo>
                      <a:pt x="2514" y="1278"/>
                    </a:lnTo>
                    <a:lnTo>
                      <a:pt x="2517" y="1280"/>
                    </a:lnTo>
                    <a:lnTo>
                      <a:pt x="2519" y="1282"/>
                    </a:lnTo>
                    <a:lnTo>
                      <a:pt x="2520" y="1285"/>
                    </a:lnTo>
                    <a:lnTo>
                      <a:pt x="2521" y="1291"/>
                    </a:lnTo>
                    <a:lnTo>
                      <a:pt x="2519" y="1296"/>
                    </a:lnTo>
                    <a:lnTo>
                      <a:pt x="2517" y="1300"/>
                    </a:lnTo>
                    <a:lnTo>
                      <a:pt x="2512" y="1302"/>
                    </a:lnTo>
                    <a:lnTo>
                      <a:pt x="2508" y="1304"/>
                    </a:lnTo>
                    <a:lnTo>
                      <a:pt x="2506" y="1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6"/>
              <p:cNvSpPr>
                <a:spLocks/>
              </p:cNvSpPr>
              <p:nvPr userDrawn="1"/>
            </p:nvSpPr>
            <p:spPr bwMode="auto">
              <a:xfrm>
                <a:off x="1908" y="1402"/>
                <a:ext cx="848" cy="437"/>
              </a:xfrm>
              <a:custGeom>
                <a:avLst/>
                <a:gdLst>
                  <a:gd name="T0" fmla="*/ 2511 w 2544"/>
                  <a:gd name="T1" fmla="*/ 1301 h 1310"/>
                  <a:gd name="T2" fmla="*/ 2464 w 2544"/>
                  <a:gd name="T3" fmla="*/ 1247 h 1310"/>
                  <a:gd name="T4" fmla="*/ 2379 w 2544"/>
                  <a:gd name="T5" fmla="*/ 1165 h 1310"/>
                  <a:gd name="T6" fmla="*/ 2282 w 2544"/>
                  <a:gd name="T7" fmla="*/ 1096 h 1310"/>
                  <a:gd name="T8" fmla="*/ 2251 w 2544"/>
                  <a:gd name="T9" fmla="*/ 1064 h 1310"/>
                  <a:gd name="T10" fmla="*/ 2226 w 2544"/>
                  <a:gd name="T11" fmla="*/ 993 h 1310"/>
                  <a:gd name="T12" fmla="*/ 2199 w 2544"/>
                  <a:gd name="T13" fmla="*/ 897 h 1310"/>
                  <a:gd name="T14" fmla="*/ 2164 w 2544"/>
                  <a:gd name="T15" fmla="*/ 836 h 1310"/>
                  <a:gd name="T16" fmla="*/ 2102 w 2544"/>
                  <a:gd name="T17" fmla="*/ 789 h 1310"/>
                  <a:gd name="T18" fmla="*/ 2027 w 2544"/>
                  <a:gd name="T19" fmla="*/ 765 h 1310"/>
                  <a:gd name="T20" fmla="*/ 1935 w 2544"/>
                  <a:gd name="T21" fmla="*/ 764 h 1310"/>
                  <a:gd name="T22" fmla="*/ 1822 w 2544"/>
                  <a:gd name="T23" fmla="*/ 784 h 1310"/>
                  <a:gd name="T24" fmla="*/ 1682 w 2544"/>
                  <a:gd name="T25" fmla="*/ 829 h 1310"/>
                  <a:gd name="T26" fmla="*/ 1520 w 2544"/>
                  <a:gd name="T27" fmla="*/ 894 h 1310"/>
                  <a:gd name="T28" fmla="*/ 1281 w 2544"/>
                  <a:gd name="T29" fmla="*/ 982 h 1310"/>
                  <a:gd name="T30" fmla="*/ 1134 w 2544"/>
                  <a:gd name="T31" fmla="*/ 1017 h 1310"/>
                  <a:gd name="T32" fmla="*/ 973 w 2544"/>
                  <a:gd name="T33" fmla="*/ 1040 h 1310"/>
                  <a:gd name="T34" fmla="*/ 800 w 2544"/>
                  <a:gd name="T35" fmla="*/ 1040 h 1310"/>
                  <a:gd name="T36" fmla="*/ 619 w 2544"/>
                  <a:gd name="T37" fmla="*/ 1011 h 1310"/>
                  <a:gd name="T38" fmla="*/ 529 w 2544"/>
                  <a:gd name="T39" fmla="*/ 975 h 1310"/>
                  <a:gd name="T40" fmla="*/ 446 w 2544"/>
                  <a:gd name="T41" fmla="*/ 916 h 1310"/>
                  <a:gd name="T42" fmla="*/ 367 w 2544"/>
                  <a:gd name="T43" fmla="*/ 839 h 1310"/>
                  <a:gd name="T44" fmla="*/ 239 w 2544"/>
                  <a:gd name="T45" fmla="*/ 666 h 1310"/>
                  <a:gd name="T46" fmla="*/ 111 w 2544"/>
                  <a:gd name="T47" fmla="*/ 449 h 1310"/>
                  <a:gd name="T48" fmla="*/ 31 w 2544"/>
                  <a:gd name="T49" fmla="*/ 262 h 1310"/>
                  <a:gd name="T50" fmla="*/ 0 w 2544"/>
                  <a:gd name="T51" fmla="*/ 110 h 1310"/>
                  <a:gd name="T52" fmla="*/ 7 w 2544"/>
                  <a:gd name="T53" fmla="*/ 39 h 1310"/>
                  <a:gd name="T54" fmla="*/ 26 w 2544"/>
                  <a:gd name="T55" fmla="*/ 2 h 1310"/>
                  <a:gd name="T56" fmla="*/ 47 w 2544"/>
                  <a:gd name="T57" fmla="*/ 10 h 1310"/>
                  <a:gd name="T58" fmla="*/ 36 w 2544"/>
                  <a:gd name="T59" fmla="*/ 38 h 1310"/>
                  <a:gd name="T60" fmla="*/ 29 w 2544"/>
                  <a:gd name="T61" fmla="*/ 128 h 1310"/>
                  <a:gd name="T62" fmla="*/ 65 w 2544"/>
                  <a:gd name="T63" fmla="*/ 278 h 1310"/>
                  <a:gd name="T64" fmla="*/ 157 w 2544"/>
                  <a:gd name="T65" fmla="*/ 476 h 1310"/>
                  <a:gd name="T66" fmla="*/ 286 w 2544"/>
                  <a:gd name="T67" fmla="*/ 689 h 1310"/>
                  <a:gd name="T68" fmla="*/ 400 w 2544"/>
                  <a:gd name="T69" fmla="*/ 834 h 1310"/>
                  <a:gd name="T70" fmla="*/ 475 w 2544"/>
                  <a:gd name="T71" fmla="*/ 906 h 1310"/>
                  <a:gd name="T72" fmla="*/ 556 w 2544"/>
                  <a:gd name="T73" fmla="*/ 959 h 1310"/>
                  <a:gd name="T74" fmla="*/ 661 w 2544"/>
                  <a:gd name="T75" fmla="*/ 993 h 1310"/>
                  <a:gd name="T76" fmla="*/ 838 w 2544"/>
                  <a:gd name="T77" fmla="*/ 1014 h 1310"/>
                  <a:gd name="T78" fmla="*/ 1005 w 2544"/>
                  <a:gd name="T79" fmla="*/ 1010 h 1310"/>
                  <a:gd name="T80" fmla="*/ 1161 w 2544"/>
                  <a:gd name="T81" fmla="*/ 985 h 1310"/>
                  <a:gd name="T82" fmla="*/ 1328 w 2544"/>
                  <a:gd name="T83" fmla="*/ 939 h 1310"/>
                  <a:gd name="T84" fmla="*/ 1547 w 2544"/>
                  <a:gd name="T85" fmla="*/ 853 h 1310"/>
                  <a:gd name="T86" fmla="*/ 1703 w 2544"/>
                  <a:gd name="T87" fmla="*/ 792 h 1310"/>
                  <a:gd name="T88" fmla="*/ 1842 w 2544"/>
                  <a:gd name="T89" fmla="*/ 752 h 1310"/>
                  <a:gd name="T90" fmla="*/ 1957 w 2544"/>
                  <a:gd name="T91" fmla="*/ 735 h 1310"/>
                  <a:gd name="T92" fmla="*/ 2051 w 2544"/>
                  <a:gd name="T93" fmla="*/ 742 h 1310"/>
                  <a:gd name="T94" fmla="*/ 2132 w 2544"/>
                  <a:gd name="T95" fmla="*/ 773 h 1310"/>
                  <a:gd name="T96" fmla="*/ 2194 w 2544"/>
                  <a:gd name="T97" fmla="*/ 831 h 1310"/>
                  <a:gd name="T98" fmla="*/ 2228 w 2544"/>
                  <a:gd name="T99" fmla="*/ 899 h 1310"/>
                  <a:gd name="T100" fmla="*/ 2256 w 2544"/>
                  <a:gd name="T101" fmla="*/ 1001 h 1310"/>
                  <a:gd name="T102" fmla="*/ 2286 w 2544"/>
                  <a:gd name="T103" fmla="*/ 1065 h 1310"/>
                  <a:gd name="T104" fmla="*/ 2352 w 2544"/>
                  <a:gd name="T105" fmla="*/ 1110 h 1310"/>
                  <a:gd name="T106" fmla="*/ 2454 w 2544"/>
                  <a:gd name="T107" fmla="*/ 1199 h 1310"/>
                  <a:gd name="T108" fmla="*/ 2512 w 2544"/>
                  <a:gd name="T109" fmla="*/ 1261 h 1310"/>
                  <a:gd name="T110" fmla="*/ 2541 w 2544"/>
                  <a:gd name="T111" fmla="*/ 1288 h 1310"/>
                  <a:gd name="T112" fmla="*/ 2534 w 2544"/>
                  <a:gd name="T113" fmla="*/ 1309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44" h="1310">
                    <a:moveTo>
                      <a:pt x="2529" y="1310"/>
                    </a:moveTo>
                    <a:lnTo>
                      <a:pt x="2524" y="1309"/>
                    </a:lnTo>
                    <a:lnTo>
                      <a:pt x="2519" y="1308"/>
                    </a:lnTo>
                    <a:lnTo>
                      <a:pt x="2515" y="1305"/>
                    </a:lnTo>
                    <a:lnTo>
                      <a:pt x="2511" y="1301"/>
                    </a:lnTo>
                    <a:lnTo>
                      <a:pt x="2502" y="1292"/>
                    </a:lnTo>
                    <a:lnTo>
                      <a:pt x="2491" y="1279"/>
                    </a:lnTo>
                    <a:lnTo>
                      <a:pt x="2484" y="1269"/>
                    </a:lnTo>
                    <a:lnTo>
                      <a:pt x="2474" y="1259"/>
                    </a:lnTo>
                    <a:lnTo>
                      <a:pt x="2464" y="1247"/>
                    </a:lnTo>
                    <a:lnTo>
                      <a:pt x="2453" y="1236"/>
                    </a:lnTo>
                    <a:lnTo>
                      <a:pt x="2436" y="1218"/>
                    </a:lnTo>
                    <a:lnTo>
                      <a:pt x="2418" y="1201"/>
                    </a:lnTo>
                    <a:lnTo>
                      <a:pt x="2399" y="1183"/>
                    </a:lnTo>
                    <a:lnTo>
                      <a:pt x="2379" y="1165"/>
                    </a:lnTo>
                    <a:lnTo>
                      <a:pt x="2358" y="1149"/>
                    </a:lnTo>
                    <a:lnTo>
                      <a:pt x="2337" y="1132"/>
                    </a:lnTo>
                    <a:lnTo>
                      <a:pt x="2314" y="1117"/>
                    </a:lnTo>
                    <a:lnTo>
                      <a:pt x="2289" y="1102"/>
                    </a:lnTo>
                    <a:lnTo>
                      <a:pt x="2282" y="1096"/>
                    </a:lnTo>
                    <a:lnTo>
                      <a:pt x="2274" y="1091"/>
                    </a:lnTo>
                    <a:lnTo>
                      <a:pt x="2268" y="1084"/>
                    </a:lnTo>
                    <a:lnTo>
                      <a:pt x="2262" y="1078"/>
                    </a:lnTo>
                    <a:lnTo>
                      <a:pt x="2257" y="1071"/>
                    </a:lnTo>
                    <a:lnTo>
                      <a:pt x="2251" y="1064"/>
                    </a:lnTo>
                    <a:lnTo>
                      <a:pt x="2247" y="1055"/>
                    </a:lnTo>
                    <a:lnTo>
                      <a:pt x="2243" y="1048"/>
                    </a:lnTo>
                    <a:lnTo>
                      <a:pt x="2236" y="1030"/>
                    </a:lnTo>
                    <a:lnTo>
                      <a:pt x="2231" y="1011"/>
                    </a:lnTo>
                    <a:lnTo>
                      <a:pt x="2226" y="993"/>
                    </a:lnTo>
                    <a:lnTo>
                      <a:pt x="2220" y="972"/>
                    </a:lnTo>
                    <a:lnTo>
                      <a:pt x="2215" y="947"/>
                    </a:lnTo>
                    <a:lnTo>
                      <a:pt x="2207" y="921"/>
                    </a:lnTo>
                    <a:lnTo>
                      <a:pt x="2203" y="908"/>
                    </a:lnTo>
                    <a:lnTo>
                      <a:pt x="2199" y="897"/>
                    </a:lnTo>
                    <a:lnTo>
                      <a:pt x="2193" y="884"/>
                    </a:lnTo>
                    <a:lnTo>
                      <a:pt x="2187" y="872"/>
                    </a:lnTo>
                    <a:lnTo>
                      <a:pt x="2180" y="860"/>
                    </a:lnTo>
                    <a:lnTo>
                      <a:pt x="2173" y="848"/>
                    </a:lnTo>
                    <a:lnTo>
                      <a:pt x="2164" y="836"/>
                    </a:lnTo>
                    <a:lnTo>
                      <a:pt x="2154" y="825"/>
                    </a:lnTo>
                    <a:lnTo>
                      <a:pt x="2144" y="816"/>
                    </a:lnTo>
                    <a:lnTo>
                      <a:pt x="2131" y="806"/>
                    </a:lnTo>
                    <a:lnTo>
                      <a:pt x="2118" y="796"/>
                    </a:lnTo>
                    <a:lnTo>
                      <a:pt x="2102" y="789"/>
                    </a:lnTo>
                    <a:lnTo>
                      <a:pt x="2088" y="782"/>
                    </a:lnTo>
                    <a:lnTo>
                      <a:pt x="2074" y="776"/>
                    </a:lnTo>
                    <a:lnTo>
                      <a:pt x="2059" y="771"/>
                    </a:lnTo>
                    <a:lnTo>
                      <a:pt x="2043" y="768"/>
                    </a:lnTo>
                    <a:lnTo>
                      <a:pt x="2027" y="765"/>
                    </a:lnTo>
                    <a:lnTo>
                      <a:pt x="2011" y="763"/>
                    </a:lnTo>
                    <a:lnTo>
                      <a:pt x="1993" y="762"/>
                    </a:lnTo>
                    <a:lnTo>
                      <a:pt x="1974" y="762"/>
                    </a:lnTo>
                    <a:lnTo>
                      <a:pt x="1956" y="762"/>
                    </a:lnTo>
                    <a:lnTo>
                      <a:pt x="1935" y="764"/>
                    </a:lnTo>
                    <a:lnTo>
                      <a:pt x="1915" y="766"/>
                    </a:lnTo>
                    <a:lnTo>
                      <a:pt x="1893" y="769"/>
                    </a:lnTo>
                    <a:lnTo>
                      <a:pt x="1870" y="773"/>
                    </a:lnTo>
                    <a:lnTo>
                      <a:pt x="1847" y="778"/>
                    </a:lnTo>
                    <a:lnTo>
                      <a:pt x="1822" y="784"/>
                    </a:lnTo>
                    <a:lnTo>
                      <a:pt x="1796" y="791"/>
                    </a:lnTo>
                    <a:lnTo>
                      <a:pt x="1769" y="799"/>
                    </a:lnTo>
                    <a:lnTo>
                      <a:pt x="1741" y="808"/>
                    </a:lnTo>
                    <a:lnTo>
                      <a:pt x="1712" y="818"/>
                    </a:lnTo>
                    <a:lnTo>
                      <a:pt x="1682" y="829"/>
                    </a:lnTo>
                    <a:lnTo>
                      <a:pt x="1653" y="839"/>
                    </a:lnTo>
                    <a:lnTo>
                      <a:pt x="1623" y="851"/>
                    </a:lnTo>
                    <a:lnTo>
                      <a:pt x="1591" y="865"/>
                    </a:lnTo>
                    <a:lnTo>
                      <a:pt x="1558" y="878"/>
                    </a:lnTo>
                    <a:lnTo>
                      <a:pt x="1520" y="894"/>
                    </a:lnTo>
                    <a:lnTo>
                      <a:pt x="1479" y="912"/>
                    </a:lnTo>
                    <a:lnTo>
                      <a:pt x="1434" y="929"/>
                    </a:lnTo>
                    <a:lnTo>
                      <a:pt x="1387" y="947"/>
                    </a:lnTo>
                    <a:lnTo>
                      <a:pt x="1336" y="965"/>
                    </a:lnTo>
                    <a:lnTo>
                      <a:pt x="1281" y="982"/>
                    </a:lnTo>
                    <a:lnTo>
                      <a:pt x="1253" y="989"/>
                    </a:lnTo>
                    <a:lnTo>
                      <a:pt x="1225" y="997"/>
                    </a:lnTo>
                    <a:lnTo>
                      <a:pt x="1195" y="1005"/>
                    </a:lnTo>
                    <a:lnTo>
                      <a:pt x="1165" y="1012"/>
                    </a:lnTo>
                    <a:lnTo>
                      <a:pt x="1134" y="1017"/>
                    </a:lnTo>
                    <a:lnTo>
                      <a:pt x="1104" y="1024"/>
                    </a:lnTo>
                    <a:lnTo>
                      <a:pt x="1071" y="1028"/>
                    </a:lnTo>
                    <a:lnTo>
                      <a:pt x="1039" y="1034"/>
                    </a:lnTo>
                    <a:lnTo>
                      <a:pt x="1006" y="1037"/>
                    </a:lnTo>
                    <a:lnTo>
                      <a:pt x="973" y="1040"/>
                    </a:lnTo>
                    <a:lnTo>
                      <a:pt x="940" y="1041"/>
                    </a:lnTo>
                    <a:lnTo>
                      <a:pt x="905" y="1042"/>
                    </a:lnTo>
                    <a:lnTo>
                      <a:pt x="870" y="1042"/>
                    </a:lnTo>
                    <a:lnTo>
                      <a:pt x="836" y="1041"/>
                    </a:lnTo>
                    <a:lnTo>
                      <a:pt x="800" y="1040"/>
                    </a:lnTo>
                    <a:lnTo>
                      <a:pt x="765" y="1036"/>
                    </a:lnTo>
                    <a:lnTo>
                      <a:pt x="728" y="1031"/>
                    </a:lnTo>
                    <a:lnTo>
                      <a:pt x="692" y="1026"/>
                    </a:lnTo>
                    <a:lnTo>
                      <a:pt x="656" y="1019"/>
                    </a:lnTo>
                    <a:lnTo>
                      <a:pt x="619" y="1011"/>
                    </a:lnTo>
                    <a:lnTo>
                      <a:pt x="600" y="1006"/>
                    </a:lnTo>
                    <a:lnTo>
                      <a:pt x="582" y="999"/>
                    </a:lnTo>
                    <a:lnTo>
                      <a:pt x="564" y="992"/>
                    </a:lnTo>
                    <a:lnTo>
                      <a:pt x="546" y="984"/>
                    </a:lnTo>
                    <a:lnTo>
                      <a:pt x="529" y="975"/>
                    </a:lnTo>
                    <a:lnTo>
                      <a:pt x="512" y="965"/>
                    </a:lnTo>
                    <a:lnTo>
                      <a:pt x="495" y="954"/>
                    </a:lnTo>
                    <a:lnTo>
                      <a:pt x="478" y="942"/>
                    </a:lnTo>
                    <a:lnTo>
                      <a:pt x="462" y="930"/>
                    </a:lnTo>
                    <a:lnTo>
                      <a:pt x="446" y="916"/>
                    </a:lnTo>
                    <a:lnTo>
                      <a:pt x="430" y="902"/>
                    </a:lnTo>
                    <a:lnTo>
                      <a:pt x="414" y="888"/>
                    </a:lnTo>
                    <a:lnTo>
                      <a:pt x="399" y="872"/>
                    </a:lnTo>
                    <a:lnTo>
                      <a:pt x="382" y="857"/>
                    </a:lnTo>
                    <a:lnTo>
                      <a:pt x="367" y="839"/>
                    </a:lnTo>
                    <a:lnTo>
                      <a:pt x="352" y="822"/>
                    </a:lnTo>
                    <a:lnTo>
                      <a:pt x="323" y="785"/>
                    </a:lnTo>
                    <a:lnTo>
                      <a:pt x="294" y="748"/>
                    </a:lnTo>
                    <a:lnTo>
                      <a:pt x="266" y="708"/>
                    </a:lnTo>
                    <a:lnTo>
                      <a:pt x="239" y="666"/>
                    </a:lnTo>
                    <a:lnTo>
                      <a:pt x="211" y="622"/>
                    </a:lnTo>
                    <a:lnTo>
                      <a:pt x="185" y="579"/>
                    </a:lnTo>
                    <a:lnTo>
                      <a:pt x="159" y="534"/>
                    </a:lnTo>
                    <a:lnTo>
                      <a:pt x="133" y="489"/>
                    </a:lnTo>
                    <a:lnTo>
                      <a:pt x="111" y="449"/>
                    </a:lnTo>
                    <a:lnTo>
                      <a:pt x="92" y="410"/>
                    </a:lnTo>
                    <a:lnTo>
                      <a:pt x="74" y="371"/>
                    </a:lnTo>
                    <a:lnTo>
                      <a:pt x="57" y="334"/>
                    </a:lnTo>
                    <a:lnTo>
                      <a:pt x="43" y="297"/>
                    </a:lnTo>
                    <a:lnTo>
                      <a:pt x="31" y="262"/>
                    </a:lnTo>
                    <a:lnTo>
                      <a:pt x="21" y="228"/>
                    </a:lnTo>
                    <a:lnTo>
                      <a:pt x="12" y="196"/>
                    </a:lnTo>
                    <a:lnTo>
                      <a:pt x="7" y="166"/>
                    </a:lnTo>
                    <a:lnTo>
                      <a:pt x="2" y="137"/>
                    </a:lnTo>
                    <a:lnTo>
                      <a:pt x="0" y="110"/>
                    </a:lnTo>
                    <a:lnTo>
                      <a:pt x="0" y="84"/>
                    </a:lnTo>
                    <a:lnTo>
                      <a:pt x="1" y="72"/>
                    </a:lnTo>
                    <a:lnTo>
                      <a:pt x="2" y="61"/>
                    </a:lnTo>
                    <a:lnTo>
                      <a:pt x="4" y="50"/>
                    </a:lnTo>
                    <a:lnTo>
                      <a:pt x="7" y="39"/>
                    </a:lnTo>
                    <a:lnTo>
                      <a:pt x="10" y="30"/>
                    </a:lnTo>
                    <a:lnTo>
                      <a:pt x="13" y="21"/>
                    </a:lnTo>
                    <a:lnTo>
                      <a:pt x="17" y="12"/>
                    </a:lnTo>
                    <a:lnTo>
                      <a:pt x="23" y="5"/>
                    </a:lnTo>
                    <a:lnTo>
                      <a:pt x="26" y="2"/>
                    </a:lnTo>
                    <a:lnTo>
                      <a:pt x="31" y="0"/>
                    </a:lnTo>
                    <a:lnTo>
                      <a:pt x="36" y="0"/>
                    </a:lnTo>
                    <a:lnTo>
                      <a:pt x="41" y="2"/>
                    </a:lnTo>
                    <a:lnTo>
                      <a:pt x="44" y="5"/>
                    </a:lnTo>
                    <a:lnTo>
                      <a:pt x="47" y="10"/>
                    </a:lnTo>
                    <a:lnTo>
                      <a:pt x="47" y="16"/>
                    </a:lnTo>
                    <a:lnTo>
                      <a:pt x="44" y="20"/>
                    </a:lnTo>
                    <a:lnTo>
                      <a:pt x="41" y="25"/>
                    </a:lnTo>
                    <a:lnTo>
                      <a:pt x="38" y="32"/>
                    </a:lnTo>
                    <a:lnTo>
                      <a:pt x="36" y="38"/>
                    </a:lnTo>
                    <a:lnTo>
                      <a:pt x="34" y="46"/>
                    </a:lnTo>
                    <a:lnTo>
                      <a:pt x="30" y="63"/>
                    </a:lnTo>
                    <a:lnTo>
                      <a:pt x="28" y="83"/>
                    </a:lnTo>
                    <a:lnTo>
                      <a:pt x="28" y="104"/>
                    </a:lnTo>
                    <a:lnTo>
                      <a:pt x="29" y="128"/>
                    </a:lnTo>
                    <a:lnTo>
                      <a:pt x="32" y="154"/>
                    </a:lnTo>
                    <a:lnTo>
                      <a:pt x="38" y="182"/>
                    </a:lnTo>
                    <a:lnTo>
                      <a:pt x="44" y="212"/>
                    </a:lnTo>
                    <a:lnTo>
                      <a:pt x="54" y="243"/>
                    </a:lnTo>
                    <a:lnTo>
                      <a:pt x="65" y="278"/>
                    </a:lnTo>
                    <a:lnTo>
                      <a:pt x="79" y="314"/>
                    </a:lnTo>
                    <a:lnTo>
                      <a:pt x="94" y="352"/>
                    </a:lnTo>
                    <a:lnTo>
                      <a:pt x="112" y="391"/>
                    </a:lnTo>
                    <a:lnTo>
                      <a:pt x="133" y="432"/>
                    </a:lnTo>
                    <a:lnTo>
                      <a:pt x="157" y="476"/>
                    </a:lnTo>
                    <a:lnTo>
                      <a:pt x="181" y="520"/>
                    </a:lnTo>
                    <a:lnTo>
                      <a:pt x="207" y="564"/>
                    </a:lnTo>
                    <a:lnTo>
                      <a:pt x="233" y="606"/>
                    </a:lnTo>
                    <a:lnTo>
                      <a:pt x="259" y="648"/>
                    </a:lnTo>
                    <a:lnTo>
                      <a:pt x="286" y="689"/>
                    </a:lnTo>
                    <a:lnTo>
                      <a:pt x="313" y="728"/>
                    </a:lnTo>
                    <a:lnTo>
                      <a:pt x="341" y="766"/>
                    </a:lnTo>
                    <a:lnTo>
                      <a:pt x="370" y="802"/>
                    </a:lnTo>
                    <a:lnTo>
                      <a:pt x="384" y="818"/>
                    </a:lnTo>
                    <a:lnTo>
                      <a:pt x="400" y="834"/>
                    </a:lnTo>
                    <a:lnTo>
                      <a:pt x="415" y="850"/>
                    </a:lnTo>
                    <a:lnTo>
                      <a:pt x="430" y="865"/>
                    </a:lnTo>
                    <a:lnTo>
                      <a:pt x="445" y="879"/>
                    </a:lnTo>
                    <a:lnTo>
                      <a:pt x="460" y="893"/>
                    </a:lnTo>
                    <a:lnTo>
                      <a:pt x="475" y="906"/>
                    </a:lnTo>
                    <a:lnTo>
                      <a:pt x="491" y="918"/>
                    </a:lnTo>
                    <a:lnTo>
                      <a:pt x="508" y="930"/>
                    </a:lnTo>
                    <a:lnTo>
                      <a:pt x="524" y="941"/>
                    </a:lnTo>
                    <a:lnTo>
                      <a:pt x="540" y="949"/>
                    </a:lnTo>
                    <a:lnTo>
                      <a:pt x="556" y="959"/>
                    </a:lnTo>
                    <a:lnTo>
                      <a:pt x="573" y="967"/>
                    </a:lnTo>
                    <a:lnTo>
                      <a:pt x="591" y="973"/>
                    </a:lnTo>
                    <a:lnTo>
                      <a:pt x="608" y="980"/>
                    </a:lnTo>
                    <a:lnTo>
                      <a:pt x="625" y="984"/>
                    </a:lnTo>
                    <a:lnTo>
                      <a:pt x="661" y="993"/>
                    </a:lnTo>
                    <a:lnTo>
                      <a:pt x="697" y="999"/>
                    </a:lnTo>
                    <a:lnTo>
                      <a:pt x="732" y="1006"/>
                    </a:lnTo>
                    <a:lnTo>
                      <a:pt x="768" y="1010"/>
                    </a:lnTo>
                    <a:lnTo>
                      <a:pt x="802" y="1013"/>
                    </a:lnTo>
                    <a:lnTo>
                      <a:pt x="838" y="1014"/>
                    </a:lnTo>
                    <a:lnTo>
                      <a:pt x="871" y="1015"/>
                    </a:lnTo>
                    <a:lnTo>
                      <a:pt x="906" y="1015"/>
                    </a:lnTo>
                    <a:lnTo>
                      <a:pt x="940" y="1014"/>
                    </a:lnTo>
                    <a:lnTo>
                      <a:pt x="972" y="1012"/>
                    </a:lnTo>
                    <a:lnTo>
                      <a:pt x="1005" y="1010"/>
                    </a:lnTo>
                    <a:lnTo>
                      <a:pt x="1038" y="1006"/>
                    </a:lnTo>
                    <a:lnTo>
                      <a:pt x="1069" y="1001"/>
                    </a:lnTo>
                    <a:lnTo>
                      <a:pt x="1100" y="997"/>
                    </a:lnTo>
                    <a:lnTo>
                      <a:pt x="1131" y="990"/>
                    </a:lnTo>
                    <a:lnTo>
                      <a:pt x="1161" y="985"/>
                    </a:lnTo>
                    <a:lnTo>
                      <a:pt x="1190" y="978"/>
                    </a:lnTo>
                    <a:lnTo>
                      <a:pt x="1219" y="971"/>
                    </a:lnTo>
                    <a:lnTo>
                      <a:pt x="1247" y="963"/>
                    </a:lnTo>
                    <a:lnTo>
                      <a:pt x="1275" y="955"/>
                    </a:lnTo>
                    <a:lnTo>
                      <a:pt x="1328" y="939"/>
                    </a:lnTo>
                    <a:lnTo>
                      <a:pt x="1379" y="921"/>
                    </a:lnTo>
                    <a:lnTo>
                      <a:pt x="1425" y="903"/>
                    </a:lnTo>
                    <a:lnTo>
                      <a:pt x="1470" y="886"/>
                    </a:lnTo>
                    <a:lnTo>
                      <a:pt x="1511" y="870"/>
                    </a:lnTo>
                    <a:lnTo>
                      <a:pt x="1547" y="853"/>
                    </a:lnTo>
                    <a:lnTo>
                      <a:pt x="1581" y="839"/>
                    </a:lnTo>
                    <a:lnTo>
                      <a:pt x="1612" y="826"/>
                    </a:lnTo>
                    <a:lnTo>
                      <a:pt x="1644" y="815"/>
                    </a:lnTo>
                    <a:lnTo>
                      <a:pt x="1674" y="803"/>
                    </a:lnTo>
                    <a:lnTo>
                      <a:pt x="1703" y="792"/>
                    </a:lnTo>
                    <a:lnTo>
                      <a:pt x="1732" y="782"/>
                    </a:lnTo>
                    <a:lnTo>
                      <a:pt x="1761" y="773"/>
                    </a:lnTo>
                    <a:lnTo>
                      <a:pt x="1789" y="765"/>
                    </a:lnTo>
                    <a:lnTo>
                      <a:pt x="1816" y="757"/>
                    </a:lnTo>
                    <a:lnTo>
                      <a:pt x="1842" y="752"/>
                    </a:lnTo>
                    <a:lnTo>
                      <a:pt x="1867" y="747"/>
                    </a:lnTo>
                    <a:lnTo>
                      <a:pt x="1891" y="742"/>
                    </a:lnTo>
                    <a:lnTo>
                      <a:pt x="1914" y="739"/>
                    </a:lnTo>
                    <a:lnTo>
                      <a:pt x="1936" y="737"/>
                    </a:lnTo>
                    <a:lnTo>
                      <a:pt x="1957" y="735"/>
                    </a:lnTo>
                    <a:lnTo>
                      <a:pt x="1977" y="735"/>
                    </a:lnTo>
                    <a:lnTo>
                      <a:pt x="1997" y="735"/>
                    </a:lnTo>
                    <a:lnTo>
                      <a:pt x="2016" y="736"/>
                    </a:lnTo>
                    <a:lnTo>
                      <a:pt x="2033" y="739"/>
                    </a:lnTo>
                    <a:lnTo>
                      <a:pt x="2051" y="742"/>
                    </a:lnTo>
                    <a:lnTo>
                      <a:pt x="2068" y="745"/>
                    </a:lnTo>
                    <a:lnTo>
                      <a:pt x="2084" y="751"/>
                    </a:lnTo>
                    <a:lnTo>
                      <a:pt x="2099" y="757"/>
                    </a:lnTo>
                    <a:lnTo>
                      <a:pt x="2114" y="764"/>
                    </a:lnTo>
                    <a:lnTo>
                      <a:pt x="2132" y="773"/>
                    </a:lnTo>
                    <a:lnTo>
                      <a:pt x="2147" y="784"/>
                    </a:lnTo>
                    <a:lnTo>
                      <a:pt x="2161" y="795"/>
                    </a:lnTo>
                    <a:lnTo>
                      <a:pt x="2173" y="806"/>
                    </a:lnTo>
                    <a:lnTo>
                      <a:pt x="2185" y="819"/>
                    </a:lnTo>
                    <a:lnTo>
                      <a:pt x="2194" y="831"/>
                    </a:lnTo>
                    <a:lnTo>
                      <a:pt x="2203" y="845"/>
                    </a:lnTo>
                    <a:lnTo>
                      <a:pt x="2210" y="858"/>
                    </a:lnTo>
                    <a:lnTo>
                      <a:pt x="2217" y="871"/>
                    </a:lnTo>
                    <a:lnTo>
                      <a:pt x="2223" y="885"/>
                    </a:lnTo>
                    <a:lnTo>
                      <a:pt x="2228" y="899"/>
                    </a:lnTo>
                    <a:lnTo>
                      <a:pt x="2233" y="913"/>
                    </a:lnTo>
                    <a:lnTo>
                      <a:pt x="2241" y="940"/>
                    </a:lnTo>
                    <a:lnTo>
                      <a:pt x="2247" y="967"/>
                    </a:lnTo>
                    <a:lnTo>
                      <a:pt x="2251" y="984"/>
                    </a:lnTo>
                    <a:lnTo>
                      <a:pt x="2256" y="1001"/>
                    </a:lnTo>
                    <a:lnTo>
                      <a:pt x="2261" y="1019"/>
                    </a:lnTo>
                    <a:lnTo>
                      <a:pt x="2267" y="1034"/>
                    </a:lnTo>
                    <a:lnTo>
                      <a:pt x="2273" y="1047"/>
                    </a:lnTo>
                    <a:lnTo>
                      <a:pt x="2282" y="1060"/>
                    </a:lnTo>
                    <a:lnTo>
                      <a:pt x="2286" y="1065"/>
                    </a:lnTo>
                    <a:lnTo>
                      <a:pt x="2291" y="1069"/>
                    </a:lnTo>
                    <a:lnTo>
                      <a:pt x="2297" y="1074"/>
                    </a:lnTo>
                    <a:lnTo>
                      <a:pt x="2303" y="1078"/>
                    </a:lnTo>
                    <a:lnTo>
                      <a:pt x="2328" y="1094"/>
                    </a:lnTo>
                    <a:lnTo>
                      <a:pt x="2352" y="1110"/>
                    </a:lnTo>
                    <a:lnTo>
                      <a:pt x="2375" y="1128"/>
                    </a:lnTo>
                    <a:lnTo>
                      <a:pt x="2396" y="1145"/>
                    </a:lnTo>
                    <a:lnTo>
                      <a:pt x="2417" y="1163"/>
                    </a:lnTo>
                    <a:lnTo>
                      <a:pt x="2436" y="1180"/>
                    </a:lnTo>
                    <a:lnTo>
                      <a:pt x="2454" y="1199"/>
                    </a:lnTo>
                    <a:lnTo>
                      <a:pt x="2473" y="1217"/>
                    </a:lnTo>
                    <a:lnTo>
                      <a:pt x="2485" y="1229"/>
                    </a:lnTo>
                    <a:lnTo>
                      <a:pt x="2494" y="1241"/>
                    </a:lnTo>
                    <a:lnTo>
                      <a:pt x="2504" y="1252"/>
                    </a:lnTo>
                    <a:lnTo>
                      <a:pt x="2512" y="1261"/>
                    </a:lnTo>
                    <a:lnTo>
                      <a:pt x="2523" y="1274"/>
                    </a:lnTo>
                    <a:lnTo>
                      <a:pt x="2530" y="1283"/>
                    </a:lnTo>
                    <a:lnTo>
                      <a:pt x="2534" y="1283"/>
                    </a:lnTo>
                    <a:lnTo>
                      <a:pt x="2539" y="1285"/>
                    </a:lnTo>
                    <a:lnTo>
                      <a:pt x="2541" y="1288"/>
                    </a:lnTo>
                    <a:lnTo>
                      <a:pt x="2543" y="1292"/>
                    </a:lnTo>
                    <a:lnTo>
                      <a:pt x="2544" y="1297"/>
                    </a:lnTo>
                    <a:lnTo>
                      <a:pt x="2543" y="1302"/>
                    </a:lnTo>
                    <a:lnTo>
                      <a:pt x="2540" y="1307"/>
                    </a:lnTo>
                    <a:lnTo>
                      <a:pt x="2534" y="1309"/>
                    </a:lnTo>
                    <a:lnTo>
                      <a:pt x="2531" y="1310"/>
                    </a:lnTo>
                    <a:lnTo>
                      <a:pt x="2529" y="1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7"/>
              <p:cNvSpPr>
                <a:spLocks/>
              </p:cNvSpPr>
              <p:nvPr userDrawn="1"/>
            </p:nvSpPr>
            <p:spPr bwMode="auto">
              <a:xfrm>
                <a:off x="1927" y="1375"/>
                <a:ext cx="856" cy="439"/>
              </a:xfrm>
              <a:custGeom>
                <a:avLst/>
                <a:gdLst>
                  <a:gd name="T0" fmla="*/ 2530 w 2568"/>
                  <a:gd name="T1" fmla="*/ 1310 h 1317"/>
                  <a:gd name="T2" fmla="*/ 2481 w 2568"/>
                  <a:gd name="T3" fmla="*/ 1265 h 1317"/>
                  <a:gd name="T4" fmla="*/ 2410 w 2568"/>
                  <a:gd name="T5" fmla="*/ 1206 h 1317"/>
                  <a:gd name="T6" fmla="*/ 2299 w 2568"/>
                  <a:gd name="T7" fmla="*/ 1132 h 1317"/>
                  <a:gd name="T8" fmla="*/ 2259 w 2568"/>
                  <a:gd name="T9" fmla="*/ 1096 h 1317"/>
                  <a:gd name="T10" fmla="*/ 2218 w 2568"/>
                  <a:gd name="T11" fmla="*/ 1012 h 1317"/>
                  <a:gd name="T12" fmla="*/ 2180 w 2568"/>
                  <a:gd name="T13" fmla="*/ 929 h 1317"/>
                  <a:gd name="T14" fmla="*/ 2136 w 2568"/>
                  <a:gd name="T15" fmla="*/ 876 h 1317"/>
                  <a:gd name="T16" fmla="*/ 2068 w 2568"/>
                  <a:gd name="T17" fmla="*/ 836 h 1317"/>
                  <a:gd name="T18" fmla="*/ 1990 w 2568"/>
                  <a:gd name="T19" fmla="*/ 817 h 1317"/>
                  <a:gd name="T20" fmla="*/ 1894 w 2568"/>
                  <a:gd name="T21" fmla="*/ 817 h 1317"/>
                  <a:gd name="T22" fmla="*/ 1777 w 2568"/>
                  <a:gd name="T23" fmla="*/ 836 h 1317"/>
                  <a:gd name="T24" fmla="*/ 1624 w 2568"/>
                  <a:gd name="T25" fmla="*/ 879 h 1317"/>
                  <a:gd name="T26" fmla="*/ 1442 w 2568"/>
                  <a:gd name="T27" fmla="*/ 943 h 1317"/>
                  <a:gd name="T28" fmla="*/ 1174 w 2568"/>
                  <a:gd name="T29" fmla="*/ 1021 h 1317"/>
                  <a:gd name="T30" fmla="*/ 995 w 2568"/>
                  <a:gd name="T31" fmla="*/ 1050 h 1317"/>
                  <a:gd name="T32" fmla="*/ 835 w 2568"/>
                  <a:gd name="T33" fmla="*/ 1055 h 1317"/>
                  <a:gd name="T34" fmla="*/ 668 w 2568"/>
                  <a:gd name="T35" fmla="*/ 1038 h 1317"/>
                  <a:gd name="T36" fmla="*/ 544 w 2568"/>
                  <a:gd name="T37" fmla="*/ 1003 h 1317"/>
                  <a:gd name="T38" fmla="*/ 457 w 2568"/>
                  <a:gd name="T39" fmla="*/ 950 h 1317"/>
                  <a:gd name="T40" fmla="*/ 376 w 2568"/>
                  <a:gd name="T41" fmla="*/ 876 h 1317"/>
                  <a:gd name="T42" fmla="*/ 273 w 2568"/>
                  <a:gd name="T43" fmla="*/ 745 h 1317"/>
                  <a:gd name="T44" fmla="*/ 146 w 2568"/>
                  <a:gd name="T45" fmla="*/ 536 h 1317"/>
                  <a:gd name="T46" fmla="*/ 51 w 2568"/>
                  <a:gd name="T47" fmla="*/ 337 h 1317"/>
                  <a:gd name="T48" fmla="*/ 5 w 2568"/>
                  <a:gd name="T49" fmla="*/ 168 h 1317"/>
                  <a:gd name="T50" fmla="*/ 3 w 2568"/>
                  <a:gd name="T51" fmla="*/ 63 h 1317"/>
                  <a:gd name="T52" fmla="*/ 21 w 2568"/>
                  <a:gd name="T53" fmla="*/ 13 h 1317"/>
                  <a:gd name="T54" fmla="*/ 45 w 2568"/>
                  <a:gd name="T55" fmla="*/ 3 h 1317"/>
                  <a:gd name="T56" fmla="*/ 43 w 2568"/>
                  <a:gd name="T57" fmla="*/ 29 h 1317"/>
                  <a:gd name="T58" fmla="*/ 29 w 2568"/>
                  <a:gd name="T59" fmla="*/ 73 h 1317"/>
                  <a:gd name="T60" fmla="*/ 33 w 2568"/>
                  <a:gd name="T61" fmla="*/ 172 h 1317"/>
                  <a:gd name="T62" fmla="*/ 79 w 2568"/>
                  <a:gd name="T63" fmla="*/ 334 h 1317"/>
                  <a:gd name="T64" fmla="*/ 170 w 2568"/>
                  <a:gd name="T65" fmla="*/ 523 h 1317"/>
                  <a:gd name="T66" fmla="*/ 293 w 2568"/>
                  <a:gd name="T67" fmla="*/ 727 h 1317"/>
                  <a:gd name="T68" fmla="*/ 393 w 2568"/>
                  <a:gd name="T69" fmla="*/ 854 h 1317"/>
                  <a:gd name="T70" fmla="*/ 471 w 2568"/>
                  <a:gd name="T71" fmla="*/ 927 h 1317"/>
                  <a:gd name="T72" fmla="*/ 553 w 2568"/>
                  <a:gd name="T73" fmla="*/ 978 h 1317"/>
                  <a:gd name="T74" fmla="*/ 673 w 2568"/>
                  <a:gd name="T75" fmla="*/ 1011 h 1317"/>
                  <a:gd name="T76" fmla="*/ 837 w 2568"/>
                  <a:gd name="T77" fmla="*/ 1028 h 1317"/>
                  <a:gd name="T78" fmla="*/ 994 w 2568"/>
                  <a:gd name="T79" fmla="*/ 1023 h 1317"/>
                  <a:gd name="T80" fmla="*/ 1171 w 2568"/>
                  <a:gd name="T81" fmla="*/ 995 h 1317"/>
                  <a:gd name="T82" fmla="*/ 1434 w 2568"/>
                  <a:gd name="T83" fmla="*/ 917 h 1317"/>
                  <a:gd name="T84" fmla="*/ 1617 w 2568"/>
                  <a:gd name="T85" fmla="*/ 853 h 1317"/>
                  <a:gd name="T86" fmla="*/ 1771 w 2568"/>
                  <a:gd name="T87" fmla="*/ 809 h 1317"/>
                  <a:gd name="T88" fmla="*/ 1894 w 2568"/>
                  <a:gd name="T89" fmla="*/ 790 h 1317"/>
                  <a:gd name="T90" fmla="*/ 1995 w 2568"/>
                  <a:gd name="T91" fmla="*/ 790 h 1317"/>
                  <a:gd name="T92" fmla="*/ 2079 w 2568"/>
                  <a:gd name="T93" fmla="*/ 811 h 1317"/>
                  <a:gd name="T94" fmla="*/ 2153 w 2568"/>
                  <a:gd name="T95" fmla="*/ 855 h 1317"/>
                  <a:gd name="T96" fmla="*/ 2203 w 2568"/>
                  <a:gd name="T97" fmla="*/ 915 h 1317"/>
                  <a:gd name="T98" fmla="*/ 2243 w 2568"/>
                  <a:gd name="T99" fmla="*/ 1002 h 1317"/>
                  <a:gd name="T100" fmla="*/ 2280 w 2568"/>
                  <a:gd name="T101" fmla="*/ 1078 h 1317"/>
                  <a:gd name="T102" fmla="*/ 2312 w 2568"/>
                  <a:gd name="T103" fmla="*/ 1108 h 1317"/>
                  <a:gd name="T104" fmla="*/ 2427 w 2568"/>
                  <a:gd name="T105" fmla="*/ 1185 h 1317"/>
                  <a:gd name="T106" fmla="*/ 2498 w 2568"/>
                  <a:gd name="T107" fmla="*/ 1244 h 1317"/>
                  <a:gd name="T108" fmla="*/ 2552 w 2568"/>
                  <a:gd name="T109" fmla="*/ 1290 h 1317"/>
                  <a:gd name="T110" fmla="*/ 2568 w 2568"/>
                  <a:gd name="T111" fmla="*/ 1302 h 1317"/>
                  <a:gd name="T112" fmla="*/ 2557 w 2568"/>
                  <a:gd name="T113" fmla="*/ 1316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68" h="1317">
                    <a:moveTo>
                      <a:pt x="2551" y="1317"/>
                    </a:moveTo>
                    <a:lnTo>
                      <a:pt x="2545" y="1317"/>
                    </a:lnTo>
                    <a:lnTo>
                      <a:pt x="2541" y="1315"/>
                    </a:lnTo>
                    <a:lnTo>
                      <a:pt x="2536" y="1313"/>
                    </a:lnTo>
                    <a:lnTo>
                      <a:pt x="2530" y="1310"/>
                    </a:lnTo>
                    <a:lnTo>
                      <a:pt x="2519" y="1300"/>
                    </a:lnTo>
                    <a:lnTo>
                      <a:pt x="2506" y="1288"/>
                    </a:lnTo>
                    <a:lnTo>
                      <a:pt x="2499" y="1281"/>
                    </a:lnTo>
                    <a:lnTo>
                      <a:pt x="2490" y="1272"/>
                    </a:lnTo>
                    <a:lnTo>
                      <a:pt x="2481" y="1265"/>
                    </a:lnTo>
                    <a:lnTo>
                      <a:pt x="2470" y="1255"/>
                    </a:lnTo>
                    <a:lnTo>
                      <a:pt x="2462" y="1248"/>
                    </a:lnTo>
                    <a:lnTo>
                      <a:pt x="2446" y="1235"/>
                    </a:lnTo>
                    <a:lnTo>
                      <a:pt x="2429" y="1220"/>
                    </a:lnTo>
                    <a:lnTo>
                      <a:pt x="2410" y="1206"/>
                    </a:lnTo>
                    <a:lnTo>
                      <a:pt x="2390" y="1191"/>
                    </a:lnTo>
                    <a:lnTo>
                      <a:pt x="2369" y="1176"/>
                    </a:lnTo>
                    <a:lnTo>
                      <a:pt x="2347" y="1161"/>
                    </a:lnTo>
                    <a:lnTo>
                      <a:pt x="2324" y="1146"/>
                    </a:lnTo>
                    <a:lnTo>
                      <a:pt x="2299" y="1132"/>
                    </a:lnTo>
                    <a:lnTo>
                      <a:pt x="2292" y="1126"/>
                    </a:lnTo>
                    <a:lnTo>
                      <a:pt x="2284" y="1121"/>
                    </a:lnTo>
                    <a:lnTo>
                      <a:pt x="2276" y="1116"/>
                    </a:lnTo>
                    <a:lnTo>
                      <a:pt x="2270" y="1109"/>
                    </a:lnTo>
                    <a:lnTo>
                      <a:pt x="2259" y="1096"/>
                    </a:lnTo>
                    <a:lnTo>
                      <a:pt x="2249" y="1081"/>
                    </a:lnTo>
                    <a:lnTo>
                      <a:pt x="2241" y="1065"/>
                    </a:lnTo>
                    <a:lnTo>
                      <a:pt x="2232" y="1048"/>
                    </a:lnTo>
                    <a:lnTo>
                      <a:pt x="2226" y="1030"/>
                    </a:lnTo>
                    <a:lnTo>
                      <a:pt x="2218" y="1012"/>
                    </a:lnTo>
                    <a:lnTo>
                      <a:pt x="2208" y="988"/>
                    </a:lnTo>
                    <a:lnTo>
                      <a:pt x="2199" y="964"/>
                    </a:lnTo>
                    <a:lnTo>
                      <a:pt x="2193" y="953"/>
                    </a:lnTo>
                    <a:lnTo>
                      <a:pt x="2187" y="941"/>
                    </a:lnTo>
                    <a:lnTo>
                      <a:pt x="2180" y="929"/>
                    </a:lnTo>
                    <a:lnTo>
                      <a:pt x="2173" y="918"/>
                    </a:lnTo>
                    <a:lnTo>
                      <a:pt x="2165" y="907"/>
                    </a:lnTo>
                    <a:lnTo>
                      <a:pt x="2157" y="896"/>
                    </a:lnTo>
                    <a:lnTo>
                      <a:pt x="2147" y="887"/>
                    </a:lnTo>
                    <a:lnTo>
                      <a:pt x="2136" y="876"/>
                    </a:lnTo>
                    <a:lnTo>
                      <a:pt x="2124" y="867"/>
                    </a:lnTo>
                    <a:lnTo>
                      <a:pt x="2111" y="858"/>
                    </a:lnTo>
                    <a:lnTo>
                      <a:pt x="2097" y="850"/>
                    </a:lnTo>
                    <a:lnTo>
                      <a:pt x="2082" y="841"/>
                    </a:lnTo>
                    <a:lnTo>
                      <a:pt x="2068" y="836"/>
                    </a:lnTo>
                    <a:lnTo>
                      <a:pt x="2054" y="831"/>
                    </a:lnTo>
                    <a:lnTo>
                      <a:pt x="2039" y="825"/>
                    </a:lnTo>
                    <a:lnTo>
                      <a:pt x="2023" y="822"/>
                    </a:lnTo>
                    <a:lnTo>
                      <a:pt x="2007" y="819"/>
                    </a:lnTo>
                    <a:lnTo>
                      <a:pt x="1990" y="817"/>
                    </a:lnTo>
                    <a:lnTo>
                      <a:pt x="1972" y="815"/>
                    </a:lnTo>
                    <a:lnTo>
                      <a:pt x="1954" y="814"/>
                    </a:lnTo>
                    <a:lnTo>
                      <a:pt x="1935" y="814"/>
                    </a:lnTo>
                    <a:lnTo>
                      <a:pt x="1915" y="815"/>
                    </a:lnTo>
                    <a:lnTo>
                      <a:pt x="1894" y="817"/>
                    </a:lnTo>
                    <a:lnTo>
                      <a:pt x="1873" y="819"/>
                    </a:lnTo>
                    <a:lnTo>
                      <a:pt x="1850" y="822"/>
                    </a:lnTo>
                    <a:lnTo>
                      <a:pt x="1826" y="826"/>
                    </a:lnTo>
                    <a:lnTo>
                      <a:pt x="1802" y="831"/>
                    </a:lnTo>
                    <a:lnTo>
                      <a:pt x="1777" y="836"/>
                    </a:lnTo>
                    <a:lnTo>
                      <a:pt x="1746" y="842"/>
                    </a:lnTo>
                    <a:lnTo>
                      <a:pt x="1716" y="851"/>
                    </a:lnTo>
                    <a:lnTo>
                      <a:pt x="1686" y="860"/>
                    </a:lnTo>
                    <a:lnTo>
                      <a:pt x="1655" y="869"/>
                    </a:lnTo>
                    <a:lnTo>
                      <a:pt x="1624" y="879"/>
                    </a:lnTo>
                    <a:lnTo>
                      <a:pt x="1595" y="889"/>
                    </a:lnTo>
                    <a:lnTo>
                      <a:pt x="1565" y="900"/>
                    </a:lnTo>
                    <a:lnTo>
                      <a:pt x="1536" y="909"/>
                    </a:lnTo>
                    <a:lnTo>
                      <a:pt x="1489" y="927"/>
                    </a:lnTo>
                    <a:lnTo>
                      <a:pt x="1442" y="943"/>
                    </a:lnTo>
                    <a:lnTo>
                      <a:pt x="1392" y="960"/>
                    </a:lnTo>
                    <a:lnTo>
                      <a:pt x="1340" y="976"/>
                    </a:lnTo>
                    <a:lnTo>
                      <a:pt x="1286" y="993"/>
                    </a:lnTo>
                    <a:lnTo>
                      <a:pt x="1231" y="1008"/>
                    </a:lnTo>
                    <a:lnTo>
                      <a:pt x="1174" y="1021"/>
                    </a:lnTo>
                    <a:lnTo>
                      <a:pt x="1116" y="1032"/>
                    </a:lnTo>
                    <a:lnTo>
                      <a:pt x="1087" y="1038"/>
                    </a:lnTo>
                    <a:lnTo>
                      <a:pt x="1056" y="1042"/>
                    </a:lnTo>
                    <a:lnTo>
                      <a:pt x="1025" y="1046"/>
                    </a:lnTo>
                    <a:lnTo>
                      <a:pt x="995" y="1050"/>
                    </a:lnTo>
                    <a:lnTo>
                      <a:pt x="963" y="1053"/>
                    </a:lnTo>
                    <a:lnTo>
                      <a:pt x="931" y="1054"/>
                    </a:lnTo>
                    <a:lnTo>
                      <a:pt x="900" y="1055"/>
                    </a:lnTo>
                    <a:lnTo>
                      <a:pt x="867" y="1056"/>
                    </a:lnTo>
                    <a:lnTo>
                      <a:pt x="835" y="1055"/>
                    </a:lnTo>
                    <a:lnTo>
                      <a:pt x="803" y="1054"/>
                    </a:lnTo>
                    <a:lnTo>
                      <a:pt x="769" y="1051"/>
                    </a:lnTo>
                    <a:lnTo>
                      <a:pt x="736" y="1048"/>
                    </a:lnTo>
                    <a:lnTo>
                      <a:pt x="702" y="1043"/>
                    </a:lnTo>
                    <a:lnTo>
                      <a:pt x="668" y="1038"/>
                    </a:lnTo>
                    <a:lnTo>
                      <a:pt x="633" y="1030"/>
                    </a:lnTo>
                    <a:lnTo>
                      <a:pt x="600" y="1023"/>
                    </a:lnTo>
                    <a:lnTo>
                      <a:pt x="580" y="1017"/>
                    </a:lnTo>
                    <a:lnTo>
                      <a:pt x="562" y="1011"/>
                    </a:lnTo>
                    <a:lnTo>
                      <a:pt x="544" y="1003"/>
                    </a:lnTo>
                    <a:lnTo>
                      <a:pt x="526" y="995"/>
                    </a:lnTo>
                    <a:lnTo>
                      <a:pt x="509" y="985"/>
                    </a:lnTo>
                    <a:lnTo>
                      <a:pt x="492" y="975"/>
                    </a:lnTo>
                    <a:lnTo>
                      <a:pt x="474" y="963"/>
                    </a:lnTo>
                    <a:lnTo>
                      <a:pt x="457" y="950"/>
                    </a:lnTo>
                    <a:lnTo>
                      <a:pt x="441" y="937"/>
                    </a:lnTo>
                    <a:lnTo>
                      <a:pt x="425" y="923"/>
                    </a:lnTo>
                    <a:lnTo>
                      <a:pt x="408" y="908"/>
                    </a:lnTo>
                    <a:lnTo>
                      <a:pt x="392" y="892"/>
                    </a:lnTo>
                    <a:lnTo>
                      <a:pt x="376" y="876"/>
                    </a:lnTo>
                    <a:lnTo>
                      <a:pt x="361" y="859"/>
                    </a:lnTo>
                    <a:lnTo>
                      <a:pt x="346" y="841"/>
                    </a:lnTo>
                    <a:lnTo>
                      <a:pt x="331" y="823"/>
                    </a:lnTo>
                    <a:lnTo>
                      <a:pt x="302" y="785"/>
                    </a:lnTo>
                    <a:lnTo>
                      <a:pt x="273" y="745"/>
                    </a:lnTo>
                    <a:lnTo>
                      <a:pt x="245" y="705"/>
                    </a:lnTo>
                    <a:lnTo>
                      <a:pt x="219" y="663"/>
                    </a:lnTo>
                    <a:lnTo>
                      <a:pt x="194" y="621"/>
                    </a:lnTo>
                    <a:lnTo>
                      <a:pt x="170" y="579"/>
                    </a:lnTo>
                    <a:lnTo>
                      <a:pt x="146" y="536"/>
                    </a:lnTo>
                    <a:lnTo>
                      <a:pt x="123" y="495"/>
                    </a:lnTo>
                    <a:lnTo>
                      <a:pt x="103" y="454"/>
                    </a:lnTo>
                    <a:lnTo>
                      <a:pt x="83" y="414"/>
                    </a:lnTo>
                    <a:lnTo>
                      <a:pt x="66" y="375"/>
                    </a:lnTo>
                    <a:lnTo>
                      <a:pt x="51" y="337"/>
                    </a:lnTo>
                    <a:lnTo>
                      <a:pt x="38" y="301"/>
                    </a:lnTo>
                    <a:lnTo>
                      <a:pt x="26" y="265"/>
                    </a:lnTo>
                    <a:lnTo>
                      <a:pt x="18" y="231"/>
                    </a:lnTo>
                    <a:lnTo>
                      <a:pt x="10" y="199"/>
                    </a:lnTo>
                    <a:lnTo>
                      <a:pt x="5" y="168"/>
                    </a:lnTo>
                    <a:lnTo>
                      <a:pt x="1" y="139"/>
                    </a:lnTo>
                    <a:lnTo>
                      <a:pt x="0" y="112"/>
                    </a:lnTo>
                    <a:lnTo>
                      <a:pt x="1" y="86"/>
                    </a:lnTo>
                    <a:lnTo>
                      <a:pt x="2" y="74"/>
                    </a:lnTo>
                    <a:lnTo>
                      <a:pt x="3" y="63"/>
                    </a:lnTo>
                    <a:lnTo>
                      <a:pt x="6" y="52"/>
                    </a:lnTo>
                    <a:lnTo>
                      <a:pt x="9" y="41"/>
                    </a:lnTo>
                    <a:lnTo>
                      <a:pt x="12" y="32"/>
                    </a:lnTo>
                    <a:lnTo>
                      <a:pt x="16" y="22"/>
                    </a:lnTo>
                    <a:lnTo>
                      <a:pt x="21" y="13"/>
                    </a:lnTo>
                    <a:lnTo>
                      <a:pt x="25" y="6"/>
                    </a:lnTo>
                    <a:lnTo>
                      <a:pt x="29" y="3"/>
                    </a:lnTo>
                    <a:lnTo>
                      <a:pt x="35" y="0"/>
                    </a:lnTo>
                    <a:lnTo>
                      <a:pt x="39" y="0"/>
                    </a:lnTo>
                    <a:lnTo>
                      <a:pt x="45" y="3"/>
                    </a:lnTo>
                    <a:lnTo>
                      <a:pt x="48" y="6"/>
                    </a:lnTo>
                    <a:lnTo>
                      <a:pt x="50" y="11"/>
                    </a:lnTo>
                    <a:lnTo>
                      <a:pt x="50" y="17"/>
                    </a:lnTo>
                    <a:lnTo>
                      <a:pt x="48" y="21"/>
                    </a:lnTo>
                    <a:lnTo>
                      <a:pt x="43" y="29"/>
                    </a:lnTo>
                    <a:lnTo>
                      <a:pt x="40" y="36"/>
                    </a:lnTo>
                    <a:lnTo>
                      <a:pt x="37" y="45"/>
                    </a:lnTo>
                    <a:lnTo>
                      <a:pt x="34" y="53"/>
                    </a:lnTo>
                    <a:lnTo>
                      <a:pt x="32" y="63"/>
                    </a:lnTo>
                    <a:lnTo>
                      <a:pt x="29" y="73"/>
                    </a:lnTo>
                    <a:lnTo>
                      <a:pt x="28" y="84"/>
                    </a:lnTo>
                    <a:lnTo>
                      <a:pt x="27" y="94"/>
                    </a:lnTo>
                    <a:lnTo>
                      <a:pt x="27" y="118"/>
                    </a:lnTo>
                    <a:lnTo>
                      <a:pt x="29" y="144"/>
                    </a:lnTo>
                    <a:lnTo>
                      <a:pt x="33" y="172"/>
                    </a:lnTo>
                    <a:lnTo>
                      <a:pt x="39" y="201"/>
                    </a:lnTo>
                    <a:lnTo>
                      <a:pt x="46" y="233"/>
                    </a:lnTo>
                    <a:lnTo>
                      <a:pt x="55" y="265"/>
                    </a:lnTo>
                    <a:lnTo>
                      <a:pt x="66" y="299"/>
                    </a:lnTo>
                    <a:lnTo>
                      <a:pt x="79" y="334"/>
                    </a:lnTo>
                    <a:lnTo>
                      <a:pt x="94" y="370"/>
                    </a:lnTo>
                    <a:lnTo>
                      <a:pt x="110" y="406"/>
                    </a:lnTo>
                    <a:lnTo>
                      <a:pt x="128" y="444"/>
                    </a:lnTo>
                    <a:lnTo>
                      <a:pt x="147" y="482"/>
                    </a:lnTo>
                    <a:lnTo>
                      <a:pt x="170" y="523"/>
                    </a:lnTo>
                    <a:lnTo>
                      <a:pt x="192" y="564"/>
                    </a:lnTo>
                    <a:lnTo>
                      <a:pt x="216" y="605"/>
                    </a:lnTo>
                    <a:lnTo>
                      <a:pt x="241" y="647"/>
                    </a:lnTo>
                    <a:lnTo>
                      <a:pt x="267" y="687"/>
                    </a:lnTo>
                    <a:lnTo>
                      <a:pt x="293" y="727"/>
                    </a:lnTo>
                    <a:lnTo>
                      <a:pt x="321" y="766"/>
                    </a:lnTo>
                    <a:lnTo>
                      <a:pt x="349" y="803"/>
                    </a:lnTo>
                    <a:lnTo>
                      <a:pt x="363" y="820"/>
                    </a:lnTo>
                    <a:lnTo>
                      <a:pt x="378" y="837"/>
                    </a:lnTo>
                    <a:lnTo>
                      <a:pt x="393" y="854"/>
                    </a:lnTo>
                    <a:lnTo>
                      <a:pt x="408" y="871"/>
                    </a:lnTo>
                    <a:lnTo>
                      <a:pt x="424" y="886"/>
                    </a:lnTo>
                    <a:lnTo>
                      <a:pt x="439" y="900"/>
                    </a:lnTo>
                    <a:lnTo>
                      <a:pt x="455" y="914"/>
                    </a:lnTo>
                    <a:lnTo>
                      <a:pt x="471" y="927"/>
                    </a:lnTo>
                    <a:lnTo>
                      <a:pt x="487" y="939"/>
                    </a:lnTo>
                    <a:lnTo>
                      <a:pt x="503" y="950"/>
                    </a:lnTo>
                    <a:lnTo>
                      <a:pt x="520" y="960"/>
                    </a:lnTo>
                    <a:lnTo>
                      <a:pt x="537" y="970"/>
                    </a:lnTo>
                    <a:lnTo>
                      <a:pt x="553" y="978"/>
                    </a:lnTo>
                    <a:lnTo>
                      <a:pt x="570" y="986"/>
                    </a:lnTo>
                    <a:lnTo>
                      <a:pt x="588" y="991"/>
                    </a:lnTo>
                    <a:lnTo>
                      <a:pt x="606" y="997"/>
                    </a:lnTo>
                    <a:lnTo>
                      <a:pt x="639" y="1004"/>
                    </a:lnTo>
                    <a:lnTo>
                      <a:pt x="673" y="1011"/>
                    </a:lnTo>
                    <a:lnTo>
                      <a:pt x="706" y="1016"/>
                    </a:lnTo>
                    <a:lnTo>
                      <a:pt x="739" y="1021"/>
                    </a:lnTo>
                    <a:lnTo>
                      <a:pt x="772" y="1024"/>
                    </a:lnTo>
                    <a:lnTo>
                      <a:pt x="805" y="1027"/>
                    </a:lnTo>
                    <a:lnTo>
                      <a:pt x="837" y="1028"/>
                    </a:lnTo>
                    <a:lnTo>
                      <a:pt x="868" y="1028"/>
                    </a:lnTo>
                    <a:lnTo>
                      <a:pt x="901" y="1028"/>
                    </a:lnTo>
                    <a:lnTo>
                      <a:pt x="932" y="1027"/>
                    </a:lnTo>
                    <a:lnTo>
                      <a:pt x="962" y="1025"/>
                    </a:lnTo>
                    <a:lnTo>
                      <a:pt x="994" y="1023"/>
                    </a:lnTo>
                    <a:lnTo>
                      <a:pt x="1024" y="1019"/>
                    </a:lnTo>
                    <a:lnTo>
                      <a:pt x="1054" y="1015"/>
                    </a:lnTo>
                    <a:lnTo>
                      <a:pt x="1083" y="1011"/>
                    </a:lnTo>
                    <a:lnTo>
                      <a:pt x="1112" y="1005"/>
                    </a:lnTo>
                    <a:lnTo>
                      <a:pt x="1171" y="995"/>
                    </a:lnTo>
                    <a:lnTo>
                      <a:pt x="1227" y="981"/>
                    </a:lnTo>
                    <a:lnTo>
                      <a:pt x="1281" y="966"/>
                    </a:lnTo>
                    <a:lnTo>
                      <a:pt x="1334" y="950"/>
                    </a:lnTo>
                    <a:lnTo>
                      <a:pt x="1385" y="934"/>
                    </a:lnTo>
                    <a:lnTo>
                      <a:pt x="1434" y="917"/>
                    </a:lnTo>
                    <a:lnTo>
                      <a:pt x="1482" y="901"/>
                    </a:lnTo>
                    <a:lnTo>
                      <a:pt x="1527" y="885"/>
                    </a:lnTo>
                    <a:lnTo>
                      <a:pt x="1556" y="874"/>
                    </a:lnTo>
                    <a:lnTo>
                      <a:pt x="1586" y="863"/>
                    </a:lnTo>
                    <a:lnTo>
                      <a:pt x="1617" y="853"/>
                    </a:lnTo>
                    <a:lnTo>
                      <a:pt x="1647" y="844"/>
                    </a:lnTo>
                    <a:lnTo>
                      <a:pt x="1678" y="834"/>
                    </a:lnTo>
                    <a:lnTo>
                      <a:pt x="1708" y="825"/>
                    </a:lnTo>
                    <a:lnTo>
                      <a:pt x="1740" y="817"/>
                    </a:lnTo>
                    <a:lnTo>
                      <a:pt x="1771" y="809"/>
                    </a:lnTo>
                    <a:lnTo>
                      <a:pt x="1797" y="804"/>
                    </a:lnTo>
                    <a:lnTo>
                      <a:pt x="1823" y="799"/>
                    </a:lnTo>
                    <a:lnTo>
                      <a:pt x="1848" y="795"/>
                    </a:lnTo>
                    <a:lnTo>
                      <a:pt x="1872" y="792"/>
                    </a:lnTo>
                    <a:lnTo>
                      <a:pt x="1894" y="790"/>
                    </a:lnTo>
                    <a:lnTo>
                      <a:pt x="1916" y="788"/>
                    </a:lnTo>
                    <a:lnTo>
                      <a:pt x="1936" y="787"/>
                    </a:lnTo>
                    <a:lnTo>
                      <a:pt x="1957" y="787"/>
                    </a:lnTo>
                    <a:lnTo>
                      <a:pt x="1976" y="788"/>
                    </a:lnTo>
                    <a:lnTo>
                      <a:pt x="1995" y="790"/>
                    </a:lnTo>
                    <a:lnTo>
                      <a:pt x="2013" y="793"/>
                    </a:lnTo>
                    <a:lnTo>
                      <a:pt x="2030" y="796"/>
                    </a:lnTo>
                    <a:lnTo>
                      <a:pt x="2048" y="800"/>
                    </a:lnTo>
                    <a:lnTo>
                      <a:pt x="2064" y="805"/>
                    </a:lnTo>
                    <a:lnTo>
                      <a:pt x="2079" y="811"/>
                    </a:lnTo>
                    <a:lnTo>
                      <a:pt x="2094" y="818"/>
                    </a:lnTo>
                    <a:lnTo>
                      <a:pt x="2111" y="826"/>
                    </a:lnTo>
                    <a:lnTo>
                      <a:pt x="2126" y="835"/>
                    </a:lnTo>
                    <a:lnTo>
                      <a:pt x="2140" y="846"/>
                    </a:lnTo>
                    <a:lnTo>
                      <a:pt x="2153" y="855"/>
                    </a:lnTo>
                    <a:lnTo>
                      <a:pt x="2165" y="867"/>
                    </a:lnTo>
                    <a:lnTo>
                      <a:pt x="2176" y="878"/>
                    </a:lnTo>
                    <a:lnTo>
                      <a:pt x="2186" y="890"/>
                    </a:lnTo>
                    <a:lnTo>
                      <a:pt x="2194" y="902"/>
                    </a:lnTo>
                    <a:lnTo>
                      <a:pt x="2203" y="915"/>
                    </a:lnTo>
                    <a:lnTo>
                      <a:pt x="2210" y="927"/>
                    </a:lnTo>
                    <a:lnTo>
                      <a:pt x="2217" y="940"/>
                    </a:lnTo>
                    <a:lnTo>
                      <a:pt x="2222" y="951"/>
                    </a:lnTo>
                    <a:lnTo>
                      <a:pt x="2233" y="977"/>
                    </a:lnTo>
                    <a:lnTo>
                      <a:pt x="2243" y="1002"/>
                    </a:lnTo>
                    <a:lnTo>
                      <a:pt x="2249" y="1019"/>
                    </a:lnTo>
                    <a:lnTo>
                      <a:pt x="2257" y="1036"/>
                    </a:lnTo>
                    <a:lnTo>
                      <a:pt x="2264" y="1051"/>
                    </a:lnTo>
                    <a:lnTo>
                      <a:pt x="2271" y="1065"/>
                    </a:lnTo>
                    <a:lnTo>
                      <a:pt x="2280" y="1078"/>
                    </a:lnTo>
                    <a:lnTo>
                      <a:pt x="2289" y="1090"/>
                    </a:lnTo>
                    <a:lnTo>
                      <a:pt x="2294" y="1094"/>
                    </a:lnTo>
                    <a:lnTo>
                      <a:pt x="2300" y="1099"/>
                    </a:lnTo>
                    <a:lnTo>
                      <a:pt x="2306" y="1104"/>
                    </a:lnTo>
                    <a:lnTo>
                      <a:pt x="2312" y="1108"/>
                    </a:lnTo>
                    <a:lnTo>
                      <a:pt x="2338" y="1122"/>
                    </a:lnTo>
                    <a:lnTo>
                      <a:pt x="2362" y="1137"/>
                    </a:lnTo>
                    <a:lnTo>
                      <a:pt x="2384" y="1153"/>
                    </a:lnTo>
                    <a:lnTo>
                      <a:pt x="2406" y="1168"/>
                    </a:lnTo>
                    <a:lnTo>
                      <a:pt x="2427" y="1185"/>
                    </a:lnTo>
                    <a:lnTo>
                      <a:pt x="2445" y="1200"/>
                    </a:lnTo>
                    <a:lnTo>
                      <a:pt x="2463" y="1214"/>
                    </a:lnTo>
                    <a:lnTo>
                      <a:pt x="2479" y="1228"/>
                    </a:lnTo>
                    <a:lnTo>
                      <a:pt x="2487" y="1234"/>
                    </a:lnTo>
                    <a:lnTo>
                      <a:pt x="2498" y="1244"/>
                    </a:lnTo>
                    <a:lnTo>
                      <a:pt x="2508" y="1253"/>
                    </a:lnTo>
                    <a:lnTo>
                      <a:pt x="2517" y="1260"/>
                    </a:lnTo>
                    <a:lnTo>
                      <a:pt x="2525" y="1269"/>
                    </a:lnTo>
                    <a:lnTo>
                      <a:pt x="2540" y="1283"/>
                    </a:lnTo>
                    <a:lnTo>
                      <a:pt x="2552" y="1290"/>
                    </a:lnTo>
                    <a:lnTo>
                      <a:pt x="2556" y="1290"/>
                    </a:lnTo>
                    <a:lnTo>
                      <a:pt x="2562" y="1292"/>
                    </a:lnTo>
                    <a:lnTo>
                      <a:pt x="2565" y="1295"/>
                    </a:lnTo>
                    <a:lnTo>
                      <a:pt x="2567" y="1299"/>
                    </a:lnTo>
                    <a:lnTo>
                      <a:pt x="2568" y="1302"/>
                    </a:lnTo>
                    <a:lnTo>
                      <a:pt x="2568" y="1304"/>
                    </a:lnTo>
                    <a:lnTo>
                      <a:pt x="2567" y="1307"/>
                    </a:lnTo>
                    <a:lnTo>
                      <a:pt x="2566" y="1310"/>
                    </a:lnTo>
                    <a:lnTo>
                      <a:pt x="2563" y="1314"/>
                    </a:lnTo>
                    <a:lnTo>
                      <a:pt x="2557" y="1316"/>
                    </a:lnTo>
                    <a:lnTo>
                      <a:pt x="2554" y="1317"/>
                    </a:lnTo>
                    <a:lnTo>
                      <a:pt x="2551" y="13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8"/>
              <p:cNvSpPr>
                <a:spLocks/>
              </p:cNvSpPr>
              <p:nvPr userDrawn="1"/>
            </p:nvSpPr>
            <p:spPr bwMode="auto">
              <a:xfrm>
                <a:off x="1945" y="1347"/>
                <a:ext cx="864" cy="442"/>
              </a:xfrm>
              <a:custGeom>
                <a:avLst/>
                <a:gdLst>
                  <a:gd name="T0" fmla="*/ 2549 w 2590"/>
                  <a:gd name="T1" fmla="*/ 1316 h 1324"/>
                  <a:gd name="T2" fmla="*/ 2496 w 2590"/>
                  <a:gd name="T3" fmla="*/ 1280 h 1324"/>
                  <a:gd name="T4" fmla="*/ 2453 w 2590"/>
                  <a:gd name="T5" fmla="*/ 1250 h 1324"/>
                  <a:gd name="T6" fmla="*/ 2300 w 2590"/>
                  <a:gd name="T7" fmla="*/ 1155 h 1324"/>
                  <a:gd name="T8" fmla="*/ 2255 w 2590"/>
                  <a:gd name="T9" fmla="*/ 1113 h 1324"/>
                  <a:gd name="T10" fmla="*/ 2204 w 2590"/>
                  <a:gd name="T11" fmla="*/ 1030 h 1324"/>
                  <a:gd name="T12" fmla="*/ 2141 w 2590"/>
                  <a:gd name="T13" fmla="*/ 946 h 1324"/>
                  <a:gd name="T14" fmla="*/ 2078 w 2590"/>
                  <a:gd name="T15" fmla="*/ 902 h 1324"/>
                  <a:gd name="T16" fmla="*/ 2002 w 2590"/>
                  <a:gd name="T17" fmla="*/ 875 h 1324"/>
                  <a:gd name="T18" fmla="*/ 1914 w 2590"/>
                  <a:gd name="T19" fmla="*/ 866 h 1324"/>
                  <a:gd name="T20" fmla="*/ 1757 w 2590"/>
                  <a:gd name="T21" fmla="*/ 880 h 1324"/>
                  <a:gd name="T22" fmla="*/ 1602 w 2590"/>
                  <a:gd name="T23" fmla="*/ 915 h 1324"/>
                  <a:gd name="T24" fmla="*/ 1431 w 2590"/>
                  <a:gd name="T25" fmla="*/ 964 h 1324"/>
                  <a:gd name="T26" fmla="*/ 1170 w 2590"/>
                  <a:gd name="T27" fmla="*/ 1033 h 1324"/>
                  <a:gd name="T28" fmla="*/ 974 w 2590"/>
                  <a:gd name="T29" fmla="*/ 1063 h 1324"/>
                  <a:gd name="T30" fmla="*/ 828 w 2590"/>
                  <a:gd name="T31" fmla="*/ 1067 h 1324"/>
                  <a:gd name="T32" fmla="*/ 674 w 2590"/>
                  <a:gd name="T33" fmla="*/ 1053 h 1324"/>
                  <a:gd name="T34" fmla="*/ 551 w 2590"/>
                  <a:gd name="T35" fmla="*/ 1026 h 1324"/>
                  <a:gd name="T36" fmla="*/ 481 w 2590"/>
                  <a:gd name="T37" fmla="*/ 989 h 1324"/>
                  <a:gd name="T38" fmla="*/ 409 w 2590"/>
                  <a:gd name="T39" fmla="*/ 933 h 1324"/>
                  <a:gd name="T40" fmla="*/ 321 w 2590"/>
                  <a:gd name="T41" fmla="*/ 837 h 1324"/>
                  <a:gd name="T42" fmla="*/ 174 w 2590"/>
                  <a:gd name="T43" fmla="*/ 612 h 1324"/>
                  <a:gd name="T44" fmla="*/ 60 w 2590"/>
                  <a:gd name="T45" fmla="*/ 377 h 1324"/>
                  <a:gd name="T46" fmla="*/ 7 w 2590"/>
                  <a:gd name="T47" fmla="*/ 200 h 1324"/>
                  <a:gd name="T48" fmla="*/ 4 w 2590"/>
                  <a:gd name="T49" fmla="*/ 75 h 1324"/>
                  <a:gd name="T50" fmla="*/ 19 w 2590"/>
                  <a:gd name="T51" fmla="*/ 23 h 1324"/>
                  <a:gd name="T52" fmla="*/ 42 w 2590"/>
                  <a:gd name="T53" fmla="*/ 0 h 1324"/>
                  <a:gd name="T54" fmla="*/ 51 w 2590"/>
                  <a:gd name="T55" fmla="*/ 21 h 1324"/>
                  <a:gd name="T56" fmla="*/ 33 w 2590"/>
                  <a:gd name="T57" fmla="*/ 64 h 1324"/>
                  <a:gd name="T58" fmla="*/ 27 w 2590"/>
                  <a:gd name="T59" fmla="*/ 146 h 1324"/>
                  <a:gd name="T60" fmla="*/ 61 w 2590"/>
                  <a:gd name="T61" fmla="*/ 301 h 1324"/>
                  <a:gd name="T62" fmla="*/ 139 w 2590"/>
                  <a:gd name="T63" fmla="*/ 487 h 1324"/>
                  <a:gd name="T64" fmla="*/ 282 w 2590"/>
                  <a:gd name="T65" fmla="*/ 739 h 1324"/>
                  <a:gd name="T66" fmla="*/ 424 w 2590"/>
                  <a:gd name="T67" fmla="*/ 909 h 1324"/>
                  <a:gd name="T68" fmla="*/ 492 w 2590"/>
                  <a:gd name="T69" fmla="*/ 965 h 1324"/>
                  <a:gd name="T70" fmla="*/ 560 w 2590"/>
                  <a:gd name="T71" fmla="*/ 1000 h 1324"/>
                  <a:gd name="T72" fmla="*/ 680 w 2590"/>
                  <a:gd name="T73" fmla="*/ 1027 h 1324"/>
                  <a:gd name="T74" fmla="*/ 830 w 2590"/>
                  <a:gd name="T75" fmla="*/ 1040 h 1324"/>
                  <a:gd name="T76" fmla="*/ 973 w 2590"/>
                  <a:gd name="T77" fmla="*/ 1036 h 1324"/>
                  <a:gd name="T78" fmla="*/ 1167 w 2590"/>
                  <a:gd name="T79" fmla="*/ 1007 h 1324"/>
                  <a:gd name="T80" fmla="*/ 1424 w 2590"/>
                  <a:gd name="T81" fmla="*/ 938 h 1324"/>
                  <a:gd name="T82" fmla="*/ 1595 w 2590"/>
                  <a:gd name="T83" fmla="*/ 889 h 1324"/>
                  <a:gd name="T84" fmla="*/ 1752 w 2590"/>
                  <a:gd name="T85" fmla="*/ 853 h 1324"/>
                  <a:gd name="T86" fmla="*/ 1874 w 2590"/>
                  <a:gd name="T87" fmla="*/ 839 h 1324"/>
                  <a:gd name="T88" fmla="*/ 1974 w 2590"/>
                  <a:gd name="T89" fmla="*/ 842 h 1324"/>
                  <a:gd name="T90" fmla="*/ 2059 w 2590"/>
                  <a:gd name="T91" fmla="*/ 863 h 1324"/>
                  <a:gd name="T92" fmla="*/ 2135 w 2590"/>
                  <a:gd name="T93" fmla="*/ 905 h 1324"/>
                  <a:gd name="T94" fmla="*/ 2198 w 2590"/>
                  <a:gd name="T95" fmla="*/ 970 h 1324"/>
                  <a:gd name="T96" fmla="*/ 2257 w 2590"/>
                  <a:gd name="T97" fmla="*/ 1068 h 1324"/>
                  <a:gd name="T98" fmla="*/ 2308 w 2590"/>
                  <a:gd name="T99" fmla="*/ 1128 h 1324"/>
                  <a:gd name="T100" fmla="*/ 2469 w 2590"/>
                  <a:gd name="T101" fmla="*/ 1228 h 1324"/>
                  <a:gd name="T102" fmla="*/ 2511 w 2590"/>
                  <a:gd name="T103" fmla="*/ 1257 h 1324"/>
                  <a:gd name="T104" fmla="*/ 2557 w 2590"/>
                  <a:gd name="T105" fmla="*/ 1290 h 1324"/>
                  <a:gd name="T106" fmla="*/ 2587 w 2590"/>
                  <a:gd name="T107" fmla="*/ 1301 h 1324"/>
                  <a:gd name="T108" fmla="*/ 2581 w 2590"/>
                  <a:gd name="T109" fmla="*/ 1323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90" h="1324">
                    <a:moveTo>
                      <a:pt x="2571" y="1324"/>
                    </a:moveTo>
                    <a:lnTo>
                      <a:pt x="2566" y="1324"/>
                    </a:lnTo>
                    <a:lnTo>
                      <a:pt x="2561" y="1323"/>
                    </a:lnTo>
                    <a:lnTo>
                      <a:pt x="2555" y="1320"/>
                    </a:lnTo>
                    <a:lnTo>
                      <a:pt x="2549" y="1316"/>
                    </a:lnTo>
                    <a:lnTo>
                      <a:pt x="2536" y="1308"/>
                    </a:lnTo>
                    <a:lnTo>
                      <a:pt x="2520" y="1297"/>
                    </a:lnTo>
                    <a:lnTo>
                      <a:pt x="2513" y="1291"/>
                    </a:lnTo>
                    <a:lnTo>
                      <a:pt x="2504" y="1286"/>
                    </a:lnTo>
                    <a:lnTo>
                      <a:pt x="2496" y="1280"/>
                    </a:lnTo>
                    <a:lnTo>
                      <a:pt x="2487" y="1273"/>
                    </a:lnTo>
                    <a:lnTo>
                      <a:pt x="2479" y="1268"/>
                    </a:lnTo>
                    <a:lnTo>
                      <a:pt x="2470" y="1262"/>
                    </a:lnTo>
                    <a:lnTo>
                      <a:pt x="2461" y="1256"/>
                    </a:lnTo>
                    <a:lnTo>
                      <a:pt x="2453" y="1250"/>
                    </a:lnTo>
                    <a:lnTo>
                      <a:pt x="2421" y="1229"/>
                    </a:lnTo>
                    <a:lnTo>
                      <a:pt x="2387" y="1205"/>
                    </a:lnTo>
                    <a:lnTo>
                      <a:pt x="2349" y="1182"/>
                    </a:lnTo>
                    <a:lnTo>
                      <a:pt x="2309" y="1160"/>
                    </a:lnTo>
                    <a:lnTo>
                      <a:pt x="2300" y="1155"/>
                    </a:lnTo>
                    <a:lnTo>
                      <a:pt x="2293" y="1150"/>
                    </a:lnTo>
                    <a:lnTo>
                      <a:pt x="2286" y="1145"/>
                    </a:lnTo>
                    <a:lnTo>
                      <a:pt x="2279" y="1139"/>
                    </a:lnTo>
                    <a:lnTo>
                      <a:pt x="2267" y="1127"/>
                    </a:lnTo>
                    <a:lnTo>
                      <a:pt x="2255" y="1113"/>
                    </a:lnTo>
                    <a:lnTo>
                      <a:pt x="2244" y="1098"/>
                    </a:lnTo>
                    <a:lnTo>
                      <a:pt x="2235" y="1083"/>
                    </a:lnTo>
                    <a:lnTo>
                      <a:pt x="2226" y="1067"/>
                    </a:lnTo>
                    <a:lnTo>
                      <a:pt x="2216" y="1051"/>
                    </a:lnTo>
                    <a:lnTo>
                      <a:pt x="2204" y="1030"/>
                    </a:lnTo>
                    <a:lnTo>
                      <a:pt x="2191" y="1009"/>
                    </a:lnTo>
                    <a:lnTo>
                      <a:pt x="2176" y="987"/>
                    </a:lnTo>
                    <a:lnTo>
                      <a:pt x="2160" y="967"/>
                    </a:lnTo>
                    <a:lnTo>
                      <a:pt x="2151" y="956"/>
                    </a:lnTo>
                    <a:lnTo>
                      <a:pt x="2141" y="946"/>
                    </a:lnTo>
                    <a:lnTo>
                      <a:pt x="2130" y="936"/>
                    </a:lnTo>
                    <a:lnTo>
                      <a:pt x="2119" y="927"/>
                    </a:lnTo>
                    <a:lnTo>
                      <a:pt x="2106" y="918"/>
                    </a:lnTo>
                    <a:lnTo>
                      <a:pt x="2093" y="909"/>
                    </a:lnTo>
                    <a:lnTo>
                      <a:pt x="2078" y="902"/>
                    </a:lnTo>
                    <a:lnTo>
                      <a:pt x="2063" y="894"/>
                    </a:lnTo>
                    <a:lnTo>
                      <a:pt x="2048" y="889"/>
                    </a:lnTo>
                    <a:lnTo>
                      <a:pt x="2034" y="883"/>
                    </a:lnTo>
                    <a:lnTo>
                      <a:pt x="2019" y="879"/>
                    </a:lnTo>
                    <a:lnTo>
                      <a:pt x="2002" y="875"/>
                    </a:lnTo>
                    <a:lnTo>
                      <a:pt x="1986" y="872"/>
                    </a:lnTo>
                    <a:lnTo>
                      <a:pt x="1969" y="869"/>
                    </a:lnTo>
                    <a:lnTo>
                      <a:pt x="1952" y="867"/>
                    </a:lnTo>
                    <a:lnTo>
                      <a:pt x="1933" y="866"/>
                    </a:lnTo>
                    <a:lnTo>
                      <a:pt x="1914" y="866"/>
                    </a:lnTo>
                    <a:lnTo>
                      <a:pt x="1894" y="866"/>
                    </a:lnTo>
                    <a:lnTo>
                      <a:pt x="1873" y="866"/>
                    </a:lnTo>
                    <a:lnTo>
                      <a:pt x="1852" y="868"/>
                    </a:lnTo>
                    <a:lnTo>
                      <a:pt x="1806" y="873"/>
                    </a:lnTo>
                    <a:lnTo>
                      <a:pt x="1757" y="880"/>
                    </a:lnTo>
                    <a:lnTo>
                      <a:pt x="1726" y="886"/>
                    </a:lnTo>
                    <a:lnTo>
                      <a:pt x="1695" y="892"/>
                    </a:lnTo>
                    <a:lnTo>
                      <a:pt x="1663" y="899"/>
                    </a:lnTo>
                    <a:lnTo>
                      <a:pt x="1633" y="906"/>
                    </a:lnTo>
                    <a:lnTo>
                      <a:pt x="1602" y="915"/>
                    </a:lnTo>
                    <a:lnTo>
                      <a:pt x="1573" y="922"/>
                    </a:lnTo>
                    <a:lnTo>
                      <a:pt x="1542" y="931"/>
                    </a:lnTo>
                    <a:lnTo>
                      <a:pt x="1513" y="940"/>
                    </a:lnTo>
                    <a:lnTo>
                      <a:pt x="1481" y="950"/>
                    </a:lnTo>
                    <a:lnTo>
                      <a:pt x="1431" y="964"/>
                    </a:lnTo>
                    <a:lnTo>
                      <a:pt x="1380" y="980"/>
                    </a:lnTo>
                    <a:lnTo>
                      <a:pt x="1330" y="995"/>
                    </a:lnTo>
                    <a:lnTo>
                      <a:pt x="1277" y="1009"/>
                    </a:lnTo>
                    <a:lnTo>
                      <a:pt x="1224" y="1022"/>
                    </a:lnTo>
                    <a:lnTo>
                      <a:pt x="1170" y="1033"/>
                    </a:lnTo>
                    <a:lnTo>
                      <a:pt x="1116" y="1044"/>
                    </a:lnTo>
                    <a:lnTo>
                      <a:pt x="1060" y="1053"/>
                    </a:lnTo>
                    <a:lnTo>
                      <a:pt x="1032" y="1057"/>
                    </a:lnTo>
                    <a:lnTo>
                      <a:pt x="1004" y="1060"/>
                    </a:lnTo>
                    <a:lnTo>
                      <a:pt x="974" y="1063"/>
                    </a:lnTo>
                    <a:lnTo>
                      <a:pt x="945" y="1065"/>
                    </a:lnTo>
                    <a:lnTo>
                      <a:pt x="916" y="1067"/>
                    </a:lnTo>
                    <a:lnTo>
                      <a:pt x="887" y="1068"/>
                    </a:lnTo>
                    <a:lnTo>
                      <a:pt x="858" y="1068"/>
                    </a:lnTo>
                    <a:lnTo>
                      <a:pt x="828" y="1067"/>
                    </a:lnTo>
                    <a:lnTo>
                      <a:pt x="797" y="1066"/>
                    </a:lnTo>
                    <a:lnTo>
                      <a:pt x="767" y="1065"/>
                    </a:lnTo>
                    <a:lnTo>
                      <a:pt x="737" y="1062"/>
                    </a:lnTo>
                    <a:lnTo>
                      <a:pt x="706" y="1058"/>
                    </a:lnTo>
                    <a:lnTo>
                      <a:pt x="674" y="1053"/>
                    </a:lnTo>
                    <a:lnTo>
                      <a:pt x="643" y="1048"/>
                    </a:lnTo>
                    <a:lnTo>
                      <a:pt x="612" y="1042"/>
                    </a:lnTo>
                    <a:lnTo>
                      <a:pt x="580" y="1035"/>
                    </a:lnTo>
                    <a:lnTo>
                      <a:pt x="566" y="1030"/>
                    </a:lnTo>
                    <a:lnTo>
                      <a:pt x="551" y="1026"/>
                    </a:lnTo>
                    <a:lnTo>
                      <a:pt x="537" y="1021"/>
                    </a:lnTo>
                    <a:lnTo>
                      <a:pt x="523" y="1014"/>
                    </a:lnTo>
                    <a:lnTo>
                      <a:pt x="509" y="1007"/>
                    </a:lnTo>
                    <a:lnTo>
                      <a:pt x="495" y="999"/>
                    </a:lnTo>
                    <a:lnTo>
                      <a:pt x="481" y="989"/>
                    </a:lnTo>
                    <a:lnTo>
                      <a:pt x="466" y="980"/>
                    </a:lnTo>
                    <a:lnTo>
                      <a:pt x="452" y="970"/>
                    </a:lnTo>
                    <a:lnTo>
                      <a:pt x="438" y="958"/>
                    </a:lnTo>
                    <a:lnTo>
                      <a:pt x="423" y="946"/>
                    </a:lnTo>
                    <a:lnTo>
                      <a:pt x="409" y="933"/>
                    </a:lnTo>
                    <a:lnTo>
                      <a:pt x="395" y="919"/>
                    </a:lnTo>
                    <a:lnTo>
                      <a:pt x="379" y="904"/>
                    </a:lnTo>
                    <a:lnTo>
                      <a:pt x="365" y="889"/>
                    </a:lnTo>
                    <a:lnTo>
                      <a:pt x="350" y="873"/>
                    </a:lnTo>
                    <a:lnTo>
                      <a:pt x="321" y="837"/>
                    </a:lnTo>
                    <a:lnTo>
                      <a:pt x="292" y="799"/>
                    </a:lnTo>
                    <a:lnTo>
                      <a:pt x="263" y="757"/>
                    </a:lnTo>
                    <a:lnTo>
                      <a:pt x="234" y="712"/>
                    </a:lnTo>
                    <a:lnTo>
                      <a:pt x="203" y="663"/>
                    </a:lnTo>
                    <a:lnTo>
                      <a:pt x="174" y="612"/>
                    </a:lnTo>
                    <a:lnTo>
                      <a:pt x="144" y="557"/>
                    </a:lnTo>
                    <a:lnTo>
                      <a:pt x="115" y="499"/>
                    </a:lnTo>
                    <a:lnTo>
                      <a:pt x="94" y="458"/>
                    </a:lnTo>
                    <a:lnTo>
                      <a:pt x="76" y="417"/>
                    </a:lnTo>
                    <a:lnTo>
                      <a:pt x="60" y="377"/>
                    </a:lnTo>
                    <a:lnTo>
                      <a:pt x="46" y="339"/>
                    </a:lnTo>
                    <a:lnTo>
                      <a:pt x="33" y="303"/>
                    </a:lnTo>
                    <a:lnTo>
                      <a:pt x="22" y="267"/>
                    </a:lnTo>
                    <a:lnTo>
                      <a:pt x="14" y="233"/>
                    </a:lnTo>
                    <a:lnTo>
                      <a:pt x="7" y="200"/>
                    </a:lnTo>
                    <a:lnTo>
                      <a:pt x="3" y="169"/>
                    </a:lnTo>
                    <a:lnTo>
                      <a:pt x="0" y="140"/>
                    </a:lnTo>
                    <a:lnTo>
                      <a:pt x="0" y="113"/>
                    </a:lnTo>
                    <a:lnTo>
                      <a:pt x="1" y="87"/>
                    </a:lnTo>
                    <a:lnTo>
                      <a:pt x="4" y="75"/>
                    </a:lnTo>
                    <a:lnTo>
                      <a:pt x="6" y="63"/>
                    </a:lnTo>
                    <a:lnTo>
                      <a:pt x="8" y="52"/>
                    </a:lnTo>
                    <a:lnTo>
                      <a:pt x="11" y="41"/>
                    </a:lnTo>
                    <a:lnTo>
                      <a:pt x="14" y="32"/>
                    </a:lnTo>
                    <a:lnTo>
                      <a:pt x="19" y="23"/>
                    </a:lnTo>
                    <a:lnTo>
                      <a:pt x="24" y="14"/>
                    </a:lnTo>
                    <a:lnTo>
                      <a:pt x="28" y="6"/>
                    </a:lnTo>
                    <a:lnTo>
                      <a:pt x="33" y="2"/>
                    </a:lnTo>
                    <a:lnTo>
                      <a:pt x="37" y="0"/>
                    </a:lnTo>
                    <a:lnTo>
                      <a:pt x="42" y="0"/>
                    </a:lnTo>
                    <a:lnTo>
                      <a:pt x="48" y="3"/>
                    </a:lnTo>
                    <a:lnTo>
                      <a:pt x="51" y="6"/>
                    </a:lnTo>
                    <a:lnTo>
                      <a:pt x="53" y="11"/>
                    </a:lnTo>
                    <a:lnTo>
                      <a:pt x="53" y="17"/>
                    </a:lnTo>
                    <a:lnTo>
                      <a:pt x="51" y="21"/>
                    </a:lnTo>
                    <a:lnTo>
                      <a:pt x="47" y="28"/>
                    </a:lnTo>
                    <a:lnTo>
                      <a:pt x="42" y="36"/>
                    </a:lnTo>
                    <a:lnTo>
                      <a:pt x="38" y="45"/>
                    </a:lnTo>
                    <a:lnTo>
                      <a:pt x="35" y="54"/>
                    </a:lnTo>
                    <a:lnTo>
                      <a:pt x="33" y="64"/>
                    </a:lnTo>
                    <a:lnTo>
                      <a:pt x="31" y="74"/>
                    </a:lnTo>
                    <a:lnTo>
                      <a:pt x="28" y="85"/>
                    </a:lnTo>
                    <a:lnTo>
                      <a:pt x="27" y="95"/>
                    </a:lnTo>
                    <a:lnTo>
                      <a:pt x="26" y="120"/>
                    </a:lnTo>
                    <a:lnTo>
                      <a:pt x="27" y="146"/>
                    </a:lnTo>
                    <a:lnTo>
                      <a:pt x="31" y="173"/>
                    </a:lnTo>
                    <a:lnTo>
                      <a:pt x="35" y="202"/>
                    </a:lnTo>
                    <a:lnTo>
                      <a:pt x="41" y="234"/>
                    </a:lnTo>
                    <a:lnTo>
                      <a:pt x="50" y="266"/>
                    </a:lnTo>
                    <a:lnTo>
                      <a:pt x="61" y="301"/>
                    </a:lnTo>
                    <a:lnTo>
                      <a:pt x="73" y="335"/>
                    </a:lnTo>
                    <a:lnTo>
                      <a:pt x="87" y="372"/>
                    </a:lnTo>
                    <a:lnTo>
                      <a:pt x="102" y="410"/>
                    </a:lnTo>
                    <a:lnTo>
                      <a:pt x="119" y="448"/>
                    </a:lnTo>
                    <a:lnTo>
                      <a:pt x="139" y="487"/>
                    </a:lnTo>
                    <a:lnTo>
                      <a:pt x="168" y="544"/>
                    </a:lnTo>
                    <a:lnTo>
                      <a:pt x="197" y="597"/>
                    </a:lnTo>
                    <a:lnTo>
                      <a:pt x="225" y="648"/>
                    </a:lnTo>
                    <a:lnTo>
                      <a:pt x="254" y="695"/>
                    </a:lnTo>
                    <a:lnTo>
                      <a:pt x="282" y="739"/>
                    </a:lnTo>
                    <a:lnTo>
                      <a:pt x="311" y="780"/>
                    </a:lnTo>
                    <a:lnTo>
                      <a:pt x="339" y="817"/>
                    </a:lnTo>
                    <a:lnTo>
                      <a:pt x="368" y="851"/>
                    </a:lnTo>
                    <a:lnTo>
                      <a:pt x="396" y="882"/>
                    </a:lnTo>
                    <a:lnTo>
                      <a:pt x="424" y="909"/>
                    </a:lnTo>
                    <a:lnTo>
                      <a:pt x="437" y="922"/>
                    </a:lnTo>
                    <a:lnTo>
                      <a:pt x="451" y="934"/>
                    </a:lnTo>
                    <a:lnTo>
                      <a:pt x="465" y="945"/>
                    </a:lnTo>
                    <a:lnTo>
                      <a:pt x="479" y="956"/>
                    </a:lnTo>
                    <a:lnTo>
                      <a:pt x="492" y="965"/>
                    </a:lnTo>
                    <a:lnTo>
                      <a:pt x="506" y="974"/>
                    </a:lnTo>
                    <a:lnTo>
                      <a:pt x="519" y="982"/>
                    </a:lnTo>
                    <a:lnTo>
                      <a:pt x="533" y="988"/>
                    </a:lnTo>
                    <a:lnTo>
                      <a:pt x="546" y="995"/>
                    </a:lnTo>
                    <a:lnTo>
                      <a:pt x="560" y="1000"/>
                    </a:lnTo>
                    <a:lnTo>
                      <a:pt x="573" y="1004"/>
                    </a:lnTo>
                    <a:lnTo>
                      <a:pt x="586" y="1008"/>
                    </a:lnTo>
                    <a:lnTo>
                      <a:pt x="617" y="1015"/>
                    </a:lnTo>
                    <a:lnTo>
                      <a:pt x="648" y="1022"/>
                    </a:lnTo>
                    <a:lnTo>
                      <a:pt x="680" y="1027"/>
                    </a:lnTo>
                    <a:lnTo>
                      <a:pt x="710" y="1031"/>
                    </a:lnTo>
                    <a:lnTo>
                      <a:pt x="740" y="1035"/>
                    </a:lnTo>
                    <a:lnTo>
                      <a:pt x="770" y="1038"/>
                    </a:lnTo>
                    <a:lnTo>
                      <a:pt x="799" y="1039"/>
                    </a:lnTo>
                    <a:lnTo>
                      <a:pt x="830" y="1040"/>
                    </a:lnTo>
                    <a:lnTo>
                      <a:pt x="859" y="1041"/>
                    </a:lnTo>
                    <a:lnTo>
                      <a:pt x="888" y="1040"/>
                    </a:lnTo>
                    <a:lnTo>
                      <a:pt x="917" y="1040"/>
                    </a:lnTo>
                    <a:lnTo>
                      <a:pt x="945" y="1038"/>
                    </a:lnTo>
                    <a:lnTo>
                      <a:pt x="973" y="1036"/>
                    </a:lnTo>
                    <a:lnTo>
                      <a:pt x="1002" y="1033"/>
                    </a:lnTo>
                    <a:lnTo>
                      <a:pt x="1029" y="1030"/>
                    </a:lnTo>
                    <a:lnTo>
                      <a:pt x="1058" y="1026"/>
                    </a:lnTo>
                    <a:lnTo>
                      <a:pt x="1113" y="1017"/>
                    </a:lnTo>
                    <a:lnTo>
                      <a:pt x="1167" y="1007"/>
                    </a:lnTo>
                    <a:lnTo>
                      <a:pt x="1219" y="995"/>
                    </a:lnTo>
                    <a:lnTo>
                      <a:pt x="1272" y="982"/>
                    </a:lnTo>
                    <a:lnTo>
                      <a:pt x="1323" y="968"/>
                    </a:lnTo>
                    <a:lnTo>
                      <a:pt x="1374" y="954"/>
                    </a:lnTo>
                    <a:lnTo>
                      <a:pt x="1424" y="938"/>
                    </a:lnTo>
                    <a:lnTo>
                      <a:pt x="1472" y="924"/>
                    </a:lnTo>
                    <a:lnTo>
                      <a:pt x="1506" y="914"/>
                    </a:lnTo>
                    <a:lnTo>
                      <a:pt x="1535" y="905"/>
                    </a:lnTo>
                    <a:lnTo>
                      <a:pt x="1565" y="896"/>
                    </a:lnTo>
                    <a:lnTo>
                      <a:pt x="1595" y="889"/>
                    </a:lnTo>
                    <a:lnTo>
                      <a:pt x="1627" y="880"/>
                    </a:lnTo>
                    <a:lnTo>
                      <a:pt x="1658" y="873"/>
                    </a:lnTo>
                    <a:lnTo>
                      <a:pt x="1689" y="865"/>
                    </a:lnTo>
                    <a:lnTo>
                      <a:pt x="1721" y="859"/>
                    </a:lnTo>
                    <a:lnTo>
                      <a:pt x="1752" y="853"/>
                    </a:lnTo>
                    <a:lnTo>
                      <a:pt x="1779" y="849"/>
                    </a:lnTo>
                    <a:lnTo>
                      <a:pt x="1804" y="846"/>
                    </a:lnTo>
                    <a:lnTo>
                      <a:pt x="1827" y="842"/>
                    </a:lnTo>
                    <a:lnTo>
                      <a:pt x="1851" y="841"/>
                    </a:lnTo>
                    <a:lnTo>
                      <a:pt x="1874" y="839"/>
                    </a:lnTo>
                    <a:lnTo>
                      <a:pt x="1895" y="839"/>
                    </a:lnTo>
                    <a:lnTo>
                      <a:pt x="1916" y="839"/>
                    </a:lnTo>
                    <a:lnTo>
                      <a:pt x="1936" y="839"/>
                    </a:lnTo>
                    <a:lnTo>
                      <a:pt x="1956" y="840"/>
                    </a:lnTo>
                    <a:lnTo>
                      <a:pt x="1974" y="842"/>
                    </a:lnTo>
                    <a:lnTo>
                      <a:pt x="1993" y="846"/>
                    </a:lnTo>
                    <a:lnTo>
                      <a:pt x="2010" y="849"/>
                    </a:lnTo>
                    <a:lnTo>
                      <a:pt x="2026" y="853"/>
                    </a:lnTo>
                    <a:lnTo>
                      <a:pt x="2042" y="858"/>
                    </a:lnTo>
                    <a:lnTo>
                      <a:pt x="2059" y="863"/>
                    </a:lnTo>
                    <a:lnTo>
                      <a:pt x="2074" y="869"/>
                    </a:lnTo>
                    <a:lnTo>
                      <a:pt x="2091" y="878"/>
                    </a:lnTo>
                    <a:lnTo>
                      <a:pt x="2106" y="887"/>
                    </a:lnTo>
                    <a:lnTo>
                      <a:pt x="2121" y="895"/>
                    </a:lnTo>
                    <a:lnTo>
                      <a:pt x="2135" y="905"/>
                    </a:lnTo>
                    <a:lnTo>
                      <a:pt x="2147" y="915"/>
                    </a:lnTo>
                    <a:lnTo>
                      <a:pt x="2159" y="926"/>
                    </a:lnTo>
                    <a:lnTo>
                      <a:pt x="2170" y="936"/>
                    </a:lnTo>
                    <a:lnTo>
                      <a:pt x="2179" y="947"/>
                    </a:lnTo>
                    <a:lnTo>
                      <a:pt x="2198" y="970"/>
                    </a:lnTo>
                    <a:lnTo>
                      <a:pt x="2213" y="992"/>
                    </a:lnTo>
                    <a:lnTo>
                      <a:pt x="2227" y="1015"/>
                    </a:lnTo>
                    <a:lnTo>
                      <a:pt x="2240" y="1038"/>
                    </a:lnTo>
                    <a:lnTo>
                      <a:pt x="2249" y="1053"/>
                    </a:lnTo>
                    <a:lnTo>
                      <a:pt x="2257" y="1068"/>
                    </a:lnTo>
                    <a:lnTo>
                      <a:pt x="2266" y="1082"/>
                    </a:lnTo>
                    <a:lnTo>
                      <a:pt x="2276" y="1095"/>
                    </a:lnTo>
                    <a:lnTo>
                      <a:pt x="2285" y="1108"/>
                    </a:lnTo>
                    <a:lnTo>
                      <a:pt x="2296" y="1119"/>
                    </a:lnTo>
                    <a:lnTo>
                      <a:pt x="2308" y="1128"/>
                    </a:lnTo>
                    <a:lnTo>
                      <a:pt x="2322" y="1136"/>
                    </a:lnTo>
                    <a:lnTo>
                      <a:pt x="2363" y="1160"/>
                    </a:lnTo>
                    <a:lnTo>
                      <a:pt x="2401" y="1182"/>
                    </a:lnTo>
                    <a:lnTo>
                      <a:pt x="2435" y="1206"/>
                    </a:lnTo>
                    <a:lnTo>
                      <a:pt x="2469" y="1228"/>
                    </a:lnTo>
                    <a:lnTo>
                      <a:pt x="2477" y="1234"/>
                    </a:lnTo>
                    <a:lnTo>
                      <a:pt x="2485" y="1240"/>
                    </a:lnTo>
                    <a:lnTo>
                      <a:pt x="2494" y="1245"/>
                    </a:lnTo>
                    <a:lnTo>
                      <a:pt x="2502" y="1250"/>
                    </a:lnTo>
                    <a:lnTo>
                      <a:pt x="2511" y="1257"/>
                    </a:lnTo>
                    <a:lnTo>
                      <a:pt x="2521" y="1263"/>
                    </a:lnTo>
                    <a:lnTo>
                      <a:pt x="2528" y="1270"/>
                    </a:lnTo>
                    <a:lnTo>
                      <a:pt x="2536" y="1275"/>
                    </a:lnTo>
                    <a:lnTo>
                      <a:pt x="2547" y="1283"/>
                    </a:lnTo>
                    <a:lnTo>
                      <a:pt x="2557" y="1290"/>
                    </a:lnTo>
                    <a:lnTo>
                      <a:pt x="2566" y="1296"/>
                    </a:lnTo>
                    <a:lnTo>
                      <a:pt x="2572" y="1297"/>
                    </a:lnTo>
                    <a:lnTo>
                      <a:pt x="2578" y="1297"/>
                    </a:lnTo>
                    <a:lnTo>
                      <a:pt x="2582" y="1298"/>
                    </a:lnTo>
                    <a:lnTo>
                      <a:pt x="2587" y="1301"/>
                    </a:lnTo>
                    <a:lnTo>
                      <a:pt x="2589" y="1306"/>
                    </a:lnTo>
                    <a:lnTo>
                      <a:pt x="2590" y="1311"/>
                    </a:lnTo>
                    <a:lnTo>
                      <a:pt x="2589" y="1316"/>
                    </a:lnTo>
                    <a:lnTo>
                      <a:pt x="2585" y="1321"/>
                    </a:lnTo>
                    <a:lnTo>
                      <a:pt x="2581" y="1323"/>
                    </a:lnTo>
                    <a:lnTo>
                      <a:pt x="2576" y="1324"/>
                    </a:lnTo>
                    <a:lnTo>
                      <a:pt x="2571" y="13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9"/>
              <p:cNvSpPr>
                <a:spLocks/>
              </p:cNvSpPr>
              <p:nvPr userDrawn="1"/>
            </p:nvSpPr>
            <p:spPr bwMode="auto">
              <a:xfrm>
                <a:off x="1964" y="1320"/>
                <a:ext cx="871" cy="444"/>
              </a:xfrm>
              <a:custGeom>
                <a:avLst/>
                <a:gdLst>
                  <a:gd name="T0" fmla="*/ 2567 w 2614"/>
                  <a:gd name="T1" fmla="*/ 1324 h 1331"/>
                  <a:gd name="T2" fmla="*/ 2488 w 2614"/>
                  <a:gd name="T3" fmla="*/ 1283 h 1331"/>
                  <a:gd name="T4" fmla="*/ 2381 w 2614"/>
                  <a:gd name="T5" fmla="*/ 1221 h 1331"/>
                  <a:gd name="T6" fmla="*/ 2276 w 2614"/>
                  <a:gd name="T7" fmla="*/ 1159 h 1331"/>
                  <a:gd name="T8" fmla="*/ 2185 w 2614"/>
                  <a:gd name="T9" fmla="*/ 1052 h 1331"/>
                  <a:gd name="T10" fmla="*/ 2115 w 2614"/>
                  <a:gd name="T11" fmla="*/ 986 h 1331"/>
                  <a:gd name="T12" fmla="*/ 2043 w 2614"/>
                  <a:gd name="T13" fmla="*/ 947 h 1331"/>
                  <a:gd name="T14" fmla="*/ 1966 w 2614"/>
                  <a:gd name="T15" fmla="*/ 924 h 1331"/>
                  <a:gd name="T16" fmla="*/ 1874 w 2614"/>
                  <a:gd name="T17" fmla="*/ 916 h 1331"/>
                  <a:gd name="T18" fmla="*/ 1705 w 2614"/>
                  <a:gd name="T19" fmla="*/ 928 h 1331"/>
                  <a:gd name="T20" fmla="*/ 1549 w 2614"/>
                  <a:gd name="T21" fmla="*/ 957 h 1331"/>
                  <a:gd name="T22" fmla="*/ 1431 w 2614"/>
                  <a:gd name="T23" fmla="*/ 985 h 1331"/>
                  <a:gd name="T24" fmla="*/ 1217 w 2614"/>
                  <a:gd name="T25" fmla="*/ 1036 h 1331"/>
                  <a:gd name="T26" fmla="*/ 957 w 2614"/>
                  <a:gd name="T27" fmla="*/ 1074 h 1331"/>
                  <a:gd name="T28" fmla="*/ 792 w 2614"/>
                  <a:gd name="T29" fmla="*/ 1078 h 1331"/>
                  <a:gd name="T30" fmla="*/ 649 w 2614"/>
                  <a:gd name="T31" fmla="*/ 1064 h 1331"/>
                  <a:gd name="T32" fmla="*/ 523 w 2614"/>
                  <a:gd name="T33" fmla="*/ 1032 h 1331"/>
                  <a:gd name="T34" fmla="*/ 430 w 2614"/>
                  <a:gd name="T35" fmla="*/ 975 h 1331"/>
                  <a:gd name="T36" fmla="*/ 345 w 2614"/>
                  <a:gd name="T37" fmla="*/ 891 h 1331"/>
                  <a:gd name="T38" fmla="*/ 253 w 2614"/>
                  <a:gd name="T39" fmla="*/ 769 h 1331"/>
                  <a:gd name="T40" fmla="*/ 137 w 2614"/>
                  <a:gd name="T41" fmla="*/ 567 h 1331"/>
                  <a:gd name="T42" fmla="*/ 49 w 2614"/>
                  <a:gd name="T43" fmla="*/ 365 h 1331"/>
                  <a:gd name="T44" fmla="*/ 5 w 2614"/>
                  <a:gd name="T45" fmla="*/ 188 h 1331"/>
                  <a:gd name="T46" fmla="*/ 2 w 2614"/>
                  <a:gd name="T47" fmla="*/ 104 h 1331"/>
                  <a:gd name="T48" fmla="*/ 19 w 2614"/>
                  <a:gd name="T49" fmla="*/ 31 h 1331"/>
                  <a:gd name="T50" fmla="*/ 47 w 2614"/>
                  <a:gd name="T51" fmla="*/ 0 h 1331"/>
                  <a:gd name="T52" fmla="*/ 56 w 2614"/>
                  <a:gd name="T53" fmla="*/ 21 h 1331"/>
                  <a:gd name="T54" fmla="*/ 35 w 2614"/>
                  <a:gd name="T55" fmla="*/ 64 h 1331"/>
                  <a:gd name="T56" fmla="*/ 27 w 2614"/>
                  <a:gd name="T57" fmla="*/ 146 h 1331"/>
                  <a:gd name="T58" fmla="*/ 57 w 2614"/>
                  <a:gd name="T59" fmla="*/ 300 h 1331"/>
                  <a:gd name="T60" fmla="*/ 130 w 2614"/>
                  <a:gd name="T61" fmla="*/ 493 h 1331"/>
                  <a:gd name="T62" fmla="*/ 222 w 2614"/>
                  <a:gd name="T63" fmla="*/ 669 h 1331"/>
                  <a:gd name="T64" fmla="*/ 330 w 2614"/>
                  <a:gd name="T65" fmla="*/ 832 h 1331"/>
                  <a:gd name="T66" fmla="*/ 410 w 2614"/>
                  <a:gd name="T67" fmla="*/ 921 h 1331"/>
                  <a:gd name="T68" fmla="*/ 496 w 2614"/>
                  <a:gd name="T69" fmla="*/ 989 h 1331"/>
                  <a:gd name="T70" fmla="*/ 597 w 2614"/>
                  <a:gd name="T71" fmla="*/ 1026 h 1331"/>
                  <a:gd name="T72" fmla="*/ 738 w 2614"/>
                  <a:gd name="T73" fmla="*/ 1047 h 1331"/>
                  <a:gd name="T74" fmla="*/ 873 w 2614"/>
                  <a:gd name="T75" fmla="*/ 1053 h 1331"/>
                  <a:gd name="T76" fmla="*/ 1107 w 2614"/>
                  <a:gd name="T77" fmla="*/ 1029 h 1331"/>
                  <a:gd name="T78" fmla="*/ 1356 w 2614"/>
                  <a:gd name="T79" fmla="*/ 976 h 1331"/>
                  <a:gd name="T80" fmla="*/ 1486 w 2614"/>
                  <a:gd name="T81" fmla="*/ 944 h 1331"/>
                  <a:gd name="T82" fmla="*/ 1636 w 2614"/>
                  <a:gd name="T83" fmla="*/ 911 h 1331"/>
                  <a:gd name="T84" fmla="*/ 1832 w 2614"/>
                  <a:gd name="T85" fmla="*/ 890 h 1331"/>
                  <a:gd name="T86" fmla="*/ 1935 w 2614"/>
                  <a:gd name="T87" fmla="*/ 893 h 1331"/>
                  <a:gd name="T88" fmla="*/ 2023 w 2614"/>
                  <a:gd name="T89" fmla="*/ 910 h 1331"/>
                  <a:gd name="T90" fmla="*/ 2103 w 2614"/>
                  <a:gd name="T91" fmla="*/ 946 h 1331"/>
                  <a:gd name="T92" fmla="*/ 2165 w 2614"/>
                  <a:gd name="T93" fmla="*/ 992 h 1331"/>
                  <a:gd name="T94" fmla="*/ 2259 w 2614"/>
                  <a:gd name="T95" fmla="*/ 1101 h 1331"/>
                  <a:gd name="T96" fmla="*/ 2332 w 2614"/>
                  <a:gd name="T97" fmla="*/ 1165 h 1331"/>
                  <a:gd name="T98" fmla="*/ 2467 w 2614"/>
                  <a:gd name="T99" fmla="*/ 1240 h 1331"/>
                  <a:gd name="T100" fmla="*/ 2546 w 2614"/>
                  <a:gd name="T101" fmla="*/ 1283 h 1331"/>
                  <a:gd name="T102" fmla="*/ 2593 w 2614"/>
                  <a:gd name="T103" fmla="*/ 1304 h 1331"/>
                  <a:gd name="T104" fmla="*/ 2614 w 2614"/>
                  <a:gd name="T105" fmla="*/ 1312 h 1331"/>
                  <a:gd name="T106" fmla="*/ 2600 w 2614"/>
                  <a:gd name="T107" fmla="*/ 1330 h 1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14" h="1331">
                    <a:moveTo>
                      <a:pt x="2593" y="1331"/>
                    </a:moveTo>
                    <a:lnTo>
                      <a:pt x="2588" y="1330"/>
                    </a:lnTo>
                    <a:lnTo>
                      <a:pt x="2581" y="1329"/>
                    </a:lnTo>
                    <a:lnTo>
                      <a:pt x="2574" y="1327"/>
                    </a:lnTo>
                    <a:lnTo>
                      <a:pt x="2567" y="1324"/>
                    </a:lnTo>
                    <a:lnTo>
                      <a:pt x="2551" y="1316"/>
                    </a:lnTo>
                    <a:lnTo>
                      <a:pt x="2533" y="1307"/>
                    </a:lnTo>
                    <a:lnTo>
                      <a:pt x="2520" y="1299"/>
                    </a:lnTo>
                    <a:lnTo>
                      <a:pt x="2505" y="1291"/>
                    </a:lnTo>
                    <a:lnTo>
                      <a:pt x="2488" y="1283"/>
                    </a:lnTo>
                    <a:lnTo>
                      <a:pt x="2471" y="1273"/>
                    </a:lnTo>
                    <a:lnTo>
                      <a:pt x="2454" y="1263"/>
                    </a:lnTo>
                    <a:lnTo>
                      <a:pt x="2435" y="1253"/>
                    </a:lnTo>
                    <a:lnTo>
                      <a:pt x="2410" y="1237"/>
                    </a:lnTo>
                    <a:lnTo>
                      <a:pt x="2381" y="1221"/>
                    </a:lnTo>
                    <a:lnTo>
                      <a:pt x="2351" y="1205"/>
                    </a:lnTo>
                    <a:lnTo>
                      <a:pt x="2320" y="1189"/>
                    </a:lnTo>
                    <a:lnTo>
                      <a:pt x="2304" y="1180"/>
                    </a:lnTo>
                    <a:lnTo>
                      <a:pt x="2289" y="1169"/>
                    </a:lnTo>
                    <a:lnTo>
                      <a:pt x="2276" y="1159"/>
                    </a:lnTo>
                    <a:lnTo>
                      <a:pt x="2263" y="1146"/>
                    </a:lnTo>
                    <a:lnTo>
                      <a:pt x="2239" y="1119"/>
                    </a:lnTo>
                    <a:lnTo>
                      <a:pt x="2216" y="1091"/>
                    </a:lnTo>
                    <a:lnTo>
                      <a:pt x="2201" y="1071"/>
                    </a:lnTo>
                    <a:lnTo>
                      <a:pt x="2185" y="1052"/>
                    </a:lnTo>
                    <a:lnTo>
                      <a:pt x="2168" y="1032"/>
                    </a:lnTo>
                    <a:lnTo>
                      <a:pt x="2148" y="1013"/>
                    </a:lnTo>
                    <a:lnTo>
                      <a:pt x="2137" y="1004"/>
                    </a:lnTo>
                    <a:lnTo>
                      <a:pt x="2127" y="995"/>
                    </a:lnTo>
                    <a:lnTo>
                      <a:pt x="2115" y="986"/>
                    </a:lnTo>
                    <a:lnTo>
                      <a:pt x="2102" y="977"/>
                    </a:lnTo>
                    <a:lnTo>
                      <a:pt x="2089" y="969"/>
                    </a:lnTo>
                    <a:lnTo>
                      <a:pt x="2075" y="961"/>
                    </a:lnTo>
                    <a:lnTo>
                      <a:pt x="2060" y="954"/>
                    </a:lnTo>
                    <a:lnTo>
                      <a:pt x="2043" y="947"/>
                    </a:lnTo>
                    <a:lnTo>
                      <a:pt x="2029" y="942"/>
                    </a:lnTo>
                    <a:lnTo>
                      <a:pt x="2014" y="936"/>
                    </a:lnTo>
                    <a:lnTo>
                      <a:pt x="1998" y="932"/>
                    </a:lnTo>
                    <a:lnTo>
                      <a:pt x="1983" y="928"/>
                    </a:lnTo>
                    <a:lnTo>
                      <a:pt x="1966" y="924"/>
                    </a:lnTo>
                    <a:lnTo>
                      <a:pt x="1948" y="922"/>
                    </a:lnTo>
                    <a:lnTo>
                      <a:pt x="1931" y="920"/>
                    </a:lnTo>
                    <a:lnTo>
                      <a:pt x="1913" y="918"/>
                    </a:lnTo>
                    <a:lnTo>
                      <a:pt x="1893" y="917"/>
                    </a:lnTo>
                    <a:lnTo>
                      <a:pt x="1874" y="916"/>
                    </a:lnTo>
                    <a:lnTo>
                      <a:pt x="1853" y="916"/>
                    </a:lnTo>
                    <a:lnTo>
                      <a:pt x="1832" y="917"/>
                    </a:lnTo>
                    <a:lnTo>
                      <a:pt x="1786" y="919"/>
                    </a:lnTo>
                    <a:lnTo>
                      <a:pt x="1738" y="923"/>
                    </a:lnTo>
                    <a:lnTo>
                      <a:pt x="1705" y="928"/>
                    </a:lnTo>
                    <a:lnTo>
                      <a:pt x="1672" y="933"/>
                    </a:lnTo>
                    <a:lnTo>
                      <a:pt x="1641" y="938"/>
                    </a:lnTo>
                    <a:lnTo>
                      <a:pt x="1609" y="944"/>
                    </a:lnTo>
                    <a:lnTo>
                      <a:pt x="1578" y="950"/>
                    </a:lnTo>
                    <a:lnTo>
                      <a:pt x="1549" y="957"/>
                    </a:lnTo>
                    <a:lnTo>
                      <a:pt x="1520" y="963"/>
                    </a:lnTo>
                    <a:lnTo>
                      <a:pt x="1493" y="970"/>
                    </a:lnTo>
                    <a:lnTo>
                      <a:pt x="1472" y="975"/>
                    </a:lnTo>
                    <a:lnTo>
                      <a:pt x="1452" y="979"/>
                    </a:lnTo>
                    <a:lnTo>
                      <a:pt x="1431" y="985"/>
                    </a:lnTo>
                    <a:lnTo>
                      <a:pt x="1411" y="990"/>
                    </a:lnTo>
                    <a:lnTo>
                      <a:pt x="1364" y="1002"/>
                    </a:lnTo>
                    <a:lnTo>
                      <a:pt x="1316" y="1013"/>
                    </a:lnTo>
                    <a:lnTo>
                      <a:pt x="1267" y="1025"/>
                    </a:lnTo>
                    <a:lnTo>
                      <a:pt x="1217" y="1036"/>
                    </a:lnTo>
                    <a:lnTo>
                      <a:pt x="1167" y="1046"/>
                    </a:lnTo>
                    <a:lnTo>
                      <a:pt x="1116" y="1055"/>
                    </a:lnTo>
                    <a:lnTo>
                      <a:pt x="1063" y="1064"/>
                    </a:lnTo>
                    <a:lnTo>
                      <a:pt x="1011" y="1070"/>
                    </a:lnTo>
                    <a:lnTo>
                      <a:pt x="957" y="1074"/>
                    </a:lnTo>
                    <a:lnTo>
                      <a:pt x="903" y="1078"/>
                    </a:lnTo>
                    <a:lnTo>
                      <a:pt x="875" y="1079"/>
                    </a:lnTo>
                    <a:lnTo>
                      <a:pt x="848" y="1079"/>
                    </a:lnTo>
                    <a:lnTo>
                      <a:pt x="820" y="1079"/>
                    </a:lnTo>
                    <a:lnTo>
                      <a:pt x="792" y="1078"/>
                    </a:lnTo>
                    <a:lnTo>
                      <a:pt x="764" y="1077"/>
                    </a:lnTo>
                    <a:lnTo>
                      <a:pt x="736" y="1074"/>
                    </a:lnTo>
                    <a:lnTo>
                      <a:pt x="707" y="1071"/>
                    </a:lnTo>
                    <a:lnTo>
                      <a:pt x="679" y="1068"/>
                    </a:lnTo>
                    <a:lnTo>
                      <a:pt x="649" y="1064"/>
                    </a:lnTo>
                    <a:lnTo>
                      <a:pt x="620" y="1058"/>
                    </a:lnTo>
                    <a:lnTo>
                      <a:pt x="591" y="1053"/>
                    </a:lnTo>
                    <a:lnTo>
                      <a:pt x="561" y="1045"/>
                    </a:lnTo>
                    <a:lnTo>
                      <a:pt x="543" y="1040"/>
                    </a:lnTo>
                    <a:lnTo>
                      <a:pt x="523" y="1032"/>
                    </a:lnTo>
                    <a:lnTo>
                      <a:pt x="504" y="1024"/>
                    </a:lnTo>
                    <a:lnTo>
                      <a:pt x="485" y="1014"/>
                    </a:lnTo>
                    <a:lnTo>
                      <a:pt x="467" y="1002"/>
                    </a:lnTo>
                    <a:lnTo>
                      <a:pt x="449" y="989"/>
                    </a:lnTo>
                    <a:lnTo>
                      <a:pt x="430" y="975"/>
                    </a:lnTo>
                    <a:lnTo>
                      <a:pt x="413" y="960"/>
                    </a:lnTo>
                    <a:lnTo>
                      <a:pt x="395" y="944"/>
                    </a:lnTo>
                    <a:lnTo>
                      <a:pt x="378" y="927"/>
                    </a:lnTo>
                    <a:lnTo>
                      <a:pt x="361" y="909"/>
                    </a:lnTo>
                    <a:lnTo>
                      <a:pt x="345" y="891"/>
                    </a:lnTo>
                    <a:lnTo>
                      <a:pt x="328" y="872"/>
                    </a:lnTo>
                    <a:lnTo>
                      <a:pt x="313" y="852"/>
                    </a:lnTo>
                    <a:lnTo>
                      <a:pt x="296" y="832"/>
                    </a:lnTo>
                    <a:lnTo>
                      <a:pt x="281" y="811"/>
                    </a:lnTo>
                    <a:lnTo>
                      <a:pt x="253" y="769"/>
                    </a:lnTo>
                    <a:lnTo>
                      <a:pt x="225" y="726"/>
                    </a:lnTo>
                    <a:lnTo>
                      <a:pt x="200" y="684"/>
                    </a:lnTo>
                    <a:lnTo>
                      <a:pt x="176" y="643"/>
                    </a:lnTo>
                    <a:lnTo>
                      <a:pt x="156" y="604"/>
                    </a:lnTo>
                    <a:lnTo>
                      <a:pt x="137" y="567"/>
                    </a:lnTo>
                    <a:lnTo>
                      <a:pt x="120" y="534"/>
                    </a:lnTo>
                    <a:lnTo>
                      <a:pt x="106" y="505"/>
                    </a:lnTo>
                    <a:lnTo>
                      <a:pt x="85" y="456"/>
                    </a:lnTo>
                    <a:lnTo>
                      <a:pt x="61" y="398"/>
                    </a:lnTo>
                    <a:lnTo>
                      <a:pt x="49" y="365"/>
                    </a:lnTo>
                    <a:lnTo>
                      <a:pt x="38" y="331"/>
                    </a:lnTo>
                    <a:lnTo>
                      <a:pt x="27" y="296"/>
                    </a:lnTo>
                    <a:lnTo>
                      <a:pt x="18" y="259"/>
                    </a:lnTo>
                    <a:lnTo>
                      <a:pt x="10" y="224"/>
                    </a:lnTo>
                    <a:lnTo>
                      <a:pt x="5" y="188"/>
                    </a:lnTo>
                    <a:lnTo>
                      <a:pt x="3" y="171"/>
                    </a:lnTo>
                    <a:lnTo>
                      <a:pt x="2" y="154"/>
                    </a:lnTo>
                    <a:lnTo>
                      <a:pt x="0" y="136"/>
                    </a:lnTo>
                    <a:lnTo>
                      <a:pt x="0" y="120"/>
                    </a:lnTo>
                    <a:lnTo>
                      <a:pt x="2" y="104"/>
                    </a:lnTo>
                    <a:lnTo>
                      <a:pt x="4" y="88"/>
                    </a:lnTo>
                    <a:lnTo>
                      <a:pt x="6" y="73"/>
                    </a:lnTo>
                    <a:lnTo>
                      <a:pt x="9" y="58"/>
                    </a:lnTo>
                    <a:lnTo>
                      <a:pt x="13" y="44"/>
                    </a:lnTo>
                    <a:lnTo>
                      <a:pt x="19" y="31"/>
                    </a:lnTo>
                    <a:lnTo>
                      <a:pt x="25" y="18"/>
                    </a:lnTo>
                    <a:lnTo>
                      <a:pt x="33" y="6"/>
                    </a:lnTo>
                    <a:lnTo>
                      <a:pt x="37" y="1"/>
                    </a:lnTo>
                    <a:lnTo>
                      <a:pt x="41" y="0"/>
                    </a:lnTo>
                    <a:lnTo>
                      <a:pt x="47" y="0"/>
                    </a:lnTo>
                    <a:lnTo>
                      <a:pt x="52" y="3"/>
                    </a:lnTo>
                    <a:lnTo>
                      <a:pt x="56" y="6"/>
                    </a:lnTo>
                    <a:lnTo>
                      <a:pt x="58" y="11"/>
                    </a:lnTo>
                    <a:lnTo>
                      <a:pt x="58" y="17"/>
                    </a:lnTo>
                    <a:lnTo>
                      <a:pt x="56" y="21"/>
                    </a:lnTo>
                    <a:lnTo>
                      <a:pt x="50" y="28"/>
                    </a:lnTo>
                    <a:lnTo>
                      <a:pt x="46" y="37"/>
                    </a:lnTo>
                    <a:lnTo>
                      <a:pt x="41" y="46"/>
                    </a:lnTo>
                    <a:lnTo>
                      <a:pt x="38" y="54"/>
                    </a:lnTo>
                    <a:lnTo>
                      <a:pt x="35" y="64"/>
                    </a:lnTo>
                    <a:lnTo>
                      <a:pt x="33" y="75"/>
                    </a:lnTo>
                    <a:lnTo>
                      <a:pt x="31" y="86"/>
                    </a:lnTo>
                    <a:lnTo>
                      <a:pt x="30" y="96"/>
                    </a:lnTo>
                    <a:lnTo>
                      <a:pt x="27" y="120"/>
                    </a:lnTo>
                    <a:lnTo>
                      <a:pt x="27" y="146"/>
                    </a:lnTo>
                    <a:lnTo>
                      <a:pt x="30" y="174"/>
                    </a:lnTo>
                    <a:lnTo>
                      <a:pt x="34" y="203"/>
                    </a:lnTo>
                    <a:lnTo>
                      <a:pt x="39" y="235"/>
                    </a:lnTo>
                    <a:lnTo>
                      <a:pt x="47" y="267"/>
                    </a:lnTo>
                    <a:lnTo>
                      <a:pt x="57" y="300"/>
                    </a:lnTo>
                    <a:lnTo>
                      <a:pt x="67" y="336"/>
                    </a:lnTo>
                    <a:lnTo>
                      <a:pt x="80" y="374"/>
                    </a:lnTo>
                    <a:lnTo>
                      <a:pt x="95" y="412"/>
                    </a:lnTo>
                    <a:lnTo>
                      <a:pt x="112" y="452"/>
                    </a:lnTo>
                    <a:lnTo>
                      <a:pt x="130" y="493"/>
                    </a:lnTo>
                    <a:lnTo>
                      <a:pt x="144" y="522"/>
                    </a:lnTo>
                    <a:lnTo>
                      <a:pt x="160" y="554"/>
                    </a:lnTo>
                    <a:lnTo>
                      <a:pt x="179" y="590"/>
                    </a:lnTo>
                    <a:lnTo>
                      <a:pt x="199" y="629"/>
                    </a:lnTo>
                    <a:lnTo>
                      <a:pt x="222" y="669"/>
                    </a:lnTo>
                    <a:lnTo>
                      <a:pt x="247" y="710"/>
                    </a:lnTo>
                    <a:lnTo>
                      <a:pt x="273" y="751"/>
                    </a:lnTo>
                    <a:lnTo>
                      <a:pt x="301" y="792"/>
                    </a:lnTo>
                    <a:lnTo>
                      <a:pt x="316" y="812"/>
                    </a:lnTo>
                    <a:lnTo>
                      <a:pt x="330" y="832"/>
                    </a:lnTo>
                    <a:lnTo>
                      <a:pt x="346" y="851"/>
                    </a:lnTo>
                    <a:lnTo>
                      <a:pt x="361" y="869"/>
                    </a:lnTo>
                    <a:lnTo>
                      <a:pt x="377" y="888"/>
                    </a:lnTo>
                    <a:lnTo>
                      <a:pt x="394" y="905"/>
                    </a:lnTo>
                    <a:lnTo>
                      <a:pt x="410" y="921"/>
                    </a:lnTo>
                    <a:lnTo>
                      <a:pt x="426" y="937"/>
                    </a:lnTo>
                    <a:lnTo>
                      <a:pt x="443" y="951"/>
                    </a:lnTo>
                    <a:lnTo>
                      <a:pt x="460" y="965"/>
                    </a:lnTo>
                    <a:lnTo>
                      <a:pt x="478" y="977"/>
                    </a:lnTo>
                    <a:lnTo>
                      <a:pt x="496" y="989"/>
                    </a:lnTo>
                    <a:lnTo>
                      <a:pt x="513" y="999"/>
                    </a:lnTo>
                    <a:lnTo>
                      <a:pt x="532" y="1008"/>
                    </a:lnTo>
                    <a:lnTo>
                      <a:pt x="549" y="1014"/>
                    </a:lnTo>
                    <a:lnTo>
                      <a:pt x="567" y="1019"/>
                    </a:lnTo>
                    <a:lnTo>
                      <a:pt x="597" y="1026"/>
                    </a:lnTo>
                    <a:lnTo>
                      <a:pt x="626" y="1031"/>
                    </a:lnTo>
                    <a:lnTo>
                      <a:pt x="654" y="1037"/>
                    </a:lnTo>
                    <a:lnTo>
                      <a:pt x="682" y="1041"/>
                    </a:lnTo>
                    <a:lnTo>
                      <a:pt x="710" y="1044"/>
                    </a:lnTo>
                    <a:lnTo>
                      <a:pt x="738" y="1047"/>
                    </a:lnTo>
                    <a:lnTo>
                      <a:pt x="765" y="1050"/>
                    </a:lnTo>
                    <a:lnTo>
                      <a:pt x="792" y="1052"/>
                    </a:lnTo>
                    <a:lnTo>
                      <a:pt x="820" y="1053"/>
                    </a:lnTo>
                    <a:lnTo>
                      <a:pt x="847" y="1053"/>
                    </a:lnTo>
                    <a:lnTo>
                      <a:pt x="873" y="1053"/>
                    </a:lnTo>
                    <a:lnTo>
                      <a:pt x="900" y="1052"/>
                    </a:lnTo>
                    <a:lnTo>
                      <a:pt x="953" y="1049"/>
                    </a:lnTo>
                    <a:lnTo>
                      <a:pt x="1005" y="1044"/>
                    </a:lnTo>
                    <a:lnTo>
                      <a:pt x="1057" y="1038"/>
                    </a:lnTo>
                    <a:lnTo>
                      <a:pt x="1107" y="1029"/>
                    </a:lnTo>
                    <a:lnTo>
                      <a:pt x="1158" y="1020"/>
                    </a:lnTo>
                    <a:lnTo>
                      <a:pt x="1208" y="1010"/>
                    </a:lnTo>
                    <a:lnTo>
                      <a:pt x="1257" y="999"/>
                    </a:lnTo>
                    <a:lnTo>
                      <a:pt x="1307" y="988"/>
                    </a:lnTo>
                    <a:lnTo>
                      <a:pt x="1356" y="976"/>
                    </a:lnTo>
                    <a:lnTo>
                      <a:pt x="1404" y="963"/>
                    </a:lnTo>
                    <a:lnTo>
                      <a:pt x="1425" y="959"/>
                    </a:lnTo>
                    <a:lnTo>
                      <a:pt x="1445" y="954"/>
                    </a:lnTo>
                    <a:lnTo>
                      <a:pt x="1466" y="948"/>
                    </a:lnTo>
                    <a:lnTo>
                      <a:pt x="1486" y="944"/>
                    </a:lnTo>
                    <a:lnTo>
                      <a:pt x="1514" y="937"/>
                    </a:lnTo>
                    <a:lnTo>
                      <a:pt x="1544" y="931"/>
                    </a:lnTo>
                    <a:lnTo>
                      <a:pt x="1573" y="924"/>
                    </a:lnTo>
                    <a:lnTo>
                      <a:pt x="1604" y="918"/>
                    </a:lnTo>
                    <a:lnTo>
                      <a:pt x="1636" y="911"/>
                    </a:lnTo>
                    <a:lnTo>
                      <a:pt x="1669" y="906"/>
                    </a:lnTo>
                    <a:lnTo>
                      <a:pt x="1701" y="901"/>
                    </a:lnTo>
                    <a:lnTo>
                      <a:pt x="1735" y="897"/>
                    </a:lnTo>
                    <a:lnTo>
                      <a:pt x="1785" y="892"/>
                    </a:lnTo>
                    <a:lnTo>
                      <a:pt x="1832" y="890"/>
                    </a:lnTo>
                    <a:lnTo>
                      <a:pt x="1854" y="889"/>
                    </a:lnTo>
                    <a:lnTo>
                      <a:pt x="1876" y="889"/>
                    </a:lnTo>
                    <a:lnTo>
                      <a:pt x="1897" y="890"/>
                    </a:lnTo>
                    <a:lnTo>
                      <a:pt x="1916" y="891"/>
                    </a:lnTo>
                    <a:lnTo>
                      <a:pt x="1935" y="893"/>
                    </a:lnTo>
                    <a:lnTo>
                      <a:pt x="1954" y="895"/>
                    </a:lnTo>
                    <a:lnTo>
                      <a:pt x="1972" y="899"/>
                    </a:lnTo>
                    <a:lnTo>
                      <a:pt x="1989" y="902"/>
                    </a:lnTo>
                    <a:lnTo>
                      <a:pt x="2007" y="906"/>
                    </a:lnTo>
                    <a:lnTo>
                      <a:pt x="2023" y="910"/>
                    </a:lnTo>
                    <a:lnTo>
                      <a:pt x="2038" y="916"/>
                    </a:lnTo>
                    <a:lnTo>
                      <a:pt x="2054" y="922"/>
                    </a:lnTo>
                    <a:lnTo>
                      <a:pt x="2072" y="929"/>
                    </a:lnTo>
                    <a:lnTo>
                      <a:pt x="2088" y="937"/>
                    </a:lnTo>
                    <a:lnTo>
                      <a:pt x="2103" y="946"/>
                    </a:lnTo>
                    <a:lnTo>
                      <a:pt x="2117" y="955"/>
                    </a:lnTo>
                    <a:lnTo>
                      <a:pt x="2130" y="963"/>
                    </a:lnTo>
                    <a:lnTo>
                      <a:pt x="2143" y="973"/>
                    </a:lnTo>
                    <a:lnTo>
                      <a:pt x="2155" y="983"/>
                    </a:lnTo>
                    <a:lnTo>
                      <a:pt x="2165" y="992"/>
                    </a:lnTo>
                    <a:lnTo>
                      <a:pt x="2186" y="1013"/>
                    </a:lnTo>
                    <a:lnTo>
                      <a:pt x="2204" y="1033"/>
                    </a:lnTo>
                    <a:lnTo>
                      <a:pt x="2222" y="1054"/>
                    </a:lnTo>
                    <a:lnTo>
                      <a:pt x="2237" y="1073"/>
                    </a:lnTo>
                    <a:lnTo>
                      <a:pt x="2259" y="1101"/>
                    </a:lnTo>
                    <a:lnTo>
                      <a:pt x="2281" y="1126"/>
                    </a:lnTo>
                    <a:lnTo>
                      <a:pt x="2293" y="1137"/>
                    </a:lnTo>
                    <a:lnTo>
                      <a:pt x="2305" y="1148"/>
                    </a:lnTo>
                    <a:lnTo>
                      <a:pt x="2318" y="1157"/>
                    </a:lnTo>
                    <a:lnTo>
                      <a:pt x="2332" y="1165"/>
                    </a:lnTo>
                    <a:lnTo>
                      <a:pt x="2364" y="1181"/>
                    </a:lnTo>
                    <a:lnTo>
                      <a:pt x="2394" y="1198"/>
                    </a:lnTo>
                    <a:lnTo>
                      <a:pt x="2422" y="1214"/>
                    </a:lnTo>
                    <a:lnTo>
                      <a:pt x="2449" y="1229"/>
                    </a:lnTo>
                    <a:lnTo>
                      <a:pt x="2467" y="1240"/>
                    </a:lnTo>
                    <a:lnTo>
                      <a:pt x="2484" y="1249"/>
                    </a:lnTo>
                    <a:lnTo>
                      <a:pt x="2501" y="1259"/>
                    </a:lnTo>
                    <a:lnTo>
                      <a:pt x="2517" y="1268"/>
                    </a:lnTo>
                    <a:lnTo>
                      <a:pt x="2532" y="1275"/>
                    </a:lnTo>
                    <a:lnTo>
                      <a:pt x="2546" y="1283"/>
                    </a:lnTo>
                    <a:lnTo>
                      <a:pt x="2562" y="1291"/>
                    </a:lnTo>
                    <a:lnTo>
                      <a:pt x="2577" y="1299"/>
                    </a:lnTo>
                    <a:lnTo>
                      <a:pt x="2582" y="1301"/>
                    </a:lnTo>
                    <a:lnTo>
                      <a:pt x="2588" y="1303"/>
                    </a:lnTo>
                    <a:lnTo>
                      <a:pt x="2593" y="1304"/>
                    </a:lnTo>
                    <a:lnTo>
                      <a:pt x="2596" y="1303"/>
                    </a:lnTo>
                    <a:lnTo>
                      <a:pt x="2602" y="1303"/>
                    </a:lnTo>
                    <a:lnTo>
                      <a:pt x="2606" y="1304"/>
                    </a:lnTo>
                    <a:lnTo>
                      <a:pt x="2610" y="1308"/>
                    </a:lnTo>
                    <a:lnTo>
                      <a:pt x="2614" y="1312"/>
                    </a:lnTo>
                    <a:lnTo>
                      <a:pt x="2614" y="1317"/>
                    </a:lnTo>
                    <a:lnTo>
                      <a:pt x="2613" y="1323"/>
                    </a:lnTo>
                    <a:lnTo>
                      <a:pt x="2609" y="1327"/>
                    </a:lnTo>
                    <a:lnTo>
                      <a:pt x="2605" y="1329"/>
                    </a:lnTo>
                    <a:lnTo>
                      <a:pt x="2600" y="1330"/>
                    </a:lnTo>
                    <a:lnTo>
                      <a:pt x="2593" y="1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50"/>
              <p:cNvSpPr>
                <a:spLocks/>
              </p:cNvSpPr>
              <p:nvPr userDrawn="1"/>
            </p:nvSpPr>
            <p:spPr bwMode="auto">
              <a:xfrm>
                <a:off x="1983" y="1293"/>
                <a:ext cx="878" cy="446"/>
              </a:xfrm>
              <a:custGeom>
                <a:avLst/>
                <a:gdLst>
                  <a:gd name="T0" fmla="*/ 2588 w 2635"/>
                  <a:gd name="T1" fmla="*/ 1335 h 1338"/>
                  <a:gd name="T2" fmla="*/ 2521 w 2635"/>
                  <a:gd name="T3" fmla="*/ 1310 h 1338"/>
                  <a:gd name="T4" fmla="*/ 2407 w 2635"/>
                  <a:gd name="T5" fmla="*/ 1256 h 1338"/>
                  <a:gd name="T6" fmla="*/ 2329 w 2635"/>
                  <a:gd name="T7" fmla="*/ 1218 h 1338"/>
                  <a:gd name="T8" fmla="*/ 2268 w 2635"/>
                  <a:gd name="T9" fmla="*/ 1179 h 1338"/>
                  <a:gd name="T10" fmla="*/ 2178 w 2635"/>
                  <a:gd name="T11" fmla="*/ 1095 h 1338"/>
                  <a:gd name="T12" fmla="*/ 2085 w 2635"/>
                  <a:gd name="T13" fmla="*/ 1028 h 1338"/>
                  <a:gd name="T14" fmla="*/ 2023 w 2635"/>
                  <a:gd name="T15" fmla="*/ 999 h 1338"/>
                  <a:gd name="T16" fmla="*/ 1961 w 2635"/>
                  <a:gd name="T17" fmla="*/ 981 h 1338"/>
                  <a:gd name="T18" fmla="*/ 1809 w 2635"/>
                  <a:gd name="T19" fmla="*/ 965 h 1338"/>
                  <a:gd name="T20" fmla="*/ 1661 w 2635"/>
                  <a:gd name="T21" fmla="*/ 972 h 1338"/>
                  <a:gd name="T22" fmla="*/ 1539 w 2635"/>
                  <a:gd name="T23" fmla="*/ 988 h 1338"/>
                  <a:gd name="T24" fmla="*/ 1403 w 2635"/>
                  <a:gd name="T25" fmla="*/ 1013 h 1338"/>
                  <a:gd name="T26" fmla="*/ 1245 w 2635"/>
                  <a:gd name="T27" fmla="*/ 1044 h 1338"/>
                  <a:gd name="T28" fmla="*/ 1054 w 2635"/>
                  <a:gd name="T29" fmla="*/ 1076 h 1338"/>
                  <a:gd name="T30" fmla="*/ 856 w 2635"/>
                  <a:gd name="T31" fmla="*/ 1091 h 1338"/>
                  <a:gd name="T32" fmla="*/ 701 w 2635"/>
                  <a:gd name="T33" fmla="*/ 1084 h 1338"/>
                  <a:gd name="T34" fmla="*/ 596 w 2635"/>
                  <a:gd name="T35" fmla="*/ 1069 h 1338"/>
                  <a:gd name="T36" fmla="*/ 508 w 2635"/>
                  <a:gd name="T37" fmla="*/ 1046 h 1338"/>
                  <a:gd name="T38" fmla="*/ 443 w 2635"/>
                  <a:gd name="T39" fmla="*/ 1011 h 1338"/>
                  <a:gd name="T40" fmla="*/ 381 w 2635"/>
                  <a:gd name="T41" fmla="*/ 957 h 1338"/>
                  <a:gd name="T42" fmla="*/ 319 w 2635"/>
                  <a:gd name="T43" fmla="*/ 890 h 1338"/>
                  <a:gd name="T44" fmla="*/ 234 w 2635"/>
                  <a:gd name="T45" fmla="*/ 771 h 1338"/>
                  <a:gd name="T46" fmla="*/ 136 w 2635"/>
                  <a:gd name="T47" fmla="*/ 595 h 1338"/>
                  <a:gd name="T48" fmla="*/ 70 w 2635"/>
                  <a:gd name="T49" fmla="*/ 444 h 1338"/>
                  <a:gd name="T50" fmla="*/ 24 w 2635"/>
                  <a:gd name="T51" fmla="*/ 306 h 1338"/>
                  <a:gd name="T52" fmla="*/ 1 w 2635"/>
                  <a:gd name="T53" fmla="*/ 170 h 1338"/>
                  <a:gd name="T54" fmla="*/ 1 w 2635"/>
                  <a:gd name="T55" fmla="*/ 108 h 1338"/>
                  <a:gd name="T56" fmla="*/ 13 w 2635"/>
                  <a:gd name="T57" fmla="*/ 52 h 1338"/>
                  <a:gd name="T58" fmla="*/ 35 w 2635"/>
                  <a:gd name="T59" fmla="*/ 6 h 1338"/>
                  <a:gd name="T60" fmla="*/ 55 w 2635"/>
                  <a:gd name="T61" fmla="*/ 3 h 1338"/>
                  <a:gd name="T62" fmla="*/ 58 w 2635"/>
                  <a:gd name="T63" fmla="*/ 21 h 1338"/>
                  <a:gd name="T64" fmla="*/ 36 w 2635"/>
                  <a:gd name="T65" fmla="*/ 64 h 1338"/>
                  <a:gd name="T66" fmla="*/ 27 w 2635"/>
                  <a:gd name="T67" fmla="*/ 116 h 1338"/>
                  <a:gd name="T68" fmla="*/ 28 w 2635"/>
                  <a:gd name="T69" fmla="*/ 174 h 1338"/>
                  <a:gd name="T70" fmla="*/ 51 w 2635"/>
                  <a:gd name="T71" fmla="*/ 304 h 1338"/>
                  <a:gd name="T72" fmla="*/ 95 w 2635"/>
                  <a:gd name="T73" fmla="*/ 435 h 1338"/>
                  <a:gd name="T74" fmla="*/ 159 w 2635"/>
                  <a:gd name="T75" fmla="*/ 583 h 1338"/>
                  <a:gd name="T76" fmla="*/ 254 w 2635"/>
                  <a:gd name="T77" fmla="*/ 753 h 1338"/>
                  <a:gd name="T78" fmla="*/ 366 w 2635"/>
                  <a:gd name="T79" fmla="*/ 903 h 1338"/>
                  <a:gd name="T80" fmla="*/ 425 w 2635"/>
                  <a:gd name="T81" fmla="*/ 962 h 1338"/>
                  <a:gd name="T82" fmla="*/ 486 w 2635"/>
                  <a:gd name="T83" fmla="*/ 1005 h 1338"/>
                  <a:gd name="T84" fmla="*/ 547 w 2635"/>
                  <a:gd name="T85" fmla="*/ 1030 h 1338"/>
                  <a:gd name="T86" fmla="*/ 653 w 2635"/>
                  <a:gd name="T87" fmla="*/ 1051 h 1338"/>
                  <a:gd name="T88" fmla="*/ 755 w 2635"/>
                  <a:gd name="T89" fmla="*/ 1061 h 1338"/>
                  <a:gd name="T90" fmla="*/ 955 w 2635"/>
                  <a:gd name="T91" fmla="*/ 1059 h 1338"/>
                  <a:gd name="T92" fmla="*/ 1146 w 2635"/>
                  <a:gd name="T93" fmla="*/ 1034 h 1338"/>
                  <a:gd name="T94" fmla="*/ 1333 w 2635"/>
                  <a:gd name="T95" fmla="*/ 999 h 1338"/>
                  <a:gd name="T96" fmla="*/ 1465 w 2635"/>
                  <a:gd name="T97" fmla="*/ 974 h 1338"/>
                  <a:gd name="T98" fmla="*/ 1600 w 2635"/>
                  <a:gd name="T99" fmla="*/ 952 h 1338"/>
                  <a:gd name="T100" fmla="*/ 1715 w 2635"/>
                  <a:gd name="T101" fmla="*/ 941 h 1338"/>
                  <a:gd name="T102" fmla="*/ 1894 w 2635"/>
                  <a:gd name="T103" fmla="*/ 943 h 1338"/>
                  <a:gd name="T104" fmla="*/ 2000 w 2635"/>
                  <a:gd name="T105" fmla="*/ 963 h 1338"/>
                  <a:gd name="T106" fmla="*/ 2066 w 2635"/>
                  <a:gd name="T107" fmla="*/ 988 h 1338"/>
                  <a:gd name="T108" fmla="*/ 2151 w 2635"/>
                  <a:gd name="T109" fmla="*/ 1038 h 1338"/>
                  <a:gd name="T110" fmla="*/ 2234 w 2635"/>
                  <a:gd name="T111" fmla="*/ 1111 h 1338"/>
                  <a:gd name="T112" fmla="*/ 2311 w 2635"/>
                  <a:gd name="T113" fmla="*/ 1177 h 1338"/>
                  <a:gd name="T114" fmla="*/ 2381 w 2635"/>
                  <a:gd name="T115" fmla="*/ 1213 h 1338"/>
                  <a:gd name="T116" fmla="*/ 2478 w 2635"/>
                  <a:gd name="T117" fmla="*/ 1261 h 1338"/>
                  <a:gd name="T118" fmla="*/ 2571 w 2635"/>
                  <a:gd name="T119" fmla="*/ 1300 h 1338"/>
                  <a:gd name="T120" fmla="*/ 2613 w 2635"/>
                  <a:gd name="T121" fmla="*/ 1311 h 1338"/>
                  <a:gd name="T122" fmla="*/ 2632 w 2635"/>
                  <a:gd name="T123" fmla="*/ 1314 h 1338"/>
                  <a:gd name="T124" fmla="*/ 2631 w 2635"/>
                  <a:gd name="T125" fmla="*/ 1334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5" h="1338">
                    <a:moveTo>
                      <a:pt x="2612" y="1338"/>
                    </a:moveTo>
                    <a:lnTo>
                      <a:pt x="2604" y="1338"/>
                    </a:lnTo>
                    <a:lnTo>
                      <a:pt x="2597" y="1337"/>
                    </a:lnTo>
                    <a:lnTo>
                      <a:pt x="2588" y="1335"/>
                    </a:lnTo>
                    <a:lnTo>
                      <a:pt x="2579" y="1332"/>
                    </a:lnTo>
                    <a:lnTo>
                      <a:pt x="2560" y="1325"/>
                    </a:lnTo>
                    <a:lnTo>
                      <a:pt x="2536" y="1316"/>
                    </a:lnTo>
                    <a:lnTo>
                      <a:pt x="2521" y="1310"/>
                    </a:lnTo>
                    <a:lnTo>
                      <a:pt x="2494" y="1298"/>
                    </a:lnTo>
                    <a:lnTo>
                      <a:pt x="2466" y="1285"/>
                    </a:lnTo>
                    <a:lnTo>
                      <a:pt x="2437" y="1271"/>
                    </a:lnTo>
                    <a:lnTo>
                      <a:pt x="2407" y="1256"/>
                    </a:lnTo>
                    <a:lnTo>
                      <a:pt x="2387" y="1247"/>
                    </a:lnTo>
                    <a:lnTo>
                      <a:pt x="2369" y="1237"/>
                    </a:lnTo>
                    <a:lnTo>
                      <a:pt x="2349" y="1228"/>
                    </a:lnTo>
                    <a:lnTo>
                      <a:pt x="2329" y="1218"/>
                    </a:lnTo>
                    <a:lnTo>
                      <a:pt x="2313" y="1209"/>
                    </a:lnTo>
                    <a:lnTo>
                      <a:pt x="2297" y="1200"/>
                    </a:lnTo>
                    <a:lnTo>
                      <a:pt x="2282" y="1190"/>
                    </a:lnTo>
                    <a:lnTo>
                      <a:pt x="2268" y="1179"/>
                    </a:lnTo>
                    <a:lnTo>
                      <a:pt x="2241" y="1155"/>
                    </a:lnTo>
                    <a:lnTo>
                      <a:pt x="2215" y="1131"/>
                    </a:lnTo>
                    <a:lnTo>
                      <a:pt x="2197" y="1113"/>
                    </a:lnTo>
                    <a:lnTo>
                      <a:pt x="2178" y="1095"/>
                    </a:lnTo>
                    <a:lnTo>
                      <a:pt x="2157" y="1078"/>
                    </a:lnTo>
                    <a:lnTo>
                      <a:pt x="2135" y="1060"/>
                    </a:lnTo>
                    <a:lnTo>
                      <a:pt x="2111" y="1043"/>
                    </a:lnTo>
                    <a:lnTo>
                      <a:pt x="2085" y="1028"/>
                    </a:lnTo>
                    <a:lnTo>
                      <a:pt x="2070" y="1020"/>
                    </a:lnTo>
                    <a:lnTo>
                      <a:pt x="2056" y="1013"/>
                    </a:lnTo>
                    <a:lnTo>
                      <a:pt x="2039" y="1005"/>
                    </a:lnTo>
                    <a:lnTo>
                      <a:pt x="2023" y="999"/>
                    </a:lnTo>
                    <a:lnTo>
                      <a:pt x="2008" y="995"/>
                    </a:lnTo>
                    <a:lnTo>
                      <a:pt x="1993" y="989"/>
                    </a:lnTo>
                    <a:lnTo>
                      <a:pt x="1977" y="985"/>
                    </a:lnTo>
                    <a:lnTo>
                      <a:pt x="1961" y="981"/>
                    </a:lnTo>
                    <a:lnTo>
                      <a:pt x="1926" y="974"/>
                    </a:lnTo>
                    <a:lnTo>
                      <a:pt x="1889" y="970"/>
                    </a:lnTo>
                    <a:lnTo>
                      <a:pt x="1850" y="966"/>
                    </a:lnTo>
                    <a:lnTo>
                      <a:pt x="1809" y="965"/>
                    </a:lnTo>
                    <a:lnTo>
                      <a:pt x="1764" y="965"/>
                    </a:lnTo>
                    <a:lnTo>
                      <a:pt x="1717" y="968"/>
                    </a:lnTo>
                    <a:lnTo>
                      <a:pt x="1690" y="970"/>
                    </a:lnTo>
                    <a:lnTo>
                      <a:pt x="1661" y="972"/>
                    </a:lnTo>
                    <a:lnTo>
                      <a:pt x="1632" y="975"/>
                    </a:lnTo>
                    <a:lnTo>
                      <a:pt x="1603" y="978"/>
                    </a:lnTo>
                    <a:lnTo>
                      <a:pt x="1572" y="983"/>
                    </a:lnTo>
                    <a:lnTo>
                      <a:pt x="1539" y="988"/>
                    </a:lnTo>
                    <a:lnTo>
                      <a:pt x="1505" y="993"/>
                    </a:lnTo>
                    <a:lnTo>
                      <a:pt x="1469" y="1000"/>
                    </a:lnTo>
                    <a:lnTo>
                      <a:pt x="1437" y="1006"/>
                    </a:lnTo>
                    <a:lnTo>
                      <a:pt x="1403" y="1013"/>
                    </a:lnTo>
                    <a:lnTo>
                      <a:pt x="1371" y="1019"/>
                    </a:lnTo>
                    <a:lnTo>
                      <a:pt x="1339" y="1026"/>
                    </a:lnTo>
                    <a:lnTo>
                      <a:pt x="1291" y="1036"/>
                    </a:lnTo>
                    <a:lnTo>
                      <a:pt x="1245" y="1044"/>
                    </a:lnTo>
                    <a:lnTo>
                      <a:pt x="1197" y="1053"/>
                    </a:lnTo>
                    <a:lnTo>
                      <a:pt x="1150" y="1061"/>
                    </a:lnTo>
                    <a:lnTo>
                      <a:pt x="1102" y="1069"/>
                    </a:lnTo>
                    <a:lnTo>
                      <a:pt x="1054" y="1076"/>
                    </a:lnTo>
                    <a:lnTo>
                      <a:pt x="1005" y="1082"/>
                    </a:lnTo>
                    <a:lnTo>
                      <a:pt x="955" y="1086"/>
                    </a:lnTo>
                    <a:lnTo>
                      <a:pt x="906" y="1090"/>
                    </a:lnTo>
                    <a:lnTo>
                      <a:pt x="856" y="1091"/>
                    </a:lnTo>
                    <a:lnTo>
                      <a:pt x="805" y="1091"/>
                    </a:lnTo>
                    <a:lnTo>
                      <a:pt x="753" y="1088"/>
                    </a:lnTo>
                    <a:lnTo>
                      <a:pt x="727" y="1086"/>
                    </a:lnTo>
                    <a:lnTo>
                      <a:pt x="701" y="1084"/>
                    </a:lnTo>
                    <a:lnTo>
                      <a:pt x="674" y="1081"/>
                    </a:lnTo>
                    <a:lnTo>
                      <a:pt x="649" y="1078"/>
                    </a:lnTo>
                    <a:lnTo>
                      <a:pt x="622" y="1073"/>
                    </a:lnTo>
                    <a:lnTo>
                      <a:pt x="596" y="1069"/>
                    </a:lnTo>
                    <a:lnTo>
                      <a:pt x="569" y="1064"/>
                    </a:lnTo>
                    <a:lnTo>
                      <a:pt x="541" y="1057"/>
                    </a:lnTo>
                    <a:lnTo>
                      <a:pt x="524" y="1053"/>
                    </a:lnTo>
                    <a:lnTo>
                      <a:pt x="508" y="1046"/>
                    </a:lnTo>
                    <a:lnTo>
                      <a:pt x="492" y="1039"/>
                    </a:lnTo>
                    <a:lnTo>
                      <a:pt x="476" y="1030"/>
                    </a:lnTo>
                    <a:lnTo>
                      <a:pt x="460" y="1020"/>
                    </a:lnTo>
                    <a:lnTo>
                      <a:pt x="443" y="1011"/>
                    </a:lnTo>
                    <a:lnTo>
                      <a:pt x="428" y="999"/>
                    </a:lnTo>
                    <a:lnTo>
                      <a:pt x="412" y="986"/>
                    </a:lnTo>
                    <a:lnTo>
                      <a:pt x="396" y="972"/>
                    </a:lnTo>
                    <a:lnTo>
                      <a:pt x="381" y="957"/>
                    </a:lnTo>
                    <a:lnTo>
                      <a:pt x="365" y="942"/>
                    </a:lnTo>
                    <a:lnTo>
                      <a:pt x="349" y="924"/>
                    </a:lnTo>
                    <a:lnTo>
                      <a:pt x="334" y="908"/>
                    </a:lnTo>
                    <a:lnTo>
                      <a:pt x="319" y="890"/>
                    </a:lnTo>
                    <a:lnTo>
                      <a:pt x="304" y="871"/>
                    </a:lnTo>
                    <a:lnTo>
                      <a:pt x="290" y="852"/>
                    </a:lnTo>
                    <a:lnTo>
                      <a:pt x="261" y="812"/>
                    </a:lnTo>
                    <a:lnTo>
                      <a:pt x="234" y="771"/>
                    </a:lnTo>
                    <a:lnTo>
                      <a:pt x="207" y="728"/>
                    </a:lnTo>
                    <a:lnTo>
                      <a:pt x="182" y="684"/>
                    </a:lnTo>
                    <a:lnTo>
                      <a:pt x="158" y="639"/>
                    </a:lnTo>
                    <a:lnTo>
                      <a:pt x="136" y="595"/>
                    </a:lnTo>
                    <a:lnTo>
                      <a:pt x="115" y="552"/>
                    </a:lnTo>
                    <a:lnTo>
                      <a:pt x="96" y="509"/>
                    </a:lnTo>
                    <a:lnTo>
                      <a:pt x="83" y="476"/>
                    </a:lnTo>
                    <a:lnTo>
                      <a:pt x="70" y="444"/>
                    </a:lnTo>
                    <a:lnTo>
                      <a:pt x="57" y="409"/>
                    </a:lnTo>
                    <a:lnTo>
                      <a:pt x="45" y="375"/>
                    </a:lnTo>
                    <a:lnTo>
                      <a:pt x="34" y="340"/>
                    </a:lnTo>
                    <a:lnTo>
                      <a:pt x="24" y="306"/>
                    </a:lnTo>
                    <a:lnTo>
                      <a:pt x="16" y="270"/>
                    </a:lnTo>
                    <a:lnTo>
                      <a:pt x="8" y="237"/>
                    </a:lnTo>
                    <a:lnTo>
                      <a:pt x="4" y="202"/>
                    </a:lnTo>
                    <a:lnTo>
                      <a:pt x="1" y="170"/>
                    </a:lnTo>
                    <a:lnTo>
                      <a:pt x="0" y="154"/>
                    </a:lnTo>
                    <a:lnTo>
                      <a:pt x="0" y="139"/>
                    </a:lnTo>
                    <a:lnTo>
                      <a:pt x="0" y="122"/>
                    </a:lnTo>
                    <a:lnTo>
                      <a:pt x="1" y="108"/>
                    </a:lnTo>
                    <a:lnTo>
                      <a:pt x="3" y="93"/>
                    </a:lnTo>
                    <a:lnTo>
                      <a:pt x="5" y="79"/>
                    </a:lnTo>
                    <a:lnTo>
                      <a:pt x="8" y="65"/>
                    </a:lnTo>
                    <a:lnTo>
                      <a:pt x="13" y="52"/>
                    </a:lnTo>
                    <a:lnTo>
                      <a:pt x="17" y="40"/>
                    </a:lnTo>
                    <a:lnTo>
                      <a:pt x="22" y="27"/>
                    </a:lnTo>
                    <a:lnTo>
                      <a:pt x="29" y="17"/>
                    </a:lnTo>
                    <a:lnTo>
                      <a:pt x="35" y="6"/>
                    </a:lnTo>
                    <a:lnTo>
                      <a:pt x="40" y="1"/>
                    </a:lnTo>
                    <a:lnTo>
                      <a:pt x="44" y="0"/>
                    </a:lnTo>
                    <a:lnTo>
                      <a:pt x="49" y="0"/>
                    </a:lnTo>
                    <a:lnTo>
                      <a:pt x="55" y="3"/>
                    </a:lnTo>
                    <a:lnTo>
                      <a:pt x="58" y="6"/>
                    </a:lnTo>
                    <a:lnTo>
                      <a:pt x="60" y="11"/>
                    </a:lnTo>
                    <a:lnTo>
                      <a:pt x="60" y="17"/>
                    </a:lnTo>
                    <a:lnTo>
                      <a:pt x="58" y="21"/>
                    </a:lnTo>
                    <a:lnTo>
                      <a:pt x="51" y="31"/>
                    </a:lnTo>
                    <a:lnTo>
                      <a:pt x="45" y="41"/>
                    </a:lnTo>
                    <a:lnTo>
                      <a:pt x="41" y="52"/>
                    </a:lnTo>
                    <a:lnTo>
                      <a:pt x="36" y="64"/>
                    </a:lnTo>
                    <a:lnTo>
                      <a:pt x="33" y="77"/>
                    </a:lnTo>
                    <a:lnTo>
                      <a:pt x="30" y="89"/>
                    </a:lnTo>
                    <a:lnTo>
                      <a:pt x="29" y="103"/>
                    </a:lnTo>
                    <a:lnTo>
                      <a:pt x="27" y="116"/>
                    </a:lnTo>
                    <a:lnTo>
                      <a:pt x="27" y="130"/>
                    </a:lnTo>
                    <a:lnTo>
                      <a:pt x="26" y="145"/>
                    </a:lnTo>
                    <a:lnTo>
                      <a:pt x="27" y="159"/>
                    </a:lnTo>
                    <a:lnTo>
                      <a:pt x="28" y="174"/>
                    </a:lnTo>
                    <a:lnTo>
                      <a:pt x="31" y="205"/>
                    </a:lnTo>
                    <a:lnTo>
                      <a:pt x="36" y="238"/>
                    </a:lnTo>
                    <a:lnTo>
                      <a:pt x="43" y="270"/>
                    </a:lnTo>
                    <a:lnTo>
                      <a:pt x="51" y="304"/>
                    </a:lnTo>
                    <a:lnTo>
                      <a:pt x="61" y="336"/>
                    </a:lnTo>
                    <a:lnTo>
                      <a:pt x="71" y="370"/>
                    </a:lnTo>
                    <a:lnTo>
                      <a:pt x="83" y="403"/>
                    </a:lnTo>
                    <a:lnTo>
                      <a:pt x="95" y="435"/>
                    </a:lnTo>
                    <a:lnTo>
                      <a:pt x="108" y="468"/>
                    </a:lnTo>
                    <a:lnTo>
                      <a:pt x="121" y="498"/>
                    </a:lnTo>
                    <a:lnTo>
                      <a:pt x="139" y="540"/>
                    </a:lnTo>
                    <a:lnTo>
                      <a:pt x="159" y="583"/>
                    </a:lnTo>
                    <a:lnTo>
                      <a:pt x="181" y="625"/>
                    </a:lnTo>
                    <a:lnTo>
                      <a:pt x="204" y="669"/>
                    </a:lnTo>
                    <a:lnTo>
                      <a:pt x="229" y="712"/>
                    </a:lnTo>
                    <a:lnTo>
                      <a:pt x="254" y="753"/>
                    </a:lnTo>
                    <a:lnTo>
                      <a:pt x="280" y="794"/>
                    </a:lnTo>
                    <a:lnTo>
                      <a:pt x="308" y="833"/>
                    </a:lnTo>
                    <a:lnTo>
                      <a:pt x="337" y="869"/>
                    </a:lnTo>
                    <a:lnTo>
                      <a:pt x="366" y="903"/>
                    </a:lnTo>
                    <a:lnTo>
                      <a:pt x="380" y="919"/>
                    </a:lnTo>
                    <a:lnTo>
                      <a:pt x="395" y="934"/>
                    </a:lnTo>
                    <a:lnTo>
                      <a:pt x="410" y="948"/>
                    </a:lnTo>
                    <a:lnTo>
                      <a:pt x="425" y="962"/>
                    </a:lnTo>
                    <a:lnTo>
                      <a:pt x="440" y="974"/>
                    </a:lnTo>
                    <a:lnTo>
                      <a:pt x="455" y="986"/>
                    </a:lnTo>
                    <a:lnTo>
                      <a:pt x="470" y="997"/>
                    </a:lnTo>
                    <a:lnTo>
                      <a:pt x="486" y="1005"/>
                    </a:lnTo>
                    <a:lnTo>
                      <a:pt x="502" y="1014"/>
                    </a:lnTo>
                    <a:lnTo>
                      <a:pt x="517" y="1020"/>
                    </a:lnTo>
                    <a:lnTo>
                      <a:pt x="532" y="1026"/>
                    </a:lnTo>
                    <a:lnTo>
                      <a:pt x="547" y="1030"/>
                    </a:lnTo>
                    <a:lnTo>
                      <a:pt x="574" y="1037"/>
                    </a:lnTo>
                    <a:lnTo>
                      <a:pt x="600" y="1042"/>
                    </a:lnTo>
                    <a:lnTo>
                      <a:pt x="627" y="1047"/>
                    </a:lnTo>
                    <a:lnTo>
                      <a:pt x="653" y="1051"/>
                    </a:lnTo>
                    <a:lnTo>
                      <a:pt x="679" y="1055"/>
                    </a:lnTo>
                    <a:lnTo>
                      <a:pt x="705" y="1057"/>
                    </a:lnTo>
                    <a:lnTo>
                      <a:pt x="731" y="1060"/>
                    </a:lnTo>
                    <a:lnTo>
                      <a:pt x="755" y="1061"/>
                    </a:lnTo>
                    <a:lnTo>
                      <a:pt x="806" y="1064"/>
                    </a:lnTo>
                    <a:lnTo>
                      <a:pt x="856" y="1064"/>
                    </a:lnTo>
                    <a:lnTo>
                      <a:pt x="906" y="1063"/>
                    </a:lnTo>
                    <a:lnTo>
                      <a:pt x="955" y="1059"/>
                    </a:lnTo>
                    <a:lnTo>
                      <a:pt x="1003" y="1055"/>
                    </a:lnTo>
                    <a:lnTo>
                      <a:pt x="1051" y="1049"/>
                    </a:lnTo>
                    <a:lnTo>
                      <a:pt x="1099" y="1042"/>
                    </a:lnTo>
                    <a:lnTo>
                      <a:pt x="1146" y="1034"/>
                    </a:lnTo>
                    <a:lnTo>
                      <a:pt x="1194" y="1026"/>
                    </a:lnTo>
                    <a:lnTo>
                      <a:pt x="1240" y="1017"/>
                    </a:lnTo>
                    <a:lnTo>
                      <a:pt x="1287" y="1009"/>
                    </a:lnTo>
                    <a:lnTo>
                      <a:pt x="1333" y="999"/>
                    </a:lnTo>
                    <a:lnTo>
                      <a:pt x="1366" y="992"/>
                    </a:lnTo>
                    <a:lnTo>
                      <a:pt x="1399" y="986"/>
                    </a:lnTo>
                    <a:lnTo>
                      <a:pt x="1431" y="979"/>
                    </a:lnTo>
                    <a:lnTo>
                      <a:pt x="1465" y="974"/>
                    </a:lnTo>
                    <a:lnTo>
                      <a:pt x="1501" y="968"/>
                    </a:lnTo>
                    <a:lnTo>
                      <a:pt x="1535" y="961"/>
                    </a:lnTo>
                    <a:lnTo>
                      <a:pt x="1569" y="957"/>
                    </a:lnTo>
                    <a:lnTo>
                      <a:pt x="1600" y="952"/>
                    </a:lnTo>
                    <a:lnTo>
                      <a:pt x="1630" y="948"/>
                    </a:lnTo>
                    <a:lnTo>
                      <a:pt x="1659" y="945"/>
                    </a:lnTo>
                    <a:lnTo>
                      <a:pt x="1687" y="943"/>
                    </a:lnTo>
                    <a:lnTo>
                      <a:pt x="1715" y="941"/>
                    </a:lnTo>
                    <a:lnTo>
                      <a:pt x="1764" y="938"/>
                    </a:lnTo>
                    <a:lnTo>
                      <a:pt x="1810" y="938"/>
                    </a:lnTo>
                    <a:lnTo>
                      <a:pt x="1854" y="939"/>
                    </a:lnTo>
                    <a:lnTo>
                      <a:pt x="1894" y="943"/>
                    </a:lnTo>
                    <a:lnTo>
                      <a:pt x="1931" y="948"/>
                    </a:lnTo>
                    <a:lnTo>
                      <a:pt x="1967" y="955"/>
                    </a:lnTo>
                    <a:lnTo>
                      <a:pt x="1984" y="959"/>
                    </a:lnTo>
                    <a:lnTo>
                      <a:pt x="2000" y="963"/>
                    </a:lnTo>
                    <a:lnTo>
                      <a:pt x="2017" y="969"/>
                    </a:lnTo>
                    <a:lnTo>
                      <a:pt x="2032" y="974"/>
                    </a:lnTo>
                    <a:lnTo>
                      <a:pt x="2050" y="981"/>
                    </a:lnTo>
                    <a:lnTo>
                      <a:pt x="2066" y="988"/>
                    </a:lnTo>
                    <a:lnTo>
                      <a:pt x="2083" y="996"/>
                    </a:lnTo>
                    <a:lnTo>
                      <a:pt x="2098" y="1004"/>
                    </a:lnTo>
                    <a:lnTo>
                      <a:pt x="2125" y="1020"/>
                    </a:lnTo>
                    <a:lnTo>
                      <a:pt x="2151" y="1038"/>
                    </a:lnTo>
                    <a:lnTo>
                      <a:pt x="2173" y="1056"/>
                    </a:lnTo>
                    <a:lnTo>
                      <a:pt x="2195" y="1074"/>
                    </a:lnTo>
                    <a:lnTo>
                      <a:pt x="2214" y="1093"/>
                    </a:lnTo>
                    <a:lnTo>
                      <a:pt x="2234" y="1111"/>
                    </a:lnTo>
                    <a:lnTo>
                      <a:pt x="2260" y="1136"/>
                    </a:lnTo>
                    <a:lnTo>
                      <a:pt x="2286" y="1158"/>
                    </a:lnTo>
                    <a:lnTo>
                      <a:pt x="2299" y="1168"/>
                    </a:lnTo>
                    <a:lnTo>
                      <a:pt x="2311" y="1177"/>
                    </a:lnTo>
                    <a:lnTo>
                      <a:pt x="2326" y="1186"/>
                    </a:lnTo>
                    <a:lnTo>
                      <a:pt x="2341" y="1193"/>
                    </a:lnTo>
                    <a:lnTo>
                      <a:pt x="2360" y="1203"/>
                    </a:lnTo>
                    <a:lnTo>
                      <a:pt x="2381" y="1213"/>
                    </a:lnTo>
                    <a:lnTo>
                      <a:pt x="2400" y="1222"/>
                    </a:lnTo>
                    <a:lnTo>
                      <a:pt x="2418" y="1232"/>
                    </a:lnTo>
                    <a:lnTo>
                      <a:pt x="2449" y="1247"/>
                    </a:lnTo>
                    <a:lnTo>
                      <a:pt x="2478" y="1261"/>
                    </a:lnTo>
                    <a:lnTo>
                      <a:pt x="2505" y="1273"/>
                    </a:lnTo>
                    <a:lnTo>
                      <a:pt x="2531" y="1285"/>
                    </a:lnTo>
                    <a:lnTo>
                      <a:pt x="2547" y="1290"/>
                    </a:lnTo>
                    <a:lnTo>
                      <a:pt x="2571" y="1300"/>
                    </a:lnTo>
                    <a:lnTo>
                      <a:pt x="2590" y="1308"/>
                    </a:lnTo>
                    <a:lnTo>
                      <a:pt x="2599" y="1310"/>
                    </a:lnTo>
                    <a:lnTo>
                      <a:pt x="2606" y="1311"/>
                    </a:lnTo>
                    <a:lnTo>
                      <a:pt x="2613" y="1311"/>
                    </a:lnTo>
                    <a:lnTo>
                      <a:pt x="2618" y="1310"/>
                    </a:lnTo>
                    <a:lnTo>
                      <a:pt x="2624" y="1310"/>
                    </a:lnTo>
                    <a:lnTo>
                      <a:pt x="2628" y="1311"/>
                    </a:lnTo>
                    <a:lnTo>
                      <a:pt x="2632" y="1314"/>
                    </a:lnTo>
                    <a:lnTo>
                      <a:pt x="2635" y="1318"/>
                    </a:lnTo>
                    <a:lnTo>
                      <a:pt x="2635" y="1324"/>
                    </a:lnTo>
                    <a:lnTo>
                      <a:pt x="2634" y="1329"/>
                    </a:lnTo>
                    <a:lnTo>
                      <a:pt x="2631" y="1334"/>
                    </a:lnTo>
                    <a:lnTo>
                      <a:pt x="2627" y="1336"/>
                    </a:lnTo>
                    <a:lnTo>
                      <a:pt x="2619" y="1338"/>
                    </a:lnTo>
                    <a:lnTo>
                      <a:pt x="2612" y="1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51"/>
              <p:cNvSpPr>
                <a:spLocks/>
              </p:cNvSpPr>
              <p:nvPr userDrawn="1"/>
            </p:nvSpPr>
            <p:spPr bwMode="auto">
              <a:xfrm>
                <a:off x="2001" y="1265"/>
                <a:ext cx="886" cy="449"/>
              </a:xfrm>
              <a:custGeom>
                <a:avLst/>
                <a:gdLst>
                  <a:gd name="T0" fmla="*/ 2566 w 2659"/>
                  <a:gd name="T1" fmla="*/ 1335 h 1345"/>
                  <a:gd name="T2" fmla="*/ 2479 w 2659"/>
                  <a:gd name="T3" fmla="*/ 1308 h 1345"/>
                  <a:gd name="T4" fmla="*/ 2394 w 2659"/>
                  <a:gd name="T5" fmla="*/ 1271 h 1345"/>
                  <a:gd name="T6" fmla="*/ 2308 w 2659"/>
                  <a:gd name="T7" fmla="*/ 1231 h 1345"/>
                  <a:gd name="T8" fmla="*/ 2219 w 2659"/>
                  <a:gd name="T9" fmla="*/ 1172 h 1345"/>
                  <a:gd name="T10" fmla="*/ 2126 w 2659"/>
                  <a:gd name="T11" fmla="*/ 1108 h 1345"/>
                  <a:gd name="T12" fmla="*/ 2004 w 2659"/>
                  <a:gd name="T13" fmla="*/ 1052 h 1345"/>
                  <a:gd name="T14" fmla="*/ 1868 w 2659"/>
                  <a:gd name="T15" fmla="*/ 1021 h 1345"/>
                  <a:gd name="T16" fmla="*/ 1698 w 2659"/>
                  <a:gd name="T17" fmla="*/ 1012 h 1345"/>
                  <a:gd name="T18" fmla="*/ 1581 w 2659"/>
                  <a:gd name="T19" fmla="*/ 1016 h 1345"/>
                  <a:gd name="T20" fmla="*/ 1448 w 2659"/>
                  <a:gd name="T21" fmla="*/ 1030 h 1345"/>
                  <a:gd name="T22" fmla="*/ 1356 w 2659"/>
                  <a:gd name="T23" fmla="*/ 1043 h 1345"/>
                  <a:gd name="T24" fmla="*/ 1266 w 2659"/>
                  <a:gd name="T25" fmla="*/ 1057 h 1345"/>
                  <a:gd name="T26" fmla="*/ 999 w 2659"/>
                  <a:gd name="T27" fmla="*/ 1094 h 1345"/>
                  <a:gd name="T28" fmla="*/ 814 w 2659"/>
                  <a:gd name="T29" fmla="*/ 1102 h 1345"/>
                  <a:gd name="T30" fmla="*/ 622 w 2659"/>
                  <a:gd name="T31" fmla="*/ 1087 h 1345"/>
                  <a:gd name="T32" fmla="*/ 489 w 2659"/>
                  <a:gd name="T33" fmla="*/ 1057 h 1345"/>
                  <a:gd name="T34" fmla="*/ 423 w 2659"/>
                  <a:gd name="T35" fmla="*/ 1018 h 1345"/>
                  <a:gd name="T36" fmla="*/ 358 w 2659"/>
                  <a:gd name="T37" fmla="*/ 961 h 1345"/>
                  <a:gd name="T38" fmla="*/ 297 w 2659"/>
                  <a:gd name="T39" fmla="*/ 890 h 1345"/>
                  <a:gd name="T40" fmla="*/ 212 w 2659"/>
                  <a:gd name="T41" fmla="*/ 766 h 1345"/>
                  <a:gd name="T42" fmla="*/ 121 w 2659"/>
                  <a:gd name="T43" fmla="*/ 593 h 1345"/>
                  <a:gd name="T44" fmla="*/ 64 w 2659"/>
                  <a:gd name="T45" fmla="*/ 450 h 1345"/>
                  <a:gd name="T46" fmla="*/ 22 w 2659"/>
                  <a:gd name="T47" fmla="*/ 313 h 1345"/>
                  <a:gd name="T48" fmla="*/ 1 w 2659"/>
                  <a:gd name="T49" fmla="*/ 176 h 1345"/>
                  <a:gd name="T50" fmla="*/ 2 w 2659"/>
                  <a:gd name="T51" fmla="*/ 113 h 1345"/>
                  <a:gd name="T52" fmla="*/ 15 w 2659"/>
                  <a:gd name="T53" fmla="*/ 55 h 1345"/>
                  <a:gd name="T54" fmla="*/ 40 w 2659"/>
                  <a:gd name="T55" fmla="*/ 6 h 1345"/>
                  <a:gd name="T56" fmla="*/ 59 w 2659"/>
                  <a:gd name="T57" fmla="*/ 2 h 1345"/>
                  <a:gd name="T58" fmla="*/ 61 w 2659"/>
                  <a:gd name="T59" fmla="*/ 21 h 1345"/>
                  <a:gd name="T60" fmla="*/ 39 w 2659"/>
                  <a:gd name="T61" fmla="*/ 67 h 1345"/>
                  <a:gd name="T62" fmla="*/ 28 w 2659"/>
                  <a:gd name="T63" fmla="*/ 121 h 1345"/>
                  <a:gd name="T64" fmla="*/ 28 w 2659"/>
                  <a:gd name="T65" fmla="*/ 182 h 1345"/>
                  <a:gd name="T66" fmla="*/ 49 w 2659"/>
                  <a:gd name="T67" fmla="*/ 312 h 1345"/>
                  <a:gd name="T68" fmla="*/ 113 w 2659"/>
                  <a:gd name="T69" fmla="*/ 503 h 1345"/>
                  <a:gd name="T70" fmla="*/ 195 w 2659"/>
                  <a:gd name="T71" fmla="*/ 681 h 1345"/>
                  <a:gd name="T72" fmla="*/ 299 w 2659"/>
                  <a:gd name="T73" fmla="*/ 848 h 1345"/>
                  <a:gd name="T74" fmla="*/ 385 w 2659"/>
                  <a:gd name="T75" fmla="*/ 948 h 1345"/>
                  <a:gd name="T76" fmla="*/ 443 w 2659"/>
                  <a:gd name="T77" fmla="*/ 999 h 1345"/>
                  <a:gd name="T78" fmla="*/ 501 w 2659"/>
                  <a:gd name="T79" fmla="*/ 1032 h 1345"/>
                  <a:gd name="T80" fmla="*/ 626 w 2659"/>
                  <a:gd name="T81" fmla="*/ 1061 h 1345"/>
                  <a:gd name="T82" fmla="*/ 815 w 2659"/>
                  <a:gd name="T83" fmla="*/ 1075 h 1345"/>
                  <a:gd name="T84" fmla="*/ 997 w 2659"/>
                  <a:gd name="T85" fmla="*/ 1067 h 1345"/>
                  <a:gd name="T86" fmla="*/ 1262 w 2659"/>
                  <a:gd name="T87" fmla="*/ 1030 h 1345"/>
                  <a:gd name="T88" fmla="*/ 1353 w 2659"/>
                  <a:gd name="T89" fmla="*/ 1016 h 1345"/>
                  <a:gd name="T90" fmla="*/ 1444 w 2659"/>
                  <a:gd name="T91" fmla="*/ 1003 h 1345"/>
                  <a:gd name="T92" fmla="*/ 1578 w 2659"/>
                  <a:gd name="T93" fmla="*/ 989 h 1345"/>
                  <a:gd name="T94" fmla="*/ 1698 w 2659"/>
                  <a:gd name="T95" fmla="*/ 985 h 1345"/>
                  <a:gd name="T96" fmla="*/ 1871 w 2659"/>
                  <a:gd name="T97" fmla="*/ 995 h 1345"/>
                  <a:gd name="T98" fmla="*/ 2012 w 2659"/>
                  <a:gd name="T99" fmla="*/ 1026 h 1345"/>
                  <a:gd name="T100" fmla="*/ 2139 w 2659"/>
                  <a:gd name="T101" fmla="*/ 1085 h 1345"/>
                  <a:gd name="T102" fmla="*/ 2235 w 2659"/>
                  <a:gd name="T103" fmla="*/ 1150 h 1345"/>
                  <a:gd name="T104" fmla="*/ 2320 w 2659"/>
                  <a:gd name="T105" fmla="*/ 1207 h 1345"/>
                  <a:gd name="T106" fmla="*/ 2403 w 2659"/>
                  <a:gd name="T107" fmla="*/ 1246 h 1345"/>
                  <a:gd name="T108" fmla="*/ 2488 w 2659"/>
                  <a:gd name="T109" fmla="*/ 1282 h 1345"/>
                  <a:gd name="T110" fmla="*/ 2578 w 2659"/>
                  <a:gd name="T111" fmla="*/ 1310 h 1345"/>
                  <a:gd name="T112" fmla="*/ 2634 w 2659"/>
                  <a:gd name="T113" fmla="*/ 1318 h 1345"/>
                  <a:gd name="T114" fmla="*/ 2656 w 2659"/>
                  <a:gd name="T115" fmla="*/ 1321 h 1345"/>
                  <a:gd name="T116" fmla="*/ 2655 w 2659"/>
                  <a:gd name="T117" fmla="*/ 134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9" h="1345">
                    <a:moveTo>
                      <a:pt x="2628" y="1345"/>
                    </a:moveTo>
                    <a:lnTo>
                      <a:pt x="2610" y="1344"/>
                    </a:lnTo>
                    <a:lnTo>
                      <a:pt x="2589" y="1341"/>
                    </a:lnTo>
                    <a:lnTo>
                      <a:pt x="2566" y="1335"/>
                    </a:lnTo>
                    <a:lnTo>
                      <a:pt x="2539" y="1328"/>
                    </a:lnTo>
                    <a:lnTo>
                      <a:pt x="2519" y="1322"/>
                    </a:lnTo>
                    <a:lnTo>
                      <a:pt x="2499" y="1315"/>
                    </a:lnTo>
                    <a:lnTo>
                      <a:pt x="2479" y="1308"/>
                    </a:lnTo>
                    <a:lnTo>
                      <a:pt x="2458" y="1299"/>
                    </a:lnTo>
                    <a:lnTo>
                      <a:pt x="2437" y="1290"/>
                    </a:lnTo>
                    <a:lnTo>
                      <a:pt x="2415" y="1281"/>
                    </a:lnTo>
                    <a:lnTo>
                      <a:pt x="2394" y="1271"/>
                    </a:lnTo>
                    <a:lnTo>
                      <a:pt x="2370" y="1260"/>
                    </a:lnTo>
                    <a:lnTo>
                      <a:pt x="2340" y="1247"/>
                    </a:lnTo>
                    <a:lnTo>
                      <a:pt x="2323" y="1240"/>
                    </a:lnTo>
                    <a:lnTo>
                      <a:pt x="2308" y="1231"/>
                    </a:lnTo>
                    <a:lnTo>
                      <a:pt x="2293" y="1222"/>
                    </a:lnTo>
                    <a:lnTo>
                      <a:pt x="2278" y="1213"/>
                    </a:lnTo>
                    <a:lnTo>
                      <a:pt x="2249" y="1192"/>
                    </a:lnTo>
                    <a:lnTo>
                      <a:pt x="2219" y="1172"/>
                    </a:lnTo>
                    <a:lnTo>
                      <a:pt x="2197" y="1155"/>
                    </a:lnTo>
                    <a:lnTo>
                      <a:pt x="2174" y="1140"/>
                    </a:lnTo>
                    <a:lnTo>
                      <a:pt x="2151" y="1124"/>
                    </a:lnTo>
                    <a:lnTo>
                      <a:pt x="2126" y="1108"/>
                    </a:lnTo>
                    <a:lnTo>
                      <a:pt x="2099" y="1093"/>
                    </a:lnTo>
                    <a:lnTo>
                      <a:pt x="2070" y="1079"/>
                    </a:lnTo>
                    <a:lnTo>
                      <a:pt x="2037" y="1065"/>
                    </a:lnTo>
                    <a:lnTo>
                      <a:pt x="2004" y="1052"/>
                    </a:lnTo>
                    <a:lnTo>
                      <a:pt x="1972" y="1042"/>
                    </a:lnTo>
                    <a:lnTo>
                      <a:pt x="1939" y="1033"/>
                    </a:lnTo>
                    <a:lnTo>
                      <a:pt x="1904" y="1027"/>
                    </a:lnTo>
                    <a:lnTo>
                      <a:pt x="1868" y="1021"/>
                    </a:lnTo>
                    <a:lnTo>
                      <a:pt x="1829" y="1017"/>
                    </a:lnTo>
                    <a:lnTo>
                      <a:pt x="1787" y="1014"/>
                    </a:lnTo>
                    <a:lnTo>
                      <a:pt x="1744" y="1012"/>
                    </a:lnTo>
                    <a:lnTo>
                      <a:pt x="1698" y="1012"/>
                    </a:lnTo>
                    <a:lnTo>
                      <a:pt x="1670" y="1012"/>
                    </a:lnTo>
                    <a:lnTo>
                      <a:pt x="1641" y="1013"/>
                    </a:lnTo>
                    <a:lnTo>
                      <a:pt x="1611" y="1014"/>
                    </a:lnTo>
                    <a:lnTo>
                      <a:pt x="1581" y="1016"/>
                    </a:lnTo>
                    <a:lnTo>
                      <a:pt x="1549" y="1019"/>
                    </a:lnTo>
                    <a:lnTo>
                      <a:pt x="1517" y="1023"/>
                    </a:lnTo>
                    <a:lnTo>
                      <a:pt x="1483" y="1026"/>
                    </a:lnTo>
                    <a:lnTo>
                      <a:pt x="1448" y="1030"/>
                    </a:lnTo>
                    <a:lnTo>
                      <a:pt x="1425" y="1033"/>
                    </a:lnTo>
                    <a:lnTo>
                      <a:pt x="1402" y="1037"/>
                    </a:lnTo>
                    <a:lnTo>
                      <a:pt x="1380" y="1040"/>
                    </a:lnTo>
                    <a:lnTo>
                      <a:pt x="1356" y="1043"/>
                    </a:lnTo>
                    <a:lnTo>
                      <a:pt x="1333" y="1046"/>
                    </a:lnTo>
                    <a:lnTo>
                      <a:pt x="1311" y="1051"/>
                    </a:lnTo>
                    <a:lnTo>
                      <a:pt x="1288" y="1054"/>
                    </a:lnTo>
                    <a:lnTo>
                      <a:pt x="1266" y="1057"/>
                    </a:lnTo>
                    <a:lnTo>
                      <a:pt x="1178" y="1071"/>
                    </a:lnTo>
                    <a:lnTo>
                      <a:pt x="1088" y="1083"/>
                    </a:lnTo>
                    <a:lnTo>
                      <a:pt x="1044" y="1090"/>
                    </a:lnTo>
                    <a:lnTo>
                      <a:pt x="999" y="1094"/>
                    </a:lnTo>
                    <a:lnTo>
                      <a:pt x="953" y="1098"/>
                    </a:lnTo>
                    <a:lnTo>
                      <a:pt x="907" y="1100"/>
                    </a:lnTo>
                    <a:lnTo>
                      <a:pt x="860" y="1102"/>
                    </a:lnTo>
                    <a:lnTo>
                      <a:pt x="814" y="1102"/>
                    </a:lnTo>
                    <a:lnTo>
                      <a:pt x="766" y="1101"/>
                    </a:lnTo>
                    <a:lnTo>
                      <a:pt x="719" y="1099"/>
                    </a:lnTo>
                    <a:lnTo>
                      <a:pt x="670" y="1094"/>
                    </a:lnTo>
                    <a:lnTo>
                      <a:pt x="622" y="1087"/>
                    </a:lnTo>
                    <a:lnTo>
                      <a:pt x="573" y="1079"/>
                    </a:lnTo>
                    <a:lnTo>
                      <a:pt x="522" y="1068"/>
                    </a:lnTo>
                    <a:lnTo>
                      <a:pt x="506" y="1064"/>
                    </a:lnTo>
                    <a:lnTo>
                      <a:pt x="489" y="1057"/>
                    </a:lnTo>
                    <a:lnTo>
                      <a:pt x="473" y="1050"/>
                    </a:lnTo>
                    <a:lnTo>
                      <a:pt x="456" y="1040"/>
                    </a:lnTo>
                    <a:lnTo>
                      <a:pt x="439" y="1030"/>
                    </a:lnTo>
                    <a:lnTo>
                      <a:pt x="423" y="1018"/>
                    </a:lnTo>
                    <a:lnTo>
                      <a:pt x="407" y="1005"/>
                    </a:lnTo>
                    <a:lnTo>
                      <a:pt x="391" y="991"/>
                    </a:lnTo>
                    <a:lnTo>
                      <a:pt x="374" y="976"/>
                    </a:lnTo>
                    <a:lnTo>
                      <a:pt x="358" y="961"/>
                    </a:lnTo>
                    <a:lnTo>
                      <a:pt x="342" y="944"/>
                    </a:lnTo>
                    <a:lnTo>
                      <a:pt x="327" y="927"/>
                    </a:lnTo>
                    <a:lnTo>
                      <a:pt x="312" y="908"/>
                    </a:lnTo>
                    <a:lnTo>
                      <a:pt x="297" y="890"/>
                    </a:lnTo>
                    <a:lnTo>
                      <a:pt x="282" y="869"/>
                    </a:lnTo>
                    <a:lnTo>
                      <a:pt x="267" y="850"/>
                    </a:lnTo>
                    <a:lnTo>
                      <a:pt x="239" y="808"/>
                    </a:lnTo>
                    <a:lnTo>
                      <a:pt x="212" y="766"/>
                    </a:lnTo>
                    <a:lnTo>
                      <a:pt x="186" y="721"/>
                    </a:lnTo>
                    <a:lnTo>
                      <a:pt x="163" y="678"/>
                    </a:lnTo>
                    <a:lnTo>
                      <a:pt x="141" y="635"/>
                    </a:lnTo>
                    <a:lnTo>
                      <a:pt x="121" y="593"/>
                    </a:lnTo>
                    <a:lnTo>
                      <a:pt x="103" y="552"/>
                    </a:lnTo>
                    <a:lnTo>
                      <a:pt x="87" y="513"/>
                    </a:lnTo>
                    <a:lnTo>
                      <a:pt x="75" y="483"/>
                    </a:lnTo>
                    <a:lnTo>
                      <a:pt x="64" y="450"/>
                    </a:lnTo>
                    <a:lnTo>
                      <a:pt x="53" y="417"/>
                    </a:lnTo>
                    <a:lnTo>
                      <a:pt x="42" y="384"/>
                    </a:lnTo>
                    <a:lnTo>
                      <a:pt x="31" y="349"/>
                    </a:lnTo>
                    <a:lnTo>
                      <a:pt x="22" y="313"/>
                    </a:lnTo>
                    <a:lnTo>
                      <a:pt x="15" y="279"/>
                    </a:lnTo>
                    <a:lnTo>
                      <a:pt x="8" y="244"/>
                    </a:lnTo>
                    <a:lnTo>
                      <a:pt x="3" y="210"/>
                    </a:lnTo>
                    <a:lnTo>
                      <a:pt x="1" y="176"/>
                    </a:lnTo>
                    <a:lnTo>
                      <a:pt x="0" y="160"/>
                    </a:lnTo>
                    <a:lnTo>
                      <a:pt x="0" y="144"/>
                    </a:lnTo>
                    <a:lnTo>
                      <a:pt x="1" y="129"/>
                    </a:lnTo>
                    <a:lnTo>
                      <a:pt x="2" y="113"/>
                    </a:lnTo>
                    <a:lnTo>
                      <a:pt x="4" y="97"/>
                    </a:lnTo>
                    <a:lnTo>
                      <a:pt x="6" y="83"/>
                    </a:lnTo>
                    <a:lnTo>
                      <a:pt x="10" y="69"/>
                    </a:lnTo>
                    <a:lnTo>
                      <a:pt x="15" y="55"/>
                    </a:lnTo>
                    <a:lnTo>
                      <a:pt x="19" y="41"/>
                    </a:lnTo>
                    <a:lnTo>
                      <a:pt x="26" y="29"/>
                    </a:lnTo>
                    <a:lnTo>
                      <a:pt x="32" y="17"/>
                    </a:lnTo>
                    <a:lnTo>
                      <a:pt x="40" y="6"/>
                    </a:lnTo>
                    <a:lnTo>
                      <a:pt x="44" y="1"/>
                    </a:lnTo>
                    <a:lnTo>
                      <a:pt x="48" y="0"/>
                    </a:lnTo>
                    <a:lnTo>
                      <a:pt x="54" y="0"/>
                    </a:lnTo>
                    <a:lnTo>
                      <a:pt x="59" y="2"/>
                    </a:lnTo>
                    <a:lnTo>
                      <a:pt x="62" y="6"/>
                    </a:lnTo>
                    <a:lnTo>
                      <a:pt x="64" y="11"/>
                    </a:lnTo>
                    <a:lnTo>
                      <a:pt x="63" y="17"/>
                    </a:lnTo>
                    <a:lnTo>
                      <a:pt x="61" y="21"/>
                    </a:lnTo>
                    <a:lnTo>
                      <a:pt x="55" y="32"/>
                    </a:lnTo>
                    <a:lnTo>
                      <a:pt x="48" y="42"/>
                    </a:lnTo>
                    <a:lnTo>
                      <a:pt x="43" y="54"/>
                    </a:lnTo>
                    <a:lnTo>
                      <a:pt x="39" y="67"/>
                    </a:lnTo>
                    <a:lnTo>
                      <a:pt x="35" y="80"/>
                    </a:lnTo>
                    <a:lnTo>
                      <a:pt x="32" y="93"/>
                    </a:lnTo>
                    <a:lnTo>
                      <a:pt x="30" y="107"/>
                    </a:lnTo>
                    <a:lnTo>
                      <a:pt x="28" y="121"/>
                    </a:lnTo>
                    <a:lnTo>
                      <a:pt x="27" y="135"/>
                    </a:lnTo>
                    <a:lnTo>
                      <a:pt x="27" y="150"/>
                    </a:lnTo>
                    <a:lnTo>
                      <a:pt x="27" y="165"/>
                    </a:lnTo>
                    <a:lnTo>
                      <a:pt x="28" y="182"/>
                    </a:lnTo>
                    <a:lnTo>
                      <a:pt x="30" y="213"/>
                    </a:lnTo>
                    <a:lnTo>
                      <a:pt x="35" y="245"/>
                    </a:lnTo>
                    <a:lnTo>
                      <a:pt x="42" y="279"/>
                    </a:lnTo>
                    <a:lnTo>
                      <a:pt x="49" y="312"/>
                    </a:lnTo>
                    <a:lnTo>
                      <a:pt x="58" y="346"/>
                    </a:lnTo>
                    <a:lnTo>
                      <a:pt x="69" y="378"/>
                    </a:lnTo>
                    <a:lnTo>
                      <a:pt x="90" y="443"/>
                    </a:lnTo>
                    <a:lnTo>
                      <a:pt x="113" y="503"/>
                    </a:lnTo>
                    <a:lnTo>
                      <a:pt x="130" y="548"/>
                    </a:lnTo>
                    <a:lnTo>
                      <a:pt x="151" y="593"/>
                    </a:lnTo>
                    <a:lnTo>
                      <a:pt x="172" y="637"/>
                    </a:lnTo>
                    <a:lnTo>
                      <a:pt x="195" y="681"/>
                    </a:lnTo>
                    <a:lnTo>
                      <a:pt x="219" y="725"/>
                    </a:lnTo>
                    <a:lnTo>
                      <a:pt x="245" y="768"/>
                    </a:lnTo>
                    <a:lnTo>
                      <a:pt x="272" y="809"/>
                    </a:lnTo>
                    <a:lnTo>
                      <a:pt x="299" y="848"/>
                    </a:lnTo>
                    <a:lnTo>
                      <a:pt x="327" y="883"/>
                    </a:lnTo>
                    <a:lnTo>
                      <a:pt x="356" y="918"/>
                    </a:lnTo>
                    <a:lnTo>
                      <a:pt x="370" y="934"/>
                    </a:lnTo>
                    <a:lnTo>
                      <a:pt x="385" y="948"/>
                    </a:lnTo>
                    <a:lnTo>
                      <a:pt x="399" y="962"/>
                    </a:lnTo>
                    <a:lnTo>
                      <a:pt x="414" y="976"/>
                    </a:lnTo>
                    <a:lnTo>
                      <a:pt x="428" y="988"/>
                    </a:lnTo>
                    <a:lnTo>
                      <a:pt x="443" y="999"/>
                    </a:lnTo>
                    <a:lnTo>
                      <a:pt x="458" y="1010"/>
                    </a:lnTo>
                    <a:lnTo>
                      <a:pt x="472" y="1018"/>
                    </a:lnTo>
                    <a:lnTo>
                      <a:pt x="487" y="1026"/>
                    </a:lnTo>
                    <a:lnTo>
                      <a:pt x="501" y="1032"/>
                    </a:lnTo>
                    <a:lnTo>
                      <a:pt x="515" y="1038"/>
                    </a:lnTo>
                    <a:lnTo>
                      <a:pt x="529" y="1042"/>
                    </a:lnTo>
                    <a:lnTo>
                      <a:pt x="577" y="1053"/>
                    </a:lnTo>
                    <a:lnTo>
                      <a:pt x="626" y="1061"/>
                    </a:lnTo>
                    <a:lnTo>
                      <a:pt x="675" y="1068"/>
                    </a:lnTo>
                    <a:lnTo>
                      <a:pt x="721" y="1072"/>
                    </a:lnTo>
                    <a:lnTo>
                      <a:pt x="769" y="1074"/>
                    </a:lnTo>
                    <a:lnTo>
                      <a:pt x="815" y="1075"/>
                    </a:lnTo>
                    <a:lnTo>
                      <a:pt x="861" y="1075"/>
                    </a:lnTo>
                    <a:lnTo>
                      <a:pt x="907" y="1073"/>
                    </a:lnTo>
                    <a:lnTo>
                      <a:pt x="952" y="1071"/>
                    </a:lnTo>
                    <a:lnTo>
                      <a:pt x="997" y="1067"/>
                    </a:lnTo>
                    <a:lnTo>
                      <a:pt x="1042" y="1063"/>
                    </a:lnTo>
                    <a:lnTo>
                      <a:pt x="1086" y="1056"/>
                    </a:lnTo>
                    <a:lnTo>
                      <a:pt x="1175" y="1044"/>
                    </a:lnTo>
                    <a:lnTo>
                      <a:pt x="1262" y="1030"/>
                    </a:lnTo>
                    <a:lnTo>
                      <a:pt x="1285" y="1027"/>
                    </a:lnTo>
                    <a:lnTo>
                      <a:pt x="1307" y="1024"/>
                    </a:lnTo>
                    <a:lnTo>
                      <a:pt x="1330" y="1020"/>
                    </a:lnTo>
                    <a:lnTo>
                      <a:pt x="1353" y="1016"/>
                    </a:lnTo>
                    <a:lnTo>
                      <a:pt x="1375" y="1013"/>
                    </a:lnTo>
                    <a:lnTo>
                      <a:pt x="1398" y="1010"/>
                    </a:lnTo>
                    <a:lnTo>
                      <a:pt x="1422" y="1006"/>
                    </a:lnTo>
                    <a:lnTo>
                      <a:pt x="1444" y="1003"/>
                    </a:lnTo>
                    <a:lnTo>
                      <a:pt x="1480" y="999"/>
                    </a:lnTo>
                    <a:lnTo>
                      <a:pt x="1515" y="996"/>
                    </a:lnTo>
                    <a:lnTo>
                      <a:pt x="1547" y="992"/>
                    </a:lnTo>
                    <a:lnTo>
                      <a:pt x="1578" y="989"/>
                    </a:lnTo>
                    <a:lnTo>
                      <a:pt x="1610" y="987"/>
                    </a:lnTo>
                    <a:lnTo>
                      <a:pt x="1640" y="986"/>
                    </a:lnTo>
                    <a:lnTo>
                      <a:pt x="1669" y="985"/>
                    </a:lnTo>
                    <a:lnTo>
                      <a:pt x="1698" y="985"/>
                    </a:lnTo>
                    <a:lnTo>
                      <a:pt x="1745" y="985"/>
                    </a:lnTo>
                    <a:lnTo>
                      <a:pt x="1789" y="987"/>
                    </a:lnTo>
                    <a:lnTo>
                      <a:pt x="1831" y="990"/>
                    </a:lnTo>
                    <a:lnTo>
                      <a:pt x="1871" y="995"/>
                    </a:lnTo>
                    <a:lnTo>
                      <a:pt x="1910" y="1001"/>
                    </a:lnTo>
                    <a:lnTo>
                      <a:pt x="1945" y="1007"/>
                    </a:lnTo>
                    <a:lnTo>
                      <a:pt x="1980" y="1016"/>
                    </a:lnTo>
                    <a:lnTo>
                      <a:pt x="2012" y="1026"/>
                    </a:lnTo>
                    <a:lnTo>
                      <a:pt x="2048" y="1040"/>
                    </a:lnTo>
                    <a:lnTo>
                      <a:pt x="2080" y="1054"/>
                    </a:lnTo>
                    <a:lnTo>
                      <a:pt x="2111" y="1069"/>
                    </a:lnTo>
                    <a:lnTo>
                      <a:pt x="2139" y="1085"/>
                    </a:lnTo>
                    <a:lnTo>
                      <a:pt x="2165" y="1100"/>
                    </a:lnTo>
                    <a:lnTo>
                      <a:pt x="2190" y="1118"/>
                    </a:lnTo>
                    <a:lnTo>
                      <a:pt x="2212" y="1134"/>
                    </a:lnTo>
                    <a:lnTo>
                      <a:pt x="2235" y="1150"/>
                    </a:lnTo>
                    <a:lnTo>
                      <a:pt x="2263" y="1170"/>
                    </a:lnTo>
                    <a:lnTo>
                      <a:pt x="2292" y="1190"/>
                    </a:lnTo>
                    <a:lnTo>
                      <a:pt x="2306" y="1199"/>
                    </a:lnTo>
                    <a:lnTo>
                      <a:pt x="2320" y="1207"/>
                    </a:lnTo>
                    <a:lnTo>
                      <a:pt x="2335" y="1215"/>
                    </a:lnTo>
                    <a:lnTo>
                      <a:pt x="2350" y="1222"/>
                    </a:lnTo>
                    <a:lnTo>
                      <a:pt x="2381" y="1236"/>
                    </a:lnTo>
                    <a:lnTo>
                      <a:pt x="2403" y="1246"/>
                    </a:lnTo>
                    <a:lnTo>
                      <a:pt x="2426" y="1256"/>
                    </a:lnTo>
                    <a:lnTo>
                      <a:pt x="2448" y="1265"/>
                    </a:lnTo>
                    <a:lnTo>
                      <a:pt x="2468" y="1274"/>
                    </a:lnTo>
                    <a:lnTo>
                      <a:pt x="2488" y="1282"/>
                    </a:lnTo>
                    <a:lnTo>
                      <a:pt x="2508" y="1289"/>
                    </a:lnTo>
                    <a:lnTo>
                      <a:pt x="2528" y="1296"/>
                    </a:lnTo>
                    <a:lnTo>
                      <a:pt x="2546" y="1301"/>
                    </a:lnTo>
                    <a:lnTo>
                      <a:pt x="2578" y="1310"/>
                    </a:lnTo>
                    <a:lnTo>
                      <a:pt x="2605" y="1316"/>
                    </a:lnTo>
                    <a:lnTo>
                      <a:pt x="2616" y="1318"/>
                    </a:lnTo>
                    <a:lnTo>
                      <a:pt x="2626" y="1318"/>
                    </a:lnTo>
                    <a:lnTo>
                      <a:pt x="2634" y="1318"/>
                    </a:lnTo>
                    <a:lnTo>
                      <a:pt x="2642" y="1316"/>
                    </a:lnTo>
                    <a:lnTo>
                      <a:pt x="2647" y="1316"/>
                    </a:lnTo>
                    <a:lnTo>
                      <a:pt x="2653" y="1317"/>
                    </a:lnTo>
                    <a:lnTo>
                      <a:pt x="2656" y="1321"/>
                    </a:lnTo>
                    <a:lnTo>
                      <a:pt x="2659" y="1325"/>
                    </a:lnTo>
                    <a:lnTo>
                      <a:pt x="2659" y="1330"/>
                    </a:lnTo>
                    <a:lnTo>
                      <a:pt x="2658" y="1336"/>
                    </a:lnTo>
                    <a:lnTo>
                      <a:pt x="2655" y="1340"/>
                    </a:lnTo>
                    <a:lnTo>
                      <a:pt x="2651" y="1342"/>
                    </a:lnTo>
                    <a:lnTo>
                      <a:pt x="2640" y="1345"/>
                    </a:lnTo>
                    <a:lnTo>
                      <a:pt x="2628"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2"/>
              <p:cNvSpPr>
                <a:spLocks/>
              </p:cNvSpPr>
              <p:nvPr userDrawn="1"/>
            </p:nvSpPr>
            <p:spPr bwMode="auto">
              <a:xfrm>
                <a:off x="2019" y="1238"/>
                <a:ext cx="895" cy="451"/>
              </a:xfrm>
              <a:custGeom>
                <a:avLst/>
                <a:gdLst>
                  <a:gd name="T0" fmla="*/ 2579 w 2683"/>
                  <a:gd name="T1" fmla="*/ 1350 h 1355"/>
                  <a:gd name="T2" fmla="*/ 2482 w 2683"/>
                  <a:gd name="T3" fmla="*/ 1328 h 1355"/>
                  <a:gd name="T4" fmla="*/ 2377 w 2683"/>
                  <a:gd name="T5" fmla="*/ 1288 h 1355"/>
                  <a:gd name="T6" fmla="*/ 2261 w 2683"/>
                  <a:gd name="T7" fmla="*/ 1233 h 1355"/>
                  <a:gd name="T8" fmla="*/ 2150 w 2683"/>
                  <a:gd name="T9" fmla="*/ 1173 h 1355"/>
                  <a:gd name="T10" fmla="*/ 2021 w 2683"/>
                  <a:gd name="T11" fmla="*/ 1117 h 1355"/>
                  <a:gd name="T12" fmla="*/ 1881 w 2683"/>
                  <a:gd name="T13" fmla="*/ 1080 h 1355"/>
                  <a:gd name="T14" fmla="*/ 1723 w 2683"/>
                  <a:gd name="T15" fmla="*/ 1059 h 1355"/>
                  <a:gd name="T16" fmla="*/ 1589 w 2683"/>
                  <a:gd name="T17" fmla="*/ 1055 h 1355"/>
                  <a:gd name="T18" fmla="*/ 1462 w 2683"/>
                  <a:gd name="T19" fmla="*/ 1059 h 1355"/>
                  <a:gd name="T20" fmla="*/ 1338 w 2683"/>
                  <a:gd name="T21" fmla="*/ 1069 h 1355"/>
                  <a:gd name="T22" fmla="*/ 1221 w 2683"/>
                  <a:gd name="T23" fmla="*/ 1082 h 1355"/>
                  <a:gd name="T24" fmla="*/ 981 w 2683"/>
                  <a:gd name="T25" fmla="*/ 1109 h 1355"/>
                  <a:gd name="T26" fmla="*/ 812 w 2683"/>
                  <a:gd name="T27" fmla="*/ 1115 h 1355"/>
                  <a:gd name="T28" fmla="*/ 639 w 2683"/>
                  <a:gd name="T29" fmla="*/ 1104 h 1355"/>
                  <a:gd name="T30" fmla="*/ 489 w 2683"/>
                  <a:gd name="T31" fmla="*/ 1076 h 1355"/>
                  <a:gd name="T32" fmla="*/ 425 w 2683"/>
                  <a:gd name="T33" fmla="*/ 1044 h 1355"/>
                  <a:gd name="T34" fmla="*/ 363 w 2683"/>
                  <a:gd name="T35" fmla="*/ 991 h 1355"/>
                  <a:gd name="T36" fmla="*/ 301 w 2683"/>
                  <a:gd name="T37" fmla="*/ 923 h 1355"/>
                  <a:gd name="T38" fmla="*/ 229 w 2683"/>
                  <a:gd name="T39" fmla="*/ 822 h 1355"/>
                  <a:gd name="T40" fmla="*/ 130 w 2683"/>
                  <a:gd name="T41" fmla="*/ 646 h 1355"/>
                  <a:gd name="T42" fmla="*/ 56 w 2683"/>
                  <a:gd name="T43" fmla="*/ 448 h 1355"/>
                  <a:gd name="T44" fmla="*/ 11 w 2683"/>
                  <a:gd name="T45" fmla="*/ 272 h 1355"/>
                  <a:gd name="T46" fmla="*/ 0 w 2683"/>
                  <a:gd name="T47" fmla="*/ 157 h 1355"/>
                  <a:gd name="T48" fmla="*/ 6 w 2683"/>
                  <a:gd name="T49" fmla="*/ 96 h 1355"/>
                  <a:gd name="T50" fmla="*/ 24 w 2683"/>
                  <a:gd name="T51" fmla="*/ 42 h 1355"/>
                  <a:gd name="T52" fmla="*/ 48 w 2683"/>
                  <a:gd name="T53" fmla="*/ 2 h 1355"/>
                  <a:gd name="T54" fmla="*/ 67 w 2683"/>
                  <a:gd name="T55" fmla="*/ 7 h 1355"/>
                  <a:gd name="T56" fmla="*/ 59 w 2683"/>
                  <a:gd name="T57" fmla="*/ 33 h 1355"/>
                  <a:gd name="T58" fmla="*/ 38 w 2683"/>
                  <a:gd name="T59" fmla="*/ 80 h 1355"/>
                  <a:gd name="T60" fmla="*/ 28 w 2683"/>
                  <a:gd name="T61" fmla="*/ 134 h 1355"/>
                  <a:gd name="T62" fmla="*/ 29 w 2683"/>
                  <a:gd name="T63" fmla="*/ 209 h 1355"/>
                  <a:gd name="T64" fmla="*/ 53 w 2683"/>
                  <a:gd name="T65" fmla="*/ 340 h 1355"/>
                  <a:gd name="T66" fmla="*/ 119 w 2683"/>
                  <a:gd name="T67" fmla="*/ 549 h 1355"/>
                  <a:gd name="T68" fmla="*/ 197 w 2683"/>
                  <a:gd name="T69" fmla="*/ 717 h 1355"/>
                  <a:gd name="T70" fmla="*/ 303 w 2683"/>
                  <a:gd name="T71" fmla="*/ 882 h 1355"/>
                  <a:gd name="T72" fmla="*/ 377 w 2683"/>
                  <a:gd name="T73" fmla="*/ 967 h 1355"/>
                  <a:gd name="T74" fmla="*/ 437 w 2683"/>
                  <a:gd name="T75" fmla="*/ 1019 h 1355"/>
                  <a:gd name="T76" fmla="*/ 496 w 2683"/>
                  <a:gd name="T77" fmla="*/ 1051 h 1355"/>
                  <a:gd name="T78" fmla="*/ 643 w 2683"/>
                  <a:gd name="T79" fmla="*/ 1079 h 1355"/>
                  <a:gd name="T80" fmla="*/ 813 w 2683"/>
                  <a:gd name="T81" fmla="*/ 1088 h 1355"/>
                  <a:gd name="T82" fmla="*/ 980 w 2683"/>
                  <a:gd name="T83" fmla="*/ 1081 h 1355"/>
                  <a:gd name="T84" fmla="*/ 1219 w 2683"/>
                  <a:gd name="T85" fmla="*/ 1056 h 1355"/>
                  <a:gd name="T86" fmla="*/ 1335 w 2683"/>
                  <a:gd name="T87" fmla="*/ 1042 h 1355"/>
                  <a:gd name="T88" fmla="*/ 1460 w 2683"/>
                  <a:gd name="T89" fmla="*/ 1032 h 1355"/>
                  <a:gd name="T90" fmla="*/ 1589 w 2683"/>
                  <a:gd name="T91" fmla="*/ 1028 h 1355"/>
                  <a:gd name="T92" fmla="*/ 1725 w 2683"/>
                  <a:gd name="T93" fmla="*/ 1032 h 1355"/>
                  <a:gd name="T94" fmla="*/ 1886 w 2683"/>
                  <a:gd name="T95" fmla="*/ 1053 h 1355"/>
                  <a:gd name="T96" fmla="*/ 2031 w 2683"/>
                  <a:gd name="T97" fmla="*/ 1093 h 1355"/>
                  <a:gd name="T98" fmla="*/ 2162 w 2683"/>
                  <a:gd name="T99" fmla="*/ 1149 h 1355"/>
                  <a:gd name="T100" fmla="*/ 2274 w 2683"/>
                  <a:gd name="T101" fmla="*/ 1208 h 1355"/>
                  <a:gd name="T102" fmla="*/ 2388 w 2683"/>
                  <a:gd name="T103" fmla="*/ 1263 h 1355"/>
                  <a:gd name="T104" fmla="*/ 2490 w 2683"/>
                  <a:gd name="T105" fmla="*/ 1301 h 1355"/>
                  <a:gd name="T106" fmla="*/ 2599 w 2683"/>
                  <a:gd name="T107" fmla="*/ 1326 h 1355"/>
                  <a:gd name="T108" fmla="*/ 2658 w 2683"/>
                  <a:gd name="T109" fmla="*/ 1326 h 1355"/>
                  <a:gd name="T110" fmla="*/ 2680 w 2683"/>
                  <a:gd name="T111" fmla="*/ 1328 h 1355"/>
                  <a:gd name="T112" fmla="*/ 2679 w 2683"/>
                  <a:gd name="T113" fmla="*/ 1347 h 1355"/>
                  <a:gd name="T114" fmla="*/ 2646 w 2683"/>
                  <a:gd name="T115" fmla="*/ 1355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3" h="1355">
                    <a:moveTo>
                      <a:pt x="2636" y="1355"/>
                    </a:moveTo>
                    <a:lnTo>
                      <a:pt x="2618" y="1355"/>
                    </a:lnTo>
                    <a:lnTo>
                      <a:pt x="2599" y="1353"/>
                    </a:lnTo>
                    <a:lnTo>
                      <a:pt x="2579" y="1350"/>
                    </a:lnTo>
                    <a:lnTo>
                      <a:pt x="2557" y="1346"/>
                    </a:lnTo>
                    <a:lnTo>
                      <a:pt x="2533" y="1341"/>
                    </a:lnTo>
                    <a:lnTo>
                      <a:pt x="2508" y="1336"/>
                    </a:lnTo>
                    <a:lnTo>
                      <a:pt x="2482" y="1328"/>
                    </a:lnTo>
                    <a:lnTo>
                      <a:pt x="2457" y="1319"/>
                    </a:lnTo>
                    <a:lnTo>
                      <a:pt x="2431" y="1310"/>
                    </a:lnTo>
                    <a:lnTo>
                      <a:pt x="2404" y="1299"/>
                    </a:lnTo>
                    <a:lnTo>
                      <a:pt x="2377" y="1288"/>
                    </a:lnTo>
                    <a:lnTo>
                      <a:pt x="2350" y="1276"/>
                    </a:lnTo>
                    <a:lnTo>
                      <a:pt x="2320" y="1263"/>
                    </a:lnTo>
                    <a:lnTo>
                      <a:pt x="2291" y="1248"/>
                    </a:lnTo>
                    <a:lnTo>
                      <a:pt x="2261" y="1233"/>
                    </a:lnTo>
                    <a:lnTo>
                      <a:pt x="2231" y="1216"/>
                    </a:lnTo>
                    <a:lnTo>
                      <a:pt x="2205" y="1202"/>
                    </a:lnTo>
                    <a:lnTo>
                      <a:pt x="2178" y="1188"/>
                    </a:lnTo>
                    <a:lnTo>
                      <a:pt x="2150" y="1173"/>
                    </a:lnTo>
                    <a:lnTo>
                      <a:pt x="2120" y="1158"/>
                    </a:lnTo>
                    <a:lnTo>
                      <a:pt x="2089" y="1144"/>
                    </a:lnTo>
                    <a:lnTo>
                      <a:pt x="2057" y="1130"/>
                    </a:lnTo>
                    <a:lnTo>
                      <a:pt x="2021" y="1117"/>
                    </a:lnTo>
                    <a:lnTo>
                      <a:pt x="1984" y="1106"/>
                    </a:lnTo>
                    <a:lnTo>
                      <a:pt x="1951" y="1096"/>
                    </a:lnTo>
                    <a:lnTo>
                      <a:pt x="1916" y="1087"/>
                    </a:lnTo>
                    <a:lnTo>
                      <a:pt x="1881" y="1080"/>
                    </a:lnTo>
                    <a:lnTo>
                      <a:pt x="1843" y="1073"/>
                    </a:lnTo>
                    <a:lnTo>
                      <a:pt x="1805" y="1068"/>
                    </a:lnTo>
                    <a:lnTo>
                      <a:pt x="1764" y="1062"/>
                    </a:lnTo>
                    <a:lnTo>
                      <a:pt x="1723" y="1059"/>
                    </a:lnTo>
                    <a:lnTo>
                      <a:pt x="1679" y="1057"/>
                    </a:lnTo>
                    <a:lnTo>
                      <a:pt x="1650" y="1055"/>
                    </a:lnTo>
                    <a:lnTo>
                      <a:pt x="1619" y="1055"/>
                    </a:lnTo>
                    <a:lnTo>
                      <a:pt x="1589" y="1055"/>
                    </a:lnTo>
                    <a:lnTo>
                      <a:pt x="1558" y="1055"/>
                    </a:lnTo>
                    <a:lnTo>
                      <a:pt x="1527" y="1056"/>
                    </a:lnTo>
                    <a:lnTo>
                      <a:pt x="1494" y="1057"/>
                    </a:lnTo>
                    <a:lnTo>
                      <a:pt x="1462" y="1059"/>
                    </a:lnTo>
                    <a:lnTo>
                      <a:pt x="1427" y="1061"/>
                    </a:lnTo>
                    <a:lnTo>
                      <a:pt x="1397" y="1063"/>
                    </a:lnTo>
                    <a:lnTo>
                      <a:pt x="1368" y="1067"/>
                    </a:lnTo>
                    <a:lnTo>
                      <a:pt x="1338" y="1069"/>
                    </a:lnTo>
                    <a:lnTo>
                      <a:pt x="1308" y="1072"/>
                    </a:lnTo>
                    <a:lnTo>
                      <a:pt x="1279" y="1075"/>
                    </a:lnTo>
                    <a:lnTo>
                      <a:pt x="1250" y="1079"/>
                    </a:lnTo>
                    <a:lnTo>
                      <a:pt x="1221" y="1082"/>
                    </a:lnTo>
                    <a:lnTo>
                      <a:pt x="1193" y="1086"/>
                    </a:lnTo>
                    <a:lnTo>
                      <a:pt x="1108" y="1096"/>
                    </a:lnTo>
                    <a:lnTo>
                      <a:pt x="1023" y="1104"/>
                    </a:lnTo>
                    <a:lnTo>
                      <a:pt x="981" y="1109"/>
                    </a:lnTo>
                    <a:lnTo>
                      <a:pt x="939" y="1111"/>
                    </a:lnTo>
                    <a:lnTo>
                      <a:pt x="897" y="1114"/>
                    </a:lnTo>
                    <a:lnTo>
                      <a:pt x="855" y="1115"/>
                    </a:lnTo>
                    <a:lnTo>
                      <a:pt x="812" y="1115"/>
                    </a:lnTo>
                    <a:lnTo>
                      <a:pt x="770" y="1115"/>
                    </a:lnTo>
                    <a:lnTo>
                      <a:pt x="726" y="1113"/>
                    </a:lnTo>
                    <a:lnTo>
                      <a:pt x="683" y="1110"/>
                    </a:lnTo>
                    <a:lnTo>
                      <a:pt x="639" y="1104"/>
                    </a:lnTo>
                    <a:lnTo>
                      <a:pt x="595" y="1099"/>
                    </a:lnTo>
                    <a:lnTo>
                      <a:pt x="549" y="1090"/>
                    </a:lnTo>
                    <a:lnTo>
                      <a:pt x="504" y="1081"/>
                    </a:lnTo>
                    <a:lnTo>
                      <a:pt x="489" y="1076"/>
                    </a:lnTo>
                    <a:lnTo>
                      <a:pt x="473" y="1070"/>
                    </a:lnTo>
                    <a:lnTo>
                      <a:pt x="458" y="1062"/>
                    </a:lnTo>
                    <a:lnTo>
                      <a:pt x="441" y="1054"/>
                    </a:lnTo>
                    <a:lnTo>
                      <a:pt x="425" y="1044"/>
                    </a:lnTo>
                    <a:lnTo>
                      <a:pt x="410" y="1032"/>
                    </a:lnTo>
                    <a:lnTo>
                      <a:pt x="394" y="1019"/>
                    </a:lnTo>
                    <a:lnTo>
                      <a:pt x="378" y="1006"/>
                    </a:lnTo>
                    <a:lnTo>
                      <a:pt x="363" y="991"/>
                    </a:lnTo>
                    <a:lnTo>
                      <a:pt x="346" y="975"/>
                    </a:lnTo>
                    <a:lnTo>
                      <a:pt x="331" y="959"/>
                    </a:lnTo>
                    <a:lnTo>
                      <a:pt x="316" y="940"/>
                    </a:lnTo>
                    <a:lnTo>
                      <a:pt x="301" y="923"/>
                    </a:lnTo>
                    <a:lnTo>
                      <a:pt x="286" y="904"/>
                    </a:lnTo>
                    <a:lnTo>
                      <a:pt x="271" y="884"/>
                    </a:lnTo>
                    <a:lnTo>
                      <a:pt x="257" y="864"/>
                    </a:lnTo>
                    <a:lnTo>
                      <a:pt x="229" y="822"/>
                    </a:lnTo>
                    <a:lnTo>
                      <a:pt x="202" y="778"/>
                    </a:lnTo>
                    <a:lnTo>
                      <a:pt x="176" y="734"/>
                    </a:lnTo>
                    <a:lnTo>
                      <a:pt x="152" y="690"/>
                    </a:lnTo>
                    <a:lnTo>
                      <a:pt x="130" y="646"/>
                    </a:lnTo>
                    <a:lnTo>
                      <a:pt x="111" y="601"/>
                    </a:lnTo>
                    <a:lnTo>
                      <a:pt x="94" y="559"/>
                    </a:lnTo>
                    <a:lnTo>
                      <a:pt x="80" y="518"/>
                    </a:lnTo>
                    <a:lnTo>
                      <a:pt x="56" y="448"/>
                    </a:lnTo>
                    <a:lnTo>
                      <a:pt x="34" y="378"/>
                    </a:lnTo>
                    <a:lnTo>
                      <a:pt x="26" y="342"/>
                    </a:lnTo>
                    <a:lnTo>
                      <a:pt x="17" y="307"/>
                    </a:lnTo>
                    <a:lnTo>
                      <a:pt x="11" y="272"/>
                    </a:lnTo>
                    <a:lnTo>
                      <a:pt x="5" y="239"/>
                    </a:lnTo>
                    <a:lnTo>
                      <a:pt x="2" y="205"/>
                    </a:lnTo>
                    <a:lnTo>
                      <a:pt x="0" y="173"/>
                    </a:lnTo>
                    <a:lnTo>
                      <a:pt x="0" y="157"/>
                    </a:lnTo>
                    <a:lnTo>
                      <a:pt x="1" y="142"/>
                    </a:lnTo>
                    <a:lnTo>
                      <a:pt x="2" y="126"/>
                    </a:lnTo>
                    <a:lnTo>
                      <a:pt x="4" y="111"/>
                    </a:lnTo>
                    <a:lnTo>
                      <a:pt x="6" y="96"/>
                    </a:lnTo>
                    <a:lnTo>
                      <a:pt x="9" y="82"/>
                    </a:lnTo>
                    <a:lnTo>
                      <a:pt x="13" y="68"/>
                    </a:lnTo>
                    <a:lnTo>
                      <a:pt x="18" y="55"/>
                    </a:lnTo>
                    <a:lnTo>
                      <a:pt x="24" y="42"/>
                    </a:lnTo>
                    <a:lnTo>
                      <a:pt x="29" y="29"/>
                    </a:lnTo>
                    <a:lnTo>
                      <a:pt x="36" y="17"/>
                    </a:lnTo>
                    <a:lnTo>
                      <a:pt x="44" y="7"/>
                    </a:lnTo>
                    <a:lnTo>
                      <a:pt x="48" y="2"/>
                    </a:lnTo>
                    <a:lnTo>
                      <a:pt x="53" y="0"/>
                    </a:lnTo>
                    <a:lnTo>
                      <a:pt x="58" y="1"/>
                    </a:lnTo>
                    <a:lnTo>
                      <a:pt x="62" y="3"/>
                    </a:lnTo>
                    <a:lnTo>
                      <a:pt x="67" y="7"/>
                    </a:lnTo>
                    <a:lnTo>
                      <a:pt x="68" y="12"/>
                    </a:lnTo>
                    <a:lnTo>
                      <a:pt x="68" y="17"/>
                    </a:lnTo>
                    <a:lnTo>
                      <a:pt x="66" y="22"/>
                    </a:lnTo>
                    <a:lnTo>
                      <a:pt x="59" y="33"/>
                    </a:lnTo>
                    <a:lnTo>
                      <a:pt x="53" y="43"/>
                    </a:lnTo>
                    <a:lnTo>
                      <a:pt x="47" y="55"/>
                    </a:lnTo>
                    <a:lnTo>
                      <a:pt x="42" y="67"/>
                    </a:lnTo>
                    <a:lnTo>
                      <a:pt x="38" y="80"/>
                    </a:lnTo>
                    <a:lnTo>
                      <a:pt x="34" y="93"/>
                    </a:lnTo>
                    <a:lnTo>
                      <a:pt x="32" y="106"/>
                    </a:lnTo>
                    <a:lnTo>
                      <a:pt x="30" y="120"/>
                    </a:lnTo>
                    <a:lnTo>
                      <a:pt x="28" y="134"/>
                    </a:lnTo>
                    <a:lnTo>
                      <a:pt x="27" y="148"/>
                    </a:lnTo>
                    <a:lnTo>
                      <a:pt x="27" y="163"/>
                    </a:lnTo>
                    <a:lnTo>
                      <a:pt x="27" y="178"/>
                    </a:lnTo>
                    <a:lnTo>
                      <a:pt x="29" y="209"/>
                    </a:lnTo>
                    <a:lnTo>
                      <a:pt x="32" y="241"/>
                    </a:lnTo>
                    <a:lnTo>
                      <a:pt x="38" y="273"/>
                    </a:lnTo>
                    <a:lnTo>
                      <a:pt x="45" y="307"/>
                    </a:lnTo>
                    <a:lnTo>
                      <a:pt x="53" y="340"/>
                    </a:lnTo>
                    <a:lnTo>
                      <a:pt x="61" y="374"/>
                    </a:lnTo>
                    <a:lnTo>
                      <a:pt x="82" y="443"/>
                    </a:lnTo>
                    <a:lnTo>
                      <a:pt x="104" y="510"/>
                    </a:lnTo>
                    <a:lnTo>
                      <a:pt x="119" y="549"/>
                    </a:lnTo>
                    <a:lnTo>
                      <a:pt x="136" y="590"/>
                    </a:lnTo>
                    <a:lnTo>
                      <a:pt x="154" y="631"/>
                    </a:lnTo>
                    <a:lnTo>
                      <a:pt x="175" y="674"/>
                    </a:lnTo>
                    <a:lnTo>
                      <a:pt x="197" y="717"/>
                    </a:lnTo>
                    <a:lnTo>
                      <a:pt x="222" y="760"/>
                    </a:lnTo>
                    <a:lnTo>
                      <a:pt x="248" y="802"/>
                    </a:lnTo>
                    <a:lnTo>
                      <a:pt x="275" y="843"/>
                    </a:lnTo>
                    <a:lnTo>
                      <a:pt x="303" y="882"/>
                    </a:lnTo>
                    <a:lnTo>
                      <a:pt x="332" y="919"/>
                    </a:lnTo>
                    <a:lnTo>
                      <a:pt x="346" y="936"/>
                    </a:lnTo>
                    <a:lnTo>
                      <a:pt x="361" y="952"/>
                    </a:lnTo>
                    <a:lnTo>
                      <a:pt x="377" y="967"/>
                    </a:lnTo>
                    <a:lnTo>
                      <a:pt x="392" y="981"/>
                    </a:lnTo>
                    <a:lnTo>
                      <a:pt x="407" y="995"/>
                    </a:lnTo>
                    <a:lnTo>
                      <a:pt x="422" y="1007"/>
                    </a:lnTo>
                    <a:lnTo>
                      <a:pt x="437" y="1019"/>
                    </a:lnTo>
                    <a:lnTo>
                      <a:pt x="451" y="1029"/>
                    </a:lnTo>
                    <a:lnTo>
                      <a:pt x="466" y="1038"/>
                    </a:lnTo>
                    <a:lnTo>
                      <a:pt x="481" y="1044"/>
                    </a:lnTo>
                    <a:lnTo>
                      <a:pt x="496" y="1051"/>
                    </a:lnTo>
                    <a:lnTo>
                      <a:pt x="510" y="1055"/>
                    </a:lnTo>
                    <a:lnTo>
                      <a:pt x="555" y="1065"/>
                    </a:lnTo>
                    <a:lnTo>
                      <a:pt x="599" y="1072"/>
                    </a:lnTo>
                    <a:lnTo>
                      <a:pt x="643" y="1079"/>
                    </a:lnTo>
                    <a:lnTo>
                      <a:pt x="687" y="1083"/>
                    </a:lnTo>
                    <a:lnTo>
                      <a:pt x="729" y="1086"/>
                    </a:lnTo>
                    <a:lnTo>
                      <a:pt x="771" y="1088"/>
                    </a:lnTo>
                    <a:lnTo>
                      <a:pt x="813" y="1088"/>
                    </a:lnTo>
                    <a:lnTo>
                      <a:pt x="855" y="1088"/>
                    </a:lnTo>
                    <a:lnTo>
                      <a:pt x="897" y="1086"/>
                    </a:lnTo>
                    <a:lnTo>
                      <a:pt x="939" y="1084"/>
                    </a:lnTo>
                    <a:lnTo>
                      <a:pt x="980" y="1081"/>
                    </a:lnTo>
                    <a:lnTo>
                      <a:pt x="1022" y="1078"/>
                    </a:lnTo>
                    <a:lnTo>
                      <a:pt x="1105" y="1069"/>
                    </a:lnTo>
                    <a:lnTo>
                      <a:pt x="1190" y="1059"/>
                    </a:lnTo>
                    <a:lnTo>
                      <a:pt x="1219" y="1056"/>
                    </a:lnTo>
                    <a:lnTo>
                      <a:pt x="1247" y="1052"/>
                    </a:lnTo>
                    <a:lnTo>
                      <a:pt x="1276" y="1048"/>
                    </a:lnTo>
                    <a:lnTo>
                      <a:pt x="1306" y="1045"/>
                    </a:lnTo>
                    <a:lnTo>
                      <a:pt x="1335" y="1042"/>
                    </a:lnTo>
                    <a:lnTo>
                      <a:pt x="1365" y="1040"/>
                    </a:lnTo>
                    <a:lnTo>
                      <a:pt x="1395" y="1036"/>
                    </a:lnTo>
                    <a:lnTo>
                      <a:pt x="1425" y="1034"/>
                    </a:lnTo>
                    <a:lnTo>
                      <a:pt x="1460" y="1032"/>
                    </a:lnTo>
                    <a:lnTo>
                      <a:pt x="1493" y="1030"/>
                    </a:lnTo>
                    <a:lnTo>
                      <a:pt x="1527" y="1029"/>
                    </a:lnTo>
                    <a:lnTo>
                      <a:pt x="1558" y="1028"/>
                    </a:lnTo>
                    <a:lnTo>
                      <a:pt x="1589" y="1028"/>
                    </a:lnTo>
                    <a:lnTo>
                      <a:pt x="1621" y="1028"/>
                    </a:lnTo>
                    <a:lnTo>
                      <a:pt x="1651" y="1028"/>
                    </a:lnTo>
                    <a:lnTo>
                      <a:pt x="1681" y="1030"/>
                    </a:lnTo>
                    <a:lnTo>
                      <a:pt x="1725" y="1032"/>
                    </a:lnTo>
                    <a:lnTo>
                      <a:pt x="1767" y="1035"/>
                    </a:lnTo>
                    <a:lnTo>
                      <a:pt x="1808" y="1041"/>
                    </a:lnTo>
                    <a:lnTo>
                      <a:pt x="1848" y="1046"/>
                    </a:lnTo>
                    <a:lnTo>
                      <a:pt x="1886" y="1053"/>
                    </a:lnTo>
                    <a:lnTo>
                      <a:pt x="1923" y="1061"/>
                    </a:lnTo>
                    <a:lnTo>
                      <a:pt x="1959" y="1070"/>
                    </a:lnTo>
                    <a:lnTo>
                      <a:pt x="1993" y="1080"/>
                    </a:lnTo>
                    <a:lnTo>
                      <a:pt x="2031" y="1093"/>
                    </a:lnTo>
                    <a:lnTo>
                      <a:pt x="2067" y="1106"/>
                    </a:lnTo>
                    <a:lnTo>
                      <a:pt x="2100" y="1120"/>
                    </a:lnTo>
                    <a:lnTo>
                      <a:pt x="2131" y="1134"/>
                    </a:lnTo>
                    <a:lnTo>
                      <a:pt x="2162" y="1149"/>
                    </a:lnTo>
                    <a:lnTo>
                      <a:pt x="2190" y="1163"/>
                    </a:lnTo>
                    <a:lnTo>
                      <a:pt x="2218" y="1178"/>
                    </a:lnTo>
                    <a:lnTo>
                      <a:pt x="2244" y="1192"/>
                    </a:lnTo>
                    <a:lnTo>
                      <a:pt x="2274" y="1208"/>
                    </a:lnTo>
                    <a:lnTo>
                      <a:pt x="2303" y="1224"/>
                    </a:lnTo>
                    <a:lnTo>
                      <a:pt x="2332" y="1238"/>
                    </a:lnTo>
                    <a:lnTo>
                      <a:pt x="2361" y="1251"/>
                    </a:lnTo>
                    <a:lnTo>
                      <a:pt x="2388" y="1263"/>
                    </a:lnTo>
                    <a:lnTo>
                      <a:pt x="2414" y="1274"/>
                    </a:lnTo>
                    <a:lnTo>
                      <a:pt x="2440" y="1284"/>
                    </a:lnTo>
                    <a:lnTo>
                      <a:pt x="2465" y="1293"/>
                    </a:lnTo>
                    <a:lnTo>
                      <a:pt x="2490" y="1301"/>
                    </a:lnTo>
                    <a:lnTo>
                      <a:pt x="2515" y="1309"/>
                    </a:lnTo>
                    <a:lnTo>
                      <a:pt x="2538" y="1315"/>
                    </a:lnTo>
                    <a:lnTo>
                      <a:pt x="2562" y="1319"/>
                    </a:lnTo>
                    <a:lnTo>
                      <a:pt x="2599" y="1326"/>
                    </a:lnTo>
                    <a:lnTo>
                      <a:pt x="2627" y="1328"/>
                    </a:lnTo>
                    <a:lnTo>
                      <a:pt x="2639" y="1328"/>
                    </a:lnTo>
                    <a:lnTo>
                      <a:pt x="2650" y="1328"/>
                    </a:lnTo>
                    <a:lnTo>
                      <a:pt x="2658" y="1326"/>
                    </a:lnTo>
                    <a:lnTo>
                      <a:pt x="2666" y="1324"/>
                    </a:lnTo>
                    <a:lnTo>
                      <a:pt x="2671" y="1324"/>
                    </a:lnTo>
                    <a:lnTo>
                      <a:pt x="2677" y="1325"/>
                    </a:lnTo>
                    <a:lnTo>
                      <a:pt x="2680" y="1328"/>
                    </a:lnTo>
                    <a:lnTo>
                      <a:pt x="2683" y="1332"/>
                    </a:lnTo>
                    <a:lnTo>
                      <a:pt x="2683" y="1338"/>
                    </a:lnTo>
                    <a:lnTo>
                      <a:pt x="2682" y="1343"/>
                    </a:lnTo>
                    <a:lnTo>
                      <a:pt x="2679" y="1347"/>
                    </a:lnTo>
                    <a:lnTo>
                      <a:pt x="2674" y="1350"/>
                    </a:lnTo>
                    <a:lnTo>
                      <a:pt x="2666" y="1352"/>
                    </a:lnTo>
                    <a:lnTo>
                      <a:pt x="2656" y="1354"/>
                    </a:lnTo>
                    <a:lnTo>
                      <a:pt x="2646" y="1355"/>
                    </a:lnTo>
                    <a:lnTo>
                      <a:pt x="2636" y="1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3"/>
              <p:cNvSpPr>
                <a:spLocks/>
              </p:cNvSpPr>
              <p:nvPr userDrawn="1"/>
            </p:nvSpPr>
            <p:spPr bwMode="auto">
              <a:xfrm>
                <a:off x="2038" y="1210"/>
                <a:ext cx="902" cy="456"/>
              </a:xfrm>
              <a:custGeom>
                <a:avLst/>
                <a:gdLst>
                  <a:gd name="T0" fmla="*/ 2587 w 2707"/>
                  <a:gd name="T1" fmla="*/ 1365 h 1366"/>
                  <a:gd name="T2" fmla="*/ 2521 w 2707"/>
                  <a:gd name="T3" fmla="*/ 1357 h 1366"/>
                  <a:gd name="T4" fmla="*/ 2396 w 2707"/>
                  <a:gd name="T5" fmla="*/ 1319 h 1366"/>
                  <a:gd name="T6" fmla="*/ 2221 w 2707"/>
                  <a:gd name="T7" fmla="*/ 1248 h 1366"/>
                  <a:gd name="T8" fmla="*/ 2054 w 2707"/>
                  <a:gd name="T9" fmla="*/ 1185 h 1366"/>
                  <a:gd name="T10" fmla="*/ 1895 w 2707"/>
                  <a:gd name="T11" fmla="*/ 1140 h 1366"/>
                  <a:gd name="T12" fmla="*/ 1710 w 2707"/>
                  <a:gd name="T13" fmla="*/ 1107 h 1366"/>
                  <a:gd name="T14" fmla="*/ 1551 w 2707"/>
                  <a:gd name="T15" fmla="*/ 1093 h 1366"/>
                  <a:gd name="T16" fmla="*/ 1312 w 2707"/>
                  <a:gd name="T17" fmla="*/ 1095 h 1366"/>
                  <a:gd name="T18" fmla="*/ 1040 w 2707"/>
                  <a:gd name="T19" fmla="*/ 1116 h 1366"/>
                  <a:gd name="T20" fmla="*/ 845 w 2707"/>
                  <a:gd name="T21" fmla="*/ 1127 h 1366"/>
                  <a:gd name="T22" fmla="*/ 688 w 2707"/>
                  <a:gd name="T23" fmla="*/ 1123 h 1366"/>
                  <a:gd name="T24" fmla="*/ 527 w 2707"/>
                  <a:gd name="T25" fmla="*/ 1101 h 1366"/>
                  <a:gd name="T26" fmla="*/ 438 w 2707"/>
                  <a:gd name="T27" fmla="*/ 1074 h 1366"/>
                  <a:gd name="T28" fmla="*/ 376 w 2707"/>
                  <a:gd name="T29" fmla="*/ 1030 h 1366"/>
                  <a:gd name="T30" fmla="*/ 313 w 2707"/>
                  <a:gd name="T31" fmla="*/ 966 h 1366"/>
                  <a:gd name="T32" fmla="*/ 253 w 2707"/>
                  <a:gd name="T33" fmla="*/ 890 h 1366"/>
                  <a:gd name="T34" fmla="*/ 160 w 2707"/>
                  <a:gd name="T35" fmla="*/ 736 h 1366"/>
                  <a:gd name="T36" fmla="*/ 82 w 2707"/>
                  <a:gd name="T37" fmla="*/ 563 h 1366"/>
                  <a:gd name="T38" fmla="*/ 28 w 2707"/>
                  <a:gd name="T39" fmla="*/ 371 h 1366"/>
                  <a:gd name="T40" fmla="*/ 3 w 2707"/>
                  <a:gd name="T41" fmla="*/ 240 h 1366"/>
                  <a:gd name="T42" fmla="*/ 1 w 2707"/>
                  <a:gd name="T43" fmla="*/ 145 h 1366"/>
                  <a:gd name="T44" fmla="*/ 11 w 2707"/>
                  <a:gd name="T45" fmla="*/ 84 h 1366"/>
                  <a:gd name="T46" fmla="*/ 31 w 2707"/>
                  <a:gd name="T47" fmla="*/ 30 h 1366"/>
                  <a:gd name="T48" fmla="*/ 56 w 2707"/>
                  <a:gd name="T49" fmla="*/ 0 h 1366"/>
                  <a:gd name="T50" fmla="*/ 71 w 2707"/>
                  <a:gd name="T51" fmla="*/ 12 h 1366"/>
                  <a:gd name="T52" fmla="*/ 55 w 2707"/>
                  <a:gd name="T53" fmla="*/ 44 h 1366"/>
                  <a:gd name="T54" fmla="*/ 36 w 2707"/>
                  <a:gd name="T55" fmla="*/ 95 h 1366"/>
                  <a:gd name="T56" fmla="*/ 27 w 2707"/>
                  <a:gd name="T57" fmla="*/ 151 h 1366"/>
                  <a:gd name="T58" fmla="*/ 30 w 2707"/>
                  <a:gd name="T59" fmla="*/ 242 h 1366"/>
                  <a:gd name="T60" fmla="*/ 55 w 2707"/>
                  <a:gd name="T61" fmla="*/ 368 h 1366"/>
                  <a:gd name="T62" fmla="*/ 108 w 2707"/>
                  <a:gd name="T63" fmla="*/ 554 h 1366"/>
                  <a:gd name="T64" fmla="*/ 183 w 2707"/>
                  <a:gd name="T65" fmla="*/ 723 h 1366"/>
                  <a:gd name="T66" fmla="*/ 288 w 2707"/>
                  <a:gd name="T67" fmla="*/ 892 h 1366"/>
                  <a:gd name="T68" fmla="*/ 361 w 2707"/>
                  <a:gd name="T69" fmla="*/ 978 h 1366"/>
                  <a:gd name="T70" fmla="*/ 420 w 2707"/>
                  <a:gd name="T71" fmla="*/ 1030 h 1366"/>
                  <a:gd name="T72" fmla="*/ 477 w 2707"/>
                  <a:gd name="T73" fmla="*/ 1061 h 1366"/>
                  <a:gd name="T74" fmla="*/ 612 w 2707"/>
                  <a:gd name="T75" fmla="*/ 1088 h 1366"/>
                  <a:gd name="T76" fmla="*/ 769 w 2707"/>
                  <a:gd name="T77" fmla="*/ 1100 h 1366"/>
                  <a:gd name="T78" fmla="*/ 923 w 2707"/>
                  <a:gd name="T79" fmla="*/ 1097 h 1366"/>
                  <a:gd name="T80" fmla="*/ 1181 w 2707"/>
                  <a:gd name="T81" fmla="*/ 1077 h 1366"/>
                  <a:gd name="T82" fmla="*/ 1447 w 2707"/>
                  <a:gd name="T83" fmla="*/ 1063 h 1366"/>
                  <a:gd name="T84" fmla="*/ 1625 w 2707"/>
                  <a:gd name="T85" fmla="*/ 1070 h 1366"/>
                  <a:gd name="T86" fmla="*/ 1811 w 2707"/>
                  <a:gd name="T87" fmla="*/ 1095 h 1366"/>
                  <a:gd name="T88" fmla="*/ 1985 w 2707"/>
                  <a:gd name="T89" fmla="*/ 1136 h 1366"/>
                  <a:gd name="T90" fmla="*/ 2133 w 2707"/>
                  <a:gd name="T91" fmla="*/ 1184 h 1366"/>
                  <a:gd name="T92" fmla="*/ 2329 w 2707"/>
                  <a:gd name="T93" fmla="*/ 1263 h 1366"/>
                  <a:gd name="T94" fmla="*/ 2475 w 2707"/>
                  <a:gd name="T95" fmla="*/ 1317 h 1366"/>
                  <a:gd name="T96" fmla="*/ 2560 w 2707"/>
                  <a:gd name="T97" fmla="*/ 1335 h 1366"/>
                  <a:gd name="T98" fmla="*/ 2627 w 2707"/>
                  <a:gd name="T99" fmla="*/ 1339 h 1366"/>
                  <a:gd name="T100" fmla="*/ 2679 w 2707"/>
                  <a:gd name="T101" fmla="*/ 1333 h 1366"/>
                  <a:gd name="T102" fmla="*/ 2704 w 2707"/>
                  <a:gd name="T103" fmla="*/ 1334 h 1366"/>
                  <a:gd name="T104" fmla="*/ 2702 w 2707"/>
                  <a:gd name="T105" fmla="*/ 1354 h 1366"/>
                  <a:gd name="T106" fmla="*/ 2643 w 2707"/>
                  <a:gd name="T107" fmla="*/ 1366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7" h="1366">
                    <a:moveTo>
                      <a:pt x="2622" y="1366"/>
                    </a:moveTo>
                    <a:lnTo>
                      <a:pt x="2611" y="1366"/>
                    </a:lnTo>
                    <a:lnTo>
                      <a:pt x="2599" y="1366"/>
                    </a:lnTo>
                    <a:lnTo>
                      <a:pt x="2587" y="1365"/>
                    </a:lnTo>
                    <a:lnTo>
                      <a:pt x="2574" y="1364"/>
                    </a:lnTo>
                    <a:lnTo>
                      <a:pt x="2557" y="1362"/>
                    </a:lnTo>
                    <a:lnTo>
                      <a:pt x="2540" y="1359"/>
                    </a:lnTo>
                    <a:lnTo>
                      <a:pt x="2521" y="1357"/>
                    </a:lnTo>
                    <a:lnTo>
                      <a:pt x="2504" y="1353"/>
                    </a:lnTo>
                    <a:lnTo>
                      <a:pt x="2468" y="1343"/>
                    </a:lnTo>
                    <a:lnTo>
                      <a:pt x="2433" y="1332"/>
                    </a:lnTo>
                    <a:lnTo>
                      <a:pt x="2396" y="1319"/>
                    </a:lnTo>
                    <a:lnTo>
                      <a:pt x="2358" y="1304"/>
                    </a:lnTo>
                    <a:lnTo>
                      <a:pt x="2319" y="1289"/>
                    </a:lnTo>
                    <a:lnTo>
                      <a:pt x="2279" y="1272"/>
                    </a:lnTo>
                    <a:lnTo>
                      <a:pt x="2221" y="1248"/>
                    </a:lnTo>
                    <a:lnTo>
                      <a:pt x="2157" y="1222"/>
                    </a:lnTo>
                    <a:lnTo>
                      <a:pt x="2124" y="1210"/>
                    </a:lnTo>
                    <a:lnTo>
                      <a:pt x="2089" y="1197"/>
                    </a:lnTo>
                    <a:lnTo>
                      <a:pt x="2054" y="1185"/>
                    </a:lnTo>
                    <a:lnTo>
                      <a:pt x="2016" y="1172"/>
                    </a:lnTo>
                    <a:lnTo>
                      <a:pt x="1977" y="1162"/>
                    </a:lnTo>
                    <a:lnTo>
                      <a:pt x="1937" y="1151"/>
                    </a:lnTo>
                    <a:lnTo>
                      <a:pt x="1895" y="1140"/>
                    </a:lnTo>
                    <a:lnTo>
                      <a:pt x="1852" y="1130"/>
                    </a:lnTo>
                    <a:lnTo>
                      <a:pt x="1806" y="1122"/>
                    </a:lnTo>
                    <a:lnTo>
                      <a:pt x="1759" y="1113"/>
                    </a:lnTo>
                    <a:lnTo>
                      <a:pt x="1710" y="1107"/>
                    </a:lnTo>
                    <a:lnTo>
                      <a:pt x="1660" y="1100"/>
                    </a:lnTo>
                    <a:lnTo>
                      <a:pt x="1623" y="1097"/>
                    </a:lnTo>
                    <a:lnTo>
                      <a:pt x="1586" y="1095"/>
                    </a:lnTo>
                    <a:lnTo>
                      <a:pt x="1551" y="1093"/>
                    </a:lnTo>
                    <a:lnTo>
                      <a:pt x="1516" y="1092"/>
                    </a:lnTo>
                    <a:lnTo>
                      <a:pt x="1447" y="1090"/>
                    </a:lnTo>
                    <a:lnTo>
                      <a:pt x="1379" y="1092"/>
                    </a:lnTo>
                    <a:lnTo>
                      <a:pt x="1312" y="1095"/>
                    </a:lnTo>
                    <a:lnTo>
                      <a:pt x="1247" y="1099"/>
                    </a:lnTo>
                    <a:lnTo>
                      <a:pt x="1182" y="1104"/>
                    </a:lnTo>
                    <a:lnTo>
                      <a:pt x="1119" y="1110"/>
                    </a:lnTo>
                    <a:lnTo>
                      <a:pt x="1040" y="1116"/>
                    </a:lnTo>
                    <a:lnTo>
                      <a:pt x="962" y="1122"/>
                    </a:lnTo>
                    <a:lnTo>
                      <a:pt x="923" y="1124"/>
                    </a:lnTo>
                    <a:lnTo>
                      <a:pt x="884" y="1126"/>
                    </a:lnTo>
                    <a:lnTo>
                      <a:pt x="845" y="1127"/>
                    </a:lnTo>
                    <a:lnTo>
                      <a:pt x="807" y="1127"/>
                    </a:lnTo>
                    <a:lnTo>
                      <a:pt x="767" y="1127"/>
                    </a:lnTo>
                    <a:lnTo>
                      <a:pt x="728" y="1125"/>
                    </a:lnTo>
                    <a:lnTo>
                      <a:pt x="688" y="1123"/>
                    </a:lnTo>
                    <a:lnTo>
                      <a:pt x="649" y="1120"/>
                    </a:lnTo>
                    <a:lnTo>
                      <a:pt x="608" y="1114"/>
                    </a:lnTo>
                    <a:lnTo>
                      <a:pt x="568" y="1109"/>
                    </a:lnTo>
                    <a:lnTo>
                      <a:pt x="527" y="1101"/>
                    </a:lnTo>
                    <a:lnTo>
                      <a:pt x="485" y="1092"/>
                    </a:lnTo>
                    <a:lnTo>
                      <a:pt x="470" y="1087"/>
                    </a:lnTo>
                    <a:lnTo>
                      <a:pt x="454" y="1082"/>
                    </a:lnTo>
                    <a:lnTo>
                      <a:pt x="438" y="1074"/>
                    </a:lnTo>
                    <a:lnTo>
                      <a:pt x="423" y="1065"/>
                    </a:lnTo>
                    <a:lnTo>
                      <a:pt x="407" y="1055"/>
                    </a:lnTo>
                    <a:lnTo>
                      <a:pt x="392" y="1043"/>
                    </a:lnTo>
                    <a:lnTo>
                      <a:pt x="376" y="1030"/>
                    </a:lnTo>
                    <a:lnTo>
                      <a:pt x="361" y="1015"/>
                    </a:lnTo>
                    <a:lnTo>
                      <a:pt x="344" y="1000"/>
                    </a:lnTo>
                    <a:lnTo>
                      <a:pt x="329" y="984"/>
                    </a:lnTo>
                    <a:lnTo>
                      <a:pt x="313" y="966"/>
                    </a:lnTo>
                    <a:lnTo>
                      <a:pt x="298" y="948"/>
                    </a:lnTo>
                    <a:lnTo>
                      <a:pt x="283" y="930"/>
                    </a:lnTo>
                    <a:lnTo>
                      <a:pt x="268" y="910"/>
                    </a:lnTo>
                    <a:lnTo>
                      <a:pt x="253" y="890"/>
                    </a:lnTo>
                    <a:lnTo>
                      <a:pt x="239" y="869"/>
                    </a:lnTo>
                    <a:lnTo>
                      <a:pt x="210" y="826"/>
                    </a:lnTo>
                    <a:lnTo>
                      <a:pt x="185" y="782"/>
                    </a:lnTo>
                    <a:lnTo>
                      <a:pt x="160" y="736"/>
                    </a:lnTo>
                    <a:lnTo>
                      <a:pt x="137" y="692"/>
                    </a:lnTo>
                    <a:lnTo>
                      <a:pt x="115" y="647"/>
                    </a:lnTo>
                    <a:lnTo>
                      <a:pt x="98" y="604"/>
                    </a:lnTo>
                    <a:lnTo>
                      <a:pt x="82" y="563"/>
                    </a:lnTo>
                    <a:lnTo>
                      <a:pt x="70" y="524"/>
                    </a:lnTo>
                    <a:lnTo>
                      <a:pt x="61" y="495"/>
                    </a:lnTo>
                    <a:lnTo>
                      <a:pt x="44" y="435"/>
                    </a:lnTo>
                    <a:lnTo>
                      <a:pt x="28" y="371"/>
                    </a:lnTo>
                    <a:lnTo>
                      <a:pt x="20" y="339"/>
                    </a:lnTo>
                    <a:lnTo>
                      <a:pt x="13" y="306"/>
                    </a:lnTo>
                    <a:lnTo>
                      <a:pt x="7" y="273"/>
                    </a:lnTo>
                    <a:lnTo>
                      <a:pt x="3" y="240"/>
                    </a:lnTo>
                    <a:lnTo>
                      <a:pt x="0" y="207"/>
                    </a:lnTo>
                    <a:lnTo>
                      <a:pt x="0" y="176"/>
                    </a:lnTo>
                    <a:lnTo>
                      <a:pt x="0" y="160"/>
                    </a:lnTo>
                    <a:lnTo>
                      <a:pt x="1" y="145"/>
                    </a:lnTo>
                    <a:lnTo>
                      <a:pt x="2" y="129"/>
                    </a:lnTo>
                    <a:lnTo>
                      <a:pt x="4" y="113"/>
                    </a:lnTo>
                    <a:lnTo>
                      <a:pt x="7" y="99"/>
                    </a:lnTo>
                    <a:lnTo>
                      <a:pt x="11" y="84"/>
                    </a:lnTo>
                    <a:lnTo>
                      <a:pt x="15" y="70"/>
                    </a:lnTo>
                    <a:lnTo>
                      <a:pt x="19" y="57"/>
                    </a:lnTo>
                    <a:lnTo>
                      <a:pt x="25" y="43"/>
                    </a:lnTo>
                    <a:lnTo>
                      <a:pt x="31" y="30"/>
                    </a:lnTo>
                    <a:lnTo>
                      <a:pt x="39" y="18"/>
                    </a:lnTo>
                    <a:lnTo>
                      <a:pt x="47" y="6"/>
                    </a:lnTo>
                    <a:lnTo>
                      <a:pt x="51" y="2"/>
                    </a:lnTo>
                    <a:lnTo>
                      <a:pt x="56" y="0"/>
                    </a:lnTo>
                    <a:lnTo>
                      <a:pt x="61" y="1"/>
                    </a:lnTo>
                    <a:lnTo>
                      <a:pt x="66" y="3"/>
                    </a:lnTo>
                    <a:lnTo>
                      <a:pt x="70" y="7"/>
                    </a:lnTo>
                    <a:lnTo>
                      <a:pt x="71" y="12"/>
                    </a:lnTo>
                    <a:lnTo>
                      <a:pt x="71" y="17"/>
                    </a:lnTo>
                    <a:lnTo>
                      <a:pt x="69" y="22"/>
                    </a:lnTo>
                    <a:lnTo>
                      <a:pt x="61" y="33"/>
                    </a:lnTo>
                    <a:lnTo>
                      <a:pt x="55" y="44"/>
                    </a:lnTo>
                    <a:lnTo>
                      <a:pt x="50" y="56"/>
                    </a:lnTo>
                    <a:lnTo>
                      <a:pt x="44" y="69"/>
                    </a:lnTo>
                    <a:lnTo>
                      <a:pt x="40" y="82"/>
                    </a:lnTo>
                    <a:lnTo>
                      <a:pt x="36" y="95"/>
                    </a:lnTo>
                    <a:lnTo>
                      <a:pt x="32" y="108"/>
                    </a:lnTo>
                    <a:lnTo>
                      <a:pt x="30" y="122"/>
                    </a:lnTo>
                    <a:lnTo>
                      <a:pt x="29" y="136"/>
                    </a:lnTo>
                    <a:lnTo>
                      <a:pt x="27" y="151"/>
                    </a:lnTo>
                    <a:lnTo>
                      <a:pt x="27" y="166"/>
                    </a:lnTo>
                    <a:lnTo>
                      <a:pt x="27" y="180"/>
                    </a:lnTo>
                    <a:lnTo>
                      <a:pt x="28" y="212"/>
                    </a:lnTo>
                    <a:lnTo>
                      <a:pt x="30" y="242"/>
                    </a:lnTo>
                    <a:lnTo>
                      <a:pt x="34" y="274"/>
                    </a:lnTo>
                    <a:lnTo>
                      <a:pt x="41" y="306"/>
                    </a:lnTo>
                    <a:lnTo>
                      <a:pt x="47" y="337"/>
                    </a:lnTo>
                    <a:lnTo>
                      <a:pt x="55" y="368"/>
                    </a:lnTo>
                    <a:lnTo>
                      <a:pt x="71" y="430"/>
                    </a:lnTo>
                    <a:lnTo>
                      <a:pt x="87" y="487"/>
                    </a:lnTo>
                    <a:lnTo>
                      <a:pt x="96" y="516"/>
                    </a:lnTo>
                    <a:lnTo>
                      <a:pt x="108" y="554"/>
                    </a:lnTo>
                    <a:lnTo>
                      <a:pt x="123" y="595"/>
                    </a:lnTo>
                    <a:lnTo>
                      <a:pt x="141" y="637"/>
                    </a:lnTo>
                    <a:lnTo>
                      <a:pt x="161" y="680"/>
                    </a:lnTo>
                    <a:lnTo>
                      <a:pt x="183" y="723"/>
                    </a:lnTo>
                    <a:lnTo>
                      <a:pt x="207" y="768"/>
                    </a:lnTo>
                    <a:lnTo>
                      <a:pt x="233" y="810"/>
                    </a:lnTo>
                    <a:lnTo>
                      <a:pt x="260" y="852"/>
                    </a:lnTo>
                    <a:lnTo>
                      <a:pt x="288" y="892"/>
                    </a:lnTo>
                    <a:lnTo>
                      <a:pt x="316" y="928"/>
                    </a:lnTo>
                    <a:lnTo>
                      <a:pt x="331" y="946"/>
                    </a:lnTo>
                    <a:lnTo>
                      <a:pt x="345" y="963"/>
                    </a:lnTo>
                    <a:lnTo>
                      <a:pt x="361" y="978"/>
                    </a:lnTo>
                    <a:lnTo>
                      <a:pt x="376" y="993"/>
                    </a:lnTo>
                    <a:lnTo>
                      <a:pt x="390" y="1006"/>
                    </a:lnTo>
                    <a:lnTo>
                      <a:pt x="405" y="1019"/>
                    </a:lnTo>
                    <a:lnTo>
                      <a:pt x="420" y="1030"/>
                    </a:lnTo>
                    <a:lnTo>
                      <a:pt x="434" y="1041"/>
                    </a:lnTo>
                    <a:lnTo>
                      <a:pt x="449" y="1048"/>
                    </a:lnTo>
                    <a:lnTo>
                      <a:pt x="463" y="1056"/>
                    </a:lnTo>
                    <a:lnTo>
                      <a:pt x="477" y="1061"/>
                    </a:lnTo>
                    <a:lnTo>
                      <a:pt x="491" y="1066"/>
                    </a:lnTo>
                    <a:lnTo>
                      <a:pt x="532" y="1074"/>
                    </a:lnTo>
                    <a:lnTo>
                      <a:pt x="572" y="1082"/>
                    </a:lnTo>
                    <a:lnTo>
                      <a:pt x="612" y="1088"/>
                    </a:lnTo>
                    <a:lnTo>
                      <a:pt x="652" y="1093"/>
                    </a:lnTo>
                    <a:lnTo>
                      <a:pt x="691" y="1096"/>
                    </a:lnTo>
                    <a:lnTo>
                      <a:pt x="730" y="1098"/>
                    </a:lnTo>
                    <a:lnTo>
                      <a:pt x="769" y="1100"/>
                    </a:lnTo>
                    <a:lnTo>
                      <a:pt x="808" y="1100"/>
                    </a:lnTo>
                    <a:lnTo>
                      <a:pt x="846" y="1100"/>
                    </a:lnTo>
                    <a:lnTo>
                      <a:pt x="884" y="1099"/>
                    </a:lnTo>
                    <a:lnTo>
                      <a:pt x="923" y="1097"/>
                    </a:lnTo>
                    <a:lnTo>
                      <a:pt x="961" y="1095"/>
                    </a:lnTo>
                    <a:lnTo>
                      <a:pt x="1039" y="1089"/>
                    </a:lnTo>
                    <a:lnTo>
                      <a:pt x="1116" y="1083"/>
                    </a:lnTo>
                    <a:lnTo>
                      <a:pt x="1181" y="1077"/>
                    </a:lnTo>
                    <a:lnTo>
                      <a:pt x="1246" y="1072"/>
                    </a:lnTo>
                    <a:lnTo>
                      <a:pt x="1312" y="1068"/>
                    </a:lnTo>
                    <a:lnTo>
                      <a:pt x="1379" y="1065"/>
                    </a:lnTo>
                    <a:lnTo>
                      <a:pt x="1447" y="1063"/>
                    </a:lnTo>
                    <a:lnTo>
                      <a:pt x="1517" y="1065"/>
                    </a:lnTo>
                    <a:lnTo>
                      <a:pt x="1553" y="1066"/>
                    </a:lnTo>
                    <a:lnTo>
                      <a:pt x="1588" y="1068"/>
                    </a:lnTo>
                    <a:lnTo>
                      <a:pt x="1625" y="1070"/>
                    </a:lnTo>
                    <a:lnTo>
                      <a:pt x="1662" y="1073"/>
                    </a:lnTo>
                    <a:lnTo>
                      <a:pt x="1714" y="1080"/>
                    </a:lnTo>
                    <a:lnTo>
                      <a:pt x="1763" y="1086"/>
                    </a:lnTo>
                    <a:lnTo>
                      <a:pt x="1811" y="1095"/>
                    </a:lnTo>
                    <a:lnTo>
                      <a:pt x="1857" y="1103"/>
                    </a:lnTo>
                    <a:lnTo>
                      <a:pt x="1901" y="1113"/>
                    </a:lnTo>
                    <a:lnTo>
                      <a:pt x="1944" y="1124"/>
                    </a:lnTo>
                    <a:lnTo>
                      <a:pt x="1985" y="1136"/>
                    </a:lnTo>
                    <a:lnTo>
                      <a:pt x="2023" y="1147"/>
                    </a:lnTo>
                    <a:lnTo>
                      <a:pt x="2061" y="1160"/>
                    </a:lnTo>
                    <a:lnTo>
                      <a:pt x="2098" y="1171"/>
                    </a:lnTo>
                    <a:lnTo>
                      <a:pt x="2133" y="1184"/>
                    </a:lnTo>
                    <a:lnTo>
                      <a:pt x="2166" y="1197"/>
                    </a:lnTo>
                    <a:lnTo>
                      <a:pt x="2231" y="1222"/>
                    </a:lnTo>
                    <a:lnTo>
                      <a:pt x="2290" y="1247"/>
                    </a:lnTo>
                    <a:lnTo>
                      <a:pt x="2329" y="1263"/>
                    </a:lnTo>
                    <a:lnTo>
                      <a:pt x="2367" y="1279"/>
                    </a:lnTo>
                    <a:lnTo>
                      <a:pt x="2404" y="1293"/>
                    </a:lnTo>
                    <a:lnTo>
                      <a:pt x="2439" y="1306"/>
                    </a:lnTo>
                    <a:lnTo>
                      <a:pt x="2475" y="1317"/>
                    </a:lnTo>
                    <a:lnTo>
                      <a:pt x="2509" y="1326"/>
                    </a:lnTo>
                    <a:lnTo>
                      <a:pt x="2526" y="1330"/>
                    </a:lnTo>
                    <a:lnTo>
                      <a:pt x="2543" y="1333"/>
                    </a:lnTo>
                    <a:lnTo>
                      <a:pt x="2560" y="1335"/>
                    </a:lnTo>
                    <a:lnTo>
                      <a:pt x="2576" y="1337"/>
                    </a:lnTo>
                    <a:lnTo>
                      <a:pt x="2595" y="1338"/>
                    </a:lnTo>
                    <a:lnTo>
                      <a:pt x="2612" y="1339"/>
                    </a:lnTo>
                    <a:lnTo>
                      <a:pt x="2627" y="1339"/>
                    </a:lnTo>
                    <a:lnTo>
                      <a:pt x="2642" y="1339"/>
                    </a:lnTo>
                    <a:lnTo>
                      <a:pt x="2655" y="1338"/>
                    </a:lnTo>
                    <a:lnTo>
                      <a:pt x="2668" y="1335"/>
                    </a:lnTo>
                    <a:lnTo>
                      <a:pt x="2679" y="1333"/>
                    </a:lnTo>
                    <a:lnTo>
                      <a:pt x="2689" y="1330"/>
                    </a:lnTo>
                    <a:lnTo>
                      <a:pt x="2694" y="1330"/>
                    </a:lnTo>
                    <a:lnTo>
                      <a:pt x="2699" y="1331"/>
                    </a:lnTo>
                    <a:lnTo>
                      <a:pt x="2704" y="1334"/>
                    </a:lnTo>
                    <a:lnTo>
                      <a:pt x="2706" y="1339"/>
                    </a:lnTo>
                    <a:lnTo>
                      <a:pt x="2707" y="1344"/>
                    </a:lnTo>
                    <a:lnTo>
                      <a:pt x="2705" y="1349"/>
                    </a:lnTo>
                    <a:lnTo>
                      <a:pt x="2702" y="1354"/>
                    </a:lnTo>
                    <a:lnTo>
                      <a:pt x="2697" y="1356"/>
                    </a:lnTo>
                    <a:lnTo>
                      <a:pt x="2682" y="1360"/>
                    </a:lnTo>
                    <a:lnTo>
                      <a:pt x="2664" y="1364"/>
                    </a:lnTo>
                    <a:lnTo>
                      <a:pt x="2643" y="1366"/>
                    </a:lnTo>
                    <a:lnTo>
                      <a:pt x="2622"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4"/>
              <p:cNvSpPr>
                <a:spLocks/>
              </p:cNvSpPr>
              <p:nvPr userDrawn="1"/>
            </p:nvSpPr>
            <p:spPr bwMode="auto">
              <a:xfrm>
                <a:off x="3129" y="3416"/>
                <a:ext cx="280" cy="904"/>
              </a:xfrm>
              <a:custGeom>
                <a:avLst/>
                <a:gdLst>
                  <a:gd name="T0" fmla="*/ 761 w 840"/>
                  <a:gd name="T1" fmla="*/ 2652 h 2712"/>
                  <a:gd name="T2" fmla="*/ 743 w 840"/>
                  <a:gd name="T3" fmla="*/ 2549 h 2712"/>
                  <a:gd name="T4" fmla="*/ 722 w 840"/>
                  <a:gd name="T5" fmla="*/ 2432 h 2712"/>
                  <a:gd name="T6" fmla="*/ 712 w 840"/>
                  <a:gd name="T7" fmla="*/ 2346 h 2712"/>
                  <a:gd name="T8" fmla="*/ 715 w 840"/>
                  <a:gd name="T9" fmla="*/ 2292 h 2712"/>
                  <a:gd name="T10" fmla="*/ 732 w 840"/>
                  <a:gd name="T11" fmla="*/ 2220 h 2712"/>
                  <a:gd name="T12" fmla="*/ 771 w 840"/>
                  <a:gd name="T13" fmla="*/ 2090 h 2712"/>
                  <a:gd name="T14" fmla="*/ 789 w 840"/>
                  <a:gd name="T15" fmla="*/ 2011 h 2712"/>
                  <a:gd name="T16" fmla="*/ 804 w 840"/>
                  <a:gd name="T17" fmla="*/ 1921 h 2712"/>
                  <a:gd name="T18" fmla="*/ 812 w 840"/>
                  <a:gd name="T19" fmla="*/ 1817 h 2712"/>
                  <a:gd name="T20" fmla="*/ 811 w 840"/>
                  <a:gd name="T21" fmla="*/ 1696 h 2712"/>
                  <a:gd name="T22" fmla="*/ 798 w 840"/>
                  <a:gd name="T23" fmla="*/ 1558 h 2712"/>
                  <a:gd name="T24" fmla="*/ 770 w 840"/>
                  <a:gd name="T25" fmla="*/ 1399 h 2712"/>
                  <a:gd name="T26" fmla="*/ 724 w 840"/>
                  <a:gd name="T27" fmla="*/ 1220 h 2712"/>
                  <a:gd name="T28" fmla="*/ 660 w 840"/>
                  <a:gd name="T29" fmla="*/ 1017 h 2712"/>
                  <a:gd name="T30" fmla="*/ 571 w 840"/>
                  <a:gd name="T31" fmla="*/ 788 h 2712"/>
                  <a:gd name="T32" fmla="*/ 491 w 840"/>
                  <a:gd name="T33" fmla="*/ 611 h 2712"/>
                  <a:gd name="T34" fmla="*/ 412 w 840"/>
                  <a:gd name="T35" fmla="*/ 474 h 2712"/>
                  <a:gd name="T36" fmla="*/ 319 w 840"/>
                  <a:gd name="T37" fmla="*/ 343 h 2712"/>
                  <a:gd name="T38" fmla="*/ 213 w 840"/>
                  <a:gd name="T39" fmla="*/ 218 h 2712"/>
                  <a:gd name="T40" fmla="*/ 93 w 840"/>
                  <a:gd name="T41" fmla="*/ 100 h 2712"/>
                  <a:gd name="T42" fmla="*/ 2 w 840"/>
                  <a:gd name="T43" fmla="*/ 20 h 2712"/>
                  <a:gd name="T44" fmla="*/ 3 w 840"/>
                  <a:gd name="T45" fmla="*/ 5 h 2712"/>
                  <a:gd name="T46" fmla="*/ 17 w 840"/>
                  <a:gd name="T47" fmla="*/ 0 h 2712"/>
                  <a:gd name="T48" fmla="*/ 111 w 840"/>
                  <a:gd name="T49" fmla="*/ 79 h 2712"/>
                  <a:gd name="T50" fmla="*/ 233 w 840"/>
                  <a:gd name="T51" fmla="*/ 200 h 2712"/>
                  <a:gd name="T52" fmla="*/ 341 w 840"/>
                  <a:gd name="T53" fmla="*/ 326 h 2712"/>
                  <a:gd name="T54" fmla="*/ 435 w 840"/>
                  <a:gd name="T55" fmla="*/ 460 h 2712"/>
                  <a:gd name="T56" fmla="*/ 515 w 840"/>
                  <a:gd name="T57" fmla="*/ 599 h 2712"/>
                  <a:gd name="T58" fmla="*/ 596 w 840"/>
                  <a:gd name="T59" fmla="*/ 778 h 2712"/>
                  <a:gd name="T60" fmla="*/ 685 w 840"/>
                  <a:gd name="T61" fmla="*/ 1010 h 2712"/>
                  <a:gd name="T62" fmla="*/ 751 w 840"/>
                  <a:gd name="T63" fmla="*/ 1215 h 2712"/>
                  <a:gd name="T64" fmla="*/ 797 w 840"/>
                  <a:gd name="T65" fmla="*/ 1397 h 2712"/>
                  <a:gd name="T66" fmla="*/ 825 w 840"/>
                  <a:gd name="T67" fmla="*/ 1557 h 2712"/>
                  <a:gd name="T68" fmla="*/ 838 w 840"/>
                  <a:gd name="T69" fmla="*/ 1697 h 2712"/>
                  <a:gd name="T70" fmla="*/ 839 w 840"/>
                  <a:gd name="T71" fmla="*/ 1819 h 2712"/>
                  <a:gd name="T72" fmla="*/ 831 w 840"/>
                  <a:gd name="T73" fmla="*/ 1925 h 2712"/>
                  <a:gd name="T74" fmla="*/ 816 w 840"/>
                  <a:gd name="T75" fmla="*/ 2017 h 2712"/>
                  <a:gd name="T76" fmla="*/ 797 w 840"/>
                  <a:gd name="T77" fmla="*/ 2097 h 2712"/>
                  <a:gd name="T78" fmla="*/ 758 w 840"/>
                  <a:gd name="T79" fmla="*/ 2226 h 2712"/>
                  <a:gd name="T80" fmla="*/ 742 w 840"/>
                  <a:gd name="T81" fmla="*/ 2294 h 2712"/>
                  <a:gd name="T82" fmla="*/ 739 w 840"/>
                  <a:gd name="T83" fmla="*/ 2345 h 2712"/>
                  <a:gd name="T84" fmla="*/ 749 w 840"/>
                  <a:gd name="T85" fmla="*/ 2429 h 2712"/>
                  <a:gd name="T86" fmla="*/ 769 w 840"/>
                  <a:gd name="T87" fmla="*/ 2545 h 2712"/>
                  <a:gd name="T88" fmla="*/ 788 w 840"/>
                  <a:gd name="T89" fmla="*/ 2648 h 2712"/>
                  <a:gd name="T90" fmla="*/ 771 w 840"/>
                  <a:gd name="T91" fmla="*/ 2712 h 2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0" h="2712">
                    <a:moveTo>
                      <a:pt x="771" y="2712"/>
                    </a:moveTo>
                    <a:lnTo>
                      <a:pt x="765" y="2681"/>
                    </a:lnTo>
                    <a:lnTo>
                      <a:pt x="761" y="2652"/>
                    </a:lnTo>
                    <a:lnTo>
                      <a:pt x="756" y="2622"/>
                    </a:lnTo>
                    <a:lnTo>
                      <a:pt x="750" y="2594"/>
                    </a:lnTo>
                    <a:lnTo>
                      <a:pt x="743" y="2549"/>
                    </a:lnTo>
                    <a:lnTo>
                      <a:pt x="735" y="2507"/>
                    </a:lnTo>
                    <a:lnTo>
                      <a:pt x="729" y="2468"/>
                    </a:lnTo>
                    <a:lnTo>
                      <a:pt x="722" y="2432"/>
                    </a:lnTo>
                    <a:lnTo>
                      <a:pt x="718" y="2400"/>
                    </a:lnTo>
                    <a:lnTo>
                      <a:pt x="715" y="2371"/>
                    </a:lnTo>
                    <a:lnTo>
                      <a:pt x="712" y="2346"/>
                    </a:lnTo>
                    <a:lnTo>
                      <a:pt x="711" y="2324"/>
                    </a:lnTo>
                    <a:lnTo>
                      <a:pt x="712" y="2308"/>
                    </a:lnTo>
                    <a:lnTo>
                      <a:pt x="715" y="2292"/>
                    </a:lnTo>
                    <a:lnTo>
                      <a:pt x="718" y="2275"/>
                    </a:lnTo>
                    <a:lnTo>
                      <a:pt x="721" y="2258"/>
                    </a:lnTo>
                    <a:lnTo>
                      <a:pt x="732" y="2220"/>
                    </a:lnTo>
                    <a:lnTo>
                      <a:pt x="744" y="2179"/>
                    </a:lnTo>
                    <a:lnTo>
                      <a:pt x="757" y="2137"/>
                    </a:lnTo>
                    <a:lnTo>
                      <a:pt x="771" y="2090"/>
                    </a:lnTo>
                    <a:lnTo>
                      <a:pt x="777" y="2065"/>
                    </a:lnTo>
                    <a:lnTo>
                      <a:pt x="784" y="2039"/>
                    </a:lnTo>
                    <a:lnTo>
                      <a:pt x="789" y="2011"/>
                    </a:lnTo>
                    <a:lnTo>
                      <a:pt x="795" y="1983"/>
                    </a:lnTo>
                    <a:lnTo>
                      <a:pt x="800" y="1953"/>
                    </a:lnTo>
                    <a:lnTo>
                      <a:pt x="804" y="1921"/>
                    </a:lnTo>
                    <a:lnTo>
                      <a:pt x="808" y="1888"/>
                    </a:lnTo>
                    <a:lnTo>
                      <a:pt x="811" y="1853"/>
                    </a:lnTo>
                    <a:lnTo>
                      <a:pt x="812" y="1817"/>
                    </a:lnTo>
                    <a:lnTo>
                      <a:pt x="813" y="1778"/>
                    </a:lnTo>
                    <a:lnTo>
                      <a:pt x="813" y="1738"/>
                    </a:lnTo>
                    <a:lnTo>
                      <a:pt x="811" y="1696"/>
                    </a:lnTo>
                    <a:lnTo>
                      <a:pt x="808" y="1652"/>
                    </a:lnTo>
                    <a:lnTo>
                      <a:pt x="803" y="1607"/>
                    </a:lnTo>
                    <a:lnTo>
                      <a:pt x="798" y="1558"/>
                    </a:lnTo>
                    <a:lnTo>
                      <a:pt x="790" y="1507"/>
                    </a:lnTo>
                    <a:lnTo>
                      <a:pt x="781" y="1454"/>
                    </a:lnTo>
                    <a:lnTo>
                      <a:pt x="770" y="1399"/>
                    </a:lnTo>
                    <a:lnTo>
                      <a:pt x="757" y="1342"/>
                    </a:lnTo>
                    <a:lnTo>
                      <a:pt x="742" y="1283"/>
                    </a:lnTo>
                    <a:lnTo>
                      <a:pt x="724" y="1220"/>
                    </a:lnTo>
                    <a:lnTo>
                      <a:pt x="705" y="1155"/>
                    </a:lnTo>
                    <a:lnTo>
                      <a:pt x="683" y="1087"/>
                    </a:lnTo>
                    <a:lnTo>
                      <a:pt x="660" y="1017"/>
                    </a:lnTo>
                    <a:lnTo>
                      <a:pt x="633" y="944"/>
                    </a:lnTo>
                    <a:lnTo>
                      <a:pt x="603" y="867"/>
                    </a:lnTo>
                    <a:lnTo>
                      <a:pt x="571" y="788"/>
                    </a:lnTo>
                    <a:lnTo>
                      <a:pt x="535" y="705"/>
                    </a:lnTo>
                    <a:lnTo>
                      <a:pt x="514" y="658"/>
                    </a:lnTo>
                    <a:lnTo>
                      <a:pt x="491" y="611"/>
                    </a:lnTo>
                    <a:lnTo>
                      <a:pt x="466" y="565"/>
                    </a:lnTo>
                    <a:lnTo>
                      <a:pt x="440" y="520"/>
                    </a:lnTo>
                    <a:lnTo>
                      <a:pt x="412" y="474"/>
                    </a:lnTo>
                    <a:lnTo>
                      <a:pt x="383" y="430"/>
                    </a:lnTo>
                    <a:lnTo>
                      <a:pt x="352" y="386"/>
                    </a:lnTo>
                    <a:lnTo>
                      <a:pt x="319" y="343"/>
                    </a:lnTo>
                    <a:lnTo>
                      <a:pt x="285" y="300"/>
                    </a:lnTo>
                    <a:lnTo>
                      <a:pt x="250" y="259"/>
                    </a:lnTo>
                    <a:lnTo>
                      <a:pt x="213" y="218"/>
                    </a:lnTo>
                    <a:lnTo>
                      <a:pt x="174" y="177"/>
                    </a:lnTo>
                    <a:lnTo>
                      <a:pt x="134" y="139"/>
                    </a:lnTo>
                    <a:lnTo>
                      <a:pt x="93" y="100"/>
                    </a:lnTo>
                    <a:lnTo>
                      <a:pt x="49" y="61"/>
                    </a:lnTo>
                    <a:lnTo>
                      <a:pt x="5" y="24"/>
                    </a:lnTo>
                    <a:lnTo>
                      <a:pt x="2" y="20"/>
                    </a:lnTo>
                    <a:lnTo>
                      <a:pt x="0" y="14"/>
                    </a:lnTo>
                    <a:lnTo>
                      <a:pt x="1" y="10"/>
                    </a:lnTo>
                    <a:lnTo>
                      <a:pt x="3" y="5"/>
                    </a:lnTo>
                    <a:lnTo>
                      <a:pt x="7" y="1"/>
                    </a:lnTo>
                    <a:lnTo>
                      <a:pt x="13" y="0"/>
                    </a:lnTo>
                    <a:lnTo>
                      <a:pt x="17" y="0"/>
                    </a:lnTo>
                    <a:lnTo>
                      <a:pt x="22" y="4"/>
                    </a:lnTo>
                    <a:lnTo>
                      <a:pt x="67" y="41"/>
                    </a:lnTo>
                    <a:lnTo>
                      <a:pt x="111" y="79"/>
                    </a:lnTo>
                    <a:lnTo>
                      <a:pt x="153" y="119"/>
                    </a:lnTo>
                    <a:lnTo>
                      <a:pt x="194" y="159"/>
                    </a:lnTo>
                    <a:lnTo>
                      <a:pt x="233" y="200"/>
                    </a:lnTo>
                    <a:lnTo>
                      <a:pt x="271" y="241"/>
                    </a:lnTo>
                    <a:lnTo>
                      <a:pt x="306" y="284"/>
                    </a:lnTo>
                    <a:lnTo>
                      <a:pt x="341" y="326"/>
                    </a:lnTo>
                    <a:lnTo>
                      <a:pt x="373" y="371"/>
                    </a:lnTo>
                    <a:lnTo>
                      <a:pt x="405" y="415"/>
                    </a:lnTo>
                    <a:lnTo>
                      <a:pt x="435" y="460"/>
                    </a:lnTo>
                    <a:lnTo>
                      <a:pt x="463" y="506"/>
                    </a:lnTo>
                    <a:lnTo>
                      <a:pt x="490" y="552"/>
                    </a:lnTo>
                    <a:lnTo>
                      <a:pt x="515" y="599"/>
                    </a:lnTo>
                    <a:lnTo>
                      <a:pt x="539" y="647"/>
                    </a:lnTo>
                    <a:lnTo>
                      <a:pt x="560" y="694"/>
                    </a:lnTo>
                    <a:lnTo>
                      <a:pt x="596" y="778"/>
                    </a:lnTo>
                    <a:lnTo>
                      <a:pt x="628" y="859"/>
                    </a:lnTo>
                    <a:lnTo>
                      <a:pt x="658" y="935"/>
                    </a:lnTo>
                    <a:lnTo>
                      <a:pt x="685" y="1010"/>
                    </a:lnTo>
                    <a:lnTo>
                      <a:pt x="709" y="1081"/>
                    </a:lnTo>
                    <a:lnTo>
                      <a:pt x="732" y="1149"/>
                    </a:lnTo>
                    <a:lnTo>
                      <a:pt x="751" y="1215"/>
                    </a:lnTo>
                    <a:lnTo>
                      <a:pt x="769" y="1278"/>
                    </a:lnTo>
                    <a:lnTo>
                      <a:pt x="784" y="1339"/>
                    </a:lnTo>
                    <a:lnTo>
                      <a:pt x="797" y="1397"/>
                    </a:lnTo>
                    <a:lnTo>
                      <a:pt x="809" y="1452"/>
                    </a:lnTo>
                    <a:lnTo>
                      <a:pt x="817" y="1506"/>
                    </a:lnTo>
                    <a:lnTo>
                      <a:pt x="825" y="1557"/>
                    </a:lnTo>
                    <a:lnTo>
                      <a:pt x="831" y="1606"/>
                    </a:lnTo>
                    <a:lnTo>
                      <a:pt x="836" y="1652"/>
                    </a:lnTo>
                    <a:lnTo>
                      <a:pt x="838" y="1697"/>
                    </a:lnTo>
                    <a:lnTo>
                      <a:pt x="840" y="1739"/>
                    </a:lnTo>
                    <a:lnTo>
                      <a:pt x="840" y="1780"/>
                    </a:lnTo>
                    <a:lnTo>
                      <a:pt x="839" y="1819"/>
                    </a:lnTo>
                    <a:lnTo>
                      <a:pt x="838" y="1856"/>
                    </a:lnTo>
                    <a:lnTo>
                      <a:pt x="835" y="1892"/>
                    </a:lnTo>
                    <a:lnTo>
                      <a:pt x="831" y="1925"/>
                    </a:lnTo>
                    <a:lnTo>
                      <a:pt x="827" y="1957"/>
                    </a:lnTo>
                    <a:lnTo>
                      <a:pt x="822" y="1988"/>
                    </a:lnTo>
                    <a:lnTo>
                      <a:pt x="816" y="2017"/>
                    </a:lnTo>
                    <a:lnTo>
                      <a:pt x="810" y="2045"/>
                    </a:lnTo>
                    <a:lnTo>
                      <a:pt x="803" y="2071"/>
                    </a:lnTo>
                    <a:lnTo>
                      <a:pt x="797" y="2097"/>
                    </a:lnTo>
                    <a:lnTo>
                      <a:pt x="784" y="2144"/>
                    </a:lnTo>
                    <a:lnTo>
                      <a:pt x="770" y="2187"/>
                    </a:lnTo>
                    <a:lnTo>
                      <a:pt x="758" y="2226"/>
                    </a:lnTo>
                    <a:lnTo>
                      <a:pt x="748" y="2262"/>
                    </a:lnTo>
                    <a:lnTo>
                      <a:pt x="745" y="2278"/>
                    </a:lnTo>
                    <a:lnTo>
                      <a:pt x="742" y="2294"/>
                    </a:lnTo>
                    <a:lnTo>
                      <a:pt x="739" y="2309"/>
                    </a:lnTo>
                    <a:lnTo>
                      <a:pt x="738" y="2324"/>
                    </a:lnTo>
                    <a:lnTo>
                      <a:pt x="739" y="2345"/>
                    </a:lnTo>
                    <a:lnTo>
                      <a:pt x="742" y="2370"/>
                    </a:lnTo>
                    <a:lnTo>
                      <a:pt x="745" y="2398"/>
                    </a:lnTo>
                    <a:lnTo>
                      <a:pt x="749" y="2429"/>
                    </a:lnTo>
                    <a:lnTo>
                      <a:pt x="755" y="2465"/>
                    </a:lnTo>
                    <a:lnTo>
                      <a:pt x="762" y="2503"/>
                    </a:lnTo>
                    <a:lnTo>
                      <a:pt x="769" y="2545"/>
                    </a:lnTo>
                    <a:lnTo>
                      <a:pt x="777" y="2590"/>
                    </a:lnTo>
                    <a:lnTo>
                      <a:pt x="783" y="2619"/>
                    </a:lnTo>
                    <a:lnTo>
                      <a:pt x="788" y="2648"/>
                    </a:lnTo>
                    <a:lnTo>
                      <a:pt x="793" y="2680"/>
                    </a:lnTo>
                    <a:lnTo>
                      <a:pt x="799" y="2712"/>
                    </a:lnTo>
                    <a:lnTo>
                      <a:pt x="771" y="27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5"/>
              <p:cNvSpPr>
                <a:spLocks/>
              </p:cNvSpPr>
              <p:nvPr userDrawn="1"/>
            </p:nvSpPr>
            <p:spPr bwMode="auto">
              <a:xfrm>
                <a:off x="1202" y="3964"/>
                <a:ext cx="174" cy="356"/>
              </a:xfrm>
              <a:custGeom>
                <a:avLst/>
                <a:gdLst>
                  <a:gd name="T0" fmla="*/ 494 w 524"/>
                  <a:gd name="T1" fmla="*/ 1067 h 1067"/>
                  <a:gd name="T2" fmla="*/ 482 w 524"/>
                  <a:gd name="T3" fmla="*/ 1042 h 1067"/>
                  <a:gd name="T4" fmla="*/ 470 w 524"/>
                  <a:gd name="T5" fmla="*/ 1017 h 1067"/>
                  <a:gd name="T6" fmla="*/ 458 w 524"/>
                  <a:gd name="T7" fmla="*/ 995 h 1067"/>
                  <a:gd name="T8" fmla="*/ 446 w 524"/>
                  <a:gd name="T9" fmla="*/ 971 h 1067"/>
                  <a:gd name="T10" fmla="*/ 433 w 524"/>
                  <a:gd name="T11" fmla="*/ 944 h 1067"/>
                  <a:gd name="T12" fmla="*/ 415 w 524"/>
                  <a:gd name="T13" fmla="*/ 906 h 1067"/>
                  <a:gd name="T14" fmla="*/ 395 w 524"/>
                  <a:gd name="T15" fmla="*/ 864 h 1067"/>
                  <a:gd name="T16" fmla="*/ 372 w 524"/>
                  <a:gd name="T17" fmla="*/ 819 h 1067"/>
                  <a:gd name="T18" fmla="*/ 348 w 524"/>
                  <a:gd name="T19" fmla="*/ 770 h 1067"/>
                  <a:gd name="T20" fmla="*/ 323 w 524"/>
                  <a:gd name="T21" fmla="*/ 719 h 1067"/>
                  <a:gd name="T22" fmla="*/ 297 w 524"/>
                  <a:gd name="T23" fmla="*/ 664 h 1067"/>
                  <a:gd name="T24" fmla="*/ 270 w 524"/>
                  <a:gd name="T25" fmla="*/ 608 h 1067"/>
                  <a:gd name="T26" fmla="*/ 242 w 524"/>
                  <a:gd name="T27" fmla="*/ 549 h 1067"/>
                  <a:gd name="T28" fmla="*/ 213 w 524"/>
                  <a:gd name="T29" fmla="*/ 488 h 1067"/>
                  <a:gd name="T30" fmla="*/ 184 w 524"/>
                  <a:gd name="T31" fmla="*/ 425 h 1067"/>
                  <a:gd name="T32" fmla="*/ 154 w 524"/>
                  <a:gd name="T33" fmla="*/ 360 h 1067"/>
                  <a:gd name="T34" fmla="*/ 124 w 524"/>
                  <a:gd name="T35" fmla="*/ 294 h 1067"/>
                  <a:gd name="T36" fmla="*/ 93 w 524"/>
                  <a:gd name="T37" fmla="*/ 226 h 1067"/>
                  <a:gd name="T38" fmla="*/ 63 w 524"/>
                  <a:gd name="T39" fmla="*/ 158 h 1067"/>
                  <a:gd name="T40" fmla="*/ 32 w 524"/>
                  <a:gd name="T41" fmla="*/ 89 h 1067"/>
                  <a:gd name="T42" fmla="*/ 2 w 524"/>
                  <a:gd name="T43" fmla="*/ 19 h 1067"/>
                  <a:gd name="T44" fmla="*/ 0 w 524"/>
                  <a:gd name="T45" fmla="*/ 15 h 1067"/>
                  <a:gd name="T46" fmla="*/ 2 w 524"/>
                  <a:gd name="T47" fmla="*/ 9 h 1067"/>
                  <a:gd name="T48" fmla="*/ 5 w 524"/>
                  <a:gd name="T49" fmla="*/ 5 h 1067"/>
                  <a:gd name="T50" fmla="*/ 9 w 524"/>
                  <a:gd name="T51" fmla="*/ 2 h 1067"/>
                  <a:gd name="T52" fmla="*/ 15 w 524"/>
                  <a:gd name="T53" fmla="*/ 0 h 1067"/>
                  <a:gd name="T54" fmla="*/ 20 w 524"/>
                  <a:gd name="T55" fmla="*/ 2 h 1067"/>
                  <a:gd name="T56" fmla="*/ 24 w 524"/>
                  <a:gd name="T57" fmla="*/ 4 h 1067"/>
                  <a:gd name="T58" fmla="*/ 26 w 524"/>
                  <a:gd name="T59" fmla="*/ 9 h 1067"/>
                  <a:gd name="T60" fmla="*/ 57 w 524"/>
                  <a:gd name="T61" fmla="*/ 78 h 1067"/>
                  <a:gd name="T62" fmla="*/ 88 w 524"/>
                  <a:gd name="T63" fmla="*/ 147 h 1067"/>
                  <a:gd name="T64" fmla="*/ 118 w 524"/>
                  <a:gd name="T65" fmla="*/ 215 h 1067"/>
                  <a:gd name="T66" fmla="*/ 148 w 524"/>
                  <a:gd name="T67" fmla="*/ 283 h 1067"/>
                  <a:gd name="T68" fmla="*/ 179 w 524"/>
                  <a:gd name="T69" fmla="*/ 349 h 1067"/>
                  <a:gd name="T70" fmla="*/ 209 w 524"/>
                  <a:gd name="T71" fmla="*/ 414 h 1067"/>
                  <a:gd name="T72" fmla="*/ 238 w 524"/>
                  <a:gd name="T73" fmla="*/ 477 h 1067"/>
                  <a:gd name="T74" fmla="*/ 267 w 524"/>
                  <a:gd name="T75" fmla="*/ 538 h 1067"/>
                  <a:gd name="T76" fmla="*/ 295 w 524"/>
                  <a:gd name="T77" fmla="*/ 596 h 1067"/>
                  <a:gd name="T78" fmla="*/ 322 w 524"/>
                  <a:gd name="T79" fmla="*/ 654 h 1067"/>
                  <a:gd name="T80" fmla="*/ 348 w 524"/>
                  <a:gd name="T81" fmla="*/ 708 h 1067"/>
                  <a:gd name="T82" fmla="*/ 373 w 524"/>
                  <a:gd name="T83" fmla="*/ 758 h 1067"/>
                  <a:gd name="T84" fmla="*/ 397 w 524"/>
                  <a:gd name="T85" fmla="*/ 807 h 1067"/>
                  <a:gd name="T86" fmla="*/ 418 w 524"/>
                  <a:gd name="T87" fmla="*/ 852 h 1067"/>
                  <a:gd name="T88" fmla="*/ 439 w 524"/>
                  <a:gd name="T89" fmla="*/ 894 h 1067"/>
                  <a:gd name="T90" fmla="*/ 457 w 524"/>
                  <a:gd name="T91" fmla="*/ 932 h 1067"/>
                  <a:gd name="T92" fmla="*/ 471 w 524"/>
                  <a:gd name="T93" fmla="*/ 959 h 1067"/>
                  <a:gd name="T94" fmla="*/ 484 w 524"/>
                  <a:gd name="T95" fmla="*/ 985 h 1067"/>
                  <a:gd name="T96" fmla="*/ 497 w 524"/>
                  <a:gd name="T97" fmla="*/ 1012 h 1067"/>
                  <a:gd name="T98" fmla="*/ 510 w 524"/>
                  <a:gd name="T99" fmla="*/ 1039 h 1067"/>
                  <a:gd name="T100" fmla="*/ 524 w 524"/>
                  <a:gd name="T101" fmla="*/ 1067 h 1067"/>
                  <a:gd name="T102" fmla="*/ 494 w 524"/>
                  <a:gd name="T103" fmla="*/ 10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4" h="1067">
                    <a:moveTo>
                      <a:pt x="494" y="1067"/>
                    </a:moveTo>
                    <a:lnTo>
                      <a:pt x="482" y="1042"/>
                    </a:lnTo>
                    <a:lnTo>
                      <a:pt x="470" y="1017"/>
                    </a:lnTo>
                    <a:lnTo>
                      <a:pt x="458" y="995"/>
                    </a:lnTo>
                    <a:lnTo>
                      <a:pt x="446" y="971"/>
                    </a:lnTo>
                    <a:lnTo>
                      <a:pt x="433" y="944"/>
                    </a:lnTo>
                    <a:lnTo>
                      <a:pt x="415" y="906"/>
                    </a:lnTo>
                    <a:lnTo>
                      <a:pt x="395" y="864"/>
                    </a:lnTo>
                    <a:lnTo>
                      <a:pt x="372" y="819"/>
                    </a:lnTo>
                    <a:lnTo>
                      <a:pt x="348" y="770"/>
                    </a:lnTo>
                    <a:lnTo>
                      <a:pt x="323" y="719"/>
                    </a:lnTo>
                    <a:lnTo>
                      <a:pt x="297" y="664"/>
                    </a:lnTo>
                    <a:lnTo>
                      <a:pt x="270" y="608"/>
                    </a:lnTo>
                    <a:lnTo>
                      <a:pt x="242" y="549"/>
                    </a:lnTo>
                    <a:lnTo>
                      <a:pt x="213" y="488"/>
                    </a:lnTo>
                    <a:lnTo>
                      <a:pt x="184" y="425"/>
                    </a:lnTo>
                    <a:lnTo>
                      <a:pt x="154" y="360"/>
                    </a:lnTo>
                    <a:lnTo>
                      <a:pt x="124" y="294"/>
                    </a:lnTo>
                    <a:lnTo>
                      <a:pt x="93" y="226"/>
                    </a:lnTo>
                    <a:lnTo>
                      <a:pt x="63" y="158"/>
                    </a:lnTo>
                    <a:lnTo>
                      <a:pt x="32" y="89"/>
                    </a:lnTo>
                    <a:lnTo>
                      <a:pt x="2" y="19"/>
                    </a:lnTo>
                    <a:lnTo>
                      <a:pt x="0" y="15"/>
                    </a:lnTo>
                    <a:lnTo>
                      <a:pt x="2" y="9"/>
                    </a:lnTo>
                    <a:lnTo>
                      <a:pt x="5" y="5"/>
                    </a:lnTo>
                    <a:lnTo>
                      <a:pt x="9" y="2"/>
                    </a:lnTo>
                    <a:lnTo>
                      <a:pt x="15" y="0"/>
                    </a:lnTo>
                    <a:lnTo>
                      <a:pt x="20" y="2"/>
                    </a:lnTo>
                    <a:lnTo>
                      <a:pt x="24" y="4"/>
                    </a:lnTo>
                    <a:lnTo>
                      <a:pt x="26" y="9"/>
                    </a:lnTo>
                    <a:lnTo>
                      <a:pt x="57" y="78"/>
                    </a:lnTo>
                    <a:lnTo>
                      <a:pt x="88" y="147"/>
                    </a:lnTo>
                    <a:lnTo>
                      <a:pt x="118" y="215"/>
                    </a:lnTo>
                    <a:lnTo>
                      <a:pt x="148" y="283"/>
                    </a:lnTo>
                    <a:lnTo>
                      <a:pt x="179" y="349"/>
                    </a:lnTo>
                    <a:lnTo>
                      <a:pt x="209" y="414"/>
                    </a:lnTo>
                    <a:lnTo>
                      <a:pt x="238" y="477"/>
                    </a:lnTo>
                    <a:lnTo>
                      <a:pt x="267" y="538"/>
                    </a:lnTo>
                    <a:lnTo>
                      <a:pt x="295" y="596"/>
                    </a:lnTo>
                    <a:lnTo>
                      <a:pt x="322" y="654"/>
                    </a:lnTo>
                    <a:lnTo>
                      <a:pt x="348" y="708"/>
                    </a:lnTo>
                    <a:lnTo>
                      <a:pt x="373" y="758"/>
                    </a:lnTo>
                    <a:lnTo>
                      <a:pt x="397" y="807"/>
                    </a:lnTo>
                    <a:lnTo>
                      <a:pt x="418" y="852"/>
                    </a:lnTo>
                    <a:lnTo>
                      <a:pt x="439" y="894"/>
                    </a:lnTo>
                    <a:lnTo>
                      <a:pt x="457" y="932"/>
                    </a:lnTo>
                    <a:lnTo>
                      <a:pt x="471" y="959"/>
                    </a:lnTo>
                    <a:lnTo>
                      <a:pt x="484" y="985"/>
                    </a:lnTo>
                    <a:lnTo>
                      <a:pt x="497" y="1012"/>
                    </a:lnTo>
                    <a:lnTo>
                      <a:pt x="510" y="1039"/>
                    </a:lnTo>
                    <a:lnTo>
                      <a:pt x="524" y="1067"/>
                    </a:lnTo>
                    <a:lnTo>
                      <a:pt x="494" y="10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6"/>
              <p:cNvSpPr>
                <a:spLocks noEditPoints="1"/>
              </p:cNvSpPr>
              <p:nvPr userDrawn="1"/>
            </p:nvSpPr>
            <p:spPr bwMode="auto">
              <a:xfrm>
                <a:off x="2389" y="1683"/>
                <a:ext cx="195" cy="174"/>
              </a:xfrm>
              <a:custGeom>
                <a:avLst/>
                <a:gdLst>
                  <a:gd name="T0" fmla="*/ 529 w 585"/>
                  <a:gd name="T1" fmla="*/ 519 h 522"/>
                  <a:gd name="T2" fmla="*/ 457 w 585"/>
                  <a:gd name="T3" fmla="*/ 492 h 522"/>
                  <a:gd name="T4" fmla="*/ 365 w 585"/>
                  <a:gd name="T5" fmla="*/ 477 h 522"/>
                  <a:gd name="T6" fmla="*/ 286 w 585"/>
                  <a:gd name="T7" fmla="*/ 478 h 522"/>
                  <a:gd name="T8" fmla="*/ 163 w 585"/>
                  <a:gd name="T9" fmla="*/ 498 h 522"/>
                  <a:gd name="T10" fmla="*/ 109 w 585"/>
                  <a:gd name="T11" fmla="*/ 512 h 522"/>
                  <a:gd name="T12" fmla="*/ 61 w 585"/>
                  <a:gd name="T13" fmla="*/ 509 h 522"/>
                  <a:gd name="T14" fmla="*/ 32 w 585"/>
                  <a:gd name="T15" fmla="*/ 490 h 522"/>
                  <a:gd name="T16" fmla="*/ 11 w 585"/>
                  <a:gd name="T17" fmla="*/ 459 h 522"/>
                  <a:gd name="T18" fmla="*/ 0 w 585"/>
                  <a:gd name="T19" fmla="*/ 415 h 522"/>
                  <a:gd name="T20" fmla="*/ 14 w 585"/>
                  <a:gd name="T21" fmla="*/ 357 h 522"/>
                  <a:gd name="T22" fmla="*/ 70 w 585"/>
                  <a:gd name="T23" fmla="*/ 264 h 522"/>
                  <a:gd name="T24" fmla="*/ 162 w 585"/>
                  <a:gd name="T25" fmla="*/ 158 h 522"/>
                  <a:gd name="T26" fmla="*/ 265 w 585"/>
                  <a:gd name="T27" fmla="*/ 68 h 522"/>
                  <a:gd name="T28" fmla="*/ 350 w 585"/>
                  <a:gd name="T29" fmla="*/ 17 h 522"/>
                  <a:gd name="T30" fmla="*/ 393 w 585"/>
                  <a:gd name="T31" fmla="*/ 4 h 522"/>
                  <a:gd name="T32" fmla="*/ 439 w 585"/>
                  <a:gd name="T33" fmla="*/ 1 h 522"/>
                  <a:gd name="T34" fmla="*/ 479 w 585"/>
                  <a:gd name="T35" fmla="*/ 9 h 522"/>
                  <a:gd name="T36" fmla="*/ 512 w 585"/>
                  <a:gd name="T37" fmla="*/ 29 h 522"/>
                  <a:gd name="T38" fmla="*/ 541 w 585"/>
                  <a:gd name="T39" fmla="*/ 64 h 522"/>
                  <a:gd name="T40" fmla="*/ 568 w 585"/>
                  <a:gd name="T41" fmla="*/ 132 h 522"/>
                  <a:gd name="T42" fmla="*/ 583 w 585"/>
                  <a:gd name="T43" fmla="*/ 220 h 522"/>
                  <a:gd name="T44" fmla="*/ 584 w 585"/>
                  <a:gd name="T45" fmla="*/ 302 h 522"/>
                  <a:gd name="T46" fmla="*/ 560 w 585"/>
                  <a:gd name="T47" fmla="*/ 476 h 522"/>
                  <a:gd name="T48" fmla="*/ 550 w 585"/>
                  <a:gd name="T49" fmla="*/ 518 h 522"/>
                  <a:gd name="T50" fmla="*/ 540 w 585"/>
                  <a:gd name="T51" fmla="*/ 522 h 522"/>
                  <a:gd name="T52" fmla="*/ 343 w 585"/>
                  <a:gd name="T53" fmla="*/ 449 h 522"/>
                  <a:gd name="T54" fmla="*/ 462 w 585"/>
                  <a:gd name="T55" fmla="*/ 465 h 522"/>
                  <a:gd name="T56" fmla="*/ 530 w 585"/>
                  <a:gd name="T57" fmla="*/ 489 h 522"/>
                  <a:gd name="T58" fmla="*/ 550 w 585"/>
                  <a:gd name="T59" fmla="*/ 363 h 522"/>
                  <a:gd name="T60" fmla="*/ 558 w 585"/>
                  <a:gd name="T61" fmla="*/ 253 h 522"/>
                  <a:gd name="T62" fmla="*/ 552 w 585"/>
                  <a:gd name="T63" fmla="*/ 188 h 522"/>
                  <a:gd name="T64" fmla="*/ 533 w 585"/>
                  <a:gd name="T65" fmla="*/ 112 h 522"/>
                  <a:gd name="T66" fmla="*/ 502 w 585"/>
                  <a:gd name="T67" fmla="*/ 58 h 522"/>
                  <a:gd name="T68" fmla="*/ 470 w 585"/>
                  <a:gd name="T69" fmla="*/ 35 h 522"/>
                  <a:gd name="T70" fmla="*/ 437 w 585"/>
                  <a:gd name="T71" fmla="*/ 28 h 522"/>
                  <a:gd name="T72" fmla="*/ 397 w 585"/>
                  <a:gd name="T73" fmla="*/ 30 h 522"/>
                  <a:gd name="T74" fmla="*/ 358 w 585"/>
                  <a:gd name="T75" fmla="*/ 43 h 522"/>
                  <a:gd name="T76" fmla="*/ 278 w 585"/>
                  <a:gd name="T77" fmla="*/ 91 h 522"/>
                  <a:gd name="T78" fmla="*/ 179 w 585"/>
                  <a:gd name="T79" fmla="*/ 179 h 522"/>
                  <a:gd name="T80" fmla="*/ 92 w 585"/>
                  <a:gd name="T81" fmla="*/ 279 h 522"/>
                  <a:gd name="T82" fmla="*/ 40 w 585"/>
                  <a:gd name="T83" fmla="*/ 367 h 522"/>
                  <a:gd name="T84" fmla="*/ 27 w 585"/>
                  <a:gd name="T85" fmla="*/ 413 h 522"/>
                  <a:gd name="T86" fmla="*/ 35 w 585"/>
                  <a:gd name="T87" fmla="*/ 450 h 522"/>
                  <a:gd name="T88" fmla="*/ 65 w 585"/>
                  <a:gd name="T89" fmla="*/ 481 h 522"/>
                  <a:gd name="T90" fmla="*/ 102 w 585"/>
                  <a:gd name="T91" fmla="*/ 486 h 522"/>
                  <a:gd name="T92" fmla="*/ 154 w 585"/>
                  <a:gd name="T93" fmla="*/ 472 h 522"/>
                  <a:gd name="T94" fmla="*/ 273 w 585"/>
                  <a:gd name="T95" fmla="*/ 45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5" h="522">
                    <a:moveTo>
                      <a:pt x="540" y="522"/>
                    </a:moveTo>
                    <a:lnTo>
                      <a:pt x="536" y="522"/>
                    </a:lnTo>
                    <a:lnTo>
                      <a:pt x="532" y="520"/>
                    </a:lnTo>
                    <a:lnTo>
                      <a:pt x="529" y="519"/>
                    </a:lnTo>
                    <a:lnTo>
                      <a:pt x="520" y="513"/>
                    </a:lnTo>
                    <a:lnTo>
                      <a:pt x="505" y="507"/>
                    </a:lnTo>
                    <a:lnTo>
                      <a:pt x="484" y="499"/>
                    </a:lnTo>
                    <a:lnTo>
                      <a:pt x="457" y="492"/>
                    </a:lnTo>
                    <a:lnTo>
                      <a:pt x="424" y="484"/>
                    </a:lnTo>
                    <a:lnTo>
                      <a:pt x="406" y="481"/>
                    </a:lnTo>
                    <a:lnTo>
                      <a:pt x="385" y="479"/>
                    </a:lnTo>
                    <a:lnTo>
                      <a:pt x="365" y="477"/>
                    </a:lnTo>
                    <a:lnTo>
                      <a:pt x="342" y="476"/>
                    </a:lnTo>
                    <a:lnTo>
                      <a:pt x="324" y="476"/>
                    </a:lnTo>
                    <a:lnTo>
                      <a:pt x="305" y="476"/>
                    </a:lnTo>
                    <a:lnTo>
                      <a:pt x="286" y="478"/>
                    </a:lnTo>
                    <a:lnTo>
                      <a:pt x="267" y="479"/>
                    </a:lnTo>
                    <a:lnTo>
                      <a:pt x="229" y="485"/>
                    </a:lnTo>
                    <a:lnTo>
                      <a:pt x="194" y="492"/>
                    </a:lnTo>
                    <a:lnTo>
                      <a:pt x="163" y="498"/>
                    </a:lnTo>
                    <a:lnTo>
                      <a:pt x="139" y="505"/>
                    </a:lnTo>
                    <a:lnTo>
                      <a:pt x="123" y="509"/>
                    </a:lnTo>
                    <a:lnTo>
                      <a:pt x="116" y="510"/>
                    </a:lnTo>
                    <a:lnTo>
                      <a:pt x="109" y="512"/>
                    </a:lnTo>
                    <a:lnTo>
                      <a:pt x="90" y="514"/>
                    </a:lnTo>
                    <a:lnTo>
                      <a:pt x="82" y="514"/>
                    </a:lnTo>
                    <a:lnTo>
                      <a:pt x="72" y="512"/>
                    </a:lnTo>
                    <a:lnTo>
                      <a:pt x="61" y="509"/>
                    </a:lnTo>
                    <a:lnTo>
                      <a:pt x="49" y="504"/>
                    </a:lnTo>
                    <a:lnTo>
                      <a:pt x="44" y="499"/>
                    </a:lnTo>
                    <a:lnTo>
                      <a:pt x="39" y="495"/>
                    </a:lnTo>
                    <a:lnTo>
                      <a:pt x="32" y="490"/>
                    </a:lnTo>
                    <a:lnTo>
                      <a:pt x="27" y="483"/>
                    </a:lnTo>
                    <a:lnTo>
                      <a:pt x="21" y="477"/>
                    </a:lnTo>
                    <a:lnTo>
                      <a:pt x="16" y="468"/>
                    </a:lnTo>
                    <a:lnTo>
                      <a:pt x="11" y="459"/>
                    </a:lnTo>
                    <a:lnTo>
                      <a:pt x="5" y="449"/>
                    </a:lnTo>
                    <a:lnTo>
                      <a:pt x="2" y="439"/>
                    </a:lnTo>
                    <a:lnTo>
                      <a:pt x="0" y="427"/>
                    </a:lnTo>
                    <a:lnTo>
                      <a:pt x="0" y="415"/>
                    </a:lnTo>
                    <a:lnTo>
                      <a:pt x="1" y="402"/>
                    </a:lnTo>
                    <a:lnTo>
                      <a:pt x="3" y="388"/>
                    </a:lnTo>
                    <a:lnTo>
                      <a:pt x="7" y="373"/>
                    </a:lnTo>
                    <a:lnTo>
                      <a:pt x="14" y="357"/>
                    </a:lnTo>
                    <a:lnTo>
                      <a:pt x="21" y="341"/>
                    </a:lnTo>
                    <a:lnTo>
                      <a:pt x="35" y="316"/>
                    </a:lnTo>
                    <a:lnTo>
                      <a:pt x="52" y="290"/>
                    </a:lnTo>
                    <a:lnTo>
                      <a:pt x="70" y="264"/>
                    </a:lnTo>
                    <a:lnTo>
                      <a:pt x="90" y="237"/>
                    </a:lnTo>
                    <a:lnTo>
                      <a:pt x="113" y="210"/>
                    </a:lnTo>
                    <a:lnTo>
                      <a:pt x="137" y="184"/>
                    </a:lnTo>
                    <a:lnTo>
                      <a:pt x="162" y="158"/>
                    </a:lnTo>
                    <a:lnTo>
                      <a:pt x="188" y="133"/>
                    </a:lnTo>
                    <a:lnTo>
                      <a:pt x="214" y="110"/>
                    </a:lnTo>
                    <a:lnTo>
                      <a:pt x="240" y="88"/>
                    </a:lnTo>
                    <a:lnTo>
                      <a:pt x="265" y="68"/>
                    </a:lnTo>
                    <a:lnTo>
                      <a:pt x="291" y="50"/>
                    </a:lnTo>
                    <a:lnTo>
                      <a:pt x="315" y="34"/>
                    </a:lnTo>
                    <a:lnTo>
                      <a:pt x="339" y="22"/>
                    </a:lnTo>
                    <a:lnTo>
                      <a:pt x="350" y="17"/>
                    </a:lnTo>
                    <a:lnTo>
                      <a:pt x="360" y="13"/>
                    </a:lnTo>
                    <a:lnTo>
                      <a:pt x="370" y="8"/>
                    </a:lnTo>
                    <a:lnTo>
                      <a:pt x="380" y="6"/>
                    </a:lnTo>
                    <a:lnTo>
                      <a:pt x="393" y="4"/>
                    </a:lnTo>
                    <a:lnTo>
                      <a:pt x="405" y="2"/>
                    </a:lnTo>
                    <a:lnTo>
                      <a:pt x="417" y="1"/>
                    </a:lnTo>
                    <a:lnTo>
                      <a:pt x="427" y="0"/>
                    </a:lnTo>
                    <a:lnTo>
                      <a:pt x="439" y="1"/>
                    </a:lnTo>
                    <a:lnTo>
                      <a:pt x="450" y="2"/>
                    </a:lnTo>
                    <a:lnTo>
                      <a:pt x="461" y="4"/>
                    </a:lnTo>
                    <a:lnTo>
                      <a:pt x="471" y="6"/>
                    </a:lnTo>
                    <a:lnTo>
                      <a:pt x="479" y="9"/>
                    </a:lnTo>
                    <a:lnTo>
                      <a:pt x="488" y="14"/>
                    </a:lnTo>
                    <a:lnTo>
                      <a:pt x="497" y="18"/>
                    </a:lnTo>
                    <a:lnTo>
                      <a:pt x="504" y="23"/>
                    </a:lnTo>
                    <a:lnTo>
                      <a:pt x="512" y="29"/>
                    </a:lnTo>
                    <a:lnTo>
                      <a:pt x="518" y="35"/>
                    </a:lnTo>
                    <a:lnTo>
                      <a:pt x="525" y="42"/>
                    </a:lnTo>
                    <a:lnTo>
                      <a:pt x="530" y="49"/>
                    </a:lnTo>
                    <a:lnTo>
                      <a:pt x="541" y="64"/>
                    </a:lnTo>
                    <a:lnTo>
                      <a:pt x="549" y="81"/>
                    </a:lnTo>
                    <a:lnTo>
                      <a:pt x="557" y="98"/>
                    </a:lnTo>
                    <a:lnTo>
                      <a:pt x="563" y="115"/>
                    </a:lnTo>
                    <a:lnTo>
                      <a:pt x="568" y="132"/>
                    </a:lnTo>
                    <a:lnTo>
                      <a:pt x="572" y="150"/>
                    </a:lnTo>
                    <a:lnTo>
                      <a:pt x="579" y="183"/>
                    </a:lnTo>
                    <a:lnTo>
                      <a:pt x="582" y="212"/>
                    </a:lnTo>
                    <a:lnTo>
                      <a:pt x="583" y="220"/>
                    </a:lnTo>
                    <a:lnTo>
                      <a:pt x="585" y="238"/>
                    </a:lnTo>
                    <a:lnTo>
                      <a:pt x="585" y="258"/>
                    </a:lnTo>
                    <a:lnTo>
                      <a:pt x="585" y="279"/>
                    </a:lnTo>
                    <a:lnTo>
                      <a:pt x="584" y="302"/>
                    </a:lnTo>
                    <a:lnTo>
                      <a:pt x="579" y="349"/>
                    </a:lnTo>
                    <a:lnTo>
                      <a:pt x="573" y="397"/>
                    </a:lnTo>
                    <a:lnTo>
                      <a:pt x="567" y="439"/>
                    </a:lnTo>
                    <a:lnTo>
                      <a:pt x="560" y="476"/>
                    </a:lnTo>
                    <a:lnTo>
                      <a:pt x="555" y="500"/>
                    </a:lnTo>
                    <a:lnTo>
                      <a:pt x="553" y="511"/>
                    </a:lnTo>
                    <a:lnTo>
                      <a:pt x="552" y="514"/>
                    </a:lnTo>
                    <a:lnTo>
                      <a:pt x="550" y="518"/>
                    </a:lnTo>
                    <a:lnTo>
                      <a:pt x="548" y="520"/>
                    </a:lnTo>
                    <a:lnTo>
                      <a:pt x="545" y="521"/>
                    </a:lnTo>
                    <a:lnTo>
                      <a:pt x="542" y="522"/>
                    </a:lnTo>
                    <a:lnTo>
                      <a:pt x="540" y="522"/>
                    </a:lnTo>
                    <a:close/>
                    <a:moveTo>
                      <a:pt x="329" y="449"/>
                    </a:moveTo>
                    <a:lnTo>
                      <a:pt x="329" y="449"/>
                    </a:lnTo>
                    <a:lnTo>
                      <a:pt x="336" y="449"/>
                    </a:lnTo>
                    <a:lnTo>
                      <a:pt x="343" y="449"/>
                    </a:lnTo>
                    <a:lnTo>
                      <a:pt x="378" y="451"/>
                    </a:lnTo>
                    <a:lnTo>
                      <a:pt x="409" y="454"/>
                    </a:lnTo>
                    <a:lnTo>
                      <a:pt x="437" y="459"/>
                    </a:lnTo>
                    <a:lnTo>
                      <a:pt x="462" y="465"/>
                    </a:lnTo>
                    <a:lnTo>
                      <a:pt x="484" y="471"/>
                    </a:lnTo>
                    <a:lnTo>
                      <a:pt x="502" y="477"/>
                    </a:lnTo>
                    <a:lnTo>
                      <a:pt x="518" y="483"/>
                    </a:lnTo>
                    <a:lnTo>
                      <a:pt x="530" y="489"/>
                    </a:lnTo>
                    <a:lnTo>
                      <a:pt x="534" y="466"/>
                    </a:lnTo>
                    <a:lnTo>
                      <a:pt x="540" y="436"/>
                    </a:lnTo>
                    <a:lnTo>
                      <a:pt x="545" y="401"/>
                    </a:lnTo>
                    <a:lnTo>
                      <a:pt x="550" y="363"/>
                    </a:lnTo>
                    <a:lnTo>
                      <a:pt x="555" y="325"/>
                    </a:lnTo>
                    <a:lnTo>
                      <a:pt x="557" y="288"/>
                    </a:lnTo>
                    <a:lnTo>
                      <a:pt x="558" y="269"/>
                    </a:lnTo>
                    <a:lnTo>
                      <a:pt x="558" y="253"/>
                    </a:lnTo>
                    <a:lnTo>
                      <a:pt x="558" y="237"/>
                    </a:lnTo>
                    <a:lnTo>
                      <a:pt x="556" y="223"/>
                    </a:lnTo>
                    <a:lnTo>
                      <a:pt x="555" y="215"/>
                    </a:lnTo>
                    <a:lnTo>
                      <a:pt x="552" y="188"/>
                    </a:lnTo>
                    <a:lnTo>
                      <a:pt x="546" y="158"/>
                    </a:lnTo>
                    <a:lnTo>
                      <a:pt x="543" y="143"/>
                    </a:lnTo>
                    <a:lnTo>
                      <a:pt x="539" y="127"/>
                    </a:lnTo>
                    <a:lnTo>
                      <a:pt x="533" y="112"/>
                    </a:lnTo>
                    <a:lnTo>
                      <a:pt x="527" y="97"/>
                    </a:lnTo>
                    <a:lnTo>
                      <a:pt x="520" y="83"/>
                    </a:lnTo>
                    <a:lnTo>
                      <a:pt x="512" y="70"/>
                    </a:lnTo>
                    <a:lnTo>
                      <a:pt x="502" y="58"/>
                    </a:lnTo>
                    <a:lnTo>
                      <a:pt x="490" y="47"/>
                    </a:lnTo>
                    <a:lnTo>
                      <a:pt x="484" y="43"/>
                    </a:lnTo>
                    <a:lnTo>
                      <a:pt x="477" y="38"/>
                    </a:lnTo>
                    <a:lnTo>
                      <a:pt x="470" y="35"/>
                    </a:lnTo>
                    <a:lnTo>
                      <a:pt x="462" y="33"/>
                    </a:lnTo>
                    <a:lnTo>
                      <a:pt x="454" y="30"/>
                    </a:lnTo>
                    <a:lnTo>
                      <a:pt x="446" y="29"/>
                    </a:lnTo>
                    <a:lnTo>
                      <a:pt x="437" y="28"/>
                    </a:lnTo>
                    <a:lnTo>
                      <a:pt x="427" y="28"/>
                    </a:lnTo>
                    <a:lnTo>
                      <a:pt x="418" y="28"/>
                    </a:lnTo>
                    <a:lnTo>
                      <a:pt x="408" y="29"/>
                    </a:lnTo>
                    <a:lnTo>
                      <a:pt x="397" y="30"/>
                    </a:lnTo>
                    <a:lnTo>
                      <a:pt x="386" y="32"/>
                    </a:lnTo>
                    <a:lnTo>
                      <a:pt x="378" y="35"/>
                    </a:lnTo>
                    <a:lnTo>
                      <a:pt x="368" y="38"/>
                    </a:lnTo>
                    <a:lnTo>
                      <a:pt x="358" y="43"/>
                    </a:lnTo>
                    <a:lnTo>
                      <a:pt x="347" y="47"/>
                    </a:lnTo>
                    <a:lnTo>
                      <a:pt x="326" y="60"/>
                    </a:lnTo>
                    <a:lnTo>
                      <a:pt x="302" y="74"/>
                    </a:lnTo>
                    <a:lnTo>
                      <a:pt x="278" y="91"/>
                    </a:lnTo>
                    <a:lnTo>
                      <a:pt x="254" y="111"/>
                    </a:lnTo>
                    <a:lnTo>
                      <a:pt x="229" y="132"/>
                    </a:lnTo>
                    <a:lnTo>
                      <a:pt x="204" y="155"/>
                    </a:lnTo>
                    <a:lnTo>
                      <a:pt x="179" y="179"/>
                    </a:lnTo>
                    <a:lnTo>
                      <a:pt x="155" y="204"/>
                    </a:lnTo>
                    <a:lnTo>
                      <a:pt x="133" y="228"/>
                    </a:lnTo>
                    <a:lnTo>
                      <a:pt x="111" y="254"/>
                    </a:lnTo>
                    <a:lnTo>
                      <a:pt x="92" y="279"/>
                    </a:lnTo>
                    <a:lnTo>
                      <a:pt x="74" y="305"/>
                    </a:lnTo>
                    <a:lnTo>
                      <a:pt x="58" y="329"/>
                    </a:lnTo>
                    <a:lnTo>
                      <a:pt x="46" y="353"/>
                    </a:lnTo>
                    <a:lnTo>
                      <a:pt x="40" y="367"/>
                    </a:lnTo>
                    <a:lnTo>
                      <a:pt x="34" y="380"/>
                    </a:lnTo>
                    <a:lnTo>
                      <a:pt x="30" y="391"/>
                    </a:lnTo>
                    <a:lnTo>
                      <a:pt x="28" y="402"/>
                    </a:lnTo>
                    <a:lnTo>
                      <a:pt x="27" y="413"/>
                    </a:lnTo>
                    <a:lnTo>
                      <a:pt x="27" y="422"/>
                    </a:lnTo>
                    <a:lnTo>
                      <a:pt x="28" y="430"/>
                    </a:lnTo>
                    <a:lnTo>
                      <a:pt x="30" y="438"/>
                    </a:lnTo>
                    <a:lnTo>
                      <a:pt x="35" y="450"/>
                    </a:lnTo>
                    <a:lnTo>
                      <a:pt x="42" y="459"/>
                    </a:lnTo>
                    <a:lnTo>
                      <a:pt x="49" y="468"/>
                    </a:lnTo>
                    <a:lnTo>
                      <a:pt x="57" y="475"/>
                    </a:lnTo>
                    <a:lnTo>
                      <a:pt x="65" y="481"/>
                    </a:lnTo>
                    <a:lnTo>
                      <a:pt x="73" y="484"/>
                    </a:lnTo>
                    <a:lnTo>
                      <a:pt x="82" y="486"/>
                    </a:lnTo>
                    <a:lnTo>
                      <a:pt x="90" y="488"/>
                    </a:lnTo>
                    <a:lnTo>
                      <a:pt x="102" y="486"/>
                    </a:lnTo>
                    <a:lnTo>
                      <a:pt x="108" y="485"/>
                    </a:lnTo>
                    <a:lnTo>
                      <a:pt x="114" y="483"/>
                    </a:lnTo>
                    <a:lnTo>
                      <a:pt x="132" y="479"/>
                    </a:lnTo>
                    <a:lnTo>
                      <a:pt x="154" y="472"/>
                    </a:lnTo>
                    <a:lnTo>
                      <a:pt x="184" y="466"/>
                    </a:lnTo>
                    <a:lnTo>
                      <a:pt x="218" y="459"/>
                    </a:lnTo>
                    <a:lnTo>
                      <a:pt x="255" y="454"/>
                    </a:lnTo>
                    <a:lnTo>
                      <a:pt x="273" y="452"/>
                    </a:lnTo>
                    <a:lnTo>
                      <a:pt x="292" y="450"/>
                    </a:lnTo>
                    <a:lnTo>
                      <a:pt x="311" y="449"/>
                    </a:lnTo>
                    <a:lnTo>
                      <a:pt x="329" y="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7"/>
              <p:cNvSpPr>
                <a:spLocks/>
              </p:cNvSpPr>
              <p:nvPr userDrawn="1"/>
            </p:nvSpPr>
            <p:spPr bwMode="auto">
              <a:xfrm>
                <a:off x="1636" y="1977"/>
                <a:ext cx="1040" cy="403"/>
              </a:xfrm>
              <a:custGeom>
                <a:avLst/>
                <a:gdLst>
                  <a:gd name="T0" fmla="*/ 1224 w 3121"/>
                  <a:gd name="T1" fmla="*/ 1190 h 1209"/>
                  <a:gd name="T2" fmla="*/ 1001 w 3121"/>
                  <a:gd name="T3" fmla="*/ 1105 h 1209"/>
                  <a:gd name="T4" fmla="*/ 740 w 3121"/>
                  <a:gd name="T5" fmla="*/ 932 h 1209"/>
                  <a:gd name="T6" fmla="*/ 505 w 3121"/>
                  <a:gd name="T7" fmla="*/ 713 h 1209"/>
                  <a:gd name="T8" fmla="*/ 265 w 3121"/>
                  <a:gd name="T9" fmla="*/ 421 h 1209"/>
                  <a:gd name="T10" fmla="*/ 37 w 3121"/>
                  <a:gd name="T11" fmla="*/ 77 h 1209"/>
                  <a:gd name="T12" fmla="*/ 6 w 3121"/>
                  <a:gd name="T13" fmla="*/ 3 h 1209"/>
                  <a:gd name="T14" fmla="*/ 60 w 3121"/>
                  <a:gd name="T15" fmla="*/ 63 h 1209"/>
                  <a:gd name="T16" fmla="*/ 286 w 3121"/>
                  <a:gd name="T17" fmla="*/ 404 h 1209"/>
                  <a:gd name="T18" fmla="*/ 524 w 3121"/>
                  <a:gd name="T19" fmla="*/ 693 h 1209"/>
                  <a:gd name="T20" fmla="*/ 758 w 3121"/>
                  <a:gd name="T21" fmla="*/ 910 h 1209"/>
                  <a:gd name="T22" fmla="*/ 1013 w 3121"/>
                  <a:gd name="T23" fmla="*/ 1080 h 1209"/>
                  <a:gd name="T24" fmla="*/ 1227 w 3121"/>
                  <a:gd name="T25" fmla="*/ 1164 h 1209"/>
                  <a:gd name="T26" fmla="*/ 1410 w 3121"/>
                  <a:gd name="T27" fmla="*/ 1184 h 1209"/>
                  <a:gd name="T28" fmla="*/ 1563 w 3121"/>
                  <a:gd name="T29" fmla="*/ 1159 h 1209"/>
                  <a:gd name="T30" fmla="*/ 1784 w 3121"/>
                  <a:gd name="T31" fmla="*/ 1058 h 1209"/>
                  <a:gd name="T32" fmla="*/ 2107 w 3121"/>
                  <a:gd name="T33" fmla="*/ 875 h 1209"/>
                  <a:gd name="T34" fmla="*/ 2346 w 3121"/>
                  <a:gd name="T35" fmla="*/ 679 h 1209"/>
                  <a:gd name="T36" fmla="*/ 2503 w 3121"/>
                  <a:gd name="T37" fmla="*/ 561 h 1209"/>
                  <a:gd name="T38" fmla="*/ 2669 w 3121"/>
                  <a:gd name="T39" fmla="*/ 483 h 1209"/>
                  <a:gd name="T40" fmla="*/ 2828 w 3121"/>
                  <a:gd name="T41" fmla="*/ 450 h 1209"/>
                  <a:gd name="T42" fmla="*/ 2962 w 3121"/>
                  <a:gd name="T43" fmla="*/ 466 h 1209"/>
                  <a:gd name="T44" fmla="*/ 3061 w 3121"/>
                  <a:gd name="T45" fmla="*/ 543 h 1209"/>
                  <a:gd name="T46" fmla="*/ 3093 w 3121"/>
                  <a:gd name="T47" fmla="*/ 577 h 1209"/>
                  <a:gd name="T48" fmla="*/ 3051 w 3121"/>
                  <a:gd name="T49" fmla="*/ 430 h 1209"/>
                  <a:gd name="T50" fmla="*/ 2939 w 3121"/>
                  <a:gd name="T51" fmla="*/ 359 h 1209"/>
                  <a:gd name="T52" fmla="*/ 2802 w 3121"/>
                  <a:gd name="T53" fmla="*/ 338 h 1209"/>
                  <a:gd name="T54" fmla="*/ 2671 w 3121"/>
                  <a:gd name="T55" fmla="*/ 370 h 1209"/>
                  <a:gd name="T56" fmla="*/ 2471 w 3121"/>
                  <a:gd name="T57" fmla="*/ 486 h 1209"/>
                  <a:gd name="T58" fmla="*/ 2103 w 3121"/>
                  <a:gd name="T59" fmla="*/ 763 h 1209"/>
                  <a:gd name="T60" fmla="*/ 1891 w 3121"/>
                  <a:gd name="T61" fmla="*/ 882 h 1209"/>
                  <a:gd name="T62" fmla="*/ 1485 w 3121"/>
                  <a:gd name="T63" fmla="*/ 986 h 1209"/>
                  <a:gd name="T64" fmla="*/ 1136 w 3121"/>
                  <a:gd name="T65" fmla="*/ 931 h 1209"/>
                  <a:gd name="T66" fmla="*/ 872 w 3121"/>
                  <a:gd name="T67" fmla="*/ 759 h 1209"/>
                  <a:gd name="T68" fmla="*/ 684 w 3121"/>
                  <a:gd name="T69" fmla="*/ 535 h 1209"/>
                  <a:gd name="T70" fmla="*/ 591 w 3121"/>
                  <a:gd name="T71" fmla="*/ 363 h 1209"/>
                  <a:gd name="T72" fmla="*/ 632 w 3121"/>
                  <a:gd name="T73" fmla="*/ 392 h 1209"/>
                  <a:gd name="T74" fmla="*/ 775 w 3121"/>
                  <a:gd name="T75" fmla="*/ 615 h 1209"/>
                  <a:gd name="T76" fmla="*/ 989 w 3121"/>
                  <a:gd name="T77" fmla="*/ 819 h 1209"/>
                  <a:gd name="T78" fmla="*/ 1280 w 3121"/>
                  <a:gd name="T79" fmla="*/ 945 h 1209"/>
                  <a:gd name="T80" fmla="*/ 1658 w 3121"/>
                  <a:gd name="T81" fmla="*/ 933 h 1209"/>
                  <a:gd name="T82" fmla="*/ 1972 w 3121"/>
                  <a:gd name="T83" fmla="*/ 811 h 1209"/>
                  <a:gd name="T84" fmla="*/ 2254 w 3121"/>
                  <a:gd name="T85" fmla="*/ 618 h 1209"/>
                  <a:gd name="T86" fmla="*/ 2547 w 3121"/>
                  <a:gd name="T87" fmla="*/ 403 h 1209"/>
                  <a:gd name="T88" fmla="*/ 2737 w 3121"/>
                  <a:gd name="T89" fmla="*/ 320 h 1209"/>
                  <a:gd name="T90" fmla="*/ 2863 w 3121"/>
                  <a:gd name="T91" fmla="*/ 315 h 1209"/>
                  <a:gd name="T92" fmla="*/ 3008 w 3121"/>
                  <a:gd name="T93" fmla="*/ 361 h 1209"/>
                  <a:gd name="T94" fmla="*/ 3087 w 3121"/>
                  <a:gd name="T95" fmla="*/ 433 h 1209"/>
                  <a:gd name="T96" fmla="*/ 3121 w 3121"/>
                  <a:gd name="T97" fmla="*/ 583 h 1209"/>
                  <a:gd name="T98" fmla="*/ 3110 w 3121"/>
                  <a:gd name="T99" fmla="*/ 756 h 1209"/>
                  <a:gd name="T100" fmla="*/ 3100 w 3121"/>
                  <a:gd name="T101" fmla="*/ 815 h 1209"/>
                  <a:gd name="T102" fmla="*/ 3074 w 3121"/>
                  <a:gd name="T103" fmla="*/ 874 h 1209"/>
                  <a:gd name="T104" fmla="*/ 3065 w 3121"/>
                  <a:gd name="T105" fmla="*/ 820 h 1209"/>
                  <a:gd name="T106" fmla="*/ 3071 w 3121"/>
                  <a:gd name="T107" fmla="*/ 649 h 1209"/>
                  <a:gd name="T108" fmla="*/ 3019 w 3121"/>
                  <a:gd name="T109" fmla="*/ 534 h 1209"/>
                  <a:gd name="T110" fmla="*/ 2923 w 3121"/>
                  <a:gd name="T111" fmla="*/ 483 h 1209"/>
                  <a:gd name="T112" fmla="*/ 2792 w 3121"/>
                  <a:gd name="T113" fmla="*/ 481 h 1209"/>
                  <a:gd name="T114" fmla="*/ 2638 w 3121"/>
                  <a:gd name="T115" fmla="*/ 523 h 1209"/>
                  <a:gd name="T116" fmla="*/ 2476 w 3121"/>
                  <a:gd name="T117" fmla="*/ 609 h 1209"/>
                  <a:gd name="T118" fmla="*/ 2289 w 3121"/>
                  <a:gd name="T119" fmla="*/ 767 h 1209"/>
                  <a:gd name="T120" fmla="*/ 2058 w 3121"/>
                  <a:gd name="T121" fmla="*/ 940 h 1209"/>
                  <a:gd name="T122" fmla="*/ 1688 w 3121"/>
                  <a:gd name="T123" fmla="*/ 1138 h 1209"/>
                  <a:gd name="T124" fmla="*/ 1533 w 3121"/>
                  <a:gd name="T125" fmla="*/ 1193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21" h="1209">
                    <a:moveTo>
                      <a:pt x="1389" y="1209"/>
                    </a:moveTo>
                    <a:lnTo>
                      <a:pt x="1363" y="1209"/>
                    </a:lnTo>
                    <a:lnTo>
                      <a:pt x="1336" y="1207"/>
                    </a:lnTo>
                    <a:lnTo>
                      <a:pt x="1309" y="1205"/>
                    </a:lnTo>
                    <a:lnTo>
                      <a:pt x="1282" y="1201"/>
                    </a:lnTo>
                    <a:lnTo>
                      <a:pt x="1253" y="1196"/>
                    </a:lnTo>
                    <a:lnTo>
                      <a:pt x="1224" y="1190"/>
                    </a:lnTo>
                    <a:lnTo>
                      <a:pt x="1195" y="1182"/>
                    </a:lnTo>
                    <a:lnTo>
                      <a:pt x="1164" y="1173"/>
                    </a:lnTo>
                    <a:lnTo>
                      <a:pt x="1132" y="1163"/>
                    </a:lnTo>
                    <a:lnTo>
                      <a:pt x="1101" y="1150"/>
                    </a:lnTo>
                    <a:lnTo>
                      <a:pt x="1069" y="1137"/>
                    </a:lnTo>
                    <a:lnTo>
                      <a:pt x="1035" y="1121"/>
                    </a:lnTo>
                    <a:lnTo>
                      <a:pt x="1001" y="1105"/>
                    </a:lnTo>
                    <a:lnTo>
                      <a:pt x="966" y="1085"/>
                    </a:lnTo>
                    <a:lnTo>
                      <a:pt x="930" y="1065"/>
                    </a:lnTo>
                    <a:lnTo>
                      <a:pt x="895" y="1042"/>
                    </a:lnTo>
                    <a:lnTo>
                      <a:pt x="855" y="1016"/>
                    </a:lnTo>
                    <a:lnTo>
                      <a:pt x="816" y="989"/>
                    </a:lnTo>
                    <a:lnTo>
                      <a:pt x="778" y="961"/>
                    </a:lnTo>
                    <a:lnTo>
                      <a:pt x="740" y="932"/>
                    </a:lnTo>
                    <a:lnTo>
                      <a:pt x="705" y="902"/>
                    </a:lnTo>
                    <a:lnTo>
                      <a:pt x="669" y="872"/>
                    </a:lnTo>
                    <a:lnTo>
                      <a:pt x="635" y="841"/>
                    </a:lnTo>
                    <a:lnTo>
                      <a:pt x="601" y="810"/>
                    </a:lnTo>
                    <a:lnTo>
                      <a:pt x="569" y="778"/>
                    </a:lnTo>
                    <a:lnTo>
                      <a:pt x="536" y="745"/>
                    </a:lnTo>
                    <a:lnTo>
                      <a:pt x="505" y="713"/>
                    </a:lnTo>
                    <a:lnTo>
                      <a:pt x="475" y="681"/>
                    </a:lnTo>
                    <a:lnTo>
                      <a:pt x="446" y="648"/>
                    </a:lnTo>
                    <a:lnTo>
                      <a:pt x="418" y="615"/>
                    </a:lnTo>
                    <a:lnTo>
                      <a:pt x="389" y="582"/>
                    </a:lnTo>
                    <a:lnTo>
                      <a:pt x="364" y="550"/>
                    </a:lnTo>
                    <a:lnTo>
                      <a:pt x="313" y="485"/>
                    </a:lnTo>
                    <a:lnTo>
                      <a:pt x="265" y="421"/>
                    </a:lnTo>
                    <a:lnTo>
                      <a:pt x="221" y="360"/>
                    </a:lnTo>
                    <a:lnTo>
                      <a:pt x="180" y="301"/>
                    </a:lnTo>
                    <a:lnTo>
                      <a:pt x="143" y="244"/>
                    </a:lnTo>
                    <a:lnTo>
                      <a:pt x="110" y="193"/>
                    </a:lnTo>
                    <a:lnTo>
                      <a:pt x="80" y="144"/>
                    </a:lnTo>
                    <a:lnTo>
                      <a:pt x="53" y="101"/>
                    </a:lnTo>
                    <a:lnTo>
                      <a:pt x="37" y="77"/>
                    </a:lnTo>
                    <a:lnTo>
                      <a:pt x="25" y="57"/>
                    </a:lnTo>
                    <a:lnTo>
                      <a:pt x="13" y="37"/>
                    </a:lnTo>
                    <a:lnTo>
                      <a:pt x="2" y="21"/>
                    </a:lnTo>
                    <a:lnTo>
                      <a:pt x="0" y="17"/>
                    </a:lnTo>
                    <a:lnTo>
                      <a:pt x="0" y="11"/>
                    </a:lnTo>
                    <a:lnTo>
                      <a:pt x="2" y="6"/>
                    </a:lnTo>
                    <a:lnTo>
                      <a:pt x="6" y="3"/>
                    </a:lnTo>
                    <a:lnTo>
                      <a:pt x="10" y="0"/>
                    </a:lnTo>
                    <a:lnTo>
                      <a:pt x="16" y="0"/>
                    </a:lnTo>
                    <a:lnTo>
                      <a:pt x="21" y="3"/>
                    </a:lnTo>
                    <a:lnTo>
                      <a:pt x="25" y="6"/>
                    </a:lnTo>
                    <a:lnTo>
                      <a:pt x="35" y="22"/>
                    </a:lnTo>
                    <a:lnTo>
                      <a:pt x="47" y="41"/>
                    </a:lnTo>
                    <a:lnTo>
                      <a:pt x="60" y="63"/>
                    </a:lnTo>
                    <a:lnTo>
                      <a:pt x="75" y="87"/>
                    </a:lnTo>
                    <a:lnTo>
                      <a:pt x="102" y="130"/>
                    </a:lnTo>
                    <a:lnTo>
                      <a:pt x="132" y="177"/>
                    </a:lnTo>
                    <a:lnTo>
                      <a:pt x="166" y="229"/>
                    </a:lnTo>
                    <a:lnTo>
                      <a:pt x="203" y="284"/>
                    </a:lnTo>
                    <a:lnTo>
                      <a:pt x="243" y="344"/>
                    </a:lnTo>
                    <a:lnTo>
                      <a:pt x="286" y="404"/>
                    </a:lnTo>
                    <a:lnTo>
                      <a:pt x="333" y="468"/>
                    </a:lnTo>
                    <a:lnTo>
                      <a:pt x="384" y="532"/>
                    </a:lnTo>
                    <a:lnTo>
                      <a:pt x="410" y="564"/>
                    </a:lnTo>
                    <a:lnTo>
                      <a:pt x="437" y="596"/>
                    </a:lnTo>
                    <a:lnTo>
                      <a:pt x="465" y="629"/>
                    </a:lnTo>
                    <a:lnTo>
                      <a:pt x="494" y="662"/>
                    </a:lnTo>
                    <a:lnTo>
                      <a:pt x="524" y="693"/>
                    </a:lnTo>
                    <a:lnTo>
                      <a:pt x="555" y="726"/>
                    </a:lnTo>
                    <a:lnTo>
                      <a:pt x="587" y="758"/>
                    </a:lnTo>
                    <a:lnTo>
                      <a:pt x="619" y="790"/>
                    </a:lnTo>
                    <a:lnTo>
                      <a:pt x="652" y="821"/>
                    </a:lnTo>
                    <a:lnTo>
                      <a:pt x="686" y="851"/>
                    </a:lnTo>
                    <a:lnTo>
                      <a:pt x="721" y="881"/>
                    </a:lnTo>
                    <a:lnTo>
                      <a:pt x="758" y="910"/>
                    </a:lnTo>
                    <a:lnTo>
                      <a:pt x="794" y="939"/>
                    </a:lnTo>
                    <a:lnTo>
                      <a:pt x="831" y="967"/>
                    </a:lnTo>
                    <a:lnTo>
                      <a:pt x="870" y="994"/>
                    </a:lnTo>
                    <a:lnTo>
                      <a:pt x="909" y="1019"/>
                    </a:lnTo>
                    <a:lnTo>
                      <a:pt x="945" y="1042"/>
                    </a:lnTo>
                    <a:lnTo>
                      <a:pt x="979" y="1062"/>
                    </a:lnTo>
                    <a:lnTo>
                      <a:pt x="1013" y="1080"/>
                    </a:lnTo>
                    <a:lnTo>
                      <a:pt x="1045" y="1096"/>
                    </a:lnTo>
                    <a:lnTo>
                      <a:pt x="1077" y="1111"/>
                    </a:lnTo>
                    <a:lnTo>
                      <a:pt x="1109" y="1125"/>
                    </a:lnTo>
                    <a:lnTo>
                      <a:pt x="1139" y="1137"/>
                    </a:lnTo>
                    <a:lnTo>
                      <a:pt x="1169" y="1147"/>
                    </a:lnTo>
                    <a:lnTo>
                      <a:pt x="1198" y="1157"/>
                    </a:lnTo>
                    <a:lnTo>
                      <a:pt x="1227" y="1164"/>
                    </a:lnTo>
                    <a:lnTo>
                      <a:pt x="1255" y="1171"/>
                    </a:lnTo>
                    <a:lnTo>
                      <a:pt x="1282" y="1175"/>
                    </a:lnTo>
                    <a:lnTo>
                      <a:pt x="1309" y="1179"/>
                    </a:lnTo>
                    <a:lnTo>
                      <a:pt x="1335" y="1181"/>
                    </a:lnTo>
                    <a:lnTo>
                      <a:pt x="1360" y="1184"/>
                    </a:lnTo>
                    <a:lnTo>
                      <a:pt x="1385" y="1184"/>
                    </a:lnTo>
                    <a:lnTo>
                      <a:pt x="1410" y="1184"/>
                    </a:lnTo>
                    <a:lnTo>
                      <a:pt x="1434" y="1182"/>
                    </a:lnTo>
                    <a:lnTo>
                      <a:pt x="1456" y="1180"/>
                    </a:lnTo>
                    <a:lnTo>
                      <a:pt x="1479" y="1177"/>
                    </a:lnTo>
                    <a:lnTo>
                      <a:pt x="1501" y="1174"/>
                    </a:lnTo>
                    <a:lnTo>
                      <a:pt x="1522" y="1170"/>
                    </a:lnTo>
                    <a:lnTo>
                      <a:pt x="1543" y="1164"/>
                    </a:lnTo>
                    <a:lnTo>
                      <a:pt x="1563" y="1159"/>
                    </a:lnTo>
                    <a:lnTo>
                      <a:pt x="1584" y="1152"/>
                    </a:lnTo>
                    <a:lnTo>
                      <a:pt x="1603" y="1146"/>
                    </a:lnTo>
                    <a:lnTo>
                      <a:pt x="1622" y="1138"/>
                    </a:lnTo>
                    <a:lnTo>
                      <a:pt x="1640" y="1131"/>
                    </a:lnTo>
                    <a:lnTo>
                      <a:pt x="1676" y="1114"/>
                    </a:lnTo>
                    <a:lnTo>
                      <a:pt x="1709" y="1098"/>
                    </a:lnTo>
                    <a:lnTo>
                      <a:pt x="1784" y="1058"/>
                    </a:lnTo>
                    <a:lnTo>
                      <a:pt x="1868" y="1015"/>
                    </a:lnTo>
                    <a:lnTo>
                      <a:pt x="1942" y="975"/>
                    </a:lnTo>
                    <a:lnTo>
                      <a:pt x="1977" y="956"/>
                    </a:lnTo>
                    <a:lnTo>
                      <a:pt x="2010" y="936"/>
                    </a:lnTo>
                    <a:lnTo>
                      <a:pt x="2043" y="917"/>
                    </a:lnTo>
                    <a:lnTo>
                      <a:pt x="2075" y="896"/>
                    </a:lnTo>
                    <a:lnTo>
                      <a:pt x="2107" y="875"/>
                    </a:lnTo>
                    <a:lnTo>
                      <a:pt x="2139" y="853"/>
                    </a:lnTo>
                    <a:lnTo>
                      <a:pt x="2171" y="829"/>
                    </a:lnTo>
                    <a:lnTo>
                      <a:pt x="2204" y="804"/>
                    </a:lnTo>
                    <a:lnTo>
                      <a:pt x="2237" y="777"/>
                    </a:lnTo>
                    <a:lnTo>
                      <a:pt x="2272" y="746"/>
                    </a:lnTo>
                    <a:lnTo>
                      <a:pt x="2308" y="715"/>
                    </a:lnTo>
                    <a:lnTo>
                      <a:pt x="2346" y="679"/>
                    </a:lnTo>
                    <a:lnTo>
                      <a:pt x="2367" y="660"/>
                    </a:lnTo>
                    <a:lnTo>
                      <a:pt x="2388" y="642"/>
                    </a:lnTo>
                    <a:lnTo>
                      <a:pt x="2411" y="624"/>
                    </a:lnTo>
                    <a:lnTo>
                      <a:pt x="2434" y="607"/>
                    </a:lnTo>
                    <a:lnTo>
                      <a:pt x="2456" y="591"/>
                    </a:lnTo>
                    <a:lnTo>
                      <a:pt x="2479" y="576"/>
                    </a:lnTo>
                    <a:lnTo>
                      <a:pt x="2503" y="561"/>
                    </a:lnTo>
                    <a:lnTo>
                      <a:pt x="2526" y="547"/>
                    </a:lnTo>
                    <a:lnTo>
                      <a:pt x="2550" y="534"/>
                    </a:lnTo>
                    <a:lnTo>
                      <a:pt x="2574" y="522"/>
                    </a:lnTo>
                    <a:lnTo>
                      <a:pt x="2598" y="511"/>
                    </a:lnTo>
                    <a:lnTo>
                      <a:pt x="2621" y="500"/>
                    </a:lnTo>
                    <a:lnTo>
                      <a:pt x="2645" y="492"/>
                    </a:lnTo>
                    <a:lnTo>
                      <a:pt x="2669" y="483"/>
                    </a:lnTo>
                    <a:lnTo>
                      <a:pt x="2693" y="475"/>
                    </a:lnTo>
                    <a:lnTo>
                      <a:pt x="2715" y="468"/>
                    </a:lnTo>
                    <a:lnTo>
                      <a:pt x="2739" y="462"/>
                    </a:lnTo>
                    <a:lnTo>
                      <a:pt x="2762" y="458"/>
                    </a:lnTo>
                    <a:lnTo>
                      <a:pt x="2785" y="454"/>
                    </a:lnTo>
                    <a:lnTo>
                      <a:pt x="2806" y="452"/>
                    </a:lnTo>
                    <a:lnTo>
                      <a:pt x="2828" y="450"/>
                    </a:lnTo>
                    <a:lnTo>
                      <a:pt x="2849" y="448"/>
                    </a:lnTo>
                    <a:lnTo>
                      <a:pt x="2870" y="448"/>
                    </a:lnTo>
                    <a:lnTo>
                      <a:pt x="2889" y="451"/>
                    </a:lnTo>
                    <a:lnTo>
                      <a:pt x="2909" y="453"/>
                    </a:lnTo>
                    <a:lnTo>
                      <a:pt x="2927" y="456"/>
                    </a:lnTo>
                    <a:lnTo>
                      <a:pt x="2945" y="460"/>
                    </a:lnTo>
                    <a:lnTo>
                      <a:pt x="2962" y="466"/>
                    </a:lnTo>
                    <a:lnTo>
                      <a:pt x="2978" y="472"/>
                    </a:lnTo>
                    <a:lnTo>
                      <a:pt x="2993" y="480"/>
                    </a:lnTo>
                    <a:lnTo>
                      <a:pt x="3008" y="489"/>
                    </a:lnTo>
                    <a:lnTo>
                      <a:pt x="3021" y="499"/>
                    </a:lnTo>
                    <a:lnTo>
                      <a:pt x="3036" y="513"/>
                    </a:lnTo>
                    <a:lnTo>
                      <a:pt x="3050" y="527"/>
                    </a:lnTo>
                    <a:lnTo>
                      <a:pt x="3061" y="543"/>
                    </a:lnTo>
                    <a:lnTo>
                      <a:pt x="3071" y="560"/>
                    </a:lnTo>
                    <a:lnTo>
                      <a:pt x="3079" y="576"/>
                    </a:lnTo>
                    <a:lnTo>
                      <a:pt x="3086" y="593"/>
                    </a:lnTo>
                    <a:lnTo>
                      <a:pt x="3090" y="611"/>
                    </a:lnTo>
                    <a:lnTo>
                      <a:pt x="3094" y="630"/>
                    </a:lnTo>
                    <a:lnTo>
                      <a:pt x="3094" y="602"/>
                    </a:lnTo>
                    <a:lnTo>
                      <a:pt x="3093" y="577"/>
                    </a:lnTo>
                    <a:lnTo>
                      <a:pt x="3091" y="554"/>
                    </a:lnTo>
                    <a:lnTo>
                      <a:pt x="3087" y="533"/>
                    </a:lnTo>
                    <a:lnTo>
                      <a:pt x="3083" y="511"/>
                    </a:lnTo>
                    <a:lnTo>
                      <a:pt x="3076" y="491"/>
                    </a:lnTo>
                    <a:lnTo>
                      <a:pt x="3070" y="468"/>
                    </a:lnTo>
                    <a:lnTo>
                      <a:pt x="3062" y="444"/>
                    </a:lnTo>
                    <a:lnTo>
                      <a:pt x="3051" y="430"/>
                    </a:lnTo>
                    <a:lnTo>
                      <a:pt x="3038" y="417"/>
                    </a:lnTo>
                    <a:lnTo>
                      <a:pt x="3024" y="405"/>
                    </a:lnTo>
                    <a:lnTo>
                      <a:pt x="3009" y="393"/>
                    </a:lnTo>
                    <a:lnTo>
                      <a:pt x="2993" y="384"/>
                    </a:lnTo>
                    <a:lnTo>
                      <a:pt x="2976" y="375"/>
                    </a:lnTo>
                    <a:lnTo>
                      <a:pt x="2957" y="366"/>
                    </a:lnTo>
                    <a:lnTo>
                      <a:pt x="2939" y="359"/>
                    </a:lnTo>
                    <a:lnTo>
                      <a:pt x="2919" y="353"/>
                    </a:lnTo>
                    <a:lnTo>
                      <a:pt x="2900" y="348"/>
                    </a:lnTo>
                    <a:lnTo>
                      <a:pt x="2880" y="345"/>
                    </a:lnTo>
                    <a:lnTo>
                      <a:pt x="2860" y="342"/>
                    </a:lnTo>
                    <a:lnTo>
                      <a:pt x="2841" y="339"/>
                    </a:lnTo>
                    <a:lnTo>
                      <a:pt x="2821" y="338"/>
                    </a:lnTo>
                    <a:lnTo>
                      <a:pt x="2802" y="338"/>
                    </a:lnTo>
                    <a:lnTo>
                      <a:pt x="2783" y="340"/>
                    </a:lnTo>
                    <a:lnTo>
                      <a:pt x="2769" y="342"/>
                    </a:lnTo>
                    <a:lnTo>
                      <a:pt x="2755" y="344"/>
                    </a:lnTo>
                    <a:lnTo>
                      <a:pt x="2741" y="347"/>
                    </a:lnTo>
                    <a:lnTo>
                      <a:pt x="2727" y="350"/>
                    </a:lnTo>
                    <a:lnTo>
                      <a:pt x="2699" y="359"/>
                    </a:lnTo>
                    <a:lnTo>
                      <a:pt x="2671" y="370"/>
                    </a:lnTo>
                    <a:lnTo>
                      <a:pt x="2643" y="381"/>
                    </a:lnTo>
                    <a:lnTo>
                      <a:pt x="2615" y="396"/>
                    </a:lnTo>
                    <a:lnTo>
                      <a:pt x="2587" y="411"/>
                    </a:lnTo>
                    <a:lnTo>
                      <a:pt x="2558" y="428"/>
                    </a:lnTo>
                    <a:lnTo>
                      <a:pt x="2530" y="446"/>
                    </a:lnTo>
                    <a:lnTo>
                      <a:pt x="2501" y="466"/>
                    </a:lnTo>
                    <a:lnTo>
                      <a:pt x="2471" y="486"/>
                    </a:lnTo>
                    <a:lnTo>
                      <a:pt x="2442" y="507"/>
                    </a:lnTo>
                    <a:lnTo>
                      <a:pt x="2384" y="551"/>
                    </a:lnTo>
                    <a:lnTo>
                      <a:pt x="2325" y="597"/>
                    </a:lnTo>
                    <a:lnTo>
                      <a:pt x="2271" y="639"/>
                    </a:lnTo>
                    <a:lnTo>
                      <a:pt x="2215" y="682"/>
                    </a:lnTo>
                    <a:lnTo>
                      <a:pt x="2159" y="723"/>
                    </a:lnTo>
                    <a:lnTo>
                      <a:pt x="2103" y="763"/>
                    </a:lnTo>
                    <a:lnTo>
                      <a:pt x="2074" y="781"/>
                    </a:lnTo>
                    <a:lnTo>
                      <a:pt x="2045" y="800"/>
                    </a:lnTo>
                    <a:lnTo>
                      <a:pt x="2015" y="818"/>
                    </a:lnTo>
                    <a:lnTo>
                      <a:pt x="1984" y="835"/>
                    </a:lnTo>
                    <a:lnTo>
                      <a:pt x="1954" y="852"/>
                    </a:lnTo>
                    <a:lnTo>
                      <a:pt x="1923" y="867"/>
                    </a:lnTo>
                    <a:lnTo>
                      <a:pt x="1891" y="882"/>
                    </a:lnTo>
                    <a:lnTo>
                      <a:pt x="1859" y="896"/>
                    </a:lnTo>
                    <a:lnTo>
                      <a:pt x="1791" y="922"/>
                    </a:lnTo>
                    <a:lnTo>
                      <a:pt x="1726" y="943"/>
                    </a:lnTo>
                    <a:lnTo>
                      <a:pt x="1663" y="960"/>
                    </a:lnTo>
                    <a:lnTo>
                      <a:pt x="1602" y="973"/>
                    </a:lnTo>
                    <a:lnTo>
                      <a:pt x="1543" y="982"/>
                    </a:lnTo>
                    <a:lnTo>
                      <a:pt x="1485" y="986"/>
                    </a:lnTo>
                    <a:lnTo>
                      <a:pt x="1429" y="988"/>
                    </a:lnTo>
                    <a:lnTo>
                      <a:pt x="1376" y="986"/>
                    </a:lnTo>
                    <a:lnTo>
                      <a:pt x="1325" y="981"/>
                    </a:lnTo>
                    <a:lnTo>
                      <a:pt x="1275" y="972"/>
                    </a:lnTo>
                    <a:lnTo>
                      <a:pt x="1226" y="961"/>
                    </a:lnTo>
                    <a:lnTo>
                      <a:pt x="1180" y="947"/>
                    </a:lnTo>
                    <a:lnTo>
                      <a:pt x="1136" y="931"/>
                    </a:lnTo>
                    <a:lnTo>
                      <a:pt x="1094" y="912"/>
                    </a:lnTo>
                    <a:lnTo>
                      <a:pt x="1052" y="891"/>
                    </a:lnTo>
                    <a:lnTo>
                      <a:pt x="1013" y="868"/>
                    </a:lnTo>
                    <a:lnTo>
                      <a:pt x="975" y="844"/>
                    </a:lnTo>
                    <a:lnTo>
                      <a:pt x="939" y="817"/>
                    </a:lnTo>
                    <a:lnTo>
                      <a:pt x="905" y="788"/>
                    </a:lnTo>
                    <a:lnTo>
                      <a:pt x="872" y="759"/>
                    </a:lnTo>
                    <a:lnTo>
                      <a:pt x="841" y="729"/>
                    </a:lnTo>
                    <a:lnTo>
                      <a:pt x="811" y="698"/>
                    </a:lnTo>
                    <a:lnTo>
                      <a:pt x="783" y="666"/>
                    </a:lnTo>
                    <a:lnTo>
                      <a:pt x="756" y="634"/>
                    </a:lnTo>
                    <a:lnTo>
                      <a:pt x="731" y="601"/>
                    </a:lnTo>
                    <a:lnTo>
                      <a:pt x="707" y="567"/>
                    </a:lnTo>
                    <a:lnTo>
                      <a:pt x="684" y="535"/>
                    </a:lnTo>
                    <a:lnTo>
                      <a:pt x="663" y="501"/>
                    </a:lnTo>
                    <a:lnTo>
                      <a:pt x="643" y="469"/>
                    </a:lnTo>
                    <a:lnTo>
                      <a:pt x="625" y="437"/>
                    </a:lnTo>
                    <a:lnTo>
                      <a:pt x="609" y="404"/>
                    </a:lnTo>
                    <a:lnTo>
                      <a:pt x="592" y="374"/>
                    </a:lnTo>
                    <a:lnTo>
                      <a:pt x="591" y="369"/>
                    </a:lnTo>
                    <a:lnTo>
                      <a:pt x="591" y="363"/>
                    </a:lnTo>
                    <a:lnTo>
                      <a:pt x="595" y="359"/>
                    </a:lnTo>
                    <a:lnTo>
                      <a:pt x="599" y="356"/>
                    </a:lnTo>
                    <a:lnTo>
                      <a:pt x="603" y="355"/>
                    </a:lnTo>
                    <a:lnTo>
                      <a:pt x="609" y="356"/>
                    </a:lnTo>
                    <a:lnTo>
                      <a:pt x="613" y="358"/>
                    </a:lnTo>
                    <a:lnTo>
                      <a:pt x="616" y="362"/>
                    </a:lnTo>
                    <a:lnTo>
                      <a:pt x="632" y="392"/>
                    </a:lnTo>
                    <a:lnTo>
                      <a:pt x="649" y="423"/>
                    </a:lnTo>
                    <a:lnTo>
                      <a:pt x="666" y="454"/>
                    </a:lnTo>
                    <a:lnTo>
                      <a:pt x="685" y="486"/>
                    </a:lnTo>
                    <a:lnTo>
                      <a:pt x="706" y="519"/>
                    </a:lnTo>
                    <a:lnTo>
                      <a:pt x="727" y="551"/>
                    </a:lnTo>
                    <a:lnTo>
                      <a:pt x="751" y="583"/>
                    </a:lnTo>
                    <a:lnTo>
                      <a:pt x="775" y="615"/>
                    </a:lnTo>
                    <a:lnTo>
                      <a:pt x="802" y="647"/>
                    </a:lnTo>
                    <a:lnTo>
                      <a:pt x="829" y="678"/>
                    </a:lnTo>
                    <a:lnTo>
                      <a:pt x="858" y="709"/>
                    </a:lnTo>
                    <a:lnTo>
                      <a:pt x="888" y="738"/>
                    </a:lnTo>
                    <a:lnTo>
                      <a:pt x="921" y="766"/>
                    </a:lnTo>
                    <a:lnTo>
                      <a:pt x="954" y="794"/>
                    </a:lnTo>
                    <a:lnTo>
                      <a:pt x="989" y="819"/>
                    </a:lnTo>
                    <a:lnTo>
                      <a:pt x="1025" y="844"/>
                    </a:lnTo>
                    <a:lnTo>
                      <a:pt x="1064" y="865"/>
                    </a:lnTo>
                    <a:lnTo>
                      <a:pt x="1104" y="886"/>
                    </a:lnTo>
                    <a:lnTo>
                      <a:pt x="1145" y="904"/>
                    </a:lnTo>
                    <a:lnTo>
                      <a:pt x="1189" y="920"/>
                    </a:lnTo>
                    <a:lnTo>
                      <a:pt x="1234" y="934"/>
                    </a:lnTo>
                    <a:lnTo>
                      <a:pt x="1280" y="945"/>
                    </a:lnTo>
                    <a:lnTo>
                      <a:pt x="1329" y="953"/>
                    </a:lnTo>
                    <a:lnTo>
                      <a:pt x="1380" y="958"/>
                    </a:lnTo>
                    <a:lnTo>
                      <a:pt x="1431" y="960"/>
                    </a:lnTo>
                    <a:lnTo>
                      <a:pt x="1485" y="959"/>
                    </a:lnTo>
                    <a:lnTo>
                      <a:pt x="1541" y="954"/>
                    </a:lnTo>
                    <a:lnTo>
                      <a:pt x="1599" y="945"/>
                    </a:lnTo>
                    <a:lnTo>
                      <a:pt x="1658" y="933"/>
                    </a:lnTo>
                    <a:lnTo>
                      <a:pt x="1720" y="917"/>
                    </a:lnTo>
                    <a:lnTo>
                      <a:pt x="1784" y="896"/>
                    </a:lnTo>
                    <a:lnTo>
                      <a:pt x="1848" y="872"/>
                    </a:lnTo>
                    <a:lnTo>
                      <a:pt x="1880" y="858"/>
                    </a:lnTo>
                    <a:lnTo>
                      <a:pt x="1911" y="844"/>
                    </a:lnTo>
                    <a:lnTo>
                      <a:pt x="1942" y="827"/>
                    </a:lnTo>
                    <a:lnTo>
                      <a:pt x="1972" y="811"/>
                    </a:lnTo>
                    <a:lnTo>
                      <a:pt x="2002" y="794"/>
                    </a:lnTo>
                    <a:lnTo>
                      <a:pt x="2031" y="777"/>
                    </a:lnTo>
                    <a:lnTo>
                      <a:pt x="2060" y="758"/>
                    </a:lnTo>
                    <a:lnTo>
                      <a:pt x="2089" y="739"/>
                    </a:lnTo>
                    <a:lnTo>
                      <a:pt x="2145" y="700"/>
                    </a:lnTo>
                    <a:lnTo>
                      <a:pt x="2200" y="659"/>
                    </a:lnTo>
                    <a:lnTo>
                      <a:pt x="2254" y="618"/>
                    </a:lnTo>
                    <a:lnTo>
                      <a:pt x="2307" y="576"/>
                    </a:lnTo>
                    <a:lnTo>
                      <a:pt x="2369" y="529"/>
                    </a:lnTo>
                    <a:lnTo>
                      <a:pt x="2428" y="484"/>
                    </a:lnTo>
                    <a:lnTo>
                      <a:pt x="2458" y="462"/>
                    </a:lnTo>
                    <a:lnTo>
                      <a:pt x="2488" y="442"/>
                    </a:lnTo>
                    <a:lnTo>
                      <a:pt x="2517" y="421"/>
                    </a:lnTo>
                    <a:lnTo>
                      <a:pt x="2547" y="403"/>
                    </a:lnTo>
                    <a:lnTo>
                      <a:pt x="2576" y="386"/>
                    </a:lnTo>
                    <a:lnTo>
                      <a:pt x="2605" y="370"/>
                    </a:lnTo>
                    <a:lnTo>
                      <a:pt x="2634" y="356"/>
                    </a:lnTo>
                    <a:lnTo>
                      <a:pt x="2664" y="344"/>
                    </a:lnTo>
                    <a:lnTo>
                      <a:pt x="2693" y="333"/>
                    </a:lnTo>
                    <a:lnTo>
                      <a:pt x="2722" y="324"/>
                    </a:lnTo>
                    <a:lnTo>
                      <a:pt x="2737" y="320"/>
                    </a:lnTo>
                    <a:lnTo>
                      <a:pt x="2751" y="318"/>
                    </a:lnTo>
                    <a:lnTo>
                      <a:pt x="2766" y="315"/>
                    </a:lnTo>
                    <a:lnTo>
                      <a:pt x="2781" y="313"/>
                    </a:lnTo>
                    <a:lnTo>
                      <a:pt x="2801" y="311"/>
                    </a:lnTo>
                    <a:lnTo>
                      <a:pt x="2821" y="311"/>
                    </a:lnTo>
                    <a:lnTo>
                      <a:pt x="2842" y="312"/>
                    </a:lnTo>
                    <a:lnTo>
                      <a:pt x="2863" y="315"/>
                    </a:lnTo>
                    <a:lnTo>
                      <a:pt x="2885" y="318"/>
                    </a:lnTo>
                    <a:lnTo>
                      <a:pt x="2907" y="322"/>
                    </a:lnTo>
                    <a:lnTo>
                      <a:pt x="2928" y="328"/>
                    </a:lnTo>
                    <a:lnTo>
                      <a:pt x="2949" y="334"/>
                    </a:lnTo>
                    <a:lnTo>
                      <a:pt x="2969" y="342"/>
                    </a:lnTo>
                    <a:lnTo>
                      <a:pt x="2990" y="351"/>
                    </a:lnTo>
                    <a:lnTo>
                      <a:pt x="3008" y="361"/>
                    </a:lnTo>
                    <a:lnTo>
                      <a:pt x="3026" y="373"/>
                    </a:lnTo>
                    <a:lnTo>
                      <a:pt x="3044" y="386"/>
                    </a:lnTo>
                    <a:lnTo>
                      <a:pt x="3059" y="399"/>
                    </a:lnTo>
                    <a:lnTo>
                      <a:pt x="3073" y="414"/>
                    </a:lnTo>
                    <a:lnTo>
                      <a:pt x="3085" y="430"/>
                    </a:lnTo>
                    <a:lnTo>
                      <a:pt x="3086" y="432"/>
                    </a:lnTo>
                    <a:lnTo>
                      <a:pt x="3087" y="433"/>
                    </a:lnTo>
                    <a:lnTo>
                      <a:pt x="3098" y="468"/>
                    </a:lnTo>
                    <a:lnTo>
                      <a:pt x="3107" y="500"/>
                    </a:lnTo>
                    <a:lnTo>
                      <a:pt x="3112" y="516"/>
                    </a:lnTo>
                    <a:lnTo>
                      <a:pt x="3115" y="533"/>
                    </a:lnTo>
                    <a:lnTo>
                      <a:pt x="3117" y="549"/>
                    </a:lnTo>
                    <a:lnTo>
                      <a:pt x="3119" y="566"/>
                    </a:lnTo>
                    <a:lnTo>
                      <a:pt x="3121" y="583"/>
                    </a:lnTo>
                    <a:lnTo>
                      <a:pt x="3121" y="603"/>
                    </a:lnTo>
                    <a:lnTo>
                      <a:pt x="3121" y="623"/>
                    </a:lnTo>
                    <a:lnTo>
                      <a:pt x="3121" y="646"/>
                    </a:lnTo>
                    <a:lnTo>
                      <a:pt x="3119" y="670"/>
                    </a:lnTo>
                    <a:lnTo>
                      <a:pt x="3117" y="696"/>
                    </a:lnTo>
                    <a:lnTo>
                      <a:pt x="3114" y="725"/>
                    </a:lnTo>
                    <a:lnTo>
                      <a:pt x="3110" y="756"/>
                    </a:lnTo>
                    <a:lnTo>
                      <a:pt x="3110" y="760"/>
                    </a:lnTo>
                    <a:lnTo>
                      <a:pt x="3108" y="769"/>
                    </a:lnTo>
                    <a:lnTo>
                      <a:pt x="3106" y="778"/>
                    </a:lnTo>
                    <a:lnTo>
                      <a:pt x="3105" y="785"/>
                    </a:lnTo>
                    <a:lnTo>
                      <a:pt x="3104" y="794"/>
                    </a:lnTo>
                    <a:lnTo>
                      <a:pt x="3102" y="804"/>
                    </a:lnTo>
                    <a:lnTo>
                      <a:pt x="3100" y="815"/>
                    </a:lnTo>
                    <a:lnTo>
                      <a:pt x="3097" y="831"/>
                    </a:lnTo>
                    <a:lnTo>
                      <a:pt x="3093" y="844"/>
                    </a:lnTo>
                    <a:lnTo>
                      <a:pt x="3089" y="863"/>
                    </a:lnTo>
                    <a:lnTo>
                      <a:pt x="3087" y="868"/>
                    </a:lnTo>
                    <a:lnTo>
                      <a:pt x="3084" y="872"/>
                    </a:lnTo>
                    <a:lnTo>
                      <a:pt x="3078" y="874"/>
                    </a:lnTo>
                    <a:lnTo>
                      <a:pt x="3074" y="874"/>
                    </a:lnTo>
                    <a:lnTo>
                      <a:pt x="3068" y="873"/>
                    </a:lnTo>
                    <a:lnTo>
                      <a:pt x="3065" y="869"/>
                    </a:lnTo>
                    <a:lnTo>
                      <a:pt x="3063" y="865"/>
                    </a:lnTo>
                    <a:lnTo>
                      <a:pt x="3062" y="860"/>
                    </a:lnTo>
                    <a:lnTo>
                      <a:pt x="3063" y="847"/>
                    </a:lnTo>
                    <a:lnTo>
                      <a:pt x="3064" y="833"/>
                    </a:lnTo>
                    <a:lnTo>
                      <a:pt x="3065" y="820"/>
                    </a:lnTo>
                    <a:lnTo>
                      <a:pt x="3066" y="806"/>
                    </a:lnTo>
                    <a:lnTo>
                      <a:pt x="3071" y="766"/>
                    </a:lnTo>
                    <a:lnTo>
                      <a:pt x="3073" y="726"/>
                    </a:lnTo>
                    <a:lnTo>
                      <a:pt x="3074" y="706"/>
                    </a:lnTo>
                    <a:lnTo>
                      <a:pt x="3073" y="687"/>
                    </a:lnTo>
                    <a:lnTo>
                      <a:pt x="3073" y="668"/>
                    </a:lnTo>
                    <a:lnTo>
                      <a:pt x="3071" y="649"/>
                    </a:lnTo>
                    <a:lnTo>
                      <a:pt x="3067" y="631"/>
                    </a:lnTo>
                    <a:lnTo>
                      <a:pt x="3063" y="613"/>
                    </a:lnTo>
                    <a:lnTo>
                      <a:pt x="3058" y="595"/>
                    </a:lnTo>
                    <a:lnTo>
                      <a:pt x="3050" y="579"/>
                    </a:lnTo>
                    <a:lnTo>
                      <a:pt x="3041" y="563"/>
                    </a:lnTo>
                    <a:lnTo>
                      <a:pt x="3031" y="548"/>
                    </a:lnTo>
                    <a:lnTo>
                      <a:pt x="3019" y="534"/>
                    </a:lnTo>
                    <a:lnTo>
                      <a:pt x="3004" y="520"/>
                    </a:lnTo>
                    <a:lnTo>
                      <a:pt x="2993" y="512"/>
                    </a:lnTo>
                    <a:lnTo>
                      <a:pt x="2981" y="505"/>
                    </a:lnTo>
                    <a:lnTo>
                      <a:pt x="2968" y="498"/>
                    </a:lnTo>
                    <a:lnTo>
                      <a:pt x="2954" y="492"/>
                    </a:lnTo>
                    <a:lnTo>
                      <a:pt x="2939" y="487"/>
                    </a:lnTo>
                    <a:lnTo>
                      <a:pt x="2923" y="483"/>
                    </a:lnTo>
                    <a:lnTo>
                      <a:pt x="2907" y="481"/>
                    </a:lnTo>
                    <a:lnTo>
                      <a:pt x="2889" y="479"/>
                    </a:lnTo>
                    <a:lnTo>
                      <a:pt x="2871" y="478"/>
                    </a:lnTo>
                    <a:lnTo>
                      <a:pt x="2851" y="476"/>
                    </a:lnTo>
                    <a:lnTo>
                      <a:pt x="2833" y="478"/>
                    </a:lnTo>
                    <a:lnTo>
                      <a:pt x="2813" y="479"/>
                    </a:lnTo>
                    <a:lnTo>
                      <a:pt x="2792" y="481"/>
                    </a:lnTo>
                    <a:lnTo>
                      <a:pt x="2772" y="484"/>
                    </a:lnTo>
                    <a:lnTo>
                      <a:pt x="2750" y="488"/>
                    </a:lnTo>
                    <a:lnTo>
                      <a:pt x="2728" y="494"/>
                    </a:lnTo>
                    <a:lnTo>
                      <a:pt x="2706" y="500"/>
                    </a:lnTo>
                    <a:lnTo>
                      <a:pt x="2683" y="507"/>
                    </a:lnTo>
                    <a:lnTo>
                      <a:pt x="2660" y="514"/>
                    </a:lnTo>
                    <a:lnTo>
                      <a:pt x="2638" y="523"/>
                    </a:lnTo>
                    <a:lnTo>
                      <a:pt x="2615" y="533"/>
                    </a:lnTo>
                    <a:lnTo>
                      <a:pt x="2591" y="543"/>
                    </a:lnTo>
                    <a:lnTo>
                      <a:pt x="2569" y="555"/>
                    </a:lnTo>
                    <a:lnTo>
                      <a:pt x="2545" y="567"/>
                    </a:lnTo>
                    <a:lnTo>
                      <a:pt x="2522" y="580"/>
                    </a:lnTo>
                    <a:lnTo>
                      <a:pt x="2499" y="594"/>
                    </a:lnTo>
                    <a:lnTo>
                      <a:pt x="2476" y="609"/>
                    </a:lnTo>
                    <a:lnTo>
                      <a:pt x="2453" y="625"/>
                    </a:lnTo>
                    <a:lnTo>
                      <a:pt x="2430" y="643"/>
                    </a:lnTo>
                    <a:lnTo>
                      <a:pt x="2408" y="661"/>
                    </a:lnTo>
                    <a:lnTo>
                      <a:pt x="2386" y="679"/>
                    </a:lnTo>
                    <a:lnTo>
                      <a:pt x="2364" y="699"/>
                    </a:lnTo>
                    <a:lnTo>
                      <a:pt x="2326" y="734"/>
                    </a:lnTo>
                    <a:lnTo>
                      <a:pt x="2289" y="767"/>
                    </a:lnTo>
                    <a:lnTo>
                      <a:pt x="2254" y="797"/>
                    </a:lnTo>
                    <a:lnTo>
                      <a:pt x="2220" y="825"/>
                    </a:lnTo>
                    <a:lnTo>
                      <a:pt x="2187" y="851"/>
                    </a:lnTo>
                    <a:lnTo>
                      <a:pt x="2155" y="875"/>
                    </a:lnTo>
                    <a:lnTo>
                      <a:pt x="2123" y="897"/>
                    </a:lnTo>
                    <a:lnTo>
                      <a:pt x="2090" y="919"/>
                    </a:lnTo>
                    <a:lnTo>
                      <a:pt x="2058" y="940"/>
                    </a:lnTo>
                    <a:lnTo>
                      <a:pt x="2025" y="959"/>
                    </a:lnTo>
                    <a:lnTo>
                      <a:pt x="1991" y="978"/>
                    </a:lnTo>
                    <a:lnTo>
                      <a:pt x="1956" y="998"/>
                    </a:lnTo>
                    <a:lnTo>
                      <a:pt x="1881" y="1039"/>
                    </a:lnTo>
                    <a:lnTo>
                      <a:pt x="1796" y="1083"/>
                    </a:lnTo>
                    <a:lnTo>
                      <a:pt x="1721" y="1122"/>
                    </a:lnTo>
                    <a:lnTo>
                      <a:pt x="1688" y="1138"/>
                    </a:lnTo>
                    <a:lnTo>
                      <a:pt x="1653" y="1154"/>
                    </a:lnTo>
                    <a:lnTo>
                      <a:pt x="1635" y="1162"/>
                    </a:lnTo>
                    <a:lnTo>
                      <a:pt x="1616" y="1170"/>
                    </a:lnTo>
                    <a:lnTo>
                      <a:pt x="1596" y="1176"/>
                    </a:lnTo>
                    <a:lnTo>
                      <a:pt x="1575" y="1182"/>
                    </a:lnTo>
                    <a:lnTo>
                      <a:pt x="1555" y="1188"/>
                    </a:lnTo>
                    <a:lnTo>
                      <a:pt x="1533" y="1193"/>
                    </a:lnTo>
                    <a:lnTo>
                      <a:pt x="1510" y="1199"/>
                    </a:lnTo>
                    <a:lnTo>
                      <a:pt x="1488" y="1202"/>
                    </a:lnTo>
                    <a:lnTo>
                      <a:pt x="1464" y="1205"/>
                    </a:lnTo>
                    <a:lnTo>
                      <a:pt x="1440" y="1207"/>
                    </a:lnTo>
                    <a:lnTo>
                      <a:pt x="1415" y="1209"/>
                    </a:lnTo>
                    <a:lnTo>
                      <a:pt x="1389" y="1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8"/>
              <p:cNvSpPr>
                <a:spLocks noEditPoints="1"/>
              </p:cNvSpPr>
              <p:nvPr userDrawn="1"/>
            </p:nvSpPr>
            <p:spPr bwMode="auto">
              <a:xfrm>
                <a:off x="1368" y="1356"/>
                <a:ext cx="612" cy="1265"/>
              </a:xfrm>
              <a:custGeom>
                <a:avLst/>
                <a:gdLst>
                  <a:gd name="T0" fmla="*/ 1013 w 1837"/>
                  <a:gd name="T1" fmla="*/ 3653 h 3794"/>
                  <a:gd name="T2" fmla="*/ 660 w 1837"/>
                  <a:gd name="T3" fmla="*/ 3373 h 3794"/>
                  <a:gd name="T4" fmla="*/ 278 w 1837"/>
                  <a:gd name="T5" fmla="*/ 2940 h 3794"/>
                  <a:gd name="T6" fmla="*/ 34 w 1837"/>
                  <a:gd name="T7" fmla="*/ 2469 h 3794"/>
                  <a:gd name="T8" fmla="*/ 3 w 1837"/>
                  <a:gd name="T9" fmla="*/ 2255 h 3794"/>
                  <a:gd name="T10" fmla="*/ 47 w 1837"/>
                  <a:gd name="T11" fmla="*/ 2099 h 3794"/>
                  <a:gd name="T12" fmla="*/ 113 w 1837"/>
                  <a:gd name="T13" fmla="*/ 1943 h 3794"/>
                  <a:gd name="T14" fmla="*/ 79 w 1837"/>
                  <a:gd name="T15" fmla="*/ 1722 h 3794"/>
                  <a:gd name="T16" fmla="*/ 118 w 1837"/>
                  <a:gd name="T17" fmla="*/ 1368 h 3794"/>
                  <a:gd name="T18" fmla="*/ 227 w 1837"/>
                  <a:gd name="T19" fmla="*/ 1029 h 3794"/>
                  <a:gd name="T20" fmla="*/ 399 w 1837"/>
                  <a:gd name="T21" fmla="*/ 731 h 3794"/>
                  <a:gd name="T22" fmla="*/ 651 w 1837"/>
                  <a:gd name="T23" fmla="*/ 462 h 3794"/>
                  <a:gd name="T24" fmla="*/ 1080 w 1837"/>
                  <a:gd name="T25" fmla="*/ 176 h 3794"/>
                  <a:gd name="T26" fmla="*/ 1439 w 1837"/>
                  <a:gd name="T27" fmla="*/ 41 h 3794"/>
                  <a:gd name="T28" fmla="*/ 1731 w 1837"/>
                  <a:gd name="T29" fmla="*/ 0 h 3794"/>
                  <a:gd name="T30" fmla="*/ 1836 w 1837"/>
                  <a:gd name="T31" fmla="*/ 498 h 3794"/>
                  <a:gd name="T32" fmla="*/ 1617 w 1837"/>
                  <a:gd name="T33" fmla="*/ 791 h 3794"/>
                  <a:gd name="T34" fmla="*/ 1316 w 1837"/>
                  <a:gd name="T35" fmla="*/ 1244 h 3794"/>
                  <a:gd name="T36" fmla="*/ 1280 w 1837"/>
                  <a:gd name="T37" fmla="*/ 1419 h 3794"/>
                  <a:gd name="T38" fmla="*/ 1332 w 1837"/>
                  <a:gd name="T39" fmla="*/ 1787 h 3794"/>
                  <a:gd name="T40" fmla="*/ 1228 w 1837"/>
                  <a:gd name="T41" fmla="*/ 1891 h 3794"/>
                  <a:gd name="T42" fmla="*/ 1111 w 1837"/>
                  <a:gd name="T43" fmla="*/ 1813 h 3794"/>
                  <a:gd name="T44" fmla="*/ 942 w 1837"/>
                  <a:gd name="T45" fmla="*/ 1772 h 3794"/>
                  <a:gd name="T46" fmla="*/ 809 w 1837"/>
                  <a:gd name="T47" fmla="*/ 1826 h 3794"/>
                  <a:gd name="T48" fmla="*/ 749 w 1837"/>
                  <a:gd name="T49" fmla="*/ 1951 h 3794"/>
                  <a:gd name="T50" fmla="*/ 738 w 1837"/>
                  <a:gd name="T51" fmla="*/ 2309 h 3794"/>
                  <a:gd name="T52" fmla="*/ 838 w 1837"/>
                  <a:gd name="T53" fmla="*/ 2601 h 3794"/>
                  <a:gd name="T54" fmla="*/ 1147 w 1837"/>
                  <a:gd name="T55" fmla="*/ 3019 h 3794"/>
                  <a:gd name="T56" fmla="*/ 1285 w 1837"/>
                  <a:gd name="T57" fmla="*/ 3270 h 3794"/>
                  <a:gd name="T58" fmla="*/ 1294 w 1837"/>
                  <a:gd name="T59" fmla="*/ 3614 h 3794"/>
                  <a:gd name="T60" fmla="*/ 1254 w 1837"/>
                  <a:gd name="T61" fmla="*/ 3789 h 3794"/>
                  <a:gd name="T62" fmla="*/ 1638 w 1837"/>
                  <a:gd name="T63" fmla="*/ 33 h 3794"/>
                  <a:gd name="T64" fmla="*/ 1337 w 1837"/>
                  <a:gd name="T65" fmla="*/ 99 h 3794"/>
                  <a:gd name="T66" fmla="*/ 956 w 1837"/>
                  <a:gd name="T67" fmla="*/ 276 h 3794"/>
                  <a:gd name="T68" fmla="*/ 565 w 1837"/>
                  <a:gd name="T69" fmla="*/ 578 h 3794"/>
                  <a:gd name="T70" fmla="*/ 358 w 1837"/>
                  <a:gd name="T71" fmla="*/ 840 h 3794"/>
                  <a:gd name="T72" fmla="*/ 209 w 1837"/>
                  <a:gd name="T73" fmla="*/ 1148 h 3794"/>
                  <a:gd name="T74" fmla="*/ 122 w 1837"/>
                  <a:gd name="T75" fmla="*/ 1492 h 3794"/>
                  <a:gd name="T76" fmla="*/ 116 w 1837"/>
                  <a:gd name="T77" fmla="*/ 1835 h 3794"/>
                  <a:gd name="T78" fmla="*/ 159 w 1837"/>
                  <a:gd name="T79" fmla="*/ 1988 h 3794"/>
                  <a:gd name="T80" fmla="*/ 69 w 1837"/>
                  <a:gd name="T81" fmla="*/ 2112 h 3794"/>
                  <a:gd name="T82" fmla="*/ 28 w 1837"/>
                  <a:gd name="T83" fmla="*/ 2260 h 3794"/>
                  <a:gd name="T84" fmla="*/ 76 w 1837"/>
                  <a:gd name="T85" fmla="*/ 2510 h 3794"/>
                  <a:gd name="T86" fmla="*/ 330 w 1837"/>
                  <a:gd name="T87" fmla="*/ 2966 h 3794"/>
                  <a:gd name="T88" fmla="*/ 678 w 1837"/>
                  <a:gd name="T89" fmla="*/ 3352 h 3794"/>
                  <a:gd name="T90" fmla="*/ 1033 w 1837"/>
                  <a:gd name="T91" fmla="*/ 3635 h 3794"/>
                  <a:gd name="T92" fmla="*/ 1261 w 1837"/>
                  <a:gd name="T93" fmla="*/ 3657 h 3794"/>
                  <a:gd name="T94" fmla="*/ 1273 w 1837"/>
                  <a:gd name="T95" fmla="*/ 3365 h 3794"/>
                  <a:gd name="T96" fmla="*/ 1182 w 1837"/>
                  <a:gd name="T97" fmla="*/ 3116 h 3794"/>
                  <a:gd name="T98" fmla="*/ 887 w 1837"/>
                  <a:gd name="T99" fmla="*/ 2723 h 3794"/>
                  <a:gd name="T100" fmla="*/ 740 w 1837"/>
                  <a:gd name="T101" fmla="*/ 2446 h 3794"/>
                  <a:gd name="T102" fmla="*/ 703 w 1837"/>
                  <a:gd name="T103" fmla="*/ 2052 h 3794"/>
                  <a:gd name="T104" fmla="*/ 761 w 1837"/>
                  <a:gd name="T105" fmla="*/ 1849 h 3794"/>
                  <a:gd name="T106" fmla="*/ 843 w 1837"/>
                  <a:gd name="T107" fmla="*/ 1764 h 3794"/>
                  <a:gd name="T108" fmla="*/ 938 w 1837"/>
                  <a:gd name="T109" fmla="*/ 1745 h 3794"/>
                  <a:gd name="T110" fmla="*/ 1138 w 1837"/>
                  <a:gd name="T111" fmla="*/ 1796 h 3794"/>
                  <a:gd name="T112" fmla="*/ 1278 w 1837"/>
                  <a:gd name="T113" fmla="*/ 1653 h 3794"/>
                  <a:gd name="T114" fmla="*/ 1258 w 1837"/>
                  <a:gd name="T115" fmla="*/ 1316 h 3794"/>
                  <a:gd name="T116" fmla="*/ 1387 w 1837"/>
                  <a:gd name="T117" fmla="*/ 1072 h 3794"/>
                  <a:gd name="T118" fmla="*/ 1771 w 1837"/>
                  <a:gd name="T119" fmla="*/ 539 h 3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7" h="3794">
                    <a:moveTo>
                      <a:pt x="1244" y="3794"/>
                    </a:moveTo>
                    <a:lnTo>
                      <a:pt x="1241" y="3793"/>
                    </a:lnTo>
                    <a:lnTo>
                      <a:pt x="1238" y="3791"/>
                    </a:lnTo>
                    <a:lnTo>
                      <a:pt x="1230" y="3787"/>
                    </a:lnTo>
                    <a:lnTo>
                      <a:pt x="1209" y="3775"/>
                    </a:lnTo>
                    <a:lnTo>
                      <a:pt x="1174" y="3757"/>
                    </a:lnTo>
                    <a:lnTo>
                      <a:pt x="1130" y="3730"/>
                    </a:lnTo>
                    <a:lnTo>
                      <a:pt x="1076" y="3695"/>
                    </a:lnTo>
                    <a:lnTo>
                      <a:pt x="1013" y="3653"/>
                    </a:lnTo>
                    <a:lnTo>
                      <a:pt x="979" y="3630"/>
                    </a:lnTo>
                    <a:lnTo>
                      <a:pt x="943" y="3605"/>
                    </a:lnTo>
                    <a:lnTo>
                      <a:pt x="905" y="3577"/>
                    </a:lnTo>
                    <a:lnTo>
                      <a:pt x="867" y="3548"/>
                    </a:lnTo>
                    <a:lnTo>
                      <a:pt x="828" y="3516"/>
                    </a:lnTo>
                    <a:lnTo>
                      <a:pt x="786" y="3484"/>
                    </a:lnTo>
                    <a:lnTo>
                      <a:pt x="745" y="3448"/>
                    </a:lnTo>
                    <a:lnTo>
                      <a:pt x="703" y="3411"/>
                    </a:lnTo>
                    <a:lnTo>
                      <a:pt x="660" y="3373"/>
                    </a:lnTo>
                    <a:lnTo>
                      <a:pt x="617" y="3333"/>
                    </a:lnTo>
                    <a:lnTo>
                      <a:pt x="574" y="3290"/>
                    </a:lnTo>
                    <a:lnTo>
                      <a:pt x="531" y="3245"/>
                    </a:lnTo>
                    <a:lnTo>
                      <a:pt x="487" y="3199"/>
                    </a:lnTo>
                    <a:lnTo>
                      <a:pt x="444" y="3151"/>
                    </a:lnTo>
                    <a:lnTo>
                      <a:pt x="402" y="3101"/>
                    </a:lnTo>
                    <a:lnTo>
                      <a:pt x="360" y="3049"/>
                    </a:lnTo>
                    <a:lnTo>
                      <a:pt x="319" y="2995"/>
                    </a:lnTo>
                    <a:lnTo>
                      <a:pt x="278" y="2940"/>
                    </a:lnTo>
                    <a:lnTo>
                      <a:pt x="239" y="2881"/>
                    </a:lnTo>
                    <a:lnTo>
                      <a:pt x="200" y="2822"/>
                    </a:lnTo>
                    <a:lnTo>
                      <a:pt x="171" y="2774"/>
                    </a:lnTo>
                    <a:lnTo>
                      <a:pt x="144" y="2724"/>
                    </a:lnTo>
                    <a:lnTo>
                      <a:pt x="118" y="2673"/>
                    </a:lnTo>
                    <a:lnTo>
                      <a:pt x="93" y="2621"/>
                    </a:lnTo>
                    <a:lnTo>
                      <a:pt x="71" y="2569"/>
                    </a:lnTo>
                    <a:lnTo>
                      <a:pt x="51" y="2519"/>
                    </a:lnTo>
                    <a:lnTo>
                      <a:pt x="34" y="2469"/>
                    </a:lnTo>
                    <a:lnTo>
                      <a:pt x="19" y="2422"/>
                    </a:lnTo>
                    <a:lnTo>
                      <a:pt x="13" y="2399"/>
                    </a:lnTo>
                    <a:lnTo>
                      <a:pt x="9" y="2376"/>
                    </a:lnTo>
                    <a:lnTo>
                      <a:pt x="5" y="2355"/>
                    </a:lnTo>
                    <a:lnTo>
                      <a:pt x="3" y="2334"/>
                    </a:lnTo>
                    <a:lnTo>
                      <a:pt x="1" y="2314"/>
                    </a:lnTo>
                    <a:lnTo>
                      <a:pt x="0" y="2293"/>
                    </a:lnTo>
                    <a:lnTo>
                      <a:pt x="1" y="2274"/>
                    </a:lnTo>
                    <a:lnTo>
                      <a:pt x="3" y="2255"/>
                    </a:lnTo>
                    <a:lnTo>
                      <a:pt x="5" y="2237"/>
                    </a:lnTo>
                    <a:lnTo>
                      <a:pt x="7" y="2219"/>
                    </a:lnTo>
                    <a:lnTo>
                      <a:pt x="10" y="2201"/>
                    </a:lnTo>
                    <a:lnTo>
                      <a:pt x="14" y="2185"/>
                    </a:lnTo>
                    <a:lnTo>
                      <a:pt x="19" y="2169"/>
                    </a:lnTo>
                    <a:lnTo>
                      <a:pt x="24" y="2154"/>
                    </a:lnTo>
                    <a:lnTo>
                      <a:pt x="30" y="2139"/>
                    </a:lnTo>
                    <a:lnTo>
                      <a:pt x="35" y="2125"/>
                    </a:lnTo>
                    <a:lnTo>
                      <a:pt x="47" y="2099"/>
                    </a:lnTo>
                    <a:lnTo>
                      <a:pt x="61" y="2075"/>
                    </a:lnTo>
                    <a:lnTo>
                      <a:pt x="74" y="2054"/>
                    </a:lnTo>
                    <a:lnTo>
                      <a:pt x="87" y="2034"/>
                    </a:lnTo>
                    <a:lnTo>
                      <a:pt x="100" y="2019"/>
                    </a:lnTo>
                    <a:lnTo>
                      <a:pt x="112" y="2005"/>
                    </a:lnTo>
                    <a:lnTo>
                      <a:pt x="121" y="1994"/>
                    </a:lnTo>
                    <a:lnTo>
                      <a:pt x="129" y="1987"/>
                    </a:lnTo>
                    <a:lnTo>
                      <a:pt x="122" y="1969"/>
                    </a:lnTo>
                    <a:lnTo>
                      <a:pt x="113" y="1943"/>
                    </a:lnTo>
                    <a:lnTo>
                      <a:pt x="108" y="1927"/>
                    </a:lnTo>
                    <a:lnTo>
                      <a:pt x="103" y="1909"/>
                    </a:lnTo>
                    <a:lnTo>
                      <a:pt x="98" y="1888"/>
                    </a:lnTo>
                    <a:lnTo>
                      <a:pt x="93" y="1866"/>
                    </a:lnTo>
                    <a:lnTo>
                      <a:pt x="89" y="1842"/>
                    </a:lnTo>
                    <a:lnTo>
                      <a:pt x="86" y="1815"/>
                    </a:lnTo>
                    <a:lnTo>
                      <a:pt x="82" y="1786"/>
                    </a:lnTo>
                    <a:lnTo>
                      <a:pt x="80" y="1756"/>
                    </a:lnTo>
                    <a:lnTo>
                      <a:pt x="79" y="1722"/>
                    </a:lnTo>
                    <a:lnTo>
                      <a:pt x="78" y="1688"/>
                    </a:lnTo>
                    <a:lnTo>
                      <a:pt x="79" y="1650"/>
                    </a:lnTo>
                    <a:lnTo>
                      <a:pt x="82" y="1611"/>
                    </a:lnTo>
                    <a:lnTo>
                      <a:pt x="86" y="1570"/>
                    </a:lnTo>
                    <a:lnTo>
                      <a:pt x="90" y="1529"/>
                    </a:lnTo>
                    <a:lnTo>
                      <a:pt x="96" y="1488"/>
                    </a:lnTo>
                    <a:lnTo>
                      <a:pt x="102" y="1448"/>
                    </a:lnTo>
                    <a:lnTo>
                      <a:pt x="109" y="1408"/>
                    </a:lnTo>
                    <a:lnTo>
                      <a:pt x="118" y="1368"/>
                    </a:lnTo>
                    <a:lnTo>
                      <a:pt x="127" y="1328"/>
                    </a:lnTo>
                    <a:lnTo>
                      <a:pt x="136" y="1289"/>
                    </a:lnTo>
                    <a:lnTo>
                      <a:pt x="146" y="1251"/>
                    </a:lnTo>
                    <a:lnTo>
                      <a:pt x="158" y="1214"/>
                    </a:lnTo>
                    <a:lnTo>
                      <a:pt x="170" y="1176"/>
                    </a:lnTo>
                    <a:lnTo>
                      <a:pt x="183" y="1138"/>
                    </a:lnTo>
                    <a:lnTo>
                      <a:pt x="197" y="1101"/>
                    </a:lnTo>
                    <a:lnTo>
                      <a:pt x="211" y="1065"/>
                    </a:lnTo>
                    <a:lnTo>
                      <a:pt x="227" y="1029"/>
                    </a:lnTo>
                    <a:lnTo>
                      <a:pt x="242" y="995"/>
                    </a:lnTo>
                    <a:lnTo>
                      <a:pt x="260" y="959"/>
                    </a:lnTo>
                    <a:lnTo>
                      <a:pt x="277" y="925"/>
                    </a:lnTo>
                    <a:lnTo>
                      <a:pt x="295" y="891"/>
                    </a:lnTo>
                    <a:lnTo>
                      <a:pt x="315" y="857"/>
                    </a:lnTo>
                    <a:lnTo>
                      <a:pt x="335" y="825"/>
                    </a:lnTo>
                    <a:lnTo>
                      <a:pt x="356" y="793"/>
                    </a:lnTo>
                    <a:lnTo>
                      <a:pt x="377" y="761"/>
                    </a:lnTo>
                    <a:lnTo>
                      <a:pt x="399" y="731"/>
                    </a:lnTo>
                    <a:lnTo>
                      <a:pt x="421" y="701"/>
                    </a:lnTo>
                    <a:lnTo>
                      <a:pt x="445" y="671"/>
                    </a:lnTo>
                    <a:lnTo>
                      <a:pt x="469" y="642"/>
                    </a:lnTo>
                    <a:lnTo>
                      <a:pt x="494" y="613"/>
                    </a:lnTo>
                    <a:lnTo>
                      <a:pt x="520" y="585"/>
                    </a:lnTo>
                    <a:lnTo>
                      <a:pt x="547" y="558"/>
                    </a:lnTo>
                    <a:lnTo>
                      <a:pt x="574" y="533"/>
                    </a:lnTo>
                    <a:lnTo>
                      <a:pt x="601" y="507"/>
                    </a:lnTo>
                    <a:lnTo>
                      <a:pt x="651" y="462"/>
                    </a:lnTo>
                    <a:lnTo>
                      <a:pt x="701" y="421"/>
                    </a:lnTo>
                    <a:lnTo>
                      <a:pt x="750" y="382"/>
                    </a:lnTo>
                    <a:lnTo>
                      <a:pt x="799" y="347"/>
                    </a:lnTo>
                    <a:lnTo>
                      <a:pt x="847" y="312"/>
                    </a:lnTo>
                    <a:lnTo>
                      <a:pt x="896" y="281"/>
                    </a:lnTo>
                    <a:lnTo>
                      <a:pt x="943" y="252"/>
                    </a:lnTo>
                    <a:lnTo>
                      <a:pt x="989" y="224"/>
                    </a:lnTo>
                    <a:lnTo>
                      <a:pt x="1035" y="199"/>
                    </a:lnTo>
                    <a:lnTo>
                      <a:pt x="1080" y="176"/>
                    </a:lnTo>
                    <a:lnTo>
                      <a:pt x="1124" y="155"/>
                    </a:lnTo>
                    <a:lnTo>
                      <a:pt x="1168" y="135"/>
                    </a:lnTo>
                    <a:lnTo>
                      <a:pt x="1210" y="117"/>
                    </a:lnTo>
                    <a:lnTo>
                      <a:pt x="1252" y="101"/>
                    </a:lnTo>
                    <a:lnTo>
                      <a:pt x="1292" y="86"/>
                    </a:lnTo>
                    <a:lnTo>
                      <a:pt x="1331" y="73"/>
                    </a:lnTo>
                    <a:lnTo>
                      <a:pt x="1368" y="61"/>
                    </a:lnTo>
                    <a:lnTo>
                      <a:pt x="1404" y="51"/>
                    </a:lnTo>
                    <a:lnTo>
                      <a:pt x="1439" y="41"/>
                    </a:lnTo>
                    <a:lnTo>
                      <a:pt x="1472" y="34"/>
                    </a:lnTo>
                    <a:lnTo>
                      <a:pt x="1505" y="27"/>
                    </a:lnTo>
                    <a:lnTo>
                      <a:pt x="1535" y="21"/>
                    </a:lnTo>
                    <a:lnTo>
                      <a:pt x="1563" y="15"/>
                    </a:lnTo>
                    <a:lnTo>
                      <a:pt x="1590" y="12"/>
                    </a:lnTo>
                    <a:lnTo>
                      <a:pt x="1637" y="6"/>
                    </a:lnTo>
                    <a:lnTo>
                      <a:pt x="1677" y="2"/>
                    </a:lnTo>
                    <a:lnTo>
                      <a:pt x="1709" y="1"/>
                    </a:lnTo>
                    <a:lnTo>
                      <a:pt x="1731" y="0"/>
                    </a:lnTo>
                    <a:lnTo>
                      <a:pt x="1740" y="0"/>
                    </a:lnTo>
                    <a:lnTo>
                      <a:pt x="1743" y="0"/>
                    </a:lnTo>
                    <a:lnTo>
                      <a:pt x="1749" y="1"/>
                    </a:lnTo>
                    <a:lnTo>
                      <a:pt x="1752" y="5"/>
                    </a:lnTo>
                    <a:lnTo>
                      <a:pt x="1755" y="8"/>
                    </a:lnTo>
                    <a:lnTo>
                      <a:pt x="1756" y="12"/>
                    </a:lnTo>
                    <a:lnTo>
                      <a:pt x="1836" y="493"/>
                    </a:lnTo>
                    <a:lnTo>
                      <a:pt x="1837" y="495"/>
                    </a:lnTo>
                    <a:lnTo>
                      <a:pt x="1836" y="498"/>
                    </a:lnTo>
                    <a:lnTo>
                      <a:pt x="1835" y="500"/>
                    </a:lnTo>
                    <a:lnTo>
                      <a:pt x="1834" y="502"/>
                    </a:lnTo>
                    <a:lnTo>
                      <a:pt x="1827" y="511"/>
                    </a:lnTo>
                    <a:lnTo>
                      <a:pt x="1810" y="534"/>
                    </a:lnTo>
                    <a:lnTo>
                      <a:pt x="1783" y="568"/>
                    </a:lnTo>
                    <a:lnTo>
                      <a:pt x="1750" y="612"/>
                    </a:lnTo>
                    <a:lnTo>
                      <a:pt x="1710" y="665"/>
                    </a:lnTo>
                    <a:lnTo>
                      <a:pt x="1664" y="726"/>
                    </a:lnTo>
                    <a:lnTo>
                      <a:pt x="1617" y="791"/>
                    </a:lnTo>
                    <a:lnTo>
                      <a:pt x="1567" y="859"/>
                    </a:lnTo>
                    <a:lnTo>
                      <a:pt x="1518" y="929"/>
                    </a:lnTo>
                    <a:lnTo>
                      <a:pt x="1469" y="999"/>
                    </a:lnTo>
                    <a:lnTo>
                      <a:pt x="1422" y="1067"/>
                    </a:lnTo>
                    <a:lnTo>
                      <a:pt x="1381" y="1132"/>
                    </a:lnTo>
                    <a:lnTo>
                      <a:pt x="1362" y="1162"/>
                    </a:lnTo>
                    <a:lnTo>
                      <a:pt x="1345" y="1191"/>
                    </a:lnTo>
                    <a:lnTo>
                      <a:pt x="1330" y="1218"/>
                    </a:lnTo>
                    <a:lnTo>
                      <a:pt x="1316" y="1244"/>
                    </a:lnTo>
                    <a:lnTo>
                      <a:pt x="1305" y="1267"/>
                    </a:lnTo>
                    <a:lnTo>
                      <a:pt x="1296" y="1287"/>
                    </a:lnTo>
                    <a:lnTo>
                      <a:pt x="1290" y="1305"/>
                    </a:lnTo>
                    <a:lnTo>
                      <a:pt x="1285" y="1321"/>
                    </a:lnTo>
                    <a:lnTo>
                      <a:pt x="1283" y="1335"/>
                    </a:lnTo>
                    <a:lnTo>
                      <a:pt x="1282" y="1351"/>
                    </a:lnTo>
                    <a:lnTo>
                      <a:pt x="1281" y="1366"/>
                    </a:lnTo>
                    <a:lnTo>
                      <a:pt x="1280" y="1383"/>
                    </a:lnTo>
                    <a:lnTo>
                      <a:pt x="1280" y="1419"/>
                    </a:lnTo>
                    <a:lnTo>
                      <a:pt x="1282" y="1455"/>
                    </a:lnTo>
                    <a:lnTo>
                      <a:pt x="1284" y="1494"/>
                    </a:lnTo>
                    <a:lnTo>
                      <a:pt x="1289" y="1532"/>
                    </a:lnTo>
                    <a:lnTo>
                      <a:pt x="1293" y="1571"/>
                    </a:lnTo>
                    <a:lnTo>
                      <a:pt x="1298" y="1609"/>
                    </a:lnTo>
                    <a:lnTo>
                      <a:pt x="1310" y="1677"/>
                    </a:lnTo>
                    <a:lnTo>
                      <a:pt x="1320" y="1734"/>
                    </a:lnTo>
                    <a:lnTo>
                      <a:pt x="1329" y="1772"/>
                    </a:lnTo>
                    <a:lnTo>
                      <a:pt x="1332" y="1787"/>
                    </a:lnTo>
                    <a:lnTo>
                      <a:pt x="1332" y="1790"/>
                    </a:lnTo>
                    <a:lnTo>
                      <a:pt x="1331" y="1794"/>
                    </a:lnTo>
                    <a:lnTo>
                      <a:pt x="1330" y="1798"/>
                    </a:lnTo>
                    <a:lnTo>
                      <a:pt x="1327" y="1800"/>
                    </a:lnTo>
                    <a:lnTo>
                      <a:pt x="1238" y="1886"/>
                    </a:lnTo>
                    <a:lnTo>
                      <a:pt x="1236" y="1888"/>
                    </a:lnTo>
                    <a:lnTo>
                      <a:pt x="1232" y="1889"/>
                    </a:lnTo>
                    <a:lnTo>
                      <a:pt x="1230" y="1891"/>
                    </a:lnTo>
                    <a:lnTo>
                      <a:pt x="1228" y="1891"/>
                    </a:lnTo>
                    <a:lnTo>
                      <a:pt x="1223" y="1889"/>
                    </a:lnTo>
                    <a:lnTo>
                      <a:pt x="1218" y="1886"/>
                    </a:lnTo>
                    <a:lnTo>
                      <a:pt x="1212" y="1880"/>
                    </a:lnTo>
                    <a:lnTo>
                      <a:pt x="1196" y="1866"/>
                    </a:lnTo>
                    <a:lnTo>
                      <a:pt x="1184" y="1856"/>
                    </a:lnTo>
                    <a:lnTo>
                      <a:pt x="1169" y="1846"/>
                    </a:lnTo>
                    <a:lnTo>
                      <a:pt x="1151" y="1834"/>
                    </a:lnTo>
                    <a:lnTo>
                      <a:pt x="1133" y="1824"/>
                    </a:lnTo>
                    <a:lnTo>
                      <a:pt x="1111" y="1813"/>
                    </a:lnTo>
                    <a:lnTo>
                      <a:pt x="1088" y="1802"/>
                    </a:lnTo>
                    <a:lnTo>
                      <a:pt x="1063" y="1792"/>
                    </a:lnTo>
                    <a:lnTo>
                      <a:pt x="1035" y="1785"/>
                    </a:lnTo>
                    <a:lnTo>
                      <a:pt x="1021" y="1780"/>
                    </a:lnTo>
                    <a:lnTo>
                      <a:pt x="1006" y="1778"/>
                    </a:lnTo>
                    <a:lnTo>
                      <a:pt x="991" y="1775"/>
                    </a:lnTo>
                    <a:lnTo>
                      <a:pt x="974" y="1774"/>
                    </a:lnTo>
                    <a:lnTo>
                      <a:pt x="959" y="1772"/>
                    </a:lnTo>
                    <a:lnTo>
                      <a:pt x="942" y="1772"/>
                    </a:lnTo>
                    <a:lnTo>
                      <a:pt x="925" y="1772"/>
                    </a:lnTo>
                    <a:lnTo>
                      <a:pt x="907" y="1773"/>
                    </a:lnTo>
                    <a:lnTo>
                      <a:pt x="892" y="1775"/>
                    </a:lnTo>
                    <a:lnTo>
                      <a:pt x="876" y="1778"/>
                    </a:lnTo>
                    <a:lnTo>
                      <a:pt x="862" y="1785"/>
                    </a:lnTo>
                    <a:lnTo>
                      <a:pt x="848" y="1792"/>
                    </a:lnTo>
                    <a:lnTo>
                      <a:pt x="834" y="1802"/>
                    </a:lnTo>
                    <a:lnTo>
                      <a:pt x="821" y="1813"/>
                    </a:lnTo>
                    <a:lnTo>
                      <a:pt x="809" y="1826"/>
                    </a:lnTo>
                    <a:lnTo>
                      <a:pt x="797" y="1841"/>
                    </a:lnTo>
                    <a:lnTo>
                      <a:pt x="791" y="1852"/>
                    </a:lnTo>
                    <a:lnTo>
                      <a:pt x="783" y="1865"/>
                    </a:lnTo>
                    <a:lnTo>
                      <a:pt x="777" y="1878"/>
                    </a:lnTo>
                    <a:lnTo>
                      <a:pt x="770" y="1891"/>
                    </a:lnTo>
                    <a:lnTo>
                      <a:pt x="764" y="1905"/>
                    </a:lnTo>
                    <a:lnTo>
                      <a:pt x="758" y="1920"/>
                    </a:lnTo>
                    <a:lnTo>
                      <a:pt x="754" y="1936"/>
                    </a:lnTo>
                    <a:lnTo>
                      <a:pt x="749" y="1951"/>
                    </a:lnTo>
                    <a:lnTo>
                      <a:pt x="741" y="1985"/>
                    </a:lnTo>
                    <a:lnTo>
                      <a:pt x="735" y="2021"/>
                    </a:lnTo>
                    <a:lnTo>
                      <a:pt x="730" y="2059"/>
                    </a:lnTo>
                    <a:lnTo>
                      <a:pt x="727" y="2098"/>
                    </a:lnTo>
                    <a:lnTo>
                      <a:pt x="726" y="2139"/>
                    </a:lnTo>
                    <a:lnTo>
                      <a:pt x="726" y="2180"/>
                    </a:lnTo>
                    <a:lnTo>
                      <a:pt x="728" y="2223"/>
                    </a:lnTo>
                    <a:lnTo>
                      <a:pt x="732" y="2265"/>
                    </a:lnTo>
                    <a:lnTo>
                      <a:pt x="738" y="2309"/>
                    </a:lnTo>
                    <a:lnTo>
                      <a:pt x="745" y="2353"/>
                    </a:lnTo>
                    <a:lnTo>
                      <a:pt x="755" y="2397"/>
                    </a:lnTo>
                    <a:lnTo>
                      <a:pt x="766" y="2440"/>
                    </a:lnTo>
                    <a:lnTo>
                      <a:pt x="775" y="2466"/>
                    </a:lnTo>
                    <a:lnTo>
                      <a:pt x="784" y="2493"/>
                    </a:lnTo>
                    <a:lnTo>
                      <a:pt x="795" y="2520"/>
                    </a:lnTo>
                    <a:lnTo>
                      <a:pt x="808" y="2547"/>
                    </a:lnTo>
                    <a:lnTo>
                      <a:pt x="823" y="2574"/>
                    </a:lnTo>
                    <a:lnTo>
                      <a:pt x="838" y="2601"/>
                    </a:lnTo>
                    <a:lnTo>
                      <a:pt x="854" y="2628"/>
                    </a:lnTo>
                    <a:lnTo>
                      <a:pt x="873" y="2655"/>
                    </a:lnTo>
                    <a:lnTo>
                      <a:pt x="911" y="2709"/>
                    </a:lnTo>
                    <a:lnTo>
                      <a:pt x="951" y="2763"/>
                    </a:lnTo>
                    <a:lnTo>
                      <a:pt x="992" y="2817"/>
                    </a:lnTo>
                    <a:lnTo>
                      <a:pt x="1034" y="2871"/>
                    </a:lnTo>
                    <a:lnTo>
                      <a:pt x="1081" y="2930"/>
                    </a:lnTo>
                    <a:lnTo>
                      <a:pt x="1127" y="2989"/>
                    </a:lnTo>
                    <a:lnTo>
                      <a:pt x="1147" y="3019"/>
                    </a:lnTo>
                    <a:lnTo>
                      <a:pt x="1169" y="3047"/>
                    </a:lnTo>
                    <a:lnTo>
                      <a:pt x="1188" y="3076"/>
                    </a:lnTo>
                    <a:lnTo>
                      <a:pt x="1207" y="3104"/>
                    </a:lnTo>
                    <a:lnTo>
                      <a:pt x="1224" y="3132"/>
                    </a:lnTo>
                    <a:lnTo>
                      <a:pt x="1239" y="3160"/>
                    </a:lnTo>
                    <a:lnTo>
                      <a:pt x="1254" y="3188"/>
                    </a:lnTo>
                    <a:lnTo>
                      <a:pt x="1266" y="3215"/>
                    </a:lnTo>
                    <a:lnTo>
                      <a:pt x="1277" y="3243"/>
                    </a:lnTo>
                    <a:lnTo>
                      <a:pt x="1285" y="3270"/>
                    </a:lnTo>
                    <a:lnTo>
                      <a:pt x="1292" y="3297"/>
                    </a:lnTo>
                    <a:lnTo>
                      <a:pt x="1297" y="3323"/>
                    </a:lnTo>
                    <a:lnTo>
                      <a:pt x="1302" y="3370"/>
                    </a:lnTo>
                    <a:lnTo>
                      <a:pt x="1304" y="3417"/>
                    </a:lnTo>
                    <a:lnTo>
                      <a:pt x="1305" y="3460"/>
                    </a:lnTo>
                    <a:lnTo>
                      <a:pt x="1304" y="3502"/>
                    </a:lnTo>
                    <a:lnTo>
                      <a:pt x="1302" y="3542"/>
                    </a:lnTo>
                    <a:lnTo>
                      <a:pt x="1298" y="3580"/>
                    </a:lnTo>
                    <a:lnTo>
                      <a:pt x="1294" y="3614"/>
                    </a:lnTo>
                    <a:lnTo>
                      <a:pt x="1290" y="3647"/>
                    </a:lnTo>
                    <a:lnTo>
                      <a:pt x="1284" y="3676"/>
                    </a:lnTo>
                    <a:lnTo>
                      <a:pt x="1279" y="3703"/>
                    </a:lnTo>
                    <a:lnTo>
                      <a:pt x="1273" y="3726"/>
                    </a:lnTo>
                    <a:lnTo>
                      <a:pt x="1269" y="3745"/>
                    </a:lnTo>
                    <a:lnTo>
                      <a:pt x="1261" y="3773"/>
                    </a:lnTo>
                    <a:lnTo>
                      <a:pt x="1257" y="3784"/>
                    </a:lnTo>
                    <a:lnTo>
                      <a:pt x="1256" y="3787"/>
                    </a:lnTo>
                    <a:lnTo>
                      <a:pt x="1254" y="3789"/>
                    </a:lnTo>
                    <a:lnTo>
                      <a:pt x="1252" y="3791"/>
                    </a:lnTo>
                    <a:lnTo>
                      <a:pt x="1250" y="3793"/>
                    </a:lnTo>
                    <a:lnTo>
                      <a:pt x="1246" y="3794"/>
                    </a:lnTo>
                    <a:lnTo>
                      <a:pt x="1244" y="3794"/>
                    </a:lnTo>
                    <a:close/>
                    <a:moveTo>
                      <a:pt x="1731" y="27"/>
                    </a:moveTo>
                    <a:lnTo>
                      <a:pt x="1731" y="27"/>
                    </a:lnTo>
                    <a:lnTo>
                      <a:pt x="1709" y="28"/>
                    </a:lnTo>
                    <a:lnTo>
                      <a:pt x="1678" y="29"/>
                    </a:lnTo>
                    <a:lnTo>
                      <a:pt x="1638" y="33"/>
                    </a:lnTo>
                    <a:lnTo>
                      <a:pt x="1592" y="39"/>
                    </a:lnTo>
                    <a:lnTo>
                      <a:pt x="1566" y="42"/>
                    </a:lnTo>
                    <a:lnTo>
                      <a:pt x="1538" y="48"/>
                    </a:lnTo>
                    <a:lnTo>
                      <a:pt x="1508" y="53"/>
                    </a:lnTo>
                    <a:lnTo>
                      <a:pt x="1476" y="60"/>
                    </a:lnTo>
                    <a:lnTo>
                      <a:pt x="1444" y="68"/>
                    </a:lnTo>
                    <a:lnTo>
                      <a:pt x="1410" y="77"/>
                    </a:lnTo>
                    <a:lnTo>
                      <a:pt x="1374" y="88"/>
                    </a:lnTo>
                    <a:lnTo>
                      <a:pt x="1337" y="99"/>
                    </a:lnTo>
                    <a:lnTo>
                      <a:pt x="1299" y="112"/>
                    </a:lnTo>
                    <a:lnTo>
                      <a:pt x="1259" y="127"/>
                    </a:lnTo>
                    <a:lnTo>
                      <a:pt x="1219" y="143"/>
                    </a:lnTo>
                    <a:lnTo>
                      <a:pt x="1177" y="160"/>
                    </a:lnTo>
                    <a:lnTo>
                      <a:pt x="1135" y="180"/>
                    </a:lnTo>
                    <a:lnTo>
                      <a:pt x="1091" y="200"/>
                    </a:lnTo>
                    <a:lnTo>
                      <a:pt x="1047" y="224"/>
                    </a:lnTo>
                    <a:lnTo>
                      <a:pt x="1001" y="249"/>
                    </a:lnTo>
                    <a:lnTo>
                      <a:pt x="956" y="276"/>
                    </a:lnTo>
                    <a:lnTo>
                      <a:pt x="910" y="304"/>
                    </a:lnTo>
                    <a:lnTo>
                      <a:pt x="862" y="335"/>
                    </a:lnTo>
                    <a:lnTo>
                      <a:pt x="815" y="368"/>
                    </a:lnTo>
                    <a:lnTo>
                      <a:pt x="766" y="404"/>
                    </a:lnTo>
                    <a:lnTo>
                      <a:pt x="717" y="443"/>
                    </a:lnTo>
                    <a:lnTo>
                      <a:pt x="669" y="483"/>
                    </a:lnTo>
                    <a:lnTo>
                      <a:pt x="619" y="526"/>
                    </a:lnTo>
                    <a:lnTo>
                      <a:pt x="592" y="552"/>
                    </a:lnTo>
                    <a:lnTo>
                      <a:pt x="565" y="578"/>
                    </a:lnTo>
                    <a:lnTo>
                      <a:pt x="539" y="604"/>
                    </a:lnTo>
                    <a:lnTo>
                      <a:pt x="514" y="632"/>
                    </a:lnTo>
                    <a:lnTo>
                      <a:pt x="490" y="660"/>
                    </a:lnTo>
                    <a:lnTo>
                      <a:pt x="466" y="688"/>
                    </a:lnTo>
                    <a:lnTo>
                      <a:pt x="443" y="717"/>
                    </a:lnTo>
                    <a:lnTo>
                      <a:pt x="420" y="747"/>
                    </a:lnTo>
                    <a:lnTo>
                      <a:pt x="399" y="778"/>
                    </a:lnTo>
                    <a:lnTo>
                      <a:pt x="377" y="809"/>
                    </a:lnTo>
                    <a:lnTo>
                      <a:pt x="358" y="840"/>
                    </a:lnTo>
                    <a:lnTo>
                      <a:pt x="337" y="873"/>
                    </a:lnTo>
                    <a:lnTo>
                      <a:pt x="319" y="905"/>
                    </a:lnTo>
                    <a:lnTo>
                      <a:pt x="301" y="938"/>
                    </a:lnTo>
                    <a:lnTo>
                      <a:pt x="283" y="972"/>
                    </a:lnTo>
                    <a:lnTo>
                      <a:pt x="267" y="1006"/>
                    </a:lnTo>
                    <a:lnTo>
                      <a:pt x="251" y="1041"/>
                    </a:lnTo>
                    <a:lnTo>
                      <a:pt x="236" y="1077"/>
                    </a:lnTo>
                    <a:lnTo>
                      <a:pt x="222" y="1112"/>
                    </a:lnTo>
                    <a:lnTo>
                      <a:pt x="209" y="1148"/>
                    </a:lnTo>
                    <a:lnTo>
                      <a:pt x="196" y="1185"/>
                    </a:lnTo>
                    <a:lnTo>
                      <a:pt x="184" y="1221"/>
                    </a:lnTo>
                    <a:lnTo>
                      <a:pt x="172" y="1259"/>
                    </a:lnTo>
                    <a:lnTo>
                      <a:pt x="162" y="1297"/>
                    </a:lnTo>
                    <a:lnTo>
                      <a:pt x="153" y="1336"/>
                    </a:lnTo>
                    <a:lnTo>
                      <a:pt x="144" y="1373"/>
                    </a:lnTo>
                    <a:lnTo>
                      <a:pt x="136" y="1413"/>
                    </a:lnTo>
                    <a:lnTo>
                      <a:pt x="129" y="1452"/>
                    </a:lnTo>
                    <a:lnTo>
                      <a:pt x="122" y="1492"/>
                    </a:lnTo>
                    <a:lnTo>
                      <a:pt x="117" y="1532"/>
                    </a:lnTo>
                    <a:lnTo>
                      <a:pt x="113" y="1572"/>
                    </a:lnTo>
                    <a:lnTo>
                      <a:pt x="109" y="1613"/>
                    </a:lnTo>
                    <a:lnTo>
                      <a:pt x="106" y="1657"/>
                    </a:lnTo>
                    <a:lnTo>
                      <a:pt x="105" y="1698"/>
                    </a:lnTo>
                    <a:lnTo>
                      <a:pt x="106" y="1736"/>
                    </a:lnTo>
                    <a:lnTo>
                      <a:pt x="108" y="1772"/>
                    </a:lnTo>
                    <a:lnTo>
                      <a:pt x="112" y="1805"/>
                    </a:lnTo>
                    <a:lnTo>
                      <a:pt x="116" y="1835"/>
                    </a:lnTo>
                    <a:lnTo>
                      <a:pt x="120" y="1864"/>
                    </a:lnTo>
                    <a:lnTo>
                      <a:pt x="126" y="1888"/>
                    </a:lnTo>
                    <a:lnTo>
                      <a:pt x="131" y="1910"/>
                    </a:lnTo>
                    <a:lnTo>
                      <a:pt x="138" y="1929"/>
                    </a:lnTo>
                    <a:lnTo>
                      <a:pt x="142" y="1946"/>
                    </a:lnTo>
                    <a:lnTo>
                      <a:pt x="147" y="1959"/>
                    </a:lnTo>
                    <a:lnTo>
                      <a:pt x="155" y="1977"/>
                    </a:lnTo>
                    <a:lnTo>
                      <a:pt x="158" y="1983"/>
                    </a:lnTo>
                    <a:lnTo>
                      <a:pt x="159" y="1988"/>
                    </a:lnTo>
                    <a:lnTo>
                      <a:pt x="159" y="1992"/>
                    </a:lnTo>
                    <a:lnTo>
                      <a:pt x="158" y="1996"/>
                    </a:lnTo>
                    <a:lnTo>
                      <a:pt x="155" y="2001"/>
                    </a:lnTo>
                    <a:lnTo>
                      <a:pt x="145" y="2009"/>
                    </a:lnTo>
                    <a:lnTo>
                      <a:pt x="123" y="2031"/>
                    </a:lnTo>
                    <a:lnTo>
                      <a:pt x="112" y="2046"/>
                    </a:lnTo>
                    <a:lnTo>
                      <a:pt x="98" y="2065"/>
                    </a:lnTo>
                    <a:lnTo>
                      <a:pt x="84" y="2087"/>
                    </a:lnTo>
                    <a:lnTo>
                      <a:pt x="69" y="2112"/>
                    </a:lnTo>
                    <a:lnTo>
                      <a:pt x="63" y="2126"/>
                    </a:lnTo>
                    <a:lnTo>
                      <a:pt x="57" y="2140"/>
                    </a:lnTo>
                    <a:lnTo>
                      <a:pt x="51" y="2155"/>
                    </a:lnTo>
                    <a:lnTo>
                      <a:pt x="46" y="2170"/>
                    </a:lnTo>
                    <a:lnTo>
                      <a:pt x="40" y="2186"/>
                    </a:lnTo>
                    <a:lnTo>
                      <a:pt x="36" y="2204"/>
                    </a:lnTo>
                    <a:lnTo>
                      <a:pt x="33" y="2222"/>
                    </a:lnTo>
                    <a:lnTo>
                      <a:pt x="31" y="2240"/>
                    </a:lnTo>
                    <a:lnTo>
                      <a:pt x="28" y="2260"/>
                    </a:lnTo>
                    <a:lnTo>
                      <a:pt x="27" y="2280"/>
                    </a:lnTo>
                    <a:lnTo>
                      <a:pt x="27" y="2301"/>
                    </a:lnTo>
                    <a:lnTo>
                      <a:pt x="28" y="2322"/>
                    </a:lnTo>
                    <a:lnTo>
                      <a:pt x="31" y="2344"/>
                    </a:lnTo>
                    <a:lnTo>
                      <a:pt x="34" y="2367"/>
                    </a:lnTo>
                    <a:lnTo>
                      <a:pt x="39" y="2390"/>
                    </a:lnTo>
                    <a:lnTo>
                      <a:pt x="45" y="2414"/>
                    </a:lnTo>
                    <a:lnTo>
                      <a:pt x="60" y="2460"/>
                    </a:lnTo>
                    <a:lnTo>
                      <a:pt x="76" y="2510"/>
                    </a:lnTo>
                    <a:lnTo>
                      <a:pt x="96" y="2560"/>
                    </a:lnTo>
                    <a:lnTo>
                      <a:pt x="118" y="2611"/>
                    </a:lnTo>
                    <a:lnTo>
                      <a:pt x="142" y="2661"/>
                    </a:lnTo>
                    <a:lnTo>
                      <a:pt x="168" y="2711"/>
                    </a:lnTo>
                    <a:lnTo>
                      <a:pt x="195" y="2761"/>
                    </a:lnTo>
                    <a:lnTo>
                      <a:pt x="224" y="2808"/>
                    </a:lnTo>
                    <a:lnTo>
                      <a:pt x="258" y="2862"/>
                    </a:lnTo>
                    <a:lnTo>
                      <a:pt x="293" y="2915"/>
                    </a:lnTo>
                    <a:lnTo>
                      <a:pt x="330" y="2966"/>
                    </a:lnTo>
                    <a:lnTo>
                      <a:pt x="368" y="3014"/>
                    </a:lnTo>
                    <a:lnTo>
                      <a:pt x="405" y="3063"/>
                    </a:lnTo>
                    <a:lnTo>
                      <a:pt x="443" y="3108"/>
                    </a:lnTo>
                    <a:lnTo>
                      <a:pt x="482" y="3153"/>
                    </a:lnTo>
                    <a:lnTo>
                      <a:pt x="522" y="3197"/>
                    </a:lnTo>
                    <a:lnTo>
                      <a:pt x="561" y="3238"/>
                    </a:lnTo>
                    <a:lnTo>
                      <a:pt x="600" y="3278"/>
                    </a:lnTo>
                    <a:lnTo>
                      <a:pt x="640" y="3315"/>
                    </a:lnTo>
                    <a:lnTo>
                      <a:pt x="678" y="3352"/>
                    </a:lnTo>
                    <a:lnTo>
                      <a:pt x="717" y="3388"/>
                    </a:lnTo>
                    <a:lnTo>
                      <a:pt x="755" y="3421"/>
                    </a:lnTo>
                    <a:lnTo>
                      <a:pt x="793" y="3454"/>
                    </a:lnTo>
                    <a:lnTo>
                      <a:pt x="831" y="3484"/>
                    </a:lnTo>
                    <a:lnTo>
                      <a:pt x="866" y="3513"/>
                    </a:lnTo>
                    <a:lnTo>
                      <a:pt x="902" y="3540"/>
                    </a:lnTo>
                    <a:lnTo>
                      <a:pt x="937" y="3566"/>
                    </a:lnTo>
                    <a:lnTo>
                      <a:pt x="970" y="3591"/>
                    </a:lnTo>
                    <a:lnTo>
                      <a:pt x="1033" y="3635"/>
                    </a:lnTo>
                    <a:lnTo>
                      <a:pt x="1089" y="3672"/>
                    </a:lnTo>
                    <a:lnTo>
                      <a:pt x="1138" y="3704"/>
                    </a:lnTo>
                    <a:lnTo>
                      <a:pt x="1181" y="3729"/>
                    </a:lnTo>
                    <a:lnTo>
                      <a:pt x="1213" y="3747"/>
                    </a:lnTo>
                    <a:lnTo>
                      <a:pt x="1237" y="3760"/>
                    </a:lnTo>
                    <a:lnTo>
                      <a:pt x="1243" y="3735"/>
                    </a:lnTo>
                    <a:lnTo>
                      <a:pt x="1252" y="3701"/>
                    </a:lnTo>
                    <a:lnTo>
                      <a:pt x="1256" y="3680"/>
                    </a:lnTo>
                    <a:lnTo>
                      <a:pt x="1261" y="3657"/>
                    </a:lnTo>
                    <a:lnTo>
                      <a:pt x="1265" y="3631"/>
                    </a:lnTo>
                    <a:lnTo>
                      <a:pt x="1268" y="3604"/>
                    </a:lnTo>
                    <a:lnTo>
                      <a:pt x="1271" y="3574"/>
                    </a:lnTo>
                    <a:lnTo>
                      <a:pt x="1275" y="3543"/>
                    </a:lnTo>
                    <a:lnTo>
                      <a:pt x="1277" y="3511"/>
                    </a:lnTo>
                    <a:lnTo>
                      <a:pt x="1278" y="3476"/>
                    </a:lnTo>
                    <a:lnTo>
                      <a:pt x="1278" y="3441"/>
                    </a:lnTo>
                    <a:lnTo>
                      <a:pt x="1277" y="3404"/>
                    </a:lnTo>
                    <a:lnTo>
                      <a:pt x="1273" y="3365"/>
                    </a:lnTo>
                    <a:lnTo>
                      <a:pt x="1270" y="3326"/>
                    </a:lnTo>
                    <a:lnTo>
                      <a:pt x="1266" y="3301"/>
                    </a:lnTo>
                    <a:lnTo>
                      <a:pt x="1259" y="3275"/>
                    </a:lnTo>
                    <a:lnTo>
                      <a:pt x="1251" y="3250"/>
                    </a:lnTo>
                    <a:lnTo>
                      <a:pt x="1240" y="3224"/>
                    </a:lnTo>
                    <a:lnTo>
                      <a:pt x="1228" y="3197"/>
                    </a:lnTo>
                    <a:lnTo>
                      <a:pt x="1214" y="3170"/>
                    </a:lnTo>
                    <a:lnTo>
                      <a:pt x="1199" y="3143"/>
                    </a:lnTo>
                    <a:lnTo>
                      <a:pt x="1182" y="3116"/>
                    </a:lnTo>
                    <a:lnTo>
                      <a:pt x="1163" y="3088"/>
                    </a:lnTo>
                    <a:lnTo>
                      <a:pt x="1145" y="3061"/>
                    </a:lnTo>
                    <a:lnTo>
                      <a:pt x="1124" y="3032"/>
                    </a:lnTo>
                    <a:lnTo>
                      <a:pt x="1103" y="3003"/>
                    </a:lnTo>
                    <a:lnTo>
                      <a:pt x="1059" y="2946"/>
                    </a:lnTo>
                    <a:lnTo>
                      <a:pt x="1013" y="2888"/>
                    </a:lnTo>
                    <a:lnTo>
                      <a:pt x="970" y="2833"/>
                    </a:lnTo>
                    <a:lnTo>
                      <a:pt x="928" y="2778"/>
                    </a:lnTo>
                    <a:lnTo>
                      <a:pt x="887" y="2723"/>
                    </a:lnTo>
                    <a:lnTo>
                      <a:pt x="849" y="2668"/>
                    </a:lnTo>
                    <a:lnTo>
                      <a:pt x="831" y="2640"/>
                    </a:lnTo>
                    <a:lnTo>
                      <a:pt x="813" y="2613"/>
                    </a:lnTo>
                    <a:lnTo>
                      <a:pt x="798" y="2585"/>
                    </a:lnTo>
                    <a:lnTo>
                      <a:pt x="783" y="2557"/>
                    </a:lnTo>
                    <a:lnTo>
                      <a:pt x="770" y="2530"/>
                    </a:lnTo>
                    <a:lnTo>
                      <a:pt x="758" y="2501"/>
                    </a:lnTo>
                    <a:lnTo>
                      <a:pt x="749" y="2475"/>
                    </a:lnTo>
                    <a:lnTo>
                      <a:pt x="740" y="2446"/>
                    </a:lnTo>
                    <a:lnTo>
                      <a:pt x="728" y="2402"/>
                    </a:lnTo>
                    <a:lnTo>
                      <a:pt x="718" y="2357"/>
                    </a:lnTo>
                    <a:lnTo>
                      <a:pt x="711" y="2313"/>
                    </a:lnTo>
                    <a:lnTo>
                      <a:pt x="705" y="2267"/>
                    </a:lnTo>
                    <a:lnTo>
                      <a:pt x="701" y="2223"/>
                    </a:lnTo>
                    <a:lnTo>
                      <a:pt x="699" y="2179"/>
                    </a:lnTo>
                    <a:lnTo>
                      <a:pt x="699" y="2136"/>
                    </a:lnTo>
                    <a:lnTo>
                      <a:pt x="700" y="2093"/>
                    </a:lnTo>
                    <a:lnTo>
                      <a:pt x="703" y="2052"/>
                    </a:lnTo>
                    <a:lnTo>
                      <a:pt x="709" y="2014"/>
                    </a:lnTo>
                    <a:lnTo>
                      <a:pt x="715" y="1976"/>
                    </a:lnTo>
                    <a:lnTo>
                      <a:pt x="724" y="1941"/>
                    </a:lnTo>
                    <a:lnTo>
                      <a:pt x="729" y="1924"/>
                    </a:lnTo>
                    <a:lnTo>
                      <a:pt x="735" y="1908"/>
                    </a:lnTo>
                    <a:lnTo>
                      <a:pt x="740" y="1893"/>
                    </a:lnTo>
                    <a:lnTo>
                      <a:pt x="747" y="1878"/>
                    </a:lnTo>
                    <a:lnTo>
                      <a:pt x="753" y="1864"/>
                    </a:lnTo>
                    <a:lnTo>
                      <a:pt x="761" y="1849"/>
                    </a:lnTo>
                    <a:lnTo>
                      <a:pt x="768" y="1838"/>
                    </a:lnTo>
                    <a:lnTo>
                      <a:pt x="776" y="1825"/>
                    </a:lnTo>
                    <a:lnTo>
                      <a:pt x="789" y="1807"/>
                    </a:lnTo>
                    <a:lnTo>
                      <a:pt x="804" y="1792"/>
                    </a:lnTo>
                    <a:lnTo>
                      <a:pt x="810" y="1786"/>
                    </a:lnTo>
                    <a:lnTo>
                      <a:pt x="818" y="1779"/>
                    </a:lnTo>
                    <a:lnTo>
                      <a:pt x="826" y="1774"/>
                    </a:lnTo>
                    <a:lnTo>
                      <a:pt x="834" y="1769"/>
                    </a:lnTo>
                    <a:lnTo>
                      <a:pt x="843" y="1764"/>
                    </a:lnTo>
                    <a:lnTo>
                      <a:pt x="851" y="1760"/>
                    </a:lnTo>
                    <a:lnTo>
                      <a:pt x="860" y="1756"/>
                    </a:lnTo>
                    <a:lnTo>
                      <a:pt x="869" y="1752"/>
                    </a:lnTo>
                    <a:lnTo>
                      <a:pt x="877" y="1750"/>
                    </a:lnTo>
                    <a:lnTo>
                      <a:pt x="887" y="1748"/>
                    </a:lnTo>
                    <a:lnTo>
                      <a:pt x="897" y="1747"/>
                    </a:lnTo>
                    <a:lnTo>
                      <a:pt x="906" y="1746"/>
                    </a:lnTo>
                    <a:lnTo>
                      <a:pt x="921" y="1745"/>
                    </a:lnTo>
                    <a:lnTo>
                      <a:pt x="938" y="1745"/>
                    </a:lnTo>
                    <a:lnTo>
                      <a:pt x="953" y="1745"/>
                    </a:lnTo>
                    <a:lnTo>
                      <a:pt x="968" y="1746"/>
                    </a:lnTo>
                    <a:lnTo>
                      <a:pt x="996" y="1749"/>
                    </a:lnTo>
                    <a:lnTo>
                      <a:pt x="1024" y="1753"/>
                    </a:lnTo>
                    <a:lnTo>
                      <a:pt x="1050" y="1760"/>
                    </a:lnTo>
                    <a:lnTo>
                      <a:pt x="1074" y="1767"/>
                    </a:lnTo>
                    <a:lnTo>
                      <a:pt x="1097" y="1776"/>
                    </a:lnTo>
                    <a:lnTo>
                      <a:pt x="1118" y="1786"/>
                    </a:lnTo>
                    <a:lnTo>
                      <a:pt x="1138" y="1796"/>
                    </a:lnTo>
                    <a:lnTo>
                      <a:pt x="1157" y="1805"/>
                    </a:lnTo>
                    <a:lnTo>
                      <a:pt x="1173" y="1816"/>
                    </a:lnTo>
                    <a:lnTo>
                      <a:pt x="1187" y="1826"/>
                    </a:lnTo>
                    <a:lnTo>
                      <a:pt x="1212" y="1844"/>
                    </a:lnTo>
                    <a:lnTo>
                      <a:pt x="1228" y="1858"/>
                    </a:lnTo>
                    <a:lnTo>
                      <a:pt x="1304" y="1786"/>
                    </a:lnTo>
                    <a:lnTo>
                      <a:pt x="1297" y="1757"/>
                    </a:lnTo>
                    <a:lnTo>
                      <a:pt x="1289" y="1711"/>
                    </a:lnTo>
                    <a:lnTo>
                      <a:pt x="1278" y="1653"/>
                    </a:lnTo>
                    <a:lnTo>
                      <a:pt x="1268" y="1585"/>
                    </a:lnTo>
                    <a:lnTo>
                      <a:pt x="1264" y="1549"/>
                    </a:lnTo>
                    <a:lnTo>
                      <a:pt x="1259" y="1514"/>
                    </a:lnTo>
                    <a:lnTo>
                      <a:pt x="1256" y="1478"/>
                    </a:lnTo>
                    <a:lnTo>
                      <a:pt x="1254" y="1443"/>
                    </a:lnTo>
                    <a:lnTo>
                      <a:pt x="1253" y="1408"/>
                    </a:lnTo>
                    <a:lnTo>
                      <a:pt x="1253" y="1375"/>
                    </a:lnTo>
                    <a:lnTo>
                      <a:pt x="1255" y="1344"/>
                    </a:lnTo>
                    <a:lnTo>
                      <a:pt x="1258" y="1316"/>
                    </a:lnTo>
                    <a:lnTo>
                      <a:pt x="1263" y="1301"/>
                    </a:lnTo>
                    <a:lnTo>
                      <a:pt x="1268" y="1283"/>
                    </a:lnTo>
                    <a:lnTo>
                      <a:pt x="1277" y="1263"/>
                    </a:lnTo>
                    <a:lnTo>
                      <a:pt x="1288" y="1241"/>
                    </a:lnTo>
                    <a:lnTo>
                      <a:pt x="1300" y="1216"/>
                    </a:lnTo>
                    <a:lnTo>
                      <a:pt x="1314" y="1190"/>
                    </a:lnTo>
                    <a:lnTo>
                      <a:pt x="1331" y="1163"/>
                    </a:lnTo>
                    <a:lnTo>
                      <a:pt x="1348" y="1134"/>
                    </a:lnTo>
                    <a:lnTo>
                      <a:pt x="1387" y="1072"/>
                    </a:lnTo>
                    <a:lnTo>
                      <a:pt x="1431" y="1006"/>
                    </a:lnTo>
                    <a:lnTo>
                      <a:pt x="1476" y="939"/>
                    </a:lnTo>
                    <a:lnTo>
                      <a:pt x="1524" y="871"/>
                    </a:lnTo>
                    <a:lnTo>
                      <a:pt x="1573" y="806"/>
                    </a:lnTo>
                    <a:lnTo>
                      <a:pt x="1619" y="741"/>
                    </a:lnTo>
                    <a:lnTo>
                      <a:pt x="1664" y="681"/>
                    </a:lnTo>
                    <a:lnTo>
                      <a:pt x="1705" y="626"/>
                    </a:lnTo>
                    <a:lnTo>
                      <a:pt x="1741" y="578"/>
                    </a:lnTo>
                    <a:lnTo>
                      <a:pt x="1771" y="539"/>
                    </a:lnTo>
                    <a:lnTo>
                      <a:pt x="1795" y="509"/>
                    </a:lnTo>
                    <a:lnTo>
                      <a:pt x="1809" y="490"/>
                    </a:lnTo>
                    <a:lnTo>
                      <a:pt x="1731" y="27"/>
                    </a:lnTo>
                    <a:lnTo>
                      <a:pt x="1731" y="27"/>
                    </a:lnTo>
                    <a:lnTo>
                      <a:pt x="173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9"/>
              <p:cNvSpPr>
                <a:spLocks/>
              </p:cNvSpPr>
              <p:nvPr userDrawn="1"/>
            </p:nvSpPr>
            <p:spPr bwMode="auto">
              <a:xfrm>
                <a:off x="1429" y="1392"/>
                <a:ext cx="526" cy="1226"/>
              </a:xfrm>
              <a:custGeom>
                <a:avLst/>
                <a:gdLst>
                  <a:gd name="T0" fmla="*/ 985 w 1577"/>
                  <a:gd name="T1" fmla="*/ 3620 h 3679"/>
                  <a:gd name="T2" fmla="*/ 720 w 1577"/>
                  <a:gd name="T3" fmla="*/ 3412 h 3679"/>
                  <a:gd name="T4" fmla="*/ 543 w 1577"/>
                  <a:gd name="T5" fmla="*/ 3243 h 3679"/>
                  <a:gd name="T6" fmla="*/ 395 w 1577"/>
                  <a:gd name="T7" fmla="*/ 3078 h 3679"/>
                  <a:gd name="T8" fmla="*/ 253 w 1577"/>
                  <a:gd name="T9" fmla="*/ 2889 h 3679"/>
                  <a:gd name="T10" fmla="*/ 116 w 1577"/>
                  <a:gd name="T11" fmla="*/ 2657 h 3679"/>
                  <a:gd name="T12" fmla="*/ 18 w 1577"/>
                  <a:gd name="T13" fmla="*/ 2405 h 3679"/>
                  <a:gd name="T14" fmla="*/ 0 w 1577"/>
                  <a:gd name="T15" fmla="*/ 2297 h 3679"/>
                  <a:gd name="T16" fmla="*/ 6 w 1577"/>
                  <a:gd name="T17" fmla="*/ 2203 h 3679"/>
                  <a:gd name="T18" fmla="*/ 28 w 1577"/>
                  <a:gd name="T19" fmla="*/ 2124 h 3679"/>
                  <a:gd name="T20" fmla="*/ 86 w 1577"/>
                  <a:gd name="T21" fmla="*/ 2019 h 3679"/>
                  <a:gd name="T22" fmla="*/ 122 w 1577"/>
                  <a:gd name="T23" fmla="*/ 1953 h 3679"/>
                  <a:gd name="T24" fmla="*/ 93 w 1577"/>
                  <a:gd name="T25" fmla="*/ 1850 h 3679"/>
                  <a:gd name="T26" fmla="*/ 78 w 1577"/>
                  <a:gd name="T27" fmla="*/ 1707 h 3679"/>
                  <a:gd name="T28" fmla="*/ 89 w 1577"/>
                  <a:gd name="T29" fmla="*/ 1513 h 3679"/>
                  <a:gd name="T30" fmla="*/ 126 w 1577"/>
                  <a:gd name="T31" fmla="*/ 1313 h 3679"/>
                  <a:gd name="T32" fmla="*/ 182 w 1577"/>
                  <a:gd name="T33" fmla="*/ 1123 h 3679"/>
                  <a:gd name="T34" fmla="*/ 259 w 1577"/>
                  <a:gd name="T35" fmla="*/ 944 h 3679"/>
                  <a:gd name="T36" fmla="*/ 355 w 1577"/>
                  <a:gd name="T37" fmla="*/ 777 h 3679"/>
                  <a:gd name="T38" fmla="*/ 468 w 1577"/>
                  <a:gd name="T39" fmla="*/ 626 h 3679"/>
                  <a:gd name="T40" fmla="*/ 600 w 1577"/>
                  <a:gd name="T41" fmla="*/ 490 h 3679"/>
                  <a:gd name="T42" fmla="*/ 782 w 1577"/>
                  <a:gd name="T43" fmla="*/ 342 h 3679"/>
                  <a:gd name="T44" fmla="*/ 958 w 1577"/>
                  <a:gd name="T45" fmla="*/ 227 h 3679"/>
                  <a:gd name="T46" fmla="*/ 1124 w 1577"/>
                  <a:gd name="T47" fmla="*/ 139 h 3679"/>
                  <a:gd name="T48" fmla="*/ 1276 w 1577"/>
                  <a:gd name="T49" fmla="*/ 76 h 3679"/>
                  <a:gd name="T50" fmla="*/ 1523 w 1577"/>
                  <a:gd name="T51" fmla="*/ 8 h 3679"/>
                  <a:gd name="T52" fmla="*/ 1577 w 1577"/>
                  <a:gd name="T53" fmla="*/ 12 h 3679"/>
                  <a:gd name="T54" fmla="*/ 1529 w 1577"/>
                  <a:gd name="T55" fmla="*/ 34 h 3679"/>
                  <a:gd name="T56" fmla="*/ 1285 w 1577"/>
                  <a:gd name="T57" fmla="*/ 102 h 3679"/>
                  <a:gd name="T58" fmla="*/ 1135 w 1577"/>
                  <a:gd name="T59" fmla="*/ 164 h 3679"/>
                  <a:gd name="T60" fmla="*/ 972 w 1577"/>
                  <a:gd name="T61" fmla="*/ 251 h 3679"/>
                  <a:gd name="T62" fmla="*/ 798 w 1577"/>
                  <a:gd name="T63" fmla="*/ 364 h 3679"/>
                  <a:gd name="T64" fmla="*/ 619 w 1577"/>
                  <a:gd name="T65" fmla="*/ 511 h 3679"/>
                  <a:gd name="T66" fmla="*/ 489 w 1577"/>
                  <a:gd name="T67" fmla="*/ 644 h 3679"/>
                  <a:gd name="T68" fmla="*/ 377 w 1577"/>
                  <a:gd name="T69" fmla="*/ 793 h 3679"/>
                  <a:gd name="T70" fmla="*/ 283 w 1577"/>
                  <a:gd name="T71" fmla="*/ 956 h 3679"/>
                  <a:gd name="T72" fmla="*/ 207 w 1577"/>
                  <a:gd name="T73" fmla="*/ 1131 h 3679"/>
                  <a:gd name="T74" fmla="*/ 152 w 1577"/>
                  <a:gd name="T75" fmla="*/ 1319 h 3679"/>
                  <a:gd name="T76" fmla="*/ 116 w 1577"/>
                  <a:gd name="T77" fmla="*/ 1516 h 3679"/>
                  <a:gd name="T78" fmla="*/ 106 w 1577"/>
                  <a:gd name="T79" fmla="*/ 1721 h 3679"/>
                  <a:gd name="T80" fmla="*/ 125 w 1577"/>
                  <a:gd name="T81" fmla="*/ 1872 h 3679"/>
                  <a:gd name="T82" fmla="*/ 154 w 1577"/>
                  <a:gd name="T83" fmla="*/ 1961 h 3679"/>
                  <a:gd name="T84" fmla="*/ 154 w 1577"/>
                  <a:gd name="T85" fmla="*/ 1984 h 3679"/>
                  <a:gd name="T86" fmla="*/ 83 w 1577"/>
                  <a:gd name="T87" fmla="*/ 2071 h 3679"/>
                  <a:gd name="T88" fmla="*/ 45 w 1577"/>
                  <a:gd name="T89" fmla="*/ 2155 h 3679"/>
                  <a:gd name="T90" fmla="*/ 28 w 1577"/>
                  <a:gd name="T91" fmla="*/ 2243 h 3679"/>
                  <a:gd name="T92" fmla="*/ 33 w 1577"/>
                  <a:gd name="T93" fmla="*/ 2350 h 3679"/>
                  <a:gd name="T94" fmla="*/ 95 w 1577"/>
                  <a:gd name="T95" fmla="*/ 2543 h 3679"/>
                  <a:gd name="T96" fmla="*/ 222 w 1577"/>
                  <a:gd name="T97" fmla="*/ 2793 h 3679"/>
                  <a:gd name="T98" fmla="*/ 358 w 1577"/>
                  <a:gd name="T99" fmla="*/ 2988 h 3679"/>
                  <a:gd name="T100" fmla="*/ 503 w 1577"/>
                  <a:gd name="T101" fmla="*/ 3162 h 3679"/>
                  <a:gd name="T102" fmla="*/ 651 w 1577"/>
                  <a:gd name="T103" fmla="*/ 3312 h 3679"/>
                  <a:gd name="T104" fmla="*/ 903 w 1577"/>
                  <a:gd name="T105" fmla="*/ 3526 h 3679"/>
                  <a:gd name="T106" fmla="*/ 1088 w 1577"/>
                  <a:gd name="T107" fmla="*/ 3659 h 3679"/>
                  <a:gd name="T108" fmla="*/ 1084 w 1577"/>
                  <a:gd name="T109" fmla="*/ 3678 h 3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7" h="3679">
                    <a:moveTo>
                      <a:pt x="1078" y="3679"/>
                    </a:moveTo>
                    <a:lnTo>
                      <a:pt x="1073" y="3679"/>
                    </a:lnTo>
                    <a:lnTo>
                      <a:pt x="1070" y="3677"/>
                    </a:lnTo>
                    <a:lnTo>
                      <a:pt x="1029" y="3650"/>
                    </a:lnTo>
                    <a:lnTo>
                      <a:pt x="985" y="3620"/>
                    </a:lnTo>
                    <a:lnTo>
                      <a:pt x="937" y="3585"/>
                    </a:lnTo>
                    <a:lnTo>
                      <a:pt x="886" y="3547"/>
                    </a:lnTo>
                    <a:lnTo>
                      <a:pt x="832" y="3506"/>
                    </a:lnTo>
                    <a:lnTo>
                      <a:pt x="777" y="3461"/>
                    </a:lnTo>
                    <a:lnTo>
                      <a:pt x="720" y="3412"/>
                    </a:lnTo>
                    <a:lnTo>
                      <a:pt x="662" y="3360"/>
                    </a:lnTo>
                    <a:lnTo>
                      <a:pt x="633" y="3331"/>
                    </a:lnTo>
                    <a:lnTo>
                      <a:pt x="602" y="3303"/>
                    </a:lnTo>
                    <a:lnTo>
                      <a:pt x="572" y="3273"/>
                    </a:lnTo>
                    <a:lnTo>
                      <a:pt x="543" y="3243"/>
                    </a:lnTo>
                    <a:lnTo>
                      <a:pt x="513" y="3212"/>
                    </a:lnTo>
                    <a:lnTo>
                      <a:pt x="484" y="3179"/>
                    </a:lnTo>
                    <a:lnTo>
                      <a:pt x="453" y="3147"/>
                    </a:lnTo>
                    <a:lnTo>
                      <a:pt x="424" y="3112"/>
                    </a:lnTo>
                    <a:lnTo>
                      <a:pt x="395" y="3078"/>
                    </a:lnTo>
                    <a:lnTo>
                      <a:pt x="366" y="3041"/>
                    </a:lnTo>
                    <a:lnTo>
                      <a:pt x="337" y="3004"/>
                    </a:lnTo>
                    <a:lnTo>
                      <a:pt x="309" y="2967"/>
                    </a:lnTo>
                    <a:lnTo>
                      <a:pt x="281" y="2928"/>
                    </a:lnTo>
                    <a:lnTo>
                      <a:pt x="253" y="2889"/>
                    </a:lnTo>
                    <a:lnTo>
                      <a:pt x="226" y="2848"/>
                    </a:lnTo>
                    <a:lnTo>
                      <a:pt x="200" y="2807"/>
                    </a:lnTo>
                    <a:lnTo>
                      <a:pt x="170" y="2758"/>
                    </a:lnTo>
                    <a:lnTo>
                      <a:pt x="143" y="2708"/>
                    </a:lnTo>
                    <a:lnTo>
                      <a:pt x="116" y="2657"/>
                    </a:lnTo>
                    <a:lnTo>
                      <a:pt x="93" y="2605"/>
                    </a:lnTo>
                    <a:lnTo>
                      <a:pt x="70" y="2553"/>
                    </a:lnTo>
                    <a:lnTo>
                      <a:pt x="51" y="2502"/>
                    </a:lnTo>
                    <a:lnTo>
                      <a:pt x="32" y="2453"/>
                    </a:lnTo>
                    <a:lnTo>
                      <a:pt x="18" y="2405"/>
                    </a:lnTo>
                    <a:lnTo>
                      <a:pt x="13" y="2383"/>
                    </a:lnTo>
                    <a:lnTo>
                      <a:pt x="7" y="2361"/>
                    </a:lnTo>
                    <a:lnTo>
                      <a:pt x="4" y="2339"/>
                    </a:lnTo>
                    <a:lnTo>
                      <a:pt x="2" y="2318"/>
                    </a:lnTo>
                    <a:lnTo>
                      <a:pt x="0" y="2297"/>
                    </a:lnTo>
                    <a:lnTo>
                      <a:pt x="0" y="2277"/>
                    </a:lnTo>
                    <a:lnTo>
                      <a:pt x="0" y="2257"/>
                    </a:lnTo>
                    <a:lnTo>
                      <a:pt x="1" y="2239"/>
                    </a:lnTo>
                    <a:lnTo>
                      <a:pt x="3" y="2221"/>
                    </a:lnTo>
                    <a:lnTo>
                      <a:pt x="6" y="2203"/>
                    </a:lnTo>
                    <a:lnTo>
                      <a:pt x="10" y="2186"/>
                    </a:lnTo>
                    <a:lnTo>
                      <a:pt x="14" y="2169"/>
                    </a:lnTo>
                    <a:lnTo>
                      <a:pt x="18" y="2154"/>
                    </a:lnTo>
                    <a:lnTo>
                      <a:pt x="23" y="2138"/>
                    </a:lnTo>
                    <a:lnTo>
                      <a:pt x="28" y="2124"/>
                    </a:lnTo>
                    <a:lnTo>
                      <a:pt x="34" y="2110"/>
                    </a:lnTo>
                    <a:lnTo>
                      <a:pt x="46" y="2083"/>
                    </a:lnTo>
                    <a:lnTo>
                      <a:pt x="59" y="2059"/>
                    </a:lnTo>
                    <a:lnTo>
                      <a:pt x="73" y="2037"/>
                    </a:lnTo>
                    <a:lnTo>
                      <a:pt x="86" y="2019"/>
                    </a:lnTo>
                    <a:lnTo>
                      <a:pt x="99" y="2003"/>
                    </a:lnTo>
                    <a:lnTo>
                      <a:pt x="111" y="1990"/>
                    </a:lnTo>
                    <a:lnTo>
                      <a:pt x="121" y="1979"/>
                    </a:lnTo>
                    <a:lnTo>
                      <a:pt x="128" y="1970"/>
                    </a:lnTo>
                    <a:lnTo>
                      <a:pt x="122" y="1953"/>
                    </a:lnTo>
                    <a:lnTo>
                      <a:pt x="112" y="1927"/>
                    </a:lnTo>
                    <a:lnTo>
                      <a:pt x="107" y="1911"/>
                    </a:lnTo>
                    <a:lnTo>
                      <a:pt x="102" y="1894"/>
                    </a:lnTo>
                    <a:lnTo>
                      <a:pt x="97" y="1873"/>
                    </a:lnTo>
                    <a:lnTo>
                      <a:pt x="93" y="1850"/>
                    </a:lnTo>
                    <a:lnTo>
                      <a:pt x="88" y="1826"/>
                    </a:lnTo>
                    <a:lnTo>
                      <a:pt x="84" y="1799"/>
                    </a:lnTo>
                    <a:lnTo>
                      <a:pt x="82" y="1771"/>
                    </a:lnTo>
                    <a:lnTo>
                      <a:pt x="80" y="1739"/>
                    </a:lnTo>
                    <a:lnTo>
                      <a:pt x="78" y="1707"/>
                    </a:lnTo>
                    <a:lnTo>
                      <a:pt x="78" y="1671"/>
                    </a:lnTo>
                    <a:lnTo>
                      <a:pt x="79" y="1635"/>
                    </a:lnTo>
                    <a:lnTo>
                      <a:pt x="81" y="1595"/>
                    </a:lnTo>
                    <a:lnTo>
                      <a:pt x="85" y="1554"/>
                    </a:lnTo>
                    <a:lnTo>
                      <a:pt x="89" y="1513"/>
                    </a:lnTo>
                    <a:lnTo>
                      <a:pt x="95" y="1472"/>
                    </a:lnTo>
                    <a:lnTo>
                      <a:pt x="101" y="1432"/>
                    </a:lnTo>
                    <a:lnTo>
                      <a:pt x="109" y="1392"/>
                    </a:lnTo>
                    <a:lnTo>
                      <a:pt x="116" y="1352"/>
                    </a:lnTo>
                    <a:lnTo>
                      <a:pt x="126" y="1313"/>
                    </a:lnTo>
                    <a:lnTo>
                      <a:pt x="136" y="1274"/>
                    </a:lnTo>
                    <a:lnTo>
                      <a:pt x="146" y="1235"/>
                    </a:lnTo>
                    <a:lnTo>
                      <a:pt x="158" y="1197"/>
                    </a:lnTo>
                    <a:lnTo>
                      <a:pt x="169" y="1160"/>
                    </a:lnTo>
                    <a:lnTo>
                      <a:pt x="182" y="1123"/>
                    </a:lnTo>
                    <a:lnTo>
                      <a:pt x="196" y="1085"/>
                    </a:lnTo>
                    <a:lnTo>
                      <a:pt x="210" y="1049"/>
                    </a:lnTo>
                    <a:lnTo>
                      <a:pt x="226" y="1014"/>
                    </a:lnTo>
                    <a:lnTo>
                      <a:pt x="242" y="978"/>
                    </a:lnTo>
                    <a:lnTo>
                      <a:pt x="259" y="944"/>
                    </a:lnTo>
                    <a:lnTo>
                      <a:pt x="276" y="909"/>
                    </a:lnTo>
                    <a:lnTo>
                      <a:pt x="295" y="876"/>
                    </a:lnTo>
                    <a:lnTo>
                      <a:pt x="314" y="842"/>
                    </a:lnTo>
                    <a:lnTo>
                      <a:pt x="334" y="810"/>
                    </a:lnTo>
                    <a:lnTo>
                      <a:pt x="355" y="777"/>
                    </a:lnTo>
                    <a:lnTo>
                      <a:pt x="376" y="746"/>
                    </a:lnTo>
                    <a:lnTo>
                      <a:pt x="398" y="715"/>
                    </a:lnTo>
                    <a:lnTo>
                      <a:pt x="421" y="685"/>
                    </a:lnTo>
                    <a:lnTo>
                      <a:pt x="445" y="654"/>
                    </a:lnTo>
                    <a:lnTo>
                      <a:pt x="468" y="626"/>
                    </a:lnTo>
                    <a:lnTo>
                      <a:pt x="493" y="597"/>
                    </a:lnTo>
                    <a:lnTo>
                      <a:pt x="519" y="569"/>
                    </a:lnTo>
                    <a:lnTo>
                      <a:pt x="545" y="542"/>
                    </a:lnTo>
                    <a:lnTo>
                      <a:pt x="572" y="516"/>
                    </a:lnTo>
                    <a:lnTo>
                      <a:pt x="600" y="490"/>
                    </a:lnTo>
                    <a:lnTo>
                      <a:pt x="637" y="458"/>
                    </a:lnTo>
                    <a:lnTo>
                      <a:pt x="674" y="428"/>
                    </a:lnTo>
                    <a:lnTo>
                      <a:pt x="710" y="397"/>
                    </a:lnTo>
                    <a:lnTo>
                      <a:pt x="746" y="369"/>
                    </a:lnTo>
                    <a:lnTo>
                      <a:pt x="782" y="342"/>
                    </a:lnTo>
                    <a:lnTo>
                      <a:pt x="818" y="316"/>
                    </a:lnTo>
                    <a:lnTo>
                      <a:pt x="853" y="293"/>
                    </a:lnTo>
                    <a:lnTo>
                      <a:pt x="889" y="269"/>
                    </a:lnTo>
                    <a:lnTo>
                      <a:pt x="923" y="247"/>
                    </a:lnTo>
                    <a:lnTo>
                      <a:pt x="958" y="227"/>
                    </a:lnTo>
                    <a:lnTo>
                      <a:pt x="992" y="207"/>
                    </a:lnTo>
                    <a:lnTo>
                      <a:pt x="1026" y="189"/>
                    </a:lnTo>
                    <a:lnTo>
                      <a:pt x="1059" y="171"/>
                    </a:lnTo>
                    <a:lnTo>
                      <a:pt x="1092" y="155"/>
                    </a:lnTo>
                    <a:lnTo>
                      <a:pt x="1124" y="139"/>
                    </a:lnTo>
                    <a:lnTo>
                      <a:pt x="1156" y="125"/>
                    </a:lnTo>
                    <a:lnTo>
                      <a:pt x="1187" y="111"/>
                    </a:lnTo>
                    <a:lnTo>
                      <a:pt x="1218" y="98"/>
                    </a:lnTo>
                    <a:lnTo>
                      <a:pt x="1247" y="88"/>
                    </a:lnTo>
                    <a:lnTo>
                      <a:pt x="1276" y="76"/>
                    </a:lnTo>
                    <a:lnTo>
                      <a:pt x="1332" y="57"/>
                    </a:lnTo>
                    <a:lnTo>
                      <a:pt x="1385" y="40"/>
                    </a:lnTo>
                    <a:lnTo>
                      <a:pt x="1435" y="27"/>
                    </a:lnTo>
                    <a:lnTo>
                      <a:pt x="1481" y="16"/>
                    </a:lnTo>
                    <a:lnTo>
                      <a:pt x="1523" y="8"/>
                    </a:lnTo>
                    <a:lnTo>
                      <a:pt x="1561" y="0"/>
                    </a:lnTo>
                    <a:lnTo>
                      <a:pt x="1567" y="0"/>
                    </a:lnTo>
                    <a:lnTo>
                      <a:pt x="1572" y="2"/>
                    </a:lnTo>
                    <a:lnTo>
                      <a:pt x="1575" y="7"/>
                    </a:lnTo>
                    <a:lnTo>
                      <a:pt x="1577" y="12"/>
                    </a:lnTo>
                    <a:lnTo>
                      <a:pt x="1576" y="17"/>
                    </a:lnTo>
                    <a:lnTo>
                      <a:pt x="1574" y="22"/>
                    </a:lnTo>
                    <a:lnTo>
                      <a:pt x="1571" y="25"/>
                    </a:lnTo>
                    <a:lnTo>
                      <a:pt x="1566" y="27"/>
                    </a:lnTo>
                    <a:lnTo>
                      <a:pt x="1529" y="34"/>
                    </a:lnTo>
                    <a:lnTo>
                      <a:pt x="1487" y="42"/>
                    </a:lnTo>
                    <a:lnTo>
                      <a:pt x="1441" y="53"/>
                    </a:lnTo>
                    <a:lnTo>
                      <a:pt x="1393" y="67"/>
                    </a:lnTo>
                    <a:lnTo>
                      <a:pt x="1341" y="83"/>
                    </a:lnTo>
                    <a:lnTo>
                      <a:pt x="1285" y="102"/>
                    </a:lnTo>
                    <a:lnTo>
                      <a:pt x="1257" y="112"/>
                    </a:lnTo>
                    <a:lnTo>
                      <a:pt x="1227" y="124"/>
                    </a:lnTo>
                    <a:lnTo>
                      <a:pt x="1197" y="136"/>
                    </a:lnTo>
                    <a:lnTo>
                      <a:pt x="1166" y="150"/>
                    </a:lnTo>
                    <a:lnTo>
                      <a:pt x="1135" y="164"/>
                    </a:lnTo>
                    <a:lnTo>
                      <a:pt x="1103" y="179"/>
                    </a:lnTo>
                    <a:lnTo>
                      <a:pt x="1071" y="196"/>
                    </a:lnTo>
                    <a:lnTo>
                      <a:pt x="1039" y="213"/>
                    </a:lnTo>
                    <a:lnTo>
                      <a:pt x="1005" y="231"/>
                    </a:lnTo>
                    <a:lnTo>
                      <a:pt x="972" y="251"/>
                    </a:lnTo>
                    <a:lnTo>
                      <a:pt x="937" y="271"/>
                    </a:lnTo>
                    <a:lnTo>
                      <a:pt x="903" y="293"/>
                    </a:lnTo>
                    <a:lnTo>
                      <a:pt x="868" y="315"/>
                    </a:lnTo>
                    <a:lnTo>
                      <a:pt x="833" y="339"/>
                    </a:lnTo>
                    <a:lnTo>
                      <a:pt x="798" y="364"/>
                    </a:lnTo>
                    <a:lnTo>
                      <a:pt x="762" y="391"/>
                    </a:lnTo>
                    <a:lnTo>
                      <a:pt x="727" y="419"/>
                    </a:lnTo>
                    <a:lnTo>
                      <a:pt x="691" y="448"/>
                    </a:lnTo>
                    <a:lnTo>
                      <a:pt x="654" y="478"/>
                    </a:lnTo>
                    <a:lnTo>
                      <a:pt x="619" y="511"/>
                    </a:lnTo>
                    <a:lnTo>
                      <a:pt x="592" y="536"/>
                    </a:lnTo>
                    <a:lnTo>
                      <a:pt x="565" y="562"/>
                    </a:lnTo>
                    <a:lnTo>
                      <a:pt x="539" y="589"/>
                    </a:lnTo>
                    <a:lnTo>
                      <a:pt x="514" y="616"/>
                    </a:lnTo>
                    <a:lnTo>
                      <a:pt x="489" y="644"/>
                    </a:lnTo>
                    <a:lnTo>
                      <a:pt x="465" y="672"/>
                    </a:lnTo>
                    <a:lnTo>
                      <a:pt x="443" y="701"/>
                    </a:lnTo>
                    <a:lnTo>
                      <a:pt x="420" y="731"/>
                    </a:lnTo>
                    <a:lnTo>
                      <a:pt x="398" y="761"/>
                    </a:lnTo>
                    <a:lnTo>
                      <a:pt x="377" y="793"/>
                    </a:lnTo>
                    <a:lnTo>
                      <a:pt x="356" y="824"/>
                    </a:lnTo>
                    <a:lnTo>
                      <a:pt x="337" y="856"/>
                    </a:lnTo>
                    <a:lnTo>
                      <a:pt x="318" y="889"/>
                    </a:lnTo>
                    <a:lnTo>
                      <a:pt x="300" y="922"/>
                    </a:lnTo>
                    <a:lnTo>
                      <a:pt x="283" y="956"/>
                    </a:lnTo>
                    <a:lnTo>
                      <a:pt x="267" y="990"/>
                    </a:lnTo>
                    <a:lnTo>
                      <a:pt x="250" y="1025"/>
                    </a:lnTo>
                    <a:lnTo>
                      <a:pt x="235" y="1060"/>
                    </a:lnTo>
                    <a:lnTo>
                      <a:pt x="221" y="1096"/>
                    </a:lnTo>
                    <a:lnTo>
                      <a:pt x="207" y="1131"/>
                    </a:lnTo>
                    <a:lnTo>
                      <a:pt x="195" y="1168"/>
                    </a:lnTo>
                    <a:lnTo>
                      <a:pt x="183" y="1206"/>
                    </a:lnTo>
                    <a:lnTo>
                      <a:pt x="172" y="1243"/>
                    </a:lnTo>
                    <a:lnTo>
                      <a:pt x="162" y="1282"/>
                    </a:lnTo>
                    <a:lnTo>
                      <a:pt x="152" y="1319"/>
                    </a:lnTo>
                    <a:lnTo>
                      <a:pt x="143" y="1358"/>
                    </a:lnTo>
                    <a:lnTo>
                      <a:pt x="135" y="1397"/>
                    </a:lnTo>
                    <a:lnTo>
                      <a:pt x="128" y="1436"/>
                    </a:lnTo>
                    <a:lnTo>
                      <a:pt x="122" y="1476"/>
                    </a:lnTo>
                    <a:lnTo>
                      <a:pt x="116" y="1516"/>
                    </a:lnTo>
                    <a:lnTo>
                      <a:pt x="112" y="1557"/>
                    </a:lnTo>
                    <a:lnTo>
                      <a:pt x="108" y="1597"/>
                    </a:lnTo>
                    <a:lnTo>
                      <a:pt x="106" y="1641"/>
                    </a:lnTo>
                    <a:lnTo>
                      <a:pt x="105" y="1682"/>
                    </a:lnTo>
                    <a:lnTo>
                      <a:pt x="106" y="1721"/>
                    </a:lnTo>
                    <a:lnTo>
                      <a:pt x="108" y="1757"/>
                    </a:lnTo>
                    <a:lnTo>
                      <a:pt x="111" y="1790"/>
                    </a:lnTo>
                    <a:lnTo>
                      <a:pt x="115" y="1820"/>
                    </a:lnTo>
                    <a:lnTo>
                      <a:pt x="120" y="1847"/>
                    </a:lnTo>
                    <a:lnTo>
                      <a:pt x="125" y="1872"/>
                    </a:lnTo>
                    <a:lnTo>
                      <a:pt x="131" y="1894"/>
                    </a:lnTo>
                    <a:lnTo>
                      <a:pt x="136" y="1913"/>
                    </a:lnTo>
                    <a:lnTo>
                      <a:pt x="141" y="1929"/>
                    </a:lnTo>
                    <a:lnTo>
                      <a:pt x="147" y="1943"/>
                    </a:lnTo>
                    <a:lnTo>
                      <a:pt x="154" y="1961"/>
                    </a:lnTo>
                    <a:lnTo>
                      <a:pt x="158" y="1967"/>
                    </a:lnTo>
                    <a:lnTo>
                      <a:pt x="159" y="1971"/>
                    </a:lnTo>
                    <a:lnTo>
                      <a:pt x="159" y="1977"/>
                    </a:lnTo>
                    <a:lnTo>
                      <a:pt x="156" y="1981"/>
                    </a:lnTo>
                    <a:lnTo>
                      <a:pt x="154" y="1984"/>
                    </a:lnTo>
                    <a:lnTo>
                      <a:pt x="143" y="1993"/>
                    </a:lnTo>
                    <a:lnTo>
                      <a:pt x="123" y="2015"/>
                    </a:lnTo>
                    <a:lnTo>
                      <a:pt x="110" y="2031"/>
                    </a:lnTo>
                    <a:lnTo>
                      <a:pt x="97" y="2049"/>
                    </a:lnTo>
                    <a:lnTo>
                      <a:pt x="83" y="2071"/>
                    </a:lnTo>
                    <a:lnTo>
                      <a:pt x="69" y="2095"/>
                    </a:lnTo>
                    <a:lnTo>
                      <a:pt x="62" y="2110"/>
                    </a:lnTo>
                    <a:lnTo>
                      <a:pt x="56" y="2124"/>
                    </a:lnTo>
                    <a:lnTo>
                      <a:pt x="51" y="2139"/>
                    </a:lnTo>
                    <a:lnTo>
                      <a:pt x="45" y="2155"/>
                    </a:lnTo>
                    <a:lnTo>
                      <a:pt x="40" y="2171"/>
                    </a:lnTo>
                    <a:lnTo>
                      <a:pt x="35" y="2188"/>
                    </a:lnTo>
                    <a:lnTo>
                      <a:pt x="32" y="2206"/>
                    </a:lnTo>
                    <a:lnTo>
                      <a:pt x="29" y="2225"/>
                    </a:lnTo>
                    <a:lnTo>
                      <a:pt x="28" y="2243"/>
                    </a:lnTo>
                    <a:lnTo>
                      <a:pt x="27" y="2264"/>
                    </a:lnTo>
                    <a:lnTo>
                      <a:pt x="27" y="2284"/>
                    </a:lnTo>
                    <a:lnTo>
                      <a:pt x="28" y="2306"/>
                    </a:lnTo>
                    <a:lnTo>
                      <a:pt x="30" y="2328"/>
                    </a:lnTo>
                    <a:lnTo>
                      <a:pt x="33" y="2350"/>
                    </a:lnTo>
                    <a:lnTo>
                      <a:pt x="38" y="2374"/>
                    </a:lnTo>
                    <a:lnTo>
                      <a:pt x="44" y="2398"/>
                    </a:lnTo>
                    <a:lnTo>
                      <a:pt x="58" y="2445"/>
                    </a:lnTo>
                    <a:lnTo>
                      <a:pt x="75" y="2494"/>
                    </a:lnTo>
                    <a:lnTo>
                      <a:pt x="95" y="2543"/>
                    </a:lnTo>
                    <a:lnTo>
                      <a:pt x="118" y="2594"/>
                    </a:lnTo>
                    <a:lnTo>
                      <a:pt x="141" y="2645"/>
                    </a:lnTo>
                    <a:lnTo>
                      <a:pt x="167" y="2696"/>
                    </a:lnTo>
                    <a:lnTo>
                      <a:pt x="194" y="2744"/>
                    </a:lnTo>
                    <a:lnTo>
                      <a:pt x="222" y="2793"/>
                    </a:lnTo>
                    <a:lnTo>
                      <a:pt x="248" y="2834"/>
                    </a:lnTo>
                    <a:lnTo>
                      <a:pt x="275" y="2874"/>
                    </a:lnTo>
                    <a:lnTo>
                      <a:pt x="302" y="2913"/>
                    </a:lnTo>
                    <a:lnTo>
                      <a:pt x="330" y="2950"/>
                    </a:lnTo>
                    <a:lnTo>
                      <a:pt x="358" y="2988"/>
                    </a:lnTo>
                    <a:lnTo>
                      <a:pt x="386" y="3025"/>
                    </a:lnTo>
                    <a:lnTo>
                      <a:pt x="416" y="3061"/>
                    </a:lnTo>
                    <a:lnTo>
                      <a:pt x="445" y="3095"/>
                    </a:lnTo>
                    <a:lnTo>
                      <a:pt x="474" y="3129"/>
                    </a:lnTo>
                    <a:lnTo>
                      <a:pt x="503" y="3162"/>
                    </a:lnTo>
                    <a:lnTo>
                      <a:pt x="533" y="3193"/>
                    </a:lnTo>
                    <a:lnTo>
                      <a:pt x="562" y="3225"/>
                    </a:lnTo>
                    <a:lnTo>
                      <a:pt x="592" y="3255"/>
                    </a:lnTo>
                    <a:lnTo>
                      <a:pt x="622" y="3284"/>
                    </a:lnTo>
                    <a:lnTo>
                      <a:pt x="651" y="3312"/>
                    </a:lnTo>
                    <a:lnTo>
                      <a:pt x="680" y="3340"/>
                    </a:lnTo>
                    <a:lnTo>
                      <a:pt x="738" y="3392"/>
                    </a:lnTo>
                    <a:lnTo>
                      <a:pt x="795" y="3441"/>
                    </a:lnTo>
                    <a:lnTo>
                      <a:pt x="850" y="3485"/>
                    </a:lnTo>
                    <a:lnTo>
                      <a:pt x="903" y="3526"/>
                    </a:lnTo>
                    <a:lnTo>
                      <a:pt x="953" y="3564"/>
                    </a:lnTo>
                    <a:lnTo>
                      <a:pt x="1001" y="3597"/>
                    </a:lnTo>
                    <a:lnTo>
                      <a:pt x="1044" y="3627"/>
                    </a:lnTo>
                    <a:lnTo>
                      <a:pt x="1085" y="3654"/>
                    </a:lnTo>
                    <a:lnTo>
                      <a:pt x="1088" y="3659"/>
                    </a:lnTo>
                    <a:lnTo>
                      <a:pt x="1090" y="3663"/>
                    </a:lnTo>
                    <a:lnTo>
                      <a:pt x="1090" y="3668"/>
                    </a:lnTo>
                    <a:lnTo>
                      <a:pt x="1088" y="3673"/>
                    </a:lnTo>
                    <a:lnTo>
                      <a:pt x="1086" y="3676"/>
                    </a:lnTo>
                    <a:lnTo>
                      <a:pt x="1084" y="3678"/>
                    </a:lnTo>
                    <a:lnTo>
                      <a:pt x="1081" y="3679"/>
                    </a:lnTo>
                    <a:lnTo>
                      <a:pt x="1078" y="36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60"/>
              <p:cNvSpPr>
                <a:spLocks/>
              </p:cNvSpPr>
              <p:nvPr userDrawn="1"/>
            </p:nvSpPr>
            <p:spPr bwMode="auto">
              <a:xfrm>
                <a:off x="1419" y="1427"/>
                <a:ext cx="455" cy="1209"/>
              </a:xfrm>
              <a:custGeom>
                <a:avLst/>
                <a:gdLst>
                  <a:gd name="T0" fmla="*/ 1021 w 1366"/>
                  <a:gd name="T1" fmla="*/ 3578 h 3628"/>
                  <a:gd name="T2" fmla="*/ 753 w 1366"/>
                  <a:gd name="T3" fmla="*/ 3378 h 3628"/>
                  <a:gd name="T4" fmla="*/ 548 w 1366"/>
                  <a:gd name="T5" fmla="*/ 3190 h 3628"/>
                  <a:gd name="T6" fmla="*/ 442 w 1366"/>
                  <a:gd name="T7" fmla="*/ 3079 h 3628"/>
                  <a:gd name="T8" fmla="*/ 346 w 1366"/>
                  <a:gd name="T9" fmla="*/ 2964 h 3628"/>
                  <a:gd name="T10" fmla="*/ 259 w 1366"/>
                  <a:gd name="T11" fmla="*/ 2845 h 3628"/>
                  <a:gd name="T12" fmla="*/ 171 w 1366"/>
                  <a:gd name="T13" fmla="*/ 2707 h 3628"/>
                  <a:gd name="T14" fmla="*/ 71 w 1366"/>
                  <a:gd name="T15" fmla="*/ 2503 h 3628"/>
                  <a:gd name="T16" fmla="*/ 13 w 1366"/>
                  <a:gd name="T17" fmla="*/ 2332 h 3628"/>
                  <a:gd name="T18" fmla="*/ 1 w 1366"/>
                  <a:gd name="T19" fmla="*/ 2246 h 3628"/>
                  <a:gd name="T20" fmla="*/ 4 w 1366"/>
                  <a:gd name="T21" fmla="*/ 2170 h 3628"/>
                  <a:gd name="T22" fmla="*/ 18 w 1366"/>
                  <a:gd name="T23" fmla="*/ 2103 h 3628"/>
                  <a:gd name="T24" fmla="*/ 47 w 1366"/>
                  <a:gd name="T25" fmla="*/ 2031 h 3628"/>
                  <a:gd name="T26" fmla="*/ 99 w 1366"/>
                  <a:gd name="T27" fmla="*/ 1952 h 3628"/>
                  <a:gd name="T28" fmla="*/ 122 w 1366"/>
                  <a:gd name="T29" fmla="*/ 1902 h 3628"/>
                  <a:gd name="T30" fmla="*/ 98 w 1366"/>
                  <a:gd name="T31" fmla="*/ 1822 h 3628"/>
                  <a:gd name="T32" fmla="*/ 82 w 1366"/>
                  <a:gd name="T33" fmla="*/ 1720 h 3628"/>
                  <a:gd name="T34" fmla="*/ 80 w 1366"/>
                  <a:gd name="T35" fmla="*/ 1584 h 3628"/>
                  <a:gd name="T36" fmla="*/ 96 w 1366"/>
                  <a:gd name="T37" fmla="*/ 1421 h 3628"/>
                  <a:gd name="T38" fmla="*/ 126 w 1366"/>
                  <a:gd name="T39" fmla="*/ 1262 h 3628"/>
                  <a:gd name="T40" fmla="*/ 169 w 1366"/>
                  <a:gd name="T41" fmla="*/ 1109 h 3628"/>
                  <a:gd name="T42" fmla="*/ 226 w 1366"/>
                  <a:gd name="T43" fmla="*/ 963 h 3628"/>
                  <a:gd name="T44" fmla="*/ 295 w 1366"/>
                  <a:gd name="T45" fmla="*/ 825 h 3628"/>
                  <a:gd name="T46" fmla="*/ 376 w 1366"/>
                  <a:gd name="T47" fmla="*/ 695 h 3628"/>
                  <a:gd name="T48" fmla="*/ 469 w 1366"/>
                  <a:gd name="T49" fmla="*/ 575 h 3628"/>
                  <a:gd name="T50" fmla="*/ 573 w 1366"/>
                  <a:gd name="T51" fmla="*/ 465 h 3628"/>
                  <a:gd name="T52" fmla="*/ 733 w 1366"/>
                  <a:gd name="T53" fmla="*/ 329 h 3628"/>
                  <a:gd name="T54" fmla="*/ 914 w 1366"/>
                  <a:gd name="T55" fmla="*/ 202 h 3628"/>
                  <a:gd name="T56" fmla="*/ 1103 w 1366"/>
                  <a:gd name="T57" fmla="*/ 97 h 3628"/>
                  <a:gd name="T58" fmla="*/ 1299 w 1366"/>
                  <a:gd name="T59" fmla="*/ 17 h 3628"/>
                  <a:gd name="T60" fmla="*/ 1362 w 1366"/>
                  <a:gd name="T61" fmla="*/ 5 h 3628"/>
                  <a:gd name="T62" fmla="*/ 1361 w 1366"/>
                  <a:gd name="T63" fmla="*/ 24 h 3628"/>
                  <a:gd name="T64" fmla="*/ 1210 w 1366"/>
                  <a:gd name="T65" fmla="*/ 79 h 3628"/>
                  <a:gd name="T66" fmla="*/ 1021 w 1366"/>
                  <a:gd name="T67" fmla="*/ 170 h 3628"/>
                  <a:gd name="T68" fmla="*/ 838 w 1366"/>
                  <a:gd name="T69" fmla="*/ 285 h 3628"/>
                  <a:gd name="T70" fmla="*/ 662 w 1366"/>
                  <a:gd name="T71" fmla="*/ 422 h 3628"/>
                  <a:gd name="T72" fmla="*/ 540 w 1366"/>
                  <a:gd name="T73" fmla="*/ 537 h 3628"/>
                  <a:gd name="T74" fmla="*/ 442 w 1366"/>
                  <a:gd name="T75" fmla="*/ 651 h 3628"/>
                  <a:gd name="T76" fmla="*/ 357 w 1366"/>
                  <a:gd name="T77" fmla="*/ 773 h 3628"/>
                  <a:gd name="T78" fmla="*/ 284 w 1366"/>
                  <a:gd name="T79" fmla="*/ 905 h 3628"/>
                  <a:gd name="T80" fmla="*/ 221 w 1366"/>
                  <a:gd name="T81" fmla="*/ 1045 h 3628"/>
                  <a:gd name="T82" fmla="*/ 172 w 1366"/>
                  <a:gd name="T83" fmla="*/ 1192 h 3628"/>
                  <a:gd name="T84" fmla="*/ 136 w 1366"/>
                  <a:gd name="T85" fmla="*/ 1346 h 3628"/>
                  <a:gd name="T86" fmla="*/ 112 w 1366"/>
                  <a:gd name="T87" fmla="*/ 1506 h 3628"/>
                  <a:gd name="T88" fmla="*/ 105 w 1366"/>
                  <a:gd name="T89" fmla="*/ 1670 h 3628"/>
                  <a:gd name="T90" fmla="*/ 121 w 1366"/>
                  <a:gd name="T91" fmla="*/ 1796 h 3628"/>
                  <a:gd name="T92" fmla="*/ 142 w 1366"/>
                  <a:gd name="T93" fmla="*/ 1878 h 3628"/>
                  <a:gd name="T94" fmla="*/ 158 w 1366"/>
                  <a:gd name="T95" fmla="*/ 1920 h 3628"/>
                  <a:gd name="T96" fmla="*/ 144 w 1366"/>
                  <a:gd name="T97" fmla="*/ 1942 h 3628"/>
                  <a:gd name="T98" fmla="*/ 83 w 1366"/>
                  <a:gd name="T99" fmla="*/ 2020 h 3628"/>
                  <a:gd name="T100" fmla="*/ 50 w 1366"/>
                  <a:gd name="T101" fmla="*/ 2088 h 3628"/>
                  <a:gd name="T102" fmla="*/ 32 w 1366"/>
                  <a:gd name="T103" fmla="*/ 2155 h 3628"/>
                  <a:gd name="T104" fmla="*/ 27 w 1366"/>
                  <a:gd name="T105" fmla="*/ 2233 h 3628"/>
                  <a:gd name="T106" fmla="*/ 38 w 1366"/>
                  <a:gd name="T107" fmla="*/ 2323 h 3628"/>
                  <a:gd name="T108" fmla="*/ 96 w 1366"/>
                  <a:gd name="T109" fmla="*/ 2492 h 3628"/>
                  <a:gd name="T110" fmla="*/ 194 w 1366"/>
                  <a:gd name="T111" fmla="*/ 2693 h 3628"/>
                  <a:gd name="T112" fmla="*/ 281 w 1366"/>
                  <a:gd name="T113" fmla="*/ 2830 h 3628"/>
                  <a:gd name="T114" fmla="*/ 368 w 1366"/>
                  <a:gd name="T115" fmla="*/ 2947 h 3628"/>
                  <a:gd name="T116" fmla="*/ 463 w 1366"/>
                  <a:gd name="T117" fmla="*/ 3061 h 3628"/>
                  <a:gd name="T118" fmla="*/ 652 w 1366"/>
                  <a:gd name="T119" fmla="*/ 3252 h 3628"/>
                  <a:gd name="T120" fmla="*/ 899 w 1366"/>
                  <a:gd name="T121" fmla="*/ 3457 h 3628"/>
                  <a:gd name="T122" fmla="*/ 1112 w 1366"/>
                  <a:gd name="T123" fmla="*/ 3608 h 3628"/>
                  <a:gd name="T124" fmla="*/ 1110 w 1366"/>
                  <a:gd name="T125" fmla="*/ 3625 h 3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6" h="3628">
                    <a:moveTo>
                      <a:pt x="1101" y="3628"/>
                    </a:moveTo>
                    <a:lnTo>
                      <a:pt x="1097" y="3628"/>
                    </a:lnTo>
                    <a:lnTo>
                      <a:pt x="1093" y="3626"/>
                    </a:lnTo>
                    <a:lnTo>
                      <a:pt x="1021" y="3578"/>
                    </a:lnTo>
                    <a:lnTo>
                      <a:pt x="951" y="3529"/>
                    </a:lnTo>
                    <a:lnTo>
                      <a:pt x="883" y="3479"/>
                    </a:lnTo>
                    <a:lnTo>
                      <a:pt x="817" y="3428"/>
                    </a:lnTo>
                    <a:lnTo>
                      <a:pt x="753" y="3378"/>
                    </a:lnTo>
                    <a:lnTo>
                      <a:pt x="692" y="3325"/>
                    </a:lnTo>
                    <a:lnTo>
                      <a:pt x="632" y="3272"/>
                    </a:lnTo>
                    <a:lnTo>
                      <a:pt x="575" y="3218"/>
                    </a:lnTo>
                    <a:lnTo>
                      <a:pt x="548" y="3190"/>
                    </a:lnTo>
                    <a:lnTo>
                      <a:pt x="520" y="3163"/>
                    </a:lnTo>
                    <a:lnTo>
                      <a:pt x="494" y="3135"/>
                    </a:lnTo>
                    <a:lnTo>
                      <a:pt x="468" y="3107"/>
                    </a:lnTo>
                    <a:lnTo>
                      <a:pt x="442" y="3079"/>
                    </a:lnTo>
                    <a:lnTo>
                      <a:pt x="418" y="3051"/>
                    </a:lnTo>
                    <a:lnTo>
                      <a:pt x="394" y="3021"/>
                    </a:lnTo>
                    <a:lnTo>
                      <a:pt x="370" y="2992"/>
                    </a:lnTo>
                    <a:lnTo>
                      <a:pt x="346" y="2964"/>
                    </a:lnTo>
                    <a:lnTo>
                      <a:pt x="324" y="2935"/>
                    </a:lnTo>
                    <a:lnTo>
                      <a:pt x="302" y="2905"/>
                    </a:lnTo>
                    <a:lnTo>
                      <a:pt x="280" y="2876"/>
                    </a:lnTo>
                    <a:lnTo>
                      <a:pt x="259" y="2845"/>
                    </a:lnTo>
                    <a:lnTo>
                      <a:pt x="239" y="2816"/>
                    </a:lnTo>
                    <a:lnTo>
                      <a:pt x="219" y="2786"/>
                    </a:lnTo>
                    <a:lnTo>
                      <a:pt x="200" y="2756"/>
                    </a:lnTo>
                    <a:lnTo>
                      <a:pt x="171" y="2707"/>
                    </a:lnTo>
                    <a:lnTo>
                      <a:pt x="143" y="2657"/>
                    </a:lnTo>
                    <a:lnTo>
                      <a:pt x="117" y="2606"/>
                    </a:lnTo>
                    <a:lnTo>
                      <a:pt x="92" y="2554"/>
                    </a:lnTo>
                    <a:lnTo>
                      <a:pt x="71" y="2503"/>
                    </a:lnTo>
                    <a:lnTo>
                      <a:pt x="50" y="2451"/>
                    </a:lnTo>
                    <a:lnTo>
                      <a:pt x="33" y="2402"/>
                    </a:lnTo>
                    <a:lnTo>
                      <a:pt x="18" y="2354"/>
                    </a:lnTo>
                    <a:lnTo>
                      <a:pt x="13" y="2332"/>
                    </a:lnTo>
                    <a:lnTo>
                      <a:pt x="8" y="2310"/>
                    </a:lnTo>
                    <a:lnTo>
                      <a:pt x="5" y="2288"/>
                    </a:lnTo>
                    <a:lnTo>
                      <a:pt x="2" y="2267"/>
                    </a:lnTo>
                    <a:lnTo>
                      <a:pt x="1" y="2246"/>
                    </a:lnTo>
                    <a:lnTo>
                      <a:pt x="0" y="2227"/>
                    </a:lnTo>
                    <a:lnTo>
                      <a:pt x="1" y="2207"/>
                    </a:lnTo>
                    <a:lnTo>
                      <a:pt x="2" y="2188"/>
                    </a:lnTo>
                    <a:lnTo>
                      <a:pt x="4" y="2170"/>
                    </a:lnTo>
                    <a:lnTo>
                      <a:pt x="6" y="2152"/>
                    </a:lnTo>
                    <a:lnTo>
                      <a:pt x="9" y="2135"/>
                    </a:lnTo>
                    <a:lnTo>
                      <a:pt x="14" y="2118"/>
                    </a:lnTo>
                    <a:lnTo>
                      <a:pt x="18" y="2103"/>
                    </a:lnTo>
                    <a:lnTo>
                      <a:pt x="23" y="2087"/>
                    </a:lnTo>
                    <a:lnTo>
                      <a:pt x="29" y="2073"/>
                    </a:lnTo>
                    <a:lnTo>
                      <a:pt x="34" y="2058"/>
                    </a:lnTo>
                    <a:lnTo>
                      <a:pt x="47" y="2031"/>
                    </a:lnTo>
                    <a:lnTo>
                      <a:pt x="60" y="2008"/>
                    </a:lnTo>
                    <a:lnTo>
                      <a:pt x="73" y="1986"/>
                    </a:lnTo>
                    <a:lnTo>
                      <a:pt x="87" y="1968"/>
                    </a:lnTo>
                    <a:lnTo>
                      <a:pt x="99" y="1952"/>
                    </a:lnTo>
                    <a:lnTo>
                      <a:pt x="111" y="1939"/>
                    </a:lnTo>
                    <a:lnTo>
                      <a:pt x="121" y="1928"/>
                    </a:lnTo>
                    <a:lnTo>
                      <a:pt x="129" y="1919"/>
                    </a:lnTo>
                    <a:lnTo>
                      <a:pt x="122" y="1902"/>
                    </a:lnTo>
                    <a:lnTo>
                      <a:pt x="112" y="1876"/>
                    </a:lnTo>
                    <a:lnTo>
                      <a:pt x="108" y="1860"/>
                    </a:lnTo>
                    <a:lnTo>
                      <a:pt x="102" y="1843"/>
                    </a:lnTo>
                    <a:lnTo>
                      <a:pt x="98" y="1822"/>
                    </a:lnTo>
                    <a:lnTo>
                      <a:pt x="92" y="1799"/>
                    </a:lnTo>
                    <a:lnTo>
                      <a:pt x="88" y="1775"/>
                    </a:lnTo>
                    <a:lnTo>
                      <a:pt x="85" y="1748"/>
                    </a:lnTo>
                    <a:lnTo>
                      <a:pt x="82" y="1720"/>
                    </a:lnTo>
                    <a:lnTo>
                      <a:pt x="80" y="1688"/>
                    </a:lnTo>
                    <a:lnTo>
                      <a:pt x="78" y="1656"/>
                    </a:lnTo>
                    <a:lnTo>
                      <a:pt x="78" y="1620"/>
                    </a:lnTo>
                    <a:lnTo>
                      <a:pt x="80" y="1584"/>
                    </a:lnTo>
                    <a:lnTo>
                      <a:pt x="82" y="1544"/>
                    </a:lnTo>
                    <a:lnTo>
                      <a:pt x="85" y="1503"/>
                    </a:lnTo>
                    <a:lnTo>
                      <a:pt x="90" y="1462"/>
                    </a:lnTo>
                    <a:lnTo>
                      <a:pt x="96" y="1421"/>
                    </a:lnTo>
                    <a:lnTo>
                      <a:pt x="102" y="1381"/>
                    </a:lnTo>
                    <a:lnTo>
                      <a:pt x="109" y="1341"/>
                    </a:lnTo>
                    <a:lnTo>
                      <a:pt x="117" y="1301"/>
                    </a:lnTo>
                    <a:lnTo>
                      <a:pt x="126" y="1262"/>
                    </a:lnTo>
                    <a:lnTo>
                      <a:pt x="136" y="1223"/>
                    </a:lnTo>
                    <a:lnTo>
                      <a:pt x="146" y="1184"/>
                    </a:lnTo>
                    <a:lnTo>
                      <a:pt x="157" y="1146"/>
                    </a:lnTo>
                    <a:lnTo>
                      <a:pt x="169" y="1109"/>
                    </a:lnTo>
                    <a:lnTo>
                      <a:pt x="182" y="1072"/>
                    </a:lnTo>
                    <a:lnTo>
                      <a:pt x="196" y="1035"/>
                    </a:lnTo>
                    <a:lnTo>
                      <a:pt x="211" y="998"/>
                    </a:lnTo>
                    <a:lnTo>
                      <a:pt x="226" y="963"/>
                    </a:lnTo>
                    <a:lnTo>
                      <a:pt x="243" y="927"/>
                    </a:lnTo>
                    <a:lnTo>
                      <a:pt x="259" y="893"/>
                    </a:lnTo>
                    <a:lnTo>
                      <a:pt x="277" y="858"/>
                    </a:lnTo>
                    <a:lnTo>
                      <a:pt x="295" y="825"/>
                    </a:lnTo>
                    <a:lnTo>
                      <a:pt x="314" y="791"/>
                    </a:lnTo>
                    <a:lnTo>
                      <a:pt x="334" y="759"/>
                    </a:lnTo>
                    <a:lnTo>
                      <a:pt x="355" y="726"/>
                    </a:lnTo>
                    <a:lnTo>
                      <a:pt x="376" y="695"/>
                    </a:lnTo>
                    <a:lnTo>
                      <a:pt x="398" y="664"/>
                    </a:lnTo>
                    <a:lnTo>
                      <a:pt x="421" y="634"/>
                    </a:lnTo>
                    <a:lnTo>
                      <a:pt x="445" y="603"/>
                    </a:lnTo>
                    <a:lnTo>
                      <a:pt x="469" y="575"/>
                    </a:lnTo>
                    <a:lnTo>
                      <a:pt x="494" y="546"/>
                    </a:lnTo>
                    <a:lnTo>
                      <a:pt x="520" y="519"/>
                    </a:lnTo>
                    <a:lnTo>
                      <a:pt x="546" y="491"/>
                    </a:lnTo>
                    <a:lnTo>
                      <a:pt x="573" y="465"/>
                    </a:lnTo>
                    <a:lnTo>
                      <a:pt x="601" y="439"/>
                    </a:lnTo>
                    <a:lnTo>
                      <a:pt x="644" y="401"/>
                    </a:lnTo>
                    <a:lnTo>
                      <a:pt x="689" y="365"/>
                    </a:lnTo>
                    <a:lnTo>
                      <a:pt x="733" y="329"/>
                    </a:lnTo>
                    <a:lnTo>
                      <a:pt x="777" y="295"/>
                    </a:lnTo>
                    <a:lnTo>
                      <a:pt x="822" y="262"/>
                    </a:lnTo>
                    <a:lnTo>
                      <a:pt x="869" y="231"/>
                    </a:lnTo>
                    <a:lnTo>
                      <a:pt x="914" y="202"/>
                    </a:lnTo>
                    <a:lnTo>
                      <a:pt x="962" y="174"/>
                    </a:lnTo>
                    <a:lnTo>
                      <a:pt x="1008" y="147"/>
                    </a:lnTo>
                    <a:lnTo>
                      <a:pt x="1056" y="121"/>
                    </a:lnTo>
                    <a:lnTo>
                      <a:pt x="1103" y="97"/>
                    </a:lnTo>
                    <a:lnTo>
                      <a:pt x="1152" y="75"/>
                    </a:lnTo>
                    <a:lnTo>
                      <a:pt x="1200" y="54"/>
                    </a:lnTo>
                    <a:lnTo>
                      <a:pt x="1249" y="34"/>
                    </a:lnTo>
                    <a:lnTo>
                      <a:pt x="1299" y="17"/>
                    </a:lnTo>
                    <a:lnTo>
                      <a:pt x="1348" y="1"/>
                    </a:lnTo>
                    <a:lnTo>
                      <a:pt x="1354" y="0"/>
                    </a:lnTo>
                    <a:lnTo>
                      <a:pt x="1358" y="2"/>
                    </a:lnTo>
                    <a:lnTo>
                      <a:pt x="1362" y="5"/>
                    </a:lnTo>
                    <a:lnTo>
                      <a:pt x="1366" y="10"/>
                    </a:lnTo>
                    <a:lnTo>
                      <a:pt x="1366" y="15"/>
                    </a:lnTo>
                    <a:lnTo>
                      <a:pt x="1365" y="19"/>
                    </a:lnTo>
                    <a:lnTo>
                      <a:pt x="1361" y="24"/>
                    </a:lnTo>
                    <a:lnTo>
                      <a:pt x="1356" y="27"/>
                    </a:lnTo>
                    <a:lnTo>
                      <a:pt x="1307" y="43"/>
                    </a:lnTo>
                    <a:lnTo>
                      <a:pt x="1259" y="60"/>
                    </a:lnTo>
                    <a:lnTo>
                      <a:pt x="1210" y="79"/>
                    </a:lnTo>
                    <a:lnTo>
                      <a:pt x="1163" y="100"/>
                    </a:lnTo>
                    <a:lnTo>
                      <a:pt x="1115" y="122"/>
                    </a:lnTo>
                    <a:lnTo>
                      <a:pt x="1068" y="146"/>
                    </a:lnTo>
                    <a:lnTo>
                      <a:pt x="1021" y="170"/>
                    </a:lnTo>
                    <a:lnTo>
                      <a:pt x="975" y="196"/>
                    </a:lnTo>
                    <a:lnTo>
                      <a:pt x="928" y="224"/>
                    </a:lnTo>
                    <a:lnTo>
                      <a:pt x="883" y="254"/>
                    </a:lnTo>
                    <a:lnTo>
                      <a:pt x="838" y="285"/>
                    </a:lnTo>
                    <a:lnTo>
                      <a:pt x="793" y="317"/>
                    </a:lnTo>
                    <a:lnTo>
                      <a:pt x="749" y="351"/>
                    </a:lnTo>
                    <a:lnTo>
                      <a:pt x="705" y="385"/>
                    </a:lnTo>
                    <a:lnTo>
                      <a:pt x="662" y="422"/>
                    </a:lnTo>
                    <a:lnTo>
                      <a:pt x="618" y="460"/>
                    </a:lnTo>
                    <a:lnTo>
                      <a:pt x="591" y="485"/>
                    </a:lnTo>
                    <a:lnTo>
                      <a:pt x="565" y="511"/>
                    </a:lnTo>
                    <a:lnTo>
                      <a:pt x="540" y="537"/>
                    </a:lnTo>
                    <a:lnTo>
                      <a:pt x="514" y="564"/>
                    </a:lnTo>
                    <a:lnTo>
                      <a:pt x="489" y="593"/>
                    </a:lnTo>
                    <a:lnTo>
                      <a:pt x="465" y="621"/>
                    </a:lnTo>
                    <a:lnTo>
                      <a:pt x="442" y="651"/>
                    </a:lnTo>
                    <a:lnTo>
                      <a:pt x="420" y="680"/>
                    </a:lnTo>
                    <a:lnTo>
                      <a:pt x="398" y="710"/>
                    </a:lnTo>
                    <a:lnTo>
                      <a:pt x="378" y="742"/>
                    </a:lnTo>
                    <a:lnTo>
                      <a:pt x="357" y="773"/>
                    </a:lnTo>
                    <a:lnTo>
                      <a:pt x="338" y="805"/>
                    </a:lnTo>
                    <a:lnTo>
                      <a:pt x="318" y="838"/>
                    </a:lnTo>
                    <a:lnTo>
                      <a:pt x="301" y="871"/>
                    </a:lnTo>
                    <a:lnTo>
                      <a:pt x="284" y="905"/>
                    </a:lnTo>
                    <a:lnTo>
                      <a:pt x="266" y="939"/>
                    </a:lnTo>
                    <a:lnTo>
                      <a:pt x="251" y="974"/>
                    </a:lnTo>
                    <a:lnTo>
                      <a:pt x="236" y="1009"/>
                    </a:lnTo>
                    <a:lnTo>
                      <a:pt x="221" y="1045"/>
                    </a:lnTo>
                    <a:lnTo>
                      <a:pt x="208" y="1082"/>
                    </a:lnTo>
                    <a:lnTo>
                      <a:pt x="195" y="1117"/>
                    </a:lnTo>
                    <a:lnTo>
                      <a:pt x="183" y="1155"/>
                    </a:lnTo>
                    <a:lnTo>
                      <a:pt x="172" y="1192"/>
                    </a:lnTo>
                    <a:lnTo>
                      <a:pt x="162" y="1231"/>
                    </a:lnTo>
                    <a:lnTo>
                      <a:pt x="152" y="1268"/>
                    </a:lnTo>
                    <a:lnTo>
                      <a:pt x="143" y="1307"/>
                    </a:lnTo>
                    <a:lnTo>
                      <a:pt x="136" y="1346"/>
                    </a:lnTo>
                    <a:lnTo>
                      <a:pt x="128" y="1385"/>
                    </a:lnTo>
                    <a:lnTo>
                      <a:pt x="123" y="1425"/>
                    </a:lnTo>
                    <a:lnTo>
                      <a:pt x="117" y="1465"/>
                    </a:lnTo>
                    <a:lnTo>
                      <a:pt x="112" y="1506"/>
                    </a:lnTo>
                    <a:lnTo>
                      <a:pt x="109" y="1546"/>
                    </a:lnTo>
                    <a:lnTo>
                      <a:pt x="105" y="1590"/>
                    </a:lnTo>
                    <a:lnTo>
                      <a:pt x="105" y="1631"/>
                    </a:lnTo>
                    <a:lnTo>
                      <a:pt x="105" y="1670"/>
                    </a:lnTo>
                    <a:lnTo>
                      <a:pt x="108" y="1705"/>
                    </a:lnTo>
                    <a:lnTo>
                      <a:pt x="111" y="1739"/>
                    </a:lnTo>
                    <a:lnTo>
                      <a:pt x="115" y="1769"/>
                    </a:lnTo>
                    <a:lnTo>
                      <a:pt x="121" y="1796"/>
                    </a:lnTo>
                    <a:lnTo>
                      <a:pt x="126" y="1821"/>
                    </a:lnTo>
                    <a:lnTo>
                      <a:pt x="131" y="1844"/>
                    </a:lnTo>
                    <a:lnTo>
                      <a:pt x="137" y="1862"/>
                    </a:lnTo>
                    <a:lnTo>
                      <a:pt x="142" y="1878"/>
                    </a:lnTo>
                    <a:lnTo>
                      <a:pt x="146" y="1892"/>
                    </a:lnTo>
                    <a:lnTo>
                      <a:pt x="154" y="1910"/>
                    </a:lnTo>
                    <a:lnTo>
                      <a:pt x="157" y="1916"/>
                    </a:lnTo>
                    <a:lnTo>
                      <a:pt x="158" y="1920"/>
                    </a:lnTo>
                    <a:lnTo>
                      <a:pt x="158" y="1926"/>
                    </a:lnTo>
                    <a:lnTo>
                      <a:pt x="157" y="1930"/>
                    </a:lnTo>
                    <a:lnTo>
                      <a:pt x="154" y="1933"/>
                    </a:lnTo>
                    <a:lnTo>
                      <a:pt x="144" y="1942"/>
                    </a:lnTo>
                    <a:lnTo>
                      <a:pt x="124" y="1963"/>
                    </a:lnTo>
                    <a:lnTo>
                      <a:pt x="111" y="1980"/>
                    </a:lnTo>
                    <a:lnTo>
                      <a:pt x="97" y="1998"/>
                    </a:lnTo>
                    <a:lnTo>
                      <a:pt x="83" y="2020"/>
                    </a:lnTo>
                    <a:lnTo>
                      <a:pt x="69" y="2044"/>
                    </a:lnTo>
                    <a:lnTo>
                      <a:pt x="62" y="2058"/>
                    </a:lnTo>
                    <a:lnTo>
                      <a:pt x="57" y="2073"/>
                    </a:lnTo>
                    <a:lnTo>
                      <a:pt x="50" y="2088"/>
                    </a:lnTo>
                    <a:lnTo>
                      <a:pt x="45" y="2104"/>
                    </a:lnTo>
                    <a:lnTo>
                      <a:pt x="41" y="2120"/>
                    </a:lnTo>
                    <a:lnTo>
                      <a:pt x="36" y="2137"/>
                    </a:lnTo>
                    <a:lnTo>
                      <a:pt x="32" y="2155"/>
                    </a:lnTo>
                    <a:lnTo>
                      <a:pt x="30" y="2174"/>
                    </a:lnTo>
                    <a:lnTo>
                      <a:pt x="28" y="2192"/>
                    </a:lnTo>
                    <a:lnTo>
                      <a:pt x="27" y="2213"/>
                    </a:lnTo>
                    <a:lnTo>
                      <a:pt x="27" y="2233"/>
                    </a:lnTo>
                    <a:lnTo>
                      <a:pt x="28" y="2255"/>
                    </a:lnTo>
                    <a:lnTo>
                      <a:pt x="30" y="2277"/>
                    </a:lnTo>
                    <a:lnTo>
                      <a:pt x="33" y="2299"/>
                    </a:lnTo>
                    <a:lnTo>
                      <a:pt x="38" y="2323"/>
                    </a:lnTo>
                    <a:lnTo>
                      <a:pt x="45" y="2347"/>
                    </a:lnTo>
                    <a:lnTo>
                      <a:pt x="59" y="2394"/>
                    </a:lnTo>
                    <a:lnTo>
                      <a:pt x="76" y="2443"/>
                    </a:lnTo>
                    <a:lnTo>
                      <a:pt x="96" y="2492"/>
                    </a:lnTo>
                    <a:lnTo>
                      <a:pt x="117" y="2543"/>
                    </a:lnTo>
                    <a:lnTo>
                      <a:pt x="141" y="2594"/>
                    </a:lnTo>
                    <a:lnTo>
                      <a:pt x="167" y="2645"/>
                    </a:lnTo>
                    <a:lnTo>
                      <a:pt x="194" y="2693"/>
                    </a:lnTo>
                    <a:lnTo>
                      <a:pt x="223" y="2742"/>
                    </a:lnTo>
                    <a:lnTo>
                      <a:pt x="241" y="2771"/>
                    </a:lnTo>
                    <a:lnTo>
                      <a:pt x="261" y="2801"/>
                    </a:lnTo>
                    <a:lnTo>
                      <a:pt x="281" y="2830"/>
                    </a:lnTo>
                    <a:lnTo>
                      <a:pt x="302" y="2861"/>
                    </a:lnTo>
                    <a:lnTo>
                      <a:pt x="324" y="2890"/>
                    </a:lnTo>
                    <a:lnTo>
                      <a:pt x="345" y="2919"/>
                    </a:lnTo>
                    <a:lnTo>
                      <a:pt x="368" y="2947"/>
                    </a:lnTo>
                    <a:lnTo>
                      <a:pt x="391" y="2976"/>
                    </a:lnTo>
                    <a:lnTo>
                      <a:pt x="414" y="3004"/>
                    </a:lnTo>
                    <a:lnTo>
                      <a:pt x="438" y="3033"/>
                    </a:lnTo>
                    <a:lnTo>
                      <a:pt x="463" y="3061"/>
                    </a:lnTo>
                    <a:lnTo>
                      <a:pt x="489" y="3088"/>
                    </a:lnTo>
                    <a:lnTo>
                      <a:pt x="541" y="3144"/>
                    </a:lnTo>
                    <a:lnTo>
                      <a:pt x="595" y="3198"/>
                    </a:lnTo>
                    <a:lnTo>
                      <a:pt x="652" y="3252"/>
                    </a:lnTo>
                    <a:lnTo>
                      <a:pt x="710" y="3305"/>
                    </a:lnTo>
                    <a:lnTo>
                      <a:pt x="771" y="3357"/>
                    </a:lnTo>
                    <a:lnTo>
                      <a:pt x="834" y="3408"/>
                    </a:lnTo>
                    <a:lnTo>
                      <a:pt x="899" y="3457"/>
                    </a:lnTo>
                    <a:lnTo>
                      <a:pt x="967" y="3507"/>
                    </a:lnTo>
                    <a:lnTo>
                      <a:pt x="1036" y="3556"/>
                    </a:lnTo>
                    <a:lnTo>
                      <a:pt x="1108" y="3603"/>
                    </a:lnTo>
                    <a:lnTo>
                      <a:pt x="1112" y="3608"/>
                    </a:lnTo>
                    <a:lnTo>
                      <a:pt x="1114" y="3612"/>
                    </a:lnTo>
                    <a:lnTo>
                      <a:pt x="1114" y="3617"/>
                    </a:lnTo>
                    <a:lnTo>
                      <a:pt x="1112" y="3622"/>
                    </a:lnTo>
                    <a:lnTo>
                      <a:pt x="1110" y="3625"/>
                    </a:lnTo>
                    <a:lnTo>
                      <a:pt x="1108" y="3627"/>
                    </a:lnTo>
                    <a:lnTo>
                      <a:pt x="1104" y="3628"/>
                    </a:lnTo>
                    <a:lnTo>
                      <a:pt x="1101" y="36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61"/>
              <p:cNvSpPr>
                <a:spLocks/>
              </p:cNvSpPr>
              <p:nvPr userDrawn="1"/>
            </p:nvSpPr>
            <p:spPr bwMode="auto">
              <a:xfrm>
                <a:off x="1475" y="1468"/>
                <a:ext cx="373" cy="1146"/>
              </a:xfrm>
              <a:custGeom>
                <a:avLst/>
                <a:gdLst>
                  <a:gd name="T0" fmla="*/ 860 w 1120"/>
                  <a:gd name="T1" fmla="*/ 3397 h 3439"/>
                  <a:gd name="T2" fmla="*/ 659 w 1120"/>
                  <a:gd name="T3" fmla="*/ 3227 h 3439"/>
                  <a:gd name="T4" fmla="*/ 475 w 1120"/>
                  <a:gd name="T5" fmla="*/ 3039 h 3439"/>
                  <a:gd name="T6" fmla="*/ 310 w 1120"/>
                  <a:gd name="T7" fmla="*/ 2835 h 3439"/>
                  <a:gd name="T8" fmla="*/ 171 w 1120"/>
                  <a:gd name="T9" fmla="*/ 2621 h 3439"/>
                  <a:gd name="T10" fmla="*/ 70 w 1120"/>
                  <a:gd name="T11" fmla="*/ 2417 h 3439"/>
                  <a:gd name="T12" fmla="*/ 12 w 1120"/>
                  <a:gd name="T13" fmla="*/ 2246 h 3439"/>
                  <a:gd name="T14" fmla="*/ 0 w 1120"/>
                  <a:gd name="T15" fmla="*/ 2160 h 3439"/>
                  <a:gd name="T16" fmla="*/ 3 w 1120"/>
                  <a:gd name="T17" fmla="*/ 2083 h 3439"/>
                  <a:gd name="T18" fmla="*/ 17 w 1120"/>
                  <a:gd name="T19" fmla="*/ 2016 h 3439"/>
                  <a:gd name="T20" fmla="*/ 46 w 1120"/>
                  <a:gd name="T21" fmla="*/ 1946 h 3439"/>
                  <a:gd name="T22" fmla="*/ 99 w 1120"/>
                  <a:gd name="T23" fmla="*/ 1865 h 3439"/>
                  <a:gd name="T24" fmla="*/ 121 w 1120"/>
                  <a:gd name="T25" fmla="*/ 1817 h 3439"/>
                  <a:gd name="T26" fmla="*/ 97 w 1120"/>
                  <a:gd name="T27" fmla="*/ 1736 h 3439"/>
                  <a:gd name="T28" fmla="*/ 81 w 1120"/>
                  <a:gd name="T29" fmla="*/ 1633 h 3439"/>
                  <a:gd name="T30" fmla="*/ 79 w 1120"/>
                  <a:gd name="T31" fmla="*/ 1497 h 3439"/>
                  <a:gd name="T32" fmla="*/ 95 w 1120"/>
                  <a:gd name="T33" fmla="*/ 1335 h 3439"/>
                  <a:gd name="T34" fmla="*/ 125 w 1120"/>
                  <a:gd name="T35" fmla="*/ 1176 h 3439"/>
                  <a:gd name="T36" fmla="*/ 170 w 1120"/>
                  <a:gd name="T37" fmla="*/ 1022 h 3439"/>
                  <a:gd name="T38" fmla="*/ 226 w 1120"/>
                  <a:gd name="T39" fmla="*/ 877 h 3439"/>
                  <a:gd name="T40" fmla="*/ 295 w 1120"/>
                  <a:gd name="T41" fmla="*/ 738 h 3439"/>
                  <a:gd name="T42" fmla="*/ 376 w 1120"/>
                  <a:gd name="T43" fmla="*/ 609 h 3439"/>
                  <a:gd name="T44" fmla="*/ 469 w 1120"/>
                  <a:gd name="T45" fmla="*/ 489 h 3439"/>
                  <a:gd name="T46" fmla="*/ 572 w 1120"/>
                  <a:gd name="T47" fmla="*/ 379 h 3439"/>
                  <a:gd name="T48" fmla="*/ 693 w 1120"/>
                  <a:gd name="T49" fmla="*/ 273 h 3439"/>
                  <a:gd name="T50" fmla="*/ 818 w 1120"/>
                  <a:gd name="T51" fmla="*/ 175 h 3439"/>
                  <a:gd name="T52" fmla="*/ 944 w 1120"/>
                  <a:gd name="T53" fmla="*/ 90 h 3439"/>
                  <a:gd name="T54" fmla="*/ 1069 w 1120"/>
                  <a:gd name="T55" fmla="*/ 17 h 3439"/>
                  <a:gd name="T56" fmla="*/ 1114 w 1120"/>
                  <a:gd name="T57" fmla="*/ 3 h 3439"/>
                  <a:gd name="T58" fmla="*/ 1117 w 1120"/>
                  <a:gd name="T59" fmla="*/ 23 h 3439"/>
                  <a:gd name="T60" fmla="*/ 1019 w 1120"/>
                  <a:gd name="T61" fmla="*/ 76 h 3439"/>
                  <a:gd name="T62" fmla="*/ 896 w 1120"/>
                  <a:gd name="T63" fmla="*/ 153 h 3439"/>
                  <a:gd name="T64" fmla="*/ 773 w 1120"/>
                  <a:gd name="T65" fmla="*/ 244 h 3439"/>
                  <a:gd name="T66" fmla="*/ 649 w 1120"/>
                  <a:gd name="T67" fmla="*/ 346 h 3439"/>
                  <a:gd name="T68" fmla="*/ 539 w 1120"/>
                  <a:gd name="T69" fmla="*/ 451 h 3439"/>
                  <a:gd name="T70" fmla="*/ 442 w 1120"/>
                  <a:gd name="T71" fmla="*/ 565 h 3439"/>
                  <a:gd name="T72" fmla="*/ 356 w 1120"/>
                  <a:gd name="T73" fmla="*/ 688 h 3439"/>
                  <a:gd name="T74" fmla="*/ 283 w 1120"/>
                  <a:gd name="T75" fmla="*/ 819 h 3439"/>
                  <a:gd name="T76" fmla="*/ 220 w 1120"/>
                  <a:gd name="T77" fmla="*/ 959 h 3439"/>
                  <a:gd name="T78" fmla="*/ 172 w 1120"/>
                  <a:gd name="T79" fmla="*/ 1106 h 3439"/>
                  <a:gd name="T80" fmla="*/ 135 w 1120"/>
                  <a:gd name="T81" fmla="*/ 1260 h 3439"/>
                  <a:gd name="T82" fmla="*/ 111 w 1120"/>
                  <a:gd name="T83" fmla="*/ 1419 h 3439"/>
                  <a:gd name="T84" fmla="*/ 106 w 1120"/>
                  <a:gd name="T85" fmla="*/ 1584 h 3439"/>
                  <a:gd name="T86" fmla="*/ 120 w 1120"/>
                  <a:gd name="T87" fmla="*/ 1711 h 3439"/>
                  <a:gd name="T88" fmla="*/ 141 w 1120"/>
                  <a:gd name="T89" fmla="*/ 1793 h 3439"/>
                  <a:gd name="T90" fmla="*/ 159 w 1120"/>
                  <a:gd name="T91" fmla="*/ 1835 h 3439"/>
                  <a:gd name="T92" fmla="*/ 144 w 1120"/>
                  <a:gd name="T93" fmla="*/ 1857 h 3439"/>
                  <a:gd name="T94" fmla="*/ 82 w 1120"/>
                  <a:gd name="T95" fmla="*/ 1934 h 3439"/>
                  <a:gd name="T96" fmla="*/ 50 w 1120"/>
                  <a:gd name="T97" fmla="*/ 2001 h 3439"/>
                  <a:gd name="T98" fmla="*/ 32 w 1120"/>
                  <a:gd name="T99" fmla="*/ 2069 h 3439"/>
                  <a:gd name="T100" fmla="*/ 26 w 1120"/>
                  <a:gd name="T101" fmla="*/ 2148 h 3439"/>
                  <a:gd name="T102" fmla="*/ 38 w 1120"/>
                  <a:gd name="T103" fmla="*/ 2238 h 3439"/>
                  <a:gd name="T104" fmla="*/ 95 w 1120"/>
                  <a:gd name="T105" fmla="*/ 2407 h 3439"/>
                  <a:gd name="T106" fmla="*/ 193 w 1120"/>
                  <a:gd name="T107" fmla="*/ 2608 h 3439"/>
                  <a:gd name="T108" fmla="*/ 331 w 1120"/>
                  <a:gd name="T109" fmla="*/ 2818 h 3439"/>
                  <a:gd name="T110" fmla="*/ 495 w 1120"/>
                  <a:gd name="T111" fmla="*/ 3021 h 3439"/>
                  <a:gd name="T112" fmla="*/ 677 w 1120"/>
                  <a:gd name="T113" fmla="*/ 3207 h 3439"/>
                  <a:gd name="T114" fmla="*/ 877 w 1120"/>
                  <a:gd name="T115" fmla="*/ 3376 h 3439"/>
                  <a:gd name="T116" fmla="*/ 934 w 1120"/>
                  <a:gd name="T117" fmla="*/ 3428 h 3439"/>
                  <a:gd name="T118" fmla="*/ 924 w 1120"/>
                  <a:gd name="T119" fmla="*/ 3438 h 3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0" h="3439">
                    <a:moveTo>
                      <a:pt x="921" y="3439"/>
                    </a:moveTo>
                    <a:lnTo>
                      <a:pt x="917" y="3438"/>
                    </a:lnTo>
                    <a:lnTo>
                      <a:pt x="914" y="3436"/>
                    </a:lnTo>
                    <a:lnTo>
                      <a:pt x="860" y="3397"/>
                    </a:lnTo>
                    <a:lnTo>
                      <a:pt x="808" y="3356"/>
                    </a:lnTo>
                    <a:lnTo>
                      <a:pt x="757" y="3314"/>
                    </a:lnTo>
                    <a:lnTo>
                      <a:pt x="707" y="3271"/>
                    </a:lnTo>
                    <a:lnTo>
                      <a:pt x="659" y="3227"/>
                    </a:lnTo>
                    <a:lnTo>
                      <a:pt x="611" y="3181"/>
                    </a:lnTo>
                    <a:lnTo>
                      <a:pt x="565" y="3135"/>
                    </a:lnTo>
                    <a:lnTo>
                      <a:pt x="519" y="3087"/>
                    </a:lnTo>
                    <a:lnTo>
                      <a:pt x="475" y="3039"/>
                    </a:lnTo>
                    <a:lnTo>
                      <a:pt x="432" y="2990"/>
                    </a:lnTo>
                    <a:lnTo>
                      <a:pt x="390" y="2939"/>
                    </a:lnTo>
                    <a:lnTo>
                      <a:pt x="350" y="2888"/>
                    </a:lnTo>
                    <a:lnTo>
                      <a:pt x="310" y="2835"/>
                    </a:lnTo>
                    <a:lnTo>
                      <a:pt x="272" y="2781"/>
                    </a:lnTo>
                    <a:lnTo>
                      <a:pt x="235" y="2726"/>
                    </a:lnTo>
                    <a:lnTo>
                      <a:pt x="200" y="2670"/>
                    </a:lnTo>
                    <a:lnTo>
                      <a:pt x="171" y="2621"/>
                    </a:lnTo>
                    <a:lnTo>
                      <a:pt x="143" y="2571"/>
                    </a:lnTo>
                    <a:lnTo>
                      <a:pt x="117" y="2519"/>
                    </a:lnTo>
                    <a:lnTo>
                      <a:pt x="92" y="2469"/>
                    </a:lnTo>
                    <a:lnTo>
                      <a:pt x="70" y="2417"/>
                    </a:lnTo>
                    <a:lnTo>
                      <a:pt x="50" y="2366"/>
                    </a:lnTo>
                    <a:lnTo>
                      <a:pt x="32" y="2317"/>
                    </a:lnTo>
                    <a:lnTo>
                      <a:pt x="18" y="2269"/>
                    </a:lnTo>
                    <a:lnTo>
                      <a:pt x="12" y="2246"/>
                    </a:lnTo>
                    <a:lnTo>
                      <a:pt x="8" y="2224"/>
                    </a:lnTo>
                    <a:lnTo>
                      <a:pt x="4" y="2202"/>
                    </a:lnTo>
                    <a:lnTo>
                      <a:pt x="1" y="2181"/>
                    </a:lnTo>
                    <a:lnTo>
                      <a:pt x="0" y="2160"/>
                    </a:lnTo>
                    <a:lnTo>
                      <a:pt x="0" y="2141"/>
                    </a:lnTo>
                    <a:lnTo>
                      <a:pt x="0" y="2121"/>
                    </a:lnTo>
                    <a:lnTo>
                      <a:pt x="1" y="2102"/>
                    </a:lnTo>
                    <a:lnTo>
                      <a:pt x="3" y="2083"/>
                    </a:lnTo>
                    <a:lnTo>
                      <a:pt x="5" y="2066"/>
                    </a:lnTo>
                    <a:lnTo>
                      <a:pt x="9" y="2049"/>
                    </a:lnTo>
                    <a:lnTo>
                      <a:pt x="13" y="2033"/>
                    </a:lnTo>
                    <a:lnTo>
                      <a:pt x="17" y="2016"/>
                    </a:lnTo>
                    <a:lnTo>
                      <a:pt x="23" y="2001"/>
                    </a:lnTo>
                    <a:lnTo>
                      <a:pt x="28" y="1986"/>
                    </a:lnTo>
                    <a:lnTo>
                      <a:pt x="33" y="1972"/>
                    </a:lnTo>
                    <a:lnTo>
                      <a:pt x="46" y="1946"/>
                    </a:lnTo>
                    <a:lnTo>
                      <a:pt x="59" y="1921"/>
                    </a:lnTo>
                    <a:lnTo>
                      <a:pt x="72" y="1901"/>
                    </a:lnTo>
                    <a:lnTo>
                      <a:pt x="86" y="1882"/>
                    </a:lnTo>
                    <a:lnTo>
                      <a:pt x="99" y="1865"/>
                    </a:lnTo>
                    <a:lnTo>
                      <a:pt x="110" y="1852"/>
                    </a:lnTo>
                    <a:lnTo>
                      <a:pt x="120" y="1842"/>
                    </a:lnTo>
                    <a:lnTo>
                      <a:pt x="128" y="1834"/>
                    </a:lnTo>
                    <a:lnTo>
                      <a:pt x="121" y="1817"/>
                    </a:lnTo>
                    <a:lnTo>
                      <a:pt x="112" y="1791"/>
                    </a:lnTo>
                    <a:lnTo>
                      <a:pt x="107" y="1775"/>
                    </a:lnTo>
                    <a:lnTo>
                      <a:pt x="101" y="1756"/>
                    </a:lnTo>
                    <a:lnTo>
                      <a:pt x="97" y="1736"/>
                    </a:lnTo>
                    <a:lnTo>
                      <a:pt x="92" y="1713"/>
                    </a:lnTo>
                    <a:lnTo>
                      <a:pt x="89" y="1688"/>
                    </a:lnTo>
                    <a:lnTo>
                      <a:pt x="84" y="1662"/>
                    </a:lnTo>
                    <a:lnTo>
                      <a:pt x="81" y="1633"/>
                    </a:lnTo>
                    <a:lnTo>
                      <a:pt x="79" y="1602"/>
                    </a:lnTo>
                    <a:lnTo>
                      <a:pt x="78" y="1570"/>
                    </a:lnTo>
                    <a:lnTo>
                      <a:pt x="78" y="1534"/>
                    </a:lnTo>
                    <a:lnTo>
                      <a:pt x="79" y="1497"/>
                    </a:lnTo>
                    <a:lnTo>
                      <a:pt x="81" y="1458"/>
                    </a:lnTo>
                    <a:lnTo>
                      <a:pt x="85" y="1416"/>
                    </a:lnTo>
                    <a:lnTo>
                      <a:pt x="90" y="1375"/>
                    </a:lnTo>
                    <a:lnTo>
                      <a:pt x="95" y="1335"/>
                    </a:lnTo>
                    <a:lnTo>
                      <a:pt x="101" y="1294"/>
                    </a:lnTo>
                    <a:lnTo>
                      <a:pt x="108" y="1254"/>
                    </a:lnTo>
                    <a:lnTo>
                      <a:pt x="117" y="1215"/>
                    </a:lnTo>
                    <a:lnTo>
                      <a:pt x="125" y="1176"/>
                    </a:lnTo>
                    <a:lnTo>
                      <a:pt x="135" y="1137"/>
                    </a:lnTo>
                    <a:lnTo>
                      <a:pt x="146" y="1099"/>
                    </a:lnTo>
                    <a:lnTo>
                      <a:pt x="157" y="1060"/>
                    </a:lnTo>
                    <a:lnTo>
                      <a:pt x="170" y="1022"/>
                    </a:lnTo>
                    <a:lnTo>
                      <a:pt x="182" y="986"/>
                    </a:lnTo>
                    <a:lnTo>
                      <a:pt x="195" y="949"/>
                    </a:lnTo>
                    <a:lnTo>
                      <a:pt x="211" y="912"/>
                    </a:lnTo>
                    <a:lnTo>
                      <a:pt x="226" y="877"/>
                    </a:lnTo>
                    <a:lnTo>
                      <a:pt x="242" y="841"/>
                    </a:lnTo>
                    <a:lnTo>
                      <a:pt x="258" y="806"/>
                    </a:lnTo>
                    <a:lnTo>
                      <a:pt x="276" y="772"/>
                    </a:lnTo>
                    <a:lnTo>
                      <a:pt x="295" y="738"/>
                    </a:lnTo>
                    <a:lnTo>
                      <a:pt x="314" y="705"/>
                    </a:lnTo>
                    <a:lnTo>
                      <a:pt x="334" y="672"/>
                    </a:lnTo>
                    <a:lnTo>
                      <a:pt x="354" y="640"/>
                    </a:lnTo>
                    <a:lnTo>
                      <a:pt x="376" y="609"/>
                    </a:lnTo>
                    <a:lnTo>
                      <a:pt x="397" y="577"/>
                    </a:lnTo>
                    <a:lnTo>
                      <a:pt x="420" y="547"/>
                    </a:lnTo>
                    <a:lnTo>
                      <a:pt x="444" y="518"/>
                    </a:lnTo>
                    <a:lnTo>
                      <a:pt x="469" y="489"/>
                    </a:lnTo>
                    <a:lnTo>
                      <a:pt x="493" y="461"/>
                    </a:lnTo>
                    <a:lnTo>
                      <a:pt x="519" y="433"/>
                    </a:lnTo>
                    <a:lnTo>
                      <a:pt x="545" y="406"/>
                    </a:lnTo>
                    <a:lnTo>
                      <a:pt x="572" y="379"/>
                    </a:lnTo>
                    <a:lnTo>
                      <a:pt x="600" y="354"/>
                    </a:lnTo>
                    <a:lnTo>
                      <a:pt x="632" y="326"/>
                    </a:lnTo>
                    <a:lnTo>
                      <a:pt x="662" y="299"/>
                    </a:lnTo>
                    <a:lnTo>
                      <a:pt x="693" y="273"/>
                    </a:lnTo>
                    <a:lnTo>
                      <a:pt x="725" y="247"/>
                    </a:lnTo>
                    <a:lnTo>
                      <a:pt x="756" y="222"/>
                    </a:lnTo>
                    <a:lnTo>
                      <a:pt x="787" y="199"/>
                    </a:lnTo>
                    <a:lnTo>
                      <a:pt x="818" y="175"/>
                    </a:lnTo>
                    <a:lnTo>
                      <a:pt x="850" y="152"/>
                    </a:lnTo>
                    <a:lnTo>
                      <a:pt x="881" y="131"/>
                    </a:lnTo>
                    <a:lnTo>
                      <a:pt x="912" y="110"/>
                    </a:lnTo>
                    <a:lnTo>
                      <a:pt x="944" y="90"/>
                    </a:lnTo>
                    <a:lnTo>
                      <a:pt x="975" y="71"/>
                    </a:lnTo>
                    <a:lnTo>
                      <a:pt x="1006" y="52"/>
                    </a:lnTo>
                    <a:lnTo>
                      <a:pt x="1038" y="35"/>
                    </a:lnTo>
                    <a:lnTo>
                      <a:pt x="1069" y="17"/>
                    </a:lnTo>
                    <a:lnTo>
                      <a:pt x="1100" y="1"/>
                    </a:lnTo>
                    <a:lnTo>
                      <a:pt x="1105" y="0"/>
                    </a:lnTo>
                    <a:lnTo>
                      <a:pt x="1110" y="1"/>
                    </a:lnTo>
                    <a:lnTo>
                      <a:pt x="1114" y="3"/>
                    </a:lnTo>
                    <a:lnTo>
                      <a:pt x="1118" y="8"/>
                    </a:lnTo>
                    <a:lnTo>
                      <a:pt x="1120" y="13"/>
                    </a:lnTo>
                    <a:lnTo>
                      <a:pt x="1119" y="17"/>
                    </a:lnTo>
                    <a:lnTo>
                      <a:pt x="1117" y="23"/>
                    </a:lnTo>
                    <a:lnTo>
                      <a:pt x="1112" y="26"/>
                    </a:lnTo>
                    <a:lnTo>
                      <a:pt x="1081" y="41"/>
                    </a:lnTo>
                    <a:lnTo>
                      <a:pt x="1051" y="58"/>
                    </a:lnTo>
                    <a:lnTo>
                      <a:pt x="1019" y="76"/>
                    </a:lnTo>
                    <a:lnTo>
                      <a:pt x="989" y="94"/>
                    </a:lnTo>
                    <a:lnTo>
                      <a:pt x="958" y="113"/>
                    </a:lnTo>
                    <a:lnTo>
                      <a:pt x="928" y="133"/>
                    </a:lnTo>
                    <a:lnTo>
                      <a:pt x="896" y="153"/>
                    </a:lnTo>
                    <a:lnTo>
                      <a:pt x="866" y="175"/>
                    </a:lnTo>
                    <a:lnTo>
                      <a:pt x="835" y="198"/>
                    </a:lnTo>
                    <a:lnTo>
                      <a:pt x="803" y="220"/>
                    </a:lnTo>
                    <a:lnTo>
                      <a:pt x="773" y="244"/>
                    </a:lnTo>
                    <a:lnTo>
                      <a:pt x="742" y="269"/>
                    </a:lnTo>
                    <a:lnTo>
                      <a:pt x="711" y="294"/>
                    </a:lnTo>
                    <a:lnTo>
                      <a:pt x="680" y="320"/>
                    </a:lnTo>
                    <a:lnTo>
                      <a:pt x="649" y="346"/>
                    </a:lnTo>
                    <a:lnTo>
                      <a:pt x="618" y="373"/>
                    </a:lnTo>
                    <a:lnTo>
                      <a:pt x="591" y="399"/>
                    </a:lnTo>
                    <a:lnTo>
                      <a:pt x="565" y="425"/>
                    </a:lnTo>
                    <a:lnTo>
                      <a:pt x="539" y="451"/>
                    </a:lnTo>
                    <a:lnTo>
                      <a:pt x="513" y="478"/>
                    </a:lnTo>
                    <a:lnTo>
                      <a:pt x="489" y="506"/>
                    </a:lnTo>
                    <a:lnTo>
                      <a:pt x="465" y="535"/>
                    </a:lnTo>
                    <a:lnTo>
                      <a:pt x="442" y="565"/>
                    </a:lnTo>
                    <a:lnTo>
                      <a:pt x="419" y="594"/>
                    </a:lnTo>
                    <a:lnTo>
                      <a:pt x="397" y="625"/>
                    </a:lnTo>
                    <a:lnTo>
                      <a:pt x="377" y="655"/>
                    </a:lnTo>
                    <a:lnTo>
                      <a:pt x="356" y="688"/>
                    </a:lnTo>
                    <a:lnTo>
                      <a:pt x="337" y="719"/>
                    </a:lnTo>
                    <a:lnTo>
                      <a:pt x="317" y="752"/>
                    </a:lnTo>
                    <a:lnTo>
                      <a:pt x="300" y="785"/>
                    </a:lnTo>
                    <a:lnTo>
                      <a:pt x="283" y="819"/>
                    </a:lnTo>
                    <a:lnTo>
                      <a:pt x="266" y="853"/>
                    </a:lnTo>
                    <a:lnTo>
                      <a:pt x="251" y="888"/>
                    </a:lnTo>
                    <a:lnTo>
                      <a:pt x="235" y="923"/>
                    </a:lnTo>
                    <a:lnTo>
                      <a:pt x="220" y="959"/>
                    </a:lnTo>
                    <a:lnTo>
                      <a:pt x="207" y="995"/>
                    </a:lnTo>
                    <a:lnTo>
                      <a:pt x="194" y="1032"/>
                    </a:lnTo>
                    <a:lnTo>
                      <a:pt x="182" y="1069"/>
                    </a:lnTo>
                    <a:lnTo>
                      <a:pt x="172" y="1106"/>
                    </a:lnTo>
                    <a:lnTo>
                      <a:pt x="161" y="1144"/>
                    </a:lnTo>
                    <a:lnTo>
                      <a:pt x="151" y="1182"/>
                    </a:lnTo>
                    <a:lnTo>
                      <a:pt x="143" y="1221"/>
                    </a:lnTo>
                    <a:lnTo>
                      <a:pt x="135" y="1260"/>
                    </a:lnTo>
                    <a:lnTo>
                      <a:pt x="127" y="1300"/>
                    </a:lnTo>
                    <a:lnTo>
                      <a:pt x="122" y="1340"/>
                    </a:lnTo>
                    <a:lnTo>
                      <a:pt x="117" y="1380"/>
                    </a:lnTo>
                    <a:lnTo>
                      <a:pt x="111" y="1419"/>
                    </a:lnTo>
                    <a:lnTo>
                      <a:pt x="108" y="1461"/>
                    </a:lnTo>
                    <a:lnTo>
                      <a:pt x="106" y="1504"/>
                    </a:lnTo>
                    <a:lnTo>
                      <a:pt x="105" y="1545"/>
                    </a:lnTo>
                    <a:lnTo>
                      <a:pt x="106" y="1584"/>
                    </a:lnTo>
                    <a:lnTo>
                      <a:pt x="107" y="1619"/>
                    </a:lnTo>
                    <a:lnTo>
                      <a:pt x="110" y="1653"/>
                    </a:lnTo>
                    <a:lnTo>
                      <a:pt x="114" y="1683"/>
                    </a:lnTo>
                    <a:lnTo>
                      <a:pt x="120" y="1711"/>
                    </a:lnTo>
                    <a:lnTo>
                      <a:pt x="125" y="1735"/>
                    </a:lnTo>
                    <a:lnTo>
                      <a:pt x="131" y="1757"/>
                    </a:lnTo>
                    <a:lnTo>
                      <a:pt x="136" y="1777"/>
                    </a:lnTo>
                    <a:lnTo>
                      <a:pt x="141" y="1793"/>
                    </a:lnTo>
                    <a:lnTo>
                      <a:pt x="146" y="1806"/>
                    </a:lnTo>
                    <a:lnTo>
                      <a:pt x="153" y="1824"/>
                    </a:lnTo>
                    <a:lnTo>
                      <a:pt x="157" y="1831"/>
                    </a:lnTo>
                    <a:lnTo>
                      <a:pt x="159" y="1835"/>
                    </a:lnTo>
                    <a:lnTo>
                      <a:pt x="158" y="1839"/>
                    </a:lnTo>
                    <a:lnTo>
                      <a:pt x="157" y="1844"/>
                    </a:lnTo>
                    <a:lnTo>
                      <a:pt x="153" y="1847"/>
                    </a:lnTo>
                    <a:lnTo>
                      <a:pt x="144" y="1857"/>
                    </a:lnTo>
                    <a:lnTo>
                      <a:pt x="123" y="1878"/>
                    </a:lnTo>
                    <a:lnTo>
                      <a:pt x="110" y="1893"/>
                    </a:lnTo>
                    <a:lnTo>
                      <a:pt x="96" y="1913"/>
                    </a:lnTo>
                    <a:lnTo>
                      <a:pt x="82" y="1934"/>
                    </a:lnTo>
                    <a:lnTo>
                      <a:pt x="68" y="1959"/>
                    </a:lnTo>
                    <a:lnTo>
                      <a:pt x="62" y="1972"/>
                    </a:lnTo>
                    <a:lnTo>
                      <a:pt x="56" y="1987"/>
                    </a:lnTo>
                    <a:lnTo>
                      <a:pt x="50" y="2001"/>
                    </a:lnTo>
                    <a:lnTo>
                      <a:pt x="44" y="2018"/>
                    </a:lnTo>
                    <a:lnTo>
                      <a:pt x="40" y="2034"/>
                    </a:lnTo>
                    <a:lnTo>
                      <a:pt x="36" y="2051"/>
                    </a:lnTo>
                    <a:lnTo>
                      <a:pt x="32" y="2069"/>
                    </a:lnTo>
                    <a:lnTo>
                      <a:pt x="29" y="2088"/>
                    </a:lnTo>
                    <a:lnTo>
                      <a:pt x="27" y="2107"/>
                    </a:lnTo>
                    <a:lnTo>
                      <a:pt x="26" y="2127"/>
                    </a:lnTo>
                    <a:lnTo>
                      <a:pt x="26" y="2148"/>
                    </a:lnTo>
                    <a:lnTo>
                      <a:pt x="27" y="2169"/>
                    </a:lnTo>
                    <a:lnTo>
                      <a:pt x="29" y="2191"/>
                    </a:lnTo>
                    <a:lnTo>
                      <a:pt x="33" y="2214"/>
                    </a:lnTo>
                    <a:lnTo>
                      <a:pt x="38" y="2238"/>
                    </a:lnTo>
                    <a:lnTo>
                      <a:pt x="44" y="2261"/>
                    </a:lnTo>
                    <a:lnTo>
                      <a:pt x="58" y="2308"/>
                    </a:lnTo>
                    <a:lnTo>
                      <a:pt x="76" y="2356"/>
                    </a:lnTo>
                    <a:lnTo>
                      <a:pt x="95" y="2407"/>
                    </a:lnTo>
                    <a:lnTo>
                      <a:pt x="117" y="2457"/>
                    </a:lnTo>
                    <a:lnTo>
                      <a:pt x="140" y="2508"/>
                    </a:lnTo>
                    <a:lnTo>
                      <a:pt x="166" y="2558"/>
                    </a:lnTo>
                    <a:lnTo>
                      <a:pt x="193" y="2608"/>
                    </a:lnTo>
                    <a:lnTo>
                      <a:pt x="222" y="2655"/>
                    </a:lnTo>
                    <a:lnTo>
                      <a:pt x="258" y="2711"/>
                    </a:lnTo>
                    <a:lnTo>
                      <a:pt x="294" y="2765"/>
                    </a:lnTo>
                    <a:lnTo>
                      <a:pt x="331" y="2818"/>
                    </a:lnTo>
                    <a:lnTo>
                      <a:pt x="371" y="2870"/>
                    </a:lnTo>
                    <a:lnTo>
                      <a:pt x="411" y="2922"/>
                    </a:lnTo>
                    <a:lnTo>
                      <a:pt x="452" y="2972"/>
                    </a:lnTo>
                    <a:lnTo>
                      <a:pt x="495" y="3021"/>
                    </a:lnTo>
                    <a:lnTo>
                      <a:pt x="539" y="3069"/>
                    </a:lnTo>
                    <a:lnTo>
                      <a:pt x="583" y="3116"/>
                    </a:lnTo>
                    <a:lnTo>
                      <a:pt x="630" y="3162"/>
                    </a:lnTo>
                    <a:lnTo>
                      <a:pt x="677" y="3207"/>
                    </a:lnTo>
                    <a:lnTo>
                      <a:pt x="725" y="3250"/>
                    </a:lnTo>
                    <a:lnTo>
                      <a:pt x="774" y="3293"/>
                    </a:lnTo>
                    <a:lnTo>
                      <a:pt x="825" y="3334"/>
                    </a:lnTo>
                    <a:lnTo>
                      <a:pt x="877" y="3376"/>
                    </a:lnTo>
                    <a:lnTo>
                      <a:pt x="929" y="3414"/>
                    </a:lnTo>
                    <a:lnTo>
                      <a:pt x="933" y="3419"/>
                    </a:lnTo>
                    <a:lnTo>
                      <a:pt x="934" y="3423"/>
                    </a:lnTo>
                    <a:lnTo>
                      <a:pt x="934" y="3428"/>
                    </a:lnTo>
                    <a:lnTo>
                      <a:pt x="932" y="3433"/>
                    </a:lnTo>
                    <a:lnTo>
                      <a:pt x="930" y="3436"/>
                    </a:lnTo>
                    <a:lnTo>
                      <a:pt x="928" y="3437"/>
                    </a:lnTo>
                    <a:lnTo>
                      <a:pt x="924" y="3438"/>
                    </a:lnTo>
                    <a:lnTo>
                      <a:pt x="921" y="3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62"/>
              <p:cNvSpPr>
                <a:spLocks noEditPoints="1"/>
              </p:cNvSpPr>
              <p:nvPr userDrawn="1"/>
            </p:nvSpPr>
            <p:spPr bwMode="auto">
              <a:xfrm>
                <a:off x="2443" y="1746"/>
                <a:ext cx="66" cy="83"/>
              </a:xfrm>
              <a:custGeom>
                <a:avLst/>
                <a:gdLst>
                  <a:gd name="T0" fmla="*/ 37 w 200"/>
                  <a:gd name="T1" fmla="*/ 249 h 249"/>
                  <a:gd name="T2" fmla="*/ 24 w 200"/>
                  <a:gd name="T3" fmla="*/ 245 h 249"/>
                  <a:gd name="T4" fmla="*/ 15 w 200"/>
                  <a:gd name="T5" fmla="*/ 238 h 249"/>
                  <a:gd name="T6" fmla="*/ 8 w 200"/>
                  <a:gd name="T7" fmla="*/ 230 h 249"/>
                  <a:gd name="T8" fmla="*/ 3 w 200"/>
                  <a:gd name="T9" fmla="*/ 220 h 249"/>
                  <a:gd name="T10" fmla="*/ 1 w 200"/>
                  <a:gd name="T11" fmla="*/ 206 h 249"/>
                  <a:gd name="T12" fmla="*/ 1 w 200"/>
                  <a:gd name="T13" fmla="*/ 189 h 249"/>
                  <a:gd name="T14" fmla="*/ 4 w 200"/>
                  <a:gd name="T15" fmla="*/ 172 h 249"/>
                  <a:gd name="T16" fmla="*/ 16 w 200"/>
                  <a:gd name="T17" fmla="*/ 145 h 249"/>
                  <a:gd name="T18" fmla="*/ 40 w 200"/>
                  <a:gd name="T19" fmla="*/ 108 h 249"/>
                  <a:gd name="T20" fmla="*/ 67 w 200"/>
                  <a:gd name="T21" fmla="*/ 72 h 249"/>
                  <a:gd name="T22" fmla="*/ 87 w 200"/>
                  <a:gd name="T23" fmla="*/ 46 h 249"/>
                  <a:gd name="T24" fmla="*/ 99 w 200"/>
                  <a:gd name="T25" fmla="*/ 32 h 249"/>
                  <a:gd name="T26" fmla="*/ 111 w 200"/>
                  <a:gd name="T27" fmla="*/ 20 h 249"/>
                  <a:gd name="T28" fmla="*/ 126 w 200"/>
                  <a:gd name="T29" fmla="*/ 8 h 249"/>
                  <a:gd name="T30" fmla="*/ 143 w 200"/>
                  <a:gd name="T31" fmla="*/ 1 h 249"/>
                  <a:gd name="T32" fmla="*/ 162 w 200"/>
                  <a:gd name="T33" fmla="*/ 1 h 249"/>
                  <a:gd name="T34" fmla="*/ 178 w 200"/>
                  <a:gd name="T35" fmla="*/ 8 h 249"/>
                  <a:gd name="T36" fmla="*/ 191 w 200"/>
                  <a:gd name="T37" fmla="*/ 21 h 249"/>
                  <a:gd name="T38" fmla="*/ 197 w 200"/>
                  <a:gd name="T39" fmla="*/ 33 h 249"/>
                  <a:gd name="T40" fmla="*/ 200 w 200"/>
                  <a:gd name="T41" fmla="*/ 46 h 249"/>
                  <a:gd name="T42" fmla="*/ 200 w 200"/>
                  <a:gd name="T43" fmla="*/ 59 h 249"/>
                  <a:gd name="T44" fmla="*/ 192 w 200"/>
                  <a:gd name="T45" fmla="*/ 85 h 249"/>
                  <a:gd name="T46" fmla="*/ 169 w 200"/>
                  <a:gd name="T47" fmla="*/ 128 h 249"/>
                  <a:gd name="T48" fmla="*/ 151 w 200"/>
                  <a:gd name="T49" fmla="*/ 162 h 249"/>
                  <a:gd name="T50" fmla="*/ 127 w 200"/>
                  <a:gd name="T51" fmla="*/ 196 h 249"/>
                  <a:gd name="T52" fmla="*/ 99 w 200"/>
                  <a:gd name="T53" fmla="*/ 224 h 249"/>
                  <a:gd name="T54" fmla="*/ 84 w 200"/>
                  <a:gd name="T55" fmla="*/ 235 h 249"/>
                  <a:gd name="T56" fmla="*/ 70 w 200"/>
                  <a:gd name="T57" fmla="*/ 242 h 249"/>
                  <a:gd name="T58" fmla="*/ 55 w 200"/>
                  <a:gd name="T59" fmla="*/ 247 h 249"/>
                  <a:gd name="T60" fmla="*/ 42 w 200"/>
                  <a:gd name="T61" fmla="*/ 249 h 249"/>
                  <a:gd name="T62" fmla="*/ 153 w 200"/>
                  <a:gd name="T63" fmla="*/ 27 h 249"/>
                  <a:gd name="T64" fmla="*/ 144 w 200"/>
                  <a:gd name="T65" fmla="*/ 28 h 249"/>
                  <a:gd name="T66" fmla="*/ 136 w 200"/>
                  <a:gd name="T67" fmla="*/ 34 h 249"/>
                  <a:gd name="T68" fmla="*/ 115 w 200"/>
                  <a:gd name="T69" fmla="*/ 54 h 249"/>
                  <a:gd name="T70" fmla="*/ 101 w 200"/>
                  <a:gd name="T71" fmla="*/ 72 h 249"/>
                  <a:gd name="T72" fmla="*/ 54 w 200"/>
                  <a:gd name="T73" fmla="*/ 135 h 249"/>
                  <a:gd name="T74" fmla="*/ 34 w 200"/>
                  <a:gd name="T75" fmla="*/ 169 h 249"/>
                  <a:gd name="T76" fmla="*/ 29 w 200"/>
                  <a:gd name="T77" fmla="*/ 184 h 249"/>
                  <a:gd name="T78" fmla="*/ 27 w 200"/>
                  <a:gd name="T79" fmla="*/ 197 h 249"/>
                  <a:gd name="T80" fmla="*/ 29 w 200"/>
                  <a:gd name="T81" fmla="*/ 211 h 249"/>
                  <a:gd name="T82" fmla="*/ 33 w 200"/>
                  <a:gd name="T83" fmla="*/ 218 h 249"/>
                  <a:gd name="T84" fmla="*/ 42 w 200"/>
                  <a:gd name="T85" fmla="*/ 222 h 249"/>
                  <a:gd name="T86" fmla="*/ 42 w 200"/>
                  <a:gd name="T87" fmla="*/ 222 h 249"/>
                  <a:gd name="T88" fmla="*/ 61 w 200"/>
                  <a:gd name="T89" fmla="*/ 216 h 249"/>
                  <a:gd name="T90" fmla="*/ 84 w 200"/>
                  <a:gd name="T91" fmla="*/ 201 h 249"/>
                  <a:gd name="T92" fmla="*/ 107 w 200"/>
                  <a:gd name="T93" fmla="*/ 179 h 249"/>
                  <a:gd name="T94" fmla="*/ 127 w 200"/>
                  <a:gd name="T95" fmla="*/ 148 h 249"/>
                  <a:gd name="T96" fmla="*/ 145 w 200"/>
                  <a:gd name="T97" fmla="*/ 116 h 249"/>
                  <a:gd name="T98" fmla="*/ 166 w 200"/>
                  <a:gd name="T99" fmla="*/ 77 h 249"/>
                  <a:gd name="T100" fmla="*/ 172 w 200"/>
                  <a:gd name="T101" fmla="*/ 59 h 249"/>
                  <a:gd name="T102" fmla="*/ 173 w 200"/>
                  <a:gd name="T103" fmla="*/ 50 h 249"/>
                  <a:gd name="T104" fmla="*/ 170 w 200"/>
                  <a:gd name="T105" fmla="*/ 39 h 249"/>
                  <a:gd name="T106" fmla="*/ 162 w 200"/>
                  <a:gd name="T107" fmla="*/ 30 h 249"/>
                  <a:gd name="T108" fmla="*/ 155 w 200"/>
                  <a:gd name="T109" fmla="*/ 2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 h="249">
                    <a:moveTo>
                      <a:pt x="42" y="249"/>
                    </a:moveTo>
                    <a:lnTo>
                      <a:pt x="37" y="249"/>
                    </a:lnTo>
                    <a:lnTo>
                      <a:pt x="31" y="248"/>
                    </a:lnTo>
                    <a:lnTo>
                      <a:pt x="24" y="245"/>
                    </a:lnTo>
                    <a:lnTo>
                      <a:pt x="18" y="241"/>
                    </a:lnTo>
                    <a:lnTo>
                      <a:pt x="15" y="238"/>
                    </a:lnTo>
                    <a:lnTo>
                      <a:pt x="11" y="235"/>
                    </a:lnTo>
                    <a:lnTo>
                      <a:pt x="8" y="230"/>
                    </a:lnTo>
                    <a:lnTo>
                      <a:pt x="5" y="225"/>
                    </a:lnTo>
                    <a:lnTo>
                      <a:pt x="3" y="220"/>
                    </a:lnTo>
                    <a:lnTo>
                      <a:pt x="2" y="213"/>
                    </a:lnTo>
                    <a:lnTo>
                      <a:pt x="1" y="206"/>
                    </a:lnTo>
                    <a:lnTo>
                      <a:pt x="0" y="197"/>
                    </a:lnTo>
                    <a:lnTo>
                      <a:pt x="1" y="189"/>
                    </a:lnTo>
                    <a:lnTo>
                      <a:pt x="2" y="181"/>
                    </a:lnTo>
                    <a:lnTo>
                      <a:pt x="4" y="172"/>
                    </a:lnTo>
                    <a:lnTo>
                      <a:pt x="7" y="163"/>
                    </a:lnTo>
                    <a:lnTo>
                      <a:pt x="16" y="145"/>
                    </a:lnTo>
                    <a:lnTo>
                      <a:pt x="27" y="127"/>
                    </a:lnTo>
                    <a:lnTo>
                      <a:pt x="40" y="108"/>
                    </a:lnTo>
                    <a:lnTo>
                      <a:pt x="53" y="90"/>
                    </a:lnTo>
                    <a:lnTo>
                      <a:pt x="67" y="72"/>
                    </a:lnTo>
                    <a:lnTo>
                      <a:pt x="80" y="55"/>
                    </a:lnTo>
                    <a:lnTo>
                      <a:pt x="87" y="46"/>
                    </a:lnTo>
                    <a:lnTo>
                      <a:pt x="94" y="38"/>
                    </a:lnTo>
                    <a:lnTo>
                      <a:pt x="99" y="32"/>
                    </a:lnTo>
                    <a:lnTo>
                      <a:pt x="104" y="26"/>
                    </a:lnTo>
                    <a:lnTo>
                      <a:pt x="111" y="20"/>
                    </a:lnTo>
                    <a:lnTo>
                      <a:pt x="117" y="13"/>
                    </a:lnTo>
                    <a:lnTo>
                      <a:pt x="126" y="8"/>
                    </a:lnTo>
                    <a:lnTo>
                      <a:pt x="135" y="4"/>
                    </a:lnTo>
                    <a:lnTo>
                      <a:pt x="143" y="1"/>
                    </a:lnTo>
                    <a:lnTo>
                      <a:pt x="153" y="0"/>
                    </a:lnTo>
                    <a:lnTo>
                      <a:pt x="162" y="1"/>
                    </a:lnTo>
                    <a:lnTo>
                      <a:pt x="170" y="4"/>
                    </a:lnTo>
                    <a:lnTo>
                      <a:pt x="178" y="8"/>
                    </a:lnTo>
                    <a:lnTo>
                      <a:pt x="185" y="14"/>
                    </a:lnTo>
                    <a:lnTo>
                      <a:pt x="191" y="21"/>
                    </a:lnTo>
                    <a:lnTo>
                      <a:pt x="195" y="26"/>
                    </a:lnTo>
                    <a:lnTo>
                      <a:pt x="197" y="33"/>
                    </a:lnTo>
                    <a:lnTo>
                      <a:pt x="199" y="39"/>
                    </a:lnTo>
                    <a:lnTo>
                      <a:pt x="200" y="46"/>
                    </a:lnTo>
                    <a:lnTo>
                      <a:pt x="200" y="52"/>
                    </a:lnTo>
                    <a:lnTo>
                      <a:pt x="200" y="59"/>
                    </a:lnTo>
                    <a:lnTo>
                      <a:pt x="198" y="67"/>
                    </a:lnTo>
                    <a:lnTo>
                      <a:pt x="192" y="85"/>
                    </a:lnTo>
                    <a:lnTo>
                      <a:pt x="182" y="104"/>
                    </a:lnTo>
                    <a:lnTo>
                      <a:pt x="169" y="128"/>
                    </a:lnTo>
                    <a:lnTo>
                      <a:pt x="154" y="157"/>
                    </a:lnTo>
                    <a:lnTo>
                      <a:pt x="151" y="162"/>
                    </a:lnTo>
                    <a:lnTo>
                      <a:pt x="140" y="180"/>
                    </a:lnTo>
                    <a:lnTo>
                      <a:pt x="127" y="196"/>
                    </a:lnTo>
                    <a:lnTo>
                      <a:pt x="113" y="211"/>
                    </a:lnTo>
                    <a:lnTo>
                      <a:pt x="99" y="224"/>
                    </a:lnTo>
                    <a:lnTo>
                      <a:pt x="91" y="229"/>
                    </a:lnTo>
                    <a:lnTo>
                      <a:pt x="84" y="235"/>
                    </a:lnTo>
                    <a:lnTo>
                      <a:pt x="76" y="239"/>
                    </a:lnTo>
                    <a:lnTo>
                      <a:pt x="70" y="242"/>
                    </a:lnTo>
                    <a:lnTo>
                      <a:pt x="62" y="244"/>
                    </a:lnTo>
                    <a:lnTo>
                      <a:pt x="55" y="247"/>
                    </a:lnTo>
                    <a:lnTo>
                      <a:pt x="48" y="249"/>
                    </a:lnTo>
                    <a:lnTo>
                      <a:pt x="42" y="249"/>
                    </a:lnTo>
                    <a:close/>
                    <a:moveTo>
                      <a:pt x="153" y="27"/>
                    </a:moveTo>
                    <a:lnTo>
                      <a:pt x="153" y="27"/>
                    </a:lnTo>
                    <a:lnTo>
                      <a:pt x="149" y="27"/>
                    </a:lnTo>
                    <a:lnTo>
                      <a:pt x="144" y="28"/>
                    </a:lnTo>
                    <a:lnTo>
                      <a:pt x="140" y="32"/>
                    </a:lnTo>
                    <a:lnTo>
                      <a:pt x="136" y="34"/>
                    </a:lnTo>
                    <a:lnTo>
                      <a:pt x="125" y="43"/>
                    </a:lnTo>
                    <a:lnTo>
                      <a:pt x="115" y="54"/>
                    </a:lnTo>
                    <a:lnTo>
                      <a:pt x="109" y="63"/>
                    </a:lnTo>
                    <a:lnTo>
                      <a:pt x="101" y="72"/>
                    </a:lnTo>
                    <a:lnTo>
                      <a:pt x="77" y="102"/>
                    </a:lnTo>
                    <a:lnTo>
                      <a:pt x="54" y="135"/>
                    </a:lnTo>
                    <a:lnTo>
                      <a:pt x="43" y="153"/>
                    </a:lnTo>
                    <a:lnTo>
                      <a:pt x="34" y="169"/>
                    </a:lnTo>
                    <a:lnTo>
                      <a:pt x="31" y="176"/>
                    </a:lnTo>
                    <a:lnTo>
                      <a:pt x="29" y="184"/>
                    </a:lnTo>
                    <a:lnTo>
                      <a:pt x="28" y="190"/>
                    </a:lnTo>
                    <a:lnTo>
                      <a:pt x="27" y="197"/>
                    </a:lnTo>
                    <a:lnTo>
                      <a:pt x="28" y="204"/>
                    </a:lnTo>
                    <a:lnTo>
                      <a:pt x="29" y="211"/>
                    </a:lnTo>
                    <a:lnTo>
                      <a:pt x="31" y="215"/>
                    </a:lnTo>
                    <a:lnTo>
                      <a:pt x="33" y="218"/>
                    </a:lnTo>
                    <a:lnTo>
                      <a:pt x="37" y="222"/>
                    </a:lnTo>
                    <a:lnTo>
                      <a:pt x="42" y="222"/>
                    </a:lnTo>
                    <a:lnTo>
                      <a:pt x="42" y="222"/>
                    </a:lnTo>
                    <a:lnTo>
                      <a:pt x="42" y="222"/>
                    </a:lnTo>
                    <a:lnTo>
                      <a:pt x="50" y="221"/>
                    </a:lnTo>
                    <a:lnTo>
                      <a:pt x="61" y="216"/>
                    </a:lnTo>
                    <a:lnTo>
                      <a:pt x="72" y="210"/>
                    </a:lnTo>
                    <a:lnTo>
                      <a:pt x="84" y="201"/>
                    </a:lnTo>
                    <a:lnTo>
                      <a:pt x="95" y="190"/>
                    </a:lnTo>
                    <a:lnTo>
                      <a:pt x="107" y="179"/>
                    </a:lnTo>
                    <a:lnTo>
                      <a:pt x="117" y="164"/>
                    </a:lnTo>
                    <a:lnTo>
                      <a:pt x="127" y="148"/>
                    </a:lnTo>
                    <a:lnTo>
                      <a:pt x="130" y="143"/>
                    </a:lnTo>
                    <a:lnTo>
                      <a:pt x="145" y="116"/>
                    </a:lnTo>
                    <a:lnTo>
                      <a:pt x="157" y="94"/>
                    </a:lnTo>
                    <a:lnTo>
                      <a:pt x="166" y="77"/>
                    </a:lnTo>
                    <a:lnTo>
                      <a:pt x="171" y="64"/>
                    </a:lnTo>
                    <a:lnTo>
                      <a:pt x="172" y="59"/>
                    </a:lnTo>
                    <a:lnTo>
                      <a:pt x="173" y="54"/>
                    </a:lnTo>
                    <a:lnTo>
                      <a:pt x="173" y="50"/>
                    </a:lnTo>
                    <a:lnTo>
                      <a:pt x="173" y="46"/>
                    </a:lnTo>
                    <a:lnTo>
                      <a:pt x="170" y="39"/>
                    </a:lnTo>
                    <a:lnTo>
                      <a:pt x="166" y="34"/>
                    </a:lnTo>
                    <a:lnTo>
                      <a:pt x="162" y="30"/>
                    </a:lnTo>
                    <a:lnTo>
                      <a:pt x="158" y="28"/>
                    </a:lnTo>
                    <a:lnTo>
                      <a:pt x="155" y="27"/>
                    </a:lnTo>
                    <a:lnTo>
                      <a:pt x="15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3"/>
              <p:cNvSpPr>
                <a:spLocks noEditPoints="1"/>
              </p:cNvSpPr>
              <p:nvPr userDrawn="1"/>
            </p:nvSpPr>
            <p:spPr bwMode="auto">
              <a:xfrm>
                <a:off x="2513" y="1753"/>
                <a:ext cx="45" cy="78"/>
              </a:xfrm>
              <a:custGeom>
                <a:avLst/>
                <a:gdLst>
                  <a:gd name="T0" fmla="*/ 46 w 136"/>
                  <a:gd name="T1" fmla="*/ 236 h 236"/>
                  <a:gd name="T2" fmla="*/ 29 w 136"/>
                  <a:gd name="T3" fmla="*/ 229 h 236"/>
                  <a:gd name="T4" fmla="*/ 15 w 136"/>
                  <a:gd name="T5" fmla="*/ 215 h 236"/>
                  <a:gd name="T6" fmla="*/ 4 w 136"/>
                  <a:gd name="T7" fmla="*/ 196 h 236"/>
                  <a:gd name="T8" fmla="*/ 0 w 136"/>
                  <a:gd name="T9" fmla="*/ 175 h 236"/>
                  <a:gd name="T10" fmla="*/ 2 w 136"/>
                  <a:gd name="T11" fmla="*/ 151 h 236"/>
                  <a:gd name="T12" fmla="*/ 11 w 136"/>
                  <a:gd name="T13" fmla="*/ 123 h 236"/>
                  <a:gd name="T14" fmla="*/ 24 w 136"/>
                  <a:gd name="T15" fmla="*/ 95 h 236"/>
                  <a:gd name="T16" fmla="*/ 46 w 136"/>
                  <a:gd name="T17" fmla="*/ 55 h 236"/>
                  <a:gd name="T18" fmla="*/ 70 w 136"/>
                  <a:gd name="T19" fmla="*/ 15 h 236"/>
                  <a:gd name="T20" fmla="*/ 79 w 136"/>
                  <a:gd name="T21" fmla="*/ 3 h 236"/>
                  <a:gd name="T22" fmla="*/ 83 w 136"/>
                  <a:gd name="T23" fmla="*/ 1 h 236"/>
                  <a:gd name="T24" fmla="*/ 92 w 136"/>
                  <a:gd name="T25" fmla="*/ 1 h 236"/>
                  <a:gd name="T26" fmla="*/ 106 w 136"/>
                  <a:gd name="T27" fmla="*/ 4 h 236"/>
                  <a:gd name="T28" fmla="*/ 116 w 136"/>
                  <a:gd name="T29" fmla="*/ 10 h 236"/>
                  <a:gd name="T30" fmla="*/ 124 w 136"/>
                  <a:gd name="T31" fmla="*/ 18 h 236"/>
                  <a:gd name="T32" fmla="*/ 131 w 136"/>
                  <a:gd name="T33" fmla="*/ 29 h 236"/>
                  <a:gd name="T34" fmla="*/ 134 w 136"/>
                  <a:gd name="T35" fmla="*/ 41 h 236"/>
                  <a:gd name="T36" fmla="*/ 136 w 136"/>
                  <a:gd name="T37" fmla="*/ 56 h 236"/>
                  <a:gd name="T38" fmla="*/ 135 w 136"/>
                  <a:gd name="T39" fmla="*/ 81 h 236"/>
                  <a:gd name="T40" fmla="*/ 130 w 136"/>
                  <a:gd name="T41" fmla="*/ 112 h 236"/>
                  <a:gd name="T42" fmla="*/ 117 w 136"/>
                  <a:gd name="T43" fmla="*/ 156 h 236"/>
                  <a:gd name="T44" fmla="*/ 101 w 136"/>
                  <a:gd name="T45" fmla="*/ 201 h 236"/>
                  <a:gd name="T46" fmla="*/ 92 w 136"/>
                  <a:gd name="T47" fmla="*/ 216 h 236"/>
                  <a:gd name="T48" fmla="*/ 82 w 136"/>
                  <a:gd name="T49" fmla="*/ 227 h 236"/>
                  <a:gd name="T50" fmla="*/ 69 w 136"/>
                  <a:gd name="T51" fmla="*/ 234 h 236"/>
                  <a:gd name="T52" fmla="*/ 55 w 136"/>
                  <a:gd name="T53" fmla="*/ 236 h 236"/>
                  <a:gd name="T54" fmla="*/ 94 w 136"/>
                  <a:gd name="T55" fmla="*/ 28 h 236"/>
                  <a:gd name="T56" fmla="*/ 69 w 136"/>
                  <a:gd name="T57" fmla="*/ 67 h 236"/>
                  <a:gd name="T58" fmla="*/ 47 w 136"/>
                  <a:gd name="T59" fmla="*/ 110 h 236"/>
                  <a:gd name="T60" fmla="*/ 30 w 136"/>
                  <a:gd name="T61" fmla="*/ 150 h 236"/>
                  <a:gd name="T62" fmla="*/ 27 w 136"/>
                  <a:gd name="T63" fmla="*/ 166 h 236"/>
                  <a:gd name="T64" fmla="*/ 27 w 136"/>
                  <a:gd name="T65" fmla="*/ 179 h 236"/>
                  <a:gd name="T66" fmla="*/ 33 w 136"/>
                  <a:gd name="T67" fmla="*/ 193 h 236"/>
                  <a:gd name="T68" fmla="*/ 40 w 136"/>
                  <a:gd name="T69" fmla="*/ 202 h 236"/>
                  <a:gd name="T70" fmla="*/ 48 w 136"/>
                  <a:gd name="T71" fmla="*/ 208 h 236"/>
                  <a:gd name="T72" fmla="*/ 55 w 136"/>
                  <a:gd name="T73" fmla="*/ 209 h 236"/>
                  <a:gd name="T74" fmla="*/ 61 w 136"/>
                  <a:gd name="T75" fmla="*/ 208 h 236"/>
                  <a:gd name="T76" fmla="*/ 66 w 136"/>
                  <a:gd name="T77" fmla="*/ 205 h 236"/>
                  <a:gd name="T78" fmla="*/ 75 w 136"/>
                  <a:gd name="T79" fmla="*/ 191 h 236"/>
                  <a:gd name="T80" fmla="*/ 91 w 136"/>
                  <a:gd name="T81" fmla="*/ 148 h 236"/>
                  <a:gd name="T82" fmla="*/ 104 w 136"/>
                  <a:gd name="T83" fmla="*/ 108 h 236"/>
                  <a:gd name="T84" fmla="*/ 108 w 136"/>
                  <a:gd name="T85" fmla="*/ 79 h 236"/>
                  <a:gd name="T86" fmla="*/ 109 w 136"/>
                  <a:gd name="T87" fmla="*/ 53 h 236"/>
                  <a:gd name="T88" fmla="*/ 105 w 136"/>
                  <a:gd name="T89" fmla="*/ 38 h 236"/>
                  <a:gd name="T90" fmla="*/ 97 w 136"/>
                  <a:gd name="T91" fmla="*/ 3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 h="236">
                    <a:moveTo>
                      <a:pt x="55" y="236"/>
                    </a:moveTo>
                    <a:lnTo>
                      <a:pt x="46" y="236"/>
                    </a:lnTo>
                    <a:lnTo>
                      <a:pt x="37" y="233"/>
                    </a:lnTo>
                    <a:lnTo>
                      <a:pt x="29" y="229"/>
                    </a:lnTo>
                    <a:lnTo>
                      <a:pt x="22" y="222"/>
                    </a:lnTo>
                    <a:lnTo>
                      <a:pt x="15" y="215"/>
                    </a:lnTo>
                    <a:lnTo>
                      <a:pt x="10" y="206"/>
                    </a:lnTo>
                    <a:lnTo>
                      <a:pt x="4" y="196"/>
                    </a:lnTo>
                    <a:lnTo>
                      <a:pt x="1" y="186"/>
                    </a:lnTo>
                    <a:lnTo>
                      <a:pt x="0" y="175"/>
                    </a:lnTo>
                    <a:lnTo>
                      <a:pt x="0" y="163"/>
                    </a:lnTo>
                    <a:lnTo>
                      <a:pt x="2" y="151"/>
                    </a:lnTo>
                    <a:lnTo>
                      <a:pt x="7" y="137"/>
                    </a:lnTo>
                    <a:lnTo>
                      <a:pt x="11" y="123"/>
                    </a:lnTo>
                    <a:lnTo>
                      <a:pt x="17" y="109"/>
                    </a:lnTo>
                    <a:lnTo>
                      <a:pt x="24" y="95"/>
                    </a:lnTo>
                    <a:lnTo>
                      <a:pt x="30" y="81"/>
                    </a:lnTo>
                    <a:lnTo>
                      <a:pt x="46" y="55"/>
                    </a:lnTo>
                    <a:lnTo>
                      <a:pt x="60" y="32"/>
                    </a:lnTo>
                    <a:lnTo>
                      <a:pt x="70" y="15"/>
                    </a:lnTo>
                    <a:lnTo>
                      <a:pt x="77" y="6"/>
                    </a:lnTo>
                    <a:lnTo>
                      <a:pt x="79" y="3"/>
                    </a:lnTo>
                    <a:lnTo>
                      <a:pt x="81" y="2"/>
                    </a:lnTo>
                    <a:lnTo>
                      <a:pt x="83" y="1"/>
                    </a:lnTo>
                    <a:lnTo>
                      <a:pt x="87" y="0"/>
                    </a:lnTo>
                    <a:lnTo>
                      <a:pt x="92" y="1"/>
                    </a:lnTo>
                    <a:lnTo>
                      <a:pt x="101" y="2"/>
                    </a:lnTo>
                    <a:lnTo>
                      <a:pt x="106" y="4"/>
                    </a:lnTo>
                    <a:lnTo>
                      <a:pt x="110" y="6"/>
                    </a:lnTo>
                    <a:lnTo>
                      <a:pt x="116" y="10"/>
                    </a:lnTo>
                    <a:lnTo>
                      <a:pt x="121" y="14"/>
                    </a:lnTo>
                    <a:lnTo>
                      <a:pt x="124" y="18"/>
                    </a:lnTo>
                    <a:lnTo>
                      <a:pt x="128" y="24"/>
                    </a:lnTo>
                    <a:lnTo>
                      <a:pt x="131" y="29"/>
                    </a:lnTo>
                    <a:lnTo>
                      <a:pt x="133" y="34"/>
                    </a:lnTo>
                    <a:lnTo>
                      <a:pt x="134" y="41"/>
                    </a:lnTo>
                    <a:lnTo>
                      <a:pt x="135" y="48"/>
                    </a:lnTo>
                    <a:lnTo>
                      <a:pt x="136" y="56"/>
                    </a:lnTo>
                    <a:lnTo>
                      <a:pt x="136" y="64"/>
                    </a:lnTo>
                    <a:lnTo>
                      <a:pt x="135" y="81"/>
                    </a:lnTo>
                    <a:lnTo>
                      <a:pt x="133" y="97"/>
                    </a:lnTo>
                    <a:lnTo>
                      <a:pt x="130" y="112"/>
                    </a:lnTo>
                    <a:lnTo>
                      <a:pt x="127" y="127"/>
                    </a:lnTo>
                    <a:lnTo>
                      <a:pt x="117" y="156"/>
                    </a:lnTo>
                    <a:lnTo>
                      <a:pt x="107" y="183"/>
                    </a:lnTo>
                    <a:lnTo>
                      <a:pt x="101" y="201"/>
                    </a:lnTo>
                    <a:lnTo>
                      <a:pt x="96" y="208"/>
                    </a:lnTo>
                    <a:lnTo>
                      <a:pt x="92" y="216"/>
                    </a:lnTo>
                    <a:lnTo>
                      <a:pt x="88" y="222"/>
                    </a:lnTo>
                    <a:lnTo>
                      <a:pt x="82" y="227"/>
                    </a:lnTo>
                    <a:lnTo>
                      <a:pt x="76" y="231"/>
                    </a:lnTo>
                    <a:lnTo>
                      <a:pt x="69" y="234"/>
                    </a:lnTo>
                    <a:lnTo>
                      <a:pt x="62" y="236"/>
                    </a:lnTo>
                    <a:lnTo>
                      <a:pt x="55" y="236"/>
                    </a:lnTo>
                    <a:close/>
                    <a:moveTo>
                      <a:pt x="94" y="28"/>
                    </a:moveTo>
                    <a:lnTo>
                      <a:pt x="94" y="28"/>
                    </a:lnTo>
                    <a:lnTo>
                      <a:pt x="82" y="46"/>
                    </a:lnTo>
                    <a:lnTo>
                      <a:pt x="69" y="67"/>
                    </a:lnTo>
                    <a:lnTo>
                      <a:pt x="57" y="88"/>
                    </a:lnTo>
                    <a:lnTo>
                      <a:pt x="47" y="110"/>
                    </a:lnTo>
                    <a:lnTo>
                      <a:pt x="37" y="131"/>
                    </a:lnTo>
                    <a:lnTo>
                      <a:pt x="30" y="150"/>
                    </a:lnTo>
                    <a:lnTo>
                      <a:pt x="28" y="159"/>
                    </a:lnTo>
                    <a:lnTo>
                      <a:pt x="27" y="166"/>
                    </a:lnTo>
                    <a:lnTo>
                      <a:pt x="27" y="173"/>
                    </a:lnTo>
                    <a:lnTo>
                      <a:pt x="27" y="179"/>
                    </a:lnTo>
                    <a:lnTo>
                      <a:pt x="30" y="187"/>
                    </a:lnTo>
                    <a:lnTo>
                      <a:pt x="33" y="193"/>
                    </a:lnTo>
                    <a:lnTo>
                      <a:pt x="36" y="199"/>
                    </a:lnTo>
                    <a:lnTo>
                      <a:pt x="40" y="202"/>
                    </a:lnTo>
                    <a:lnTo>
                      <a:pt x="43" y="206"/>
                    </a:lnTo>
                    <a:lnTo>
                      <a:pt x="48" y="208"/>
                    </a:lnTo>
                    <a:lnTo>
                      <a:pt x="51" y="209"/>
                    </a:lnTo>
                    <a:lnTo>
                      <a:pt x="55" y="209"/>
                    </a:lnTo>
                    <a:lnTo>
                      <a:pt x="58" y="209"/>
                    </a:lnTo>
                    <a:lnTo>
                      <a:pt x="61" y="208"/>
                    </a:lnTo>
                    <a:lnTo>
                      <a:pt x="64" y="207"/>
                    </a:lnTo>
                    <a:lnTo>
                      <a:pt x="66" y="205"/>
                    </a:lnTo>
                    <a:lnTo>
                      <a:pt x="71" y="199"/>
                    </a:lnTo>
                    <a:lnTo>
                      <a:pt x="75" y="191"/>
                    </a:lnTo>
                    <a:lnTo>
                      <a:pt x="81" y="174"/>
                    </a:lnTo>
                    <a:lnTo>
                      <a:pt x="91" y="148"/>
                    </a:lnTo>
                    <a:lnTo>
                      <a:pt x="100" y="122"/>
                    </a:lnTo>
                    <a:lnTo>
                      <a:pt x="104" y="108"/>
                    </a:lnTo>
                    <a:lnTo>
                      <a:pt x="106" y="93"/>
                    </a:lnTo>
                    <a:lnTo>
                      <a:pt x="108" y="79"/>
                    </a:lnTo>
                    <a:lnTo>
                      <a:pt x="109" y="63"/>
                    </a:lnTo>
                    <a:lnTo>
                      <a:pt x="109" y="53"/>
                    </a:lnTo>
                    <a:lnTo>
                      <a:pt x="107" y="45"/>
                    </a:lnTo>
                    <a:lnTo>
                      <a:pt x="105" y="38"/>
                    </a:lnTo>
                    <a:lnTo>
                      <a:pt x="102" y="32"/>
                    </a:lnTo>
                    <a:lnTo>
                      <a:pt x="97" y="30"/>
                    </a:lnTo>
                    <a:lnTo>
                      <a:pt x="9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4"/>
              <p:cNvSpPr>
                <a:spLocks noEditPoints="1"/>
              </p:cNvSpPr>
              <p:nvPr userDrawn="1"/>
            </p:nvSpPr>
            <p:spPr bwMode="auto">
              <a:xfrm>
                <a:off x="2376" y="1868"/>
                <a:ext cx="239" cy="93"/>
              </a:xfrm>
              <a:custGeom>
                <a:avLst/>
                <a:gdLst>
                  <a:gd name="T0" fmla="*/ 17 w 718"/>
                  <a:gd name="T1" fmla="*/ 277 h 278"/>
                  <a:gd name="T2" fmla="*/ 7 w 718"/>
                  <a:gd name="T3" fmla="*/ 270 h 278"/>
                  <a:gd name="T4" fmla="*/ 1 w 718"/>
                  <a:gd name="T5" fmla="*/ 261 h 278"/>
                  <a:gd name="T6" fmla="*/ 0 w 718"/>
                  <a:gd name="T7" fmla="*/ 249 h 278"/>
                  <a:gd name="T8" fmla="*/ 4 w 718"/>
                  <a:gd name="T9" fmla="*/ 239 h 278"/>
                  <a:gd name="T10" fmla="*/ 30 w 718"/>
                  <a:gd name="T11" fmla="*/ 215 h 278"/>
                  <a:gd name="T12" fmla="*/ 100 w 718"/>
                  <a:gd name="T13" fmla="*/ 157 h 278"/>
                  <a:gd name="T14" fmla="*/ 172 w 718"/>
                  <a:gd name="T15" fmla="*/ 95 h 278"/>
                  <a:gd name="T16" fmla="*/ 215 w 718"/>
                  <a:gd name="T17" fmla="*/ 59 h 278"/>
                  <a:gd name="T18" fmla="*/ 250 w 718"/>
                  <a:gd name="T19" fmla="*/ 36 h 278"/>
                  <a:gd name="T20" fmla="*/ 289 w 718"/>
                  <a:gd name="T21" fmla="*/ 20 h 278"/>
                  <a:gd name="T22" fmla="*/ 330 w 718"/>
                  <a:gd name="T23" fmla="*/ 8 h 278"/>
                  <a:gd name="T24" fmla="*/ 376 w 718"/>
                  <a:gd name="T25" fmla="*/ 2 h 278"/>
                  <a:gd name="T26" fmla="*/ 436 w 718"/>
                  <a:gd name="T27" fmla="*/ 2 h 278"/>
                  <a:gd name="T28" fmla="*/ 537 w 718"/>
                  <a:gd name="T29" fmla="*/ 13 h 278"/>
                  <a:gd name="T30" fmla="*/ 584 w 718"/>
                  <a:gd name="T31" fmla="*/ 27 h 278"/>
                  <a:gd name="T32" fmla="*/ 622 w 718"/>
                  <a:gd name="T33" fmla="*/ 50 h 278"/>
                  <a:gd name="T34" fmla="*/ 653 w 718"/>
                  <a:gd name="T35" fmla="*/ 85 h 278"/>
                  <a:gd name="T36" fmla="*/ 680 w 718"/>
                  <a:gd name="T37" fmla="*/ 129 h 278"/>
                  <a:gd name="T38" fmla="*/ 706 w 718"/>
                  <a:gd name="T39" fmla="*/ 187 h 278"/>
                  <a:gd name="T40" fmla="*/ 718 w 718"/>
                  <a:gd name="T41" fmla="*/ 217 h 278"/>
                  <a:gd name="T42" fmla="*/ 709 w 718"/>
                  <a:gd name="T43" fmla="*/ 229 h 278"/>
                  <a:gd name="T44" fmla="*/ 701 w 718"/>
                  <a:gd name="T45" fmla="*/ 230 h 278"/>
                  <a:gd name="T46" fmla="*/ 646 w 718"/>
                  <a:gd name="T47" fmla="*/ 214 h 278"/>
                  <a:gd name="T48" fmla="*/ 590 w 718"/>
                  <a:gd name="T49" fmla="*/ 195 h 278"/>
                  <a:gd name="T50" fmla="*/ 522 w 718"/>
                  <a:gd name="T51" fmla="*/ 180 h 278"/>
                  <a:gd name="T52" fmla="*/ 425 w 718"/>
                  <a:gd name="T53" fmla="*/ 172 h 278"/>
                  <a:gd name="T54" fmla="*/ 404 w 718"/>
                  <a:gd name="T55" fmla="*/ 173 h 278"/>
                  <a:gd name="T56" fmla="*/ 331 w 718"/>
                  <a:gd name="T57" fmla="*/ 183 h 278"/>
                  <a:gd name="T58" fmla="*/ 253 w 718"/>
                  <a:gd name="T59" fmla="*/ 202 h 278"/>
                  <a:gd name="T60" fmla="*/ 122 w 718"/>
                  <a:gd name="T61" fmla="*/ 243 h 278"/>
                  <a:gd name="T62" fmla="*/ 29 w 718"/>
                  <a:gd name="T63" fmla="*/ 277 h 278"/>
                  <a:gd name="T64" fmla="*/ 408 w 718"/>
                  <a:gd name="T65" fmla="*/ 27 h 278"/>
                  <a:gd name="T66" fmla="*/ 364 w 718"/>
                  <a:gd name="T67" fmla="*/ 31 h 278"/>
                  <a:gd name="T68" fmla="*/ 324 w 718"/>
                  <a:gd name="T69" fmla="*/ 37 h 278"/>
                  <a:gd name="T70" fmla="*/ 287 w 718"/>
                  <a:gd name="T71" fmla="*/ 49 h 278"/>
                  <a:gd name="T72" fmla="*/ 253 w 718"/>
                  <a:gd name="T73" fmla="*/ 66 h 278"/>
                  <a:gd name="T74" fmla="*/ 221 w 718"/>
                  <a:gd name="T75" fmla="*/ 88 h 278"/>
                  <a:gd name="T76" fmla="*/ 168 w 718"/>
                  <a:gd name="T77" fmla="*/ 134 h 278"/>
                  <a:gd name="T78" fmla="*/ 99 w 718"/>
                  <a:gd name="T79" fmla="*/ 193 h 278"/>
                  <a:gd name="T80" fmla="*/ 34 w 718"/>
                  <a:gd name="T81" fmla="*/ 247 h 278"/>
                  <a:gd name="T82" fmla="*/ 174 w 718"/>
                  <a:gd name="T83" fmla="*/ 197 h 278"/>
                  <a:gd name="T84" fmla="*/ 280 w 718"/>
                  <a:gd name="T85" fmla="*/ 167 h 278"/>
                  <a:gd name="T86" fmla="*/ 355 w 718"/>
                  <a:gd name="T87" fmla="*/ 152 h 278"/>
                  <a:gd name="T88" fmla="*/ 422 w 718"/>
                  <a:gd name="T89" fmla="*/ 145 h 278"/>
                  <a:gd name="T90" fmla="*/ 498 w 718"/>
                  <a:gd name="T91" fmla="*/ 149 h 278"/>
                  <a:gd name="T92" fmla="*/ 578 w 718"/>
                  <a:gd name="T93" fmla="*/ 163 h 278"/>
                  <a:gd name="T94" fmla="*/ 638 w 718"/>
                  <a:gd name="T95" fmla="*/ 183 h 278"/>
                  <a:gd name="T96" fmla="*/ 670 w 718"/>
                  <a:gd name="T97" fmla="*/ 194 h 278"/>
                  <a:gd name="T98" fmla="*/ 651 w 718"/>
                  <a:gd name="T99" fmla="*/ 131 h 278"/>
                  <a:gd name="T100" fmla="*/ 627 w 718"/>
                  <a:gd name="T101" fmla="*/ 94 h 278"/>
                  <a:gd name="T102" fmla="*/ 601 w 718"/>
                  <a:gd name="T103" fmla="*/ 68 h 278"/>
                  <a:gd name="T104" fmla="*/ 570 w 718"/>
                  <a:gd name="T105" fmla="*/ 51 h 278"/>
                  <a:gd name="T106" fmla="*/ 532 w 718"/>
                  <a:gd name="T107" fmla="*/ 40 h 278"/>
                  <a:gd name="T108" fmla="*/ 435 w 718"/>
                  <a:gd name="T109" fmla="*/ 2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278">
                    <a:moveTo>
                      <a:pt x="25" y="278"/>
                    </a:moveTo>
                    <a:lnTo>
                      <a:pt x="20" y="277"/>
                    </a:lnTo>
                    <a:lnTo>
                      <a:pt x="17" y="277"/>
                    </a:lnTo>
                    <a:lnTo>
                      <a:pt x="14" y="275"/>
                    </a:lnTo>
                    <a:lnTo>
                      <a:pt x="11" y="272"/>
                    </a:lnTo>
                    <a:lnTo>
                      <a:pt x="7" y="270"/>
                    </a:lnTo>
                    <a:lnTo>
                      <a:pt x="5" y="267"/>
                    </a:lnTo>
                    <a:lnTo>
                      <a:pt x="3" y="264"/>
                    </a:lnTo>
                    <a:lnTo>
                      <a:pt x="1" y="261"/>
                    </a:lnTo>
                    <a:lnTo>
                      <a:pt x="0" y="257"/>
                    </a:lnTo>
                    <a:lnTo>
                      <a:pt x="0" y="253"/>
                    </a:lnTo>
                    <a:lnTo>
                      <a:pt x="0" y="249"/>
                    </a:lnTo>
                    <a:lnTo>
                      <a:pt x="1" y="245"/>
                    </a:lnTo>
                    <a:lnTo>
                      <a:pt x="2" y="242"/>
                    </a:lnTo>
                    <a:lnTo>
                      <a:pt x="4" y="239"/>
                    </a:lnTo>
                    <a:lnTo>
                      <a:pt x="6" y="236"/>
                    </a:lnTo>
                    <a:lnTo>
                      <a:pt x="8" y="233"/>
                    </a:lnTo>
                    <a:lnTo>
                      <a:pt x="30" y="215"/>
                    </a:lnTo>
                    <a:lnTo>
                      <a:pt x="53" y="197"/>
                    </a:lnTo>
                    <a:lnTo>
                      <a:pt x="75" y="177"/>
                    </a:lnTo>
                    <a:lnTo>
                      <a:pt x="100" y="157"/>
                    </a:lnTo>
                    <a:lnTo>
                      <a:pt x="124" y="136"/>
                    </a:lnTo>
                    <a:lnTo>
                      <a:pt x="148" y="116"/>
                    </a:lnTo>
                    <a:lnTo>
                      <a:pt x="172" y="95"/>
                    </a:lnTo>
                    <a:lnTo>
                      <a:pt x="193" y="76"/>
                    </a:lnTo>
                    <a:lnTo>
                      <a:pt x="204" y="67"/>
                    </a:lnTo>
                    <a:lnTo>
                      <a:pt x="215" y="59"/>
                    </a:lnTo>
                    <a:lnTo>
                      <a:pt x="227" y="50"/>
                    </a:lnTo>
                    <a:lnTo>
                      <a:pt x="238" y="43"/>
                    </a:lnTo>
                    <a:lnTo>
                      <a:pt x="250" y="36"/>
                    </a:lnTo>
                    <a:lnTo>
                      <a:pt x="263" y="30"/>
                    </a:lnTo>
                    <a:lnTo>
                      <a:pt x="276" y="24"/>
                    </a:lnTo>
                    <a:lnTo>
                      <a:pt x="289" y="20"/>
                    </a:lnTo>
                    <a:lnTo>
                      <a:pt x="302" y="14"/>
                    </a:lnTo>
                    <a:lnTo>
                      <a:pt x="316" y="11"/>
                    </a:lnTo>
                    <a:lnTo>
                      <a:pt x="330" y="8"/>
                    </a:lnTo>
                    <a:lnTo>
                      <a:pt x="345" y="6"/>
                    </a:lnTo>
                    <a:lnTo>
                      <a:pt x="360" y="4"/>
                    </a:lnTo>
                    <a:lnTo>
                      <a:pt x="376" y="2"/>
                    </a:lnTo>
                    <a:lnTo>
                      <a:pt x="392" y="2"/>
                    </a:lnTo>
                    <a:lnTo>
                      <a:pt x="408" y="0"/>
                    </a:lnTo>
                    <a:lnTo>
                      <a:pt x="436" y="2"/>
                    </a:lnTo>
                    <a:lnTo>
                      <a:pt x="466" y="4"/>
                    </a:lnTo>
                    <a:lnTo>
                      <a:pt x="500" y="8"/>
                    </a:lnTo>
                    <a:lnTo>
                      <a:pt x="537" y="13"/>
                    </a:lnTo>
                    <a:lnTo>
                      <a:pt x="553" y="18"/>
                    </a:lnTo>
                    <a:lnTo>
                      <a:pt x="569" y="22"/>
                    </a:lnTo>
                    <a:lnTo>
                      <a:pt x="584" y="27"/>
                    </a:lnTo>
                    <a:lnTo>
                      <a:pt x="597" y="34"/>
                    </a:lnTo>
                    <a:lnTo>
                      <a:pt x="610" y="41"/>
                    </a:lnTo>
                    <a:lnTo>
                      <a:pt x="622" y="50"/>
                    </a:lnTo>
                    <a:lnTo>
                      <a:pt x="633" y="61"/>
                    </a:lnTo>
                    <a:lnTo>
                      <a:pt x="643" y="72"/>
                    </a:lnTo>
                    <a:lnTo>
                      <a:pt x="653" y="85"/>
                    </a:lnTo>
                    <a:lnTo>
                      <a:pt x="663" y="98"/>
                    </a:lnTo>
                    <a:lnTo>
                      <a:pt x="671" y="113"/>
                    </a:lnTo>
                    <a:lnTo>
                      <a:pt x="680" y="129"/>
                    </a:lnTo>
                    <a:lnTo>
                      <a:pt x="689" y="147"/>
                    </a:lnTo>
                    <a:lnTo>
                      <a:pt x="697" y="167"/>
                    </a:lnTo>
                    <a:lnTo>
                      <a:pt x="706" y="187"/>
                    </a:lnTo>
                    <a:lnTo>
                      <a:pt x="716" y="209"/>
                    </a:lnTo>
                    <a:lnTo>
                      <a:pt x="718" y="213"/>
                    </a:lnTo>
                    <a:lnTo>
                      <a:pt x="718" y="217"/>
                    </a:lnTo>
                    <a:lnTo>
                      <a:pt x="717" y="223"/>
                    </a:lnTo>
                    <a:lnTo>
                      <a:pt x="714" y="227"/>
                    </a:lnTo>
                    <a:lnTo>
                      <a:pt x="709" y="229"/>
                    </a:lnTo>
                    <a:lnTo>
                      <a:pt x="704" y="230"/>
                    </a:lnTo>
                    <a:lnTo>
                      <a:pt x="703" y="230"/>
                    </a:lnTo>
                    <a:lnTo>
                      <a:pt x="701" y="230"/>
                    </a:lnTo>
                    <a:lnTo>
                      <a:pt x="681" y="225"/>
                    </a:lnTo>
                    <a:lnTo>
                      <a:pt x="663" y="220"/>
                    </a:lnTo>
                    <a:lnTo>
                      <a:pt x="646" y="214"/>
                    </a:lnTo>
                    <a:lnTo>
                      <a:pt x="629" y="208"/>
                    </a:lnTo>
                    <a:lnTo>
                      <a:pt x="610" y="201"/>
                    </a:lnTo>
                    <a:lnTo>
                      <a:pt x="590" y="195"/>
                    </a:lnTo>
                    <a:lnTo>
                      <a:pt x="570" y="189"/>
                    </a:lnTo>
                    <a:lnTo>
                      <a:pt x="547" y="184"/>
                    </a:lnTo>
                    <a:lnTo>
                      <a:pt x="522" y="180"/>
                    </a:lnTo>
                    <a:lnTo>
                      <a:pt x="494" y="175"/>
                    </a:lnTo>
                    <a:lnTo>
                      <a:pt x="462" y="173"/>
                    </a:lnTo>
                    <a:lnTo>
                      <a:pt x="425" y="172"/>
                    </a:lnTo>
                    <a:lnTo>
                      <a:pt x="425" y="172"/>
                    </a:lnTo>
                    <a:lnTo>
                      <a:pt x="425" y="172"/>
                    </a:lnTo>
                    <a:lnTo>
                      <a:pt x="404" y="173"/>
                    </a:lnTo>
                    <a:lnTo>
                      <a:pt x="381" y="175"/>
                    </a:lnTo>
                    <a:lnTo>
                      <a:pt x="356" y="179"/>
                    </a:lnTo>
                    <a:lnTo>
                      <a:pt x="331" y="183"/>
                    </a:lnTo>
                    <a:lnTo>
                      <a:pt x="305" y="188"/>
                    </a:lnTo>
                    <a:lnTo>
                      <a:pt x="280" y="195"/>
                    </a:lnTo>
                    <a:lnTo>
                      <a:pt x="253" y="202"/>
                    </a:lnTo>
                    <a:lnTo>
                      <a:pt x="226" y="210"/>
                    </a:lnTo>
                    <a:lnTo>
                      <a:pt x="173" y="226"/>
                    </a:lnTo>
                    <a:lnTo>
                      <a:pt x="122" y="243"/>
                    </a:lnTo>
                    <a:lnTo>
                      <a:pt x="74" y="261"/>
                    </a:lnTo>
                    <a:lnTo>
                      <a:pt x="34" y="276"/>
                    </a:lnTo>
                    <a:lnTo>
                      <a:pt x="29" y="277"/>
                    </a:lnTo>
                    <a:lnTo>
                      <a:pt x="25" y="278"/>
                    </a:lnTo>
                    <a:close/>
                    <a:moveTo>
                      <a:pt x="408" y="27"/>
                    </a:moveTo>
                    <a:lnTo>
                      <a:pt x="408" y="27"/>
                    </a:lnTo>
                    <a:lnTo>
                      <a:pt x="393" y="29"/>
                    </a:lnTo>
                    <a:lnTo>
                      <a:pt x="378" y="29"/>
                    </a:lnTo>
                    <a:lnTo>
                      <a:pt x="364" y="31"/>
                    </a:lnTo>
                    <a:lnTo>
                      <a:pt x="350" y="32"/>
                    </a:lnTo>
                    <a:lnTo>
                      <a:pt x="337" y="34"/>
                    </a:lnTo>
                    <a:lnTo>
                      <a:pt x="324" y="37"/>
                    </a:lnTo>
                    <a:lnTo>
                      <a:pt x="311" y="40"/>
                    </a:lnTo>
                    <a:lnTo>
                      <a:pt x="299" y="45"/>
                    </a:lnTo>
                    <a:lnTo>
                      <a:pt x="287" y="49"/>
                    </a:lnTo>
                    <a:lnTo>
                      <a:pt x="275" y="54"/>
                    </a:lnTo>
                    <a:lnTo>
                      <a:pt x="263" y="60"/>
                    </a:lnTo>
                    <a:lnTo>
                      <a:pt x="253" y="66"/>
                    </a:lnTo>
                    <a:lnTo>
                      <a:pt x="242" y="73"/>
                    </a:lnTo>
                    <a:lnTo>
                      <a:pt x="231" y="80"/>
                    </a:lnTo>
                    <a:lnTo>
                      <a:pt x="221" y="88"/>
                    </a:lnTo>
                    <a:lnTo>
                      <a:pt x="210" y="97"/>
                    </a:lnTo>
                    <a:lnTo>
                      <a:pt x="190" y="115"/>
                    </a:lnTo>
                    <a:lnTo>
                      <a:pt x="168" y="134"/>
                    </a:lnTo>
                    <a:lnTo>
                      <a:pt x="146" y="154"/>
                    </a:lnTo>
                    <a:lnTo>
                      <a:pt x="123" y="173"/>
                    </a:lnTo>
                    <a:lnTo>
                      <a:pt x="99" y="193"/>
                    </a:lnTo>
                    <a:lnTo>
                      <a:pt x="77" y="212"/>
                    </a:lnTo>
                    <a:lnTo>
                      <a:pt x="55" y="229"/>
                    </a:lnTo>
                    <a:lnTo>
                      <a:pt x="34" y="247"/>
                    </a:lnTo>
                    <a:lnTo>
                      <a:pt x="77" y="231"/>
                    </a:lnTo>
                    <a:lnTo>
                      <a:pt x="123" y="214"/>
                    </a:lnTo>
                    <a:lnTo>
                      <a:pt x="174" y="197"/>
                    </a:lnTo>
                    <a:lnTo>
                      <a:pt x="227" y="181"/>
                    </a:lnTo>
                    <a:lnTo>
                      <a:pt x="253" y="173"/>
                    </a:lnTo>
                    <a:lnTo>
                      <a:pt x="280" y="167"/>
                    </a:lnTo>
                    <a:lnTo>
                      <a:pt x="305" y="161"/>
                    </a:lnTo>
                    <a:lnTo>
                      <a:pt x="330" y="156"/>
                    </a:lnTo>
                    <a:lnTo>
                      <a:pt x="355" y="152"/>
                    </a:lnTo>
                    <a:lnTo>
                      <a:pt x="379" y="148"/>
                    </a:lnTo>
                    <a:lnTo>
                      <a:pt x="402" y="146"/>
                    </a:lnTo>
                    <a:lnTo>
                      <a:pt x="422" y="145"/>
                    </a:lnTo>
                    <a:lnTo>
                      <a:pt x="425" y="145"/>
                    </a:lnTo>
                    <a:lnTo>
                      <a:pt x="464" y="146"/>
                    </a:lnTo>
                    <a:lnTo>
                      <a:pt x="498" y="149"/>
                    </a:lnTo>
                    <a:lnTo>
                      <a:pt x="528" y="153"/>
                    </a:lnTo>
                    <a:lnTo>
                      <a:pt x="554" y="158"/>
                    </a:lnTo>
                    <a:lnTo>
                      <a:pt x="578" y="163"/>
                    </a:lnTo>
                    <a:lnTo>
                      <a:pt x="599" y="169"/>
                    </a:lnTo>
                    <a:lnTo>
                      <a:pt x="619" y="176"/>
                    </a:lnTo>
                    <a:lnTo>
                      <a:pt x="638" y="183"/>
                    </a:lnTo>
                    <a:lnTo>
                      <a:pt x="649" y="186"/>
                    </a:lnTo>
                    <a:lnTo>
                      <a:pt x="660" y="189"/>
                    </a:lnTo>
                    <a:lnTo>
                      <a:pt x="670" y="194"/>
                    </a:lnTo>
                    <a:lnTo>
                      <a:pt x="681" y="197"/>
                    </a:lnTo>
                    <a:lnTo>
                      <a:pt x="666" y="161"/>
                    </a:lnTo>
                    <a:lnTo>
                      <a:pt x="651" y="131"/>
                    </a:lnTo>
                    <a:lnTo>
                      <a:pt x="643" y="118"/>
                    </a:lnTo>
                    <a:lnTo>
                      <a:pt x="636" y="105"/>
                    </a:lnTo>
                    <a:lnTo>
                      <a:pt x="627" y="94"/>
                    </a:lnTo>
                    <a:lnTo>
                      <a:pt x="619" y="85"/>
                    </a:lnTo>
                    <a:lnTo>
                      <a:pt x="610" y="76"/>
                    </a:lnTo>
                    <a:lnTo>
                      <a:pt x="601" y="68"/>
                    </a:lnTo>
                    <a:lnTo>
                      <a:pt x="592" y="62"/>
                    </a:lnTo>
                    <a:lnTo>
                      <a:pt x="581" y="55"/>
                    </a:lnTo>
                    <a:lnTo>
                      <a:pt x="570" y="51"/>
                    </a:lnTo>
                    <a:lnTo>
                      <a:pt x="558" y="47"/>
                    </a:lnTo>
                    <a:lnTo>
                      <a:pt x="545" y="44"/>
                    </a:lnTo>
                    <a:lnTo>
                      <a:pt x="532" y="40"/>
                    </a:lnTo>
                    <a:lnTo>
                      <a:pt x="497" y="35"/>
                    </a:lnTo>
                    <a:lnTo>
                      <a:pt x="464" y="31"/>
                    </a:lnTo>
                    <a:lnTo>
                      <a:pt x="435" y="29"/>
                    </a:lnTo>
                    <a:lnTo>
                      <a:pt x="40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65"/>
              <p:cNvSpPr>
                <a:spLocks noEditPoints="1"/>
              </p:cNvSpPr>
              <p:nvPr userDrawn="1"/>
            </p:nvSpPr>
            <p:spPr bwMode="auto">
              <a:xfrm>
                <a:off x="2455" y="1950"/>
                <a:ext cx="147" cy="61"/>
              </a:xfrm>
              <a:custGeom>
                <a:avLst/>
                <a:gdLst>
                  <a:gd name="T0" fmla="*/ 10 w 440"/>
                  <a:gd name="T1" fmla="*/ 183 h 183"/>
                  <a:gd name="T2" fmla="*/ 4 w 440"/>
                  <a:gd name="T3" fmla="*/ 179 h 183"/>
                  <a:gd name="T4" fmla="*/ 0 w 440"/>
                  <a:gd name="T5" fmla="*/ 172 h 183"/>
                  <a:gd name="T6" fmla="*/ 1 w 440"/>
                  <a:gd name="T7" fmla="*/ 160 h 183"/>
                  <a:gd name="T8" fmla="*/ 8 w 440"/>
                  <a:gd name="T9" fmla="*/ 143 h 183"/>
                  <a:gd name="T10" fmla="*/ 22 w 440"/>
                  <a:gd name="T11" fmla="*/ 115 h 183"/>
                  <a:gd name="T12" fmla="*/ 58 w 440"/>
                  <a:gd name="T13" fmla="*/ 67 h 183"/>
                  <a:gd name="T14" fmla="*/ 75 w 440"/>
                  <a:gd name="T15" fmla="*/ 48 h 183"/>
                  <a:gd name="T16" fmla="*/ 94 w 440"/>
                  <a:gd name="T17" fmla="*/ 34 h 183"/>
                  <a:gd name="T18" fmla="*/ 120 w 440"/>
                  <a:gd name="T19" fmla="*/ 20 h 183"/>
                  <a:gd name="T20" fmla="*/ 142 w 440"/>
                  <a:gd name="T21" fmla="*/ 11 h 183"/>
                  <a:gd name="T22" fmla="*/ 166 w 440"/>
                  <a:gd name="T23" fmla="*/ 5 h 183"/>
                  <a:gd name="T24" fmla="*/ 193 w 440"/>
                  <a:gd name="T25" fmla="*/ 2 h 183"/>
                  <a:gd name="T26" fmla="*/ 241 w 440"/>
                  <a:gd name="T27" fmla="*/ 0 h 183"/>
                  <a:gd name="T28" fmla="*/ 289 w 440"/>
                  <a:gd name="T29" fmla="*/ 4 h 183"/>
                  <a:gd name="T30" fmla="*/ 318 w 440"/>
                  <a:gd name="T31" fmla="*/ 8 h 183"/>
                  <a:gd name="T32" fmla="*/ 344 w 440"/>
                  <a:gd name="T33" fmla="*/ 15 h 183"/>
                  <a:gd name="T34" fmla="*/ 369 w 440"/>
                  <a:gd name="T35" fmla="*/ 24 h 183"/>
                  <a:gd name="T36" fmla="*/ 390 w 440"/>
                  <a:gd name="T37" fmla="*/ 37 h 183"/>
                  <a:gd name="T38" fmla="*/ 409 w 440"/>
                  <a:gd name="T39" fmla="*/ 56 h 183"/>
                  <a:gd name="T40" fmla="*/ 420 w 440"/>
                  <a:gd name="T41" fmla="*/ 74 h 183"/>
                  <a:gd name="T42" fmla="*/ 429 w 440"/>
                  <a:gd name="T43" fmla="*/ 94 h 183"/>
                  <a:gd name="T44" fmla="*/ 438 w 440"/>
                  <a:gd name="T45" fmla="*/ 131 h 183"/>
                  <a:gd name="T46" fmla="*/ 440 w 440"/>
                  <a:gd name="T47" fmla="*/ 155 h 183"/>
                  <a:gd name="T48" fmla="*/ 437 w 440"/>
                  <a:gd name="T49" fmla="*/ 160 h 183"/>
                  <a:gd name="T50" fmla="*/ 432 w 440"/>
                  <a:gd name="T51" fmla="*/ 165 h 183"/>
                  <a:gd name="T52" fmla="*/ 426 w 440"/>
                  <a:gd name="T53" fmla="*/ 166 h 183"/>
                  <a:gd name="T54" fmla="*/ 398 w 440"/>
                  <a:gd name="T55" fmla="*/ 158 h 183"/>
                  <a:gd name="T56" fmla="*/ 345 w 440"/>
                  <a:gd name="T57" fmla="*/ 147 h 183"/>
                  <a:gd name="T58" fmla="*/ 291 w 440"/>
                  <a:gd name="T59" fmla="*/ 141 h 183"/>
                  <a:gd name="T60" fmla="*/ 240 w 440"/>
                  <a:gd name="T61" fmla="*/ 139 h 183"/>
                  <a:gd name="T62" fmla="*/ 187 w 440"/>
                  <a:gd name="T63" fmla="*/ 143 h 183"/>
                  <a:gd name="T64" fmla="*/ 131 w 440"/>
                  <a:gd name="T65" fmla="*/ 151 h 183"/>
                  <a:gd name="T66" fmla="*/ 82 w 440"/>
                  <a:gd name="T67" fmla="*/ 161 h 183"/>
                  <a:gd name="T68" fmla="*/ 39 w 440"/>
                  <a:gd name="T69" fmla="*/ 174 h 183"/>
                  <a:gd name="T70" fmla="*/ 17 w 440"/>
                  <a:gd name="T71" fmla="*/ 183 h 183"/>
                  <a:gd name="T72" fmla="*/ 207 w 440"/>
                  <a:gd name="T73" fmla="*/ 27 h 183"/>
                  <a:gd name="T74" fmla="*/ 195 w 440"/>
                  <a:gd name="T75" fmla="*/ 29 h 183"/>
                  <a:gd name="T76" fmla="*/ 171 w 440"/>
                  <a:gd name="T77" fmla="*/ 32 h 183"/>
                  <a:gd name="T78" fmla="*/ 141 w 440"/>
                  <a:gd name="T79" fmla="*/ 41 h 183"/>
                  <a:gd name="T80" fmla="*/ 99 w 440"/>
                  <a:gd name="T81" fmla="*/ 64 h 183"/>
                  <a:gd name="T82" fmla="*/ 76 w 440"/>
                  <a:gd name="T83" fmla="*/ 87 h 183"/>
                  <a:gd name="T84" fmla="*/ 47 w 440"/>
                  <a:gd name="T85" fmla="*/ 127 h 183"/>
                  <a:gd name="T86" fmla="*/ 54 w 440"/>
                  <a:gd name="T87" fmla="*/ 141 h 183"/>
                  <a:gd name="T88" fmla="*/ 94 w 440"/>
                  <a:gd name="T89" fmla="*/ 130 h 183"/>
                  <a:gd name="T90" fmla="*/ 139 w 440"/>
                  <a:gd name="T91" fmla="*/ 121 h 183"/>
                  <a:gd name="T92" fmla="*/ 188 w 440"/>
                  <a:gd name="T93" fmla="*/ 115 h 183"/>
                  <a:gd name="T94" fmla="*/ 237 w 440"/>
                  <a:gd name="T95" fmla="*/ 112 h 183"/>
                  <a:gd name="T96" fmla="*/ 283 w 440"/>
                  <a:gd name="T97" fmla="*/ 113 h 183"/>
                  <a:gd name="T98" fmla="*/ 335 w 440"/>
                  <a:gd name="T99" fmla="*/ 118 h 183"/>
                  <a:gd name="T100" fmla="*/ 386 w 440"/>
                  <a:gd name="T101" fmla="*/ 128 h 183"/>
                  <a:gd name="T102" fmla="*/ 407 w 440"/>
                  <a:gd name="T103" fmla="*/ 118 h 183"/>
                  <a:gd name="T104" fmla="*/ 399 w 440"/>
                  <a:gd name="T105" fmla="*/ 90 h 183"/>
                  <a:gd name="T106" fmla="*/ 388 w 440"/>
                  <a:gd name="T107" fmla="*/ 73 h 183"/>
                  <a:gd name="T108" fmla="*/ 374 w 440"/>
                  <a:gd name="T109" fmla="*/ 60 h 183"/>
                  <a:gd name="T110" fmla="*/ 358 w 440"/>
                  <a:gd name="T111" fmla="*/ 49 h 183"/>
                  <a:gd name="T112" fmla="*/ 338 w 440"/>
                  <a:gd name="T113" fmla="*/ 40 h 183"/>
                  <a:gd name="T114" fmla="*/ 316 w 440"/>
                  <a:gd name="T115" fmla="*/ 35 h 183"/>
                  <a:gd name="T116" fmla="*/ 290 w 440"/>
                  <a:gd name="T117" fmla="*/ 31 h 183"/>
                  <a:gd name="T118" fmla="*/ 243 w 440"/>
                  <a:gd name="T119" fmla="*/ 2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0" h="183">
                    <a:moveTo>
                      <a:pt x="14" y="183"/>
                    </a:moveTo>
                    <a:lnTo>
                      <a:pt x="10" y="183"/>
                    </a:lnTo>
                    <a:lnTo>
                      <a:pt x="6" y="181"/>
                    </a:lnTo>
                    <a:lnTo>
                      <a:pt x="4" y="179"/>
                    </a:lnTo>
                    <a:lnTo>
                      <a:pt x="1" y="175"/>
                    </a:lnTo>
                    <a:lnTo>
                      <a:pt x="0" y="172"/>
                    </a:lnTo>
                    <a:lnTo>
                      <a:pt x="0" y="169"/>
                    </a:lnTo>
                    <a:lnTo>
                      <a:pt x="1" y="160"/>
                    </a:lnTo>
                    <a:lnTo>
                      <a:pt x="5" y="152"/>
                    </a:lnTo>
                    <a:lnTo>
                      <a:pt x="8" y="143"/>
                    </a:lnTo>
                    <a:lnTo>
                      <a:pt x="12" y="133"/>
                    </a:lnTo>
                    <a:lnTo>
                      <a:pt x="22" y="115"/>
                    </a:lnTo>
                    <a:lnTo>
                      <a:pt x="35" y="97"/>
                    </a:lnTo>
                    <a:lnTo>
                      <a:pt x="58" y="67"/>
                    </a:lnTo>
                    <a:lnTo>
                      <a:pt x="71" y="51"/>
                    </a:lnTo>
                    <a:lnTo>
                      <a:pt x="75" y="48"/>
                    </a:lnTo>
                    <a:lnTo>
                      <a:pt x="82" y="43"/>
                    </a:lnTo>
                    <a:lnTo>
                      <a:pt x="94" y="34"/>
                    </a:lnTo>
                    <a:lnTo>
                      <a:pt x="111" y="25"/>
                    </a:lnTo>
                    <a:lnTo>
                      <a:pt x="120" y="20"/>
                    </a:lnTo>
                    <a:lnTo>
                      <a:pt x="130" y="16"/>
                    </a:lnTo>
                    <a:lnTo>
                      <a:pt x="142" y="11"/>
                    </a:lnTo>
                    <a:lnTo>
                      <a:pt x="153" y="8"/>
                    </a:lnTo>
                    <a:lnTo>
                      <a:pt x="166" y="5"/>
                    </a:lnTo>
                    <a:lnTo>
                      <a:pt x="179" y="3"/>
                    </a:lnTo>
                    <a:lnTo>
                      <a:pt x="193" y="2"/>
                    </a:lnTo>
                    <a:lnTo>
                      <a:pt x="207" y="0"/>
                    </a:lnTo>
                    <a:lnTo>
                      <a:pt x="241" y="0"/>
                    </a:lnTo>
                    <a:lnTo>
                      <a:pt x="274" y="3"/>
                    </a:lnTo>
                    <a:lnTo>
                      <a:pt x="289" y="4"/>
                    </a:lnTo>
                    <a:lnTo>
                      <a:pt x="304" y="6"/>
                    </a:lnTo>
                    <a:lnTo>
                      <a:pt x="318" y="8"/>
                    </a:lnTo>
                    <a:lnTo>
                      <a:pt x="331" y="11"/>
                    </a:lnTo>
                    <a:lnTo>
                      <a:pt x="344" y="15"/>
                    </a:lnTo>
                    <a:lnTo>
                      <a:pt x="357" y="19"/>
                    </a:lnTo>
                    <a:lnTo>
                      <a:pt x="369" y="24"/>
                    </a:lnTo>
                    <a:lnTo>
                      <a:pt x="379" y="31"/>
                    </a:lnTo>
                    <a:lnTo>
                      <a:pt x="390" y="37"/>
                    </a:lnTo>
                    <a:lnTo>
                      <a:pt x="399" y="46"/>
                    </a:lnTo>
                    <a:lnTo>
                      <a:pt x="409" y="56"/>
                    </a:lnTo>
                    <a:lnTo>
                      <a:pt x="416" y="65"/>
                    </a:lnTo>
                    <a:lnTo>
                      <a:pt x="420" y="74"/>
                    </a:lnTo>
                    <a:lnTo>
                      <a:pt x="425" y="84"/>
                    </a:lnTo>
                    <a:lnTo>
                      <a:pt x="429" y="94"/>
                    </a:lnTo>
                    <a:lnTo>
                      <a:pt x="432" y="107"/>
                    </a:lnTo>
                    <a:lnTo>
                      <a:pt x="438" y="131"/>
                    </a:lnTo>
                    <a:lnTo>
                      <a:pt x="440" y="152"/>
                    </a:lnTo>
                    <a:lnTo>
                      <a:pt x="440" y="155"/>
                    </a:lnTo>
                    <a:lnTo>
                      <a:pt x="439" y="158"/>
                    </a:lnTo>
                    <a:lnTo>
                      <a:pt x="437" y="160"/>
                    </a:lnTo>
                    <a:lnTo>
                      <a:pt x="434" y="162"/>
                    </a:lnTo>
                    <a:lnTo>
                      <a:pt x="432" y="165"/>
                    </a:lnTo>
                    <a:lnTo>
                      <a:pt x="429" y="166"/>
                    </a:lnTo>
                    <a:lnTo>
                      <a:pt x="426" y="166"/>
                    </a:lnTo>
                    <a:lnTo>
                      <a:pt x="423" y="166"/>
                    </a:lnTo>
                    <a:lnTo>
                      <a:pt x="398" y="158"/>
                    </a:lnTo>
                    <a:lnTo>
                      <a:pt x="372" y="153"/>
                    </a:lnTo>
                    <a:lnTo>
                      <a:pt x="345" y="147"/>
                    </a:lnTo>
                    <a:lnTo>
                      <a:pt x="318" y="143"/>
                    </a:lnTo>
                    <a:lnTo>
                      <a:pt x="291" y="141"/>
                    </a:lnTo>
                    <a:lnTo>
                      <a:pt x="265" y="139"/>
                    </a:lnTo>
                    <a:lnTo>
                      <a:pt x="240" y="139"/>
                    </a:lnTo>
                    <a:lnTo>
                      <a:pt x="217" y="140"/>
                    </a:lnTo>
                    <a:lnTo>
                      <a:pt x="187" y="143"/>
                    </a:lnTo>
                    <a:lnTo>
                      <a:pt x="158" y="146"/>
                    </a:lnTo>
                    <a:lnTo>
                      <a:pt x="131" y="151"/>
                    </a:lnTo>
                    <a:lnTo>
                      <a:pt x="106" y="155"/>
                    </a:lnTo>
                    <a:lnTo>
                      <a:pt x="82" y="161"/>
                    </a:lnTo>
                    <a:lnTo>
                      <a:pt x="60" y="167"/>
                    </a:lnTo>
                    <a:lnTo>
                      <a:pt x="39" y="174"/>
                    </a:lnTo>
                    <a:lnTo>
                      <a:pt x="20" y="182"/>
                    </a:lnTo>
                    <a:lnTo>
                      <a:pt x="17" y="183"/>
                    </a:lnTo>
                    <a:lnTo>
                      <a:pt x="14" y="183"/>
                    </a:lnTo>
                    <a:close/>
                    <a:moveTo>
                      <a:pt x="207" y="27"/>
                    </a:moveTo>
                    <a:lnTo>
                      <a:pt x="207" y="27"/>
                    </a:lnTo>
                    <a:lnTo>
                      <a:pt x="195" y="29"/>
                    </a:lnTo>
                    <a:lnTo>
                      <a:pt x="183" y="30"/>
                    </a:lnTo>
                    <a:lnTo>
                      <a:pt x="171" y="32"/>
                    </a:lnTo>
                    <a:lnTo>
                      <a:pt x="160" y="34"/>
                    </a:lnTo>
                    <a:lnTo>
                      <a:pt x="141" y="41"/>
                    </a:lnTo>
                    <a:lnTo>
                      <a:pt x="123" y="49"/>
                    </a:lnTo>
                    <a:lnTo>
                      <a:pt x="99" y="64"/>
                    </a:lnTo>
                    <a:lnTo>
                      <a:pt x="90" y="71"/>
                    </a:lnTo>
                    <a:lnTo>
                      <a:pt x="76" y="87"/>
                    </a:lnTo>
                    <a:lnTo>
                      <a:pt x="61" y="106"/>
                    </a:lnTo>
                    <a:lnTo>
                      <a:pt x="47" y="127"/>
                    </a:lnTo>
                    <a:lnTo>
                      <a:pt x="36" y="147"/>
                    </a:lnTo>
                    <a:lnTo>
                      <a:pt x="54" y="141"/>
                    </a:lnTo>
                    <a:lnTo>
                      <a:pt x="74" y="135"/>
                    </a:lnTo>
                    <a:lnTo>
                      <a:pt x="94" y="130"/>
                    </a:lnTo>
                    <a:lnTo>
                      <a:pt x="116" y="126"/>
                    </a:lnTo>
                    <a:lnTo>
                      <a:pt x="139" y="121"/>
                    </a:lnTo>
                    <a:lnTo>
                      <a:pt x="163" y="118"/>
                    </a:lnTo>
                    <a:lnTo>
                      <a:pt x="188" y="115"/>
                    </a:lnTo>
                    <a:lnTo>
                      <a:pt x="215" y="113"/>
                    </a:lnTo>
                    <a:lnTo>
                      <a:pt x="237" y="112"/>
                    </a:lnTo>
                    <a:lnTo>
                      <a:pt x="260" y="112"/>
                    </a:lnTo>
                    <a:lnTo>
                      <a:pt x="283" y="113"/>
                    </a:lnTo>
                    <a:lnTo>
                      <a:pt x="309" y="115"/>
                    </a:lnTo>
                    <a:lnTo>
                      <a:pt x="335" y="118"/>
                    </a:lnTo>
                    <a:lnTo>
                      <a:pt x="361" y="122"/>
                    </a:lnTo>
                    <a:lnTo>
                      <a:pt x="386" y="128"/>
                    </a:lnTo>
                    <a:lnTo>
                      <a:pt x="411" y="133"/>
                    </a:lnTo>
                    <a:lnTo>
                      <a:pt x="407" y="118"/>
                    </a:lnTo>
                    <a:lnTo>
                      <a:pt x="403" y="103"/>
                    </a:lnTo>
                    <a:lnTo>
                      <a:pt x="399" y="90"/>
                    </a:lnTo>
                    <a:lnTo>
                      <a:pt x="393" y="81"/>
                    </a:lnTo>
                    <a:lnTo>
                      <a:pt x="388" y="73"/>
                    </a:lnTo>
                    <a:lnTo>
                      <a:pt x="382" y="66"/>
                    </a:lnTo>
                    <a:lnTo>
                      <a:pt x="374" y="60"/>
                    </a:lnTo>
                    <a:lnTo>
                      <a:pt x="366" y="53"/>
                    </a:lnTo>
                    <a:lnTo>
                      <a:pt x="358" y="49"/>
                    </a:lnTo>
                    <a:lnTo>
                      <a:pt x="348" y="45"/>
                    </a:lnTo>
                    <a:lnTo>
                      <a:pt x="338" y="40"/>
                    </a:lnTo>
                    <a:lnTo>
                      <a:pt x="328" y="37"/>
                    </a:lnTo>
                    <a:lnTo>
                      <a:pt x="316" y="35"/>
                    </a:lnTo>
                    <a:lnTo>
                      <a:pt x="303" y="33"/>
                    </a:lnTo>
                    <a:lnTo>
                      <a:pt x="290" y="31"/>
                    </a:lnTo>
                    <a:lnTo>
                      <a:pt x="275" y="30"/>
                    </a:lnTo>
                    <a:lnTo>
                      <a:pt x="243" y="29"/>
                    </a:lnTo>
                    <a:lnTo>
                      <a:pt x="20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6"/>
              <p:cNvSpPr>
                <a:spLocks/>
              </p:cNvSpPr>
              <p:nvPr userDrawn="1"/>
            </p:nvSpPr>
            <p:spPr bwMode="auto">
              <a:xfrm>
                <a:off x="248" y="2957"/>
                <a:ext cx="3174" cy="1363"/>
              </a:xfrm>
              <a:custGeom>
                <a:avLst/>
                <a:gdLst>
                  <a:gd name="T0" fmla="*/ 2774 w 9520"/>
                  <a:gd name="T1" fmla="*/ 3305 h 4088"/>
                  <a:gd name="T2" fmla="*/ 3084 w 9520"/>
                  <a:gd name="T3" fmla="*/ 2453 h 4088"/>
                  <a:gd name="T4" fmla="*/ 3285 w 9520"/>
                  <a:gd name="T5" fmla="*/ 2204 h 4088"/>
                  <a:gd name="T6" fmla="*/ 3836 w 9520"/>
                  <a:gd name="T7" fmla="*/ 2361 h 4088"/>
                  <a:gd name="T8" fmla="*/ 5176 w 9520"/>
                  <a:gd name="T9" fmla="*/ 3009 h 4088"/>
                  <a:gd name="T10" fmla="*/ 5866 w 9520"/>
                  <a:gd name="T11" fmla="*/ 3189 h 4088"/>
                  <a:gd name="T12" fmla="*/ 6882 w 9520"/>
                  <a:gd name="T13" fmla="*/ 3196 h 4088"/>
                  <a:gd name="T14" fmla="*/ 7534 w 9520"/>
                  <a:gd name="T15" fmla="*/ 3059 h 4088"/>
                  <a:gd name="T16" fmla="*/ 8054 w 9520"/>
                  <a:gd name="T17" fmla="*/ 2898 h 4088"/>
                  <a:gd name="T18" fmla="*/ 8352 w 9520"/>
                  <a:gd name="T19" fmla="*/ 2912 h 4088"/>
                  <a:gd name="T20" fmla="*/ 8837 w 9520"/>
                  <a:gd name="T21" fmla="*/ 3261 h 4088"/>
                  <a:gd name="T22" fmla="*/ 9400 w 9520"/>
                  <a:gd name="T23" fmla="*/ 3553 h 4088"/>
                  <a:gd name="T24" fmla="*/ 9493 w 9520"/>
                  <a:gd name="T25" fmla="*/ 3107 h 4088"/>
                  <a:gd name="T26" fmla="*/ 9400 w 9520"/>
                  <a:gd name="T27" fmla="*/ 2589 h 4088"/>
                  <a:gd name="T28" fmla="*/ 8987 w 9520"/>
                  <a:gd name="T29" fmla="*/ 1719 h 4088"/>
                  <a:gd name="T30" fmla="*/ 8293 w 9520"/>
                  <a:gd name="T31" fmla="*/ 989 h 4088"/>
                  <a:gd name="T32" fmla="*/ 7439 w 9520"/>
                  <a:gd name="T33" fmla="*/ 632 h 4088"/>
                  <a:gd name="T34" fmla="*/ 6945 w 9520"/>
                  <a:gd name="T35" fmla="*/ 612 h 4088"/>
                  <a:gd name="T36" fmla="*/ 6702 w 9520"/>
                  <a:gd name="T37" fmla="*/ 633 h 4088"/>
                  <a:gd name="T38" fmla="*/ 6269 w 9520"/>
                  <a:gd name="T39" fmla="*/ 491 h 4088"/>
                  <a:gd name="T40" fmla="*/ 5417 w 9520"/>
                  <a:gd name="T41" fmla="*/ 327 h 4088"/>
                  <a:gd name="T42" fmla="*/ 4747 w 9520"/>
                  <a:gd name="T43" fmla="*/ 329 h 4088"/>
                  <a:gd name="T44" fmla="*/ 4277 w 9520"/>
                  <a:gd name="T45" fmla="*/ 246 h 4088"/>
                  <a:gd name="T46" fmla="*/ 3777 w 9520"/>
                  <a:gd name="T47" fmla="*/ 65 h 4088"/>
                  <a:gd name="T48" fmla="*/ 2963 w 9520"/>
                  <a:gd name="T49" fmla="*/ 53 h 4088"/>
                  <a:gd name="T50" fmla="*/ 2011 w 9520"/>
                  <a:gd name="T51" fmla="*/ 458 h 4088"/>
                  <a:gd name="T52" fmla="*/ 1623 w 9520"/>
                  <a:gd name="T53" fmla="*/ 968 h 4088"/>
                  <a:gd name="T54" fmla="*/ 1254 w 9520"/>
                  <a:gd name="T55" fmla="*/ 1851 h 4088"/>
                  <a:gd name="T56" fmla="*/ 997 w 9520"/>
                  <a:gd name="T57" fmla="*/ 2575 h 4088"/>
                  <a:gd name="T58" fmla="*/ 328 w 9520"/>
                  <a:gd name="T59" fmla="*/ 3595 h 4088"/>
                  <a:gd name="T60" fmla="*/ 30 w 9520"/>
                  <a:gd name="T61" fmla="*/ 4088 h 4088"/>
                  <a:gd name="T62" fmla="*/ 250 w 9520"/>
                  <a:gd name="T63" fmla="*/ 3663 h 4088"/>
                  <a:gd name="T64" fmla="*/ 929 w 9520"/>
                  <a:gd name="T65" fmla="*/ 2639 h 4088"/>
                  <a:gd name="T66" fmla="*/ 1204 w 9520"/>
                  <a:gd name="T67" fmla="*/ 1930 h 4088"/>
                  <a:gd name="T68" fmla="*/ 1572 w 9520"/>
                  <a:gd name="T69" fmla="*/ 1004 h 4088"/>
                  <a:gd name="T70" fmla="*/ 1930 w 9520"/>
                  <a:gd name="T71" fmla="*/ 497 h 4088"/>
                  <a:gd name="T72" fmla="*/ 2882 w 9520"/>
                  <a:gd name="T73" fmla="*/ 40 h 4088"/>
                  <a:gd name="T74" fmla="*/ 3742 w 9520"/>
                  <a:gd name="T75" fmla="*/ 31 h 4088"/>
                  <a:gd name="T76" fmla="*/ 4246 w 9520"/>
                  <a:gd name="T77" fmla="*/ 208 h 4088"/>
                  <a:gd name="T78" fmla="*/ 4713 w 9520"/>
                  <a:gd name="T79" fmla="*/ 300 h 4088"/>
                  <a:gd name="T80" fmla="*/ 5374 w 9520"/>
                  <a:gd name="T81" fmla="*/ 297 h 4088"/>
                  <a:gd name="T82" fmla="*/ 6218 w 9520"/>
                  <a:gd name="T83" fmla="*/ 446 h 4088"/>
                  <a:gd name="T84" fmla="*/ 6674 w 9520"/>
                  <a:gd name="T85" fmla="*/ 600 h 4088"/>
                  <a:gd name="T86" fmla="*/ 7044 w 9520"/>
                  <a:gd name="T87" fmla="*/ 570 h 4088"/>
                  <a:gd name="T88" fmla="*/ 7630 w 9520"/>
                  <a:gd name="T89" fmla="*/ 653 h 4088"/>
                  <a:gd name="T90" fmla="*/ 8495 w 9520"/>
                  <a:gd name="T91" fmla="*/ 1109 h 4088"/>
                  <a:gd name="T92" fmla="*/ 9130 w 9520"/>
                  <a:gd name="T93" fmla="*/ 1902 h 4088"/>
                  <a:gd name="T94" fmla="*/ 9473 w 9520"/>
                  <a:gd name="T95" fmla="*/ 2743 h 4088"/>
                  <a:gd name="T96" fmla="*/ 9511 w 9520"/>
                  <a:gd name="T97" fmla="*/ 3248 h 4088"/>
                  <a:gd name="T98" fmla="*/ 9389 w 9520"/>
                  <a:gd name="T99" fmla="*/ 3631 h 4088"/>
                  <a:gd name="T100" fmla="*/ 8944 w 9520"/>
                  <a:gd name="T101" fmla="*/ 3393 h 4088"/>
                  <a:gd name="T102" fmla="*/ 8405 w 9520"/>
                  <a:gd name="T103" fmla="*/ 2964 h 4088"/>
                  <a:gd name="T104" fmla="*/ 8138 w 9520"/>
                  <a:gd name="T105" fmla="*/ 2914 h 4088"/>
                  <a:gd name="T106" fmla="*/ 7675 w 9520"/>
                  <a:gd name="T107" fmla="*/ 3039 h 4088"/>
                  <a:gd name="T108" fmla="*/ 7047 w 9520"/>
                  <a:gd name="T109" fmla="*/ 3208 h 4088"/>
                  <a:gd name="T110" fmla="*/ 6025 w 9520"/>
                  <a:gd name="T111" fmla="*/ 3230 h 4088"/>
                  <a:gd name="T112" fmla="*/ 5319 w 9520"/>
                  <a:gd name="T113" fmla="*/ 3096 h 4088"/>
                  <a:gd name="T114" fmla="*/ 4150 w 9520"/>
                  <a:gd name="T115" fmla="*/ 2542 h 4088"/>
                  <a:gd name="T116" fmla="*/ 3340 w 9520"/>
                  <a:gd name="T117" fmla="*/ 2199 h 4088"/>
                  <a:gd name="T118" fmla="*/ 3086 w 9520"/>
                  <a:gd name="T119" fmla="*/ 2503 h 4088"/>
                  <a:gd name="T120" fmla="*/ 2668 w 9520"/>
                  <a:gd name="T121" fmla="*/ 3638 h 4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20" h="4088">
                    <a:moveTo>
                      <a:pt x="2419" y="4088"/>
                    </a:moveTo>
                    <a:lnTo>
                      <a:pt x="2438" y="4055"/>
                    </a:lnTo>
                    <a:lnTo>
                      <a:pt x="2459" y="4018"/>
                    </a:lnTo>
                    <a:lnTo>
                      <a:pt x="2480" y="3978"/>
                    </a:lnTo>
                    <a:lnTo>
                      <a:pt x="2502" y="3937"/>
                    </a:lnTo>
                    <a:lnTo>
                      <a:pt x="2524" y="3892"/>
                    </a:lnTo>
                    <a:lnTo>
                      <a:pt x="2546" y="3845"/>
                    </a:lnTo>
                    <a:lnTo>
                      <a:pt x="2569" y="3797"/>
                    </a:lnTo>
                    <a:lnTo>
                      <a:pt x="2592" y="3747"/>
                    </a:lnTo>
                    <a:lnTo>
                      <a:pt x="2637" y="3641"/>
                    </a:lnTo>
                    <a:lnTo>
                      <a:pt x="2683" y="3532"/>
                    </a:lnTo>
                    <a:lnTo>
                      <a:pt x="2729" y="3420"/>
                    </a:lnTo>
                    <a:lnTo>
                      <a:pt x="2774" y="3305"/>
                    </a:lnTo>
                    <a:lnTo>
                      <a:pt x="2816" y="3193"/>
                    </a:lnTo>
                    <a:lnTo>
                      <a:pt x="2857" y="3082"/>
                    </a:lnTo>
                    <a:lnTo>
                      <a:pt x="2895" y="2975"/>
                    </a:lnTo>
                    <a:lnTo>
                      <a:pt x="2931" y="2874"/>
                    </a:lnTo>
                    <a:lnTo>
                      <a:pt x="2961" y="2780"/>
                    </a:lnTo>
                    <a:lnTo>
                      <a:pt x="2988" y="2694"/>
                    </a:lnTo>
                    <a:lnTo>
                      <a:pt x="3011" y="2619"/>
                    </a:lnTo>
                    <a:lnTo>
                      <a:pt x="3027" y="2556"/>
                    </a:lnTo>
                    <a:lnTo>
                      <a:pt x="3027" y="2555"/>
                    </a:lnTo>
                    <a:lnTo>
                      <a:pt x="3028" y="2554"/>
                    </a:lnTo>
                    <a:lnTo>
                      <a:pt x="3047" y="2518"/>
                    </a:lnTo>
                    <a:lnTo>
                      <a:pt x="3066" y="2485"/>
                    </a:lnTo>
                    <a:lnTo>
                      <a:pt x="3084" y="2453"/>
                    </a:lnTo>
                    <a:lnTo>
                      <a:pt x="3101" y="2423"/>
                    </a:lnTo>
                    <a:lnTo>
                      <a:pt x="3120" y="2396"/>
                    </a:lnTo>
                    <a:lnTo>
                      <a:pt x="3137" y="2371"/>
                    </a:lnTo>
                    <a:lnTo>
                      <a:pt x="3153" y="2347"/>
                    </a:lnTo>
                    <a:lnTo>
                      <a:pt x="3170" y="2325"/>
                    </a:lnTo>
                    <a:lnTo>
                      <a:pt x="3186" y="2305"/>
                    </a:lnTo>
                    <a:lnTo>
                      <a:pt x="3202" y="2286"/>
                    </a:lnTo>
                    <a:lnTo>
                      <a:pt x="3217" y="2269"/>
                    </a:lnTo>
                    <a:lnTo>
                      <a:pt x="3231" y="2253"/>
                    </a:lnTo>
                    <a:lnTo>
                      <a:pt x="3245" y="2239"/>
                    </a:lnTo>
                    <a:lnTo>
                      <a:pt x="3259" y="2226"/>
                    </a:lnTo>
                    <a:lnTo>
                      <a:pt x="3272" y="2215"/>
                    </a:lnTo>
                    <a:lnTo>
                      <a:pt x="3285" y="2204"/>
                    </a:lnTo>
                    <a:lnTo>
                      <a:pt x="3308" y="2187"/>
                    </a:lnTo>
                    <a:lnTo>
                      <a:pt x="3328" y="2174"/>
                    </a:lnTo>
                    <a:lnTo>
                      <a:pt x="3346" y="2164"/>
                    </a:lnTo>
                    <a:lnTo>
                      <a:pt x="3362" y="2158"/>
                    </a:lnTo>
                    <a:lnTo>
                      <a:pt x="3384" y="2151"/>
                    </a:lnTo>
                    <a:lnTo>
                      <a:pt x="3393" y="2150"/>
                    </a:lnTo>
                    <a:lnTo>
                      <a:pt x="3396" y="2150"/>
                    </a:lnTo>
                    <a:lnTo>
                      <a:pt x="3399" y="2151"/>
                    </a:lnTo>
                    <a:lnTo>
                      <a:pt x="3498" y="2199"/>
                    </a:lnTo>
                    <a:lnTo>
                      <a:pt x="3568" y="2232"/>
                    </a:lnTo>
                    <a:lnTo>
                      <a:pt x="3649" y="2271"/>
                    </a:lnTo>
                    <a:lnTo>
                      <a:pt x="3738" y="2314"/>
                    </a:lnTo>
                    <a:lnTo>
                      <a:pt x="3836" y="2361"/>
                    </a:lnTo>
                    <a:lnTo>
                      <a:pt x="3940" y="2410"/>
                    </a:lnTo>
                    <a:lnTo>
                      <a:pt x="4049" y="2463"/>
                    </a:lnTo>
                    <a:lnTo>
                      <a:pt x="4162" y="2517"/>
                    </a:lnTo>
                    <a:lnTo>
                      <a:pt x="4277" y="2573"/>
                    </a:lnTo>
                    <a:lnTo>
                      <a:pt x="4394" y="2630"/>
                    </a:lnTo>
                    <a:lnTo>
                      <a:pt x="4509" y="2686"/>
                    </a:lnTo>
                    <a:lnTo>
                      <a:pt x="4624" y="2741"/>
                    </a:lnTo>
                    <a:lnTo>
                      <a:pt x="4736" y="2795"/>
                    </a:lnTo>
                    <a:lnTo>
                      <a:pt x="4843" y="2847"/>
                    </a:lnTo>
                    <a:lnTo>
                      <a:pt x="4945" y="2896"/>
                    </a:lnTo>
                    <a:lnTo>
                      <a:pt x="5038" y="2943"/>
                    </a:lnTo>
                    <a:lnTo>
                      <a:pt x="5125" y="2985"/>
                    </a:lnTo>
                    <a:lnTo>
                      <a:pt x="5176" y="3009"/>
                    </a:lnTo>
                    <a:lnTo>
                      <a:pt x="5226" y="3031"/>
                    </a:lnTo>
                    <a:lnTo>
                      <a:pt x="5277" y="3052"/>
                    </a:lnTo>
                    <a:lnTo>
                      <a:pt x="5329" y="3071"/>
                    </a:lnTo>
                    <a:lnTo>
                      <a:pt x="5382" y="3088"/>
                    </a:lnTo>
                    <a:lnTo>
                      <a:pt x="5434" y="3105"/>
                    </a:lnTo>
                    <a:lnTo>
                      <a:pt x="5487" y="3120"/>
                    </a:lnTo>
                    <a:lnTo>
                      <a:pt x="5541" y="3133"/>
                    </a:lnTo>
                    <a:lnTo>
                      <a:pt x="5593" y="3146"/>
                    </a:lnTo>
                    <a:lnTo>
                      <a:pt x="5647" y="3156"/>
                    </a:lnTo>
                    <a:lnTo>
                      <a:pt x="5701" y="3166"/>
                    </a:lnTo>
                    <a:lnTo>
                      <a:pt x="5757" y="3175"/>
                    </a:lnTo>
                    <a:lnTo>
                      <a:pt x="5811" y="3182"/>
                    </a:lnTo>
                    <a:lnTo>
                      <a:pt x="5866" y="3189"/>
                    </a:lnTo>
                    <a:lnTo>
                      <a:pt x="5920" y="3194"/>
                    </a:lnTo>
                    <a:lnTo>
                      <a:pt x="5975" y="3200"/>
                    </a:lnTo>
                    <a:lnTo>
                      <a:pt x="6030" y="3204"/>
                    </a:lnTo>
                    <a:lnTo>
                      <a:pt x="6085" y="3206"/>
                    </a:lnTo>
                    <a:lnTo>
                      <a:pt x="6140" y="3209"/>
                    </a:lnTo>
                    <a:lnTo>
                      <a:pt x="6195" y="3210"/>
                    </a:lnTo>
                    <a:lnTo>
                      <a:pt x="6304" y="3213"/>
                    </a:lnTo>
                    <a:lnTo>
                      <a:pt x="6413" y="3211"/>
                    </a:lnTo>
                    <a:lnTo>
                      <a:pt x="6521" y="3209"/>
                    </a:lnTo>
                    <a:lnTo>
                      <a:pt x="6629" y="3206"/>
                    </a:lnTo>
                    <a:lnTo>
                      <a:pt x="6735" y="3203"/>
                    </a:lnTo>
                    <a:lnTo>
                      <a:pt x="6840" y="3197"/>
                    </a:lnTo>
                    <a:lnTo>
                      <a:pt x="6882" y="3196"/>
                    </a:lnTo>
                    <a:lnTo>
                      <a:pt x="6937" y="3193"/>
                    </a:lnTo>
                    <a:lnTo>
                      <a:pt x="6991" y="3188"/>
                    </a:lnTo>
                    <a:lnTo>
                      <a:pt x="7045" y="3181"/>
                    </a:lnTo>
                    <a:lnTo>
                      <a:pt x="7097" y="3174"/>
                    </a:lnTo>
                    <a:lnTo>
                      <a:pt x="7148" y="3164"/>
                    </a:lnTo>
                    <a:lnTo>
                      <a:pt x="7199" y="3153"/>
                    </a:lnTo>
                    <a:lnTo>
                      <a:pt x="7250" y="3142"/>
                    </a:lnTo>
                    <a:lnTo>
                      <a:pt x="7299" y="3129"/>
                    </a:lnTo>
                    <a:lnTo>
                      <a:pt x="7347" y="3116"/>
                    </a:lnTo>
                    <a:lnTo>
                      <a:pt x="7396" y="3102"/>
                    </a:lnTo>
                    <a:lnTo>
                      <a:pt x="7442" y="3088"/>
                    </a:lnTo>
                    <a:lnTo>
                      <a:pt x="7489" y="3073"/>
                    </a:lnTo>
                    <a:lnTo>
                      <a:pt x="7534" y="3059"/>
                    </a:lnTo>
                    <a:lnTo>
                      <a:pt x="7579" y="3044"/>
                    </a:lnTo>
                    <a:lnTo>
                      <a:pt x="7624" y="3028"/>
                    </a:lnTo>
                    <a:lnTo>
                      <a:pt x="7667" y="3014"/>
                    </a:lnTo>
                    <a:lnTo>
                      <a:pt x="7710" y="2999"/>
                    </a:lnTo>
                    <a:lnTo>
                      <a:pt x="7753" y="2984"/>
                    </a:lnTo>
                    <a:lnTo>
                      <a:pt x="7795" y="2970"/>
                    </a:lnTo>
                    <a:lnTo>
                      <a:pt x="7836" y="2956"/>
                    </a:lnTo>
                    <a:lnTo>
                      <a:pt x="7877" y="2943"/>
                    </a:lnTo>
                    <a:lnTo>
                      <a:pt x="7918" y="2931"/>
                    </a:lnTo>
                    <a:lnTo>
                      <a:pt x="7957" y="2920"/>
                    </a:lnTo>
                    <a:lnTo>
                      <a:pt x="7996" y="2910"/>
                    </a:lnTo>
                    <a:lnTo>
                      <a:pt x="8026" y="2904"/>
                    </a:lnTo>
                    <a:lnTo>
                      <a:pt x="8054" y="2898"/>
                    </a:lnTo>
                    <a:lnTo>
                      <a:pt x="8082" y="2893"/>
                    </a:lnTo>
                    <a:lnTo>
                      <a:pt x="8108" y="2890"/>
                    </a:lnTo>
                    <a:lnTo>
                      <a:pt x="8135" y="2887"/>
                    </a:lnTo>
                    <a:lnTo>
                      <a:pt x="8160" y="2885"/>
                    </a:lnTo>
                    <a:lnTo>
                      <a:pt x="8185" y="2884"/>
                    </a:lnTo>
                    <a:lnTo>
                      <a:pt x="8210" y="2884"/>
                    </a:lnTo>
                    <a:lnTo>
                      <a:pt x="8230" y="2885"/>
                    </a:lnTo>
                    <a:lnTo>
                      <a:pt x="8251" y="2887"/>
                    </a:lnTo>
                    <a:lnTo>
                      <a:pt x="8270" y="2890"/>
                    </a:lnTo>
                    <a:lnTo>
                      <a:pt x="8291" y="2894"/>
                    </a:lnTo>
                    <a:lnTo>
                      <a:pt x="8311" y="2899"/>
                    </a:lnTo>
                    <a:lnTo>
                      <a:pt x="8332" y="2905"/>
                    </a:lnTo>
                    <a:lnTo>
                      <a:pt x="8352" y="2912"/>
                    </a:lnTo>
                    <a:lnTo>
                      <a:pt x="8373" y="2920"/>
                    </a:lnTo>
                    <a:lnTo>
                      <a:pt x="8393" y="2929"/>
                    </a:lnTo>
                    <a:lnTo>
                      <a:pt x="8413" y="2938"/>
                    </a:lnTo>
                    <a:lnTo>
                      <a:pt x="8433" y="2948"/>
                    </a:lnTo>
                    <a:lnTo>
                      <a:pt x="8454" y="2959"/>
                    </a:lnTo>
                    <a:lnTo>
                      <a:pt x="8494" y="2983"/>
                    </a:lnTo>
                    <a:lnTo>
                      <a:pt x="8534" y="3009"/>
                    </a:lnTo>
                    <a:lnTo>
                      <a:pt x="8573" y="3037"/>
                    </a:lnTo>
                    <a:lnTo>
                      <a:pt x="8612" y="3066"/>
                    </a:lnTo>
                    <a:lnTo>
                      <a:pt x="8650" y="3097"/>
                    </a:lnTo>
                    <a:lnTo>
                      <a:pt x="8689" y="3128"/>
                    </a:lnTo>
                    <a:lnTo>
                      <a:pt x="8764" y="3194"/>
                    </a:lnTo>
                    <a:lnTo>
                      <a:pt x="8837" y="3261"/>
                    </a:lnTo>
                    <a:lnTo>
                      <a:pt x="8879" y="3299"/>
                    </a:lnTo>
                    <a:lnTo>
                      <a:pt x="8920" y="3336"/>
                    </a:lnTo>
                    <a:lnTo>
                      <a:pt x="8960" y="3371"/>
                    </a:lnTo>
                    <a:lnTo>
                      <a:pt x="9000" y="3404"/>
                    </a:lnTo>
                    <a:lnTo>
                      <a:pt x="9038" y="3434"/>
                    </a:lnTo>
                    <a:lnTo>
                      <a:pt x="9075" y="3460"/>
                    </a:lnTo>
                    <a:lnTo>
                      <a:pt x="9093" y="3472"/>
                    </a:lnTo>
                    <a:lnTo>
                      <a:pt x="9110" y="3482"/>
                    </a:lnTo>
                    <a:lnTo>
                      <a:pt x="9128" y="3492"/>
                    </a:lnTo>
                    <a:lnTo>
                      <a:pt x="9145" y="3500"/>
                    </a:lnTo>
                    <a:lnTo>
                      <a:pt x="9375" y="3603"/>
                    </a:lnTo>
                    <a:lnTo>
                      <a:pt x="9386" y="3584"/>
                    </a:lnTo>
                    <a:lnTo>
                      <a:pt x="9400" y="3553"/>
                    </a:lnTo>
                    <a:lnTo>
                      <a:pt x="9408" y="3534"/>
                    </a:lnTo>
                    <a:lnTo>
                      <a:pt x="9417" y="3513"/>
                    </a:lnTo>
                    <a:lnTo>
                      <a:pt x="9427" y="3489"/>
                    </a:lnTo>
                    <a:lnTo>
                      <a:pt x="9435" y="3463"/>
                    </a:lnTo>
                    <a:lnTo>
                      <a:pt x="9445" y="3433"/>
                    </a:lnTo>
                    <a:lnTo>
                      <a:pt x="9455" y="3399"/>
                    </a:lnTo>
                    <a:lnTo>
                      <a:pt x="9464" y="3364"/>
                    </a:lnTo>
                    <a:lnTo>
                      <a:pt x="9471" y="3326"/>
                    </a:lnTo>
                    <a:lnTo>
                      <a:pt x="9478" y="3287"/>
                    </a:lnTo>
                    <a:lnTo>
                      <a:pt x="9484" y="3245"/>
                    </a:lnTo>
                    <a:lnTo>
                      <a:pt x="9488" y="3201"/>
                    </a:lnTo>
                    <a:lnTo>
                      <a:pt x="9492" y="3155"/>
                    </a:lnTo>
                    <a:lnTo>
                      <a:pt x="9493" y="3107"/>
                    </a:lnTo>
                    <a:lnTo>
                      <a:pt x="9492" y="3057"/>
                    </a:lnTo>
                    <a:lnTo>
                      <a:pt x="9489" y="3005"/>
                    </a:lnTo>
                    <a:lnTo>
                      <a:pt x="9485" y="2951"/>
                    </a:lnTo>
                    <a:lnTo>
                      <a:pt x="9481" y="2924"/>
                    </a:lnTo>
                    <a:lnTo>
                      <a:pt x="9478" y="2896"/>
                    </a:lnTo>
                    <a:lnTo>
                      <a:pt x="9473" y="2867"/>
                    </a:lnTo>
                    <a:lnTo>
                      <a:pt x="9468" y="2839"/>
                    </a:lnTo>
                    <a:lnTo>
                      <a:pt x="9461" y="2809"/>
                    </a:lnTo>
                    <a:lnTo>
                      <a:pt x="9455" y="2780"/>
                    </a:lnTo>
                    <a:lnTo>
                      <a:pt x="9447" y="2749"/>
                    </a:lnTo>
                    <a:lnTo>
                      <a:pt x="9439" y="2718"/>
                    </a:lnTo>
                    <a:lnTo>
                      <a:pt x="9420" y="2654"/>
                    </a:lnTo>
                    <a:lnTo>
                      <a:pt x="9400" y="2589"/>
                    </a:lnTo>
                    <a:lnTo>
                      <a:pt x="9378" y="2523"/>
                    </a:lnTo>
                    <a:lnTo>
                      <a:pt x="9354" y="2457"/>
                    </a:lnTo>
                    <a:lnTo>
                      <a:pt x="9330" y="2390"/>
                    </a:lnTo>
                    <a:lnTo>
                      <a:pt x="9303" y="2322"/>
                    </a:lnTo>
                    <a:lnTo>
                      <a:pt x="9275" y="2255"/>
                    </a:lnTo>
                    <a:lnTo>
                      <a:pt x="9244" y="2187"/>
                    </a:lnTo>
                    <a:lnTo>
                      <a:pt x="9213" y="2119"/>
                    </a:lnTo>
                    <a:lnTo>
                      <a:pt x="9180" y="2051"/>
                    </a:lnTo>
                    <a:lnTo>
                      <a:pt x="9144" y="1984"/>
                    </a:lnTo>
                    <a:lnTo>
                      <a:pt x="9107" y="1916"/>
                    </a:lnTo>
                    <a:lnTo>
                      <a:pt x="9068" y="1849"/>
                    </a:lnTo>
                    <a:lnTo>
                      <a:pt x="9028" y="1783"/>
                    </a:lnTo>
                    <a:lnTo>
                      <a:pt x="8987" y="1719"/>
                    </a:lnTo>
                    <a:lnTo>
                      <a:pt x="8943" y="1654"/>
                    </a:lnTo>
                    <a:lnTo>
                      <a:pt x="8899" y="1590"/>
                    </a:lnTo>
                    <a:lnTo>
                      <a:pt x="8851" y="1527"/>
                    </a:lnTo>
                    <a:lnTo>
                      <a:pt x="8804" y="1466"/>
                    </a:lnTo>
                    <a:lnTo>
                      <a:pt x="8753" y="1405"/>
                    </a:lnTo>
                    <a:lnTo>
                      <a:pt x="8701" y="1347"/>
                    </a:lnTo>
                    <a:lnTo>
                      <a:pt x="8648" y="1290"/>
                    </a:lnTo>
                    <a:lnTo>
                      <a:pt x="8593" y="1235"/>
                    </a:lnTo>
                    <a:lnTo>
                      <a:pt x="8537" y="1182"/>
                    </a:lnTo>
                    <a:lnTo>
                      <a:pt x="8479" y="1130"/>
                    </a:lnTo>
                    <a:lnTo>
                      <a:pt x="8418" y="1081"/>
                    </a:lnTo>
                    <a:lnTo>
                      <a:pt x="8357" y="1033"/>
                    </a:lnTo>
                    <a:lnTo>
                      <a:pt x="8293" y="989"/>
                    </a:lnTo>
                    <a:lnTo>
                      <a:pt x="8228" y="946"/>
                    </a:lnTo>
                    <a:lnTo>
                      <a:pt x="8161" y="906"/>
                    </a:lnTo>
                    <a:lnTo>
                      <a:pt x="8093" y="869"/>
                    </a:lnTo>
                    <a:lnTo>
                      <a:pt x="8023" y="834"/>
                    </a:lnTo>
                    <a:lnTo>
                      <a:pt x="7949" y="801"/>
                    </a:lnTo>
                    <a:lnTo>
                      <a:pt x="7875" y="770"/>
                    </a:lnTo>
                    <a:lnTo>
                      <a:pt x="7806" y="742"/>
                    </a:lnTo>
                    <a:lnTo>
                      <a:pt x="7738" y="717"/>
                    </a:lnTo>
                    <a:lnTo>
                      <a:pt x="7673" y="695"/>
                    </a:lnTo>
                    <a:lnTo>
                      <a:pt x="7611" y="676"/>
                    </a:lnTo>
                    <a:lnTo>
                      <a:pt x="7551" y="658"/>
                    </a:lnTo>
                    <a:lnTo>
                      <a:pt x="7494" y="644"/>
                    </a:lnTo>
                    <a:lnTo>
                      <a:pt x="7439" y="632"/>
                    </a:lnTo>
                    <a:lnTo>
                      <a:pt x="7386" y="622"/>
                    </a:lnTo>
                    <a:lnTo>
                      <a:pt x="7336" y="613"/>
                    </a:lnTo>
                    <a:lnTo>
                      <a:pt x="7289" y="607"/>
                    </a:lnTo>
                    <a:lnTo>
                      <a:pt x="7243" y="602"/>
                    </a:lnTo>
                    <a:lnTo>
                      <a:pt x="7201" y="599"/>
                    </a:lnTo>
                    <a:lnTo>
                      <a:pt x="7161" y="597"/>
                    </a:lnTo>
                    <a:lnTo>
                      <a:pt x="7124" y="597"/>
                    </a:lnTo>
                    <a:lnTo>
                      <a:pt x="7088" y="597"/>
                    </a:lnTo>
                    <a:lnTo>
                      <a:pt x="7054" y="599"/>
                    </a:lnTo>
                    <a:lnTo>
                      <a:pt x="7024" y="601"/>
                    </a:lnTo>
                    <a:lnTo>
                      <a:pt x="6995" y="605"/>
                    </a:lnTo>
                    <a:lnTo>
                      <a:pt x="6969" y="608"/>
                    </a:lnTo>
                    <a:lnTo>
                      <a:pt x="6945" y="612"/>
                    </a:lnTo>
                    <a:lnTo>
                      <a:pt x="6924" y="616"/>
                    </a:lnTo>
                    <a:lnTo>
                      <a:pt x="6905" y="621"/>
                    </a:lnTo>
                    <a:lnTo>
                      <a:pt x="6873" y="629"/>
                    </a:lnTo>
                    <a:lnTo>
                      <a:pt x="6851" y="638"/>
                    </a:lnTo>
                    <a:lnTo>
                      <a:pt x="6837" y="643"/>
                    </a:lnTo>
                    <a:lnTo>
                      <a:pt x="6832" y="646"/>
                    </a:lnTo>
                    <a:lnTo>
                      <a:pt x="6829" y="647"/>
                    </a:lnTo>
                    <a:lnTo>
                      <a:pt x="6826" y="648"/>
                    </a:lnTo>
                    <a:lnTo>
                      <a:pt x="6813" y="647"/>
                    </a:lnTo>
                    <a:lnTo>
                      <a:pt x="6781" y="643"/>
                    </a:lnTo>
                    <a:lnTo>
                      <a:pt x="6759" y="641"/>
                    </a:lnTo>
                    <a:lnTo>
                      <a:pt x="6733" y="637"/>
                    </a:lnTo>
                    <a:lnTo>
                      <a:pt x="6702" y="633"/>
                    </a:lnTo>
                    <a:lnTo>
                      <a:pt x="6669" y="626"/>
                    </a:lnTo>
                    <a:lnTo>
                      <a:pt x="6630" y="619"/>
                    </a:lnTo>
                    <a:lnTo>
                      <a:pt x="6590" y="609"/>
                    </a:lnTo>
                    <a:lnTo>
                      <a:pt x="6552" y="598"/>
                    </a:lnTo>
                    <a:lnTo>
                      <a:pt x="6515" y="587"/>
                    </a:lnTo>
                    <a:lnTo>
                      <a:pt x="6478" y="574"/>
                    </a:lnTo>
                    <a:lnTo>
                      <a:pt x="6441" y="561"/>
                    </a:lnTo>
                    <a:lnTo>
                      <a:pt x="6406" y="547"/>
                    </a:lnTo>
                    <a:lnTo>
                      <a:pt x="6371" y="531"/>
                    </a:lnTo>
                    <a:lnTo>
                      <a:pt x="6348" y="521"/>
                    </a:lnTo>
                    <a:lnTo>
                      <a:pt x="6323" y="512"/>
                    </a:lnTo>
                    <a:lnTo>
                      <a:pt x="6298" y="502"/>
                    </a:lnTo>
                    <a:lnTo>
                      <a:pt x="6269" y="491"/>
                    </a:lnTo>
                    <a:lnTo>
                      <a:pt x="6208" y="471"/>
                    </a:lnTo>
                    <a:lnTo>
                      <a:pt x="6140" y="451"/>
                    </a:lnTo>
                    <a:lnTo>
                      <a:pt x="6066" y="432"/>
                    </a:lnTo>
                    <a:lnTo>
                      <a:pt x="5989" y="412"/>
                    </a:lnTo>
                    <a:lnTo>
                      <a:pt x="5907" y="395"/>
                    </a:lnTo>
                    <a:lnTo>
                      <a:pt x="5821" y="378"/>
                    </a:lnTo>
                    <a:lnTo>
                      <a:pt x="5734" y="364"/>
                    </a:lnTo>
                    <a:lnTo>
                      <a:pt x="5644" y="350"/>
                    </a:lnTo>
                    <a:lnTo>
                      <a:pt x="5599" y="344"/>
                    </a:lnTo>
                    <a:lnTo>
                      <a:pt x="5554" y="339"/>
                    </a:lnTo>
                    <a:lnTo>
                      <a:pt x="5508" y="335"/>
                    </a:lnTo>
                    <a:lnTo>
                      <a:pt x="5463" y="330"/>
                    </a:lnTo>
                    <a:lnTo>
                      <a:pt x="5417" y="327"/>
                    </a:lnTo>
                    <a:lnTo>
                      <a:pt x="5373" y="324"/>
                    </a:lnTo>
                    <a:lnTo>
                      <a:pt x="5328" y="323"/>
                    </a:lnTo>
                    <a:lnTo>
                      <a:pt x="5284" y="321"/>
                    </a:lnTo>
                    <a:lnTo>
                      <a:pt x="5240" y="321"/>
                    </a:lnTo>
                    <a:lnTo>
                      <a:pt x="5197" y="321"/>
                    </a:lnTo>
                    <a:lnTo>
                      <a:pt x="5155" y="322"/>
                    </a:lnTo>
                    <a:lnTo>
                      <a:pt x="5113" y="324"/>
                    </a:lnTo>
                    <a:lnTo>
                      <a:pt x="5036" y="328"/>
                    </a:lnTo>
                    <a:lnTo>
                      <a:pt x="4962" y="331"/>
                    </a:lnTo>
                    <a:lnTo>
                      <a:pt x="4889" y="332"/>
                    </a:lnTo>
                    <a:lnTo>
                      <a:pt x="4817" y="331"/>
                    </a:lnTo>
                    <a:lnTo>
                      <a:pt x="4781" y="330"/>
                    </a:lnTo>
                    <a:lnTo>
                      <a:pt x="4747" y="329"/>
                    </a:lnTo>
                    <a:lnTo>
                      <a:pt x="4711" y="327"/>
                    </a:lnTo>
                    <a:lnTo>
                      <a:pt x="4676" y="324"/>
                    </a:lnTo>
                    <a:lnTo>
                      <a:pt x="4640" y="321"/>
                    </a:lnTo>
                    <a:lnTo>
                      <a:pt x="4605" y="316"/>
                    </a:lnTo>
                    <a:lnTo>
                      <a:pt x="4570" y="311"/>
                    </a:lnTo>
                    <a:lnTo>
                      <a:pt x="4534" y="306"/>
                    </a:lnTo>
                    <a:lnTo>
                      <a:pt x="4499" y="300"/>
                    </a:lnTo>
                    <a:lnTo>
                      <a:pt x="4462" y="293"/>
                    </a:lnTo>
                    <a:lnTo>
                      <a:pt x="4426" y="285"/>
                    </a:lnTo>
                    <a:lnTo>
                      <a:pt x="4390" y="276"/>
                    </a:lnTo>
                    <a:lnTo>
                      <a:pt x="4353" y="268"/>
                    </a:lnTo>
                    <a:lnTo>
                      <a:pt x="4315" y="257"/>
                    </a:lnTo>
                    <a:lnTo>
                      <a:pt x="4277" y="246"/>
                    </a:lnTo>
                    <a:lnTo>
                      <a:pt x="4238" y="234"/>
                    </a:lnTo>
                    <a:lnTo>
                      <a:pt x="4199" y="221"/>
                    </a:lnTo>
                    <a:lnTo>
                      <a:pt x="4160" y="207"/>
                    </a:lnTo>
                    <a:lnTo>
                      <a:pt x="4120" y="193"/>
                    </a:lnTo>
                    <a:lnTo>
                      <a:pt x="4079" y="177"/>
                    </a:lnTo>
                    <a:lnTo>
                      <a:pt x="4036" y="160"/>
                    </a:lnTo>
                    <a:lnTo>
                      <a:pt x="3993" y="143"/>
                    </a:lnTo>
                    <a:lnTo>
                      <a:pt x="3950" y="123"/>
                    </a:lnTo>
                    <a:lnTo>
                      <a:pt x="3906" y="104"/>
                    </a:lnTo>
                    <a:lnTo>
                      <a:pt x="3881" y="94"/>
                    </a:lnTo>
                    <a:lnTo>
                      <a:pt x="3851" y="84"/>
                    </a:lnTo>
                    <a:lnTo>
                      <a:pt x="3816" y="74"/>
                    </a:lnTo>
                    <a:lnTo>
                      <a:pt x="3777" y="65"/>
                    </a:lnTo>
                    <a:lnTo>
                      <a:pt x="3733" y="56"/>
                    </a:lnTo>
                    <a:lnTo>
                      <a:pt x="3685" y="49"/>
                    </a:lnTo>
                    <a:lnTo>
                      <a:pt x="3634" y="42"/>
                    </a:lnTo>
                    <a:lnTo>
                      <a:pt x="3577" y="37"/>
                    </a:lnTo>
                    <a:lnTo>
                      <a:pt x="3519" y="31"/>
                    </a:lnTo>
                    <a:lnTo>
                      <a:pt x="3458" y="28"/>
                    </a:lnTo>
                    <a:lnTo>
                      <a:pt x="3393" y="26"/>
                    </a:lnTo>
                    <a:lnTo>
                      <a:pt x="3326" y="26"/>
                    </a:lnTo>
                    <a:lnTo>
                      <a:pt x="3257" y="27"/>
                    </a:lnTo>
                    <a:lnTo>
                      <a:pt x="3186" y="30"/>
                    </a:lnTo>
                    <a:lnTo>
                      <a:pt x="3112" y="36"/>
                    </a:lnTo>
                    <a:lnTo>
                      <a:pt x="3039" y="43"/>
                    </a:lnTo>
                    <a:lnTo>
                      <a:pt x="2963" y="53"/>
                    </a:lnTo>
                    <a:lnTo>
                      <a:pt x="2886" y="66"/>
                    </a:lnTo>
                    <a:lnTo>
                      <a:pt x="2810" y="81"/>
                    </a:lnTo>
                    <a:lnTo>
                      <a:pt x="2733" y="98"/>
                    </a:lnTo>
                    <a:lnTo>
                      <a:pt x="2656" y="119"/>
                    </a:lnTo>
                    <a:lnTo>
                      <a:pt x="2580" y="143"/>
                    </a:lnTo>
                    <a:lnTo>
                      <a:pt x="2504" y="169"/>
                    </a:lnTo>
                    <a:lnTo>
                      <a:pt x="2429" y="200"/>
                    </a:lnTo>
                    <a:lnTo>
                      <a:pt x="2354" y="233"/>
                    </a:lnTo>
                    <a:lnTo>
                      <a:pt x="2282" y="270"/>
                    </a:lnTo>
                    <a:lnTo>
                      <a:pt x="2210" y="311"/>
                    </a:lnTo>
                    <a:lnTo>
                      <a:pt x="2141" y="356"/>
                    </a:lnTo>
                    <a:lnTo>
                      <a:pt x="2074" y="405"/>
                    </a:lnTo>
                    <a:lnTo>
                      <a:pt x="2011" y="458"/>
                    </a:lnTo>
                    <a:lnTo>
                      <a:pt x="1949" y="516"/>
                    </a:lnTo>
                    <a:lnTo>
                      <a:pt x="1891" y="578"/>
                    </a:lnTo>
                    <a:lnTo>
                      <a:pt x="1881" y="588"/>
                    </a:lnTo>
                    <a:lnTo>
                      <a:pt x="1862" y="612"/>
                    </a:lnTo>
                    <a:lnTo>
                      <a:pt x="1833" y="649"/>
                    </a:lnTo>
                    <a:lnTo>
                      <a:pt x="1796" y="698"/>
                    </a:lnTo>
                    <a:lnTo>
                      <a:pt x="1775" y="728"/>
                    </a:lnTo>
                    <a:lnTo>
                      <a:pt x="1753" y="760"/>
                    </a:lnTo>
                    <a:lnTo>
                      <a:pt x="1729" y="796"/>
                    </a:lnTo>
                    <a:lnTo>
                      <a:pt x="1704" y="834"/>
                    </a:lnTo>
                    <a:lnTo>
                      <a:pt x="1678" y="875"/>
                    </a:lnTo>
                    <a:lnTo>
                      <a:pt x="1651" y="920"/>
                    </a:lnTo>
                    <a:lnTo>
                      <a:pt x="1623" y="968"/>
                    </a:lnTo>
                    <a:lnTo>
                      <a:pt x="1595" y="1018"/>
                    </a:lnTo>
                    <a:lnTo>
                      <a:pt x="1566" y="1072"/>
                    </a:lnTo>
                    <a:lnTo>
                      <a:pt x="1537" y="1128"/>
                    </a:lnTo>
                    <a:lnTo>
                      <a:pt x="1507" y="1187"/>
                    </a:lnTo>
                    <a:lnTo>
                      <a:pt x="1477" y="1250"/>
                    </a:lnTo>
                    <a:lnTo>
                      <a:pt x="1448" y="1316"/>
                    </a:lnTo>
                    <a:lnTo>
                      <a:pt x="1418" y="1384"/>
                    </a:lnTo>
                    <a:lnTo>
                      <a:pt x="1389" y="1454"/>
                    </a:lnTo>
                    <a:lnTo>
                      <a:pt x="1361" y="1529"/>
                    </a:lnTo>
                    <a:lnTo>
                      <a:pt x="1333" y="1605"/>
                    </a:lnTo>
                    <a:lnTo>
                      <a:pt x="1306" y="1684"/>
                    </a:lnTo>
                    <a:lnTo>
                      <a:pt x="1280" y="1766"/>
                    </a:lnTo>
                    <a:lnTo>
                      <a:pt x="1254" y="1851"/>
                    </a:lnTo>
                    <a:lnTo>
                      <a:pt x="1230" y="1939"/>
                    </a:lnTo>
                    <a:lnTo>
                      <a:pt x="1207" y="2029"/>
                    </a:lnTo>
                    <a:lnTo>
                      <a:pt x="1187" y="2122"/>
                    </a:lnTo>
                    <a:lnTo>
                      <a:pt x="1167" y="2218"/>
                    </a:lnTo>
                    <a:lnTo>
                      <a:pt x="1154" y="2252"/>
                    </a:lnTo>
                    <a:lnTo>
                      <a:pt x="1140" y="2285"/>
                    </a:lnTo>
                    <a:lnTo>
                      <a:pt x="1126" y="2320"/>
                    </a:lnTo>
                    <a:lnTo>
                      <a:pt x="1110" y="2354"/>
                    </a:lnTo>
                    <a:lnTo>
                      <a:pt x="1094" y="2390"/>
                    </a:lnTo>
                    <a:lnTo>
                      <a:pt x="1076" y="2426"/>
                    </a:lnTo>
                    <a:lnTo>
                      <a:pt x="1057" y="2462"/>
                    </a:lnTo>
                    <a:lnTo>
                      <a:pt x="1038" y="2499"/>
                    </a:lnTo>
                    <a:lnTo>
                      <a:pt x="997" y="2575"/>
                    </a:lnTo>
                    <a:lnTo>
                      <a:pt x="954" y="2651"/>
                    </a:lnTo>
                    <a:lnTo>
                      <a:pt x="907" y="2728"/>
                    </a:lnTo>
                    <a:lnTo>
                      <a:pt x="860" y="2807"/>
                    </a:lnTo>
                    <a:lnTo>
                      <a:pt x="810" y="2884"/>
                    </a:lnTo>
                    <a:lnTo>
                      <a:pt x="759" y="2963"/>
                    </a:lnTo>
                    <a:lnTo>
                      <a:pt x="707" y="3042"/>
                    </a:lnTo>
                    <a:lnTo>
                      <a:pt x="654" y="3120"/>
                    </a:lnTo>
                    <a:lnTo>
                      <a:pt x="603" y="3196"/>
                    </a:lnTo>
                    <a:lnTo>
                      <a:pt x="551" y="3272"/>
                    </a:lnTo>
                    <a:lnTo>
                      <a:pt x="500" y="3345"/>
                    </a:lnTo>
                    <a:lnTo>
                      <a:pt x="450" y="3418"/>
                    </a:lnTo>
                    <a:lnTo>
                      <a:pt x="388" y="3507"/>
                    </a:lnTo>
                    <a:lnTo>
                      <a:pt x="328" y="3595"/>
                    </a:lnTo>
                    <a:lnTo>
                      <a:pt x="272" y="3677"/>
                    </a:lnTo>
                    <a:lnTo>
                      <a:pt x="220" y="3754"/>
                    </a:lnTo>
                    <a:lnTo>
                      <a:pt x="173" y="3827"/>
                    </a:lnTo>
                    <a:lnTo>
                      <a:pt x="132" y="3895"/>
                    </a:lnTo>
                    <a:lnTo>
                      <a:pt x="112" y="3926"/>
                    </a:lnTo>
                    <a:lnTo>
                      <a:pt x="96" y="3956"/>
                    </a:lnTo>
                    <a:lnTo>
                      <a:pt x="80" y="3984"/>
                    </a:lnTo>
                    <a:lnTo>
                      <a:pt x="67" y="4010"/>
                    </a:lnTo>
                    <a:lnTo>
                      <a:pt x="56" y="4031"/>
                    </a:lnTo>
                    <a:lnTo>
                      <a:pt x="48" y="4051"/>
                    </a:lnTo>
                    <a:lnTo>
                      <a:pt x="39" y="4070"/>
                    </a:lnTo>
                    <a:lnTo>
                      <a:pt x="30" y="4087"/>
                    </a:lnTo>
                    <a:lnTo>
                      <a:pt x="30" y="4088"/>
                    </a:lnTo>
                    <a:lnTo>
                      <a:pt x="0" y="4088"/>
                    </a:lnTo>
                    <a:lnTo>
                      <a:pt x="5" y="4075"/>
                    </a:lnTo>
                    <a:lnTo>
                      <a:pt x="14" y="4058"/>
                    </a:lnTo>
                    <a:lnTo>
                      <a:pt x="23" y="4039"/>
                    </a:lnTo>
                    <a:lnTo>
                      <a:pt x="32" y="4020"/>
                    </a:lnTo>
                    <a:lnTo>
                      <a:pt x="42" y="3998"/>
                    </a:lnTo>
                    <a:lnTo>
                      <a:pt x="56" y="3971"/>
                    </a:lnTo>
                    <a:lnTo>
                      <a:pt x="71" y="3943"/>
                    </a:lnTo>
                    <a:lnTo>
                      <a:pt x="89" y="3913"/>
                    </a:lnTo>
                    <a:lnTo>
                      <a:pt x="108" y="3882"/>
                    </a:lnTo>
                    <a:lnTo>
                      <a:pt x="150" y="3814"/>
                    </a:lnTo>
                    <a:lnTo>
                      <a:pt x="198" y="3740"/>
                    </a:lnTo>
                    <a:lnTo>
                      <a:pt x="250" y="3663"/>
                    </a:lnTo>
                    <a:lnTo>
                      <a:pt x="306" y="3580"/>
                    </a:lnTo>
                    <a:lnTo>
                      <a:pt x="365" y="3493"/>
                    </a:lnTo>
                    <a:lnTo>
                      <a:pt x="428" y="3403"/>
                    </a:lnTo>
                    <a:lnTo>
                      <a:pt x="477" y="3330"/>
                    </a:lnTo>
                    <a:lnTo>
                      <a:pt x="528" y="3257"/>
                    </a:lnTo>
                    <a:lnTo>
                      <a:pt x="580" y="3181"/>
                    </a:lnTo>
                    <a:lnTo>
                      <a:pt x="632" y="3105"/>
                    </a:lnTo>
                    <a:lnTo>
                      <a:pt x="684" y="3028"/>
                    </a:lnTo>
                    <a:lnTo>
                      <a:pt x="735" y="2949"/>
                    </a:lnTo>
                    <a:lnTo>
                      <a:pt x="786" y="2871"/>
                    </a:lnTo>
                    <a:lnTo>
                      <a:pt x="836" y="2794"/>
                    </a:lnTo>
                    <a:lnTo>
                      <a:pt x="883" y="2716"/>
                    </a:lnTo>
                    <a:lnTo>
                      <a:pt x="929" y="2639"/>
                    </a:lnTo>
                    <a:lnTo>
                      <a:pt x="973" y="2563"/>
                    </a:lnTo>
                    <a:lnTo>
                      <a:pt x="1013" y="2488"/>
                    </a:lnTo>
                    <a:lnTo>
                      <a:pt x="1032" y="2453"/>
                    </a:lnTo>
                    <a:lnTo>
                      <a:pt x="1051" y="2416"/>
                    </a:lnTo>
                    <a:lnTo>
                      <a:pt x="1068" y="2380"/>
                    </a:lnTo>
                    <a:lnTo>
                      <a:pt x="1085" y="2346"/>
                    </a:lnTo>
                    <a:lnTo>
                      <a:pt x="1100" y="2311"/>
                    </a:lnTo>
                    <a:lnTo>
                      <a:pt x="1116" y="2277"/>
                    </a:lnTo>
                    <a:lnTo>
                      <a:pt x="1128" y="2244"/>
                    </a:lnTo>
                    <a:lnTo>
                      <a:pt x="1140" y="2212"/>
                    </a:lnTo>
                    <a:lnTo>
                      <a:pt x="1161" y="2115"/>
                    </a:lnTo>
                    <a:lnTo>
                      <a:pt x="1181" y="2022"/>
                    </a:lnTo>
                    <a:lnTo>
                      <a:pt x="1204" y="1930"/>
                    </a:lnTo>
                    <a:lnTo>
                      <a:pt x="1229" y="1843"/>
                    </a:lnTo>
                    <a:lnTo>
                      <a:pt x="1254" y="1757"/>
                    </a:lnTo>
                    <a:lnTo>
                      <a:pt x="1281" y="1674"/>
                    </a:lnTo>
                    <a:lnTo>
                      <a:pt x="1308" y="1594"/>
                    </a:lnTo>
                    <a:lnTo>
                      <a:pt x="1336" y="1518"/>
                    </a:lnTo>
                    <a:lnTo>
                      <a:pt x="1365" y="1443"/>
                    </a:lnTo>
                    <a:lnTo>
                      <a:pt x="1394" y="1372"/>
                    </a:lnTo>
                    <a:lnTo>
                      <a:pt x="1423" y="1303"/>
                    </a:lnTo>
                    <a:lnTo>
                      <a:pt x="1453" y="1237"/>
                    </a:lnTo>
                    <a:lnTo>
                      <a:pt x="1484" y="1174"/>
                    </a:lnTo>
                    <a:lnTo>
                      <a:pt x="1513" y="1115"/>
                    </a:lnTo>
                    <a:lnTo>
                      <a:pt x="1543" y="1058"/>
                    </a:lnTo>
                    <a:lnTo>
                      <a:pt x="1572" y="1004"/>
                    </a:lnTo>
                    <a:lnTo>
                      <a:pt x="1600" y="953"/>
                    </a:lnTo>
                    <a:lnTo>
                      <a:pt x="1628" y="906"/>
                    </a:lnTo>
                    <a:lnTo>
                      <a:pt x="1657" y="860"/>
                    </a:lnTo>
                    <a:lnTo>
                      <a:pt x="1682" y="818"/>
                    </a:lnTo>
                    <a:lnTo>
                      <a:pt x="1707" y="779"/>
                    </a:lnTo>
                    <a:lnTo>
                      <a:pt x="1731" y="744"/>
                    </a:lnTo>
                    <a:lnTo>
                      <a:pt x="1754" y="711"/>
                    </a:lnTo>
                    <a:lnTo>
                      <a:pt x="1775" y="681"/>
                    </a:lnTo>
                    <a:lnTo>
                      <a:pt x="1812" y="632"/>
                    </a:lnTo>
                    <a:lnTo>
                      <a:pt x="1841" y="595"/>
                    </a:lnTo>
                    <a:lnTo>
                      <a:pt x="1861" y="571"/>
                    </a:lnTo>
                    <a:lnTo>
                      <a:pt x="1870" y="559"/>
                    </a:lnTo>
                    <a:lnTo>
                      <a:pt x="1930" y="497"/>
                    </a:lnTo>
                    <a:lnTo>
                      <a:pt x="1992" y="438"/>
                    </a:lnTo>
                    <a:lnTo>
                      <a:pt x="2057" y="384"/>
                    </a:lnTo>
                    <a:lnTo>
                      <a:pt x="2125" y="335"/>
                    </a:lnTo>
                    <a:lnTo>
                      <a:pt x="2195" y="289"/>
                    </a:lnTo>
                    <a:lnTo>
                      <a:pt x="2268" y="247"/>
                    </a:lnTo>
                    <a:lnTo>
                      <a:pt x="2341" y="209"/>
                    </a:lnTo>
                    <a:lnTo>
                      <a:pt x="2417" y="176"/>
                    </a:lnTo>
                    <a:lnTo>
                      <a:pt x="2493" y="146"/>
                    </a:lnTo>
                    <a:lnTo>
                      <a:pt x="2570" y="118"/>
                    </a:lnTo>
                    <a:lnTo>
                      <a:pt x="2648" y="94"/>
                    </a:lnTo>
                    <a:lnTo>
                      <a:pt x="2727" y="73"/>
                    </a:lnTo>
                    <a:lnTo>
                      <a:pt x="2804" y="55"/>
                    </a:lnTo>
                    <a:lnTo>
                      <a:pt x="2882" y="40"/>
                    </a:lnTo>
                    <a:lnTo>
                      <a:pt x="2960" y="28"/>
                    </a:lnTo>
                    <a:lnTo>
                      <a:pt x="3035" y="17"/>
                    </a:lnTo>
                    <a:lnTo>
                      <a:pt x="3111" y="10"/>
                    </a:lnTo>
                    <a:lnTo>
                      <a:pt x="3186" y="4"/>
                    </a:lnTo>
                    <a:lnTo>
                      <a:pt x="3258" y="1"/>
                    </a:lnTo>
                    <a:lnTo>
                      <a:pt x="3328" y="0"/>
                    </a:lnTo>
                    <a:lnTo>
                      <a:pt x="3396" y="0"/>
                    </a:lnTo>
                    <a:lnTo>
                      <a:pt x="3461" y="2"/>
                    </a:lnTo>
                    <a:lnTo>
                      <a:pt x="3525" y="5"/>
                    </a:lnTo>
                    <a:lnTo>
                      <a:pt x="3584" y="11"/>
                    </a:lnTo>
                    <a:lnTo>
                      <a:pt x="3640" y="16"/>
                    </a:lnTo>
                    <a:lnTo>
                      <a:pt x="3693" y="24"/>
                    </a:lnTo>
                    <a:lnTo>
                      <a:pt x="3742" y="31"/>
                    </a:lnTo>
                    <a:lnTo>
                      <a:pt x="3786" y="40"/>
                    </a:lnTo>
                    <a:lnTo>
                      <a:pt x="3826" y="50"/>
                    </a:lnTo>
                    <a:lnTo>
                      <a:pt x="3861" y="58"/>
                    </a:lnTo>
                    <a:lnTo>
                      <a:pt x="3892" y="69"/>
                    </a:lnTo>
                    <a:lnTo>
                      <a:pt x="3917" y="79"/>
                    </a:lnTo>
                    <a:lnTo>
                      <a:pt x="3961" y="98"/>
                    </a:lnTo>
                    <a:lnTo>
                      <a:pt x="4004" y="118"/>
                    </a:lnTo>
                    <a:lnTo>
                      <a:pt x="4046" y="135"/>
                    </a:lnTo>
                    <a:lnTo>
                      <a:pt x="4087" y="151"/>
                    </a:lnTo>
                    <a:lnTo>
                      <a:pt x="4128" y="167"/>
                    </a:lnTo>
                    <a:lnTo>
                      <a:pt x="4168" y="181"/>
                    </a:lnTo>
                    <a:lnTo>
                      <a:pt x="4207" y="195"/>
                    </a:lnTo>
                    <a:lnTo>
                      <a:pt x="4246" y="208"/>
                    </a:lnTo>
                    <a:lnTo>
                      <a:pt x="4284" y="220"/>
                    </a:lnTo>
                    <a:lnTo>
                      <a:pt x="4321" y="231"/>
                    </a:lnTo>
                    <a:lnTo>
                      <a:pt x="4359" y="241"/>
                    </a:lnTo>
                    <a:lnTo>
                      <a:pt x="4395" y="250"/>
                    </a:lnTo>
                    <a:lnTo>
                      <a:pt x="4432" y="259"/>
                    </a:lnTo>
                    <a:lnTo>
                      <a:pt x="4467" y="267"/>
                    </a:lnTo>
                    <a:lnTo>
                      <a:pt x="4503" y="273"/>
                    </a:lnTo>
                    <a:lnTo>
                      <a:pt x="4539" y="280"/>
                    </a:lnTo>
                    <a:lnTo>
                      <a:pt x="4574" y="285"/>
                    </a:lnTo>
                    <a:lnTo>
                      <a:pt x="4609" y="289"/>
                    </a:lnTo>
                    <a:lnTo>
                      <a:pt x="4644" y="294"/>
                    </a:lnTo>
                    <a:lnTo>
                      <a:pt x="4679" y="297"/>
                    </a:lnTo>
                    <a:lnTo>
                      <a:pt x="4713" y="300"/>
                    </a:lnTo>
                    <a:lnTo>
                      <a:pt x="4749" y="302"/>
                    </a:lnTo>
                    <a:lnTo>
                      <a:pt x="4784" y="303"/>
                    </a:lnTo>
                    <a:lnTo>
                      <a:pt x="4819" y="304"/>
                    </a:lnTo>
                    <a:lnTo>
                      <a:pt x="4889" y="306"/>
                    </a:lnTo>
                    <a:lnTo>
                      <a:pt x="4962" y="304"/>
                    </a:lnTo>
                    <a:lnTo>
                      <a:pt x="5035" y="301"/>
                    </a:lnTo>
                    <a:lnTo>
                      <a:pt x="5111" y="297"/>
                    </a:lnTo>
                    <a:lnTo>
                      <a:pt x="5153" y="295"/>
                    </a:lnTo>
                    <a:lnTo>
                      <a:pt x="5196" y="294"/>
                    </a:lnTo>
                    <a:lnTo>
                      <a:pt x="5239" y="294"/>
                    </a:lnTo>
                    <a:lnTo>
                      <a:pt x="5284" y="294"/>
                    </a:lnTo>
                    <a:lnTo>
                      <a:pt x="5329" y="296"/>
                    </a:lnTo>
                    <a:lnTo>
                      <a:pt x="5374" y="297"/>
                    </a:lnTo>
                    <a:lnTo>
                      <a:pt x="5420" y="300"/>
                    </a:lnTo>
                    <a:lnTo>
                      <a:pt x="5465" y="303"/>
                    </a:lnTo>
                    <a:lnTo>
                      <a:pt x="5510" y="308"/>
                    </a:lnTo>
                    <a:lnTo>
                      <a:pt x="5557" y="312"/>
                    </a:lnTo>
                    <a:lnTo>
                      <a:pt x="5602" y="317"/>
                    </a:lnTo>
                    <a:lnTo>
                      <a:pt x="5647" y="324"/>
                    </a:lnTo>
                    <a:lnTo>
                      <a:pt x="5738" y="337"/>
                    </a:lnTo>
                    <a:lnTo>
                      <a:pt x="5827" y="352"/>
                    </a:lnTo>
                    <a:lnTo>
                      <a:pt x="5913" y="369"/>
                    </a:lnTo>
                    <a:lnTo>
                      <a:pt x="5995" y="386"/>
                    </a:lnTo>
                    <a:lnTo>
                      <a:pt x="6074" y="406"/>
                    </a:lnTo>
                    <a:lnTo>
                      <a:pt x="6149" y="425"/>
                    </a:lnTo>
                    <a:lnTo>
                      <a:pt x="6218" y="446"/>
                    </a:lnTo>
                    <a:lnTo>
                      <a:pt x="6279" y="466"/>
                    </a:lnTo>
                    <a:lnTo>
                      <a:pt x="6308" y="477"/>
                    </a:lnTo>
                    <a:lnTo>
                      <a:pt x="6334" y="487"/>
                    </a:lnTo>
                    <a:lnTo>
                      <a:pt x="6359" y="497"/>
                    </a:lnTo>
                    <a:lnTo>
                      <a:pt x="6382" y="507"/>
                    </a:lnTo>
                    <a:lnTo>
                      <a:pt x="6416" y="522"/>
                    </a:lnTo>
                    <a:lnTo>
                      <a:pt x="6451" y="537"/>
                    </a:lnTo>
                    <a:lnTo>
                      <a:pt x="6487" y="549"/>
                    </a:lnTo>
                    <a:lnTo>
                      <a:pt x="6523" y="561"/>
                    </a:lnTo>
                    <a:lnTo>
                      <a:pt x="6560" y="572"/>
                    </a:lnTo>
                    <a:lnTo>
                      <a:pt x="6598" y="583"/>
                    </a:lnTo>
                    <a:lnTo>
                      <a:pt x="6636" y="592"/>
                    </a:lnTo>
                    <a:lnTo>
                      <a:pt x="6674" y="600"/>
                    </a:lnTo>
                    <a:lnTo>
                      <a:pt x="6728" y="610"/>
                    </a:lnTo>
                    <a:lnTo>
                      <a:pt x="6773" y="615"/>
                    </a:lnTo>
                    <a:lnTo>
                      <a:pt x="6805" y="619"/>
                    </a:lnTo>
                    <a:lnTo>
                      <a:pt x="6822" y="620"/>
                    </a:lnTo>
                    <a:lnTo>
                      <a:pt x="6834" y="614"/>
                    </a:lnTo>
                    <a:lnTo>
                      <a:pt x="6855" y="607"/>
                    </a:lnTo>
                    <a:lnTo>
                      <a:pt x="6882" y="598"/>
                    </a:lnTo>
                    <a:lnTo>
                      <a:pt x="6917" y="588"/>
                    </a:lnTo>
                    <a:lnTo>
                      <a:pt x="6939" y="584"/>
                    </a:lnTo>
                    <a:lnTo>
                      <a:pt x="6962" y="580"/>
                    </a:lnTo>
                    <a:lnTo>
                      <a:pt x="6988" y="576"/>
                    </a:lnTo>
                    <a:lnTo>
                      <a:pt x="7015" y="573"/>
                    </a:lnTo>
                    <a:lnTo>
                      <a:pt x="7044" y="570"/>
                    </a:lnTo>
                    <a:lnTo>
                      <a:pt x="7076" y="569"/>
                    </a:lnTo>
                    <a:lnTo>
                      <a:pt x="7110" y="568"/>
                    </a:lnTo>
                    <a:lnTo>
                      <a:pt x="7145" y="568"/>
                    </a:lnTo>
                    <a:lnTo>
                      <a:pt x="7184" y="569"/>
                    </a:lnTo>
                    <a:lnTo>
                      <a:pt x="7224" y="572"/>
                    </a:lnTo>
                    <a:lnTo>
                      <a:pt x="7267" y="575"/>
                    </a:lnTo>
                    <a:lnTo>
                      <a:pt x="7313" y="581"/>
                    </a:lnTo>
                    <a:lnTo>
                      <a:pt x="7359" y="588"/>
                    </a:lnTo>
                    <a:lnTo>
                      <a:pt x="7409" y="597"/>
                    </a:lnTo>
                    <a:lnTo>
                      <a:pt x="7460" y="608"/>
                    </a:lnTo>
                    <a:lnTo>
                      <a:pt x="7514" y="621"/>
                    </a:lnTo>
                    <a:lnTo>
                      <a:pt x="7572" y="636"/>
                    </a:lnTo>
                    <a:lnTo>
                      <a:pt x="7630" y="653"/>
                    </a:lnTo>
                    <a:lnTo>
                      <a:pt x="7692" y="673"/>
                    </a:lnTo>
                    <a:lnTo>
                      <a:pt x="7755" y="694"/>
                    </a:lnTo>
                    <a:lnTo>
                      <a:pt x="7822" y="719"/>
                    </a:lnTo>
                    <a:lnTo>
                      <a:pt x="7890" y="746"/>
                    </a:lnTo>
                    <a:lnTo>
                      <a:pt x="7962" y="777"/>
                    </a:lnTo>
                    <a:lnTo>
                      <a:pt x="8035" y="810"/>
                    </a:lnTo>
                    <a:lnTo>
                      <a:pt x="8105" y="845"/>
                    </a:lnTo>
                    <a:lnTo>
                      <a:pt x="8174" y="883"/>
                    </a:lnTo>
                    <a:lnTo>
                      <a:pt x="8242" y="923"/>
                    </a:lnTo>
                    <a:lnTo>
                      <a:pt x="8308" y="966"/>
                    </a:lnTo>
                    <a:lnTo>
                      <a:pt x="8372" y="1011"/>
                    </a:lnTo>
                    <a:lnTo>
                      <a:pt x="8434" y="1059"/>
                    </a:lnTo>
                    <a:lnTo>
                      <a:pt x="8495" y="1109"/>
                    </a:lnTo>
                    <a:lnTo>
                      <a:pt x="8553" y="1160"/>
                    </a:lnTo>
                    <a:lnTo>
                      <a:pt x="8610" y="1214"/>
                    </a:lnTo>
                    <a:lnTo>
                      <a:pt x="8667" y="1271"/>
                    </a:lnTo>
                    <a:lnTo>
                      <a:pt x="8721" y="1328"/>
                    </a:lnTo>
                    <a:lnTo>
                      <a:pt x="8772" y="1387"/>
                    </a:lnTo>
                    <a:lnTo>
                      <a:pt x="8823" y="1448"/>
                    </a:lnTo>
                    <a:lnTo>
                      <a:pt x="8872" y="1509"/>
                    </a:lnTo>
                    <a:lnTo>
                      <a:pt x="8919" y="1573"/>
                    </a:lnTo>
                    <a:lnTo>
                      <a:pt x="8965" y="1637"/>
                    </a:lnTo>
                    <a:lnTo>
                      <a:pt x="9009" y="1702"/>
                    </a:lnTo>
                    <a:lnTo>
                      <a:pt x="9051" y="1768"/>
                    </a:lnTo>
                    <a:lnTo>
                      <a:pt x="9091" y="1835"/>
                    </a:lnTo>
                    <a:lnTo>
                      <a:pt x="9130" y="1902"/>
                    </a:lnTo>
                    <a:lnTo>
                      <a:pt x="9168" y="1970"/>
                    </a:lnTo>
                    <a:lnTo>
                      <a:pt x="9202" y="2038"/>
                    </a:lnTo>
                    <a:lnTo>
                      <a:pt x="9237" y="2106"/>
                    </a:lnTo>
                    <a:lnTo>
                      <a:pt x="9268" y="2175"/>
                    </a:lnTo>
                    <a:lnTo>
                      <a:pt x="9299" y="2243"/>
                    </a:lnTo>
                    <a:lnTo>
                      <a:pt x="9327" y="2311"/>
                    </a:lnTo>
                    <a:lnTo>
                      <a:pt x="9354" y="2379"/>
                    </a:lnTo>
                    <a:lnTo>
                      <a:pt x="9380" y="2447"/>
                    </a:lnTo>
                    <a:lnTo>
                      <a:pt x="9404" y="2514"/>
                    </a:lnTo>
                    <a:lnTo>
                      <a:pt x="9426" y="2581"/>
                    </a:lnTo>
                    <a:lnTo>
                      <a:pt x="9446" y="2647"/>
                    </a:lnTo>
                    <a:lnTo>
                      <a:pt x="9465" y="2712"/>
                    </a:lnTo>
                    <a:lnTo>
                      <a:pt x="9473" y="2743"/>
                    </a:lnTo>
                    <a:lnTo>
                      <a:pt x="9481" y="2773"/>
                    </a:lnTo>
                    <a:lnTo>
                      <a:pt x="9488" y="2803"/>
                    </a:lnTo>
                    <a:lnTo>
                      <a:pt x="9494" y="2834"/>
                    </a:lnTo>
                    <a:lnTo>
                      <a:pt x="9499" y="2863"/>
                    </a:lnTo>
                    <a:lnTo>
                      <a:pt x="9505" y="2892"/>
                    </a:lnTo>
                    <a:lnTo>
                      <a:pt x="9508" y="2921"/>
                    </a:lnTo>
                    <a:lnTo>
                      <a:pt x="9511" y="2949"/>
                    </a:lnTo>
                    <a:lnTo>
                      <a:pt x="9516" y="3004"/>
                    </a:lnTo>
                    <a:lnTo>
                      <a:pt x="9520" y="3057"/>
                    </a:lnTo>
                    <a:lnTo>
                      <a:pt x="9520" y="3108"/>
                    </a:lnTo>
                    <a:lnTo>
                      <a:pt x="9519" y="3156"/>
                    </a:lnTo>
                    <a:lnTo>
                      <a:pt x="9515" y="3204"/>
                    </a:lnTo>
                    <a:lnTo>
                      <a:pt x="9511" y="3248"/>
                    </a:lnTo>
                    <a:lnTo>
                      <a:pt x="9505" y="3291"/>
                    </a:lnTo>
                    <a:lnTo>
                      <a:pt x="9498" y="3332"/>
                    </a:lnTo>
                    <a:lnTo>
                      <a:pt x="9489" y="3370"/>
                    </a:lnTo>
                    <a:lnTo>
                      <a:pt x="9481" y="3407"/>
                    </a:lnTo>
                    <a:lnTo>
                      <a:pt x="9471" y="3440"/>
                    </a:lnTo>
                    <a:lnTo>
                      <a:pt x="9461" y="3472"/>
                    </a:lnTo>
                    <a:lnTo>
                      <a:pt x="9448" y="3507"/>
                    </a:lnTo>
                    <a:lnTo>
                      <a:pt x="9437" y="3537"/>
                    </a:lnTo>
                    <a:lnTo>
                      <a:pt x="9425" y="3564"/>
                    </a:lnTo>
                    <a:lnTo>
                      <a:pt x="9415" y="3586"/>
                    </a:lnTo>
                    <a:lnTo>
                      <a:pt x="9399" y="3616"/>
                    </a:lnTo>
                    <a:lnTo>
                      <a:pt x="9392" y="3628"/>
                    </a:lnTo>
                    <a:lnTo>
                      <a:pt x="9389" y="3631"/>
                    </a:lnTo>
                    <a:lnTo>
                      <a:pt x="9385" y="3634"/>
                    </a:lnTo>
                    <a:lnTo>
                      <a:pt x="9379" y="3635"/>
                    </a:lnTo>
                    <a:lnTo>
                      <a:pt x="9375" y="3634"/>
                    </a:lnTo>
                    <a:lnTo>
                      <a:pt x="9134" y="3525"/>
                    </a:lnTo>
                    <a:lnTo>
                      <a:pt x="9116" y="3516"/>
                    </a:lnTo>
                    <a:lnTo>
                      <a:pt x="9099" y="3506"/>
                    </a:lnTo>
                    <a:lnTo>
                      <a:pt x="9080" y="3495"/>
                    </a:lnTo>
                    <a:lnTo>
                      <a:pt x="9062" y="3483"/>
                    </a:lnTo>
                    <a:lnTo>
                      <a:pt x="9042" y="3471"/>
                    </a:lnTo>
                    <a:lnTo>
                      <a:pt x="9024" y="3457"/>
                    </a:lnTo>
                    <a:lnTo>
                      <a:pt x="9005" y="3441"/>
                    </a:lnTo>
                    <a:lnTo>
                      <a:pt x="8984" y="3426"/>
                    </a:lnTo>
                    <a:lnTo>
                      <a:pt x="8944" y="3393"/>
                    </a:lnTo>
                    <a:lnTo>
                      <a:pt x="8903" y="3357"/>
                    </a:lnTo>
                    <a:lnTo>
                      <a:pt x="8861" y="3319"/>
                    </a:lnTo>
                    <a:lnTo>
                      <a:pt x="8819" y="3281"/>
                    </a:lnTo>
                    <a:lnTo>
                      <a:pt x="8748" y="3216"/>
                    </a:lnTo>
                    <a:lnTo>
                      <a:pt x="8673" y="3151"/>
                    </a:lnTo>
                    <a:lnTo>
                      <a:pt x="8636" y="3120"/>
                    </a:lnTo>
                    <a:lnTo>
                      <a:pt x="8599" y="3089"/>
                    </a:lnTo>
                    <a:lnTo>
                      <a:pt x="8560" y="3060"/>
                    </a:lnTo>
                    <a:lnTo>
                      <a:pt x="8522" y="3033"/>
                    </a:lnTo>
                    <a:lnTo>
                      <a:pt x="8483" y="3007"/>
                    </a:lnTo>
                    <a:lnTo>
                      <a:pt x="8444" y="2985"/>
                    </a:lnTo>
                    <a:lnTo>
                      <a:pt x="8425" y="2974"/>
                    </a:lnTo>
                    <a:lnTo>
                      <a:pt x="8405" y="2964"/>
                    </a:lnTo>
                    <a:lnTo>
                      <a:pt x="8386" y="2955"/>
                    </a:lnTo>
                    <a:lnTo>
                      <a:pt x="8365" y="2946"/>
                    </a:lnTo>
                    <a:lnTo>
                      <a:pt x="8346" y="2938"/>
                    </a:lnTo>
                    <a:lnTo>
                      <a:pt x="8327" y="2932"/>
                    </a:lnTo>
                    <a:lnTo>
                      <a:pt x="8307" y="2926"/>
                    </a:lnTo>
                    <a:lnTo>
                      <a:pt x="8288" y="2921"/>
                    </a:lnTo>
                    <a:lnTo>
                      <a:pt x="8267" y="2917"/>
                    </a:lnTo>
                    <a:lnTo>
                      <a:pt x="8248" y="2914"/>
                    </a:lnTo>
                    <a:lnTo>
                      <a:pt x="8228" y="2912"/>
                    </a:lnTo>
                    <a:lnTo>
                      <a:pt x="8209" y="2911"/>
                    </a:lnTo>
                    <a:lnTo>
                      <a:pt x="8185" y="2911"/>
                    </a:lnTo>
                    <a:lnTo>
                      <a:pt x="8161" y="2912"/>
                    </a:lnTo>
                    <a:lnTo>
                      <a:pt x="8138" y="2914"/>
                    </a:lnTo>
                    <a:lnTo>
                      <a:pt x="8112" y="2917"/>
                    </a:lnTo>
                    <a:lnTo>
                      <a:pt x="8086" y="2920"/>
                    </a:lnTo>
                    <a:lnTo>
                      <a:pt x="8059" y="2925"/>
                    </a:lnTo>
                    <a:lnTo>
                      <a:pt x="8032" y="2931"/>
                    </a:lnTo>
                    <a:lnTo>
                      <a:pt x="8003" y="2937"/>
                    </a:lnTo>
                    <a:lnTo>
                      <a:pt x="7964" y="2947"/>
                    </a:lnTo>
                    <a:lnTo>
                      <a:pt x="7925" y="2958"/>
                    </a:lnTo>
                    <a:lnTo>
                      <a:pt x="7885" y="2969"/>
                    </a:lnTo>
                    <a:lnTo>
                      <a:pt x="7845" y="2982"/>
                    </a:lnTo>
                    <a:lnTo>
                      <a:pt x="7803" y="2996"/>
                    </a:lnTo>
                    <a:lnTo>
                      <a:pt x="7762" y="3010"/>
                    </a:lnTo>
                    <a:lnTo>
                      <a:pt x="7719" y="3024"/>
                    </a:lnTo>
                    <a:lnTo>
                      <a:pt x="7675" y="3039"/>
                    </a:lnTo>
                    <a:lnTo>
                      <a:pt x="7632" y="3054"/>
                    </a:lnTo>
                    <a:lnTo>
                      <a:pt x="7587" y="3069"/>
                    </a:lnTo>
                    <a:lnTo>
                      <a:pt x="7543" y="3085"/>
                    </a:lnTo>
                    <a:lnTo>
                      <a:pt x="7496" y="3100"/>
                    </a:lnTo>
                    <a:lnTo>
                      <a:pt x="7450" y="3114"/>
                    </a:lnTo>
                    <a:lnTo>
                      <a:pt x="7402" y="3129"/>
                    </a:lnTo>
                    <a:lnTo>
                      <a:pt x="7354" y="3143"/>
                    </a:lnTo>
                    <a:lnTo>
                      <a:pt x="7305" y="3156"/>
                    </a:lnTo>
                    <a:lnTo>
                      <a:pt x="7255" y="3168"/>
                    </a:lnTo>
                    <a:lnTo>
                      <a:pt x="7205" y="3180"/>
                    </a:lnTo>
                    <a:lnTo>
                      <a:pt x="7153" y="3191"/>
                    </a:lnTo>
                    <a:lnTo>
                      <a:pt x="7101" y="3201"/>
                    </a:lnTo>
                    <a:lnTo>
                      <a:pt x="7047" y="3208"/>
                    </a:lnTo>
                    <a:lnTo>
                      <a:pt x="6994" y="3215"/>
                    </a:lnTo>
                    <a:lnTo>
                      <a:pt x="6939" y="3220"/>
                    </a:lnTo>
                    <a:lnTo>
                      <a:pt x="6883" y="3223"/>
                    </a:lnTo>
                    <a:lnTo>
                      <a:pt x="6841" y="3224"/>
                    </a:lnTo>
                    <a:lnTo>
                      <a:pt x="6735" y="3230"/>
                    </a:lnTo>
                    <a:lnTo>
                      <a:pt x="6629" y="3233"/>
                    </a:lnTo>
                    <a:lnTo>
                      <a:pt x="6521" y="3236"/>
                    </a:lnTo>
                    <a:lnTo>
                      <a:pt x="6412" y="3238"/>
                    </a:lnTo>
                    <a:lnTo>
                      <a:pt x="6302" y="3240"/>
                    </a:lnTo>
                    <a:lnTo>
                      <a:pt x="6192" y="3237"/>
                    </a:lnTo>
                    <a:lnTo>
                      <a:pt x="6137" y="3236"/>
                    </a:lnTo>
                    <a:lnTo>
                      <a:pt x="6082" y="3233"/>
                    </a:lnTo>
                    <a:lnTo>
                      <a:pt x="6025" y="3230"/>
                    </a:lnTo>
                    <a:lnTo>
                      <a:pt x="5970" y="3227"/>
                    </a:lnTo>
                    <a:lnTo>
                      <a:pt x="5915" y="3221"/>
                    </a:lnTo>
                    <a:lnTo>
                      <a:pt x="5860" y="3216"/>
                    </a:lnTo>
                    <a:lnTo>
                      <a:pt x="5805" y="3209"/>
                    </a:lnTo>
                    <a:lnTo>
                      <a:pt x="5750" y="3202"/>
                    </a:lnTo>
                    <a:lnTo>
                      <a:pt x="5695" y="3192"/>
                    </a:lnTo>
                    <a:lnTo>
                      <a:pt x="5641" y="3182"/>
                    </a:lnTo>
                    <a:lnTo>
                      <a:pt x="5587" y="3172"/>
                    </a:lnTo>
                    <a:lnTo>
                      <a:pt x="5532" y="3159"/>
                    </a:lnTo>
                    <a:lnTo>
                      <a:pt x="5479" y="3146"/>
                    </a:lnTo>
                    <a:lnTo>
                      <a:pt x="5425" y="3131"/>
                    </a:lnTo>
                    <a:lnTo>
                      <a:pt x="5372" y="3114"/>
                    </a:lnTo>
                    <a:lnTo>
                      <a:pt x="5319" y="3096"/>
                    </a:lnTo>
                    <a:lnTo>
                      <a:pt x="5267" y="3077"/>
                    </a:lnTo>
                    <a:lnTo>
                      <a:pt x="5216" y="3056"/>
                    </a:lnTo>
                    <a:lnTo>
                      <a:pt x="5164" y="3033"/>
                    </a:lnTo>
                    <a:lnTo>
                      <a:pt x="5113" y="3010"/>
                    </a:lnTo>
                    <a:lnTo>
                      <a:pt x="5027" y="2968"/>
                    </a:lnTo>
                    <a:lnTo>
                      <a:pt x="4933" y="2921"/>
                    </a:lnTo>
                    <a:lnTo>
                      <a:pt x="4831" y="2871"/>
                    </a:lnTo>
                    <a:lnTo>
                      <a:pt x="4724" y="2820"/>
                    </a:lnTo>
                    <a:lnTo>
                      <a:pt x="4612" y="2765"/>
                    </a:lnTo>
                    <a:lnTo>
                      <a:pt x="4497" y="2710"/>
                    </a:lnTo>
                    <a:lnTo>
                      <a:pt x="4382" y="2653"/>
                    </a:lnTo>
                    <a:lnTo>
                      <a:pt x="4265" y="2597"/>
                    </a:lnTo>
                    <a:lnTo>
                      <a:pt x="4150" y="2542"/>
                    </a:lnTo>
                    <a:lnTo>
                      <a:pt x="4037" y="2487"/>
                    </a:lnTo>
                    <a:lnTo>
                      <a:pt x="3928" y="2435"/>
                    </a:lnTo>
                    <a:lnTo>
                      <a:pt x="3824" y="2385"/>
                    </a:lnTo>
                    <a:lnTo>
                      <a:pt x="3727" y="2338"/>
                    </a:lnTo>
                    <a:lnTo>
                      <a:pt x="3637" y="2295"/>
                    </a:lnTo>
                    <a:lnTo>
                      <a:pt x="3556" y="2257"/>
                    </a:lnTo>
                    <a:lnTo>
                      <a:pt x="3486" y="2224"/>
                    </a:lnTo>
                    <a:lnTo>
                      <a:pt x="3391" y="2177"/>
                    </a:lnTo>
                    <a:lnTo>
                      <a:pt x="3386" y="2178"/>
                    </a:lnTo>
                    <a:lnTo>
                      <a:pt x="3378" y="2182"/>
                    </a:lnTo>
                    <a:lnTo>
                      <a:pt x="3368" y="2185"/>
                    </a:lnTo>
                    <a:lnTo>
                      <a:pt x="3355" y="2191"/>
                    </a:lnTo>
                    <a:lnTo>
                      <a:pt x="3340" y="2199"/>
                    </a:lnTo>
                    <a:lnTo>
                      <a:pt x="3323" y="2211"/>
                    </a:lnTo>
                    <a:lnTo>
                      <a:pt x="3303" y="2225"/>
                    </a:lnTo>
                    <a:lnTo>
                      <a:pt x="3282" y="2243"/>
                    </a:lnTo>
                    <a:lnTo>
                      <a:pt x="3258" y="2265"/>
                    </a:lnTo>
                    <a:lnTo>
                      <a:pt x="3233" y="2292"/>
                    </a:lnTo>
                    <a:lnTo>
                      <a:pt x="3206" y="2322"/>
                    </a:lnTo>
                    <a:lnTo>
                      <a:pt x="3178" y="2359"/>
                    </a:lnTo>
                    <a:lnTo>
                      <a:pt x="3164" y="2379"/>
                    </a:lnTo>
                    <a:lnTo>
                      <a:pt x="3149" y="2401"/>
                    </a:lnTo>
                    <a:lnTo>
                      <a:pt x="3134" y="2425"/>
                    </a:lnTo>
                    <a:lnTo>
                      <a:pt x="3117" y="2449"/>
                    </a:lnTo>
                    <a:lnTo>
                      <a:pt x="3102" y="2475"/>
                    </a:lnTo>
                    <a:lnTo>
                      <a:pt x="3086" y="2503"/>
                    </a:lnTo>
                    <a:lnTo>
                      <a:pt x="3069" y="2534"/>
                    </a:lnTo>
                    <a:lnTo>
                      <a:pt x="3053" y="2565"/>
                    </a:lnTo>
                    <a:lnTo>
                      <a:pt x="3037" y="2626"/>
                    </a:lnTo>
                    <a:lnTo>
                      <a:pt x="3015" y="2701"/>
                    </a:lnTo>
                    <a:lnTo>
                      <a:pt x="2988" y="2785"/>
                    </a:lnTo>
                    <a:lnTo>
                      <a:pt x="2958" y="2878"/>
                    </a:lnTo>
                    <a:lnTo>
                      <a:pt x="2923" y="2978"/>
                    </a:lnTo>
                    <a:lnTo>
                      <a:pt x="2885" y="3084"/>
                    </a:lnTo>
                    <a:lnTo>
                      <a:pt x="2845" y="3193"/>
                    </a:lnTo>
                    <a:lnTo>
                      <a:pt x="2802" y="3305"/>
                    </a:lnTo>
                    <a:lnTo>
                      <a:pt x="2759" y="3418"/>
                    </a:lnTo>
                    <a:lnTo>
                      <a:pt x="2714" y="3529"/>
                    </a:lnTo>
                    <a:lnTo>
                      <a:pt x="2668" y="3638"/>
                    </a:lnTo>
                    <a:lnTo>
                      <a:pt x="2623" y="3743"/>
                    </a:lnTo>
                    <a:lnTo>
                      <a:pt x="2600" y="3793"/>
                    </a:lnTo>
                    <a:lnTo>
                      <a:pt x="2578" y="3842"/>
                    </a:lnTo>
                    <a:lnTo>
                      <a:pt x="2555" y="3888"/>
                    </a:lnTo>
                    <a:lnTo>
                      <a:pt x="2533" y="3934"/>
                    </a:lnTo>
                    <a:lnTo>
                      <a:pt x="2512" y="3976"/>
                    </a:lnTo>
                    <a:lnTo>
                      <a:pt x="2490" y="4016"/>
                    </a:lnTo>
                    <a:lnTo>
                      <a:pt x="2470" y="4053"/>
                    </a:lnTo>
                    <a:lnTo>
                      <a:pt x="2450" y="4088"/>
                    </a:lnTo>
                    <a:lnTo>
                      <a:pt x="2419" y="40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7"/>
              <p:cNvSpPr>
                <a:spLocks noEditPoints="1"/>
              </p:cNvSpPr>
              <p:nvPr userDrawn="1"/>
            </p:nvSpPr>
            <p:spPr bwMode="auto">
              <a:xfrm>
                <a:off x="2468" y="3147"/>
                <a:ext cx="954" cy="1022"/>
              </a:xfrm>
              <a:custGeom>
                <a:avLst/>
                <a:gdLst>
                  <a:gd name="T0" fmla="*/ 2441 w 2862"/>
                  <a:gd name="T1" fmla="*/ 2937 h 3066"/>
                  <a:gd name="T2" fmla="*/ 2326 w 2862"/>
                  <a:gd name="T3" fmla="*/ 2857 h 3066"/>
                  <a:gd name="T4" fmla="*/ 2015 w 2862"/>
                  <a:gd name="T5" fmla="*/ 2582 h 3066"/>
                  <a:gd name="T6" fmla="*/ 1786 w 2862"/>
                  <a:gd name="T7" fmla="*/ 2416 h 3066"/>
                  <a:gd name="T8" fmla="*/ 1669 w 2862"/>
                  <a:gd name="T9" fmla="*/ 2363 h 3066"/>
                  <a:gd name="T10" fmla="*/ 1551 w 2862"/>
                  <a:gd name="T11" fmla="*/ 2342 h 3066"/>
                  <a:gd name="T12" fmla="*/ 1527 w 2862"/>
                  <a:gd name="T13" fmla="*/ 2323 h 3066"/>
                  <a:gd name="T14" fmla="*/ 1462 w 2862"/>
                  <a:gd name="T15" fmla="*/ 2164 h 3066"/>
                  <a:gd name="T16" fmla="*/ 1311 w 2862"/>
                  <a:gd name="T17" fmla="*/ 1781 h 3066"/>
                  <a:gd name="T18" fmla="*/ 1122 w 2862"/>
                  <a:gd name="T19" fmla="*/ 1391 h 3066"/>
                  <a:gd name="T20" fmla="*/ 851 w 2862"/>
                  <a:gd name="T21" fmla="*/ 950 h 3066"/>
                  <a:gd name="T22" fmla="*/ 483 w 2862"/>
                  <a:gd name="T23" fmla="*/ 493 h 3066"/>
                  <a:gd name="T24" fmla="*/ 6 w 2862"/>
                  <a:gd name="T25" fmla="*/ 55 h 3066"/>
                  <a:gd name="T26" fmla="*/ 8 w 2862"/>
                  <a:gd name="T27" fmla="*/ 32 h 3066"/>
                  <a:gd name="T28" fmla="*/ 165 w 2862"/>
                  <a:gd name="T29" fmla="*/ 51 h 3066"/>
                  <a:gd name="T30" fmla="*/ 294 w 2862"/>
                  <a:gd name="T31" fmla="*/ 14 h 3066"/>
                  <a:gd name="T32" fmla="*/ 466 w 2862"/>
                  <a:gd name="T33" fmla="*/ 0 h 3066"/>
                  <a:gd name="T34" fmla="*/ 778 w 2862"/>
                  <a:gd name="T35" fmla="*/ 33 h 3066"/>
                  <a:gd name="T36" fmla="*/ 1126 w 2862"/>
                  <a:gd name="T37" fmla="*/ 136 h 3066"/>
                  <a:gd name="T38" fmla="*/ 1516 w 2862"/>
                  <a:gd name="T39" fmla="*/ 314 h 3066"/>
                  <a:gd name="T40" fmla="*/ 1895 w 2862"/>
                  <a:gd name="T41" fmla="*/ 591 h 3066"/>
                  <a:gd name="T42" fmla="*/ 2214 w 2862"/>
                  <a:gd name="T43" fmla="*/ 940 h 3066"/>
                  <a:gd name="T44" fmla="*/ 2472 w 2862"/>
                  <a:gd name="T45" fmla="*/ 1333 h 3066"/>
                  <a:gd name="T46" fmla="*/ 2669 w 2862"/>
                  <a:gd name="T47" fmla="*/ 1742 h 3066"/>
                  <a:gd name="T48" fmla="*/ 2807 w 2862"/>
                  <a:gd name="T49" fmla="*/ 2143 h 3066"/>
                  <a:gd name="T50" fmla="*/ 2847 w 2862"/>
                  <a:gd name="T51" fmla="*/ 2323 h 3066"/>
                  <a:gd name="T52" fmla="*/ 2861 w 2862"/>
                  <a:gd name="T53" fmla="*/ 2587 h 3066"/>
                  <a:gd name="T54" fmla="*/ 2823 w 2862"/>
                  <a:gd name="T55" fmla="*/ 2838 h 3066"/>
                  <a:gd name="T56" fmla="*/ 2757 w 2862"/>
                  <a:gd name="T57" fmla="*/ 3017 h 3066"/>
                  <a:gd name="T58" fmla="*/ 2722 w 2862"/>
                  <a:gd name="T59" fmla="*/ 3066 h 3066"/>
                  <a:gd name="T60" fmla="*/ 1635 w 2862"/>
                  <a:gd name="T61" fmla="*/ 2326 h 3066"/>
                  <a:gd name="T62" fmla="*/ 1757 w 2862"/>
                  <a:gd name="T63" fmla="*/ 2369 h 3066"/>
                  <a:gd name="T64" fmla="*/ 1955 w 2862"/>
                  <a:gd name="T65" fmla="*/ 2498 h 3066"/>
                  <a:gd name="T66" fmla="*/ 2262 w 2862"/>
                  <a:gd name="T67" fmla="*/ 2767 h 3066"/>
                  <a:gd name="T68" fmla="*/ 2452 w 2862"/>
                  <a:gd name="T69" fmla="*/ 2913 h 3066"/>
                  <a:gd name="T70" fmla="*/ 2750 w 2862"/>
                  <a:gd name="T71" fmla="*/ 2965 h 3066"/>
                  <a:gd name="T72" fmla="*/ 2806 w 2862"/>
                  <a:gd name="T73" fmla="*/ 2795 h 3066"/>
                  <a:gd name="T74" fmla="*/ 2835 w 2862"/>
                  <a:gd name="T75" fmla="*/ 2538 h 3066"/>
                  <a:gd name="T76" fmla="*/ 2815 w 2862"/>
                  <a:gd name="T77" fmla="*/ 2298 h 3066"/>
                  <a:gd name="T78" fmla="*/ 2762 w 2862"/>
                  <a:gd name="T79" fmla="*/ 2085 h 3066"/>
                  <a:gd name="T80" fmla="*/ 2617 w 2862"/>
                  <a:gd name="T81" fmla="*/ 1686 h 3066"/>
                  <a:gd name="T82" fmla="*/ 2410 w 2862"/>
                  <a:gd name="T83" fmla="*/ 1280 h 3066"/>
                  <a:gd name="T84" fmla="*/ 2146 w 2862"/>
                  <a:gd name="T85" fmla="*/ 897 h 3066"/>
                  <a:gd name="T86" fmla="*/ 1821 w 2862"/>
                  <a:gd name="T87" fmla="*/ 561 h 3066"/>
                  <a:gd name="T88" fmla="*/ 1435 w 2862"/>
                  <a:gd name="T89" fmla="*/ 300 h 3066"/>
                  <a:gd name="T90" fmla="*/ 1004 w 2862"/>
                  <a:gd name="T91" fmla="*/ 123 h 3066"/>
                  <a:gd name="T92" fmla="*/ 668 w 2862"/>
                  <a:gd name="T93" fmla="*/ 42 h 3066"/>
                  <a:gd name="T94" fmla="*/ 430 w 2862"/>
                  <a:gd name="T95" fmla="*/ 27 h 3066"/>
                  <a:gd name="T96" fmla="*/ 266 w 2862"/>
                  <a:gd name="T97" fmla="*/ 47 h 3066"/>
                  <a:gd name="T98" fmla="*/ 171 w 2862"/>
                  <a:gd name="T99" fmla="*/ 78 h 3066"/>
                  <a:gd name="T100" fmla="*/ 150 w 2862"/>
                  <a:gd name="T101" fmla="*/ 137 h 3066"/>
                  <a:gd name="T102" fmla="*/ 596 w 2862"/>
                  <a:gd name="T103" fmla="*/ 580 h 3066"/>
                  <a:gd name="T104" fmla="*/ 939 w 2862"/>
                  <a:gd name="T105" fmla="*/ 1031 h 3066"/>
                  <a:gd name="T106" fmla="*/ 1189 w 2862"/>
                  <a:gd name="T107" fmla="*/ 1460 h 3066"/>
                  <a:gd name="T108" fmla="*/ 1363 w 2862"/>
                  <a:gd name="T109" fmla="*/ 1834 h 3066"/>
                  <a:gd name="T110" fmla="*/ 1509 w 2862"/>
                  <a:gd name="T111" fmla="*/ 2212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2" h="3066">
                    <a:moveTo>
                      <a:pt x="2722" y="3066"/>
                    </a:moveTo>
                    <a:lnTo>
                      <a:pt x="2720" y="3065"/>
                    </a:lnTo>
                    <a:lnTo>
                      <a:pt x="2717" y="3065"/>
                    </a:lnTo>
                    <a:lnTo>
                      <a:pt x="2476" y="2956"/>
                    </a:lnTo>
                    <a:lnTo>
                      <a:pt x="2458" y="2947"/>
                    </a:lnTo>
                    <a:lnTo>
                      <a:pt x="2441" y="2937"/>
                    </a:lnTo>
                    <a:lnTo>
                      <a:pt x="2422" y="2926"/>
                    </a:lnTo>
                    <a:lnTo>
                      <a:pt x="2404" y="2914"/>
                    </a:lnTo>
                    <a:lnTo>
                      <a:pt x="2384" y="2902"/>
                    </a:lnTo>
                    <a:lnTo>
                      <a:pt x="2366" y="2888"/>
                    </a:lnTo>
                    <a:lnTo>
                      <a:pt x="2347" y="2872"/>
                    </a:lnTo>
                    <a:lnTo>
                      <a:pt x="2326" y="2857"/>
                    </a:lnTo>
                    <a:lnTo>
                      <a:pt x="2286" y="2824"/>
                    </a:lnTo>
                    <a:lnTo>
                      <a:pt x="2245" y="2788"/>
                    </a:lnTo>
                    <a:lnTo>
                      <a:pt x="2203" y="2750"/>
                    </a:lnTo>
                    <a:lnTo>
                      <a:pt x="2161" y="2712"/>
                    </a:lnTo>
                    <a:lnTo>
                      <a:pt x="2090" y="2647"/>
                    </a:lnTo>
                    <a:lnTo>
                      <a:pt x="2015" y="2582"/>
                    </a:lnTo>
                    <a:lnTo>
                      <a:pt x="1978" y="2551"/>
                    </a:lnTo>
                    <a:lnTo>
                      <a:pt x="1941" y="2520"/>
                    </a:lnTo>
                    <a:lnTo>
                      <a:pt x="1902" y="2491"/>
                    </a:lnTo>
                    <a:lnTo>
                      <a:pt x="1864" y="2464"/>
                    </a:lnTo>
                    <a:lnTo>
                      <a:pt x="1825" y="2438"/>
                    </a:lnTo>
                    <a:lnTo>
                      <a:pt x="1786" y="2416"/>
                    </a:lnTo>
                    <a:lnTo>
                      <a:pt x="1767" y="2405"/>
                    </a:lnTo>
                    <a:lnTo>
                      <a:pt x="1747" y="2395"/>
                    </a:lnTo>
                    <a:lnTo>
                      <a:pt x="1728" y="2386"/>
                    </a:lnTo>
                    <a:lnTo>
                      <a:pt x="1707" y="2377"/>
                    </a:lnTo>
                    <a:lnTo>
                      <a:pt x="1688" y="2369"/>
                    </a:lnTo>
                    <a:lnTo>
                      <a:pt x="1669" y="2363"/>
                    </a:lnTo>
                    <a:lnTo>
                      <a:pt x="1649" y="2357"/>
                    </a:lnTo>
                    <a:lnTo>
                      <a:pt x="1630" y="2352"/>
                    </a:lnTo>
                    <a:lnTo>
                      <a:pt x="1609" y="2348"/>
                    </a:lnTo>
                    <a:lnTo>
                      <a:pt x="1590" y="2345"/>
                    </a:lnTo>
                    <a:lnTo>
                      <a:pt x="1570" y="2343"/>
                    </a:lnTo>
                    <a:lnTo>
                      <a:pt x="1551" y="2342"/>
                    </a:lnTo>
                    <a:lnTo>
                      <a:pt x="1546" y="2341"/>
                    </a:lnTo>
                    <a:lnTo>
                      <a:pt x="1542" y="2340"/>
                    </a:lnTo>
                    <a:lnTo>
                      <a:pt x="1539" y="2338"/>
                    </a:lnTo>
                    <a:lnTo>
                      <a:pt x="1535" y="2334"/>
                    </a:lnTo>
                    <a:lnTo>
                      <a:pt x="1530" y="2329"/>
                    </a:lnTo>
                    <a:lnTo>
                      <a:pt x="1527" y="2323"/>
                    </a:lnTo>
                    <a:lnTo>
                      <a:pt x="1523" y="2315"/>
                    </a:lnTo>
                    <a:lnTo>
                      <a:pt x="1517" y="2307"/>
                    </a:lnTo>
                    <a:lnTo>
                      <a:pt x="1508" y="2283"/>
                    </a:lnTo>
                    <a:lnTo>
                      <a:pt x="1495" y="2253"/>
                    </a:lnTo>
                    <a:lnTo>
                      <a:pt x="1481" y="2213"/>
                    </a:lnTo>
                    <a:lnTo>
                      <a:pt x="1462" y="2164"/>
                    </a:lnTo>
                    <a:lnTo>
                      <a:pt x="1434" y="2087"/>
                    </a:lnTo>
                    <a:lnTo>
                      <a:pt x="1400" y="1997"/>
                    </a:lnTo>
                    <a:lnTo>
                      <a:pt x="1380" y="1947"/>
                    </a:lnTo>
                    <a:lnTo>
                      <a:pt x="1359" y="1894"/>
                    </a:lnTo>
                    <a:lnTo>
                      <a:pt x="1336" y="1839"/>
                    </a:lnTo>
                    <a:lnTo>
                      <a:pt x="1311" y="1781"/>
                    </a:lnTo>
                    <a:lnTo>
                      <a:pt x="1285" y="1721"/>
                    </a:lnTo>
                    <a:lnTo>
                      <a:pt x="1256" y="1659"/>
                    </a:lnTo>
                    <a:lnTo>
                      <a:pt x="1226" y="1594"/>
                    </a:lnTo>
                    <a:lnTo>
                      <a:pt x="1193" y="1528"/>
                    </a:lnTo>
                    <a:lnTo>
                      <a:pt x="1159" y="1460"/>
                    </a:lnTo>
                    <a:lnTo>
                      <a:pt x="1122" y="1391"/>
                    </a:lnTo>
                    <a:lnTo>
                      <a:pt x="1082" y="1320"/>
                    </a:lnTo>
                    <a:lnTo>
                      <a:pt x="1041" y="1248"/>
                    </a:lnTo>
                    <a:lnTo>
                      <a:pt x="997" y="1174"/>
                    </a:lnTo>
                    <a:lnTo>
                      <a:pt x="952" y="1101"/>
                    </a:lnTo>
                    <a:lnTo>
                      <a:pt x="902" y="1025"/>
                    </a:lnTo>
                    <a:lnTo>
                      <a:pt x="851" y="950"/>
                    </a:lnTo>
                    <a:lnTo>
                      <a:pt x="796" y="874"/>
                    </a:lnTo>
                    <a:lnTo>
                      <a:pt x="740" y="798"/>
                    </a:lnTo>
                    <a:lnTo>
                      <a:pt x="679" y="722"/>
                    </a:lnTo>
                    <a:lnTo>
                      <a:pt x="618" y="645"/>
                    </a:lnTo>
                    <a:lnTo>
                      <a:pt x="552" y="569"/>
                    </a:lnTo>
                    <a:lnTo>
                      <a:pt x="483" y="493"/>
                    </a:lnTo>
                    <a:lnTo>
                      <a:pt x="412" y="418"/>
                    </a:lnTo>
                    <a:lnTo>
                      <a:pt x="337" y="343"/>
                    </a:lnTo>
                    <a:lnTo>
                      <a:pt x="259" y="270"/>
                    </a:lnTo>
                    <a:lnTo>
                      <a:pt x="178" y="196"/>
                    </a:lnTo>
                    <a:lnTo>
                      <a:pt x="93" y="125"/>
                    </a:lnTo>
                    <a:lnTo>
                      <a:pt x="6" y="55"/>
                    </a:lnTo>
                    <a:lnTo>
                      <a:pt x="2" y="52"/>
                    </a:lnTo>
                    <a:lnTo>
                      <a:pt x="0" y="47"/>
                    </a:lnTo>
                    <a:lnTo>
                      <a:pt x="0" y="43"/>
                    </a:lnTo>
                    <a:lnTo>
                      <a:pt x="1" y="39"/>
                    </a:lnTo>
                    <a:lnTo>
                      <a:pt x="5" y="34"/>
                    </a:lnTo>
                    <a:lnTo>
                      <a:pt x="8" y="32"/>
                    </a:lnTo>
                    <a:lnTo>
                      <a:pt x="12" y="31"/>
                    </a:lnTo>
                    <a:lnTo>
                      <a:pt x="16" y="31"/>
                    </a:lnTo>
                    <a:lnTo>
                      <a:pt x="70" y="41"/>
                    </a:lnTo>
                    <a:lnTo>
                      <a:pt x="115" y="46"/>
                    </a:lnTo>
                    <a:lnTo>
                      <a:pt x="147" y="50"/>
                    </a:lnTo>
                    <a:lnTo>
                      <a:pt x="165" y="51"/>
                    </a:lnTo>
                    <a:lnTo>
                      <a:pt x="176" y="46"/>
                    </a:lnTo>
                    <a:lnTo>
                      <a:pt x="195" y="39"/>
                    </a:lnTo>
                    <a:lnTo>
                      <a:pt x="219" y="31"/>
                    </a:lnTo>
                    <a:lnTo>
                      <a:pt x="253" y="21"/>
                    </a:lnTo>
                    <a:lnTo>
                      <a:pt x="272" y="17"/>
                    </a:lnTo>
                    <a:lnTo>
                      <a:pt x="294" y="14"/>
                    </a:lnTo>
                    <a:lnTo>
                      <a:pt x="318" y="10"/>
                    </a:lnTo>
                    <a:lnTo>
                      <a:pt x="344" y="6"/>
                    </a:lnTo>
                    <a:lnTo>
                      <a:pt x="371" y="4"/>
                    </a:lnTo>
                    <a:lnTo>
                      <a:pt x="401" y="2"/>
                    </a:lnTo>
                    <a:lnTo>
                      <a:pt x="432" y="0"/>
                    </a:lnTo>
                    <a:lnTo>
                      <a:pt x="466" y="0"/>
                    </a:lnTo>
                    <a:lnTo>
                      <a:pt x="515" y="1"/>
                    </a:lnTo>
                    <a:lnTo>
                      <a:pt x="566" y="3"/>
                    </a:lnTo>
                    <a:lnTo>
                      <a:pt x="617" y="9"/>
                    </a:lnTo>
                    <a:lnTo>
                      <a:pt x="670" y="15"/>
                    </a:lnTo>
                    <a:lnTo>
                      <a:pt x="724" y="24"/>
                    </a:lnTo>
                    <a:lnTo>
                      <a:pt x="778" y="33"/>
                    </a:lnTo>
                    <a:lnTo>
                      <a:pt x="834" y="46"/>
                    </a:lnTo>
                    <a:lnTo>
                      <a:pt x="890" y="60"/>
                    </a:lnTo>
                    <a:lnTo>
                      <a:pt x="948" y="77"/>
                    </a:lnTo>
                    <a:lnTo>
                      <a:pt x="1007" y="94"/>
                    </a:lnTo>
                    <a:lnTo>
                      <a:pt x="1066" y="114"/>
                    </a:lnTo>
                    <a:lnTo>
                      <a:pt x="1126" y="136"/>
                    </a:lnTo>
                    <a:lnTo>
                      <a:pt x="1188" y="160"/>
                    </a:lnTo>
                    <a:lnTo>
                      <a:pt x="1250" y="184"/>
                    </a:lnTo>
                    <a:lnTo>
                      <a:pt x="1313" y="211"/>
                    </a:lnTo>
                    <a:lnTo>
                      <a:pt x="1377" y="241"/>
                    </a:lnTo>
                    <a:lnTo>
                      <a:pt x="1447" y="276"/>
                    </a:lnTo>
                    <a:lnTo>
                      <a:pt x="1516" y="314"/>
                    </a:lnTo>
                    <a:lnTo>
                      <a:pt x="1584" y="354"/>
                    </a:lnTo>
                    <a:lnTo>
                      <a:pt x="1650" y="397"/>
                    </a:lnTo>
                    <a:lnTo>
                      <a:pt x="1714" y="442"/>
                    </a:lnTo>
                    <a:lnTo>
                      <a:pt x="1776" y="490"/>
                    </a:lnTo>
                    <a:lnTo>
                      <a:pt x="1837" y="540"/>
                    </a:lnTo>
                    <a:lnTo>
                      <a:pt x="1895" y="591"/>
                    </a:lnTo>
                    <a:lnTo>
                      <a:pt x="1952" y="645"/>
                    </a:lnTo>
                    <a:lnTo>
                      <a:pt x="2009" y="702"/>
                    </a:lnTo>
                    <a:lnTo>
                      <a:pt x="2063" y="759"/>
                    </a:lnTo>
                    <a:lnTo>
                      <a:pt x="2114" y="818"/>
                    </a:lnTo>
                    <a:lnTo>
                      <a:pt x="2165" y="879"/>
                    </a:lnTo>
                    <a:lnTo>
                      <a:pt x="2214" y="940"/>
                    </a:lnTo>
                    <a:lnTo>
                      <a:pt x="2261" y="1004"/>
                    </a:lnTo>
                    <a:lnTo>
                      <a:pt x="2307" y="1068"/>
                    </a:lnTo>
                    <a:lnTo>
                      <a:pt x="2351" y="1133"/>
                    </a:lnTo>
                    <a:lnTo>
                      <a:pt x="2393" y="1199"/>
                    </a:lnTo>
                    <a:lnTo>
                      <a:pt x="2433" y="1266"/>
                    </a:lnTo>
                    <a:lnTo>
                      <a:pt x="2472" y="1333"/>
                    </a:lnTo>
                    <a:lnTo>
                      <a:pt x="2510" y="1401"/>
                    </a:lnTo>
                    <a:lnTo>
                      <a:pt x="2544" y="1469"/>
                    </a:lnTo>
                    <a:lnTo>
                      <a:pt x="2579" y="1537"/>
                    </a:lnTo>
                    <a:lnTo>
                      <a:pt x="2610" y="1606"/>
                    </a:lnTo>
                    <a:lnTo>
                      <a:pt x="2641" y="1674"/>
                    </a:lnTo>
                    <a:lnTo>
                      <a:pt x="2669" y="1742"/>
                    </a:lnTo>
                    <a:lnTo>
                      <a:pt x="2696" y="1810"/>
                    </a:lnTo>
                    <a:lnTo>
                      <a:pt x="2722" y="1878"/>
                    </a:lnTo>
                    <a:lnTo>
                      <a:pt x="2746" y="1945"/>
                    </a:lnTo>
                    <a:lnTo>
                      <a:pt x="2768" y="2012"/>
                    </a:lnTo>
                    <a:lnTo>
                      <a:pt x="2788" y="2078"/>
                    </a:lnTo>
                    <a:lnTo>
                      <a:pt x="2807" y="2143"/>
                    </a:lnTo>
                    <a:lnTo>
                      <a:pt x="2815" y="2174"/>
                    </a:lnTo>
                    <a:lnTo>
                      <a:pt x="2823" y="2204"/>
                    </a:lnTo>
                    <a:lnTo>
                      <a:pt x="2830" y="2234"/>
                    </a:lnTo>
                    <a:lnTo>
                      <a:pt x="2836" y="2265"/>
                    </a:lnTo>
                    <a:lnTo>
                      <a:pt x="2841" y="2294"/>
                    </a:lnTo>
                    <a:lnTo>
                      <a:pt x="2847" y="2323"/>
                    </a:lnTo>
                    <a:lnTo>
                      <a:pt x="2850" y="2352"/>
                    </a:lnTo>
                    <a:lnTo>
                      <a:pt x="2853" y="2380"/>
                    </a:lnTo>
                    <a:lnTo>
                      <a:pt x="2858" y="2435"/>
                    </a:lnTo>
                    <a:lnTo>
                      <a:pt x="2862" y="2488"/>
                    </a:lnTo>
                    <a:lnTo>
                      <a:pt x="2862" y="2539"/>
                    </a:lnTo>
                    <a:lnTo>
                      <a:pt x="2861" y="2587"/>
                    </a:lnTo>
                    <a:lnTo>
                      <a:pt x="2857" y="2635"/>
                    </a:lnTo>
                    <a:lnTo>
                      <a:pt x="2853" y="2679"/>
                    </a:lnTo>
                    <a:lnTo>
                      <a:pt x="2847" y="2722"/>
                    </a:lnTo>
                    <a:lnTo>
                      <a:pt x="2840" y="2763"/>
                    </a:lnTo>
                    <a:lnTo>
                      <a:pt x="2831" y="2801"/>
                    </a:lnTo>
                    <a:lnTo>
                      <a:pt x="2823" y="2838"/>
                    </a:lnTo>
                    <a:lnTo>
                      <a:pt x="2813" y="2871"/>
                    </a:lnTo>
                    <a:lnTo>
                      <a:pt x="2803" y="2903"/>
                    </a:lnTo>
                    <a:lnTo>
                      <a:pt x="2790" y="2938"/>
                    </a:lnTo>
                    <a:lnTo>
                      <a:pt x="2779" y="2968"/>
                    </a:lnTo>
                    <a:lnTo>
                      <a:pt x="2767" y="2995"/>
                    </a:lnTo>
                    <a:lnTo>
                      <a:pt x="2757" y="3017"/>
                    </a:lnTo>
                    <a:lnTo>
                      <a:pt x="2741" y="3047"/>
                    </a:lnTo>
                    <a:lnTo>
                      <a:pt x="2734" y="3059"/>
                    </a:lnTo>
                    <a:lnTo>
                      <a:pt x="2732" y="3061"/>
                    </a:lnTo>
                    <a:lnTo>
                      <a:pt x="2729" y="3063"/>
                    </a:lnTo>
                    <a:lnTo>
                      <a:pt x="2726" y="3065"/>
                    </a:lnTo>
                    <a:lnTo>
                      <a:pt x="2722" y="3066"/>
                    </a:lnTo>
                    <a:close/>
                    <a:moveTo>
                      <a:pt x="1554" y="2315"/>
                    </a:moveTo>
                    <a:lnTo>
                      <a:pt x="1554" y="2315"/>
                    </a:lnTo>
                    <a:lnTo>
                      <a:pt x="1575" y="2316"/>
                    </a:lnTo>
                    <a:lnTo>
                      <a:pt x="1595" y="2319"/>
                    </a:lnTo>
                    <a:lnTo>
                      <a:pt x="1616" y="2322"/>
                    </a:lnTo>
                    <a:lnTo>
                      <a:pt x="1635" y="2326"/>
                    </a:lnTo>
                    <a:lnTo>
                      <a:pt x="1656" y="2330"/>
                    </a:lnTo>
                    <a:lnTo>
                      <a:pt x="1676" y="2337"/>
                    </a:lnTo>
                    <a:lnTo>
                      <a:pt x="1697" y="2343"/>
                    </a:lnTo>
                    <a:lnTo>
                      <a:pt x="1717" y="2352"/>
                    </a:lnTo>
                    <a:lnTo>
                      <a:pt x="1737" y="2361"/>
                    </a:lnTo>
                    <a:lnTo>
                      <a:pt x="1757" y="2369"/>
                    </a:lnTo>
                    <a:lnTo>
                      <a:pt x="1778" y="2380"/>
                    </a:lnTo>
                    <a:lnTo>
                      <a:pt x="1797" y="2391"/>
                    </a:lnTo>
                    <a:lnTo>
                      <a:pt x="1837" y="2415"/>
                    </a:lnTo>
                    <a:lnTo>
                      <a:pt x="1877" y="2441"/>
                    </a:lnTo>
                    <a:lnTo>
                      <a:pt x="1916" y="2468"/>
                    </a:lnTo>
                    <a:lnTo>
                      <a:pt x="1955" y="2498"/>
                    </a:lnTo>
                    <a:lnTo>
                      <a:pt x="1994" y="2528"/>
                    </a:lnTo>
                    <a:lnTo>
                      <a:pt x="2031" y="2560"/>
                    </a:lnTo>
                    <a:lnTo>
                      <a:pt x="2107" y="2626"/>
                    </a:lnTo>
                    <a:lnTo>
                      <a:pt x="2179" y="2692"/>
                    </a:lnTo>
                    <a:lnTo>
                      <a:pt x="2221" y="2730"/>
                    </a:lnTo>
                    <a:lnTo>
                      <a:pt x="2262" y="2767"/>
                    </a:lnTo>
                    <a:lnTo>
                      <a:pt x="2302" y="2802"/>
                    </a:lnTo>
                    <a:lnTo>
                      <a:pt x="2342" y="2835"/>
                    </a:lnTo>
                    <a:lnTo>
                      <a:pt x="2380" y="2865"/>
                    </a:lnTo>
                    <a:lnTo>
                      <a:pt x="2417" y="2891"/>
                    </a:lnTo>
                    <a:lnTo>
                      <a:pt x="2435" y="2903"/>
                    </a:lnTo>
                    <a:lnTo>
                      <a:pt x="2452" y="2913"/>
                    </a:lnTo>
                    <a:lnTo>
                      <a:pt x="2470" y="2923"/>
                    </a:lnTo>
                    <a:lnTo>
                      <a:pt x="2487" y="2931"/>
                    </a:lnTo>
                    <a:lnTo>
                      <a:pt x="2717" y="3034"/>
                    </a:lnTo>
                    <a:lnTo>
                      <a:pt x="2728" y="3015"/>
                    </a:lnTo>
                    <a:lnTo>
                      <a:pt x="2742" y="2984"/>
                    </a:lnTo>
                    <a:lnTo>
                      <a:pt x="2750" y="2965"/>
                    </a:lnTo>
                    <a:lnTo>
                      <a:pt x="2759" y="2944"/>
                    </a:lnTo>
                    <a:lnTo>
                      <a:pt x="2769" y="2920"/>
                    </a:lnTo>
                    <a:lnTo>
                      <a:pt x="2777" y="2894"/>
                    </a:lnTo>
                    <a:lnTo>
                      <a:pt x="2787" y="2864"/>
                    </a:lnTo>
                    <a:lnTo>
                      <a:pt x="2797" y="2830"/>
                    </a:lnTo>
                    <a:lnTo>
                      <a:pt x="2806" y="2795"/>
                    </a:lnTo>
                    <a:lnTo>
                      <a:pt x="2813" y="2757"/>
                    </a:lnTo>
                    <a:lnTo>
                      <a:pt x="2820" y="2718"/>
                    </a:lnTo>
                    <a:lnTo>
                      <a:pt x="2826" y="2676"/>
                    </a:lnTo>
                    <a:lnTo>
                      <a:pt x="2830" y="2632"/>
                    </a:lnTo>
                    <a:lnTo>
                      <a:pt x="2834" y="2586"/>
                    </a:lnTo>
                    <a:lnTo>
                      <a:pt x="2835" y="2538"/>
                    </a:lnTo>
                    <a:lnTo>
                      <a:pt x="2834" y="2488"/>
                    </a:lnTo>
                    <a:lnTo>
                      <a:pt x="2831" y="2436"/>
                    </a:lnTo>
                    <a:lnTo>
                      <a:pt x="2827" y="2382"/>
                    </a:lnTo>
                    <a:lnTo>
                      <a:pt x="2823" y="2355"/>
                    </a:lnTo>
                    <a:lnTo>
                      <a:pt x="2820" y="2327"/>
                    </a:lnTo>
                    <a:lnTo>
                      <a:pt x="2815" y="2298"/>
                    </a:lnTo>
                    <a:lnTo>
                      <a:pt x="2810" y="2270"/>
                    </a:lnTo>
                    <a:lnTo>
                      <a:pt x="2803" y="2240"/>
                    </a:lnTo>
                    <a:lnTo>
                      <a:pt x="2797" y="2211"/>
                    </a:lnTo>
                    <a:lnTo>
                      <a:pt x="2789" y="2180"/>
                    </a:lnTo>
                    <a:lnTo>
                      <a:pt x="2781" y="2149"/>
                    </a:lnTo>
                    <a:lnTo>
                      <a:pt x="2762" y="2085"/>
                    </a:lnTo>
                    <a:lnTo>
                      <a:pt x="2742" y="2020"/>
                    </a:lnTo>
                    <a:lnTo>
                      <a:pt x="2720" y="1954"/>
                    </a:lnTo>
                    <a:lnTo>
                      <a:pt x="2696" y="1888"/>
                    </a:lnTo>
                    <a:lnTo>
                      <a:pt x="2672" y="1821"/>
                    </a:lnTo>
                    <a:lnTo>
                      <a:pt x="2645" y="1753"/>
                    </a:lnTo>
                    <a:lnTo>
                      <a:pt x="2617" y="1686"/>
                    </a:lnTo>
                    <a:lnTo>
                      <a:pt x="2586" y="1618"/>
                    </a:lnTo>
                    <a:lnTo>
                      <a:pt x="2555" y="1550"/>
                    </a:lnTo>
                    <a:lnTo>
                      <a:pt x="2522" y="1482"/>
                    </a:lnTo>
                    <a:lnTo>
                      <a:pt x="2486" y="1415"/>
                    </a:lnTo>
                    <a:lnTo>
                      <a:pt x="2449" y="1347"/>
                    </a:lnTo>
                    <a:lnTo>
                      <a:pt x="2410" y="1280"/>
                    </a:lnTo>
                    <a:lnTo>
                      <a:pt x="2370" y="1214"/>
                    </a:lnTo>
                    <a:lnTo>
                      <a:pt x="2329" y="1150"/>
                    </a:lnTo>
                    <a:lnTo>
                      <a:pt x="2285" y="1085"/>
                    </a:lnTo>
                    <a:lnTo>
                      <a:pt x="2241" y="1021"/>
                    </a:lnTo>
                    <a:lnTo>
                      <a:pt x="2193" y="958"/>
                    </a:lnTo>
                    <a:lnTo>
                      <a:pt x="2146" y="897"/>
                    </a:lnTo>
                    <a:lnTo>
                      <a:pt x="2095" y="836"/>
                    </a:lnTo>
                    <a:lnTo>
                      <a:pt x="2043" y="778"/>
                    </a:lnTo>
                    <a:lnTo>
                      <a:pt x="1990" y="721"/>
                    </a:lnTo>
                    <a:lnTo>
                      <a:pt x="1935" y="666"/>
                    </a:lnTo>
                    <a:lnTo>
                      <a:pt x="1879" y="613"/>
                    </a:lnTo>
                    <a:lnTo>
                      <a:pt x="1821" y="561"/>
                    </a:lnTo>
                    <a:lnTo>
                      <a:pt x="1760" y="512"/>
                    </a:lnTo>
                    <a:lnTo>
                      <a:pt x="1699" y="464"/>
                    </a:lnTo>
                    <a:lnTo>
                      <a:pt x="1635" y="420"/>
                    </a:lnTo>
                    <a:lnTo>
                      <a:pt x="1570" y="377"/>
                    </a:lnTo>
                    <a:lnTo>
                      <a:pt x="1503" y="337"/>
                    </a:lnTo>
                    <a:lnTo>
                      <a:pt x="1435" y="300"/>
                    </a:lnTo>
                    <a:lnTo>
                      <a:pt x="1365" y="265"/>
                    </a:lnTo>
                    <a:lnTo>
                      <a:pt x="1287" y="230"/>
                    </a:lnTo>
                    <a:lnTo>
                      <a:pt x="1213" y="199"/>
                    </a:lnTo>
                    <a:lnTo>
                      <a:pt x="1140" y="170"/>
                    </a:lnTo>
                    <a:lnTo>
                      <a:pt x="1071" y="145"/>
                    </a:lnTo>
                    <a:lnTo>
                      <a:pt x="1004" y="123"/>
                    </a:lnTo>
                    <a:lnTo>
                      <a:pt x="942" y="104"/>
                    </a:lnTo>
                    <a:lnTo>
                      <a:pt x="880" y="86"/>
                    </a:lnTo>
                    <a:lnTo>
                      <a:pt x="823" y="72"/>
                    </a:lnTo>
                    <a:lnTo>
                      <a:pt x="768" y="60"/>
                    </a:lnTo>
                    <a:lnTo>
                      <a:pt x="716" y="51"/>
                    </a:lnTo>
                    <a:lnTo>
                      <a:pt x="668" y="42"/>
                    </a:lnTo>
                    <a:lnTo>
                      <a:pt x="621" y="37"/>
                    </a:lnTo>
                    <a:lnTo>
                      <a:pt x="578" y="32"/>
                    </a:lnTo>
                    <a:lnTo>
                      <a:pt x="538" y="29"/>
                    </a:lnTo>
                    <a:lnTo>
                      <a:pt x="500" y="27"/>
                    </a:lnTo>
                    <a:lnTo>
                      <a:pt x="466" y="27"/>
                    </a:lnTo>
                    <a:lnTo>
                      <a:pt x="430" y="27"/>
                    </a:lnTo>
                    <a:lnTo>
                      <a:pt x="396" y="29"/>
                    </a:lnTo>
                    <a:lnTo>
                      <a:pt x="366" y="31"/>
                    </a:lnTo>
                    <a:lnTo>
                      <a:pt x="337" y="34"/>
                    </a:lnTo>
                    <a:lnTo>
                      <a:pt x="311" y="38"/>
                    </a:lnTo>
                    <a:lnTo>
                      <a:pt x="287" y="42"/>
                    </a:lnTo>
                    <a:lnTo>
                      <a:pt x="266" y="47"/>
                    </a:lnTo>
                    <a:lnTo>
                      <a:pt x="246" y="52"/>
                    </a:lnTo>
                    <a:lnTo>
                      <a:pt x="215" y="60"/>
                    </a:lnTo>
                    <a:lnTo>
                      <a:pt x="192" y="69"/>
                    </a:lnTo>
                    <a:lnTo>
                      <a:pt x="179" y="74"/>
                    </a:lnTo>
                    <a:lnTo>
                      <a:pt x="174" y="77"/>
                    </a:lnTo>
                    <a:lnTo>
                      <a:pt x="171" y="78"/>
                    </a:lnTo>
                    <a:lnTo>
                      <a:pt x="168" y="79"/>
                    </a:lnTo>
                    <a:lnTo>
                      <a:pt x="159" y="78"/>
                    </a:lnTo>
                    <a:lnTo>
                      <a:pt x="138" y="77"/>
                    </a:lnTo>
                    <a:lnTo>
                      <a:pt x="106" y="72"/>
                    </a:lnTo>
                    <a:lnTo>
                      <a:pt x="64" y="67"/>
                    </a:lnTo>
                    <a:lnTo>
                      <a:pt x="150" y="137"/>
                    </a:lnTo>
                    <a:lnTo>
                      <a:pt x="232" y="209"/>
                    </a:lnTo>
                    <a:lnTo>
                      <a:pt x="311" y="282"/>
                    </a:lnTo>
                    <a:lnTo>
                      <a:pt x="387" y="355"/>
                    </a:lnTo>
                    <a:lnTo>
                      <a:pt x="460" y="430"/>
                    </a:lnTo>
                    <a:lnTo>
                      <a:pt x="529" y="504"/>
                    </a:lnTo>
                    <a:lnTo>
                      <a:pt x="596" y="580"/>
                    </a:lnTo>
                    <a:lnTo>
                      <a:pt x="660" y="655"/>
                    </a:lnTo>
                    <a:lnTo>
                      <a:pt x="722" y="731"/>
                    </a:lnTo>
                    <a:lnTo>
                      <a:pt x="780" y="806"/>
                    </a:lnTo>
                    <a:lnTo>
                      <a:pt x="835" y="882"/>
                    </a:lnTo>
                    <a:lnTo>
                      <a:pt x="888" y="956"/>
                    </a:lnTo>
                    <a:lnTo>
                      <a:pt x="939" y="1031"/>
                    </a:lnTo>
                    <a:lnTo>
                      <a:pt x="986" y="1105"/>
                    </a:lnTo>
                    <a:lnTo>
                      <a:pt x="1031" y="1179"/>
                    </a:lnTo>
                    <a:lnTo>
                      <a:pt x="1075" y="1251"/>
                    </a:lnTo>
                    <a:lnTo>
                      <a:pt x="1115" y="1322"/>
                    </a:lnTo>
                    <a:lnTo>
                      <a:pt x="1153" y="1392"/>
                    </a:lnTo>
                    <a:lnTo>
                      <a:pt x="1189" y="1460"/>
                    </a:lnTo>
                    <a:lnTo>
                      <a:pt x="1224" y="1527"/>
                    </a:lnTo>
                    <a:lnTo>
                      <a:pt x="1255" y="1593"/>
                    </a:lnTo>
                    <a:lnTo>
                      <a:pt x="1285" y="1656"/>
                    </a:lnTo>
                    <a:lnTo>
                      <a:pt x="1313" y="1717"/>
                    </a:lnTo>
                    <a:lnTo>
                      <a:pt x="1339" y="1777"/>
                    </a:lnTo>
                    <a:lnTo>
                      <a:pt x="1363" y="1834"/>
                    </a:lnTo>
                    <a:lnTo>
                      <a:pt x="1386" y="1888"/>
                    </a:lnTo>
                    <a:lnTo>
                      <a:pt x="1406" y="1940"/>
                    </a:lnTo>
                    <a:lnTo>
                      <a:pt x="1426" y="1989"/>
                    </a:lnTo>
                    <a:lnTo>
                      <a:pt x="1459" y="2078"/>
                    </a:lnTo>
                    <a:lnTo>
                      <a:pt x="1487" y="2155"/>
                    </a:lnTo>
                    <a:lnTo>
                      <a:pt x="1509" y="2212"/>
                    </a:lnTo>
                    <a:lnTo>
                      <a:pt x="1527" y="2260"/>
                    </a:lnTo>
                    <a:lnTo>
                      <a:pt x="1536" y="2281"/>
                    </a:lnTo>
                    <a:lnTo>
                      <a:pt x="1542" y="2296"/>
                    </a:lnTo>
                    <a:lnTo>
                      <a:pt x="1549" y="2308"/>
                    </a:lnTo>
                    <a:lnTo>
                      <a:pt x="1554" y="2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68"/>
              <p:cNvSpPr>
                <a:spLocks/>
              </p:cNvSpPr>
              <p:nvPr userDrawn="1"/>
            </p:nvSpPr>
            <p:spPr bwMode="auto">
              <a:xfrm>
                <a:off x="2053" y="1162"/>
                <a:ext cx="904" cy="501"/>
              </a:xfrm>
              <a:custGeom>
                <a:avLst/>
                <a:gdLst>
                  <a:gd name="T0" fmla="*/ 2637 w 2711"/>
                  <a:gd name="T1" fmla="*/ 1497 h 1502"/>
                  <a:gd name="T2" fmla="*/ 2639 w 2711"/>
                  <a:gd name="T3" fmla="*/ 1478 h 1502"/>
                  <a:gd name="T4" fmla="*/ 2666 w 2711"/>
                  <a:gd name="T5" fmla="*/ 1463 h 1502"/>
                  <a:gd name="T6" fmla="*/ 2681 w 2711"/>
                  <a:gd name="T7" fmla="*/ 1439 h 1502"/>
                  <a:gd name="T8" fmla="*/ 2683 w 2711"/>
                  <a:gd name="T9" fmla="*/ 1406 h 1502"/>
                  <a:gd name="T10" fmla="*/ 2671 w 2711"/>
                  <a:gd name="T11" fmla="*/ 1340 h 1502"/>
                  <a:gd name="T12" fmla="*/ 2659 w 2711"/>
                  <a:gd name="T13" fmla="*/ 1280 h 1502"/>
                  <a:gd name="T14" fmla="*/ 2607 w 2711"/>
                  <a:gd name="T15" fmla="*/ 1068 h 1502"/>
                  <a:gd name="T16" fmla="*/ 2524 w 2711"/>
                  <a:gd name="T17" fmla="*/ 798 h 1502"/>
                  <a:gd name="T18" fmla="*/ 2461 w 2711"/>
                  <a:gd name="T19" fmla="*/ 637 h 1502"/>
                  <a:gd name="T20" fmla="*/ 2406 w 2711"/>
                  <a:gd name="T21" fmla="*/ 529 h 1502"/>
                  <a:gd name="T22" fmla="*/ 2350 w 2711"/>
                  <a:gd name="T23" fmla="*/ 452 h 1502"/>
                  <a:gd name="T24" fmla="*/ 2242 w 2711"/>
                  <a:gd name="T25" fmla="*/ 365 h 1502"/>
                  <a:gd name="T26" fmla="*/ 2099 w 2711"/>
                  <a:gd name="T27" fmla="*/ 279 h 1502"/>
                  <a:gd name="T28" fmla="*/ 1997 w 2711"/>
                  <a:gd name="T29" fmla="*/ 232 h 1502"/>
                  <a:gd name="T30" fmla="*/ 1876 w 2711"/>
                  <a:gd name="T31" fmla="*/ 186 h 1502"/>
                  <a:gd name="T32" fmla="*/ 1732 w 2711"/>
                  <a:gd name="T33" fmla="*/ 144 h 1502"/>
                  <a:gd name="T34" fmla="*/ 1565 w 2711"/>
                  <a:gd name="T35" fmla="*/ 105 h 1502"/>
                  <a:gd name="T36" fmla="*/ 1371 w 2711"/>
                  <a:gd name="T37" fmla="*/ 71 h 1502"/>
                  <a:gd name="T38" fmla="*/ 1177 w 2711"/>
                  <a:gd name="T39" fmla="*/ 47 h 1502"/>
                  <a:gd name="T40" fmla="*/ 953 w 2711"/>
                  <a:gd name="T41" fmla="*/ 31 h 1502"/>
                  <a:gd name="T42" fmla="*/ 633 w 2711"/>
                  <a:gd name="T43" fmla="*/ 32 h 1502"/>
                  <a:gd name="T44" fmla="*/ 361 w 2711"/>
                  <a:gd name="T45" fmla="*/ 56 h 1502"/>
                  <a:gd name="T46" fmla="*/ 159 w 2711"/>
                  <a:gd name="T47" fmla="*/ 86 h 1502"/>
                  <a:gd name="T48" fmla="*/ 100 w 2711"/>
                  <a:gd name="T49" fmla="*/ 106 h 1502"/>
                  <a:gd name="T50" fmla="*/ 62 w 2711"/>
                  <a:gd name="T51" fmla="*/ 129 h 1502"/>
                  <a:gd name="T52" fmla="*/ 30 w 2711"/>
                  <a:gd name="T53" fmla="*/ 158 h 1502"/>
                  <a:gd name="T54" fmla="*/ 10 w 2711"/>
                  <a:gd name="T55" fmla="*/ 172 h 1502"/>
                  <a:gd name="T56" fmla="*/ 0 w 2711"/>
                  <a:gd name="T57" fmla="*/ 156 h 1502"/>
                  <a:gd name="T58" fmla="*/ 26 w 2711"/>
                  <a:gd name="T59" fmla="*/ 124 h 1502"/>
                  <a:gd name="T60" fmla="*/ 64 w 2711"/>
                  <a:gd name="T61" fmla="*/ 94 h 1502"/>
                  <a:gd name="T62" fmla="*/ 111 w 2711"/>
                  <a:gd name="T63" fmla="*/ 72 h 1502"/>
                  <a:gd name="T64" fmla="*/ 167 w 2711"/>
                  <a:gd name="T65" fmla="*/ 57 h 1502"/>
                  <a:gd name="T66" fmla="*/ 358 w 2711"/>
                  <a:gd name="T67" fmla="*/ 29 h 1502"/>
                  <a:gd name="T68" fmla="*/ 632 w 2711"/>
                  <a:gd name="T69" fmla="*/ 5 h 1502"/>
                  <a:gd name="T70" fmla="*/ 954 w 2711"/>
                  <a:gd name="T71" fmla="*/ 4 h 1502"/>
                  <a:gd name="T72" fmla="*/ 1179 w 2711"/>
                  <a:gd name="T73" fmla="*/ 20 h 1502"/>
                  <a:gd name="T74" fmla="*/ 1375 w 2711"/>
                  <a:gd name="T75" fmla="*/ 45 h 1502"/>
                  <a:gd name="T76" fmla="*/ 1570 w 2711"/>
                  <a:gd name="T77" fmla="*/ 78 h 1502"/>
                  <a:gd name="T78" fmla="*/ 1741 w 2711"/>
                  <a:gd name="T79" fmla="*/ 118 h 1502"/>
                  <a:gd name="T80" fmla="*/ 1886 w 2711"/>
                  <a:gd name="T81" fmla="*/ 161 h 1502"/>
                  <a:gd name="T82" fmla="*/ 2009 w 2711"/>
                  <a:gd name="T83" fmla="*/ 207 h 1502"/>
                  <a:gd name="T84" fmla="*/ 2113 w 2711"/>
                  <a:gd name="T85" fmla="*/ 255 h 1502"/>
                  <a:gd name="T86" fmla="*/ 2258 w 2711"/>
                  <a:gd name="T87" fmla="*/ 343 h 1502"/>
                  <a:gd name="T88" fmla="*/ 2369 w 2711"/>
                  <a:gd name="T89" fmla="*/ 433 h 1502"/>
                  <a:gd name="T90" fmla="*/ 2431 w 2711"/>
                  <a:gd name="T91" fmla="*/ 518 h 1502"/>
                  <a:gd name="T92" fmla="*/ 2489 w 2711"/>
                  <a:gd name="T93" fmla="*/ 634 h 1502"/>
                  <a:gd name="T94" fmla="*/ 2555 w 2711"/>
                  <a:gd name="T95" fmla="*/ 805 h 1502"/>
                  <a:gd name="T96" fmla="*/ 2638 w 2711"/>
                  <a:gd name="T97" fmla="*/ 1082 h 1502"/>
                  <a:gd name="T98" fmla="*/ 2687 w 2711"/>
                  <a:gd name="T99" fmla="*/ 1282 h 1502"/>
                  <a:gd name="T100" fmla="*/ 2698 w 2711"/>
                  <a:gd name="T101" fmla="*/ 1335 h 1502"/>
                  <a:gd name="T102" fmla="*/ 2710 w 2711"/>
                  <a:gd name="T103" fmla="*/ 1404 h 1502"/>
                  <a:gd name="T104" fmla="*/ 2707 w 2711"/>
                  <a:gd name="T105" fmla="*/ 1448 h 1502"/>
                  <a:gd name="T106" fmla="*/ 2686 w 2711"/>
                  <a:gd name="T107" fmla="*/ 1483 h 1502"/>
                  <a:gd name="T108" fmla="*/ 2650 w 2711"/>
                  <a:gd name="T109"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11" h="1502">
                    <a:moveTo>
                      <a:pt x="2648" y="1502"/>
                    </a:moveTo>
                    <a:lnTo>
                      <a:pt x="2644" y="1501"/>
                    </a:lnTo>
                    <a:lnTo>
                      <a:pt x="2640" y="1500"/>
                    </a:lnTo>
                    <a:lnTo>
                      <a:pt x="2637" y="1497"/>
                    </a:lnTo>
                    <a:lnTo>
                      <a:pt x="2635" y="1492"/>
                    </a:lnTo>
                    <a:lnTo>
                      <a:pt x="2635" y="1487"/>
                    </a:lnTo>
                    <a:lnTo>
                      <a:pt x="2636" y="1483"/>
                    </a:lnTo>
                    <a:lnTo>
                      <a:pt x="2639" y="1478"/>
                    </a:lnTo>
                    <a:lnTo>
                      <a:pt x="2644" y="1475"/>
                    </a:lnTo>
                    <a:lnTo>
                      <a:pt x="2652" y="1472"/>
                    </a:lnTo>
                    <a:lnTo>
                      <a:pt x="2660" y="1469"/>
                    </a:lnTo>
                    <a:lnTo>
                      <a:pt x="2666" y="1463"/>
                    </a:lnTo>
                    <a:lnTo>
                      <a:pt x="2672" y="1459"/>
                    </a:lnTo>
                    <a:lnTo>
                      <a:pt x="2676" y="1452"/>
                    </a:lnTo>
                    <a:lnTo>
                      <a:pt x="2679" y="1447"/>
                    </a:lnTo>
                    <a:lnTo>
                      <a:pt x="2681" y="1439"/>
                    </a:lnTo>
                    <a:lnTo>
                      <a:pt x="2683" y="1432"/>
                    </a:lnTo>
                    <a:lnTo>
                      <a:pt x="2684" y="1424"/>
                    </a:lnTo>
                    <a:lnTo>
                      <a:pt x="2684" y="1416"/>
                    </a:lnTo>
                    <a:lnTo>
                      <a:pt x="2683" y="1406"/>
                    </a:lnTo>
                    <a:lnTo>
                      <a:pt x="2681" y="1396"/>
                    </a:lnTo>
                    <a:lnTo>
                      <a:pt x="2678" y="1374"/>
                    </a:lnTo>
                    <a:lnTo>
                      <a:pt x="2673" y="1349"/>
                    </a:lnTo>
                    <a:lnTo>
                      <a:pt x="2671" y="1340"/>
                    </a:lnTo>
                    <a:lnTo>
                      <a:pt x="2668" y="1331"/>
                    </a:lnTo>
                    <a:lnTo>
                      <a:pt x="2667" y="1323"/>
                    </a:lnTo>
                    <a:lnTo>
                      <a:pt x="2665" y="1313"/>
                    </a:lnTo>
                    <a:lnTo>
                      <a:pt x="2659" y="1280"/>
                    </a:lnTo>
                    <a:lnTo>
                      <a:pt x="2649" y="1237"/>
                    </a:lnTo>
                    <a:lnTo>
                      <a:pt x="2637" y="1186"/>
                    </a:lnTo>
                    <a:lnTo>
                      <a:pt x="2623" y="1130"/>
                    </a:lnTo>
                    <a:lnTo>
                      <a:pt x="2607" y="1068"/>
                    </a:lnTo>
                    <a:lnTo>
                      <a:pt x="2589" y="1002"/>
                    </a:lnTo>
                    <a:lnTo>
                      <a:pt x="2568" y="935"/>
                    </a:lnTo>
                    <a:lnTo>
                      <a:pt x="2546" y="866"/>
                    </a:lnTo>
                    <a:lnTo>
                      <a:pt x="2524" y="798"/>
                    </a:lnTo>
                    <a:lnTo>
                      <a:pt x="2499" y="731"/>
                    </a:lnTo>
                    <a:lnTo>
                      <a:pt x="2487" y="699"/>
                    </a:lnTo>
                    <a:lnTo>
                      <a:pt x="2474" y="668"/>
                    </a:lnTo>
                    <a:lnTo>
                      <a:pt x="2461" y="637"/>
                    </a:lnTo>
                    <a:lnTo>
                      <a:pt x="2447" y="608"/>
                    </a:lnTo>
                    <a:lnTo>
                      <a:pt x="2434" y="580"/>
                    </a:lnTo>
                    <a:lnTo>
                      <a:pt x="2420" y="554"/>
                    </a:lnTo>
                    <a:lnTo>
                      <a:pt x="2406" y="529"/>
                    </a:lnTo>
                    <a:lnTo>
                      <a:pt x="2393" y="507"/>
                    </a:lnTo>
                    <a:lnTo>
                      <a:pt x="2379" y="486"/>
                    </a:lnTo>
                    <a:lnTo>
                      <a:pt x="2364" y="468"/>
                    </a:lnTo>
                    <a:lnTo>
                      <a:pt x="2350" y="452"/>
                    </a:lnTo>
                    <a:lnTo>
                      <a:pt x="2336" y="439"/>
                    </a:lnTo>
                    <a:lnTo>
                      <a:pt x="2307" y="414"/>
                    </a:lnTo>
                    <a:lnTo>
                      <a:pt x="2275" y="389"/>
                    </a:lnTo>
                    <a:lnTo>
                      <a:pt x="2242" y="365"/>
                    </a:lnTo>
                    <a:lnTo>
                      <a:pt x="2205" y="341"/>
                    </a:lnTo>
                    <a:lnTo>
                      <a:pt x="2166" y="316"/>
                    </a:lnTo>
                    <a:lnTo>
                      <a:pt x="2123" y="291"/>
                    </a:lnTo>
                    <a:lnTo>
                      <a:pt x="2099" y="279"/>
                    </a:lnTo>
                    <a:lnTo>
                      <a:pt x="2076" y="267"/>
                    </a:lnTo>
                    <a:lnTo>
                      <a:pt x="2051" y="255"/>
                    </a:lnTo>
                    <a:lnTo>
                      <a:pt x="2025" y="243"/>
                    </a:lnTo>
                    <a:lnTo>
                      <a:pt x="1997" y="232"/>
                    </a:lnTo>
                    <a:lnTo>
                      <a:pt x="1969" y="220"/>
                    </a:lnTo>
                    <a:lnTo>
                      <a:pt x="1939" y="209"/>
                    </a:lnTo>
                    <a:lnTo>
                      <a:pt x="1908" y="197"/>
                    </a:lnTo>
                    <a:lnTo>
                      <a:pt x="1876" y="186"/>
                    </a:lnTo>
                    <a:lnTo>
                      <a:pt x="1841" y="175"/>
                    </a:lnTo>
                    <a:lnTo>
                      <a:pt x="1807" y="165"/>
                    </a:lnTo>
                    <a:lnTo>
                      <a:pt x="1770" y="154"/>
                    </a:lnTo>
                    <a:lnTo>
                      <a:pt x="1732" y="144"/>
                    </a:lnTo>
                    <a:lnTo>
                      <a:pt x="1692" y="133"/>
                    </a:lnTo>
                    <a:lnTo>
                      <a:pt x="1651" y="124"/>
                    </a:lnTo>
                    <a:lnTo>
                      <a:pt x="1609" y="114"/>
                    </a:lnTo>
                    <a:lnTo>
                      <a:pt x="1565" y="105"/>
                    </a:lnTo>
                    <a:lnTo>
                      <a:pt x="1518" y="95"/>
                    </a:lnTo>
                    <a:lnTo>
                      <a:pt x="1471" y="87"/>
                    </a:lnTo>
                    <a:lnTo>
                      <a:pt x="1421" y="79"/>
                    </a:lnTo>
                    <a:lnTo>
                      <a:pt x="1371" y="71"/>
                    </a:lnTo>
                    <a:lnTo>
                      <a:pt x="1321" y="64"/>
                    </a:lnTo>
                    <a:lnTo>
                      <a:pt x="1272" y="58"/>
                    </a:lnTo>
                    <a:lnTo>
                      <a:pt x="1224" y="52"/>
                    </a:lnTo>
                    <a:lnTo>
                      <a:pt x="1177" y="47"/>
                    </a:lnTo>
                    <a:lnTo>
                      <a:pt x="1131" y="43"/>
                    </a:lnTo>
                    <a:lnTo>
                      <a:pt x="1084" y="38"/>
                    </a:lnTo>
                    <a:lnTo>
                      <a:pt x="1040" y="35"/>
                    </a:lnTo>
                    <a:lnTo>
                      <a:pt x="953" y="31"/>
                    </a:lnTo>
                    <a:lnTo>
                      <a:pt x="868" y="29"/>
                    </a:lnTo>
                    <a:lnTo>
                      <a:pt x="787" y="27"/>
                    </a:lnTo>
                    <a:lnTo>
                      <a:pt x="709" y="30"/>
                    </a:lnTo>
                    <a:lnTo>
                      <a:pt x="633" y="32"/>
                    </a:lnTo>
                    <a:lnTo>
                      <a:pt x="561" y="36"/>
                    </a:lnTo>
                    <a:lnTo>
                      <a:pt x="492" y="42"/>
                    </a:lnTo>
                    <a:lnTo>
                      <a:pt x="425" y="48"/>
                    </a:lnTo>
                    <a:lnTo>
                      <a:pt x="361" y="56"/>
                    </a:lnTo>
                    <a:lnTo>
                      <a:pt x="300" y="63"/>
                    </a:lnTo>
                    <a:lnTo>
                      <a:pt x="242" y="72"/>
                    </a:lnTo>
                    <a:lnTo>
                      <a:pt x="186" y="80"/>
                    </a:lnTo>
                    <a:lnTo>
                      <a:pt x="159" y="86"/>
                    </a:lnTo>
                    <a:lnTo>
                      <a:pt x="134" y="92"/>
                    </a:lnTo>
                    <a:lnTo>
                      <a:pt x="122" y="97"/>
                    </a:lnTo>
                    <a:lnTo>
                      <a:pt x="110" y="101"/>
                    </a:lnTo>
                    <a:lnTo>
                      <a:pt x="100" y="106"/>
                    </a:lnTo>
                    <a:lnTo>
                      <a:pt x="90" y="111"/>
                    </a:lnTo>
                    <a:lnTo>
                      <a:pt x="80" y="117"/>
                    </a:lnTo>
                    <a:lnTo>
                      <a:pt x="70" y="122"/>
                    </a:lnTo>
                    <a:lnTo>
                      <a:pt x="62" y="129"/>
                    </a:lnTo>
                    <a:lnTo>
                      <a:pt x="53" y="135"/>
                    </a:lnTo>
                    <a:lnTo>
                      <a:pt x="45" y="143"/>
                    </a:lnTo>
                    <a:lnTo>
                      <a:pt x="37" y="151"/>
                    </a:lnTo>
                    <a:lnTo>
                      <a:pt x="30" y="158"/>
                    </a:lnTo>
                    <a:lnTo>
                      <a:pt x="24" y="167"/>
                    </a:lnTo>
                    <a:lnTo>
                      <a:pt x="20" y="171"/>
                    </a:lnTo>
                    <a:lnTo>
                      <a:pt x="15" y="172"/>
                    </a:lnTo>
                    <a:lnTo>
                      <a:pt x="10" y="172"/>
                    </a:lnTo>
                    <a:lnTo>
                      <a:pt x="6" y="170"/>
                    </a:lnTo>
                    <a:lnTo>
                      <a:pt x="1" y="166"/>
                    </a:lnTo>
                    <a:lnTo>
                      <a:pt x="0" y="161"/>
                    </a:lnTo>
                    <a:lnTo>
                      <a:pt x="0" y="156"/>
                    </a:lnTo>
                    <a:lnTo>
                      <a:pt x="2" y="151"/>
                    </a:lnTo>
                    <a:lnTo>
                      <a:pt x="10" y="142"/>
                    </a:lnTo>
                    <a:lnTo>
                      <a:pt x="18" y="132"/>
                    </a:lnTo>
                    <a:lnTo>
                      <a:pt x="26" y="124"/>
                    </a:lnTo>
                    <a:lnTo>
                      <a:pt x="35" y="116"/>
                    </a:lnTo>
                    <a:lnTo>
                      <a:pt x="45" y="108"/>
                    </a:lnTo>
                    <a:lnTo>
                      <a:pt x="54" y="101"/>
                    </a:lnTo>
                    <a:lnTo>
                      <a:pt x="64" y="94"/>
                    </a:lnTo>
                    <a:lnTo>
                      <a:pt x="76" y="88"/>
                    </a:lnTo>
                    <a:lnTo>
                      <a:pt x="87" y="83"/>
                    </a:lnTo>
                    <a:lnTo>
                      <a:pt x="99" y="77"/>
                    </a:lnTo>
                    <a:lnTo>
                      <a:pt x="111" y="72"/>
                    </a:lnTo>
                    <a:lnTo>
                      <a:pt x="124" y="67"/>
                    </a:lnTo>
                    <a:lnTo>
                      <a:pt x="138" y="63"/>
                    </a:lnTo>
                    <a:lnTo>
                      <a:pt x="153" y="60"/>
                    </a:lnTo>
                    <a:lnTo>
                      <a:pt x="167" y="57"/>
                    </a:lnTo>
                    <a:lnTo>
                      <a:pt x="182" y="53"/>
                    </a:lnTo>
                    <a:lnTo>
                      <a:pt x="238" y="45"/>
                    </a:lnTo>
                    <a:lnTo>
                      <a:pt x="296" y="36"/>
                    </a:lnTo>
                    <a:lnTo>
                      <a:pt x="358" y="29"/>
                    </a:lnTo>
                    <a:lnTo>
                      <a:pt x="422" y="21"/>
                    </a:lnTo>
                    <a:lnTo>
                      <a:pt x="489" y="15"/>
                    </a:lnTo>
                    <a:lnTo>
                      <a:pt x="560" y="9"/>
                    </a:lnTo>
                    <a:lnTo>
                      <a:pt x="632" y="5"/>
                    </a:lnTo>
                    <a:lnTo>
                      <a:pt x="709" y="3"/>
                    </a:lnTo>
                    <a:lnTo>
                      <a:pt x="787" y="0"/>
                    </a:lnTo>
                    <a:lnTo>
                      <a:pt x="868" y="2"/>
                    </a:lnTo>
                    <a:lnTo>
                      <a:pt x="954" y="4"/>
                    </a:lnTo>
                    <a:lnTo>
                      <a:pt x="1041" y="8"/>
                    </a:lnTo>
                    <a:lnTo>
                      <a:pt x="1087" y="11"/>
                    </a:lnTo>
                    <a:lnTo>
                      <a:pt x="1133" y="16"/>
                    </a:lnTo>
                    <a:lnTo>
                      <a:pt x="1179" y="20"/>
                    </a:lnTo>
                    <a:lnTo>
                      <a:pt x="1227" y="25"/>
                    </a:lnTo>
                    <a:lnTo>
                      <a:pt x="1276" y="31"/>
                    </a:lnTo>
                    <a:lnTo>
                      <a:pt x="1324" y="37"/>
                    </a:lnTo>
                    <a:lnTo>
                      <a:pt x="1375" y="45"/>
                    </a:lnTo>
                    <a:lnTo>
                      <a:pt x="1426" y="52"/>
                    </a:lnTo>
                    <a:lnTo>
                      <a:pt x="1475" y="61"/>
                    </a:lnTo>
                    <a:lnTo>
                      <a:pt x="1524" y="70"/>
                    </a:lnTo>
                    <a:lnTo>
                      <a:pt x="1570" y="78"/>
                    </a:lnTo>
                    <a:lnTo>
                      <a:pt x="1616" y="88"/>
                    </a:lnTo>
                    <a:lnTo>
                      <a:pt x="1659" y="98"/>
                    </a:lnTo>
                    <a:lnTo>
                      <a:pt x="1701" y="107"/>
                    </a:lnTo>
                    <a:lnTo>
                      <a:pt x="1741" y="118"/>
                    </a:lnTo>
                    <a:lnTo>
                      <a:pt x="1779" y="128"/>
                    </a:lnTo>
                    <a:lnTo>
                      <a:pt x="1816" y="139"/>
                    </a:lnTo>
                    <a:lnTo>
                      <a:pt x="1852" y="149"/>
                    </a:lnTo>
                    <a:lnTo>
                      <a:pt x="1886" y="161"/>
                    </a:lnTo>
                    <a:lnTo>
                      <a:pt x="1918" y="172"/>
                    </a:lnTo>
                    <a:lnTo>
                      <a:pt x="1950" y="184"/>
                    </a:lnTo>
                    <a:lnTo>
                      <a:pt x="1981" y="195"/>
                    </a:lnTo>
                    <a:lnTo>
                      <a:pt x="2009" y="207"/>
                    </a:lnTo>
                    <a:lnTo>
                      <a:pt x="2037" y="219"/>
                    </a:lnTo>
                    <a:lnTo>
                      <a:pt x="2064" y="232"/>
                    </a:lnTo>
                    <a:lnTo>
                      <a:pt x="2089" y="243"/>
                    </a:lnTo>
                    <a:lnTo>
                      <a:pt x="2113" y="255"/>
                    </a:lnTo>
                    <a:lnTo>
                      <a:pt x="2136" y="268"/>
                    </a:lnTo>
                    <a:lnTo>
                      <a:pt x="2180" y="293"/>
                    </a:lnTo>
                    <a:lnTo>
                      <a:pt x="2220" y="318"/>
                    </a:lnTo>
                    <a:lnTo>
                      <a:pt x="2258" y="343"/>
                    </a:lnTo>
                    <a:lnTo>
                      <a:pt x="2293" y="369"/>
                    </a:lnTo>
                    <a:lnTo>
                      <a:pt x="2324" y="393"/>
                    </a:lnTo>
                    <a:lnTo>
                      <a:pt x="2353" y="418"/>
                    </a:lnTo>
                    <a:lnTo>
                      <a:pt x="2369" y="433"/>
                    </a:lnTo>
                    <a:lnTo>
                      <a:pt x="2386" y="451"/>
                    </a:lnTo>
                    <a:lnTo>
                      <a:pt x="2401" y="471"/>
                    </a:lnTo>
                    <a:lnTo>
                      <a:pt x="2416" y="494"/>
                    </a:lnTo>
                    <a:lnTo>
                      <a:pt x="2431" y="518"/>
                    </a:lnTo>
                    <a:lnTo>
                      <a:pt x="2446" y="545"/>
                    </a:lnTo>
                    <a:lnTo>
                      <a:pt x="2460" y="573"/>
                    </a:lnTo>
                    <a:lnTo>
                      <a:pt x="2475" y="603"/>
                    </a:lnTo>
                    <a:lnTo>
                      <a:pt x="2489" y="634"/>
                    </a:lnTo>
                    <a:lnTo>
                      <a:pt x="2503" y="667"/>
                    </a:lnTo>
                    <a:lnTo>
                      <a:pt x="2516" y="700"/>
                    </a:lnTo>
                    <a:lnTo>
                      <a:pt x="2529" y="735"/>
                    </a:lnTo>
                    <a:lnTo>
                      <a:pt x="2555" y="805"/>
                    </a:lnTo>
                    <a:lnTo>
                      <a:pt x="2579" y="876"/>
                    </a:lnTo>
                    <a:lnTo>
                      <a:pt x="2600" y="947"/>
                    </a:lnTo>
                    <a:lnTo>
                      <a:pt x="2620" y="1016"/>
                    </a:lnTo>
                    <a:lnTo>
                      <a:pt x="2638" y="1082"/>
                    </a:lnTo>
                    <a:lnTo>
                      <a:pt x="2654" y="1143"/>
                    </a:lnTo>
                    <a:lnTo>
                      <a:pt x="2667" y="1198"/>
                    </a:lnTo>
                    <a:lnTo>
                      <a:pt x="2678" y="1244"/>
                    </a:lnTo>
                    <a:lnTo>
                      <a:pt x="2687" y="1282"/>
                    </a:lnTo>
                    <a:lnTo>
                      <a:pt x="2692" y="1309"/>
                    </a:lnTo>
                    <a:lnTo>
                      <a:pt x="2693" y="1317"/>
                    </a:lnTo>
                    <a:lnTo>
                      <a:pt x="2695" y="1326"/>
                    </a:lnTo>
                    <a:lnTo>
                      <a:pt x="2698" y="1335"/>
                    </a:lnTo>
                    <a:lnTo>
                      <a:pt x="2699" y="1343"/>
                    </a:lnTo>
                    <a:lnTo>
                      <a:pt x="2704" y="1368"/>
                    </a:lnTo>
                    <a:lnTo>
                      <a:pt x="2708" y="1392"/>
                    </a:lnTo>
                    <a:lnTo>
                      <a:pt x="2710" y="1404"/>
                    </a:lnTo>
                    <a:lnTo>
                      <a:pt x="2711" y="1416"/>
                    </a:lnTo>
                    <a:lnTo>
                      <a:pt x="2711" y="1426"/>
                    </a:lnTo>
                    <a:lnTo>
                      <a:pt x="2710" y="1437"/>
                    </a:lnTo>
                    <a:lnTo>
                      <a:pt x="2707" y="1448"/>
                    </a:lnTo>
                    <a:lnTo>
                      <a:pt x="2704" y="1458"/>
                    </a:lnTo>
                    <a:lnTo>
                      <a:pt x="2700" y="1466"/>
                    </a:lnTo>
                    <a:lnTo>
                      <a:pt x="2693" y="1475"/>
                    </a:lnTo>
                    <a:lnTo>
                      <a:pt x="2686" y="1483"/>
                    </a:lnTo>
                    <a:lnTo>
                      <a:pt x="2676" y="1490"/>
                    </a:lnTo>
                    <a:lnTo>
                      <a:pt x="2665" y="1496"/>
                    </a:lnTo>
                    <a:lnTo>
                      <a:pt x="2652" y="1501"/>
                    </a:lnTo>
                    <a:lnTo>
                      <a:pt x="2650" y="1502"/>
                    </a:lnTo>
                    <a:lnTo>
                      <a:pt x="2648" y="1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69"/>
              <p:cNvSpPr>
                <a:spLocks noEditPoints="1"/>
              </p:cNvSpPr>
              <p:nvPr userDrawn="1"/>
            </p:nvSpPr>
            <p:spPr bwMode="auto">
              <a:xfrm>
                <a:off x="1514" y="1269"/>
                <a:ext cx="537" cy="818"/>
              </a:xfrm>
              <a:custGeom>
                <a:avLst/>
                <a:gdLst>
                  <a:gd name="T0" fmla="*/ 170 w 1610"/>
                  <a:gd name="T1" fmla="*/ 2453 h 2453"/>
                  <a:gd name="T2" fmla="*/ 166 w 1610"/>
                  <a:gd name="T3" fmla="*/ 2452 h 2453"/>
                  <a:gd name="T4" fmla="*/ 161 w 1610"/>
                  <a:gd name="T5" fmla="*/ 2447 h 2453"/>
                  <a:gd name="T6" fmla="*/ 37 w 1610"/>
                  <a:gd name="T7" fmla="*/ 2156 h 2453"/>
                  <a:gd name="T8" fmla="*/ 26 w 1610"/>
                  <a:gd name="T9" fmla="*/ 2121 h 2453"/>
                  <a:gd name="T10" fmla="*/ 16 w 1610"/>
                  <a:gd name="T11" fmla="*/ 2088 h 2453"/>
                  <a:gd name="T12" fmla="*/ 8 w 1610"/>
                  <a:gd name="T13" fmla="*/ 2053 h 2453"/>
                  <a:gd name="T14" fmla="*/ 3 w 1610"/>
                  <a:gd name="T15" fmla="*/ 2018 h 2453"/>
                  <a:gd name="T16" fmla="*/ 1 w 1610"/>
                  <a:gd name="T17" fmla="*/ 1983 h 2453"/>
                  <a:gd name="T18" fmla="*/ 0 w 1610"/>
                  <a:gd name="T19" fmla="*/ 1949 h 2453"/>
                  <a:gd name="T20" fmla="*/ 2 w 1610"/>
                  <a:gd name="T21" fmla="*/ 1914 h 2453"/>
                  <a:gd name="T22" fmla="*/ 6 w 1610"/>
                  <a:gd name="T23" fmla="*/ 1880 h 2453"/>
                  <a:gd name="T24" fmla="*/ 13 w 1610"/>
                  <a:gd name="T25" fmla="*/ 1846 h 2453"/>
                  <a:gd name="T26" fmla="*/ 22 w 1610"/>
                  <a:gd name="T27" fmla="*/ 1812 h 2453"/>
                  <a:gd name="T28" fmla="*/ 33 w 1610"/>
                  <a:gd name="T29" fmla="*/ 1779 h 2453"/>
                  <a:gd name="T30" fmla="*/ 46 w 1610"/>
                  <a:gd name="T31" fmla="*/ 1747 h 2453"/>
                  <a:gd name="T32" fmla="*/ 62 w 1610"/>
                  <a:gd name="T33" fmla="*/ 1715 h 2453"/>
                  <a:gd name="T34" fmla="*/ 80 w 1610"/>
                  <a:gd name="T35" fmla="*/ 1685 h 2453"/>
                  <a:gd name="T36" fmla="*/ 100 w 1610"/>
                  <a:gd name="T37" fmla="*/ 1656 h 2453"/>
                  <a:gd name="T38" fmla="*/ 122 w 1610"/>
                  <a:gd name="T39" fmla="*/ 1627 h 2453"/>
                  <a:gd name="T40" fmla="*/ 1480 w 1610"/>
                  <a:gd name="T41" fmla="*/ 3 h 2453"/>
                  <a:gd name="T42" fmla="*/ 1490 w 1610"/>
                  <a:gd name="T43" fmla="*/ 0 h 2453"/>
                  <a:gd name="T44" fmla="*/ 1500 w 1610"/>
                  <a:gd name="T45" fmla="*/ 2 h 2453"/>
                  <a:gd name="T46" fmla="*/ 1507 w 1610"/>
                  <a:gd name="T47" fmla="*/ 9 h 2453"/>
                  <a:gd name="T48" fmla="*/ 1605 w 1610"/>
                  <a:gd name="T49" fmla="*/ 427 h 2453"/>
                  <a:gd name="T50" fmla="*/ 1610 w 1610"/>
                  <a:gd name="T51" fmla="*/ 451 h 2453"/>
                  <a:gd name="T52" fmla="*/ 1608 w 1610"/>
                  <a:gd name="T53" fmla="*/ 477 h 2453"/>
                  <a:gd name="T54" fmla="*/ 1599 w 1610"/>
                  <a:gd name="T55" fmla="*/ 501 h 2453"/>
                  <a:gd name="T56" fmla="*/ 1585 w 1610"/>
                  <a:gd name="T57" fmla="*/ 523 h 2453"/>
                  <a:gd name="T58" fmla="*/ 420 w 1610"/>
                  <a:gd name="T59" fmla="*/ 2092 h 2453"/>
                  <a:gd name="T60" fmla="*/ 421 w 1610"/>
                  <a:gd name="T61" fmla="*/ 2100 h 2453"/>
                  <a:gd name="T62" fmla="*/ 419 w 1610"/>
                  <a:gd name="T63" fmla="*/ 2106 h 2453"/>
                  <a:gd name="T64" fmla="*/ 180 w 1610"/>
                  <a:gd name="T65" fmla="*/ 2450 h 2453"/>
                  <a:gd name="T66" fmla="*/ 175 w 1610"/>
                  <a:gd name="T67" fmla="*/ 2452 h 2453"/>
                  <a:gd name="T68" fmla="*/ 1487 w 1610"/>
                  <a:gd name="T69" fmla="*/ 36 h 2453"/>
                  <a:gd name="T70" fmla="*/ 142 w 1610"/>
                  <a:gd name="T71" fmla="*/ 1644 h 2453"/>
                  <a:gd name="T72" fmla="*/ 122 w 1610"/>
                  <a:gd name="T73" fmla="*/ 1671 h 2453"/>
                  <a:gd name="T74" fmla="*/ 102 w 1610"/>
                  <a:gd name="T75" fmla="*/ 1699 h 2453"/>
                  <a:gd name="T76" fmla="*/ 86 w 1610"/>
                  <a:gd name="T77" fmla="*/ 1728 h 2453"/>
                  <a:gd name="T78" fmla="*/ 71 w 1610"/>
                  <a:gd name="T79" fmla="*/ 1758 h 2453"/>
                  <a:gd name="T80" fmla="*/ 58 w 1610"/>
                  <a:gd name="T81" fmla="*/ 1789 h 2453"/>
                  <a:gd name="T82" fmla="*/ 48 w 1610"/>
                  <a:gd name="T83" fmla="*/ 1820 h 2453"/>
                  <a:gd name="T84" fmla="*/ 40 w 1610"/>
                  <a:gd name="T85" fmla="*/ 1851 h 2453"/>
                  <a:gd name="T86" fmla="*/ 33 w 1610"/>
                  <a:gd name="T87" fmla="*/ 1884 h 2453"/>
                  <a:gd name="T88" fmla="*/ 29 w 1610"/>
                  <a:gd name="T89" fmla="*/ 1916 h 2453"/>
                  <a:gd name="T90" fmla="*/ 27 w 1610"/>
                  <a:gd name="T91" fmla="*/ 1950 h 2453"/>
                  <a:gd name="T92" fmla="*/ 28 w 1610"/>
                  <a:gd name="T93" fmla="*/ 1982 h 2453"/>
                  <a:gd name="T94" fmla="*/ 30 w 1610"/>
                  <a:gd name="T95" fmla="*/ 2016 h 2453"/>
                  <a:gd name="T96" fmla="*/ 34 w 1610"/>
                  <a:gd name="T97" fmla="*/ 2048 h 2453"/>
                  <a:gd name="T98" fmla="*/ 42 w 1610"/>
                  <a:gd name="T99" fmla="*/ 2080 h 2453"/>
                  <a:gd name="T100" fmla="*/ 52 w 1610"/>
                  <a:gd name="T101" fmla="*/ 2113 h 2453"/>
                  <a:gd name="T102" fmla="*/ 62 w 1610"/>
                  <a:gd name="T103" fmla="*/ 2145 h 2453"/>
                  <a:gd name="T104" fmla="*/ 392 w 1610"/>
                  <a:gd name="T105" fmla="*/ 2097 h 2453"/>
                  <a:gd name="T106" fmla="*/ 332 w 1610"/>
                  <a:gd name="T107" fmla="*/ 1970 h 2453"/>
                  <a:gd name="T108" fmla="*/ 332 w 1610"/>
                  <a:gd name="T109" fmla="*/ 1963 h 2453"/>
                  <a:gd name="T110" fmla="*/ 1564 w 1610"/>
                  <a:gd name="T111" fmla="*/ 505 h 2453"/>
                  <a:gd name="T112" fmla="*/ 1575 w 1610"/>
                  <a:gd name="T113" fmla="*/ 489 h 2453"/>
                  <a:gd name="T114" fmla="*/ 1581 w 1610"/>
                  <a:gd name="T115" fmla="*/ 471 h 2453"/>
                  <a:gd name="T116" fmla="*/ 1582 w 1610"/>
                  <a:gd name="T117" fmla="*/ 452 h 2453"/>
                  <a:gd name="T118" fmla="*/ 1578 w 1610"/>
                  <a:gd name="T119" fmla="*/ 434 h 2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10" h="2453">
                    <a:moveTo>
                      <a:pt x="171" y="2453"/>
                    </a:moveTo>
                    <a:lnTo>
                      <a:pt x="170" y="2453"/>
                    </a:lnTo>
                    <a:lnTo>
                      <a:pt x="169" y="2453"/>
                    </a:lnTo>
                    <a:lnTo>
                      <a:pt x="166" y="2452"/>
                    </a:lnTo>
                    <a:lnTo>
                      <a:pt x="163" y="2450"/>
                    </a:lnTo>
                    <a:lnTo>
                      <a:pt x="161" y="2447"/>
                    </a:lnTo>
                    <a:lnTo>
                      <a:pt x="158" y="2444"/>
                    </a:lnTo>
                    <a:lnTo>
                      <a:pt x="37" y="2156"/>
                    </a:lnTo>
                    <a:lnTo>
                      <a:pt x="31" y="2139"/>
                    </a:lnTo>
                    <a:lnTo>
                      <a:pt x="26" y="2121"/>
                    </a:lnTo>
                    <a:lnTo>
                      <a:pt x="20" y="2104"/>
                    </a:lnTo>
                    <a:lnTo>
                      <a:pt x="16" y="2088"/>
                    </a:lnTo>
                    <a:lnTo>
                      <a:pt x="12" y="2071"/>
                    </a:lnTo>
                    <a:lnTo>
                      <a:pt x="8" y="2053"/>
                    </a:lnTo>
                    <a:lnTo>
                      <a:pt x="5" y="2036"/>
                    </a:lnTo>
                    <a:lnTo>
                      <a:pt x="3" y="2018"/>
                    </a:lnTo>
                    <a:lnTo>
                      <a:pt x="2" y="2000"/>
                    </a:lnTo>
                    <a:lnTo>
                      <a:pt x="1" y="1983"/>
                    </a:lnTo>
                    <a:lnTo>
                      <a:pt x="0" y="1966"/>
                    </a:lnTo>
                    <a:lnTo>
                      <a:pt x="0" y="1949"/>
                    </a:lnTo>
                    <a:lnTo>
                      <a:pt x="1" y="1931"/>
                    </a:lnTo>
                    <a:lnTo>
                      <a:pt x="2" y="1914"/>
                    </a:lnTo>
                    <a:lnTo>
                      <a:pt x="4" y="1897"/>
                    </a:lnTo>
                    <a:lnTo>
                      <a:pt x="6" y="1880"/>
                    </a:lnTo>
                    <a:lnTo>
                      <a:pt x="9" y="1862"/>
                    </a:lnTo>
                    <a:lnTo>
                      <a:pt x="13" y="1846"/>
                    </a:lnTo>
                    <a:lnTo>
                      <a:pt x="17" y="1829"/>
                    </a:lnTo>
                    <a:lnTo>
                      <a:pt x="22" y="1812"/>
                    </a:lnTo>
                    <a:lnTo>
                      <a:pt x="27" y="1795"/>
                    </a:lnTo>
                    <a:lnTo>
                      <a:pt x="33" y="1779"/>
                    </a:lnTo>
                    <a:lnTo>
                      <a:pt x="40" y="1763"/>
                    </a:lnTo>
                    <a:lnTo>
                      <a:pt x="46" y="1747"/>
                    </a:lnTo>
                    <a:lnTo>
                      <a:pt x="54" y="1731"/>
                    </a:lnTo>
                    <a:lnTo>
                      <a:pt x="62" y="1715"/>
                    </a:lnTo>
                    <a:lnTo>
                      <a:pt x="71" y="1700"/>
                    </a:lnTo>
                    <a:lnTo>
                      <a:pt x="80" y="1685"/>
                    </a:lnTo>
                    <a:lnTo>
                      <a:pt x="89" y="1670"/>
                    </a:lnTo>
                    <a:lnTo>
                      <a:pt x="100" y="1656"/>
                    </a:lnTo>
                    <a:lnTo>
                      <a:pt x="111" y="1641"/>
                    </a:lnTo>
                    <a:lnTo>
                      <a:pt x="122" y="1627"/>
                    </a:lnTo>
                    <a:lnTo>
                      <a:pt x="1476" y="7"/>
                    </a:lnTo>
                    <a:lnTo>
                      <a:pt x="1480" y="3"/>
                    </a:lnTo>
                    <a:lnTo>
                      <a:pt x="1484" y="1"/>
                    </a:lnTo>
                    <a:lnTo>
                      <a:pt x="1490" y="0"/>
                    </a:lnTo>
                    <a:lnTo>
                      <a:pt x="1494" y="1"/>
                    </a:lnTo>
                    <a:lnTo>
                      <a:pt x="1500" y="2"/>
                    </a:lnTo>
                    <a:lnTo>
                      <a:pt x="1504" y="6"/>
                    </a:lnTo>
                    <a:lnTo>
                      <a:pt x="1507" y="9"/>
                    </a:lnTo>
                    <a:lnTo>
                      <a:pt x="1509" y="13"/>
                    </a:lnTo>
                    <a:lnTo>
                      <a:pt x="1605" y="427"/>
                    </a:lnTo>
                    <a:lnTo>
                      <a:pt x="1608" y="440"/>
                    </a:lnTo>
                    <a:lnTo>
                      <a:pt x="1610" y="451"/>
                    </a:lnTo>
                    <a:lnTo>
                      <a:pt x="1609" y="464"/>
                    </a:lnTo>
                    <a:lnTo>
                      <a:pt x="1608" y="477"/>
                    </a:lnTo>
                    <a:lnTo>
                      <a:pt x="1604" y="489"/>
                    </a:lnTo>
                    <a:lnTo>
                      <a:pt x="1599" y="501"/>
                    </a:lnTo>
                    <a:lnTo>
                      <a:pt x="1592" y="512"/>
                    </a:lnTo>
                    <a:lnTo>
                      <a:pt x="1585" y="523"/>
                    </a:lnTo>
                    <a:lnTo>
                      <a:pt x="361" y="1970"/>
                    </a:lnTo>
                    <a:lnTo>
                      <a:pt x="420" y="2092"/>
                    </a:lnTo>
                    <a:lnTo>
                      <a:pt x="421" y="2095"/>
                    </a:lnTo>
                    <a:lnTo>
                      <a:pt x="421" y="2100"/>
                    </a:lnTo>
                    <a:lnTo>
                      <a:pt x="421" y="2103"/>
                    </a:lnTo>
                    <a:lnTo>
                      <a:pt x="419" y="2106"/>
                    </a:lnTo>
                    <a:lnTo>
                      <a:pt x="182" y="2446"/>
                    </a:lnTo>
                    <a:lnTo>
                      <a:pt x="180" y="2450"/>
                    </a:lnTo>
                    <a:lnTo>
                      <a:pt x="178" y="2451"/>
                    </a:lnTo>
                    <a:lnTo>
                      <a:pt x="175" y="2452"/>
                    </a:lnTo>
                    <a:lnTo>
                      <a:pt x="171" y="2453"/>
                    </a:lnTo>
                    <a:close/>
                    <a:moveTo>
                      <a:pt x="1487" y="36"/>
                    </a:moveTo>
                    <a:lnTo>
                      <a:pt x="1487" y="36"/>
                    </a:lnTo>
                    <a:lnTo>
                      <a:pt x="142" y="1644"/>
                    </a:lnTo>
                    <a:lnTo>
                      <a:pt x="131" y="1658"/>
                    </a:lnTo>
                    <a:lnTo>
                      <a:pt x="122" y="1671"/>
                    </a:lnTo>
                    <a:lnTo>
                      <a:pt x="112" y="1685"/>
                    </a:lnTo>
                    <a:lnTo>
                      <a:pt x="102" y="1699"/>
                    </a:lnTo>
                    <a:lnTo>
                      <a:pt x="94" y="1713"/>
                    </a:lnTo>
                    <a:lnTo>
                      <a:pt x="86" y="1728"/>
                    </a:lnTo>
                    <a:lnTo>
                      <a:pt x="79" y="1744"/>
                    </a:lnTo>
                    <a:lnTo>
                      <a:pt x="71" y="1758"/>
                    </a:lnTo>
                    <a:lnTo>
                      <a:pt x="64" y="1773"/>
                    </a:lnTo>
                    <a:lnTo>
                      <a:pt x="58" y="1789"/>
                    </a:lnTo>
                    <a:lnTo>
                      <a:pt x="53" y="1804"/>
                    </a:lnTo>
                    <a:lnTo>
                      <a:pt x="48" y="1820"/>
                    </a:lnTo>
                    <a:lnTo>
                      <a:pt x="43" y="1835"/>
                    </a:lnTo>
                    <a:lnTo>
                      <a:pt x="40" y="1851"/>
                    </a:lnTo>
                    <a:lnTo>
                      <a:pt x="36" y="1868"/>
                    </a:lnTo>
                    <a:lnTo>
                      <a:pt x="33" y="1884"/>
                    </a:lnTo>
                    <a:lnTo>
                      <a:pt x="31" y="1900"/>
                    </a:lnTo>
                    <a:lnTo>
                      <a:pt x="29" y="1916"/>
                    </a:lnTo>
                    <a:lnTo>
                      <a:pt x="28" y="1932"/>
                    </a:lnTo>
                    <a:lnTo>
                      <a:pt x="27" y="1950"/>
                    </a:lnTo>
                    <a:lnTo>
                      <a:pt x="27" y="1966"/>
                    </a:lnTo>
                    <a:lnTo>
                      <a:pt x="28" y="1982"/>
                    </a:lnTo>
                    <a:lnTo>
                      <a:pt x="29" y="1998"/>
                    </a:lnTo>
                    <a:lnTo>
                      <a:pt x="30" y="2016"/>
                    </a:lnTo>
                    <a:lnTo>
                      <a:pt x="32" y="2032"/>
                    </a:lnTo>
                    <a:lnTo>
                      <a:pt x="34" y="2048"/>
                    </a:lnTo>
                    <a:lnTo>
                      <a:pt x="37" y="2064"/>
                    </a:lnTo>
                    <a:lnTo>
                      <a:pt x="42" y="2080"/>
                    </a:lnTo>
                    <a:lnTo>
                      <a:pt x="46" y="2097"/>
                    </a:lnTo>
                    <a:lnTo>
                      <a:pt x="52" y="2113"/>
                    </a:lnTo>
                    <a:lnTo>
                      <a:pt x="57" y="2129"/>
                    </a:lnTo>
                    <a:lnTo>
                      <a:pt x="62" y="2145"/>
                    </a:lnTo>
                    <a:lnTo>
                      <a:pt x="174" y="2411"/>
                    </a:lnTo>
                    <a:lnTo>
                      <a:pt x="392" y="2097"/>
                    </a:lnTo>
                    <a:lnTo>
                      <a:pt x="333" y="1975"/>
                    </a:lnTo>
                    <a:lnTo>
                      <a:pt x="332" y="1970"/>
                    </a:lnTo>
                    <a:lnTo>
                      <a:pt x="331" y="1967"/>
                    </a:lnTo>
                    <a:lnTo>
                      <a:pt x="332" y="1963"/>
                    </a:lnTo>
                    <a:lnTo>
                      <a:pt x="334" y="1959"/>
                    </a:lnTo>
                    <a:lnTo>
                      <a:pt x="1564" y="505"/>
                    </a:lnTo>
                    <a:lnTo>
                      <a:pt x="1570" y="498"/>
                    </a:lnTo>
                    <a:lnTo>
                      <a:pt x="1575" y="489"/>
                    </a:lnTo>
                    <a:lnTo>
                      <a:pt x="1578" y="481"/>
                    </a:lnTo>
                    <a:lnTo>
                      <a:pt x="1581" y="471"/>
                    </a:lnTo>
                    <a:lnTo>
                      <a:pt x="1582" y="462"/>
                    </a:lnTo>
                    <a:lnTo>
                      <a:pt x="1582" y="452"/>
                    </a:lnTo>
                    <a:lnTo>
                      <a:pt x="1582" y="444"/>
                    </a:lnTo>
                    <a:lnTo>
                      <a:pt x="1578" y="434"/>
                    </a:lnTo>
                    <a:lnTo>
                      <a:pt x="1487"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70"/>
              <p:cNvSpPr>
                <a:spLocks noEditPoints="1"/>
              </p:cNvSpPr>
              <p:nvPr userDrawn="1"/>
            </p:nvSpPr>
            <p:spPr bwMode="auto">
              <a:xfrm>
                <a:off x="1543" y="1896"/>
                <a:ext cx="307" cy="386"/>
              </a:xfrm>
              <a:custGeom>
                <a:avLst/>
                <a:gdLst>
                  <a:gd name="T0" fmla="*/ 374 w 922"/>
                  <a:gd name="T1" fmla="*/ 1156 h 1158"/>
                  <a:gd name="T2" fmla="*/ 271 w 922"/>
                  <a:gd name="T3" fmla="*/ 1129 h 1158"/>
                  <a:gd name="T4" fmla="*/ 175 w 922"/>
                  <a:gd name="T5" fmla="*/ 1068 h 1158"/>
                  <a:gd name="T6" fmla="*/ 96 w 922"/>
                  <a:gd name="T7" fmla="*/ 979 h 1158"/>
                  <a:gd name="T8" fmla="*/ 38 w 922"/>
                  <a:gd name="T9" fmla="*/ 863 h 1158"/>
                  <a:gd name="T10" fmla="*/ 7 w 922"/>
                  <a:gd name="T11" fmla="*/ 734 h 1158"/>
                  <a:gd name="T12" fmla="*/ 1 w 922"/>
                  <a:gd name="T13" fmla="*/ 595 h 1158"/>
                  <a:gd name="T14" fmla="*/ 24 w 922"/>
                  <a:gd name="T15" fmla="*/ 455 h 1158"/>
                  <a:gd name="T16" fmla="*/ 67 w 922"/>
                  <a:gd name="T17" fmla="*/ 333 h 1158"/>
                  <a:gd name="T18" fmla="*/ 127 w 922"/>
                  <a:gd name="T19" fmla="*/ 226 h 1158"/>
                  <a:gd name="T20" fmla="*/ 203 w 922"/>
                  <a:gd name="T21" fmla="*/ 136 h 1158"/>
                  <a:gd name="T22" fmla="*/ 289 w 922"/>
                  <a:gd name="T23" fmla="*/ 66 h 1158"/>
                  <a:gd name="T24" fmla="*/ 387 w 922"/>
                  <a:gd name="T25" fmla="*/ 20 h 1158"/>
                  <a:gd name="T26" fmla="*/ 488 w 922"/>
                  <a:gd name="T27" fmla="*/ 1 h 1158"/>
                  <a:gd name="T28" fmla="*/ 586 w 922"/>
                  <a:gd name="T29" fmla="*/ 8 h 1158"/>
                  <a:gd name="T30" fmla="*/ 693 w 922"/>
                  <a:gd name="T31" fmla="*/ 50 h 1158"/>
                  <a:gd name="T32" fmla="*/ 783 w 922"/>
                  <a:gd name="T33" fmla="*/ 124 h 1158"/>
                  <a:gd name="T34" fmla="*/ 852 w 922"/>
                  <a:gd name="T35" fmla="*/ 222 h 1158"/>
                  <a:gd name="T36" fmla="*/ 898 w 922"/>
                  <a:gd name="T37" fmla="*/ 341 h 1158"/>
                  <a:gd name="T38" fmla="*/ 921 w 922"/>
                  <a:gd name="T39" fmla="*/ 475 h 1158"/>
                  <a:gd name="T40" fmla="*/ 916 w 922"/>
                  <a:gd name="T41" fmla="*/ 617 h 1158"/>
                  <a:gd name="T42" fmla="*/ 883 w 922"/>
                  <a:gd name="T43" fmla="*/ 753 h 1158"/>
                  <a:gd name="T44" fmla="*/ 834 w 922"/>
                  <a:gd name="T45" fmla="*/ 870 h 1158"/>
                  <a:gd name="T46" fmla="*/ 767 w 922"/>
                  <a:gd name="T47" fmla="*/ 970 h 1158"/>
                  <a:gd name="T48" fmla="*/ 686 w 922"/>
                  <a:gd name="T49" fmla="*/ 1052 h 1158"/>
                  <a:gd name="T50" fmla="*/ 595 w 922"/>
                  <a:gd name="T51" fmla="*/ 1112 h 1158"/>
                  <a:gd name="T52" fmla="*/ 496 w 922"/>
                  <a:gd name="T53" fmla="*/ 1148 h 1158"/>
                  <a:gd name="T54" fmla="*/ 510 w 922"/>
                  <a:gd name="T55" fmla="*/ 27 h 1158"/>
                  <a:gd name="T56" fmla="*/ 431 w 922"/>
                  <a:gd name="T57" fmla="*/ 35 h 1158"/>
                  <a:gd name="T58" fmla="*/ 338 w 922"/>
                  <a:gd name="T59" fmla="*/ 70 h 1158"/>
                  <a:gd name="T60" fmla="*/ 252 w 922"/>
                  <a:gd name="T61" fmla="*/ 128 h 1158"/>
                  <a:gd name="T62" fmla="*/ 175 w 922"/>
                  <a:gd name="T63" fmla="*/ 207 h 1158"/>
                  <a:gd name="T64" fmla="*/ 111 w 922"/>
                  <a:gd name="T65" fmla="*/ 303 h 1158"/>
                  <a:gd name="T66" fmla="*/ 64 w 922"/>
                  <a:gd name="T67" fmla="*/ 414 h 1158"/>
                  <a:gd name="T68" fmla="*/ 35 w 922"/>
                  <a:gd name="T69" fmla="*/ 543 h 1158"/>
                  <a:gd name="T70" fmla="*/ 28 w 922"/>
                  <a:gd name="T71" fmla="*/ 677 h 1158"/>
                  <a:gd name="T72" fmla="*/ 48 w 922"/>
                  <a:gd name="T73" fmla="*/ 806 h 1158"/>
                  <a:gd name="T74" fmla="*/ 94 w 922"/>
                  <a:gd name="T75" fmla="*/ 923 h 1158"/>
                  <a:gd name="T76" fmla="*/ 160 w 922"/>
                  <a:gd name="T77" fmla="*/ 1016 h 1158"/>
                  <a:gd name="T78" fmla="*/ 244 w 922"/>
                  <a:gd name="T79" fmla="*/ 1084 h 1158"/>
                  <a:gd name="T80" fmla="*/ 341 w 922"/>
                  <a:gd name="T81" fmla="*/ 1123 h 1158"/>
                  <a:gd name="T82" fmla="*/ 433 w 922"/>
                  <a:gd name="T83" fmla="*/ 1130 h 1158"/>
                  <a:gd name="T84" fmla="*/ 529 w 922"/>
                  <a:gd name="T85" fmla="*/ 1111 h 1158"/>
                  <a:gd name="T86" fmla="*/ 620 w 922"/>
                  <a:gd name="T87" fmla="*/ 1067 h 1158"/>
                  <a:gd name="T88" fmla="*/ 703 w 922"/>
                  <a:gd name="T89" fmla="*/ 1000 h 1158"/>
                  <a:gd name="T90" fmla="*/ 774 w 922"/>
                  <a:gd name="T91" fmla="*/ 915 h 1158"/>
                  <a:gd name="T92" fmla="*/ 832 w 922"/>
                  <a:gd name="T93" fmla="*/ 812 h 1158"/>
                  <a:gd name="T94" fmla="*/ 873 w 922"/>
                  <a:gd name="T95" fmla="*/ 695 h 1158"/>
                  <a:gd name="T96" fmla="*/ 894 w 922"/>
                  <a:gd name="T97" fmla="*/ 559 h 1158"/>
                  <a:gd name="T98" fmla="*/ 889 w 922"/>
                  <a:gd name="T99" fmla="*/ 426 h 1158"/>
                  <a:gd name="T100" fmla="*/ 859 w 922"/>
                  <a:gd name="T101" fmla="*/ 303 h 1158"/>
                  <a:gd name="T102" fmla="*/ 807 w 922"/>
                  <a:gd name="T103" fmla="*/ 197 h 1158"/>
                  <a:gd name="T104" fmla="*/ 733 w 922"/>
                  <a:gd name="T105" fmla="*/ 113 h 1158"/>
                  <a:gd name="T106" fmla="*/ 643 w 922"/>
                  <a:gd name="T107" fmla="*/ 55 h 1158"/>
                  <a:gd name="T108" fmla="*/ 545 w 922"/>
                  <a:gd name="T109" fmla="*/ 2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2" h="1158">
                    <a:moveTo>
                      <a:pt x="413" y="1158"/>
                    </a:moveTo>
                    <a:lnTo>
                      <a:pt x="413" y="1158"/>
                    </a:lnTo>
                    <a:lnTo>
                      <a:pt x="413" y="1158"/>
                    </a:lnTo>
                    <a:lnTo>
                      <a:pt x="393" y="1158"/>
                    </a:lnTo>
                    <a:lnTo>
                      <a:pt x="374" y="1156"/>
                    </a:lnTo>
                    <a:lnTo>
                      <a:pt x="355" y="1154"/>
                    </a:lnTo>
                    <a:lnTo>
                      <a:pt x="336" y="1149"/>
                    </a:lnTo>
                    <a:lnTo>
                      <a:pt x="314" y="1144"/>
                    </a:lnTo>
                    <a:lnTo>
                      <a:pt x="293" y="1137"/>
                    </a:lnTo>
                    <a:lnTo>
                      <a:pt x="271" y="1129"/>
                    </a:lnTo>
                    <a:lnTo>
                      <a:pt x="251" y="1119"/>
                    </a:lnTo>
                    <a:lnTo>
                      <a:pt x="231" y="1108"/>
                    </a:lnTo>
                    <a:lnTo>
                      <a:pt x="212" y="1096"/>
                    </a:lnTo>
                    <a:lnTo>
                      <a:pt x="192" y="1083"/>
                    </a:lnTo>
                    <a:lnTo>
                      <a:pt x="175" y="1068"/>
                    </a:lnTo>
                    <a:lnTo>
                      <a:pt x="158" y="1053"/>
                    </a:lnTo>
                    <a:lnTo>
                      <a:pt x="140" y="1036"/>
                    </a:lnTo>
                    <a:lnTo>
                      <a:pt x="125" y="1019"/>
                    </a:lnTo>
                    <a:lnTo>
                      <a:pt x="110" y="999"/>
                    </a:lnTo>
                    <a:lnTo>
                      <a:pt x="96" y="979"/>
                    </a:lnTo>
                    <a:lnTo>
                      <a:pt x="82" y="958"/>
                    </a:lnTo>
                    <a:lnTo>
                      <a:pt x="70" y="935"/>
                    </a:lnTo>
                    <a:lnTo>
                      <a:pt x="58" y="912"/>
                    </a:lnTo>
                    <a:lnTo>
                      <a:pt x="48" y="888"/>
                    </a:lnTo>
                    <a:lnTo>
                      <a:pt x="38" y="863"/>
                    </a:lnTo>
                    <a:lnTo>
                      <a:pt x="29" y="838"/>
                    </a:lnTo>
                    <a:lnTo>
                      <a:pt x="22" y="813"/>
                    </a:lnTo>
                    <a:lnTo>
                      <a:pt x="15" y="786"/>
                    </a:lnTo>
                    <a:lnTo>
                      <a:pt x="11" y="761"/>
                    </a:lnTo>
                    <a:lnTo>
                      <a:pt x="7" y="734"/>
                    </a:lnTo>
                    <a:lnTo>
                      <a:pt x="3" y="707"/>
                    </a:lnTo>
                    <a:lnTo>
                      <a:pt x="1" y="679"/>
                    </a:lnTo>
                    <a:lnTo>
                      <a:pt x="0" y="652"/>
                    </a:lnTo>
                    <a:lnTo>
                      <a:pt x="0" y="623"/>
                    </a:lnTo>
                    <a:lnTo>
                      <a:pt x="1" y="595"/>
                    </a:lnTo>
                    <a:lnTo>
                      <a:pt x="4" y="566"/>
                    </a:lnTo>
                    <a:lnTo>
                      <a:pt x="8" y="538"/>
                    </a:lnTo>
                    <a:lnTo>
                      <a:pt x="12" y="510"/>
                    </a:lnTo>
                    <a:lnTo>
                      <a:pt x="17" y="481"/>
                    </a:lnTo>
                    <a:lnTo>
                      <a:pt x="24" y="455"/>
                    </a:lnTo>
                    <a:lnTo>
                      <a:pt x="30" y="430"/>
                    </a:lnTo>
                    <a:lnTo>
                      <a:pt x="39" y="405"/>
                    </a:lnTo>
                    <a:lnTo>
                      <a:pt x="48" y="381"/>
                    </a:lnTo>
                    <a:lnTo>
                      <a:pt x="56" y="357"/>
                    </a:lnTo>
                    <a:lnTo>
                      <a:pt x="67" y="333"/>
                    </a:lnTo>
                    <a:lnTo>
                      <a:pt x="78" y="310"/>
                    </a:lnTo>
                    <a:lnTo>
                      <a:pt x="89" y="289"/>
                    </a:lnTo>
                    <a:lnTo>
                      <a:pt x="100" y="267"/>
                    </a:lnTo>
                    <a:lnTo>
                      <a:pt x="113" y="246"/>
                    </a:lnTo>
                    <a:lnTo>
                      <a:pt x="127" y="226"/>
                    </a:lnTo>
                    <a:lnTo>
                      <a:pt x="142" y="207"/>
                    </a:lnTo>
                    <a:lnTo>
                      <a:pt x="156" y="187"/>
                    </a:lnTo>
                    <a:lnTo>
                      <a:pt x="171" y="170"/>
                    </a:lnTo>
                    <a:lnTo>
                      <a:pt x="187" y="153"/>
                    </a:lnTo>
                    <a:lnTo>
                      <a:pt x="203" y="136"/>
                    </a:lnTo>
                    <a:lnTo>
                      <a:pt x="219" y="120"/>
                    </a:lnTo>
                    <a:lnTo>
                      <a:pt x="237" y="105"/>
                    </a:lnTo>
                    <a:lnTo>
                      <a:pt x="254" y="91"/>
                    </a:lnTo>
                    <a:lnTo>
                      <a:pt x="272" y="78"/>
                    </a:lnTo>
                    <a:lnTo>
                      <a:pt x="289" y="66"/>
                    </a:lnTo>
                    <a:lnTo>
                      <a:pt x="309" y="56"/>
                    </a:lnTo>
                    <a:lnTo>
                      <a:pt x="327" y="45"/>
                    </a:lnTo>
                    <a:lnTo>
                      <a:pt x="347" y="36"/>
                    </a:lnTo>
                    <a:lnTo>
                      <a:pt x="366" y="28"/>
                    </a:lnTo>
                    <a:lnTo>
                      <a:pt x="387" y="20"/>
                    </a:lnTo>
                    <a:lnTo>
                      <a:pt x="406" y="15"/>
                    </a:lnTo>
                    <a:lnTo>
                      <a:pt x="427" y="9"/>
                    </a:lnTo>
                    <a:lnTo>
                      <a:pt x="447" y="5"/>
                    </a:lnTo>
                    <a:lnTo>
                      <a:pt x="468" y="2"/>
                    </a:lnTo>
                    <a:lnTo>
                      <a:pt x="488" y="1"/>
                    </a:lnTo>
                    <a:lnTo>
                      <a:pt x="510" y="0"/>
                    </a:lnTo>
                    <a:lnTo>
                      <a:pt x="529" y="1"/>
                    </a:lnTo>
                    <a:lnTo>
                      <a:pt x="549" y="2"/>
                    </a:lnTo>
                    <a:lnTo>
                      <a:pt x="567" y="5"/>
                    </a:lnTo>
                    <a:lnTo>
                      <a:pt x="586" y="8"/>
                    </a:lnTo>
                    <a:lnTo>
                      <a:pt x="609" y="14"/>
                    </a:lnTo>
                    <a:lnTo>
                      <a:pt x="631" y="21"/>
                    </a:lnTo>
                    <a:lnTo>
                      <a:pt x="652" y="30"/>
                    </a:lnTo>
                    <a:lnTo>
                      <a:pt x="673" y="39"/>
                    </a:lnTo>
                    <a:lnTo>
                      <a:pt x="693" y="50"/>
                    </a:lnTo>
                    <a:lnTo>
                      <a:pt x="713" y="63"/>
                    </a:lnTo>
                    <a:lnTo>
                      <a:pt x="731" y="76"/>
                    </a:lnTo>
                    <a:lnTo>
                      <a:pt x="749" y="91"/>
                    </a:lnTo>
                    <a:lnTo>
                      <a:pt x="767" y="106"/>
                    </a:lnTo>
                    <a:lnTo>
                      <a:pt x="783" y="124"/>
                    </a:lnTo>
                    <a:lnTo>
                      <a:pt x="798" y="141"/>
                    </a:lnTo>
                    <a:lnTo>
                      <a:pt x="813" y="160"/>
                    </a:lnTo>
                    <a:lnTo>
                      <a:pt x="827" y="180"/>
                    </a:lnTo>
                    <a:lnTo>
                      <a:pt x="840" y="200"/>
                    </a:lnTo>
                    <a:lnTo>
                      <a:pt x="852" y="222"/>
                    </a:lnTo>
                    <a:lnTo>
                      <a:pt x="863" y="245"/>
                    </a:lnTo>
                    <a:lnTo>
                      <a:pt x="874" y="267"/>
                    </a:lnTo>
                    <a:lnTo>
                      <a:pt x="883" y="291"/>
                    </a:lnTo>
                    <a:lnTo>
                      <a:pt x="892" y="316"/>
                    </a:lnTo>
                    <a:lnTo>
                      <a:pt x="898" y="341"/>
                    </a:lnTo>
                    <a:lnTo>
                      <a:pt x="905" y="367"/>
                    </a:lnTo>
                    <a:lnTo>
                      <a:pt x="910" y="392"/>
                    </a:lnTo>
                    <a:lnTo>
                      <a:pt x="916" y="419"/>
                    </a:lnTo>
                    <a:lnTo>
                      <a:pt x="919" y="446"/>
                    </a:lnTo>
                    <a:lnTo>
                      <a:pt x="921" y="475"/>
                    </a:lnTo>
                    <a:lnTo>
                      <a:pt x="922" y="503"/>
                    </a:lnTo>
                    <a:lnTo>
                      <a:pt x="922" y="531"/>
                    </a:lnTo>
                    <a:lnTo>
                      <a:pt x="921" y="560"/>
                    </a:lnTo>
                    <a:lnTo>
                      <a:pt x="919" y="588"/>
                    </a:lnTo>
                    <a:lnTo>
                      <a:pt x="916" y="617"/>
                    </a:lnTo>
                    <a:lnTo>
                      <a:pt x="910" y="647"/>
                    </a:lnTo>
                    <a:lnTo>
                      <a:pt x="905" y="676"/>
                    </a:lnTo>
                    <a:lnTo>
                      <a:pt x="898" y="702"/>
                    </a:lnTo>
                    <a:lnTo>
                      <a:pt x="892" y="727"/>
                    </a:lnTo>
                    <a:lnTo>
                      <a:pt x="883" y="753"/>
                    </a:lnTo>
                    <a:lnTo>
                      <a:pt x="876" y="777"/>
                    </a:lnTo>
                    <a:lnTo>
                      <a:pt x="866" y="801"/>
                    </a:lnTo>
                    <a:lnTo>
                      <a:pt x="856" y="824"/>
                    </a:lnTo>
                    <a:lnTo>
                      <a:pt x="846" y="847"/>
                    </a:lnTo>
                    <a:lnTo>
                      <a:pt x="834" y="870"/>
                    </a:lnTo>
                    <a:lnTo>
                      <a:pt x="822" y="891"/>
                    </a:lnTo>
                    <a:lnTo>
                      <a:pt x="809" y="912"/>
                    </a:lnTo>
                    <a:lnTo>
                      <a:pt x="795" y="932"/>
                    </a:lnTo>
                    <a:lnTo>
                      <a:pt x="781" y="952"/>
                    </a:lnTo>
                    <a:lnTo>
                      <a:pt x="767" y="970"/>
                    </a:lnTo>
                    <a:lnTo>
                      <a:pt x="752" y="988"/>
                    </a:lnTo>
                    <a:lnTo>
                      <a:pt x="735" y="1006"/>
                    </a:lnTo>
                    <a:lnTo>
                      <a:pt x="720" y="1022"/>
                    </a:lnTo>
                    <a:lnTo>
                      <a:pt x="703" y="1037"/>
                    </a:lnTo>
                    <a:lnTo>
                      <a:pt x="686" y="1052"/>
                    </a:lnTo>
                    <a:lnTo>
                      <a:pt x="668" y="1066"/>
                    </a:lnTo>
                    <a:lnTo>
                      <a:pt x="651" y="1079"/>
                    </a:lnTo>
                    <a:lnTo>
                      <a:pt x="633" y="1091"/>
                    </a:lnTo>
                    <a:lnTo>
                      <a:pt x="613" y="1103"/>
                    </a:lnTo>
                    <a:lnTo>
                      <a:pt x="595" y="1112"/>
                    </a:lnTo>
                    <a:lnTo>
                      <a:pt x="576" y="1122"/>
                    </a:lnTo>
                    <a:lnTo>
                      <a:pt x="556" y="1130"/>
                    </a:lnTo>
                    <a:lnTo>
                      <a:pt x="536" y="1137"/>
                    </a:lnTo>
                    <a:lnTo>
                      <a:pt x="516" y="1144"/>
                    </a:lnTo>
                    <a:lnTo>
                      <a:pt x="496" y="1148"/>
                    </a:lnTo>
                    <a:lnTo>
                      <a:pt x="475" y="1152"/>
                    </a:lnTo>
                    <a:lnTo>
                      <a:pt x="455" y="1156"/>
                    </a:lnTo>
                    <a:lnTo>
                      <a:pt x="434" y="1157"/>
                    </a:lnTo>
                    <a:lnTo>
                      <a:pt x="413" y="1158"/>
                    </a:lnTo>
                    <a:close/>
                    <a:moveTo>
                      <a:pt x="510" y="27"/>
                    </a:moveTo>
                    <a:lnTo>
                      <a:pt x="510" y="27"/>
                    </a:lnTo>
                    <a:lnTo>
                      <a:pt x="489" y="28"/>
                    </a:lnTo>
                    <a:lnTo>
                      <a:pt x="470" y="29"/>
                    </a:lnTo>
                    <a:lnTo>
                      <a:pt x="450" y="32"/>
                    </a:lnTo>
                    <a:lnTo>
                      <a:pt x="431" y="35"/>
                    </a:lnTo>
                    <a:lnTo>
                      <a:pt x="413" y="41"/>
                    </a:lnTo>
                    <a:lnTo>
                      <a:pt x="393" y="46"/>
                    </a:lnTo>
                    <a:lnTo>
                      <a:pt x="375" y="54"/>
                    </a:lnTo>
                    <a:lnTo>
                      <a:pt x="356" y="61"/>
                    </a:lnTo>
                    <a:lnTo>
                      <a:pt x="338" y="70"/>
                    </a:lnTo>
                    <a:lnTo>
                      <a:pt x="320" y="79"/>
                    </a:lnTo>
                    <a:lnTo>
                      <a:pt x="302" y="90"/>
                    </a:lnTo>
                    <a:lnTo>
                      <a:pt x="285" y="102"/>
                    </a:lnTo>
                    <a:lnTo>
                      <a:pt x="268" y="115"/>
                    </a:lnTo>
                    <a:lnTo>
                      <a:pt x="252" y="128"/>
                    </a:lnTo>
                    <a:lnTo>
                      <a:pt x="235" y="142"/>
                    </a:lnTo>
                    <a:lnTo>
                      <a:pt x="219" y="157"/>
                    </a:lnTo>
                    <a:lnTo>
                      <a:pt x="204" y="172"/>
                    </a:lnTo>
                    <a:lnTo>
                      <a:pt x="189" y="190"/>
                    </a:lnTo>
                    <a:lnTo>
                      <a:pt x="175" y="207"/>
                    </a:lnTo>
                    <a:lnTo>
                      <a:pt x="161" y="224"/>
                    </a:lnTo>
                    <a:lnTo>
                      <a:pt x="148" y="242"/>
                    </a:lnTo>
                    <a:lnTo>
                      <a:pt x="135" y="262"/>
                    </a:lnTo>
                    <a:lnTo>
                      <a:pt x="123" y="282"/>
                    </a:lnTo>
                    <a:lnTo>
                      <a:pt x="111" y="303"/>
                    </a:lnTo>
                    <a:lnTo>
                      <a:pt x="100" y="323"/>
                    </a:lnTo>
                    <a:lnTo>
                      <a:pt x="91" y="346"/>
                    </a:lnTo>
                    <a:lnTo>
                      <a:pt x="81" y="368"/>
                    </a:lnTo>
                    <a:lnTo>
                      <a:pt x="72" y="391"/>
                    </a:lnTo>
                    <a:lnTo>
                      <a:pt x="64" y="414"/>
                    </a:lnTo>
                    <a:lnTo>
                      <a:pt x="56" y="438"/>
                    </a:lnTo>
                    <a:lnTo>
                      <a:pt x="50" y="463"/>
                    </a:lnTo>
                    <a:lnTo>
                      <a:pt x="44" y="487"/>
                    </a:lnTo>
                    <a:lnTo>
                      <a:pt x="39" y="514"/>
                    </a:lnTo>
                    <a:lnTo>
                      <a:pt x="35" y="543"/>
                    </a:lnTo>
                    <a:lnTo>
                      <a:pt x="30" y="570"/>
                    </a:lnTo>
                    <a:lnTo>
                      <a:pt x="28" y="597"/>
                    </a:lnTo>
                    <a:lnTo>
                      <a:pt x="27" y="623"/>
                    </a:lnTo>
                    <a:lnTo>
                      <a:pt x="27" y="650"/>
                    </a:lnTo>
                    <a:lnTo>
                      <a:pt x="28" y="677"/>
                    </a:lnTo>
                    <a:lnTo>
                      <a:pt x="30" y="703"/>
                    </a:lnTo>
                    <a:lnTo>
                      <a:pt x="32" y="729"/>
                    </a:lnTo>
                    <a:lnTo>
                      <a:pt x="37" y="755"/>
                    </a:lnTo>
                    <a:lnTo>
                      <a:pt x="42" y="781"/>
                    </a:lnTo>
                    <a:lnTo>
                      <a:pt x="48" y="806"/>
                    </a:lnTo>
                    <a:lnTo>
                      <a:pt x="55" y="830"/>
                    </a:lnTo>
                    <a:lnTo>
                      <a:pt x="63" y="855"/>
                    </a:lnTo>
                    <a:lnTo>
                      <a:pt x="72" y="877"/>
                    </a:lnTo>
                    <a:lnTo>
                      <a:pt x="82" y="901"/>
                    </a:lnTo>
                    <a:lnTo>
                      <a:pt x="94" y="923"/>
                    </a:lnTo>
                    <a:lnTo>
                      <a:pt x="105" y="943"/>
                    </a:lnTo>
                    <a:lnTo>
                      <a:pt x="118" y="964"/>
                    </a:lnTo>
                    <a:lnTo>
                      <a:pt x="131" y="982"/>
                    </a:lnTo>
                    <a:lnTo>
                      <a:pt x="145" y="1000"/>
                    </a:lnTo>
                    <a:lnTo>
                      <a:pt x="160" y="1016"/>
                    </a:lnTo>
                    <a:lnTo>
                      <a:pt x="175" y="1033"/>
                    </a:lnTo>
                    <a:lnTo>
                      <a:pt x="191" y="1048"/>
                    </a:lnTo>
                    <a:lnTo>
                      <a:pt x="208" y="1061"/>
                    </a:lnTo>
                    <a:lnTo>
                      <a:pt x="226" y="1074"/>
                    </a:lnTo>
                    <a:lnTo>
                      <a:pt x="244" y="1084"/>
                    </a:lnTo>
                    <a:lnTo>
                      <a:pt x="262" y="1095"/>
                    </a:lnTo>
                    <a:lnTo>
                      <a:pt x="282" y="1104"/>
                    </a:lnTo>
                    <a:lnTo>
                      <a:pt x="301" y="1111"/>
                    </a:lnTo>
                    <a:lnTo>
                      <a:pt x="321" y="1118"/>
                    </a:lnTo>
                    <a:lnTo>
                      <a:pt x="341" y="1123"/>
                    </a:lnTo>
                    <a:lnTo>
                      <a:pt x="360" y="1127"/>
                    </a:lnTo>
                    <a:lnTo>
                      <a:pt x="377" y="1129"/>
                    </a:lnTo>
                    <a:lnTo>
                      <a:pt x="395" y="1131"/>
                    </a:lnTo>
                    <a:lnTo>
                      <a:pt x="413" y="1131"/>
                    </a:lnTo>
                    <a:lnTo>
                      <a:pt x="433" y="1130"/>
                    </a:lnTo>
                    <a:lnTo>
                      <a:pt x="453" y="1129"/>
                    </a:lnTo>
                    <a:lnTo>
                      <a:pt x="472" y="1125"/>
                    </a:lnTo>
                    <a:lnTo>
                      <a:pt x="491" y="1122"/>
                    </a:lnTo>
                    <a:lnTo>
                      <a:pt x="511" y="1117"/>
                    </a:lnTo>
                    <a:lnTo>
                      <a:pt x="529" y="1111"/>
                    </a:lnTo>
                    <a:lnTo>
                      <a:pt x="548" y="1104"/>
                    </a:lnTo>
                    <a:lnTo>
                      <a:pt x="567" y="1096"/>
                    </a:lnTo>
                    <a:lnTo>
                      <a:pt x="584" y="1088"/>
                    </a:lnTo>
                    <a:lnTo>
                      <a:pt x="603" y="1078"/>
                    </a:lnTo>
                    <a:lnTo>
                      <a:pt x="620" y="1067"/>
                    </a:lnTo>
                    <a:lnTo>
                      <a:pt x="637" y="1055"/>
                    </a:lnTo>
                    <a:lnTo>
                      <a:pt x="654" y="1043"/>
                    </a:lnTo>
                    <a:lnTo>
                      <a:pt x="671" y="1029"/>
                    </a:lnTo>
                    <a:lnTo>
                      <a:pt x="687" y="1015"/>
                    </a:lnTo>
                    <a:lnTo>
                      <a:pt x="703" y="1000"/>
                    </a:lnTo>
                    <a:lnTo>
                      <a:pt x="718" y="985"/>
                    </a:lnTo>
                    <a:lnTo>
                      <a:pt x="733" y="969"/>
                    </a:lnTo>
                    <a:lnTo>
                      <a:pt x="747" y="952"/>
                    </a:lnTo>
                    <a:lnTo>
                      <a:pt x="761" y="933"/>
                    </a:lnTo>
                    <a:lnTo>
                      <a:pt x="774" y="915"/>
                    </a:lnTo>
                    <a:lnTo>
                      <a:pt x="787" y="896"/>
                    </a:lnTo>
                    <a:lnTo>
                      <a:pt x="799" y="875"/>
                    </a:lnTo>
                    <a:lnTo>
                      <a:pt x="811" y="855"/>
                    </a:lnTo>
                    <a:lnTo>
                      <a:pt x="822" y="834"/>
                    </a:lnTo>
                    <a:lnTo>
                      <a:pt x="832" y="812"/>
                    </a:lnTo>
                    <a:lnTo>
                      <a:pt x="841" y="790"/>
                    </a:lnTo>
                    <a:lnTo>
                      <a:pt x="850" y="767"/>
                    </a:lnTo>
                    <a:lnTo>
                      <a:pt x="859" y="743"/>
                    </a:lnTo>
                    <a:lnTo>
                      <a:pt x="866" y="720"/>
                    </a:lnTo>
                    <a:lnTo>
                      <a:pt x="873" y="695"/>
                    </a:lnTo>
                    <a:lnTo>
                      <a:pt x="878" y="670"/>
                    </a:lnTo>
                    <a:lnTo>
                      <a:pt x="884" y="642"/>
                    </a:lnTo>
                    <a:lnTo>
                      <a:pt x="889" y="615"/>
                    </a:lnTo>
                    <a:lnTo>
                      <a:pt x="892" y="587"/>
                    </a:lnTo>
                    <a:lnTo>
                      <a:pt x="894" y="559"/>
                    </a:lnTo>
                    <a:lnTo>
                      <a:pt x="895" y="532"/>
                    </a:lnTo>
                    <a:lnTo>
                      <a:pt x="895" y="505"/>
                    </a:lnTo>
                    <a:lnTo>
                      <a:pt x="894" y="478"/>
                    </a:lnTo>
                    <a:lnTo>
                      <a:pt x="892" y="452"/>
                    </a:lnTo>
                    <a:lnTo>
                      <a:pt x="889" y="426"/>
                    </a:lnTo>
                    <a:lnTo>
                      <a:pt x="884" y="400"/>
                    </a:lnTo>
                    <a:lnTo>
                      <a:pt x="880" y="375"/>
                    </a:lnTo>
                    <a:lnTo>
                      <a:pt x="874" y="350"/>
                    </a:lnTo>
                    <a:lnTo>
                      <a:pt x="867" y="327"/>
                    </a:lnTo>
                    <a:lnTo>
                      <a:pt x="859" y="303"/>
                    </a:lnTo>
                    <a:lnTo>
                      <a:pt x="850" y="281"/>
                    </a:lnTo>
                    <a:lnTo>
                      <a:pt x="840" y="259"/>
                    </a:lnTo>
                    <a:lnTo>
                      <a:pt x="830" y="238"/>
                    </a:lnTo>
                    <a:lnTo>
                      <a:pt x="819" y="218"/>
                    </a:lnTo>
                    <a:lnTo>
                      <a:pt x="807" y="197"/>
                    </a:lnTo>
                    <a:lnTo>
                      <a:pt x="794" y="179"/>
                    </a:lnTo>
                    <a:lnTo>
                      <a:pt x="780" y="160"/>
                    </a:lnTo>
                    <a:lnTo>
                      <a:pt x="765" y="144"/>
                    </a:lnTo>
                    <a:lnTo>
                      <a:pt x="749" y="128"/>
                    </a:lnTo>
                    <a:lnTo>
                      <a:pt x="733" y="113"/>
                    </a:lnTo>
                    <a:lnTo>
                      <a:pt x="717" y="99"/>
                    </a:lnTo>
                    <a:lnTo>
                      <a:pt x="700" y="86"/>
                    </a:lnTo>
                    <a:lnTo>
                      <a:pt x="681" y="74"/>
                    </a:lnTo>
                    <a:lnTo>
                      <a:pt x="662" y="64"/>
                    </a:lnTo>
                    <a:lnTo>
                      <a:pt x="643" y="55"/>
                    </a:lnTo>
                    <a:lnTo>
                      <a:pt x="623" y="47"/>
                    </a:lnTo>
                    <a:lnTo>
                      <a:pt x="602" y="39"/>
                    </a:lnTo>
                    <a:lnTo>
                      <a:pt x="581" y="34"/>
                    </a:lnTo>
                    <a:lnTo>
                      <a:pt x="563" y="31"/>
                    </a:lnTo>
                    <a:lnTo>
                      <a:pt x="545" y="29"/>
                    </a:lnTo>
                    <a:lnTo>
                      <a:pt x="527" y="28"/>
                    </a:lnTo>
                    <a:lnTo>
                      <a:pt x="51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71"/>
              <p:cNvSpPr>
                <a:spLocks noEditPoints="1"/>
              </p:cNvSpPr>
              <p:nvPr userDrawn="1"/>
            </p:nvSpPr>
            <p:spPr bwMode="auto">
              <a:xfrm>
                <a:off x="1557" y="1937"/>
                <a:ext cx="183" cy="284"/>
              </a:xfrm>
              <a:custGeom>
                <a:avLst/>
                <a:gdLst>
                  <a:gd name="T0" fmla="*/ 190 w 548"/>
                  <a:gd name="T1" fmla="*/ 848 h 850"/>
                  <a:gd name="T2" fmla="*/ 131 w 548"/>
                  <a:gd name="T3" fmla="*/ 827 h 850"/>
                  <a:gd name="T4" fmla="*/ 79 w 548"/>
                  <a:gd name="T5" fmla="*/ 780 h 850"/>
                  <a:gd name="T6" fmla="*/ 38 w 548"/>
                  <a:gd name="T7" fmla="*/ 714 h 850"/>
                  <a:gd name="T8" fmla="*/ 12 w 548"/>
                  <a:gd name="T9" fmla="*/ 632 h 850"/>
                  <a:gd name="T10" fmla="*/ 0 w 548"/>
                  <a:gd name="T11" fmla="*/ 537 h 850"/>
                  <a:gd name="T12" fmla="*/ 5 w 548"/>
                  <a:gd name="T13" fmla="*/ 434 h 850"/>
                  <a:gd name="T14" fmla="*/ 26 w 548"/>
                  <a:gd name="T15" fmla="*/ 330 h 850"/>
                  <a:gd name="T16" fmla="*/ 59 w 548"/>
                  <a:gd name="T17" fmla="*/ 239 h 850"/>
                  <a:gd name="T18" fmla="*/ 101 w 548"/>
                  <a:gd name="T19" fmla="*/ 159 h 850"/>
                  <a:gd name="T20" fmla="*/ 151 w 548"/>
                  <a:gd name="T21" fmla="*/ 94 h 850"/>
                  <a:gd name="T22" fmla="*/ 208 w 548"/>
                  <a:gd name="T23" fmla="*/ 43 h 850"/>
                  <a:gd name="T24" fmla="*/ 268 w 548"/>
                  <a:gd name="T25" fmla="*/ 12 h 850"/>
                  <a:gd name="T26" fmla="*/ 331 w 548"/>
                  <a:gd name="T27" fmla="*/ 0 h 850"/>
                  <a:gd name="T28" fmla="*/ 379 w 548"/>
                  <a:gd name="T29" fmla="*/ 7 h 850"/>
                  <a:gd name="T30" fmla="*/ 439 w 548"/>
                  <a:gd name="T31" fmla="*/ 39 h 850"/>
                  <a:gd name="T32" fmla="*/ 487 w 548"/>
                  <a:gd name="T33" fmla="*/ 94 h 850"/>
                  <a:gd name="T34" fmla="*/ 523 w 548"/>
                  <a:gd name="T35" fmla="*/ 170 h 850"/>
                  <a:gd name="T36" fmla="*/ 542 w 548"/>
                  <a:gd name="T37" fmla="*/ 260 h 850"/>
                  <a:gd name="T38" fmla="*/ 547 w 548"/>
                  <a:gd name="T39" fmla="*/ 358 h 850"/>
                  <a:gd name="T40" fmla="*/ 536 w 548"/>
                  <a:gd name="T41" fmla="*/ 461 h 850"/>
                  <a:gd name="T42" fmla="*/ 510 w 548"/>
                  <a:gd name="T43" fmla="*/ 558 h 850"/>
                  <a:gd name="T44" fmla="*/ 473 w 548"/>
                  <a:gd name="T45" fmla="*/ 644 h 850"/>
                  <a:gd name="T46" fmla="*/ 427 w 548"/>
                  <a:gd name="T47" fmla="*/ 719 h 850"/>
                  <a:gd name="T48" fmla="*/ 374 w 548"/>
                  <a:gd name="T49" fmla="*/ 779 h 850"/>
                  <a:gd name="T50" fmla="*/ 316 w 548"/>
                  <a:gd name="T51" fmla="*/ 822 h 850"/>
                  <a:gd name="T52" fmla="*/ 254 w 548"/>
                  <a:gd name="T53" fmla="*/ 846 h 850"/>
                  <a:gd name="T54" fmla="*/ 331 w 548"/>
                  <a:gd name="T55" fmla="*/ 27 h 850"/>
                  <a:gd name="T56" fmla="*/ 273 w 548"/>
                  <a:gd name="T57" fmla="*/ 37 h 850"/>
                  <a:gd name="T58" fmla="*/ 219 w 548"/>
                  <a:gd name="T59" fmla="*/ 68 h 850"/>
                  <a:gd name="T60" fmla="*/ 168 w 548"/>
                  <a:gd name="T61" fmla="*/ 115 h 850"/>
                  <a:gd name="T62" fmla="*/ 89 w 548"/>
                  <a:gd name="T63" fmla="*/ 236 h 850"/>
                  <a:gd name="T64" fmla="*/ 38 w 548"/>
                  <a:gd name="T65" fmla="*/ 395 h 850"/>
                  <a:gd name="T66" fmla="*/ 27 w 548"/>
                  <a:gd name="T67" fmla="*/ 494 h 850"/>
                  <a:gd name="T68" fmla="*/ 32 w 548"/>
                  <a:gd name="T69" fmla="*/ 587 h 850"/>
                  <a:gd name="T70" fmla="*/ 49 w 548"/>
                  <a:gd name="T71" fmla="*/ 669 h 850"/>
                  <a:gd name="T72" fmla="*/ 80 w 548"/>
                  <a:gd name="T73" fmla="*/ 737 h 850"/>
                  <a:gd name="T74" fmla="*/ 122 w 548"/>
                  <a:gd name="T75" fmla="*/ 788 h 850"/>
                  <a:gd name="T76" fmla="*/ 175 w 548"/>
                  <a:gd name="T77" fmla="*/ 817 h 850"/>
                  <a:gd name="T78" fmla="*/ 240 w 548"/>
                  <a:gd name="T79" fmla="*/ 821 h 850"/>
                  <a:gd name="T80" fmla="*/ 296 w 548"/>
                  <a:gd name="T81" fmla="*/ 803 h 850"/>
                  <a:gd name="T82" fmla="*/ 349 w 548"/>
                  <a:gd name="T83" fmla="*/ 766 h 850"/>
                  <a:gd name="T84" fmla="*/ 408 w 548"/>
                  <a:gd name="T85" fmla="*/ 699 h 850"/>
                  <a:gd name="T86" fmla="*/ 485 w 548"/>
                  <a:gd name="T87" fmla="*/ 548 h 850"/>
                  <a:gd name="T88" fmla="*/ 515 w 548"/>
                  <a:gd name="T89" fmla="*/ 416 h 850"/>
                  <a:gd name="T90" fmla="*/ 521 w 548"/>
                  <a:gd name="T91" fmla="*/ 319 h 850"/>
                  <a:gd name="T92" fmla="*/ 510 w 548"/>
                  <a:gd name="T93" fmla="*/ 229 h 850"/>
                  <a:gd name="T94" fmla="*/ 485 w 548"/>
                  <a:gd name="T95" fmla="*/ 149 h 850"/>
                  <a:gd name="T96" fmla="*/ 449 w 548"/>
                  <a:gd name="T97" fmla="*/ 88 h 850"/>
                  <a:gd name="T98" fmla="*/ 403 w 548"/>
                  <a:gd name="T99" fmla="*/ 47 h 850"/>
                  <a:gd name="T100" fmla="*/ 346 w 548"/>
                  <a:gd name="T101" fmla="*/ 2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8" h="850">
                    <a:moveTo>
                      <a:pt x="217" y="850"/>
                    </a:moveTo>
                    <a:lnTo>
                      <a:pt x="217" y="850"/>
                    </a:lnTo>
                    <a:lnTo>
                      <a:pt x="208" y="850"/>
                    </a:lnTo>
                    <a:lnTo>
                      <a:pt x="199" y="849"/>
                    </a:lnTo>
                    <a:lnTo>
                      <a:pt x="190" y="848"/>
                    </a:lnTo>
                    <a:lnTo>
                      <a:pt x="181" y="846"/>
                    </a:lnTo>
                    <a:lnTo>
                      <a:pt x="168" y="843"/>
                    </a:lnTo>
                    <a:lnTo>
                      <a:pt x="156" y="838"/>
                    </a:lnTo>
                    <a:lnTo>
                      <a:pt x="143" y="833"/>
                    </a:lnTo>
                    <a:lnTo>
                      <a:pt x="131" y="827"/>
                    </a:lnTo>
                    <a:lnTo>
                      <a:pt x="120" y="819"/>
                    </a:lnTo>
                    <a:lnTo>
                      <a:pt x="108" y="810"/>
                    </a:lnTo>
                    <a:lnTo>
                      <a:pt x="99" y="802"/>
                    </a:lnTo>
                    <a:lnTo>
                      <a:pt x="88" y="791"/>
                    </a:lnTo>
                    <a:lnTo>
                      <a:pt x="79" y="780"/>
                    </a:lnTo>
                    <a:lnTo>
                      <a:pt x="69" y="768"/>
                    </a:lnTo>
                    <a:lnTo>
                      <a:pt x="61" y="756"/>
                    </a:lnTo>
                    <a:lnTo>
                      <a:pt x="53" y="742"/>
                    </a:lnTo>
                    <a:lnTo>
                      <a:pt x="46" y="729"/>
                    </a:lnTo>
                    <a:lnTo>
                      <a:pt x="38" y="714"/>
                    </a:lnTo>
                    <a:lnTo>
                      <a:pt x="32" y="699"/>
                    </a:lnTo>
                    <a:lnTo>
                      <a:pt x="26" y="683"/>
                    </a:lnTo>
                    <a:lnTo>
                      <a:pt x="21" y="667"/>
                    </a:lnTo>
                    <a:lnTo>
                      <a:pt x="16" y="650"/>
                    </a:lnTo>
                    <a:lnTo>
                      <a:pt x="12" y="632"/>
                    </a:lnTo>
                    <a:lnTo>
                      <a:pt x="9" y="614"/>
                    </a:lnTo>
                    <a:lnTo>
                      <a:pt x="6" y="596"/>
                    </a:lnTo>
                    <a:lnTo>
                      <a:pt x="4" y="576"/>
                    </a:lnTo>
                    <a:lnTo>
                      <a:pt x="1" y="557"/>
                    </a:lnTo>
                    <a:lnTo>
                      <a:pt x="0" y="537"/>
                    </a:lnTo>
                    <a:lnTo>
                      <a:pt x="0" y="517"/>
                    </a:lnTo>
                    <a:lnTo>
                      <a:pt x="0" y="496"/>
                    </a:lnTo>
                    <a:lnTo>
                      <a:pt x="1" y="476"/>
                    </a:lnTo>
                    <a:lnTo>
                      <a:pt x="2" y="454"/>
                    </a:lnTo>
                    <a:lnTo>
                      <a:pt x="5" y="434"/>
                    </a:lnTo>
                    <a:lnTo>
                      <a:pt x="8" y="412"/>
                    </a:lnTo>
                    <a:lnTo>
                      <a:pt x="12" y="390"/>
                    </a:lnTo>
                    <a:lnTo>
                      <a:pt x="16" y="369"/>
                    </a:lnTo>
                    <a:lnTo>
                      <a:pt x="21" y="349"/>
                    </a:lnTo>
                    <a:lnTo>
                      <a:pt x="26" y="330"/>
                    </a:lnTo>
                    <a:lnTo>
                      <a:pt x="32" y="311"/>
                    </a:lnTo>
                    <a:lnTo>
                      <a:pt x="37" y="292"/>
                    </a:lnTo>
                    <a:lnTo>
                      <a:pt x="43" y="274"/>
                    </a:lnTo>
                    <a:lnTo>
                      <a:pt x="51" y="257"/>
                    </a:lnTo>
                    <a:lnTo>
                      <a:pt x="59" y="239"/>
                    </a:lnTo>
                    <a:lnTo>
                      <a:pt x="66" y="222"/>
                    </a:lnTo>
                    <a:lnTo>
                      <a:pt x="74" y="206"/>
                    </a:lnTo>
                    <a:lnTo>
                      <a:pt x="82" y="190"/>
                    </a:lnTo>
                    <a:lnTo>
                      <a:pt x="92" y="175"/>
                    </a:lnTo>
                    <a:lnTo>
                      <a:pt x="101" y="159"/>
                    </a:lnTo>
                    <a:lnTo>
                      <a:pt x="110" y="145"/>
                    </a:lnTo>
                    <a:lnTo>
                      <a:pt x="120" y="131"/>
                    </a:lnTo>
                    <a:lnTo>
                      <a:pt x="130" y="118"/>
                    </a:lnTo>
                    <a:lnTo>
                      <a:pt x="141" y="105"/>
                    </a:lnTo>
                    <a:lnTo>
                      <a:pt x="151" y="94"/>
                    </a:lnTo>
                    <a:lnTo>
                      <a:pt x="162" y="82"/>
                    </a:lnTo>
                    <a:lnTo>
                      <a:pt x="173" y="71"/>
                    </a:lnTo>
                    <a:lnTo>
                      <a:pt x="185" y="61"/>
                    </a:lnTo>
                    <a:lnTo>
                      <a:pt x="196" y="52"/>
                    </a:lnTo>
                    <a:lnTo>
                      <a:pt x="208" y="43"/>
                    </a:lnTo>
                    <a:lnTo>
                      <a:pt x="219" y="35"/>
                    </a:lnTo>
                    <a:lnTo>
                      <a:pt x="231" y="28"/>
                    </a:lnTo>
                    <a:lnTo>
                      <a:pt x="243" y="21"/>
                    </a:lnTo>
                    <a:lnTo>
                      <a:pt x="256" y="16"/>
                    </a:lnTo>
                    <a:lnTo>
                      <a:pt x="268" y="12"/>
                    </a:lnTo>
                    <a:lnTo>
                      <a:pt x="281" y="7"/>
                    </a:lnTo>
                    <a:lnTo>
                      <a:pt x="293" y="4"/>
                    </a:lnTo>
                    <a:lnTo>
                      <a:pt x="306" y="2"/>
                    </a:lnTo>
                    <a:lnTo>
                      <a:pt x="318" y="1"/>
                    </a:lnTo>
                    <a:lnTo>
                      <a:pt x="331" y="0"/>
                    </a:lnTo>
                    <a:lnTo>
                      <a:pt x="339" y="0"/>
                    </a:lnTo>
                    <a:lnTo>
                      <a:pt x="348" y="1"/>
                    </a:lnTo>
                    <a:lnTo>
                      <a:pt x="358" y="2"/>
                    </a:lnTo>
                    <a:lnTo>
                      <a:pt x="366" y="4"/>
                    </a:lnTo>
                    <a:lnTo>
                      <a:pt x="379" y="7"/>
                    </a:lnTo>
                    <a:lnTo>
                      <a:pt x="392" y="12"/>
                    </a:lnTo>
                    <a:lnTo>
                      <a:pt x="404" y="17"/>
                    </a:lnTo>
                    <a:lnTo>
                      <a:pt x="416" y="23"/>
                    </a:lnTo>
                    <a:lnTo>
                      <a:pt x="427" y="31"/>
                    </a:lnTo>
                    <a:lnTo>
                      <a:pt x="439" y="39"/>
                    </a:lnTo>
                    <a:lnTo>
                      <a:pt x="449" y="48"/>
                    </a:lnTo>
                    <a:lnTo>
                      <a:pt x="459" y="58"/>
                    </a:lnTo>
                    <a:lnTo>
                      <a:pt x="469" y="69"/>
                    </a:lnTo>
                    <a:lnTo>
                      <a:pt x="478" y="81"/>
                    </a:lnTo>
                    <a:lnTo>
                      <a:pt x="487" y="94"/>
                    </a:lnTo>
                    <a:lnTo>
                      <a:pt x="495" y="108"/>
                    </a:lnTo>
                    <a:lnTo>
                      <a:pt x="502" y="122"/>
                    </a:lnTo>
                    <a:lnTo>
                      <a:pt x="510" y="137"/>
                    </a:lnTo>
                    <a:lnTo>
                      <a:pt x="516" y="153"/>
                    </a:lnTo>
                    <a:lnTo>
                      <a:pt x="523" y="170"/>
                    </a:lnTo>
                    <a:lnTo>
                      <a:pt x="528" y="188"/>
                    </a:lnTo>
                    <a:lnTo>
                      <a:pt x="533" y="205"/>
                    </a:lnTo>
                    <a:lnTo>
                      <a:pt x="537" y="222"/>
                    </a:lnTo>
                    <a:lnTo>
                      <a:pt x="540" y="240"/>
                    </a:lnTo>
                    <a:lnTo>
                      <a:pt x="542" y="260"/>
                    </a:lnTo>
                    <a:lnTo>
                      <a:pt x="544" y="278"/>
                    </a:lnTo>
                    <a:lnTo>
                      <a:pt x="547" y="298"/>
                    </a:lnTo>
                    <a:lnTo>
                      <a:pt x="548" y="318"/>
                    </a:lnTo>
                    <a:lnTo>
                      <a:pt x="548" y="338"/>
                    </a:lnTo>
                    <a:lnTo>
                      <a:pt x="547" y="358"/>
                    </a:lnTo>
                    <a:lnTo>
                      <a:pt x="546" y="379"/>
                    </a:lnTo>
                    <a:lnTo>
                      <a:pt x="544" y="399"/>
                    </a:lnTo>
                    <a:lnTo>
                      <a:pt x="542" y="420"/>
                    </a:lnTo>
                    <a:lnTo>
                      <a:pt x="539" y="440"/>
                    </a:lnTo>
                    <a:lnTo>
                      <a:pt x="536" y="461"/>
                    </a:lnTo>
                    <a:lnTo>
                      <a:pt x="532" y="481"/>
                    </a:lnTo>
                    <a:lnTo>
                      <a:pt x="526" y="502"/>
                    </a:lnTo>
                    <a:lnTo>
                      <a:pt x="522" y="520"/>
                    </a:lnTo>
                    <a:lnTo>
                      <a:pt x="516" y="539"/>
                    </a:lnTo>
                    <a:lnTo>
                      <a:pt x="510" y="558"/>
                    </a:lnTo>
                    <a:lnTo>
                      <a:pt x="503" y="576"/>
                    </a:lnTo>
                    <a:lnTo>
                      <a:pt x="496" y="593"/>
                    </a:lnTo>
                    <a:lnTo>
                      <a:pt x="489" y="611"/>
                    </a:lnTo>
                    <a:lnTo>
                      <a:pt x="481" y="628"/>
                    </a:lnTo>
                    <a:lnTo>
                      <a:pt x="473" y="644"/>
                    </a:lnTo>
                    <a:lnTo>
                      <a:pt x="465" y="660"/>
                    </a:lnTo>
                    <a:lnTo>
                      <a:pt x="456" y="675"/>
                    </a:lnTo>
                    <a:lnTo>
                      <a:pt x="446" y="691"/>
                    </a:lnTo>
                    <a:lnTo>
                      <a:pt x="437" y="705"/>
                    </a:lnTo>
                    <a:lnTo>
                      <a:pt x="427" y="719"/>
                    </a:lnTo>
                    <a:lnTo>
                      <a:pt x="417" y="733"/>
                    </a:lnTo>
                    <a:lnTo>
                      <a:pt x="406" y="745"/>
                    </a:lnTo>
                    <a:lnTo>
                      <a:pt x="395" y="756"/>
                    </a:lnTo>
                    <a:lnTo>
                      <a:pt x="385" y="768"/>
                    </a:lnTo>
                    <a:lnTo>
                      <a:pt x="374" y="779"/>
                    </a:lnTo>
                    <a:lnTo>
                      <a:pt x="363" y="789"/>
                    </a:lnTo>
                    <a:lnTo>
                      <a:pt x="351" y="799"/>
                    </a:lnTo>
                    <a:lnTo>
                      <a:pt x="339" y="807"/>
                    </a:lnTo>
                    <a:lnTo>
                      <a:pt x="327" y="815"/>
                    </a:lnTo>
                    <a:lnTo>
                      <a:pt x="316" y="822"/>
                    </a:lnTo>
                    <a:lnTo>
                      <a:pt x="304" y="829"/>
                    </a:lnTo>
                    <a:lnTo>
                      <a:pt x="292" y="834"/>
                    </a:lnTo>
                    <a:lnTo>
                      <a:pt x="279" y="840"/>
                    </a:lnTo>
                    <a:lnTo>
                      <a:pt x="267" y="843"/>
                    </a:lnTo>
                    <a:lnTo>
                      <a:pt x="254" y="846"/>
                    </a:lnTo>
                    <a:lnTo>
                      <a:pt x="242" y="848"/>
                    </a:lnTo>
                    <a:lnTo>
                      <a:pt x="229" y="850"/>
                    </a:lnTo>
                    <a:lnTo>
                      <a:pt x="217" y="850"/>
                    </a:lnTo>
                    <a:close/>
                    <a:moveTo>
                      <a:pt x="331" y="27"/>
                    </a:moveTo>
                    <a:lnTo>
                      <a:pt x="331" y="27"/>
                    </a:lnTo>
                    <a:lnTo>
                      <a:pt x="319" y="28"/>
                    </a:lnTo>
                    <a:lnTo>
                      <a:pt x="308" y="29"/>
                    </a:lnTo>
                    <a:lnTo>
                      <a:pt x="296" y="31"/>
                    </a:lnTo>
                    <a:lnTo>
                      <a:pt x="285" y="34"/>
                    </a:lnTo>
                    <a:lnTo>
                      <a:pt x="273" y="37"/>
                    </a:lnTo>
                    <a:lnTo>
                      <a:pt x="263" y="42"/>
                    </a:lnTo>
                    <a:lnTo>
                      <a:pt x="252" y="47"/>
                    </a:lnTo>
                    <a:lnTo>
                      <a:pt x="241" y="54"/>
                    </a:lnTo>
                    <a:lnTo>
                      <a:pt x="230" y="60"/>
                    </a:lnTo>
                    <a:lnTo>
                      <a:pt x="219" y="68"/>
                    </a:lnTo>
                    <a:lnTo>
                      <a:pt x="209" y="75"/>
                    </a:lnTo>
                    <a:lnTo>
                      <a:pt x="198" y="85"/>
                    </a:lnTo>
                    <a:lnTo>
                      <a:pt x="187" y="94"/>
                    </a:lnTo>
                    <a:lnTo>
                      <a:pt x="177" y="104"/>
                    </a:lnTo>
                    <a:lnTo>
                      <a:pt x="168" y="115"/>
                    </a:lnTo>
                    <a:lnTo>
                      <a:pt x="158" y="126"/>
                    </a:lnTo>
                    <a:lnTo>
                      <a:pt x="138" y="151"/>
                    </a:lnTo>
                    <a:lnTo>
                      <a:pt x="121" y="178"/>
                    </a:lnTo>
                    <a:lnTo>
                      <a:pt x="104" y="206"/>
                    </a:lnTo>
                    <a:lnTo>
                      <a:pt x="89" y="236"/>
                    </a:lnTo>
                    <a:lnTo>
                      <a:pt x="75" y="268"/>
                    </a:lnTo>
                    <a:lnTo>
                      <a:pt x="63" y="303"/>
                    </a:lnTo>
                    <a:lnTo>
                      <a:pt x="52" y="338"/>
                    </a:lnTo>
                    <a:lnTo>
                      <a:pt x="42" y="374"/>
                    </a:lnTo>
                    <a:lnTo>
                      <a:pt x="38" y="395"/>
                    </a:lnTo>
                    <a:lnTo>
                      <a:pt x="35" y="415"/>
                    </a:lnTo>
                    <a:lnTo>
                      <a:pt x="32" y="435"/>
                    </a:lnTo>
                    <a:lnTo>
                      <a:pt x="29" y="455"/>
                    </a:lnTo>
                    <a:lnTo>
                      <a:pt x="28" y="475"/>
                    </a:lnTo>
                    <a:lnTo>
                      <a:pt x="27" y="494"/>
                    </a:lnTo>
                    <a:lnTo>
                      <a:pt x="27" y="514"/>
                    </a:lnTo>
                    <a:lnTo>
                      <a:pt x="27" y="532"/>
                    </a:lnTo>
                    <a:lnTo>
                      <a:pt x="27" y="550"/>
                    </a:lnTo>
                    <a:lnTo>
                      <a:pt x="29" y="569"/>
                    </a:lnTo>
                    <a:lnTo>
                      <a:pt x="32" y="587"/>
                    </a:lnTo>
                    <a:lnTo>
                      <a:pt x="34" y="604"/>
                    </a:lnTo>
                    <a:lnTo>
                      <a:pt x="37" y="620"/>
                    </a:lnTo>
                    <a:lnTo>
                      <a:pt x="40" y="637"/>
                    </a:lnTo>
                    <a:lnTo>
                      <a:pt x="45" y="653"/>
                    </a:lnTo>
                    <a:lnTo>
                      <a:pt x="49" y="669"/>
                    </a:lnTo>
                    <a:lnTo>
                      <a:pt x="54" y="683"/>
                    </a:lnTo>
                    <a:lnTo>
                      <a:pt x="60" y="697"/>
                    </a:lnTo>
                    <a:lnTo>
                      <a:pt x="66" y="711"/>
                    </a:lnTo>
                    <a:lnTo>
                      <a:pt x="73" y="724"/>
                    </a:lnTo>
                    <a:lnTo>
                      <a:pt x="80" y="737"/>
                    </a:lnTo>
                    <a:lnTo>
                      <a:pt x="88" y="748"/>
                    </a:lnTo>
                    <a:lnTo>
                      <a:pt x="95" y="760"/>
                    </a:lnTo>
                    <a:lnTo>
                      <a:pt x="104" y="769"/>
                    </a:lnTo>
                    <a:lnTo>
                      <a:pt x="113" y="779"/>
                    </a:lnTo>
                    <a:lnTo>
                      <a:pt x="122" y="788"/>
                    </a:lnTo>
                    <a:lnTo>
                      <a:pt x="132" y="795"/>
                    </a:lnTo>
                    <a:lnTo>
                      <a:pt x="142" y="802"/>
                    </a:lnTo>
                    <a:lnTo>
                      <a:pt x="153" y="808"/>
                    </a:lnTo>
                    <a:lnTo>
                      <a:pt x="163" y="813"/>
                    </a:lnTo>
                    <a:lnTo>
                      <a:pt x="175" y="817"/>
                    </a:lnTo>
                    <a:lnTo>
                      <a:pt x="187" y="820"/>
                    </a:lnTo>
                    <a:lnTo>
                      <a:pt x="202" y="822"/>
                    </a:lnTo>
                    <a:lnTo>
                      <a:pt x="217" y="823"/>
                    </a:lnTo>
                    <a:lnTo>
                      <a:pt x="228" y="823"/>
                    </a:lnTo>
                    <a:lnTo>
                      <a:pt x="240" y="821"/>
                    </a:lnTo>
                    <a:lnTo>
                      <a:pt x="251" y="819"/>
                    </a:lnTo>
                    <a:lnTo>
                      <a:pt x="262" y="817"/>
                    </a:lnTo>
                    <a:lnTo>
                      <a:pt x="273" y="813"/>
                    </a:lnTo>
                    <a:lnTo>
                      <a:pt x="284" y="808"/>
                    </a:lnTo>
                    <a:lnTo>
                      <a:pt x="296" y="803"/>
                    </a:lnTo>
                    <a:lnTo>
                      <a:pt x="307" y="797"/>
                    </a:lnTo>
                    <a:lnTo>
                      <a:pt x="318" y="790"/>
                    </a:lnTo>
                    <a:lnTo>
                      <a:pt x="329" y="782"/>
                    </a:lnTo>
                    <a:lnTo>
                      <a:pt x="339" y="775"/>
                    </a:lnTo>
                    <a:lnTo>
                      <a:pt x="349" y="766"/>
                    </a:lnTo>
                    <a:lnTo>
                      <a:pt x="360" y="756"/>
                    </a:lnTo>
                    <a:lnTo>
                      <a:pt x="370" y="746"/>
                    </a:lnTo>
                    <a:lnTo>
                      <a:pt x="380" y="735"/>
                    </a:lnTo>
                    <a:lnTo>
                      <a:pt x="390" y="724"/>
                    </a:lnTo>
                    <a:lnTo>
                      <a:pt x="408" y="699"/>
                    </a:lnTo>
                    <a:lnTo>
                      <a:pt x="427" y="673"/>
                    </a:lnTo>
                    <a:lnTo>
                      <a:pt x="443" y="644"/>
                    </a:lnTo>
                    <a:lnTo>
                      <a:pt x="458" y="614"/>
                    </a:lnTo>
                    <a:lnTo>
                      <a:pt x="472" y="582"/>
                    </a:lnTo>
                    <a:lnTo>
                      <a:pt x="485" y="548"/>
                    </a:lnTo>
                    <a:lnTo>
                      <a:pt x="496" y="512"/>
                    </a:lnTo>
                    <a:lnTo>
                      <a:pt x="505" y="476"/>
                    </a:lnTo>
                    <a:lnTo>
                      <a:pt x="509" y="456"/>
                    </a:lnTo>
                    <a:lnTo>
                      <a:pt x="512" y="436"/>
                    </a:lnTo>
                    <a:lnTo>
                      <a:pt x="515" y="416"/>
                    </a:lnTo>
                    <a:lnTo>
                      <a:pt x="517" y="396"/>
                    </a:lnTo>
                    <a:lnTo>
                      <a:pt x="519" y="376"/>
                    </a:lnTo>
                    <a:lnTo>
                      <a:pt x="520" y="357"/>
                    </a:lnTo>
                    <a:lnTo>
                      <a:pt x="521" y="339"/>
                    </a:lnTo>
                    <a:lnTo>
                      <a:pt x="521" y="319"/>
                    </a:lnTo>
                    <a:lnTo>
                      <a:pt x="520" y="301"/>
                    </a:lnTo>
                    <a:lnTo>
                      <a:pt x="519" y="281"/>
                    </a:lnTo>
                    <a:lnTo>
                      <a:pt x="516" y="264"/>
                    </a:lnTo>
                    <a:lnTo>
                      <a:pt x="513" y="246"/>
                    </a:lnTo>
                    <a:lnTo>
                      <a:pt x="510" y="229"/>
                    </a:lnTo>
                    <a:lnTo>
                      <a:pt x="507" y="211"/>
                    </a:lnTo>
                    <a:lnTo>
                      <a:pt x="502" y="195"/>
                    </a:lnTo>
                    <a:lnTo>
                      <a:pt x="497" y="179"/>
                    </a:lnTo>
                    <a:lnTo>
                      <a:pt x="492" y="164"/>
                    </a:lnTo>
                    <a:lnTo>
                      <a:pt x="485" y="149"/>
                    </a:lnTo>
                    <a:lnTo>
                      <a:pt x="480" y="136"/>
                    </a:lnTo>
                    <a:lnTo>
                      <a:pt x="472" y="123"/>
                    </a:lnTo>
                    <a:lnTo>
                      <a:pt x="466" y="111"/>
                    </a:lnTo>
                    <a:lnTo>
                      <a:pt x="457" y="99"/>
                    </a:lnTo>
                    <a:lnTo>
                      <a:pt x="449" y="88"/>
                    </a:lnTo>
                    <a:lnTo>
                      <a:pt x="441" y="78"/>
                    </a:lnTo>
                    <a:lnTo>
                      <a:pt x="432" y="70"/>
                    </a:lnTo>
                    <a:lnTo>
                      <a:pt x="422" y="61"/>
                    </a:lnTo>
                    <a:lnTo>
                      <a:pt x="413" y="54"/>
                    </a:lnTo>
                    <a:lnTo>
                      <a:pt x="403" y="47"/>
                    </a:lnTo>
                    <a:lnTo>
                      <a:pt x="393" y="42"/>
                    </a:lnTo>
                    <a:lnTo>
                      <a:pt x="383" y="37"/>
                    </a:lnTo>
                    <a:lnTo>
                      <a:pt x="372" y="33"/>
                    </a:lnTo>
                    <a:lnTo>
                      <a:pt x="360" y="30"/>
                    </a:lnTo>
                    <a:lnTo>
                      <a:pt x="346" y="28"/>
                    </a:lnTo>
                    <a:lnTo>
                      <a:pt x="33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72"/>
              <p:cNvSpPr>
                <a:spLocks/>
              </p:cNvSpPr>
              <p:nvPr userDrawn="1"/>
            </p:nvSpPr>
            <p:spPr bwMode="auto">
              <a:xfrm>
                <a:off x="2366" y="1749"/>
                <a:ext cx="74" cy="107"/>
              </a:xfrm>
              <a:custGeom>
                <a:avLst/>
                <a:gdLst>
                  <a:gd name="T0" fmla="*/ 111 w 222"/>
                  <a:gd name="T1" fmla="*/ 319 h 319"/>
                  <a:gd name="T2" fmla="*/ 85 w 222"/>
                  <a:gd name="T3" fmla="*/ 313 h 319"/>
                  <a:gd name="T4" fmla="*/ 68 w 222"/>
                  <a:gd name="T5" fmla="*/ 308 h 319"/>
                  <a:gd name="T6" fmla="*/ 51 w 222"/>
                  <a:gd name="T7" fmla="*/ 300 h 319"/>
                  <a:gd name="T8" fmla="*/ 37 w 222"/>
                  <a:gd name="T9" fmla="*/ 290 h 319"/>
                  <a:gd name="T10" fmla="*/ 24 w 222"/>
                  <a:gd name="T11" fmla="*/ 277 h 319"/>
                  <a:gd name="T12" fmla="*/ 14 w 222"/>
                  <a:gd name="T13" fmla="*/ 259 h 319"/>
                  <a:gd name="T14" fmla="*/ 6 w 222"/>
                  <a:gd name="T15" fmla="*/ 240 h 319"/>
                  <a:gd name="T16" fmla="*/ 2 w 222"/>
                  <a:gd name="T17" fmla="*/ 220 h 319"/>
                  <a:gd name="T18" fmla="*/ 0 w 222"/>
                  <a:gd name="T19" fmla="*/ 200 h 319"/>
                  <a:gd name="T20" fmla="*/ 0 w 222"/>
                  <a:gd name="T21" fmla="*/ 178 h 319"/>
                  <a:gd name="T22" fmla="*/ 4 w 222"/>
                  <a:gd name="T23" fmla="*/ 148 h 319"/>
                  <a:gd name="T24" fmla="*/ 16 w 222"/>
                  <a:gd name="T25" fmla="*/ 109 h 319"/>
                  <a:gd name="T26" fmla="*/ 30 w 222"/>
                  <a:gd name="T27" fmla="*/ 74 h 319"/>
                  <a:gd name="T28" fmla="*/ 46 w 222"/>
                  <a:gd name="T29" fmla="*/ 43 h 319"/>
                  <a:gd name="T30" fmla="*/ 64 w 222"/>
                  <a:gd name="T31" fmla="*/ 13 h 319"/>
                  <a:gd name="T32" fmla="*/ 74 w 222"/>
                  <a:gd name="T33" fmla="*/ 1 h 319"/>
                  <a:gd name="T34" fmla="*/ 84 w 222"/>
                  <a:gd name="T35" fmla="*/ 0 h 319"/>
                  <a:gd name="T36" fmla="*/ 92 w 222"/>
                  <a:gd name="T37" fmla="*/ 7 h 319"/>
                  <a:gd name="T38" fmla="*/ 95 w 222"/>
                  <a:gd name="T39" fmla="*/ 16 h 319"/>
                  <a:gd name="T40" fmla="*/ 88 w 222"/>
                  <a:gd name="T41" fmla="*/ 27 h 319"/>
                  <a:gd name="T42" fmla="*/ 63 w 222"/>
                  <a:gd name="T43" fmla="*/ 67 h 319"/>
                  <a:gd name="T44" fmla="*/ 43 w 222"/>
                  <a:gd name="T45" fmla="*/ 114 h 319"/>
                  <a:gd name="T46" fmla="*/ 32 w 222"/>
                  <a:gd name="T47" fmla="*/ 149 h 319"/>
                  <a:gd name="T48" fmla="*/ 27 w 222"/>
                  <a:gd name="T49" fmla="*/ 186 h 319"/>
                  <a:gd name="T50" fmla="*/ 28 w 222"/>
                  <a:gd name="T51" fmla="*/ 214 h 319"/>
                  <a:gd name="T52" fmla="*/ 32 w 222"/>
                  <a:gd name="T53" fmla="*/ 231 h 319"/>
                  <a:gd name="T54" fmla="*/ 38 w 222"/>
                  <a:gd name="T55" fmla="*/ 247 h 319"/>
                  <a:gd name="T56" fmla="*/ 47 w 222"/>
                  <a:gd name="T57" fmla="*/ 260 h 319"/>
                  <a:gd name="T58" fmla="*/ 57 w 222"/>
                  <a:gd name="T59" fmla="*/ 271 h 319"/>
                  <a:gd name="T60" fmla="*/ 69 w 222"/>
                  <a:gd name="T61" fmla="*/ 279 h 319"/>
                  <a:gd name="T62" fmla="*/ 89 w 222"/>
                  <a:gd name="T63" fmla="*/ 287 h 319"/>
                  <a:gd name="T64" fmla="*/ 117 w 222"/>
                  <a:gd name="T65" fmla="*/ 292 h 319"/>
                  <a:gd name="T66" fmla="*/ 145 w 222"/>
                  <a:gd name="T67" fmla="*/ 291 h 319"/>
                  <a:gd name="T68" fmla="*/ 171 w 222"/>
                  <a:gd name="T69" fmla="*/ 287 h 319"/>
                  <a:gd name="T70" fmla="*/ 197 w 222"/>
                  <a:gd name="T71" fmla="*/ 281 h 319"/>
                  <a:gd name="T72" fmla="*/ 209 w 222"/>
                  <a:gd name="T73" fmla="*/ 279 h 319"/>
                  <a:gd name="T74" fmla="*/ 218 w 222"/>
                  <a:gd name="T75" fmla="*/ 283 h 319"/>
                  <a:gd name="T76" fmla="*/ 222 w 222"/>
                  <a:gd name="T77" fmla="*/ 293 h 319"/>
                  <a:gd name="T78" fmla="*/ 218 w 222"/>
                  <a:gd name="T79" fmla="*/ 301 h 319"/>
                  <a:gd name="T80" fmla="*/ 195 w 222"/>
                  <a:gd name="T81" fmla="*/ 310 h 319"/>
                  <a:gd name="T82" fmla="*/ 153 w 222"/>
                  <a:gd name="T83" fmla="*/ 31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2" h="319">
                    <a:moveTo>
                      <a:pt x="129" y="319"/>
                    </a:moveTo>
                    <a:lnTo>
                      <a:pt x="111" y="319"/>
                    </a:lnTo>
                    <a:lnTo>
                      <a:pt x="93" y="315"/>
                    </a:lnTo>
                    <a:lnTo>
                      <a:pt x="85" y="313"/>
                    </a:lnTo>
                    <a:lnTo>
                      <a:pt x="76" y="311"/>
                    </a:lnTo>
                    <a:lnTo>
                      <a:pt x="68" y="308"/>
                    </a:lnTo>
                    <a:lnTo>
                      <a:pt x="59" y="305"/>
                    </a:lnTo>
                    <a:lnTo>
                      <a:pt x="51" y="300"/>
                    </a:lnTo>
                    <a:lnTo>
                      <a:pt x="44" y="295"/>
                    </a:lnTo>
                    <a:lnTo>
                      <a:pt x="37" y="290"/>
                    </a:lnTo>
                    <a:lnTo>
                      <a:pt x="31" y="283"/>
                    </a:lnTo>
                    <a:lnTo>
                      <a:pt x="24" y="277"/>
                    </a:lnTo>
                    <a:lnTo>
                      <a:pt x="19" y="268"/>
                    </a:lnTo>
                    <a:lnTo>
                      <a:pt x="14" y="259"/>
                    </a:lnTo>
                    <a:lnTo>
                      <a:pt x="9" y="250"/>
                    </a:lnTo>
                    <a:lnTo>
                      <a:pt x="6" y="240"/>
                    </a:lnTo>
                    <a:lnTo>
                      <a:pt x="3" y="230"/>
                    </a:lnTo>
                    <a:lnTo>
                      <a:pt x="2" y="220"/>
                    </a:lnTo>
                    <a:lnTo>
                      <a:pt x="0" y="210"/>
                    </a:lnTo>
                    <a:lnTo>
                      <a:pt x="0" y="200"/>
                    </a:lnTo>
                    <a:lnTo>
                      <a:pt x="0" y="189"/>
                    </a:lnTo>
                    <a:lnTo>
                      <a:pt x="0" y="178"/>
                    </a:lnTo>
                    <a:lnTo>
                      <a:pt x="1" y="169"/>
                    </a:lnTo>
                    <a:lnTo>
                      <a:pt x="4" y="148"/>
                    </a:lnTo>
                    <a:lnTo>
                      <a:pt x="9" y="128"/>
                    </a:lnTo>
                    <a:lnTo>
                      <a:pt x="16" y="109"/>
                    </a:lnTo>
                    <a:lnTo>
                      <a:pt x="22" y="91"/>
                    </a:lnTo>
                    <a:lnTo>
                      <a:pt x="30" y="74"/>
                    </a:lnTo>
                    <a:lnTo>
                      <a:pt x="38" y="57"/>
                    </a:lnTo>
                    <a:lnTo>
                      <a:pt x="46" y="43"/>
                    </a:lnTo>
                    <a:lnTo>
                      <a:pt x="52" y="32"/>
                    </a:lnTo>
                    <a:lnTo>
                      <a:pt x="64" y="13"/>
                    </a:lnTo>
                    <a:lnTo>
                      <a:pt x="70" y="5"/>
                    </a:lnTo>
                    <a:lnTo>
                      <a:pt x="74" y="1"/>
                    </a:lnTo>
                    <a:lnTo>
                      <a:pt x="79" y="0"/>
                    </a:lnTo>
                    <a:lnTo>
                      <a:pt x="84" y="0"/>
                    </a:lnTo>
                    <a:lnTo>
                      <a:pt x="89" y="2"/>
                    </a:lnTo>
                    <a:lnTo>
                      <a:pt x="92" y="7"/>
                    </a:lnTo>
                    <a:lnTo>
                      <a:pt x="95" y="11"/>
                    </a:lnTo>
                    <a:lnTo>
                      <a:pt x="95" y="16"/>
                    </a:lnTo>
                    <a:lnTo>
                      <a:pt x="92" y="21"/>
                    </a:lnTo>
                    <a:lnTo>
                      <a:pt x="88" y="27"/>
                    </a:lnTo>
                    <a:lnTo>
                      <a:pt x="77" y="43"/>
                    </a:lnTo>
                    <a:lnTo>
                      <a:pt x="63" y="67"/>
                    </a:lnTo>
                    <a:lnTo>
                      <a:pt x="49" y="97"/>
                    </a:lnTo>
                    <a:lnTo>
                      <a:pt x="43" y="114"/>
                    </a:lnTo>
                    <a:lnTo>
                      <a:pt x="36" y="131"/>
                    </a:lnTo>
                    <a:lnTo>
                      <a:pt x="32" y="149"/>
                    </a:lnTo>
                    <a:lnTo>
                      <a:pt x="28" y="168"/>
                    </a:lnTo>
                    <a:lnTo>
                      <a:pt x="27" y="186"/>
                    </a:lnTo>
                    <a:lnTo>
                      <a:pt x="27" y="204"/>
                    </a:lnTo>
                    <a:lnTo>
                      <a:pt x="28" y="214"/>
                    </a:lnTo>
                    <a:lnTo>
                      <a:pt x="30" y="223"/>
                    </a:lnTo>
                    <a:lnTo>
                      <a:pt x="32" y="231"/>
                    </a:lnTo>
                    <a:lnTo>
                      <a:pt x="35" y="240"/>
                    </a:lnTo>
                    <a:lnTo>
                      <a:pt x="38" y="247"/>
                    </a:lnTo>
                    <a:lnTo>
                      <a:pt x="43" y="255"/>
                    </a:lnTo>
                    <a:lnTo>
                      <a:pt x="47" y="260"/>
                    </a:lnTo>
                    <a:lnTo>
                      <a:pt x="51" y="266"/>
                    </a:lnTo>
                    <a:lnTo>
                      <a:pt x="57" y="271"/>
                    </a:lnTo>
                    <a:lnTo>
                      <a:pt x="63" y="275"/>
                    </a:lnTo>
                    <a:lnTo>
                      <a:pt x="69" y="279"/>
                    </a:lnTo>
                    <a:lnTo>
                      <a:pt x="75" y="282"/>
                    </a:lnTo>
                    <a:lnTo>
                      <a:pt x="89" y="287"/>
                    </a:lnTo>
                    <a:lnTo>
                      <a:pt x="103" y="291"/>
                    </a:lnTo>
                    <a:lnTo>
                      <a:pt x="117" y="292"/>
                    </a:lnTo>
                    <a:lnTo>
                      <a:pt x="131" y="292"/>
                    </a:lnTo>
                    <a:lnTo>
                      <a:pt x="145" y="291"/>
                    </a:lnTo>
                    <a:lnTo>
                      <a:pt x="158" y="290"/>
                    </a:lnTo>
                    <a:lnTo>
                      <a:pt x="171" y="287"/>
                    </a:lnTo>
                    <a:lnTo>
                      <a:pt x="182" y="285"/>
                    </a:lnTo>
                    <a:lnTo>
                      <a:pt x="197" y="281"/>
                    </a:lnTo>
                    <a:lnTo>
                      <a:pt x="204" y="279"/>
                    </a:lnTo>
                    <a:lnTo>
                      <a:pt x="209" y="279"/>
                    </a:lnTo>
                    <a:lnTo>
                      <a:pt x="214" y="280"/>
                    </a:lnTo>
                    <a:lnTo>
                      <a:pt x="218" y="283"/>
                    </a:lnTo>
                    <a:lnTo>
                      <a:pt x="221" y="287"/>
                    </a:lnTo>
                    <a:lnTo>
                      <a:pt x="222" y="293"/>
                    </a:lnTo>
                    <a:lnTo>
                      <a:pt x="221" y="298"/>
                    </a:lnTo>
                    <a:lnTo>
                      <a:pt x="218" y="301"/>
                    </a:lnTo>
                    <a:lnTo>
                      <a:pt x="212" y="305"/>
                    </a:lnTo>
                    <a:lnTo>
                      <a:pt x="195" y="310"/>
                    </a:lnTo>
                    <a:lnTo>
                      <a:pt x="174" y="314"/>
                    </a:lnTo>
                    <a:lnTo>
                      <a:pt x="153" y="318"/>
                    </a:lnTo>
                    <a:lnTo>
                      <a:pt x="12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3"/>
              <p:cNvSpPr>
                <a:spLocks/>
              </p:cNvSpPr>
              <p:nvPr userDrawn="1"/>
            </p:nvSpPr>
            <p:spPr bwMode="auto">
              <a:xfrm>
                <a:off x="2453" y="1753"/>
                <a:ext cx="53" cy="71"/>
              </a:xfrm>
              <a:custGeom>
                <a:avLst/>
                <a:gdLst>
                  <a:gd name="T0" fmla="*/ 13 w 159"/>
                  <a:gd name="T1" fmla="*/ 214 h 214"/>
                  <a:gd name="T2" fmla="*/ 8 w 159"/>
                  <a:gd name="T3" fmla="*/ 214 h 214"/>
                  <a:gd name="T4" fmla="*/ 5 w 159"/>
                  <a:gd name="T5" fmla="*/ 211 h 214"/>
                  <a:gd name="T6" fmla="*/ 1 w 159"/>
                  <a:gd name="T7" fmla="*/ 207 h 214"/>
                  <a:gd name="T8" fmla="*/ 0 w 159"/>
                  <a:gd name="T9" fmla="*/ 203 h 214"/>
                  <a:gd name="T10" fmla="*/ 0 w 159"/>
                  <a:gd name="T11" fmla="*/ 197 h 214"/>
                  <a:gd name="T12" fmla="*/ 2 w 159"/>
                  <a:gd name="T13" fmla="*/ 193 h 214"/>
                  <a:gd name="T14" fmla="*/ 135 w 159"/>
                  <a:gd name="T15" fmla="*/ 6 h 214"/>
                  <a:gd name="T16" fmla="*/ 138 w 159"/>
                  <a:gd name="T17" fmla="*/ 2 h 214"/>
                  <a:gd name="T18" fmla="*/ 143 w 159"/>
                  <a:gd name="T19" fmla="*/ 0 h 214"/>
                  <a:gd name="T20" fmla="*/ 149 w 159"/>
                  <a:gd name="T21" fmla="*/ 1 h 214"/>
                  <a:gd name="T22" fmla="*/ 153 w 159"/>
                  <a:gd name="T23" fmla="*/ 3 h 214"/>
                  <a:gd name="T24" fmla="*/ 156 w 159"/>
                  <a:gd name="T25" fmla="*/ 6 h 214"/>
                  <a:gd name="T26" fmla="*/ 159 w 159"/>
                  <a:gd name="T27" fmla="*/ 12 h 214"/>
                  <a:gd name="T28" fmla="*/ 159 w 159"/>
                  <a:gd name="T29" fmla="*/ 16 h 214"/>
                  <a:gd name="T30" fmla="*/ 156 w 159"/>
                  <a:gd name="T31" fmla="*/ 22 h 214"/>
                  <a:gd name="T32" fmla="*/ 24 w 159"/>
                  <a:gd name="T33" fmla="*/ 208 h 214"/>
                  <a:gd name="T34" fmla="*/ 21 w 159"/>
                  <a:gd name="T35" fmla="*/ 210 h 214"/>
                  <a:gd name="T36" fmla="*/ 19 w 159"/>
                  <a:gd name="T37" fmla="*/ 213 h 214"/>
                  <a:gd name="T38" fmla="*/ 16 w 159"/>
                  <a:gd name="T39" fmla="*/ 214 h 214"/>
                  <a:gd name="T40" fmla="*/ 13 w 159"/>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214">
                    <a:moveTo>
                      <a:pt x="13" y="214"/>
                    </a:moveTo>
                    <a:lnTo>
                      <a:pt x="8" y="214"/>
                    </a:lnTo>
                    <a:lnTo>
                      <a:pt x="5" y="211"/>
                    </a:lnTo>
                    <a:lnTo>
                      <a:pt x="1" y="207"/>
                    </a:lnTo>
                    <a:lnTo>
                      <a:pt x="0" y="203"/>
                    </a:lnTo>
                    <a:lnTo>
                      <a:pt x="0" y="197"/>
                    </a:lnTo>
                    <a:lnTo>
                      <a:pt x="2" y="193"/>
                    </a:lnTo>
                    <a:lnTo>
                      <a:pt x="135" y="6"/>
                    </a:lnTo>
                    <a:lnTo>
                      <a:pt x="138" y="2"/>
                    </a:lnTo>
                    <a:lnTo>
                      <a:pt x="143" y="0"/>
                    </a:lnTo>
                    <a:lnTo>
                      <a:pt x="149" y="1"/>
                    </a:lnTo>
                    <a:lnTo>
                      <a:pt x="153" y="3"/>
                    </a:lnTo>
                    <a:lnTo>
                      <a:pt x="156" y="6"/>
                    </a:lnTo>
                    <a:lnTo>
                      <a:pt x="159" y="12"/>
                    </a:lnTo>
                    <a:lnTo>
                      <a:pt x="159" y="16"/>
                    </a:lnTo>
                    <a:lnTo>
                      <a:pt x="156" y="22"/>
                    </a:lnTo>
                    <a:lnTo>
                      <a:pt x="24" y="208"/>
                    </a:lnTo>
                    <a:lnTo>
                      <a:pt x="21" y="210"/>
                    </a:lnTo>
                    <a:lnTo>
                      <a:pt x="19" y="213"/>
                    </a:lnTo>
                    <a:lnTo>
                      <a:pt x="16" y="214"/>
                    </a:lnTo>
                    <a:lnTo>
                      <a:pt x="1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74"/>
              <p:cNvSpPr>
                <a:spLocks/>
              </p:cNvSpPr>
              <p:nvPr userDrawn="1"/>
            </p:nvSpPr>
            <p:spPr bwMode="auto">
              <a:xfrm>
                <a:off x="2519" y="1760"/>
                <a:ext cx="27" cy="62"/>
              </a:xfrm>
              <a:custGeom>
                <a:avLst/>
                <a:gdLst>
                  <a:gd name="T0" fmla="*/ 12 w 82"/>
                  <a:gd name="T1" fmla="*/ 184 h 184"/>
                  <a:gd name="T2" fmla="*/ 10 w 82"/>
                  <a:gd name="T3" fmla="*/ 183 h 184"/>
                  <a:gd name="T4" fmla="*/ 8 w 82"/>
                  <a:gd name="T5" fmla="*/ 183 h 184"/>
                  <a:gd name="T6" fmla="*/ 4 w 82"/>
                  <a:gd name="T7" fmla="*/ 180 h 184"/>
                  <a:gd name="T8" fmla="*/ 1 w 82"/>
                  <a:gd name="T9" fmla="*/ 176 h 184"/>
                  <a:gd name="T10" fmla="*/ 0 w 82"/>
                  <a:gd name="T11" fmla="*/ 171 h 184"/>
                  <a:gd name="T12" fmla="*/ 0 w 82"/>
                  <a:gd name="T13" fmla="*/ 166 h 184"/>
                  <a:gd name="T14" fmla="*/ 55 w 82"/>
                  <a:gd name="T15" fmla="*/ 8 h 184"/>
                  <a:gd name="T16" fmla="*/ 58 w 82"/>
                  <a:gd name="T17" fmla="*/ 4 h 184"/>
                  <a:gd name="T18" fmla="*/ 62 w 82"/>
                  <a:gd name="T19" fmla="*/ 1 h 184"/>
                  <a:gd name="T20" fmla="*/ 66 w 82"/>
                  <a:gd name="T21" fmla="*/ 0 h 184"/>
                  <a:gd name="T22" fmla="*/ 72 w 82"/>
                  <a:gd name="T23" fmla="*/ 0 h 184"/>
                  <a:gd name="T24" fmla="*/ 76 w 82"/>
                  <a:gd name="T25" fmla="*/ 3 h 184"/>
                  <a:gd name="T26" fmla="*/ 79 w 82"/>
                  <a:gd name="T27" fmla="*/ 7 h 184"/>
                  <a:gd name="T28" fmla="*/ 82 w 82"/>
                  <a:gd name="T29" fmla="*/ 11 h 184"/>
                  <a:gd name="T30" fmla="*/ 81 w 82"/>
                  <a:gd name="T31" fmla="*/ 17 h 184"/>
                  <a:gd name="T32" fmla="*/ 25 w 82"/>
                  <a:gd name="T33" fmla="*/ 174 h 184"/>
                  <a:gd name="T34" fmla="*/ 23 w 82"/>
                  <a:gd name="T35" fmla="*/ 179 h 184"/>
                  <a:gd name="T36" fmla="*/ 20 w 82"/>
                  <a:gd name="T37" fmla="*/ 181 h 184"/>
                  <a:gd name="T38" fmla="*/ 17 w 82"/>
                  <a:gd name="T39" fmla="*/ 183 h 184"/>
                  <a:gd name="T40" fmla="*/ 12 w 82"/>
                  <a:gd name="T4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184">
                    <a:moveTo>
                      <a:pt x="12" y="184"/>
                    </a:moveTo>
                    <a:lnTo>
                      <a:pt x="10" y="183"/>
                    </a:lnTo>
                    <a:lnTo>
                      <a:pt x="8" y="183"/>
                    </a:lnTo>
                    <a:lnTo>
                      <a:pt x="4" y="180"/>
                    </a:lnTo>
                    <a:lnTo>
                      <a:pt x="1" y="176"/>
                    </a:lnTo>
                    <a:lnTo>
                      <a:pt x="0" y="171"/>
                    </a:lnTo>
                    <a:lnTo>
                      <a:pt x="0" y="166"/>
                    </a:lnTo>
                    <a:lnTo>
                      <a:pt x="55" y="8"/>
                    </a:lnTo>
                    <a:lnTo>
                      <a:pt x="58" y="4"/>
                    </a:lnTo>
                    <a:lnTo>
                      <a:pt x="62" y="1"/>
                    </a:lnTo>
                    <a:lnTo>
                      <a:pt x="66" y="0"/>
                    </a:lnTo>
                    <a:lnTo>
                      <a:pt x="72" y="0"/>
                    </a:lnTo>
                    <a:lnTo>
                      <a:pt x="76" y="3"/>
                    </a:lnTo>
                    <a:lnTo>
                      <a:pt x="79" y="7"/>
                    </a:lnTo>
                    <a:lnTo>
                      <a:pt x="82" y="11"/>
                    </a:lnTo>
                    <a:lnTo>
                      <a:pt x="81" y="17"/>
                    </a:lnTo>
                    <a:lnTo>
                      <a:pt x="25" y="174"/>
                    </a:lnTo>
                    <a:lnTo>
                      <a:pt x="23" y="179"/>
                    </a:lnTo>
                    <a:lnTo>
                      <a:pt x="20" y="181"/>
                    </a:lnTo>
                    <a:lnTo>
                      <a:pt x="17" y="183"/>
                    </a:lnTo>
                    <a:lnTo>
                      <a:pt x="12"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75"/>
              <p:cNvSpPr>
                <a:spLocks/>
              </p:cNvSpPr>
              <p:nvPr userDrawn="1"/>
            </p:nvSpPr>
            <p:spPr bwMode="auto">
              <a:xfrm>
                <a:off x="1630" y="1645"/>
                <a:ext cx="71" cy="249"/>
              </a:xfrm>
              <a:custGeom>
                <a:avLst/>
                <a:gdLst>
                  <a:gd name="T0" fmla="*/ 87 w 212"/>
                  <a:gd name="T1" fmla="*/ 749 h 749"/>
                  <a:gd name="T2" fmla="*/ 87 w 212"/>
                  <a:gd name="T3" fmla="*/ 749 h 749"/>
                  <a:gd name="T4" fmla="*/ 87 w 212"/>
                  <a:gd name="T5" fmla="*/ 749 h 749"/>
                  <a:gd name="T6" fmla="*/ 81 w 212"/>
                  <a:gd name="T7" fmla="*/ 748 h 749"/>
                  <a:gd name="T8" fmla="*/ 77 w 212"/>
                  <a:gd name="T9" fmla="*/ 746 h 749"/>
                  <a:gd name="T10" fmla="*/ 75 w 212"/>
                  <a:gd name="T11" fmla="*/ 742 h 749"/>
                  <a:gd name="T12" fmla="*/ 73 w 212"/>
                  <a:gd name="T13" fmla="*/ 737 h 749"/>
                  <a:gd name="T14" fmla="*/ 0 w 212"/>
                  <a:gd name="T15" fmla="*/ 238 h 749"/>
                  <a:gd name="T16" fmla="*/ 0 w 212"/>
                  <a:gd name="T17" fmla="*/ 232 h 749"/>
                  <a:gd name="T18" fmla="*/ 3 w 212"/>
                  <a:gd name="T19" fmla="*/ 228 h 749"/>
                  <a:gd name="T20" fmla="*/ 7 w 212"/>
                  <a:gd name="T21" fmla="*/ 225 h 749"/>
                  <a:gd name="T22" fmla="*/ 11 w 212"/>
                  <a:gd name="T23" fmla="*/ 222 h 749"/>
                  <a:gd name="T24" fmla="*/ 17 w 212"/>
                  <a:gd name="T25" fmla="*/ 222 h 749"/>
                  <a:gd name="T26" fmla="*/ 22 w 212"/>
                  <a:gd name="T27" fmla="*/ 225 h 749"/>
                  <a:gd name="T28" fmla="*/ 25 w 212"/>
                  <a:gd name="T29" fmla="*/ 229 h 749"/>
                  <a:gd name="T30" fmla="*/ 27 w 212"/>
                  <a:gd name="T31" fmla="*/ 233 h 749"/>
                  <a:gd name="T32" fmla="*/ 87 w 212"/>
                  <a:gd name="T33" fmla="*/ 645 h 749"/>
                  <a:gd name="T34" fmla="*/ 186 w 212"/>
                  <a:gd name="T35" fmla="*/ 12 h 749"/>
                  <a:gd name="T36" fmla="*/ 187 w 212"/>
                  <a:gd name="T37" fmla="*/ 7 h 749"/>
                  <a:gd name="T38" fmla="*/ 192 w 212"/>
                  <a:gd name="T39" fmla="*/ 2 h 749"/>
                  <a:gd name="T40" fmla="*/ 196 w 212"/>
                  <a:gd name="T41" fmla="*/ 0 h 749"/>
                  <a:gd name="T42" fmla="*/ 201 w 212"/>
                  <a:gd name="T43" fmla="*/ 0 h 749"/>
                  <a:gd name="T44" fmla="*/ 207 w 212"/>
                  <a:gd name="T45" fmla="*/ 2 h 749"/>
                  <a:gd name="T46" fmla="*/ 210 w 212"/>
                  <a:gd name="T47" fmla="*/ 5 h 749"/>
                  <a:gd name="T48" fmla="*/ 212 w 212"/>
                  <a:gd name="T49" fmla="*/ 10 h 749"/>
                  <a:gd name="T50" fmla="*/ 212 w 212"/>
                  <a:gd name="T51" fmla="*/ 15 h 749"/>
                  <a:gd name="T52" fmla="*/ 100 w 212"/>
                  <a:gd name="T53" fmla="*/ 737 h 749"/>
                  <a:gd name="T54" fmla="*/ 99 w 212"/>
                  <a:gd name="T55" fmla="*/ 742 h 749"/>
                  <a:gd name="T56" fmla="*/ 95 w 212"/>
                  <a:gd name="T57" fmla="*/ 746 h 749"/>
                  <a:gd name="T58" fmla="*/ 91 w 212"/>
                  <a:gd name="T59" fmla="*/ 748 h 749"/>
                  <a:gd name="T60" fmla="*/ 87 w 212"/>
                  <a:gd name="T61" fmla="*/ 749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2" h="749">
                    <a:moveTo>
                      <a:pt x="87" y="749"/>
                    </a:moveTo>
                    <a:lnTo>
                      <a:pt x="87" y="749"/>
                    </a:lnTo>
                    <a:lnTo>
                      <a:pt x="87" y="749"/>
                    </a:lnTo>
                    <a:lnTo>
                      <a:pt x="81" y="748"/>
                    </a:lnTo>
                    <a:lnTo>
                      <a:pt x="77" y="746"/>
                    </a:lnTo>
                    <a:lnTo>
                      <a:pt x="75" y="742"/>
                    </a:lnTo>
                    <a:lnTo>
                      <a:pt x="73" y="737"/>
                    </a:lnTo>
                    <a:lnTo>
                      <a:pt x="0" y="238"/>
                    </a:lnTo>
                    <a:lnTo>
                      <a:pt x="0" y="232"/>
                    </a:lnTo>
                    <a:lnTo>
                      <a:pt x="3" y="228"/>
                    </a:lnTo>
                    <a:lnTo>
                      <a:pt x="7" y="225"/>
                    </a:lnTo>
                    <a:lnTo>
                      <a:pt x="11" y="222"/>
                    </a:lnTo>
                    <a:lnTo>
                      <a:pt x="17" y="222"/>
                    </a:lnTo>
                    <a:lnTo>
                      <a:pt x="22" y="225"/>
                    </a:lnTo>
                    <a:lnTo>
                      <a:pt x="25" y="229"/>
                    </a:lnTo>
                    <a:lnTo>
                      <a:pt x="27" y="233"/>
                    </a:lnTo>
                    <a:lnTo>
                      <a:pt x="87" y="645"/>
                    </a:lnTo>
                    <a:lnTo>
                      <a:pt x="186" y="12"/>
                    </a:lnTo>
                    <a:lnTo>
                      <a:pt x="187" y="7"/>
                    </a:lnTo>
                    <a:lnTo>
                      <a:pt x="192" y="2"/>
                    </a:lnTo>
                    <a:lnTo>
                      <a:pt x="196" y="0"/>
                    </a:lnTo>
                    <a:lnTo>
                      <a:pt x="201" y="0"/>
                    </a:lnTo>
                    <a:lnTo>
                      <a:pt x="207" y="2"/>
                    </a:lnTo>
                    <a:lnTo>
                      <a:pt x="210" y="5"/>
                    </a:lnTo>
                    <a:lnTo>
                      <a:pt x="212" y="10"/>
                    </a:lnTo>
                    <a:lnTo>
                      <a:pt x="212" y="15"/>
                    </a:lnTo>
                    <a:lnTo>
                      <a:pt x="100" y="737"/>
                    </a:lnTo>
                    <a:lnTo>
                      <a:pt x="99" y="742"/>
                    </a:lnTo>
                    <a:lnTo>
                      <a:pt x="95" y="746"/>
                    </a:lnTo>
                    <a:lnTo>
                      <a:pt x="91" y="748"/>
                    </a:lnTo>
                    <a:lnTo>
                      <a:pt x="87" y="7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6"/>
              <p:cNvSpPr>
                <a:spLocks/>
              </p:cNvSpPr>
              <p:nvPr userDrawn="1"/>
            </p:nvSpPr>
            <p:spPr bwMode="auto">
              <a:xfrm>
                <a:off x="1763" y="2251"/>
                <a:ext cx="489" cy="847"/>
              </a:xfrm>
              <a:custGeom>
                <a:avLst/>
                <a:gdLst>
                  <a:gd name="T0" fmla="*/ 1455 w 1467"/>
                  <a:gd name="T1" fmla="*/ 2539 h 2539"/>
                  <a:gd name="T2" fmla="*/ 1450 w 1467"/>
                  <a:gd name="T3" fmla="*/ 2539 h 2539"/>
                  <a:gd name="T4" fmla="*/ 1447 w 1467"/>
                  <a:gd name="T5" fmla="*/ 2538 h 2539"/>
                  <a:gd name="T6" fmla="*/ 1445 w 1467"/>
                  <a:gd name="T7" fmla="*/ 2536 h 2539"/>
                  <a:gd name="T8" fmla="*/ 1443 w 1467"/>
                  <a:gd name="T9" fmla="*/ 2533 h 2539"/>
                  <a:gd name="T10" fmla="*/ 2 w 1467"/>
                  <a:gd name="T11" fmla="*/ 21 h 2539"/>
                  <a:gd name="T12" fmla="*/ 0 w 1467"/>
                  <a:gd name="T13" fmla="*/ 15 h 2539"/>
                  <a:gd name="T14" fmla="*/ 0 w 1467"/>
                  <a:gd name="T15" fmla="*/ 10 h 2539"/>
                  <a:gd name="T16" fmla="*/ 2 w 1467"/>
                  <a:gd name="T17" fmla="*/ 5 h 2539"/>
                  <a:gd name="T18" fmla="*/ 6 w 1467"/>
                  <a:gd name="T19" fmla="*/ 2 h 2539"/>
                  <a:gd name="T20" fmla="*/ 12 w 1467"/>
                  <a:gd name="T21" fmla="*/ 0 h 2539"/>
                  <a:gd name="T22" fmla="*/ 17 w 1467"/>
                  <a:gd name="T23" fmla="*/ 0 h 2539"/>
                  <a:gd name="T24" fmla="*/ 22 w 1467"/>
                  <a:gd name="T25" fmla="*/ 3 h 2539"/>
                  <a:gd name="T26" fmla="*/ 25 w 1467"/>
                  <a:gd name="T27" fmla="*/ 7 h 2539"/>
                  <a:gd name="T28" fmla="*/ 1465 w 1467"/>
                  <a:gd name="T29" fmla="*/ 2519 h 2539"/>
                  <a:gd name="T30" fmla="*/ 1467 w 1467"/>
                  <a:gd name="T31" fmla="*/ 2524 h 2539"/>
                  <a:gd name="T32" fmla="*/ 1467 w 1467"/>
                  <a:gd name="T33" fmla="*/ 2529 h 2539"/>
                  <a:gd name="T34" fmla="*/ 1465 w 1467"/>
                  <a:gd name="T35" fmla="*/ 2534 h 2539"/>
                  <a:gd name="T36" fmla="*/ 1461 w 1467"/>
                  <a:gd name="T37" fmla="*/ 2538 h 2539"/>
                  <a:gd name="T38" fmla="*/ 1458 w 1467"/>
                  <a:gd name="T39" fmla="*/ 2539 h 2539"/>
                  <a:gd name="T40" fmla="*/ 1455 w 1467"/>
                  <a:gd name="T41" fmla="*/ 2539 h 2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7" h="2539">
                    <a:moveTo>
                      <a:pt x="1455" y="2539"/>
                    </a:moveTo>
                    <a:lnTo>
                      <a:pt x="1450" y="2539"/>
                    </a:lnTo>
                    <a:lnTo>
                      <a:pt x="1447" y="2538"/>
                    </a:lnTo>
                    <a:lnTo>
                      <a:pt x="1445" y="2536"/>
                    </a:lnTo>
                    <a:lnTo>
                      <a:pt x="1443" y="2533"/>
                    </a:lnTo>
                    <a:lnTo>
                      <a:pt x="2" y="21"/>
                    </a:lnTo>
                    <a:lnTo>
                      <a:pt x="0" y="15"/>
                    </a:lnTo>
                    <a:lnTo>
                      <a:pt x="0" y="10"/>
                    </a:lnTo>
                    <a:lnTo>
                      <a:pt x="2" y="5"/>
                    </a:lnTo>
                    <a:lnTo>
                      <a:pt x="6" y="2"/>
                    </a:lnTo>
                    <a:lnTo>
                      <a:pt x="12" y="0"/>
                    </a:lnTo>
                    <a:lnTo>
                      <a:pt x="17" y="0"/>
                    </a:lnTo>
                    <a:lnTo>
                      <a:pt x="22" y="3"/>
                    </a:lnTo>
                    <a:lnTo>
                      <a:pt x="25" y="7"/>
                    </a:lnTo>
                    <a:lnTo>
                      <a:pt x="1465" y="2519"/>
                    </a:lnTo>
                    <a:lnTo>
                      <a:pt x="1467" y="2524"/>
                    </a:lnTo>
                    <a:lnTo>
                      <a:pt x="1467" y="2529"/>
                    </a:lnTo>
                    <a:lnTo>
                      <a:pt x="1465" y="2534"/>
                    </a:lnTo>
                    <a:lnTo>
                      <a:pt x="1461" y="2538"/>
                    </a:lnTo>
                    <a:lnTo>
                      <a:pt x="1458" y="2539"/>
                    </a:lnTo>
                    <a:lnTo>
                      <a:pt x="1455" y="2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7"/>
              <p:cNvSpPr>
                <a:spLocks/>
              </p:cNvSpPr>
              <p:nvPr userDrawn="1"/>
            </p:nvSpPr>
            <p:spPr bwMode="auto">
              <a:xfrm>
                <a:off x="1724" y="2280"/>
                <a:ext cx="467" cy="803"/>
              </a:xfrm>
              <a:custGeom>
                <a:avLst/>
                <a:gdLst>
                  <a:gd name="T0" fmla="*/ 1388 w 1401"/>
                  <a:gd name="T1" fmla="*/ 2410 h 2410"/>
                  <a:gd name="T2" fmla="*/ 1385 w 1401"/>
                  <a:gd name="T3" fmla="*/ 2410 h 2410"/>
                  <a:gd name="T4" fmla="*/ 1381 w 1401"/>
                  <a:gd name="T5" fmla="*/ 2409 h 2410"/>
                  <a:gd name="T6" fmla="*/ 1378 w 1401"/>
                  <a:gd name="T7" fmla="*/ 2407 h 2410"/>
                  <a:gd name="T8" fmla="*/ 1376 w 1401"/>
                  <a:gd name="T9" fmla="*/ 2403 h 2410"/>
                  <a:gd name="T10" fmla="*/ 1 w 1401"/>
                  <a:gd name="T11" fmla="*/ 20 h 2410"/>
                  <a:gd name="T12" fmla="*/ 0 w 1401"/>
                  <a:gd name="T13" fmla="*/ 15 h 2410"/>
                  <a:gd name="T14" fmla="*/ 0 w 1401"/>
                  <a:gd name="T15" fmla="*/ 10 h 2410"/>
                  <a:gd name="T16" fmla="*/ 2 w 1401"/>
                  <a:gd name="T17" fmla="*/ 6 h 2410"/>
                  <a:gd name="T18" fmla="*/ 7 w 1401"/>
                  <a:gd name="T19" fmla="*/ 1 h 2410"/>
                  <a:gd name="T20" fmla="*/ 12 w 1401"/>
                  <a:gd name="T21" fmla="*/ 0 h 2410"/>
                  <a:gd name="T22" fmla="*/ 18 w 1401"/>
                  <a:gd name="T23" fmla="*/ 0 h 2410"/>
                  <a:gd name="T24" fmla="*/ 22 w 1401"/>
                  <a:gd name="T25" fmla="*/ 3 h 2410"/>
                  <a:gd name="T26" fmla="*/ 25 w 1401"/>
                  <a:gd name="T27" fmla="*/ 7 h 2410"/>
                  <a:gd name="T28" fmla="*/ 1400 w 1401"/>
                  <a:gd name="T29" fmla="*/ 2390 h 2410"/>
                  <a:gd name="T30" fmla="*/ 1401 w 1401"/>
                  <a:gd name="T31" fmla="*/ 2395 h 2410"/>
                  <a:gd name="T32" fmla="*/ 1401 w 1401"/>
                  <a:gd name="T33" fmla="*/ 2400 h 2410"/>
                  <a:gd name="T34" fmla="*/ 1399 w 1401"/>
                  <a:gd name="T35" fmla="*/ 2404 h 2410"/>
                  <a:gd name="T36" fmla="*/ 1394 w 1401"/>
                  <a:gd name="T37" fmla="*/ 2409 h 2410"/>
                  <a:gd name="T38" fmla="*/ 1391 w 1401"/>
                  <a:gd name="T39" fmla="*/ 2410 h 2410"/>
                  <a:gd name="T40" fmla="*/ 1388 w 1401"/>
                  <a:gd name="T41" fmla="*/ 2410 h 2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1" h="2410">
                    <a:moveTo>
                      <a:pt x="1388" y="2410"/>
                    </a:moveTo>
                    <a:lnTo>
                      <a:pt x="1385" y="2410"/>
                    </a:lnTo>
                    <a:lnTo>
                      <a:pt x="1381" y="2409"/>
                    </a:lnTo>
                    <a:lnTo>
                      <a:pt x="1378" y="2407"/>
                    </a:lnTo>
                    <a:lnTo>
                      <a:pt x="1376" y="2403"/>
                    </a:lnTo>
                    <a:lnTo>
                      <a:pt x="1" y="20"/>
                    </a:lnTo>
                    <a:lnTo>
                      <a:pt x="0" y="15"/>
                    </a:lnTo>
                    <a:lnTo>
                      <a:pt x="0" y="10"/>
                    </a:lnTo>
                    <a:lnTo>
                      <a:pt x="2" y="6"/>
                    </a:lnTo>
                    <a:lnTo>
                      <a:pt x="7" y="1"/>
                    </a:lnTo>
                    <a:lnTo>
                      <a:pt x="12" y="0"/>
                    </a:lnTo>
                    <a:lnTo>
                      <a:pt x="18" y="0"/>
                    </a:lnTo>
                    <a:lnTo>
                      <a:pt x="22" y="3"/>
                    </a:lnTo>
                    <a:lnTo>
                      <a:pt x="25" y="7"/>
                    </a:lnTo>
                    <a:lnTo>
                      <a:pt x="1400" y="2390"/>
                    </a:lnTo>
                    <a:lnTo>
                      <a:pt x="1401" y="2395"/>
                    </a:lnTo>
                    <a:lnTo>
                      <a:pt x="1401" y="2400"/>
                    </a:lnTo>
                    <a:lnTo>
                      <a:pt x="1399" y="2404"/>
                    </a:lnTo>
                    <a:lnTo>
                      <a:pt x="1394" y="2409"/>
                    </a:lnTo>
                    <a:lnTo>
                      <a:pt x="1391" y="2410"/>
                    </a:lnTo>
                    <a:lnTo>
                      <a:pt x="1388" y="2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8"/>
              <p:cNvSpPr>
                <a:spLocks/>
              </p:cNvSpPr>
              <p:nvPr userDrawn="1"/>
            </p:nvSpPr>
            <p:spPr bwMode="auto">
              <a:xfrm>
                <a:off x="1564" y="2590"/>
                <a:ext cx="270" cy="408"/>
              </a:xfrm>
              <a:custGeom>
                <a:avLst/>
                <a:gdLst>
                  <a:gd name="T0" fmla="*/ 9 w 810"/>
                  <a:gd name="T1" fmla="*/ 1224 h 1224"/>
                  <a:gd name="T2" fmla="*/ 2 w 810"/>
                  <a:gd name="T3" fmla="*/ 1219 h 1224"/>
                  <a:gd name="T4" fmla="*/ 0 w 810"/>
                  <a:gd name="T5" fmla="*/ 1209 h 1224"/>
                  <a:gd name="T6" fmla="*/ 5 w 810"/>
                  <a:gd name="T7" fmla="*/ 1200 h 1224"/>
                  <a:gd name="T8" fmla="*/ 40 w 810"/>
                  <a:gd name="T9" fmla="*/ 1190 h 1224"/>
                  <a:gd name="T10" fmla="*/ 163 w 810"/>
                  <a:gd name="T11" fmla="*/ 1156 h 1224"/>
                  <a:gd name="T12" fmla="*/ 278 w 810"/>
                  <a:gd name="T13" fmla="*/ 1118 h 1224"/>
                  <a:gd name="T14" fmla="*/ 371 w 810"/>
                  <a:gd name="T15" fmla="*/ 1083 h 1224"/>
                  <a:gd name="T16" fmla="*/ 434 w 810"/>
                  <a:gd name="T17" fmla="*/ 1054 h 1224"/>
                  <a:gd name="T18" fmla="*/ 494 w 810"/>
                  <a:gd name="T19" fmla="*/ 1025 h 1224"/>
                  <a:gd name="T20" fmla="*/ 551 w 810"/>
                  <a:gd name="T21" fmla="*/ 993 h 1224"/>
                  <a:gd name="T22" fmla="*/ 603 w 810"/>
                  <a:gd name="T23" fmla="*/ 957 h 1224"/>
                  <a:gd name="T24" fmla="*/ 648 w 810"/>
                  <a:gd name="T25" fmla="*/ 921 h 1224"/>
                  <a:gd name="T26" fmla="*/ 683 w 810"/>
                  <a:gd name="T27" fmla="*/ 881 h 1224"/>
                  <a:gd name="T28" fmla="*/ 709 w 810"/>
                  <a:gd name="T29" fmla="*/ 840 h 1224"/>
                  <a:gd name="T30" fmla="*/ 732 w 810"/>
                  <a:gd name="T31" fmla="*/ 765 h 1224"/>
                  <a:gd name="T32" fmla="*/ 754 w 810"/>
                  <a:gd name="T33" fmla="*/ 667 h 1224"/>
                  <a:gd name="T34" fmla="*/ 771 w 810"/>
                  <a:gd name="T35" fmla="*/ 576 h 1224"/>
                  <a:gd name="T36" fmla="*/ 779 w 810"/>
                  <a:gd name="T37" fmla="*/ 492 h 1224"/>
                  <a:gd name="T38" fmla="*/ 781 w 810"/>
                  <a:gd name="T39" fmla="*/ 416 h 1224"/>
                  <a:gd name="T40" fmla="*/ 778 w 810"/>
                  <a:gd name="T41" fmla="*/ 348 h 1224"/>
                  <a:gd name="T42" fmla="*/ 772 w 810"/>
                  <a:gd name="T43" fmla="*/ 287 h 1224"/>
                  <a:gd name="T44" fmla="*/ 762 w 810"/>
                  <a:gd name="T45" fmla="*/ 233 h 1224"/>
                  <a:gd name="T46" fmla="*/ 749 w 810"/>
                  <a:gd name="T47" fmla="*/ 184 h 1224"/>
                  <a:gd name="T48" fmla="*/ 735 w 810"/>
                  <a:gd name="T49" fmla="*/ 143 h 1224"/>
                  <a:gd name="T50" fmla="*/ 720 w 810"/>
                  <a:gd name="T51" fmla="*/ 109 h 1224"/>
                  <a:gd name="T52" fmla="*/ 706 w 810"/>
                  <a:gd name="T53" fmla="*/ 81 h 1224"/>
                  <a:gd name="T54" fmla="*/ 686 w 810"/>
                  <a:gd name="T55" fmla="*/ 48 h 1224"/>
                  <a:gd name="T56" fmla="*/ 669 w 810"/>
                  <a:gd name="T57" fmla="*/ 26 h 1224"/>
                  <a:gd name="T58" fmla="*/ 663 w 810"/>
                  <a:gd name="T59" fmla="*/ 19 h 1224"/>
                  <a:gd name="T60" fmla="*/ 663 w 810"/>
                  <a:gd name="T61" fmla="*/ 8 h 1224"/>
                  <a:gd name="T62" fmla="*/ 670 w 810"/>
                  <a:gd name="T63" fmla="*/ 1 h 1224"/>
                  <a:gd name="T64" fmla="*/ 680 w 810"/>
                  <a:gd name="T65" fmla="*/ 1 h 1224"/>
                  <a:gd name="T66" fmla="*/ 689 w 810"/>
                  <a:gd name="T67" fmla="*/ 8 h 1224"/>
                  <a:gd name="T68" fmla="*/ 709 w 810"/>
                  <a:gd name="T69" fmla="*/ 33 h 1224"/>
                  <a:gd name="T70" fmla="*/ 730 w 810"/>
                  <a:gd name="T71" fmla="*/ 67 h 1224"/>
                  <a:gd name="T72" fmla="*/ 746 w 810"/>
                  <a:gd name="T73" fmla="*/ 96 h 1224"/>
                  <a:gd name="T74" fmla="*/ 761 w 810"/>
                  <a:gd name="T75" fmla="*/ 133 h 1224"/>
                  <a:gd name="T76" fmla="*/ 776 w 810"/>
                  <a:gd name="T77" fmla="*/ 175 h 1224"/>
                  <a:gd name="T78" fmla="*/ 789 w 810"/>
                  <a:gd name="T79" fmla="*/ 223 h 1224"/>
                  <a:gd name="T80" fmla="*/ 800 w 810"/>
                  <a:gd name="T81" fmla="*/ 279 h 1224"/>
                  <a:gd name="T82" fmla="*/ 806 w 810"/>
                  <a:gd name="T83" fmla="*/ 343 h 1224"/>
                  <a:gd name="T84" fmla="*/ 810 w 810"/>
                  <a:gd name="T85" fmla="*/ 413 h 1224"/>
                  <a:gd name="T86" fmla="*/ 806 w 810"/>
                  <a:gd name="T87" fmla="*/ 491 h 1224"/>
                  <a:gd name="T88" fmla="*/ 798 w 810"/>
                  <a:gd name="T89" fmla="*/ 576 h 1224"/>
                  <a:gd name="T90" fmla="*/ 783 w 810"/>
                  <a:gd name="T91" fmla="*/ 670 h 1224"/>
                  <a:gd name="T92" fmla="*/ 758 w 810"/>
                  <a:gd name="T93" fmla="*/ 772 h 1224"/>
                  <a:gd name="T94" fmla="*/ 734 w 810"/>
                  <a:gd name="T95" fmla="*/ 848 h 1224"/>
                  <a:gd name="T96" fmla="*/ 708 w 810"/>
                  <a:gd name="T97" fmla="*/ 893 h 1224"/>
                  <a:gd name="T98" fmla="*/ 672 w 810"/>
                  <a:gd name="T99" fmla="*/ 934 h 1224"/>
                  <a:gd name="T100" fmla="*/ 627 w 810"/>
                  <a:gd name="T101" fmla="*/ 973 h 1224"/>
                  <a:gd name="T102" fmla="*/ 575 w 810"/>
                  <a:gd name="T103" fmla="*/ 1009 h 1224"/>
                  <a:gd name="T104" fmla="*/ 518 w 810"/>
                  <a:gd name="T105" fmla="*/ 1044 h 1224"/>
                  <a:gd name="T106" fmla="*/ 456 w 810"/>
                  <a:gd name="T107" fmla="*/ 1074 h 1224"/>
                  <a:gd name="T108" fmla="*/ 394 w 810"/>
                  <a:gd name="T109" fmla="*/ 1103 h 1224"/>
                  <a:gd name="T110" fmla="*/ 299 w 810"/>
                  <a:gd name="T111" fmla="*/ 1140 h 1224"/>
                  <a:gd name="T112" fmla="*/ 182 w 810"/>
                  <a:gd name="T113" fmla="*/ 1179 h 1224"/>
                  <a:gd name="T114" fmla="*/ 53 w 810"/>
                  <a:gd name="T115" fmla="*/ 1215 h 1224"/>
                  <a:gd name="T116" fmla="*/ 15 w 810"/>
                  <a:gd name="T117"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0" h="1224">
                    <a:moveTo>
                      <a:pt x="14" y="1224"/>
                    </a:moveTo>
                    <a:lnTo>
                      <a:pt x="9" y="1224"/>
                    </a:lnTo>
                    <a:lnTo>
                      <a:pt x="5" y="1222"/>
                    </a:lnTo>
                    <a:lnTo>
                      <a:pt x="2" y="1219"/>
                    </a:lnTo>
                    <a:lnTo>
                      <a:pt x="0" y="1214"/>
                    </a:lnTo>
                    <a:lnTo>
                      <a:pt x="0" y="1209"/>
                    </a:lnTo>
                    <a:lnTo>
                      <a:pt x="2" y="1203"/>
                    </a:lnTo>
                    <a:lnTo>
                      <a:pt x="5" y="1200"/>
                    </a:lnTo>
                    <a:lnTo>
                      <a:pt x="11" y="1198"/>
                    </a:lnTo>
                    <a:lnTo>
                      <a:pt x="40" y="1190"/>
                    </a:lnTo>
                    <a:lnTo>
                      <a:pt x="114" y="1170"/>
                    </a:lnTo>
                    <a:lnTo>
                      <a:pt x="163" y="1156"/>
                    </a:lnTo>
                    <a:lnTo>
                      <a:pt x="219" y="1139"/>
                    </a:lnTo>
                    <a:lnTo>
                      <a:pt x="278" y="1118"/>
                    </a:lnTo>
                    <a:lnTo>
                      <a:pt x="340" y="1094"/>
                    </a:lnTo>
                    <a:lnTo>
                      <a:pt x="371" y="1083"/>
                    </a:lnTo>
                    <a:lnTo>
                      <a:pt x="402" y="1068"/>
                    </a:lnTo>
                    <a:lnTo>
                      <a:pt x="434" y="1054"/>
                    </a:lnTo>
                    <a:lnTo>
                      <a:pt x="465" y="1040"/>
                    </a:lnTo>
                    <a:lnTo>
                      <a:pt x="494" y="1025"/>
                    </a:lnTo>
                    <a:lnTo>
                      <a:pt x="523" y="1009"/>
                    </a:lnTo>
                    <a:lnTo>
                      <a:pt x="551" y="993"/>
                    </a:lnTo>
                    <a:lnTo>
                      <a:pt x="578" y="976"/>
                    </a:lnTo>
                    <a:lnTo>
                      <a:pt x="603" y="957"/>
                    </a:lnTo>
                    <a:lnTo>
                      <a:pt x="627" y="939"/>
                    </a:lnTo>
                    <a:lnTo>
                      <a:pt x="648" y="921"/>
                    </a:lnTo>
                    <a:lnTo>
                      <a:pt x="667" y="901"/>
                    </a:lnTo>
                    <a:lnTo>
                      <a:pt x="683" y="881"/>
                    </a:lnTo>
                    <a:lnTo>
                      <a:pt x="697" y="860"/>
                    </a:lnTo>
                    <a:lnTo>
                      <a:pt x="709" y="840"/>
                    </a:lnTo>
                    <a:lnTo>
                      <a:pt x="717" y="817"/>
                    </a:lnTo>
                    <a:lnTo>
                      <a:pt x="732" y="765"/>
                    </a:lnTo>
                    <a:lnTo>
                      <a:pt x="745" y="714"/>
                    </a:lnTo>
                    <a:lnTo>
                      <a:pt x="754" y="667"/>
                    </a:lnTo>
                    <a:lnTo>
                      <a:pt x="763" y="620"/>
                    </a:lnTo>
                    <a:lnTo>
                      <a:pt x="771" y="576"/>
                    </a:lnTo>
                    <a:lnTo>
                      <a:pt x="775" y="533"/>
                    </a:lnTo>
                    <a:lnTo>
                      <a:pt x="779" y="492"/>
                    </a:lnTo>
                    <a:lnTo>
                      <a:pt x="780" y="454"/>
                    </a:lnTo>
                    <a:lnTo>
                      <a:pt x="781" y="416"/>
                    </a:lnTo>
                    <a:lnTo>
                      <a:pt x="780" y="382"/>
                    </a:lnTo>
                    <a:lnTo>
                      <a:pt x="778" y="348"/>
                    </a:lnTo>
                    <a:lnTo>
                      <a:pt x="776" y="317"/>
                    </a:lnTo>
                    <a:lnTo>
                      <a:pt x="772" y="287"/>
                    </a:lnTo>
                    <a:lnTo>
                      <a:pt x="767" y="259"/>
                    </a:lnTo>
                    <a:lnTo>
                      <a:pt x="762" y="233"/>
                    </a:lnTo>
                    <a:lnTo>
                      <a:pt x="756" y="208"/>
                    </a:lnTo>
                    <a:lnTo>
                      <a:pt x="749" y="184"/>
                    </a:lnTo>
                    <a:lnTo>
                      <a:pt x="743" y="164"/>
                    </a:lnTo>
                    <a:lnTo>
                      <a:pt x="735" y="143"/>
                    </a:lnTo>
                    <a:lnTo>
                      <a:pt x="727" y="125"/>
                    </a:lnTo>
                    <a:lnTo>
                      <a:pt x="720" y="109"/>
                    </a:lnTo>
                    <a:lnTo>
                      <a:pt x="712" y="94"/>
                    </a:lnTo>
                    <a:lnTo>
                      <a:pt x="706" y="81"/>
                    </a:lnTo>
                    <a:lnTo>
                      <a:pt x="698" y="68"/>
                    </a:lnTo>
                    <a:lnTo>
                      <a:pt x="686" y="48"/>
                    </a:lnTo>
                    <a:lnTo>
                      <a:pt x="676" y="34"/>
                    </a:lnTo>
                    <a:lnTo>
                      <a:pt x="669" y="26"/>
                    </a:lnTo>
                    <a:lnTo>
                      <a:pt x="666" y="24"/>
                    </a:lnTo>
                    <a:lnTo>
                      <a:pt x="663" y="19"/>
                    </a:lnTo>
                    <a:lnTo>
                      <a:pt x="662" y="14"/>
                    </a:lnTo>
                    <a:lnTo>
                      <a:pt x="663" y="8"/>
                    </a:lnTo>
                    <a:lnTo>
                      <a:pt x="666" y="4"/>
                    </a:lnTo>
                    <a:lnTo>
                      <a:pt x="670" y="1"/>
                    </a:lnTo>
                    <a:lnTo>
                      <a:pt x="676" y="0"/>
                    </a:lnTo>
                    <a:lnTo>
                      <a:pt x="680" y="1"/>
                    </a:lnTo>
                    <a:lnTo>
                      <a:pt x="684" y="4"/>
                    </a:lnTo>
                    <a:lnTo>
                      <a:pt x="689" y="8"/>
                    </a:lnTo>
                    <a:lnTo>
                      <a:pt x="697" y="18"/>
                    </a:lnTo>
                    <a:lnTo>
                      <a:pt x="709" y="33"/>
                    </a:lnTo>
                    <a:lnTo>
                      <a:pt x="722" y="54"/>
                    </a:lnTo>
                    <a:lnTo>
                      <a:pt x="730" y="67"/>
                    </a:lnTo>
                    <a:lnTo>
                      <a:pt x="737" y="81"/>
                    </a:lnTo>
                    <a:lnTo>
                      <a:pt x="746" y="96"/>
                    </a:lnTo>
                    <a:lnTo>
                      <a:pt x="753" y="113"/>
                    </a:lnTo>
                    <a:lnTo>
                      <a:pt x="761" y="133"/>
                    </a:lnTo>
                    <a:lnTo>
                      <a:pt x="769" y="153"/>
                    </a:lnTo>
                    <a:lnTo>
                      <a:pt x="776" y="175"/>
                    </a:lnTo>
                    <a:lnTo>
                      <a:pt x="783" y="198"/>
                    </a:lnTo>
                    <a:lnTo>
                      <a:pt x="789" y="223"/>
                    </a:lnTo>
                    <a:lnTo>
                      <a:pt x="794" y="251"/>
                    </a:lnTo>
                    <a:lnTo>
                      <a:pt x="800" y="279"/>
                    </a:lnTo>
                    <a:lnTo>
                      <a:pt x="804" y="311"/>
                    </a:lnTo>
                    <a:lnTo>
                      <a:pt x="806" y="343"/>
                    </a:lnTo>
                    <a:lnTo>
                      <a:pt x="808" y="377"/>
                    </a:lnTo>
                    <a:lnTo>
                      <a:pt x="810" y="413"/>
                    </a:lnTo>
                    <a:lnTo>
                      <a:pt x="808" y="451"/>
                    </a:lnTo>
                    <a:lnTo>
                      <a:pt x="806" y="491"/>
                    </a:lnTo>
                    <a:lnTo>
                      <a:pt x="803" y="533"/>
                    </a:lnTo>
                    <a:lnTo>
                      <a:pt x="798" y="576"/>
                    </a:lnTo>
                    <a:lnTo>
                      <a:pt x="791" y="622"/>
                    </a:lnTo>
                    <a:lnTo>
                      <a:pt x="783" y="670"/>
                    </a:lnTo>
                    <a:lnTo>
                      <a:pt x="771" y="720"/>
                    </a:lnTo>
                    <a:lnTo>
                      <a:pt x="758" y="772"/>
                    </a:lnTo>
                    <a:lnTo>
                      <a:pt x="743" y="826"/>
                    </a:lnTo>
                    <a:lnTo>
                      <a:pt x="734" y="848"/>
                    </a:lnTo>
                    <a:lnTo>
                      <a:pt x="723" y="871"/>
                    </a:lnTo>
                    <a:lnTo>
                      <a:pt x="708" y="893"/>
                    </a:lnTo>
                    <a:lnTo>
                      <a:pt x="692" y="913"/>
                    </a:lnTo>
                    <a:lnTo>
                      <a:pt x="672" y="934"/>
                    </a:lnTo>
                    <a:lnTo>
                      <a:pt x="651" y="954"/>
                    </a:lnTo>
                    <a:lnTo>
                      <a:pt x="627" y="973"/>
                    </a:lnTo>
                    <a:lnTo>
                      <a:pt x="602" y="992"/>
                    </a:lnTo>
                    <a:lnTo>
                      <a:pt x="575" y="1009"/>
                    </a:lnTo>
                    <a:lnTo>
                      <a:pt x="547" y="1026"/>
                    </a:lnTo>
                    <a:lnTo>
                      <a:pt x="518" y="1044"/>
                    </a:lnTo>
                    <a:lnTo>
                      <a:pt x="488" y="1059"/>
                    </a:lnTo>
                    <a:lnTo>
                      <a:pt x="456" y="1074"/>
                    </a:lnTo>
                    <a:lnTo>
                      <a:pt x="425" y="1089"/>
                    </a:lnTo>
                    <a:lnTo>
                      <a:pt x="394" y="1103"/>
                    </a:lnTo>
                    <a:lnTo>
                      <a:pt x="361" y="1116"/>
                    </a:lnTo>
                    <a:lnTo>
                      <a:pt x="299" y="1140"/>
                    </a:lnTo>
                    <a:lnTo>
                      <a:pt x="238" y="1160"/>
                    </a:lnTo>
                    <a:lnTo>
                      <a:pt x="182" y="1179"/>
                    </a:lnTo>
                    <a:lnTo>
                      <a:pt x="130" y="1194"/>
                    </a:lnTo>
                    <a:lnTo>
                      <a:pt x="53" y="1215"/>
                    </a:lnTo>
                    <a:lnTo>
                      <a:pt x="16" y="1224"/>
                    </a:lnTo>
                    <a:lnTo>
                      <a:pt x="15" y="1224"/>
                    </a:lnTo>
                    <a:lnTo>
                      <a:pt x="14" y="1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9"/>
              <p:cNvSpPr>
                <a:spLocks/>
              </p:cNvSpPr>
              <p:nvPr userDrawn="1"/>
            </p:nvSpPr>
            <p:spPr bwMode="auto">
              <a:xfrm>
                <a:off x="1670" y="2520"/>
                <a:ext cx="205" cy="510"/>
              </a:xfrm>
              <a:custGeom>
                <a:avLst/>
                <a:gdLst>
                  <a:gd name="T0" fmla="*/ 9 w 617"/>
                  <a:gd name="T1" fmla="*/ 1531 h 1531"/>
                  <a:gd name="T2" fmla="*/ 2 w 617"/>
                  <a:gd name="T3" fmla="*/ 1526 h 1531"/>
                  <a:gd name="T4" fmla="*/ 0 w 617"/>
                  <a:gd name="T5" fmla="*/ 1516 h 1531"/>
                  <a:gd name="T6" fmla="*/ 6 w 617"/>
                  <a:gd name="T7" fmla="*/ 1507 h 1531"/>
                  <a:gd name="T8" fmla="*/ 32 w 617"/>
                  <a:gd name="T9" fmla="*/ 1498 h 1531"/>
                  <a:gd name="T10" fmla="*/ 124 w 617"/>
                  <a:gd name="T11" fmla="*/ 1463 h 1531"/>
                  <a:gd name="T12" fmla="*/ 189 w 617"/>
                  <a:gd name="T13" fmla="*/ 1433 h 1531"/>
                  <a:gd name="T14" fmla="*/ 236 w 617"/>
                  <a:gd name="T15" fmla="*/ 1408 h 1531"/>
                  <a:gd name="T16" fmla="*/ 284 w 617"/>
                  <a:gd name="T17" fmla="*/ 1379 h 1531"/>
                  <a:gd name="T18" fmla="*/ 333 w 617"/>
                  <a:gd name="T19" fmla="*/ 1346 h 1531"/>
                  <a:gd name="T20" fmla="*/ 380 w 617"/>
                  <a:gd name="T21" fmla="*/ 1309 h 1531"/>
                  <a:gd name="T22" fmla="*/ 427 w 617"/>
                  <a:gd name="T23" fmla="*/ 1268 h 1531"/>
                  <a:gd name="T24" fmla="*/ 469 w 617"/>
                  <a:gd name="T25" fmla="*/ 1221 h 1531"/>
                  <a:gd name="T26" fmla="*/ 507 w 617"/>
                  <a:gd name="T27" fmla="*/ 1169 h 1531"/>
                  <a:gd name="T28" fmla="*/ 538 w 617"/>
                  <a:gd name="T29" fmla="*/ 1113 h 1531"/>
                  <a:gd name="T30" fmla="*/ 563 w 617"/>
                  <a:gd name="T31" fmla="*/ 1053 h 1531"/>
                  <a:gd name="T32" fmla="*/ 580 w 617"/>
                  <a:gd name="T33" fmla="*/ 986 h 1531"/>
                  <a:gd name="T34" fmla="*/ 589 w 617"/>
                  <a:gd name="T35" fmla="*/ 914 h 1531"/>
                  <a:gd name="T36" fmla="*/ 590 w 617"/>
                  <a:gd name="T37" fmla="*/ 836 h 1531"/>
                  <a:gd name="T38" fmla="*/ 584 w 617"/>
                  <a:gd name="T39" fmla="*/ 756 h 1531"/>
                  <a:gd name="T40" fmla="*/ 574 w 617"/>
                  <a:gd name="T41" fmla="*/ 673 h 1531"/>
                  <a:gd name="T42" fmla="*/ 559 w 617"/>
                  <a:gd name="T43" fmla="*/ 591 h 1531"/>
                  <a:gd name="T44" fmla="*/ 539 w 617"/>
                  <a:gd name="T45" fmla="*/ 508 h 1531"/>
                  <a:gd name="T46" fmla="*/ 519 w 617"/>
                  <a:gd name="T47" fmla="*/ 428 h 1531"/>
                  <a:gd name="T48" fmla="*/ 484 w 617"/>
                  <a:gd name="T49" fmla="*/ 314 h 1531"/>
                  <a:gd name="T50" fmla="*/ 439 w 617"/>
                  <a:gd name="T51" fmla="*/ 183 h 1531"/>
                  <a:gd name="T52" fmla="*/ 400 w 617"/>
                  <a:gd name="T53" fmla="*/ 83 h 1531"/>
                  <a:gd name="T54" fmla="*/ 377 w 617"/>
                  <a:gd name="T55" fmla="*/ 27 h 1531"/>
                  <a:gd name="T56" fmla="*/ 372 w 617"/>
                  <a:gd name="T57" fmla="*/ 13 h 1531"/>
                  <a:gd name="T58" fmla="*/ 375 w 617"/>
                  <a:gd name="T59" fmla="*/ 5 h 1531"/>
                  <a:gd name="T60" fmla="*/ 385 w 617"/>
                  <a:gd name="T61" fmla="*/ 0 h 1531"/>
                  <a:gd name="T62" fmla="*/ 394 w 617"/>
                  <a:gd name="T63" fmla="*/ 4 h 1531"/>
                  <a:gd name="T64" fmla="*/ 403 w 617"/>
                  <a:gd name="T65" fmla="*/ 20 h 1531"/>
                  <a:gd name="T66" fmla="*/ 429 w 617"/>
                  <a:gd name="T67" fmla="*/ 80 h 1531"/>
                  <a:gd name="T68" fmla="*/ 468 w 617"/>
                  <a:gd name="T69" fmla="*/ 183 h 1531"/>
                  <a:gd name="T70" fmla="*/ 514 w 617"/>
                  <a:gd name="T71" fmla="*/ 316 h 1531"/>
                  <a:gd name="T72" fmla="*/ 548 w 617"/>
                  <a:gd name="T73" fmla="*/ 430 h 1531"/>
                  <a:gd name="T74" fmla="*/ 569 w 617"/>
                  <a:gd name="T75" fmla="*/ 510 h 1531"/>
                  <a:gd name="T76" fmla="*/ 587 w 617"/>
                  <a:gd name="T77" fmla="*/ 593 h 1531"/>
                  <a:gd name="T78" fmla="*/ 602 w 617"/>
                  <a:gd name="T79" fmla="*/ 676 h 1531"/>
                  <a:gd name="T80" fmla="*/ 613 w 617"/>
                  <a:gd name="T81" fmla="*/ 759 h 1531"/>
                  <a:gd name="T82" fmla="*/ 617 w 617"/>
                  <a:gd name="T83" fmla="*/ 840 h 1531"/>
                  <a:gd name="T84" fmla="*/ 615 w 617"/>
                  <a:gd name="T85" fmla="*/ 918 h 1531"/>
                  <a:gd name="T86" fmla="*/ 606 w 617"/>
                  <a:gd name="T87" fmla="*/ 992 h 1531"/>
                  <a:gd name="T88" fmla="*/ 589 w 617"/>
                  <a:gd name="T89" fmla="*/ 1060 h 1531"/>
                  <a:gd name="T90" fmla="*/ 563 w 617"/>
                  <a:gd name="T91" fmla="*/ 1124 h 1531"/>
                  <a:gd name="T92" fmla="*/ 530 w 617"/>
                  <a:gd name="T93" fmla="*/ 1182 h 1531"/>
                  <a:gd name="T94" fmla="*/ 492 w 617"/>
                  <a:gd name="T95" fmla="*/ 1236 h 1531"/>
                  <a:gd name="T96" fmla="*/ 447 w 617"/>
                  <a:gd name="T97" fmla="*/ 1284 h 1531"/>
                  <a:gd name="T98" fmla="*/ 400 w 617"/>
                  <a:gd name="T99" fmla="*/ 1328 h 1531"/>
                  <a:gd name="T100" fmla="*/ 351 w 617"/>
                  <a:gd name="T101" fmla="*/ 1367 h 1531"/>
                  <a:gd name="T102" fmla="*/ 300 w 617"/>
                  <a:gd name="T103" fmla="*/ 1400 h 1531"/>
                  <a:gd name="T104" fmla="*/ 251 w 617"/>
                  <a:gd name="T105" fmla="*/ 1431 h 1531"/>
                  <a:gd name="T106" fmla="*/ 202 w 617"/>
                  <a:gd name="T107" fmla="*/ 1457 h 1531"/>
                  <a:gd name="T108" fmla="*/ 135 w 617"/>
                  <a:gd name="T109" fmla="*/ 1488 h 1531"/>
                  <a:gd name="T110" fmla="*/ 39 w 617"/>
                  <a:gd name="T111" fmla="*/ 1524 h 1531"/>
                  <a:gd name="T112" fmla="*/ 15 w 617"/>
                  <a:gd name="T113" fmla="*/ 1531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7" h="1531">
                    <a:moveTo>
                      <a:pt x="13" y="1531"/>
                    </a:moveTo>
                    <a:lnTo>
                      <a:pt x="9" y="1531"/>
                    </a:lnTo>
                    <a:lnTo>
                      <a:pt x="6" y="1529"/>
                    </a:lnTo>
                    <a:lnTo>
                      <a:pt x="2" y="1526"/>
                    </a:lnTo>
                    <a:lnTo>
                      <a:pt x="0" y="1521"/>
                    </a:lnTo>
                    <a:lnTo>
                      <a:pt x="0" y="1516"/>
                    </a:lnTo>
                    <a:lnTo>
                      <a:pt x="1" y="1511"/>
                    </a:lnTo>
                    <a:lnTo>
                      <a:pt x="6" y="1507"/>
                    </a:lnTo>
                    <a:lnTo>
                      <a:pt x="10" y="1505"/>
                    </a:lnTo>
                    <a:lnTo>
                      <a:pt x="32" y="1498"/>
                    </a:lnTo>
                    <a:lnTo>
                      <a:pt x="88" y="1478"/>
                    </a:lnTo>
                    <a:lnTo>
                      <a:pt x="124" y="1463"/>
                    </a:lnTo>
                    <a:lnTo>
                      <a:pt x="167" y="1444"/>
                    </a:lnTo>
                    <a:lnTo>
                      <a:pt x="189" y="1433"/>
                    </a:lnTo>
                    <a:lnTo>
                      <a:pt x="212" y="1421"/>
                    </a:lnTo>
                    <a:lnTo>
                      <a:pt x="236" y="1408"/>
                    </a:lnTo>
                    <a:lnTo>
                      <a:pt x="260" y="1394"/>
                    </a:lnTo>
                    <a:lnTo>
                      <a:pt x="284" y="1379"/>
                    </a:lnTo>
                    <a:lnTo>
                      <a:pt x="309" y="1364"/>
                    </a:lnTo>
                    <a:lnTo>
                      <a:pt x="333" y="1346"/>
                    </a:lnTo>
                    <a:lnTo>
                      <a:pt x="357" y="1328"/>
                    </a:lnTo>
                    <a:lnTo>
                      <a:pt x="380" y="1309"/>
                    </a:lnTo>
                    <a:lnTo>
                      <a:pt x="404" y="1288"/>
                    </a:lnTo>
                    <a:lnTo>
                      <a:pt x="427" y="1268"/>
                    </a:lnTo>
                    <a:lnTo>
                      <a:pt x="448" y="1245"/>
                    </a:lnTo>
                    <a:lnTo>
                      <a:pt x="469" y="1221"/>
                    </a:lnTo>
                    <a:lnTo>
                      <a:pt x="488" y="1195"/>
                    </a:lnTo>
                    <a:lnTo>
                      <a:pt x="507" y="1169"/>
                    </a:lnTo>
                    <a:lnTo>
                      <a:pt x="523" y="1142"/>
                    </a:lnTo>
                    <a:lnTo>
                      <a:pt x="538" y="1113"/>
                    </a:lnTo>
                    <a:lnTo>
                      <a:pt x="552" y="1084"/>
                    </a:lnTo>
                    <a:lnTo>
                      <a:pt x="563" y="1053"/>
                    </a:lnTo>
                    <a:lnTo>
                      <a:pt x="573" y="1020"/>
                    </a:lnTo>
                    <a:lnTo>
                      <a:pt x="580" y="986"/>
                    </a:lnTo>
                    <a:lnTo>
                      <a:pt x="586" y="950"/>
                    </a:lnTo>
                    <a:lnTo>
                      <a:pt x="589" y="914"/>
                    </a:lnTo>
                    <a:lnTo>
                      <a:pt x="590" y="876"/>
                    </a:lnTo>
                    <a:lnTo>
                      <a:pt x="590" y="836"/>
                    </a:lnTo>
                    <a:lnTo>
                      <a:pt x="588" y="796"/>
                    </a:lnTo>
                    <a:lnTo>
                      <a:pt x="584" y="756"/>
                    </a:lnTo>
                    <a:lnTo>
                      <a:pt x="579" y="715"/>
                    </a:lnTo>
                    <a:lnTo>
                      <a:pt x="574" y="673"/>
                    </a:lnTo>
                    <a:lnTo>
                      <a:pt x="566" y="632"/>
                    </a:lnTo>
                    <a:lnTo>
                      <a:pt x="559" y="591"/>
                    </a:lnTo>
                    <a:lnTo>
                      <a:pt x="549" y="549"/>
                    </a:lnTo>
                    <a:lnTo>
                      <a:pt x="539" y="508"/>
                    </a:lnTo>
                    <a:lnTo>
                      <a:pt x="529" y="468"/>
                    </a:lnTo>
                    <a:lnTo>
                      <a:pt x="519" y="428"/>
                    </a:lnTo>
                    <a:lnTo>
                      <a:pt x="507" y="389"/>
                    </a:lnTo>
                    <a:lnTo>
                      <a:pt x="484" y="314"/>
                    </a:lnTo>
                    <a:lnTo>
                      <a:pt x="461" y="245"/>
                    </a:lnTo>
                    <a:lnTo>
                      <a:pt x="439" y="183"/>
                    </a:lnTo>
                    <a:lnTo>
                      <a:pt x="418" y="128"/>
                    </a:lnTo>
                    <a:lnTo>
                      <a:pt x="400" y="83"/>
                    </a:lnTo>
                    <a:lnTo>
                      <a:pt x="386" y="49"/>
                    </a:lnTo>
                    <a:lnTo>
                      <a:pt x="377" y="27"/>
                    </a:lnTo>
                    <a:lnTo>
                      <a:pt x="373" y="19"/>
                    </a:lnTo>
                    <a:lnTo>
                      <a:pt x="372" y="13"/>
                    </a:lnTo>
                    <a:lnTo>
                      <a:pt x="373" y="9"/>
                    </a:lnTo>
                    <a:lnTo>
                      <a:pt x="375" y="5"/>
                    </a:lnTo>
                    <a:lnTo>
                      <a:pt x="379" y="1"/>
                    </a:lnTo>
                    <a:lnTo>
                      <a:pt x="385" y="0"/>
                    </a:lnTo>
                    <a:lnTo>
                      <a:pt x="390" y="0"/>
                    </a:lnTo>
                    <a:lnTo>
                      <a:pt x="394" y="4"/>
                    </a:lnTo>
                    <a:lnTo>
                      <a:pt x="398" y="8"/>
                    </a:lnTo>
                    <a:lnTo>
                      <a:pt x="403" y="20"/>
                    </a:lnTo>
                    <a:lnTo>
                      <a:pt x="414" y="45"/>
                    </a:lnTo>
                    <a:lnTo>
                      <a:pt x="429" y="80"/>
                    </a:lnTo>
                    <a:lnTo>
                      <a:pt x="447" y="127"/>
                    </a:lnTo>
                    <a:lnTo>
                      <a:pt x="468" y="183"/>
                    </a:lnTo>
                    <a:lnTo>
                      <a:pt x="490" y="245"/>
                    </a:lnTo>
                    <a:lnTo>
                      <a:pt x="514" y="316"/>
                    </a:lnTo>
                    <a:lnTo>
                      <a:pt x="537" y="391"/>
                    </a:lnTo>
                    <a:lnTo>
                      <a:pt x="548" y="430"/>
                    </a:lnTo>
                    <a:lnTo>
                      <a:pt x="559" y="470"/>
                    </a:lnTo>
                    <a:lnTo>
                      <a:pt x="569" y="510"/>
                    </a:lnTo>
                    <a:lnTo>
                      <a:pt x="578" y="551"/>
                    </a:lnTo>
                    <a:lnTo>
                      <a:pt x="587" y="593"/>
                    </a:lnTo>
                    <a:lnTo>
                      <a:pt x="595" y="634"/>
                    </a:lnTo>
                    <a:lnTo>
                      <a:pt x="602" y="676"/>
                    </a:lnTo>
                    <a:lnTo>
                      <a:pt x="607" y="717"/>
                    </a:lnTo>
                    <a:lnTo>
                      <a:pt x="613" y="759"/>
                    </a:lnTo>
                    <a:lnTo>
                      <a:pt x="615" y="800"/>
                    </a:lnTo>
                    <a:lnTo>
                      <a:pt x="617" y="840"/>
                    </a:lnTo>
                    <a:lnTo>
                      <a:pt x="617" y="879"/>
                    </a:lnTo>
                    <a:lnTo>
                      <a:pt x="615" y="918"/>
                    </a:lnTo>
                    <a:lnTo>
                      <a:pt x="611" y="956"/>
                    </a:lnTo>
                    <a:lnTo>
                      <a:pt x="606" y="992"/>
                    </a:lnTo>
                    <a:lnTo>
                      <a:pt x="598" y="1027"/>
                    </a:lnTo>
                    <a:lnTo>
                      <a:pt x="589" y="1060"/>
                    </a:lnTo>
                    <a:lnTo>
                      <a:pt x="577" y="1093"/>
                    </a:lnTo>
                    <a:lnTo>
                      <a:pt x="563" y="1124"/>
                    </a:lnTo>
                    <a:lnTo>
                      <a:pt x="548" y="1154"/>
                    </a:lnTo>
                    <a:lnTo>
                      <a:pt x="530" y="1182"/>
                    </a:lnTo>
                    <a:lnTo>
                      <a:pt x="511" y="1210"/>
                    </a:lnTo>
                    <a:lnTo>
                      <a:pt x="492" y="1236"/>
                    </a:lnTo>
                    <a:lnTo>
                      <a:pt x="470" y="1261"/>
                    </a:lnTo>
                    <a:lnTo>
                      <a:pt x="447" y="1284"/>
                    </a:lnTo>
                    <a:lnTo>
                      <a:pt x="424" y="1307"/>
                    </a:lnTo>
                    <a:lnTo>
                      <a:pt x="400" y="1328"/>
                    </a:lnTo>
                    <a:lnTo>
                      <a:pt x="376" y="1348"/>
                    </a:lnTo>
                    <a:lnTo>
                      <a:pt x="351" y="1367"/>
                    </a:lnTo>
                    <a:lnTo>
                      <a:pt x="325" y="1384"/>
                    </a:lnTo>
                    <a:lnTo>
                      <a:pt x="300" y="1400"/>
                    </a:lnTo>
                    <a:lnTo>
                      <a:pt x="276" y="1417"/>
                    </a:lnTo>
                    <a:lnTo>
                      <a:pt x="251" y="1431"/>
                    </a:lnTo>
                    <a:lnTo>
                      <a:pt x="226" y="1444"/>
                    </a:lnTo>
                    <a:lnTo>
                      <a:pt x="202" y="1457"/>
                    </a:lnTo>
                    <a:lnTo>
                      <a:pt x="179" y="1467"/>
                    </a:lnTo>
                    <a:lnTo>
                      <a:pt x="135" y="1488"/>
                    </a:lnTo>
                    <a:lnTo>
                      <a:pt x="97" y="1503"/>
                    </a:lnTo>
                    <a:lnTo>
                      <a:pt x="39" y="1524"/>
                    </a:lnTo>
                    <a:lnTo>
                      <a:pt x="18" y="1531"/>
                    </a:lnTo>
                    <a:lnTo>
                      <a:pt x="15" y="1531"/>
                    </a:lnTo>
                    <a:lnTo>
                      <a:pt x="13" y="15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80"/>
              <p:cNvSpPr>
                <a:spLocks/>
              </p:cNvSpPr>
              <p:nvPr userDrawn="1"/>
            </p:nvSpPr>
            <p:spPr bwMode="auto">
              <a:xfrm>
                <a:off x="1793" y="2482"/>
                <a:ext cx="125" cy="578"/>
              </a:xfrm>
              <a:custGeom>
                <a:avLst/>
                <a:gdLst>
                  <a:gd name="T0" fmla="*/ 117 w 375"/>
                  <a:gd name="T1" fmla="*/ 1732 h 1733"/>
                  <a:gd name="T2" fmla="*/ 112 w 375"/>
                  <a:gd name="T3" fmla="*/ 1728 h 1733"/>
                  <a:gd name="T4" fmla="*/ 108 w 375"/>
                  <a:gd name="T5" fmla="*/ 1721 h 1733"/>
                  <a:gd name="T6" fmla="*/ 110 w 375"/>
                  <a:gd name="T7" fmla="*/ 1711 h 1733"/>
                  <a:gd name="T8" fmla="*/ 118 w 375"/>
                  <a:gd name="T9" fmla="*/ 1705 h 1733"/>
                  <a:gd name="T10" fmla="*/ 141 w 375"/>
                  <a:gd name="T11" fmla="*/ 1686 h 1733"/>
                  <a:gd name="T12" fmla="*/ 170 w 375"/>
                  <a:gd name="T13" fmla="*/ 1659 h 1733"/>
                  <a:gd name="T14" fmla="*/ 192 w 375"/>
                  <a:gd name="T15" fmla="*/ 1633 h 1733"/>
                  <a:gd name="T16" fmla="*/ 216 w 375"/>
                  <a:gd name="T17" fmla="*/ 1602 h 1733"/>
                  <a:gd name="T18" fmla="*/ 240 w 375"/>
                  <a:gd name="T19" fmla="*/ 1564 h 1733"/>
                  <a:gd name="T20" fmla="*/ 264 w 375"/>
                  <a:gd name="T21" fmla="*/ 1520 h 1733"/>
                  <a:gd name="T22" fmla="*/ 287 w 375"/>
                  <a:gd name="T23" fmla="*/ 1467 h 1733"/>
                  <a:gd name="T24" fmla="*/ 307 w 375"/>
                  <a:gd name="T25" fmla="*/ 1408 h 1733"/>
                  <a:gd name="T26" fmla="*/ 325 w 375"/>
                  <a:gd name="T27" fmla="*/ 1341 h 1733"/>
                  <a:gd name="T28" fmla="*/ 338 w 375"/>
                  <a:gd name="T29" fmla="*/ 1264 h 1733"/>
                  <a:gd name="T30" fmla="*/ 345 w 375"/>
                  <a:gd name="T31" fmla="*/ 1180 h 1733"/>
                  <a:gd name="T32" fmla="*/ 347 w 375"/>
                  <a:gd name="T33" fmla="*/ 1086 h 1733"/>
                  <a:gd name="T34" fmla="*/ 343 w 375"/>
                  <a:gd name="T35" fmla="*/ 982 h 1733"/>
                  <a:gd name="T36" fmla="*/ 331 w 375"/>
                  <a:gd name="T37" fmla="*/ 871 h 1733"/>
                  <a:gd name="T38" fmla="*/ 314 w 375"/>
                  <a:gd name="T39" fmla="*/ 764 h 1733"/>
                  <a:gd name="T40" fmla="*/ 293 w 375"/>
                  <a:gd name="T41" fmla="*/ 665 h 1733"/>
                  <a:gd name="T42" fmla="*/ 270 w 375"/>
                  <a:gd name="T43" fmla="*/ 572 h 1733"/>
                  <a:gd name="T44" fmla="*/ 245 w 375"/>
                  <a:gd name="T45" fmla="*/ 488 h 1733"/>
                  <a:gd name="T46" fmla="*/ 217 w 375"/>
                  <a:gd name="T47" fmla="*/ 410 h 1733"/>
                  <a:gd name="T48" fmla="*/ 189 w 375"/>
                  <a:gd name="T49" fmla="*/ 340 h 1733"/>
                  <a:gd name="T50" fmla="*/ 161 w 375"/>
                  <a:gd name="T51" fmla="*/ 276 h 1733"/>
                  <a:gd name="T52" fmla="*/ 118 w 375"/>
                  <a:gd name="T53" fmla="*/ 195 h 1733"/>
                  <a:gd name="T54" fmla="*/ 69 w 375"/>
                  <a:gd name="T55" fmla="*/ 111 h 1733"/>
                  <a:gd name="T56" fmla="*/ 29 w 375"/>
                  <a:gd name="T57" fmla="*/ 55 h 1733"/>
                  <a:gd name="T58" fmla="*/ 6 w 375"/>
                  <a:gd name="T59" fmla="*/ 27 h 1733"/>
                  <a:gd name="T60" fmla="*/ 1 w 375"/>
                  <a:gd name="T61" fmla="*/ 18 h 1733"/>
                  <a:gd name="T62" fmla="*/ 1 w 375"/>
                  <a:gd name="T63" fmla="*/ 9 h 1733"/>
                  <a:gd name="T64" fmla="*/ 8 w 375"/>
                  <a:gd name="T65" fmla="*/ 1 h 1733"/>
                  <a:gd name="T66" fmla="*/ 19 w 375"/>
                  <a:gd name="T67" fmla="*/ 1 h 1733"/>
                  <a:gd name="T68" fmla="*/ 27 w 375"/>
                  <a:gd name="T69" fmla="*/ 9 h 1733"/>
                  <a:gd name="T70" fmla="*/ 49 w 375"/>
                  <a:gd name="T71" fmla="*/ 38 h 1733"/>
                  <a:gd name="T72" fmla="*/ 89 w 375"/>
                  <a:gd name="T73" fmla="*/ 95 h 1733"/>
                  <a:gd name="T74" fmla="*/ 127 w 375"/>
                  <a:gd name="T75" fmla="*/ 157 h 1733"/>
                  <a:gd name="T76" fmla="*/ 155 w 375"/>
                  <a:gd name="T77" fmla="*/ 206 h 1733"/>
                  <a:gd name="T78" fmla="*/ 183 w 375"/>
                  <a:gd name="T79" fmla="*/ 263 h 1733"/>
                  <a:gd name="T80" fmla="*/ 212 w 375"/>
                  <a:gd name="T81" fmla="*/ 327 h 1733"/>
                  <a:gd name="T82" fmla="*/ 242 w 375"/>
                  <a:gd name="T83" fmla="*/ 399 h 1733"/>
                  <a:gd name="T84" fmla="*/ 270 w 375"/>
                  <a:gd name="T85" fmla="*/ 478 h 1733"/>
                  <a:gd name="T86" fmla="*/ 295 w 375"/>
                  <a:gd name="T87" fmla="*/ 564 h 1733"/>
                  <a:gd name="T88" fmla="*/ 319 w 375"/>
                  <a:gd name="T89" fmla="*/ 657 h 1733"/>
                  <a:gd name="T90" fmla="*/ 341 w 375"/>
                  <a:gd name="T91" fmla="*/ 759 h 1733"/>
                  <a:gd name="T92" fmla="*/ 357 w 375"/>
                  <a:gd name="T93" fmla="*/ 867 h 1733"/>
                  <a:gd name="T94" fmla="*/ 370 w 375"/>
                  <a:gd name="T95" fmla="*/ 981 h 1733"/>
                  <a:gd name="T96" fmla="*/ 375 w 375"/>
                  <a:gd name="T97" fmla="*/ 1088 h 1733"/>
                  <a:gd name="T98" fmla="*/ 373 w 375"/>
                  <a:gd name="T99" fmla="*/ 1184 h 1733"/>
                  <a:gd name="T100" fmla="*/ 365 w 375"/>
                  <a:gd name="T101" fmla="*/ 1272 h 1733"/>
                  <a:gd name="T102" fmla="*/ 351 w 375"/>
                  <a:gd name="T103" fmla="*/ 1349 h 1733"/>
                  <a:gd name="T104" fmla="*/ 333 w 375"/>
                  <a:gd name="T105" fmla="*/ 1420 h 1733"/>
                  <a:gd name="T106" fmla="*/ 313 w 375"/>
                  <a:gd name="T107" fmla="*/ 1481 h 1733"/>
                  <a:gd name="T108" fmla="*/ 289 w 375"/>
                  <a:gd name="T109" fmla="*/ 1534 h 1733"/>
                  <a:gd name="T110" fmla="*/ 264 w 375"/>
                  <a:gd name="T111" fmla="*/ 1580 h 1733"/>
                  <a:gd name="T112" fmla="*/ 238 w 375"/>
                  <a:gd name="T113" fmla="*/ 1619 h 1733"/>
                  <a:gd name="T114" fmla="*/ 215 w 375"/>
                  <a:gd name="T115" fmla="*/ 1652 h 1733"/>
                  <a:gd name="T116" fmla="*/ 191 w 375"/>
                  <a:gd name="T117" fmla="*/ 1679 h 1733"/>
                  <a:gd name="T118" fmla="*/ 161 w 375"/>
                  <a:gd name="T119" fmla="*/ 1707 h 1733"/>
                  <a:gd name="T120" fmla="*/ 134 w 375"/>
                  <a:gd name="T121" fmla="*/ 1727 h 1733"/>
                  <a:gd name="T122" fmla="*/ 125 w 375"/>
                  <a:gd name="T123"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5" h="1733">
                    <a:moveTo>
                      <a:pt x="121" y="1733"/>
                    </a:moveTo>
                    <a:lnTo>
                      <a:pt x="117" y="1732"/>
                    </a:lnTo>
                    <a:lnTo>
                      <a:pt x="114" y="1730"/>
                    </a:lnTo>
                    <a:lnTo>
                      <a:pt x="112" y="1728"/>
                    </a:lnTo>
                    <a:lnTo>
                      <a:pt x="110" y="1725"/>
                    </a:lnTo>
                    <a:lnTo>
                      <a:pt x="108" y="1721"/>
                    </a:lnTo>
                    <a:lnTo>
                      <a:pt x="108" y="1715"/>
                    </a:lnTo>
                    <a:lnTo>
                      <a:pt x="110" y="1711"/>
                    </a:lnTo>
                    <a:lnTo>
                      <a:pt x="114" y="1707"/>
                    </a:lnTo>
                    <a:lnTo>
                      <a:pt x="118" y="1705"/>
                    </a:lnTo>
                    <a:lnTo>
                      <a:pt x="127" y="1698"/>
                    </a:lnTo>
                    <a:lnTo>
                      <a:pt x="141" y="1686"/>
                    </a:lnTo>
                    <a:lnTo>
                      <a:pt x="159" y="1669"/>
                    </a:lnTo>
                    <a:lnTo>
                      <a:pt x="170" y="1659"/>
                    </a:lnTo>
                    <a:lnTo>
                      <a:pt x="181" y="1647"/>
                    </a:lnTo>
                    <a:lnTo>
                      <a:pt x="192" y="1633"/>
                    </a:lnTo>
                    <a:lnTo>
                      <a:pt x="204" y="1619"/>
                    </a:lnTo>
                    <a:lnTo>
                      <a:pt x="216" y="1602"/>
                    </a:lnTo>
                    <a:lnTo>
                      <a:pt x="227" y="1584"/>
                    </a:lnTo>
                    <a:lnTo>
                      <a:pt x="240" y="1564"/>
                    </a:lnTo>
                    <a:lnTo>
                      <a:pt x="252" y="1543"/>
                    </a:lnTo>
                    <a:lnTo>
                      <a:pt x="264" y="1520"/>
                    </a:lnTo>
                    <a:lnTo>
                      <a:pt x="275" y="1494"/>
                    </a:lnTo>
                    <a:lnTo>
                      <a:pt x="287" y="1467"/>
                    </a:lnTo>
                    <a:lnTo>
                      <a:pt x="297" y="1439"/>
                    </a:lnTo>
                    <a:lnTo>
                      <a:pt x="307" y="1408"/>
                    </a:lnTo>
                    <a:lnTo>
                      <a:pt x="316" y="1375"/>
                    </a:lnTo>
                    <a:lnTo>
                      <a:pt x="325" y="1341"/>
                    </a:lnTo>
                    <a:lnTo>
                      <a:pt x="331" y="1303"/>
                    </a:lnTo>
                    <a:lnTo>
                      <a:pt x="338" y="1264"/>
                    </a:lnTo>
                    <a:lnTo>
                      <a:pt x="342" y="1223"/>
                    </a:lnTo>
                    <a:lnTo>
                      <a:pt x="345" y="1180"/>
                    </a:lnTo>
                    <a:lnTo>
                      <a:pt x="347" y="1133"/>
                    </a:lnTo>
                    <a:lnTo>
                      <a:pt x="347" y="1086"/>
                    </a:lnTo>
                    <a:lnTo>
                      <a:pt x="346" y="1035"/>
                    </a:lnTo>
                    <a:lnTo>
                      <a:pt x="343" y="982"/>
                    </a:lnTo>
                    <a:lnTo>
                      <a:pt x="338" y="927"/>
                    </a:lnTo>
                    <a:lnTo>
                      <a:pt x="331" y="871"/>
                    </a:lnTo>
                    <a:lnTo>
                      <a:pt x="322" y="816"/>
                    </a:lnTo>
                    <a:lnTo>
                      <a:pt x="314" y="764"/>
                    </a:lnTo>
                    <a:lnTo>
                      <a:pt x="304" y="714"/>
                    </a:lnTo>
                    <a:lnTo>
                      <a:pt x="293" y="665"/>
                    </a:lnTo>
                    <a:lnTo>
                      <a:pt x="283" y="617"/>
                    </a:lnTo>
                    <a:lnTo>
                      <a:pt x="270" y="572"/>
                    </a:lnTo>
                    <a:lnTo>
                      <a:pt x="258" y="529"/>
                    </a:lnTo>
                    <a:lnTo>
                      <a:pt x="245" y="488"/>
                    </a:lnTo>
                    <a:lnTo>
                      <a:pt x="231" y="448"/>
                    </a:lnTo>
                    <a:lnTo>
                      <a:pt x="217" y="410"/>
                    </a:lnTo>
                    <a:lnTo>
                      <a:pt x="203" y="374"/>
                    </a:lnTo>
                    <a:lnTo>
                      <a:pt x="189" y="340"/>
                    </a:lnTo>
                    <a:lnTo>
                      <a:pt x="175" y="307"/>
                    </a:lnTo>
                    <a:lnTo>
                      <a:pt x="161" y="276"/>
                    </a:lnTo>
                    <a:lnTo>
                      <a:pt x="146" y="247"/>
                    </a:lnTo>
                    <a:lnTo>
                      <a:pt x="118" y="195"/>
                    </a:lnTo>
                    <a:lnTo>
                      <a:pt x="92" y="150"/>
                    </a:lnTo>
                    <a:lnTo>
                      <a:pt x="69" y="111"/>
                    </a:lnTo>
                    <a:lnTo>
                      <a:pt x="47" y="80"/>
                    </a:lnTo>
                    <a:lnTo>
                      <a:pt x="29" y="55"/>
                    </a:lnTo>
                    <a:lnTo>
                      <a:pt x="16" y="38"/>
                    </a:lnTo>
                    <a:lnTo>
                      <a:pt x="6" y="27"/>
                    </a:lnTo>
                    <a:lnTo>
                      <a:pt x="3" y="23"/>
                    </a:lnTo>
                    <a:lnTo>
                      <a:pt x="1" y="18"/>
                    </a:lnTo>
                    <a:lnTo>
                      <a:pt x="0" y="13"/>
                    </a:lnTo>
                    <a:lnTo>
                      <a:pt x="1" y="9"/>
                    </a:lnTo>
                    <a:lnTo>
                      <a:pt x="4" y="4"/>
                    </a:lnTo>
                    <a:lnTo>
                      <a:pt x="8" y="1"/>
                    </a:lnTo>
                    <a:lnTo>
                      <a:pt x="14" y="0"/>
                    </a:lnTo>
                    <a:lnTo>
                      <a:pt x="19" y="1"/>
                    </a:lnTo>
                    <a:lnTo>
                      <a:pt x="23" y="4"/>
                    </a:lnTo>
                    <a:lnTo>
                      <a:pt x="27" y="9"/>
                    </a:lnTo>
                    <a:lnTo>
                      <a:pt x="35" y="19"/>
                    </a:lnTo>
                    <a:lnTo>
                      <a:pt x="49" y="38"/>
                    </a:lnTo>
                    <a:lnTo>
                      <a:pt x="68" y="63"/>
                    </a:lnTo>
                    <a:lnTo>
                      <a:pt x="89" y="95"/>
                    </a:lnTo>
                    <a:lnTo>
                      <a:pt x="114" y="134"/>
                    </a:lnTo>
                    <a:lnTo>
                      <a:pt x="127" y="157"/>
                    </a:lnTo>
                    <a:lnTo>
                      <a:pt x="141" y="180"/>
                    </a:lnTo>
                    <a:lnTo>
                      <a:pt x="155" y="206"/>
                    </a:lnTo>
                    <a:lnTo>
                      <a:pt x="169" y="233"/>
                    </a:lnTo>
                    <a:lnTo>
                      <a:pt x="183" y="263"/>
                    </a:lnTo>
                    <a:lnTo>
                      <a:pt x="198" y="295"/>
                    </a:lnTo>
                    <a:lnTo>
                      <a:pt x="212" y="327"/>
                    </a:lnTo>
                    <a:lnTo>
                      <a:pt x="227" y="363"/>
                    </a:lnTo>
                    <a:lnTo>
                      <a:pt x="242" y="399"/>
                    </a:lnTo>
                    <a:lnTo>
                      <a:pt x="256" y="437"/>
                    </a:lnTo>
                    <a:lnTo>
                      <a:pt x="270" y="478"/>
                    </a:lnTo>
                    <a:lnTo>
                      <a:pt x="283" y="520"/>
                    </a:lnTo>
                    <a:lnTo>
                      <a:pt x="295" y="564"/>
                    </a:lnTo>
                    <a:lnTo>
                      <a:pt x="307" y="610"/>
                    </a:lnTo>
                    <a:lnTo>
                      <a:pt x="319" y="657"/>
                    </a:lnTo>
                    <a:lnTo>
                      <a:pt x="330" y="707"/>
                    </a:lnTo>
                    <a:lnTo>
                      <a:pt x="341" y="759"/>
                    </a:lnTo>
                    <a:lnTo>
                      <a:pt x="349" y="812"/>
                    </a:lnTo>
                    <a:lnTo>
                      <a:pt x="357" y="867"/>
                    </a:lnTo>
                    <a:lnTo>
                      <a:pt x="365" y="924"/>
                    </a:lnTo>
                    <a:lnTo>
                      <a:pt x="370" y="981"/>
                    </a:lnTo>
                    <a:lnTo>
                      <a:pt x="373" y="1035"/>
                    </a:lnTo>
                    <a:lnTo>
                      <a:pt x="375" y="1088"/>
                    </a:lnTo>
                    <a:lnTo>
                      <a:pt x="374" y="1137"/>
                    </a:lnTo>
                    <a:lnTo>
                      <a:pt x="373" y="1184"/>
                    </a:lnTo>
                    <a:lnTo>
                      <a:pt x="369" y="1230"/>
                    </a:lnTo>
                    <a:lnTo>
                      <a:pt x="365" y="1272"/>
                    </a:lnTo>
                    <a:lnTo>
                      <a:pt x="358" y="1312"/>
                    </a:lnTo>
                    <a:lnTo>
                      <a:pt x="351" y="1349"/>
                    </a:lnTo>
                    <a:lnTo>
                      <a:pt x="343" y="1386"/>
                    </a:lnTo>
                    <a:lnTo>
                      <a:pt x="333" y="1420"/>
                    </a:lnTo>
                    <a:lnTo>
                      <a:pt x="324" y="1451"/>
                    </a:lnTo>
                    <a:lnTo>
                      <a:pt x="313" y="1481"/>
                    </a:lnTo>
                    <a:lnTo>
                      <a:pt x="301" y="1508"/>
                    </a:lnTo>
                    <a:lnTo>
                      <a:pt x="289" y="1534"/>
                    </a:lnTo>
                    <a:lnTo>
                      <a:pt x="277" y="1558"/>
                    </a:lnTo>
                    <a:lnTo>
                      <a:pt x="264" y="1580"/>
                    </a:lnTo>
                    <a:lnTo>
                      <a:pt x="251" y="1601"/>
                    </a:lnTo>
                    <a:lnTo>
                      <a:pt x="238" y="1619"/>
                    </a:lnTo>
                    <a:lnTo>
                      <a:pt x="226" y="1637"/>
                    </a:lnTo>
                    <a:lnTo>
                      <a:pt x="215" y="1652"/>
                    </a:lnTo>
                    <a:lnTo>
                      <a:pt x="202" y="1666"/>
                    </a:lnTo>
                    <a:lnTo>
                      <a:pt x="191" y="1679"/>
                    </a:lnTo>
                    <a:lnTo>
                      <a:pt x="180" y="1689"/>
                    </a:lnTo>
                    <a:lnTo>
                      <a:pt x="161" y="1707"/>
                    </a:lnTo>
                    <a:lnTo>
                      <a:pt x="144" y="1720"/>
                    </a:lnTo>
                    <a:lnTo>
                      <a:pt x="134" y="1727"/>
                    </a:lnTo>
                    <a:lnTo>
                      <a:pt x="128" y="1730"/>
                    </a:lnTo>
                    <a:lnTo>
                      <a:pt x="125" y="1732"/>
                    </a:lnTo>
                    <a:lnTo>
                      <a:pt x="121" y="1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81"/>
              <p:cNvSpPr>
                <a:spLocks/>
              </p:cNvSpPr>
              <p:nvPr userDrawn="1"/>
            </p:nvSpPr>
            <p:spPr bwMode="auto">
              <a:xfrm>
                <a:off x="1781" y="2423"/>
                <a:ext cx="180" cy="642"/>
              </a:xfrm>
              <a:custGeom>
                <a:avLst/>
                <a:gdLst>
                  <a:gd name="T0" fmla="*/ 515 w 541"/>
                  <a:gd name="T1" fmla="*/ 1926 h 1926"/>
                  <a:gd name="T2" fmla="*/ 508 w 541"/>
                  <a:gd name="T3" fmla="*/ 1925 h 1926"/>
                  <a:gd name="T4" fmla="*/ 502 w 541"/>
                  <a:gd name="T5" fmla="*/ 1917 h 1926"/>
                  <a:gd name="T6" fmla="*/ 502 w 541"/>
                  <a:gd name="T7" fmla="*/ 1901 h 1926"/>
                  <a:gd name="T8" fmla="*/ 507 w 541"/>
                  <a:gd name="T9" fmla="*/ 1830 h 1926"/>
                  <a:gd name="T10" fmla="*/ 512 w 541"/>
                  <a:gd name="T11" fmla="*/ 1703 h 1926"/>
                  <a:gd name="T12" fmla="*/ 514 w 541"/>
                  <a:gd name="T13" fmla="*/ 1538 h 1926"/>
                  <a:gd name="T14" fmla="*/ 510 w 541"/>
                  <a:gd name="T15" fmla="*/ 1397 h 1926"/>
                  <a:gd name="T16" fmla="*/ 505 w 541"/>
                  <a:gd name="T17" fmla="*/ 1298 h 1926"/>
                  <a:gd name="T18" fmla="*/ 497 w 541"/>
                  <a:gd name="T19" fmla="*/ 1196 h 1926"/>
                  <a:gd name="T20" fmla="*/ 485 w 541"/>
                  <a:gd name="T21" fmla="*/ 1096 h 1926"/>
                  <a:gd name="T22" fmla="*/ 470 w 541"/>
                  <a:gd name="T23" fmla="*/ 996 h 1926"/>
                  <a:gd name="T24" fmla="*/ 449 w 541"/>
                  <a:gd name="T25" fmla="*/ 900 h 1926"/>
                  <a:gd name="T26" fmla="*/ 424 w 541"/>
                  <a:gd name="T27" fmla="*/ 810 h 1926"/>
                  <a:gd name="T28" fmla="*/ 394 w 541"/>
                  <a:gd name="T29" fmla="*/ 727 h 1926"/>
                  <a:gd name="T30" fmla="*/ 343 w 541"/>
                  <a:gd name="T31" fmla="*/ 621 h 1926"/>
                  <a:gd name="T32" fmla="*/ 276 w 541"/>
                  <a:gd name="T33" fmla="*/ 491 h 1926"/>
                  <a:gd name="T34" fmla="*/ 180 w 541"/>
                  <a:gd name="T35" fmla="*/ 317 h 1926"/>
                  <a:gd name="T36" fmla="*/ 74 w 541"/>
                  <a:gd name="T37" fmla="*/ 136 h 1926"/>
                  <a:gd name="T38" fmla="*/ 11 w 541"/>
                  <a:gd name="T39" fmla="*/ 35 h 1926"/>
                  <a:gd name="T40" fmla="*/ 0 w 541"/>
                  <a:gd name="T41" fmla="*/ 15 h 1926"/>
                  <a:gd name="T42" fmla="*/ 2 w 541"/>
                  <a:gd name="T43" fmla="*/ 5 h 1926"/>
                  <a:gd name="T44" fmla="*/ 11 w 541"/>
                  <a:gd name="T45" fmla="*/ 0 h 1926"/>
                  <a:gd name="T46" fmla="*/ 20 w 541"/>
                  <a:gd name="T47" fmla="*/ 2 h 1926"/>
                  <a:gd name="T48" fmla="*/ 33 w 541"/>
                  <a:gd name="T49" fmla="*/ 21 h 1926"/>
                  <a:gd name="T50" fmla="*/ 97 w 541"/>
                  <a:gd name="T51" fmla="*/ 122 h 1926"/>
                  <a:gd name="T52" fmla="*/ 204 w 541"/>
                  <a:gd name="T53" fmla="*/ 303 h 1926"/>
                  <a:gd name="T54" fmla="*/ 300 w 541"/>
                  <a:gd name="T55" fmla="*/ 478 h 1926"/>
                  <a:gd name="T56" fmla="*/ 368 w 541"/>
                  <a:gd name="T57" fmla="*/ 609 h 1926"/>
                  <a:gd name="T58" fmla="*/ 419 w 541"/>
                  <a:gd name="T59" fmla="*/ 716 h 1926"/>
                  <a:gd name="T60" fmla="*/ 450 w 541"/>
                  <a:gd name="T61" fmla="*/ 799 h 1926"/>
                  <a:gd name="T62" fmla="*/ 475 w 541"/>
                  <a:gd name="T63" fmla="*/ 890 h 1926"/>
                  <a:gd name="T64" fmla="*/ 495 w 541"/>
                  <a:gd name="T65" fmla="*/ 986 h 1926"/>
                  <a:gd name="T66" fmla="*/ 512 w 541"/>
                  <a:gd name="T67" fmla="*/ 1085 h 1926"/>
                  <a:gd name="T68" fmla="*/ 524 w 541"/>
                  <a:gd name="T69" fmla="*/ 1185 h 1926"/>
                  <a:gd name="T70" fmla="*/ 532 w 541"/>
                  <a:gd name="T71" fmla="*/ 1286 h 1926"/>
                  <a:gd name="T72" fmla="*/ 538 w 541"/>
                  <a:gd name="T73" fmla="*/ 1385 h 1926"/>
                  <a:gd name="T74" fmla="*/ 541 w 541"/>
                  <a:gd name="T75" fmla="*/ 1526 h 1926"/>
                  <a:gd name="T76" fmla="*/ 540 w 541"/>
                  <a:gd name="T77" fmla="*/ 1693 h 1926"/>
                  <a:gd name="T78" fmla="*/ 534 w 541"/>
                  <a:gd name="T79" fmla="*/ 1821 h 1926"/>
                  <a:gd name="T80" fmla="*/ 530 w 541"/>
                  <a:gd name="T81" fmla="*/ 1899 h 1926"/>
                  <a:gd name="T82" fmla="*/ 527 w 541"/>
                  <a:gd name="T83" fmla="*/ 1918 h 1926"/>
                  <a:gd name="T84" fmla="*/ 520 w 541"/>
                  <a:gd name="T85" fmla="*/ 1925 h 1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1" h="1926">
                    <a:moveTo>
                      <a:pt x="515" y="1926"/>
                    </a:moveTo>
                    <a:lnTo>
                      <a:pt x="515" y="1926"/>
                    </a:lnTo>
                    <a:lnTo>
                      <a:pt x="514" y="1926"/>
                    </a:lnTo>
                    <a:lnTo>
                      <a:pt x="508" y="1925"/>
                    </a:lnTo>
                    <a:lnTo>
                      <a:pt x="505" y="1922"/>
                    </a:lnTo>
                    <a:lnTo>
                      <a:pt x="502" y="1917"/>
                    </a:lnTo>
                    <a:lnTo>
                      <a:pt x="502" y="1912"/>
                    </a:lnTo>
                    <a:lnTo>
                      <a:pt x="502" y="1901"/>
                    </a:lnTo>
                    <a:lnTo>
                      <a:pt x="504" y="1873"/>
                    </a:lnTo>
                    <a:lnTo>
                      <a:pt x="507" y="1830"/>
                    </a:lnTo>
                    <a:lnTo>
                      <a:pt x="510" y="1773"/>
                    </a:lnTo>
                    <a:lnTo>
                      <a:pt x="512" y="1703"/>
                    </a:lnTo>
                    <a:lnTo>
                      <a:pt x="513" y="1626"/>
                    </a:lnTo>
                    <a:lnTo>
                      <a:pt x="514" y="1538"/>
                    </a:lnTo>
                    <a:lnTo>
                      <a:pt x="512" y="1445"/>
                    </a:lnTo>
                    <a:lnTo>
                      <a:pt x="510" y="1397"/>
                    </a:lnTo>
                    <a:lnTo>
                      <a:pt x="507" y="1347"/>
                    </a:lnTo>
                    <a:lnTo>
                      <a:pt x="505" y="1298"/>
                    </a:lnTo>
                    <a:lnTo>
                      <a:pt x="501" y="1247"/>
                    </a:lnTo>
                    <a:lnTo>
                      <a:pt x="497" y="1196"/>
                    </a:lnTo>
                    <a:lnTo>
                      <a:pt x="491" y="1145"/>
                    </a:lnTo>
                    <a:lnTo>
                      <a:pt x="485" y="1096"/>
                    </a:lnTo>
                    <a:lnTo>
                      <a:pt x="477" y="1045"/>
                    </a:lnTo>
                    <a:lnTo>
                      <a:pt x="470" y="996"/>
                    </a:lnTo>
                    <a:lnTo>
                      <a:pt x="460" y="948"/>
                    </a:lnTo>
                    <a:lnTo>
                      <a:pt x="449" y="900"/>
                    </a:lnTo>
                    <a:lnTo>
                      <a:pt x="437" y="854"/>
                    </a:lnTo>
                    <a:lnTo>
                      <a:pt x="424" y="810"/>
                    </a:lnTo>
                    <a:lnTo>
                      <a:pt x="410" y="768"/>
                    </a:lnTo>
                    <a:lnTo>
                      <a:pt x="394" y="727"/>
                    </a:lnTo>
                    <a:lnTo>
                      <a:pt x="377" y="689"/>
                    </a:lnTo>
                    <a:lnTo>
                      <a:pt x="343" y="621"/>
                    </a:lnTo>
                    <a:lnTo>
                      <a:pt x="310" y="555"/>
                    </a:lnTo>
                    <a:lnTo>
                      <a:pt x="276" y="491"/>
                    </a:lnTo>
                    <a:lnTo>
                      <a:pt x="244" y="430"/>
                    </a:lnTo>
                    <a:lnTo>
                      <a:pt x="180" y="317"/>
                    </a:lnTo>
                    <a:lnTo>
                      <a:pt x="123" y="218"/>
                    </a:lnTo>
                    <a:lnTo>
                      <a:pt x="74" y="136"/>
                    </a:lnTo>
                    <a:lnTo>
                      <a:pt x="37" y="75"/>
                    </a:lnTo>
                    <a:lnTo>
                      <a:pt x="11" y="35"/>
                    </a:lnTo>
                    <a:lnTo>
                      <a:pt x="2" y="21"/>
                    </a:lnTo>
                    <a:lnTo>
                      <a:pt x="0" y="15"/>
                    </a:lnTo>
                    <a:lnTo>
                      <a:pt x="0" y="10"/>
                    </a:lnTo>
                    <a:lnTo>
                      <a:pt x="2" y="5"/>
                    </a:lnTo>
                    <a:lnTo>
                      <a:pt x="5" y="2"/>
                    </a:lnTo>
                    <a:lnTo>
                      <a:pt x="11" y="0"/>
                    </a:lnTo>
                    <a:lnTo>
                      <a:pt x="16" y="0"/>
                    </a:lnTo>
                    <a:lnTo>
                      <a:pt x="20" y="2"/>
                    </a:lnTo>
                    <a:lnTo>
                      <a:pt x="25" y="5"/>
                    </a:lnTo>
                    <a:lnTo>
                      <a:pt x="33" y="21"/>
                    </a:lnTo>
                    <a:lnTo>
                      <a:pt x="59" y="61"/>
                    </a:lnTo>
                    <a:lnTo>
                      <a:pt x="97" y="122"/>
                    </a:lnTo>
                    <a:lnTo>
                      <a:pt x="147" y="204"/>
                    </a:lnTo>
                    <a:lnTo>
                      <a:pt x="204" y="303"/>
                    </a:lnTo>
                    <a:lnTo>
                      <a:pt x="268" y="417"/>
                    </a:lnTo>
                    <a:lnTo>
                      <a:pt x="300" y="478"/>
                    </a:lnTo>
                    <a:lnTo>
                      <a:pt x="333" y="542"/>
                    </a:lnTo>
                    <a:lnTo>
                      <a:pt x="368" y="609"/>
                    </a:lnTo>
                    <a:lnTo>
                      <a:pt x="402" y="677"/>
                    </a:lnTo>
                    <a:lnTo>
                      <a:pt x="419" y="716"/>
                    </a:lnTo>
                    <a:lnTo>
                      <a:pt x="435" y="757"/>
                    </a:lnTo>
                    <a:lnTo>
                      <a:pt x="450" y="799"/>
                    </a:lnTo>
                    <a:lnTo>
                      <a:pt x="463" y="844"/>
                    </a:lnTo>
                    <a:lnTo>
                      <a:pt x="475" y="890"/>
                    </a:lnTo>
                    <a:lnTo>
                      <a:pt x="486" y="937"/>
                    </a:lnTo>
                    <a:lnTo>
                      <a:pt x="495" y="986"/>
                    </a:lnTo>
                    <a:lnTo>
                      <a:pt x="504" y="1035"/>
                    </a:lnTo>
                    <a:lnTo>
                      <a:pt x="512" y="1085"/>
                    </a:lnTo>
                    <a:lnTo>
                      <a:pt x="518" y="1135"/>
                    </a:lnTo>
                    <a:lnTo>
                      <a:pt x="524" y="1185"/>
                    </a:lnTo>
                    <a:lnTo>
                      <a:pt x="528" y="1236"/>
                    </a:lnTo>
                    <a:lnTo>
                      <a:pt x="532" y="1286"/>
                    </a:lnTo>
                    <a:lnTo>
                      <a:pt x="535" y="1335"/>
                    </a:lnTo>
                    <a:lnTo>
                      <a:pt x="538" y="1385"/>
                    </a:lnTo>
                    <a:lnTo>
                      <a:pt x="540" y="1434"/>
                    </a:lnTo>
                    <a:lnTo>
                      <a:pt x="541" y="1526"/>
                    </a:lnTo>
                    <a:lnTo>
                      <a:pt x="541" y="1614"/>
                    </a:lnTo>
                    <a:lnTo>
                      <a:pt x="540" y="1693"/>
                    </a:lnTo>
                    <a:lnTo>
                      <a:pt x="538" y="1763"/>
                    </a:lnTo>
                    <a:lnTo>
                      <a:pt x="534" y="1821"/>
                    </a:lnTo>
                    <a:lnTo>
                      <a:pt x="532" y="1868"/>
                    </a:lnTo>
                    <a:lnTo>
                      <a:pt x="530" y="1899"/>
                    </a:lnTo>
                    <a:lnTo>
                      <a:pt x="529" y="1914"/>
                    </a:lnTo>
                    <a:lnTo>
                      <a:pt x="527" y="1918"/>
                    </a:lnTo>
                    <a:lnTo>
                      <a:pt x="525" y="1923"/>
                    </a:lnTo>
                    <a:lnTo>
                      <a:pt x="520" y="1925"/>
                    </a:lnTo>
                    <a:lnTo>
                      <a:pt x="515" y="19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82"/>
              <p:cNvSpPr>
                <a:spLocks/>
              </p:cNvSpPr>
              <p:nvPr userDrawn="1"/>
            </p:nvSpPr>
            <p:spPr bwMode="auto">
              <a:xfrm>
                <a:off x="1884" y="2558"/>
                <a:ext cx="141" cy="507"/>
              </a:xfrm>
              <a:custGeom>
                <a:avLst/>
                <a:gdLst>
                  <a:gd name="T0" fmla="*/ 405 w 423"/>
                  <a:gd name="T1" fmla="*/ 1521 h 1522"/>
                  <a:gd name="T2" fmla="*/ 397 w 423"/>
                  <a:gd name="T3" fmla="*/ 1514 h 1522"/>
                  <a:gd name="T4" fmla="*/ 396 w 423"/>
                  <a:gd name="T5" fmla="*/ 1498 h 1522"/>
                  <a:gd name="T6" fmla="*/ 392 w 423"/>
                  <a:gd name="T7" fmla="*/ 1424 h 1522"/>
                  <a:gd name="T8" fmla="*/ 381 w 423"/>
                  <a:gd name="T9" fmla="*/ 1290 h 1522"/>
                  <a:gd name="T10" fmla="*/ 365 w 423"/>
                  <a:gd name="T11" fmla="*/ 1157 h 1522"/>
                  <a:gd name="T12" fmla="*/ 350 w 423"/>
                  <a:gd name="T13" fmla="*/ 1057 h 1522"/>
                  <a:gd name="T14" fmla="*/ 331 w 423"/>
                  <a:gd name="T15" fmla="*/ 948 h 1522"/>
                  <a:gd name="T16" fmla="*/ 306 w 423"/>
                  <a:gd name="T17" fmla="*/ 832 h 1522"/>
                  <a:gd name="T18" fmla="*/ 277 w 423"/>
                  <a:gd name="T19" fmla="*/ 711 h 1522"/>
                  <a:gd name="T20" fmla="*/ 243 w 423"/>
                  <a:gd name="T21" fmla="*/ 587 h 1522"/>
                  <a:gd name="T22" fmla="*/ 202 w 423"/>
                  <a:gd name="T23" fmla="*/ 460 h 1522"/>
                  <a:gd name="T24" fmla="*/ 154 w 423"/>
                  <a:gd name="T25" fmla="*/ 332 h 1522"/>
                  <a:gd name="T26" fmla="*/ 99 w 423"/>
                  <a:gd name="T27" fmla="*/ 205 h 1522"/>
                  <a:gd name="T28" fmla="*/ 35 w 423"/>
                  <a:gd name="T29" fmla="*/ 81 h 1522"/>
                  <a:gd name="T30" fmla="*/ 0 w 423"/>
                  <a:gd name="T31" fmla="*/ 15 h 1522"/>
                  <a:gd name="T32" fmla="*/ 2 w 423"/>
                  <a:gd name="T33" fmla="*/ 5 h 1522"/>
                  <a:gd name="T34" fmla="*/ 12 w 423"/>
                  <a:gd name="T35" fmla="*/ 0 h 1522"/>
                  <a:gd name="T36" fmla="*/ 21 w 423"/>
                  <a:gd name="T37" fmla="*/ 2 h 1522"/>
                  <a:gd name="T38" fmla="*/ 59 w 423"/>
                  <a:gd name="T39" fmla="*/ 68 h 1522"/>
                  <a:gd name="T40" fmla="*/ 123 w 423"/>
                  <a:gd name="T41" fmla="*/ 193 h 1522"/>
                  <a:gd name="T42" fmla="*/ 179 w 423"/>
                  <a:gd name="T43" fmla="*/ 321 h 1522"/>
                  <a:gd name="T44" fmla="*/ 226 w 423"/>
                  <a:gd name="T45" fmla="*/ 450 h 1522"/>
                  <a:gd name="T46" fmla="*/ 269 w 423"/>
                  <a:gd name="T47" fmla="*/ 578 h 1522"/>
                  <a:gd name="T48" fmla="*/ 303 w 423"/>
                  <a:gd name="T49" fmla="*/ 704 h 1522"/>
                  <a:gd name="T50" fmla="*/ 333 w 423"/>
                  <a:gd name="T51" fmla="*/ 826 h 1522"/>
                  <a:gd name="T52" fmla="*/ 357 w 423"/>
                  <a:gd name="T53" fmla="*/ 942 h 1522"/>
                  <a:gd name="T54" fmla="*/ 377 w 423"/>
                  <a:gd name="T55" fmla="*/ 1052 h 1522"/>
                  <a:gd name="T56" fmla="*/ 392 w 423"/>
                  <a:gd name="T57" fmla="*/ 1154 h 1522"/>
                  <a:gd name="T58" fmla="*/ 408 w 423"/>
                  <a:gd name="T59" fmla="*/ 1288 h 1522"/>
                  <a:gd name="T60" fmla="*/ 419 w 423"/>
                  <a:gd name="T61" fmla="*/ 1423 h 1522"/>
                  <a:gd name="T62" fmla="*/ 423 w 423"/>
                  <a:gd name="T63" fmla="*/ 1497 h 1522"/>
                  <a:gd name="T64" fmla="*/ 422 w 423"/>
                  <a:gd name="T65" fmla="*/ 1514 h 1522"/>
                  <a:gd name="T66" fmla="*/ 415 w 423"/>
                  <a:gd name="T67" fmla="*/ 1521 h 1522"/>
                  <a:gd name="T68" fmla="*/ 410 w 423"/>
                  <a:gd name="T69" fmla="*/ 1522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3" h="1522">
                    <a:moveTo>
                      <a:pt x="410" y="1522"/>
                    </a:moveTo>
                    <a:lnTo>
                      <a:pt x="405" y="1521"/>
                    </a:lnTo>
                    <a:lnTo>
                      <a:pt x="400" y="1519"/>
                    </a:lnTo>
                    <a:lnTo>
                      <a:pt x="397" y="1514"/>
                    </a:lnTo>
                    <a:lnTo>
                      <a:pt x="396" y="1509"/>
                    </a:lnTo>
                    <a:lnTo>
                      <a:pt x="396" y="1498"/>
                    </a:lnTo>
                    <a:lnTo>
                      <a:pt x="395" y="1469"/>
                    </a:lnTo>
                    <a:lnTo>
                      <a:pt x="392" y="1424"/>
                    </a:lnTo>
                    <a:lnTo>
                      <a:pt x="387" y="1363"/>
                    </a:lnTo>
                    <a:lnTo>
                      <a:pt x="381" y="1290"/>
                    </a:lnTo>
                    <a:lnTo>
                      <a:pt x="371" y="1204"/>
                    </a:lnTo>
                    <a:lnTo>
                      <a:pt x="365" y="1157"/>
                    </a:lnTo>
                    <a:lnTo>
                      <a:pt x="358" y="1108"/>
                    </a:lnTo>
                    <a:lnTo>
                      <a:pt x="350" y="1057"/>
                    </a:lnTo>
                    <a:lnTo>
                      <a:pt x="341" y="1003"/>
                    </a:lnTo>
                    <a:lnTo>
                      <a:pt x="331" y="948"/>
                    </a:lnTo>
                    <a:lnTo>
                      <a:pt x="319" y="890"/>
                    </a:lnTo>
                    <a:lnTo>
                      <a:pt x="306" y="832"/>
                    </a:lnTo>
                    <a:lnTo>
                      <a:pt x="292" y="772"/>
                    </a:lnTo>
                    <a:lnTo>
                      <a:pt x="277" y="711"/>
                    </a:lnTo>
                    <a:lnTo>
                      <a:pt x="261" y="650"/>
                    </a:lnTo>
                    <a:lnTo>
                      <a:pt x="243" y="587"/>
                    </a:lnTo>
                    <a:lnTo>
                      <a:pt x="223" y="523"/>
                    </a:lnTo>
                    <a:lnTo>
                      <a:pt x="202" y="460"/>
                    </a:lnTo>
                    <a:lnTo>
                      <a:pt x="179" y="396"/>
                    </a:lnTo>
                    <a:lnTo>
                      <a:pt x="154" y="332"/>
                    </a:lnTo>
                    <a:lnTo>
                      <a:pt x="127" y="269"/>
                    </a:lnTo>
                    <a:lnTo>
                      <a:pt x="99" y="205"/>
                    </a:lnTo>
                    <a:lnTo>
                      <a:pt x="68" y="142"/>
                    </a:lnTo>
                    <a:lnTo>
                      <a:pt x="35" y="81"/>
                    </a:lnTo>
                    <a:lnTo>
                      <a:pt x="1" y="20"/>
                    </a:lnTo>
                    <a:lnTo>
                      <a:pt x="0" y="15"/>
                    </a:lnTo>
                    <a:lnTo>
                      <a:pt x="0" y="10"/>
                    </a:lnTo>
                    <a:lnTo>
                      <a:pt x="2" y="5"/>
                    </a:lnTo>
                    <a:lnTo>
                      <a:pt x="6" y="1"/>
                    </a:lnTo>
                    <a:lnTo>
                      <a:pt x="12" y="0"/>
                    </a:lnTo>
                    <a:lnTo>
                      <a:pt x="16" y="0"/>
                    </a:lnTo>
                    <a:lnTo>
                      <a:pt x="21" y="2"/>
                    </a:lnTo>
                    <a:lnTo>
                      <a:pt x="25" y="6"/>
                    </a:lnTo>
                    <a:lnTo>
                      <a:pt x="59" y="68"/>
                    </a:lnTo>
                    <a:lnTo>
                      <a:pt x="93" y="130"/>
                    </a:lnTo>
                    <a:lnTo>
                      <a:pt x="123" y="193"/>
                    </a:lnTo>
                    <a:lnTo>
                      <a:pt x="152" y="257"/>
                    </a:lnTo>
                    <a:lnTo>
                      <a:pt x="179" y="321"/>
                    </a:lnTo>
                    <a:lnTo>
                      <a:pt x="204" y="386"/>
                    </a:lnTo>
                    <a:lnTo>
                      <a:pt x="226" y="450"/>
                    </a:lnTo>
                    <a:lnTo>
                      <a:pt x="248" y="515"/>
                    </a:lnTo>
                    <a:lnTo>
                      <a:pt x="269" y="578"/>
                    </a:lnTo>
                    <a:lnTo>
                      <a:pt x="287" y="641"/>
                    </a:lnTo>
                    <a:lnTo>
                      <a:pt x="303" y="704"/>
                    </a:lnTo>
                    <a:lnTo>
                      <a:pt x="319" y="765"/>
                    </a:lnTo>
                    <a:lnTo>
                      <a:pt x="333" y="826"/>
                    </a:lnTo>
                    <a:lnTo>
                      <a:pt x="345" y="885"/>
                    </a:lnTo>
                    <a:lnTo>
                      <a:pt x="357" y="942"/>
                    </a:lnTo>
                    <a:lnTo>
                      <a:pt x="368" y="998"/>
                    </a:lnTo>
                    <a:lnTo>
                      <a:pt x="377" y="1052"/>
                    </a:lnTo>
                    <a:lnTo>
                      <a:pt x="385" y="1104"/>
                    </a:lnTo>
                    <a:lnTo>
                      <a:pt x="392" y="1154"/>
                    </a:lnTo>
                    <a:lnTo>
                      <a:pt x="398" y="1201"/>
                    </a:lnTo>
                    <a:lnTo>
                      <a:pt x="408" y="1288"/>
                    </a:lnTo>
                    <a:lnTo>
                      <a:pt x="414" y="1362"/>
                    </a:lnTo>
                    <a:lnTo>
                      <a:pt x="419" y="1423"/>
                    </a:lnTo>
                    <a:lnTo>
                      <a:pt x="422" y="1468"/>
                    </a:lnTo>
                    <a:lnTo>
                      <a:pt x="423" y="1497"/>
                    </a:lnTo>
                    <a:lnTo>
                      <a:pt x="423" y="1509"/>
                    </a:lnTo>
                    <a:lnTo>
                      <a:pt x="422" y="1514"/>
                    </a:lnTo>
                    <a:lnTo>
                      <a:pt x="420" y="1519"/>
                    </a:lnTo>
                    <a:lnTo>
                      <a:pt x="415" y="1521"/>
                    </a:lnTo>
                    <a:lnTo>
                      <a:pt x="410" y="1522"/>
                    </a:lnTo>
                    <a:lnTo>
                      <a:pt x="410" y="1522"/>
                    </a:lnTo>
                    <a:lnTo>
                      <a:pt x="410" y="15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83"/>
              <p:cNvSpPr>
                <a:spLocks/>
              </p:cNvSpPr>
              <p:nvPr userDrawn="1"/>
            </p:nvSpPr>
            <p:spPr bwMode="auto">
              <a:xfrm>
                <a:off x="2032" y="2814"/>
                <a:ext cx="69" cy="256"/>
              </a:xfrm>
              <a:custGeom>
                <a:avLst/>
                <a:gdLst>
                  <a:gd name="T0" fmla="*/ 188 w 205"/>
                  <a:gd name="T1" fmla="*/ 768 h 768"/>
                  <a:gd name="T2" fmla="*/ 188 w 205"/>
                  <a:gd name="T3" fmla="*/ 768 h 768"/>
                  <a:gd name="T4" fmla="*/ 186 w 205"/>
                  <a:gd name="T5" fmla="*/ 768 h 768"/>
                  <a:gd name="T6" fmla="*/ 181 w 205"/>
                  <a:gd name="T7" fmla="*/ 766 h 768"/>
                  <a:gd name="T8" fmla="*/ 178 w 205"/>
                  <a:gd name="T9" fmla="*/ 762 h 768"/>
                  <a:gd name="T10" fmla="*/ 175 w 205"/>
                  <a:gd name="T11" fmla="*/ 758 h 768"/>
                  <a:gd name="T12" fmla="*/ 175 w 205"/>
                  <a:gd name="T13" fmla="*/ 753 h 768"/>
                  <a:gd name="T14" fmla="*/ 176 w 205"/>
                  <a:gd name="T15" fmla="*/ 736 h 768"/>
                  <a:gd name="T16" fmla="*/ 178 w 205"/>
                  <a:gd name="T17" fmla="*/ 689 h 768"/>
                  <a:gd name="T18" fmla="*/ 178 w 205"/>
                  <a:gd name="T19" fmla="*/ 656 h 768"/>
                  <a:gd name="T20" fmla="*/ 177 w 205"/>
                  <a:gd name="T21" fmla="*/ 617 h 768"/>
                  <a:gd name="T22" fmla="*/ 173 w 205"/>
                  <a:gd name="T23" fmla="*/ 573 h 768"/>
                  <a:gd name="T24" fmla="*/ 168 w 205"/>
                  <a:gd name="T25" fmla="*/ 524 h 768"/>
                  <a:gd name="T26" fmla="*/ 165 w 205"/>
                  <a:gd name="T27" fmla="*/ 498 h 768"/>
                  <a:gd name="T28" fmla="*/ 161 w 205"/>
                  <a:gd name="T29" fmla="*/ 471 h 768"/>
                  <a:gd name="T30" fmla="*/ 156 w 205"/>
                  <a:gd name="T31" fmla="*/ 443 h 768"/>
                  <a:gd name="T32" fmla="*/ 151 w 205"/>
                  <a:gd name="T33" fmla="*/ 414 h 768"/>
                  <a:gd name="T34" fmla="*/ 144 w 205"/>
                  <a:gd name="T35" fmla="*/ 384 h 768"/>
                  <a:gd name="T36" fmla="*/ 137 w 205"/>
                  <a:gd name="T37" fmla="*/ 353 h 768"/>
                  <a:gd name="T38" fmla="*/ 128 w 205"/>
                  <a:gd name="T39" fmla="*/ 322 h 768"/>
                  <a:gd name="T40" fmla="*/ 118 w 205"/>
                  <a:gd name="T41" fmla="*/ 291 h 768"/>
                  <a:gd name="T42" fmla="*/ 109 w 205"/>
                  <a:gd name="T43" fmla="*/ 258 h 768"/>
                  <a:gd name="T44" fmla="*/ 97 w 205"/>
                  <a:gd name="T45" fmla="*/ 225 h 768"/>
                  <a:gd name="T46" fmla="*/ 84 w 205"/>
                  <a:gd name="T47" fmla="*/ 191 h 768"/>
                  <a:gd name="T48" fmla="*/ 70 w 205"/>
                  <a:gd name="T49" fmla="*/ 158 h 768"/>
                  <a:gd name="T50" fmla="*/ 55 w 205"/>
                  <a:gd name="T51" fmla="*/ 125 h 768"/>
                  <a:gd name="T52" fmla="*/ 38 w 205"/>
                  <a:gd name="T53" fmla="*/ 90 h 768"/>
                  <a:gd name="T54" fmla="*/ 20 w 205"/>
                  <a:gd name="T55" fmla="*/ 55 h 768"/>
                  <a:gd name="T56" fmla="*/ 1 w 205"/>
                  <a:gd name="T57" fmla="*/ 21 h 768"/>
                  <a:gd name="T58" fmla="*/ 0 w 205"/>
                  <a:gd name="T59" fmla="*/ 15 h 768"/>
                  <a:gd name="T60" fmla="*/ 0 w 205"/>
                  <a:gd name="T61" fmla="*/ 10 h 768"/>
                  <a:gd name="T62" fmla="*/ 2 w 205"/>
                  <a:gd name="T63" fmla="*/ 6 h 768"/>
                  <a:gd name="T64" fmla="*/ 6 w 205"/>
                  <a:gd name="T65" fmla="*/ 3 h 768"/>
                  <a:gd name="T66" fmla="*/ 11 w 205"/>
                  <a:gd name="T67" fmla="*/ 0 h 768"/>
                  <a:gd name="T68" fmla="*/ 16 w 205"/>
                  <a:gd name="T69" fmla="*/ 1 h 768"/>
                  <a:gd name="T70" fmla="*/ 21 w 205"/>
                  <a:gd name="T71" fmla="*/ 4 h 768"/>
                  <a:gd name="T72" fmla="*/ 24 w 205"/>
                  <a:gd name="T73" fmla="*/ 7 h 768"/>
                  <a:gd name="T74" fmla="*/ 44 w 205"/>
                  <a:gd name="T75" fmla="*/ 42 h 768"/>
                  <a:gd name="T76" fmla="*/ 62 w 205"/>
                  <a:gd name="T77" fmla="*/ 78 h 768"/>
                  <a:gd name="T78" fmla="*/ 80 w 205"/>
                  <a:gd name="T79" fmla="*/ 113 h 768"/>
                  <a:gd name="T80" fmla="*/ 95 w 205"/>
                  <a:gd name="T81" fmla="*/ 148 h 768"/>
                  <a:gd name="T82" fmla="*/ 110 w 205"/>
                  <a:gd name="T83" fmla="*/ 182 h 768"/>
                  <a:gd name="T84" fmla="*/ 123 w 205"/>
                  <a:gd name="T85" fmla="*/ 216 h 768"/>
                  <a:gd name="T86" fmla="*/ 135 w 205"/>
                  <a:gd name="T87" fmla="*/ 250 h 768"/>
                  <a:gd name="T88" fmla="*/ 144 w 205"/>
                  <a:gd name="T89" fmla="*/ 283 h 768"/>
                  <a:gd name="T90" fmla="*/ 154 w 205"/>
                  <a:gd name="T91" fmla="*/ 316 h 768"/>
                  <a:gd name="T92" fmla="*/ 163 w 205"/>
                  <a:gd name="T93" fmla="*/ 348 h 768"/>
                  <a:gd name="T94" fmla="*/ 170 w 205"/>
                  <a:gd name="T95" fmla="*/ 378 h 768"/>
                  <a:gd name="T96" fmla="*/ 177 w 205"/>
                  <a:gd name="T97" fmla="*/ 410 h 768"/>
                  <a:gd name="T98" fmla="*/ 183 w 205"/>
                  <a:gd name="T99" fmla="*/ 439 h 768"/>
                  <a:gd name="T100" fmla="*/ 188 w 205"/>
                  <a:gd name="T101" fmla="*/ 468 h 768"/>
                  <a:gd name="T102" fmla="*/ 192 w 205"/>
                  <a:gd name="T103" fmla="*/ 495 h 768"/>
                  <a:gd name="T104" fmla="*/ 195 w 205"/>
                  <a:gd name="T105" fmla="*/ 522 h 768"/>
                  <a:gd name="T106" fmla="*/ 200 w 205"/>
                  <a:gd name="T107" fmla="*/ 571 h 768"/>
                  <a:gd name="T108" fmla="*/ 204 w 205"/>
                  <a:gd name="T109" fmla="*/ 617 h 768"/>
                  <a:gd name="T110" fmla="*/ 205 w 205"/>
                  <a:gd name="T111" fmla="*/ 657 h 768"/>
                  <a:gd name="T112" fmla="*/ 205 w 205"/>
                  <a:gd name="T113" fmla="*/ 690 h 768"/>
                  <a:gd name="T114" fmla="*/ 203 w 205"/>
                  <a:gd name="T115" fmla="*/ 738 h 768"/>
                  <a:gd name="T116" fmla="*/ 202 w 205"/>
                  <a:gd name="T117" fmla="*/ 756 h 768"/>
                  <a:gd name="T118" fmla="*/ 199 w 205"/>
                  <a:gd name="T119" fmla="*/ 760 h 768"/>
                  <a:gd name="T120" fmla="*/ 197 w 205"/>
                  <a:gd name="T121" fmla="*/ 765 h 768"/>
                  <a:gd name="T122" fmla="*/ 193 w 205"/>
                  <a:gd name="T123" fmla="*/ 767 h 768"/>
                  <a:gd name="T124" fmla="*/ 188 w 205"/>
                  <a:gd name="T125" fmla="*/ 768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768">
                    <a:moveTo>
                      <a:pt x="188" y="768"/>
                    </a:moveTo>
                    <a:lnTo>
                      <a:pt x="188" y="768"/>
                    </a:lnTo>
                    <a:lnTo>
                      <a:pt x="186" y="768"/>
                    </a:lnTo>
                    <a:lnTo>
                      <a:pt x="181" y="766"/>
                    </a:lnTo>
                    <a:lnTo>
                      <a:pt x="178" y="762"/>
                    </a:lnTo>
                    <a:lnTo>
                      <a:pt x="175" y="758"/>
                    </a:lnTo>
                    <a:lnTo>
                      <a:pt x="175" y="753"/>
                    </a:lnTo>
                    <a:lnTo>
                      <a:pt x="176" y="736"/>
                    </a:lnTo>
                    <a:lnTo>
                      <a:pt x="178" y="689"/>
                    </a:lnTo>
                    <a:lnTo>
                      <a:pt x="178" y="656"/>
                    </a:lnTo>
                    <a:lnTo>
                      <a:pt x="177" y="617"/>
                    </a:lnTo>
                    <a:lnTo>
                      <a:pt x="173" y="573"/>
                    </a:lnTo>
                    <a:lnTo>
                      <a:pt x="168" y="524"/>
                    </a:lnTo>
                    <a:lnTo>
                      <a:pt x="165" y="498"/>
                    </a:lnTo>
                    <a:lnTo>
                      <a:pt x="161" y="471"/>
                    </a:lnTo>
                    <a:lnTo>
                      <a:pt x="156" y="443"/>
                    </a:lnTo>
                    <a:lnTo>
                      <a:pt x="151" y="414"/>
                    </a:lnTo>
                    <a:lnTo>
                      <a:pt x="144" y="384"/>
                    </a:lnTo>
                    <a:lnTo>
                      <a:pt x="137" y="353"/>
                    </a:lnTo>
                    <a:lnTo>
                      <a:pt x="128" y="322"/>
                    </a:lnTo>
                    <a:lnTo>
                      <a:pt x="118" y="291"/>
                    </a:lnTo>
                    <a:lnTo>
                      <a:pt x="109" y="258"/>
                    </a:lnTo>
                    <a:lnTo>
                      <a:pt x="97" y="225"/>
                    </a:lnTo>
                    <a:lnTo>
                      <a:pt x="84" y="191"/>
                    </a:lnTo>
                    <a:lnTo>
                      <a:pt x="70" y="158"/>
                    </a:lnTo>
                    <a:lnTo>
                      <a:pt x="55" y="125"/>
                    </a:lnTo>
                    <a:lnTo>
                      <a:pt x="38" y="90"/>
                    </a:lnTo>
                    <a:lnTo>
                      <a:pt x="20" y="55"/>
                    </a:lnTo>
                    <a:lnTo>
                      <a:pt x="1" y="21"/>
                    </a:lnTo>
                    <a:lnTo>
                      <a:pt x="0" y="15"/>
                    </a:lnTo>
                    <a:lnTo>
                      <a:pt x="0" y="10"/>
                    </a:lnTo>
                    <a:lnTo>
                      <a:pt x="2" y="6"/>
                    </a:lnTo>
                    <a:lnTo>
                      <a:pt x="6" y="3"/>
                    </a:lnTo>
                    <a:lnTo>
                      <a:pt x="11" y="0"/>
                    </a:lnTo>
                    <a:lnTo>
                      <a:pt x="16" y="1"/>
                    </a:lnTo>
                    <a:lnTo>
                      <a:pt x="21" y="4"/>
                    </a:lnTo>
                    <a:lnTo>
                      <a:pt x="24" y="7"/>
                    </a:lnTo>
                    <a:lnTo>
                      <a:pt x="44" y="42"/>
                    </a:lnTo>
                    <a:lnTo>
                      <a:pt x="62" y="78"/>
                    </a:lnTo>
                    <a:lnTo>
                      <a:pt x="80" y="113"/>
                    </a:lnTo>
                    <a:lnTo>
                      <a:pt x="95" y="148"/>
                    </a:lnTo>
                    <a:lnTo>
                      <a:pt x="110" y="182"/>
                    </a:lnTo>
                    <a:lnTo>
                      <a:pt x="123" y="216"/>
                    </a:lnTo>
                    <a:lnTo>
                      <a:pt x="135" y="250"/>
                    </a:lnTo>
                    <a:lnTo>
                      <a:pt x="144" y="283"/>
                    </a:lnTo>
                    <a:lnTo>
                      <a:pt x="154" y="316"/>
                    </a:lnTo>
                    <a:lnTo>
                      <a:pt x="163" y="348"/>
                    </a:lnTo>
                    <a:lnTo>
                      <a:pt x="170" y="378"/>
                    </a:lnTo>
                    <a:lnTo>
                      <a:pt x="177" y="410"/>
                    </a:lnTo>
                    <a:lnTo>
                      <a:pt x="183" y="439"/>
                    </a:lnTo>
                    <a:lnTo>
                      <a:pt x="188" y="468"/>
                    </a:lnTo>
                    <a:lnTo>
                      <a:pt x="192" y="495"/>
                    </a:lnTo>
                    <a:lnTo>
                      <a:pt x="195" y="522"/>
                    </a:lnTo>
                    <a:lnTo>
                      <a:pt x="200" y="571"/>
                    </a:lnTo>
                    <a:lnTo>
                      <a:pt x="204" y="617"/>
                    </a:lnTo>
                    <a:lnTo>
                      <a:pt x="205" y="657"/>
                    </a:lnTo>
                    <a:lnTo>
                      <a:pt x="205" y="690"/>
                    </a:lnTo>
                    <a:lnTo>
                      <a:pt x="203" y="738"/>
                    </a:lnTo>
                    <a:lnTo>
                      <a:pt x="202" y="756"/>
                    </a:lnTo>
                    <a:lnTo>
                      <a:pt x="199" y="760"/>
                    </a:lnTo>
                    <a:lnTo>
                      <a:pt x="197" y="765"/>
                    </a:lnTo>
                    <a:lnTo>
                      <a:pt x="193" y="767"/>
                    </a:lnTo>
                    <a:lnTo>
                      <a:pt x="188" y="7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84"/>
              <p:cNvSpPr>
                <a:spLocks noEditPoints="1"/>
              </p:cNvSpPr>
              <p:nvPr userDrawn="1"/>
            </p:nvSpPr>
            <p:spPr bwMode="auto">
              <a:xfrm>
                <a:off x="1552" y="1929"/>
                <a:ext cx="193" cy="300"/>
              </a:xfrm>
              <a:custGeom>
                <a:avLst/>
                <a:gdLst>
                  <a:gd name="T0" fmla="*/ 201 w 579"/>
                  <a:gd name="T1" fmla="*/ 898 h 900"/>
                  <a:gd name="T2" fmla="*/ 139 w 579"/>
                  <a:gd name="T3" fmla="*/ 875 h 900"/>
                  <a:gd name="T4" fmla="*/ 83 w 579"/>
                  <a:gd name="T5" fmla="*/ 826 h 900"/>
                  <a:gd name="T6" fmla="*/ 41 w 579"/>
                  <a:gd name="T7" fmla="*/ 757 h 900"/>
                  <a:gd name="T8" fmla="*/ 13 w 579"/>
                  <a:gd name="T9" fmla="*/ 669 h 900"/>
                  <a:gd name="T10" fmla="*/ 1 w 579"/>
                  <a:gd name="T11" fmla="*/ 569 h 900"/>
                  <a:gd name="T12" fmla="*/ 5 w 579"/>
                  <a:gd name="T13" fmla="*/ 459 h 900"/>
                  <a:gd name="T14" fmla="*/ 28 w 579"/>
                  <a:gd name="T15" fmla="*/ 350 h 900"/>
                  <a:gd name="T16" fmla="*/ 62 w 579"/>
                  <a:gd name="T17" fmla="*/ 254 h 900"/>
                  <a:gd name="T18" fmla="*/ 107 w 579"/>
                  <a:gd name="T19" fmla="*/ 169 h 900"/>
                  <a:gd name="T20" fmla="*/ 161 w 579"/>
                  <a:gd name="T21" fmla="*/ 99 h 900"/>
                  <a:gd name="T22" fmla="*/ 220 w 579"/>
                  <a:gd name="T23" fmla="*/ 46 h 900"/>
                  <a:gd name="T24" fmla="*/ 284 w 579"/>
                  <a:gd name="T25" fmla="*/ 12 h 900"/>
                  <a:gd name="T26" fmla="*/ 350 w 579"/>
                  <a:gd name="T27" fmla="*/ 0 h 900"/>
                  <a:gd name="T28" fmla="*/ 402 w 579"/>
                  <a:gd name="T29" fmla="*/ 7 h 900"/>
                  <a:gd name="T30" fmla="*/ 464 w 579"/>
                  <a:gd name="T31" fmla="*/ 42 h 900"/>
                  <a:gd name="T32" fmla="*/ 514 w 579"/>
                  <a:gd name="T33" fmla="*/ 100 h 900"/>
                  <a:gd name="T34" fmla="*/ 551 w 579"/>
                  <a:gd name="T35" fmla="*/ 177 h 900"/>
                  <a:gd name="T36" fmla="*/ 573 w 579"/>
                  <a:gd name="T37" fmla="*/ 270 h 900"/>
                  <a:gd name="T38" fmla="*/ 579 w 579"/>
                  <a:gd name="T39" fmla="*/ 374 h 900"/>
                  <a:gd name="T40" fmla="*/ 567 w 579"/>
                  <a:gd name="T41" fmla="*/ 487 h 900"/>
                  <a:gd name="T42" fmla="*/ 539 w 579"/>
                  <a:gd name="T43" fmla="*/ 590 h 900"/>
                  <a:gd name="T44" fmla="*/ 500 w 579"/>
                  <a:gd name="T45" fmla="*/ 682 h 900"/>
                  <a:gd name="T46" fmla="*/ 451 w 579"/>
                  <a:gd name="T47" fmla="*/ 761 h 900"/>
                  <a:gd name="T48" fmla="*/ 395 w 579"/>
                  <a:gd name="T49" fmla="*/ 825 h 900"/>
                  <a:gd name="T50" fmla="*/ 334 w 579"/>
                  <a:gd name="T51" fmla="*/ 870 h 900"/>
                  <a:gd name="T52" fmla="*/ 269 w 579"/>
                  <a:gd name="T53" fmla="*/ 896 h 900"/>
                  <a:gd name="T54" fmla="*/ 350 w 579"/>
                  <a:gd name="T55" fmla="*/ 27 h 900"/>
                  <a:gd name="T56" fmla="*/ 289 w 579"/>
                  <a:gd name="T57" fmla="*/ 39 h 900"/>
                  <a:gd name="T58" fmla="*/ 231 w 579"/>
                  <a:gd name="T59" fmla="*/ 70 h 900"/>
                  <a:gd name="T60" fmla="*/ 176 w 579"/>
                  <a:gd name="T61" fmla="*/ 121 h 900"/>
                  <a:gd name="T62" fmla="*/ 127 w 579"/>
                  <a:gd name="T63" fmla="*/ 187 h 900"/>
                  <a:gd name="T64" fmla="*/ 59 w 579"/>
                  <a:gd name="T65" fmla="*/ 339 h 900"/>
                  <a:gd name="T66" fmla="*/ 36 w 579"/>
                  <a:gd name="T67" fmla="*/ 439 h 900"/>
                  <a:gd name="T68" fmla="*/ 27 w 579"/>
                  <a:gd name="T69" fmla="*/ 544 h 900"/>
                  <a:gd name="T70" fmla="*/ 35 w 579"/>
                  <a:gd name="T71" fmla="*/ 640 h 900"/>
                  <a:gd name="T72" fmla="*/ 56 w 579"/>
                  <a:gd name="T73" fmla="*/ 724 h 900"/>
                  <a:gd name="T74" fmla="*/ 92 w 579"/>
                  <a:gd name="T75" fmla="*/ 793 h 900"/>
                  <a:gd name="T76" fmla="*/ 139 w 579"/>
                  <a:gd name="T77" fmla="*/ 843 h 900"/>
                  <a:gd name="T78" fmla="*/ 198 w 579"/>
                  <a:gd name="T79" fmla="*/ 870 h 900"/>
                  <a:gd name="T80" fmla="*/ 266 w 579"/>
                  <a:gd name="T81" fmla="*/ 869 h 900"/>
                  <a:gd name="T82" fmla="*/ 325 w 579"/>
                  <a:gd name="T83" fmla="*/ 845 h 900"/>
                  <a:gd name="T84" fmla="*/ 381 w 579"/>
                  <a:gd name="T85" fmla="*/ 802 h 900"/>
                  <a:gd name="T86" fmla="*/ 433 w 579"/>
                  <a:gd name="T87" fmla="*/ 741 h 900"/>
                  <a:gd name="T88" fmla="*/ 501 w 579"/>
                  <a:gd name="T89" fmla="*/ 616 h 900"/>
                  <a:gd name="T90" fmla="*/ 536 w 579"/>
                  <a:gd name="T91" fmla="*/ 504 h 900"/>
                  <a:gd name="T92" fmla="*/ 551 w 579"/>
                  <a:gd name="T93" fmla="*/ 397 h 900"/>
                  <a:gd name="T94" fmla="*/ 550 w 579"/>
                  <a:gd name="T95" fmla="*/ 298 h 900"/>
                  <a:gd name="T96" fmla="*/ 533 w 579"/>
                  <a:gd name="T97" fmla="*/ 208 h 900"/>
                  <a:gd name="T98" fmla="*/ 503 w 579"/>
                  <a:gd name="T99" fmla="*/ 133 h 900"/>
                  <a:gd name="T100" fmla="*/ 460 w 579"/>
                  <a:gd name="T101" fmla="*/ 74 h 900"/>
                  <a:gd name="T102" fmla="*/ 406 w 579"/>
                  <a:gd name="T103" fmla="*/ 39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9" h="900">
                    <a:moveTo>
                      <a:pt x="229" y="900"/>
                    </a:moveTo>
                    <a:lnTo>
                      <a:pt x="229" y="900"/>
                    </a:lnTo>
                    <a:lnTo>
                      <a:pt x="220" y="900"/>
                    </a:lnTo>
                    <a:lnTo>
                      <a:pt x="211" y="899"/>
                    </a:lnTo>
                    <a:lnTo>
                      <a:pt x="201" y="898"/>
                    </a:lnTo>
                    <a:lnTo>
                      <a:pt x="191" y="896"/>
                    </a:lnTo>
                    <a:lnTo>
                      <a:pt x="178" y="893"/>
                    </a:lnTo>
                    <a:lnTo>
                      <a:pt x="164" y="887"/>
                    </a:lnTo>
                    <a:lnTo>
                      <a:pt x="151" y="882"/>
                    </a:lnTo>
                    <a:lnTo>
                      <a:pt x="139" y="875"/>
                    </a:lnTo>
                    <a:lnTo>
                      <a:pt x="126" y="867"/>
                    </a:lnTo>
                    <a:lnTo>
                      <a:pt x="116" y="858"/>
                    </a:lnTo>
                    <a:lnTo>
                      <a:pt x="104" y="848"/>
                    </a:lnTo>
                    <a:lnTo>
                      <a:pt x="94" y="838"/>
                    </a:lnTo>
                    <a:lnTo>
                      <a:pt x="83" y="826"/>
                    </a:lnTo>
                    <a:lnTo>
                      <a:pt x="73" y="814"/>
                    </a:lnTo>
                    <a:lnTo>
                      <a:pt x="65" y="801"/>
                    </a:lnTo>
                    <a:lnTo>
                      <a:pt x="56" y="787"/>
                    </a:lnTo>
                    <a:lnTo>
                      <a:pt x="49" y="772"/>
                    </a:lnTo>
                    <a:lnTo>
                      <a:pt x="41" y="757"/>
                    </a:lnTo>
                    <a:lnTo>
                      <a:pt x="35" y="740"/>
                    </a:lnTo>
                    <a:lnTo>
                      <a:pt x="28" y="723"/>
                    </a:lnTo>
                    <a:lnTo>
                      <a:pt x="23" y="706"/>
                    </a:lnTo>
                    <a:lnTo>
                      <a:pt x="17" y="687"/>
                    </a:lnTo>
                    <a:lnTo>
                      <a:pt x="13" y="669"/>
                    </a:lnTo>
                    <a:lnTo>
                      <a:pt x="10" y="650"/>
                    </a:lnTo>
                    <a:lnTo>
                      <a:pt x="7" y="630"/>
                    </a:lnTo>
                    <a:lnTo>
                      <a:pt x="3" y="610"/>
                    </a:lnTo>
                    <a:lnTo>
                      <a:pt x="2" y="589"/>
                    </a:lnTo>
                    <a:lnTo>
                      <a:pt x="1" y="569"/>
                    </a:lnTo>
                    <a:lnTo>
                      <a:pt x="0" y="547"/>
                    </a:lnTo>
                    <a:lnTo>
                      <a:pt x="0" y="526"/>
                    </a:lnTo>
                    <a:lnTo>
                      <a:pt x="1" y="504"/>
                    </a:lnTo>
                    <a:lnTo>
                      <a:pt x="3" y="481"/>
                    </a:lnTo>
                    <a:lnTo>
                      <a:pt x="5" y="459"/>
                    </a:lnTo>
                    <a:lnTo>
                      <a:pt x="9" y="436"/>
                    </a:lnTo>
                    <a:lnTo>
                      <a:pt x="13" y="413"/>
                    </a:lnTo>
                    <a:lnTo>
                      <a:pt x="17" y="391"/>
                    </a:lnTo>
                    <a:lnTo>
                      <a:pt x="23" y="370"/>
                    </a:lnTo>
                    <a:lnTo>
                      <a:pt x="28" y="350"/>
                    </a:lnTo>
                    <a:lnTo>
                      <a:pt x="34" y="329"/>
                    </a:lnTo>
                    <a:lnTo>
                      <a:pt x="40" y="310"/>
                    </a:lnTo>
                    <a:lnTo>
                      <a:pt x="47" y="290"/>
                    </a:lnTo>
                    <a:lnTo>
                      <a:pt x="54" y="272"/>
                    </a:lnTo>
                    <a:lnTo>
                      <a:pt x="62" y="254"/>
                    </a:lnTo>
                    <a:lnTo>
                      <a:pt x="70" y="235"/>
                    </a:lnTo>
                    <a:lnTo>
                      <a:pt x="79" y="218"/>
                    </a:lnTo>
                    <a:lnTo>
                      <a:pt x="88" y="202"/>
                    </a:lnTo>
                    <a:lnTo>
                      <a:pt x="97" y="184"/>
                    </a:lnTo>
                    <a:lnTo>
                      <a:pt x="107" y="169"/>
                    </a:lnTo>
                    <a:lnTo>
                      <a:pt x="117" y="154"/>
                    </a:lnTo>
                    <a:lnTo>
                      <a:pt x="127" y="139"/>
                    </a:lnTo>
                    <a:lnTo>
                      <a:pt x="138" y="125"/>
                    </a:lnTo>
                    <a:lnTo>
                      <a:pt x="149" y="112"/>
                    </a:lnTo>
                    <a:lnTo>
                      <a:pt x="161" y="99"/>
                    </a:lnTo>
                    <a:lnTo>
                      <a:pt x="172" y="87"/>
                    </a:lnTo>
                    <a:lnTo>
                      <a:pt x="184" y="75"/>
                    </a:lnTo>
                    <a:lnTo>
                      <a:pt x="196" y="65"/>
                    </a:lnTo>
                    <a:lnTo>
                      <a:pt x="207" y="55"/>
                    </a:lnTo>
                    <a:lnTo>
                      <a:pt x="220" y="46"/>
                    </a:lnTo>
                    <a:lnTo>
                      <a:pt x="232" y="38"/>
                    </a:lnTo>
                    <a:lnTo>
                      <a:pt x="245" y="30"/>
                    </a:lnTo>
                    <a:lnTo>
                      <a:pt x="258" y="23"/>
                    </a:lnTo>
                    <a:lnTo>
                      <a:pt x="271" y="17"/>
                    </a:lnTo>
                    <a:lnTo>
                      <a:pt x="284" y="12"/>
                    </a:lnTo>
                    <a:lnTo>
                      <a:pt x="297" y="7"/>
                    </a:lnTo>
                    <a:lnTo>
                      <a:pt x="310" y="4"/>
                    </a:lnTo>
                    <a:lnTo>
                      <a:pt x="323" y="2"/>
                    </a:lnTo>
                    <a:lnTo>
                      <a:pt x="337" y="1"/>
                    </a:lnTo>
                    <a:lnTo>
                      <a:pt x="350" y="0"/>
                    </a:lnTo>
                    <a:lnTo>
                      <a:pt x="360" y="0"/>
                    </a:lnTo>
                    <a:lnTo>
                      <a:pt x="368" y="1"/>
                    </a:lnTo>
                    <a:lnTo>
                      <a:pt x="378" y="2"/>
                    </a:lnTo>
                    <a:lnTo>
                      <a:pt x="388" y="4"/>
                    </a:lnTo>
                    <a:lnTo>
                      <a:pt x="402" y="7"/>
                    </a:lnTo>
                    <a:lnTo>
                      <a:pt x="415" y="13"/>
                    </a:lnTo>
                    <a:lnTo>
                      <a:pt x="428" y="18"/>
                    </a:lnTo>
                    <a:lnTo>
                      <a:pt x="441" y="26"/>
                    </a:lnTo>
                    <a:lnTo>
                      <a:pt x="453" y="33"/>
                    </a:lnTo>
                    <a:lnTo>
                      <a:pt x="464" y="42"/>
                    </a:lnTo>
                    <a:lnTo>
                      <a:pt x="475" y="52"/>
                    </a:lnTo>
                    <a:lnTo>
                      <a:pt x="486" y="62"/>
                    </a:lnTo>
                    <a:lnTo>
                      <a:pt x="496" y="74"/>
                    </a:lnTo>
                    <a:lnTo>
                      <a:pt x="505" y="86"/>
                    </a:lnTo>
                    <a:lnTo>
                      <a:pt x="514" y="100"/>
                    </a:lnTo>
                    <a:lnTo>
                      <a:pt x="523" y="114"/>
                    </a:lnTo>
                    <a:lnTo>
                      <a:pt x="531" y="128"/>
                    </a:lnTo>
                    <a:lnTo>
                      <a:pt x="538" y="145"/>
                    </a:lnTo>
                    <a:lnTo>
                      <a:pt x="545" y="161"/>
                    </a:lnTo>
                    <a:lnTo>
                      <a:pt x="551" y="177"/>
                    </a:lnTo>
                    <a:lnTo>
                      <a:pt x="557" y="194"/>
                    </a:lnTo>
                    <a:lnTo>
                      <a:pt x="562" y="213"/>
                    </a:lnTo>
                    <a:lnTo>
                      <a:pt x="566" y="231"/>
                    </a:lnTo>
                    <a:lnTo>
                      <a:pt x="570" y="250"/>
                    </a:lnTo>
                    <a:lnTo>
                      <a:pt x="573" y="270"/>
                    </a:lnTo>
                    <a:lnTo>
                      <a:pt x="576" y="290"/>
                    </a:lnTo>
                    <a:lnTo>
                      <a:pt x="578" y="311"/>
                    </a:lnTo>
                    <a:lnTo>
                      <a:pt x="579" y="331"/>
                    </a:lnTo>
                    <a:lnTo>
                      <a:pt x="579" y="353"/>
                    </a:lnTo>
                    <a:lnTo>
                      <a:pt x="579" y="374"/>
                    </a:lnTo>
                    <a:lnTo>
                      <a:pt x="578" y="397"/>
                    </a:lnTo>
                    <a:lnTo>
                      <a:pt x="576" y="419"/>
                    </a:lnTo>
                    <a:lnTo>
                      <a:pt x="573" y="441"/>
                    </a:lnTo>
                    <a:lnTo>
                      <a:pt x="570" y="464"/>
                    </a:lnTo>
                    <a:lnTo>
                      <a:pt x="567" y="487"/>
                    </a:lnTo>
                    <a:lnTo>
                      <a:pt x="562" y="509"/>
                    </a:lnTo>
                    <a:lnTo>
                      <a:pt x="557" y="531"/>
                    </a:lnTo>
                    <a:lnTo>
                      <a:pt x="552" y="550"/>
                    </a:lnTo>
                    <a:lnTo>
                      <a:pt x="545" y="571"/>
                    </a:lnTo>
                    <a:lnTo>
                      <a:pt x="539" y="590"/>
                    </a:lnTo>
                    <a:lnTo>
                      <a:pt x="532" y="610"/>
                    </a:lnTo>
                    <a:lnTo>
                      <a:pt x="525" y="628"/>
                    </a:lnTo>
                    <a:lnTo>
                      <a:pt x="517" y="646"/>
                    </a:lnTo>
                    <a:lnTo>
                      <a:pt x="509" y="665"/>
                    </a:lnTo>
                    <a:lnTo>
                      <a:pt x="500" y="682"/>
                    </a:lnTo>
                    <a:lnTo>
                      <a:pt x="491" y="699"/>
                    </a:lnTo>
                    <a:lnTo>
                      <a:pt x="482" y="716"/>
                    </a:lnTo>
                    <a:lnTo>
                      <a:pt x="472" y="731"/>
                    </a:lnTo>
                    <a:lnTo>
                      <a:pt x="462" y="747"/>
                    </a:lnTo>
                    <a:lnTo>
                      <a:pt x="451" y="761"/>
                    </a:lnTo>
                    <a:lnTo>
                      <a:pt x="441" y="775"/>
                    </a:lnTo>
                    <a:lnTo>
                      <a:pt x="430" y="788"/>
                    </a:lnTo>
                    <a:lnTo>
                      <a:pt x="419" y="801"/>
                    </a:lnTo>
                    <a:lnTo>
                      <a:pt x="407" y="813"/>
                    </a:lnTo>
                    <a:lnTo>
                      <a:pt x="395" y="825"/>
                    </a:lnTo>
                    <a:lnTo>
                      <a:pt x="383" y="835"/>
                    </a:lnTo>
                    <a:lnTo>
                      <a:pt x="372" y="845"/>
                    </a:lnTo>
                    <a:lnTo>
                      <a:pt x="359" y="855"/>
                    </a:lnTo>
                    <a:lnTo>
                      <a:pt x="347" y="862"/>
                    </a:lnTo>
                    <a:lnTo>
                      <a:pt x="334" y="870"/>
                    </a:lnTo>
                    <a:lnTo>
                      <a:pt x="321" y="877"/>
                    </a:lnTo>
                    <a:lnTo>
                      <a:pt x="308" y="883"/>
                    </a:lnTo>
                    <a:lnTo>
                      <a:pt x="295" y="888"/>
                    </a:lnTo>
                    <a:lnTo>
                      <a:pt x="282" y="893"/>
                    </a:lnTo>
                    <a:lnTo>
                      <a:pt x="269" y="896"/>
                    </a:lnTo>
                    <a:lnTo>
                      <a:pt x="256" y="898"/>
                    </a:lnTo>
                    <a:lnTo>
                      <a:pt x="243" y="900"/>
                    </a:lnTo>
                    <a:lnTo>
                      <a:pt x="229" y="900"/>
                    </a:lnTo>
                    <a:close/>
                    <a:moveTo>
                      <a:pt x="350" y="27"/>
                    </a:moveTo>
                    <a:lnTo>
                      <a:pt x="350" y="27"/>
                    </a:lnTo>
                    <a:lnTo>
                      <a:pt x="338" y="28"/>
                    </a:lnTo>
                    <a:lnTo>
                      <a:pt x="326" y="29"/>
                    </a:lnTo>
                    <a:lnTo>
                      <a:pt x="313" y="31"/>
                    </a:lnTo>
                    <a:lnTo>
                      <a:pt x="301" y="34"/>
                    </a:lnTo>
                    <a:lnTo>
                      <a:pt x="289" y="39"/>
                    </a:lnTo>
                    <a:lnTo>
                      <a:pt x="278" y="43"/>
                    </a:lnTo>
                    <a:lnTo>
                      <a:pt x="266" y="48"/>
                    </a:lnTo>
                    <a:lnTo>
                      <a:pt x="255" y="55"/>
                    </a:lnTo>
                    <a:lnTo>
                      <a:pt x="243" y="62"/>
                    </a:lnTo>
                    <a:lnTo>
                      <a:pt x="231" y="70"/>
                    </a:lnTo>
                    <a:lnTo>
                      <a:pt x="220" y="79"/>
                    </a:lnTo>
                    <a:lnTo>
                      <a:pt x="208" y="88"/>
                    </a:lnTo>
                    <a:lnTo>
                      <a:pt x="198" y="98"/>
                    </a:lnTo>
                    <a:lnTo>
                      <a:pt x="187" y="109"/>
                    </a:lnTo>
                    <a:lnTo>
                      <a:pt x="176" y="121"/>
                    </a:lnTo>
                    <a:lnTo>
                      <a:pt x="166" y="133"/>
                    </a:lnTo>
                    <a:lnTo>
                      <a:pt x="156" y="146"/>
                    </a:lnTo>
                    <a:lnTo>
                      <a:pt x="146" y="159"/>
                    </a:lnTo>
                    <a:lnTo>
                      <a:pt x="136" y="173"/>
                    </a:lnTo>
                    <a:lnTo>
                      <a:pt x="127" y="187"/>
                    </a:lnTo>
                    <a:lnTo>
                      <a:pt x="109" y="217"/>
                    </a:lnTo>
                    <a:lnTo>
                      <a:pt x="93" y="250"/>
                    </a:lnTo>
                    <a:lnTo>
                      <a:pt x="78" y="284"/>
                    </a:lnTo>
                    <a:lnTo>
                      <a:pt x="65" y="320"/>
                    </a:lnTo>
                    <a:lnTo>
                      <a:pt x="59" y="339"/>
                    </a:lnTo>
                    <a:lnTo>
                      <a:pt x="53" y="357"/>
                    </a:lnTo>
                    <a:lnTo>
                      <a:pt x="49" y="377"/>
                    </a:lnTo>
                    <a:lnTo>
                      <a:pt x="44" y="396"/>
                    </a:lnTo>
                    <a:lnTo>
                      <a:pt x="39" y="418"/>
                    </a:lnTo>
                    <a:lnTo>
                      <a:pt x="36" y="439"/>
                    </a:lnTo>
                    <a:lnTo>
                      <a:pt x="32" y="461"/>
                    </a:lnTo>
                    <a:lnTo>
                      <a:pt x="30" y="481"/>
                    </a:lnTo>
                    <a:lnTo>
                      <a:pt x="28" y="503"/>
                    </a:lnTo>
                    <a:lnTo>
                      <a:pt x="27" y="523"/>
                    </a:lnTo>
                    <a:lnTo>
                      <a:pt x="27" y="544"/>
                    </a:lnTo>
                    <a:lnTo>
                      <a:pt x="27" y="563"/>
                    </a:lnTo>
                    <a:lnTo>
                      <a:pt x="28" y="583"/>
                    </a:lnTo>
                    <a:lnTo>
                      <a:pt x="29" y="602"/>
                    </a:lnTo>
                    <a:lnTo>
                      <a:pt x="31" y="622"/>
                    </a:lnTo>
                    <a:lnTo>
                      <a:pt x="35" y="640"/>
                    </a:lnTo>
                    <a:lnTo>
                      <a:pt x="38" y="657"/>
                    </a:lnTo>
                    <a:lnTo>
                      <a:pt x="41" y="676"/>
                    </a:lnTo>
                    <a:lnTo>
                      <a:pt x="45" y="692"/>
                    </a:lnTo>
                    <a:lnTo>
                      <a:pt x="51" y="708"/>
                    </a:lnTo>
                    <a:lnTo>
                      <a:pt x="56" y="724"/>
                    </a:lnTo>
                    <a:lnTo>
                      <a:pt x="63" y="739"/>
                    </a:lnTo>
                    <a:lnTo>
                      <a:pt x="69" y="754"/>
                    </a:lnTo>
                    <a:lnTo>
                      <a:pt x="76" y="767"/>
                    </a:lnTo>
                    <a:lnTo>
                      <a:pt x="83" y="781"/>
                    </a:lnTo>
                    <a:lnTo>
                      <a:pt x="92" y="793"/>
                    </a:lnTo>
                    <a:lnTo>
                      <a:pt x="100" y="805"/>
                    </a:lnTo>
                    <a:lnTo>
                      <a:pt x="109" y="816"/>
                    </a:lnTo>
                    <a:lnTo>
                      <a:pt x="119" y="826"/>
                    </a:lnTo>
                    <a:lnTo>
                      <a:pt x="129" y="834"/>
                    </a:lnTo>
                    <a:lnTo>
                      <a:pt x="139" y="843"/>
                    </a:lnTo>
                    <a:lnTo>
                      <a:pt x="150" y="850"/>
                    </a:lnTo>
                    <a:lnTo>
                      <a:pt x="161" y="857"/>
                    </a:lnTo>
                    <a:lnTo>
                      <a:pt x="173" y="862"/>
                    </a:lnTo>
                    <a:lnTo>
                      <a:pt x="185" y="867"/>
                    </a:lnTo>
                    <a:lnTo>
                      <a:pt x="198" y="870"/>
                    </a:lnTo>
                    <a:lnTo>
                      <a:pt x="214" y="872"/>
                    </a:lnTo>
                    <a:lnTo>
                      <a:pt x="229" y="873"/>
                    </a:lnTo>
                    <a:lnTo>
                      <a:pt x="242" y="873"/>
                    </a:lnTo>
                    <a:lnTo>
                      <a:pt x="254" y="871"/>
                    </a:lnTo>
                    <a:lnTo>
                      <a:pt x="266" y="869"/>
                    </a:lnTo>
                    <a:lnTo>
                      <a:pt x="278" y="866"/>
                    </a:lnTo>
                    <a:lnTo>
                      <a:pt x="289" y="862"/>
                    </a:lnTo>
                    <a:lnTo>
                      <a:pt x="301" y="857"/>
                    </a:lnTo>
                    <a:lnTo>
                      <a:pt x="313" y="852"/>
                    </a:lnTo>
                    <a:lnTo>
                      <a:pt x="325" y="845"/>
                    </a:lnTo>
                    <a:lnTo>
                      <a:pt x="337" y="838"/>
                    </a:lnTo>
                    <a:lnTo>
                      <a:pt x="348" y="830"/>
                    </a:lnTo>
                    <a:lnTo>
                      <a:pt x="360" y="821"/>
                    </a:lnTo>
                    <a:lnTo>
                      <a:pt x="370" y="812"/>
                    </a:lnTo>
                    <a:lnTo>
                      <a:pt x="381" y="802"/>
                    </a:lnTo>
                    <a:lnTo>
                      <a:pt x="392" y="791"/>
                    </a:lnTo>
                    <a:lnTo>
                      <a:pt x="403" y="779"/>
                    </a:lnTo>
                    <a:lnTo>
                      <a:pt x="414" y="767"/>
                    </a:lnTo>
                    <a:lnTo>
                      <a:pt x="423" y="754"/>
                    </a:lnTo>
                    <a:lnTo>
                      <a:pt x="433" y="741"/>
                    </a:lnTo>
                    <a:lnTo>
                      <a:pt x="443" y="727"/>
                    </a:lnTo>
                    <a:lnTo>
                      <a:pt x="453" y="713"/>
                    </a:lnTo>
                    <a:lnTo>
                      <a:pt x="470" y="683"/>
                    </a:lnTo>
                    <a:lnTo>
                      <a:pt x="486" y="651"/>
                    </a:lnTo>
                    <a:lnTo>
                      <a:pt x="501" y="616"/>
                    </a:lnTo>
                    <a:lnTo>
                      <a:pt x="514" y="581"/>
                    </a:lnTo>
                    <a:lnTo>
                      <a:pt x="521" y="562"/>
                    </a:lnTo>
                    <a:lnTo>
                      <a:pt x="526" y="543"/>
                    </a:lnTo>
                    <a:lnTo>
                      <a:pt x="531" y="523"/>
                    </a:lnTo>
                    <a:lnTo>
                      <a:pt x="536" y="504"/>
                    </a:lnTo>
                    <a:lnTo>
                      <a:pt x="540" y="482"/>
                    </a:lnTo>
                    <a:lnTo>
                      <a:pt x="543" y="461"/>
                    </a:lnTo>
                    <a:lnTo>
                      <a:pt x="546" y="439"/>
                    </a:lnTo>
                    <a:lnTo>
                      <a:pt x="549" y="419"/>
                    </a:lnTo>
                    <a:lnTo>
                      <a:pt x="551" y="397"/>
                    </a:lnTo>
                    <a:lnTo>
                      <a:pt x="552" y="377"/>
                    </a:lnTo>
                    <a:lnTo>
                      <a:pt x="552" y="357"/>
                    </a:lnTo>
                    <a:lnTo>
                      <a:pt x="552" y="337"/>
                    </a:lnTo>
                    <a:lnTo>
                      <a:pt x="551" y="317"/>
                    </a:lnTo>
                    <a:lnTo>
                      <a:pt x="550" y="298"/>
                    </a:lnTo>
                    <a:lnTo>
                      <a:pt x="548" y="278"/>
                    </a:lnTo>
                    <a:lnTo>
                      <a:pt x="545" y="260"/>
                    </a:lnTo>
                    <a:lnTo>
                      <a:pt x="542" y="243"/>
                    </a:lnTo>
                    <a:lnTo>
                      <a:pt x="538" y="225"/>
                    </a:lnTo>
                    <a:lnTo>
                      <a:pt x="533" y="208"/>
                    </a:lnTo>
                    <a:lnTo>
                      <a:pt x="528" y="192"/>
                    </a:lnTo>
                    <a:lnTo>
                      <a:pt x="523" y="176"/>
                    </a:lnTo>
                    <a:lnTo>
                      <a:pt x="517" y="161"/>
                    </a:lnTo>
                    <a:lnTo>
                      <a:pt x="511" y="147"/>
                    </a:lnTo>
                    <a:lnTo>
                      <a:pt x="503" y="133"/>
                    </a:lnTo>
                    <a:lnTo>
                      <a:pt x="496" y="120"/>
                    </a:lnTo>
                    <a:lnTo>
                      <a:pt x="488" y="107"/>
                    </a:lnTo>
                    <a:lnTo>
                      <a:pt x="480" y="95"/>
                    </a:lnTo>
                    <a:lnTo>
                      <a:pt x="470" y="84"/>
                    </a:lnTo>
                    <a:lnTo>
                      <a:pt x="460" y="74"/>
                    </a:lnTo>
                    <a:lnTo>
                      <a:pt x="450" y="66"/>
                    </a:lnTo>
                    <a:lnTo>
                      <a:pt x="441" y="57"/>
                    </a:lnTo>
                    <a:lnTo>
                      <a:pt x="430" y="50"/>
                    </a:lnTo>
                    <a:lnTo>
                      <a:pt x="418" y="44"/>
                    </a:lnTo>
                    <a:lnTo>
                      <a:pt x="406" y="39"/>
                    </a:lnTo>
                    <a:lnTo>
                      <a:pt x="394" y="34"/>
                    </a:lnTo>
                    <a:lnTo>
                      <a:pt x="381" y="30"/>
                    </a:lnTo>
                    <a:lnTo>
                      <a:pt x="366" y="28"/>
                    </a:lnTo>
                    <a:lnTo>
                      <a:pt x="3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5"/>
              <p:cNvSpPr>
                <a:spLocks noEditPoints="1"/>
              </p:cNvSpPr>
              <p:nvPr userDrawn="1"/>
            </p:nvSpPr>
            <p:spPr bwMode="auto">
              <a:xfrm>
                <a:off x="1603" y="2010"/>
                <a:ext cx="91" cy="138"/>
              </a:xfrm>
              <a:custGeom>
                <a:avLst/>
                <a:gdLst>
                  <a:gd name="T0" fmla="*/ 101 w 273"/>
                  <a:gd name="T1" fmla="*/ 414 h 415"/>
                  <a:gd name="T2" fmla="*/ 66 w 273"/>
                  <a:gd name="T3" fmla="*/ 403 h 415"/>
                  <a:gd name="T4" fmla="*/ 35 w 273"/>
                  <a:gd name="T5" fmla="*/ 374 h 415"/>
                  <a:gd name="T6" fmla="*/ 12 w 273"/>
                  <a:gd name="T7" fmla="*/ 330 h 415"/>
                  <a:gd name="T8" fmla="*/ 1 w 273"/>
                  <a:gd name="T9" fmla="*/ 277 h 415"/>
                  <a:gd name="T10" fmla="*/ 1 w 273"/>
                  <a:gd name="T11" fmla="*/ 219 h 415"/>
                  <a:gd name="T12" fmla="*/ 13 w 273"/>
                  <a:gd name="T13" fmla="*/ 160 h 415"/>
                  <a:gd name="T14" fmla="*/ 33 w 273"/>
                  <a:gd name="T15" fmla="*/ 107 h 415"/>
                  <a:gd name="T16" fmla="*/ 59 w 273"/>
                  <a:gd name="T17" fmla="*/ 62 h 415"/>
                  <a:gd name="T18" fmla="*/ 91 w 273"/>
                  <a:gd name="T19" fmla="*/ 29 h 415"/>
                  <a:gd name="T20" fmla="*/ 126 w 273"/>
                  <a:gd name="T21" fmla="*/ 7 h 415"/>
                  <a:gd name="T22" fmla="*/ 163 w 273"/>
                  <a:gd name="T23" fmla="*/ 0 h 415"/>
                  <a:gd name="T24" fmla="*/ 195 w 273"/>
                  <a:gd name="T25" fmla="*/ 5 h 415"/>
                  <a:gd name="T26" fmla="*/ 229 w 273"/>
                  <a:gd name="T27" fmla="*/ 28 h 415"/>
                  <a:gd name="T28" fmla="*/ 254 w 273"/>
                  <a:gd name="T29" fmla="*/ 66 h 415"/>
                  <a:gd name="T30" fmla="*/ 269 w 273"/>
                  <a:gd name="T31" fmla="*/ 115 h 415"/>
                  <a:gd name="T32" fmla="*/ 273 w 273"/>
                  <a:gd name="T33" fmla="*/ 172 h 415"/>
                  <a:gd name="T34" fmla="*/ 265 w 273"/>
                  <a:gd name="T35" fmla="*/ 235 h 415"/>
                  <a:gd name="T36" fmla="*/ 248 w 273"/>
                  <a:gd name="T37" fmla="*/ 290 h 415"/>
                  <a:gd name="T38" fmla="*/ 224 w 273"/>
                  <a:gd name="T39" fmla="*/ 338 h 415"/>
                  <a:gd name="T40" fmla="*/ 194 w 273"/>
                  <a:gd name="T41" fmla="*/ 375 h 415"/>
                  <a:gd name="T42" fmla="*/ 159 w 273"/>
                  <a:gd name="T43" fmla="*/ 401 h 415"/>
                  <a:gd name="T44" fmla="*/ 122 w 273"/>
                  <a:gd name="T45" fmla="*/ 414 h 415"/>
                  <a:gd name="T46" fmla="*/ 163 w 273"/>
                  <a:gd name="T47" fmla="*/ 27 h 415"/>
                  <a:gd name="T48" fmla="*/ 133 w 273"/>
                  <a:gd name="T49" fmla="*/ 33 h 415"/>
                  <a:gd name="T50" fmla="*/ 104 w 273"/>
                  <a:gd name="T51" fmla="*/ 53 h 415"/>
                  <a:gd name="T52" fmla="*/ 78 w 273"/>
                  <a:gd name="T53" fmla="*/ 83 h 415"/>
                  <a:gd name="T54" fmla="*/ 55 w 273"/>
                  <a:gd name="T55" fmla="*/ 122 h 415"/>
                  <a:gd name="T56" fmla="*/ 38 w 273"/>
                  <a:gd name="T57" fmla="*/ 168 h 415"/>
                  <a:gd name="T58" fmla="*/ 28 w 273"/>
                  <a:gd name="T59" fmla="*/ 221 h 415"/>
                  <a:gd name="T60" fmla="*/ 28 w 273"/>
                  <a:gd name="T61" fmla="*/ 274 h 415"/>
                  <a:gd name="T62" fmla="*/ 38 w 273"/>
                  <a:gd name="T63" fmla="*/ 321 h 415"/>
                  <a:gd name="T64" fmla="*/ 55 w 273"/>
                  <a:gd name="T65" fmla="*/ 356 h 415"/>
                  <a:gd name="T66" fmla="*/ 79 w 273"/>
                  <a:gd name="T67" fmla="*/ 379 h 415"/>
                  <a:gd name="T68" fmla="*/ 107 w 273"/>
                  <a:gd name="T69" fmla="*/ 388 h 415"/>
                  <a:gd name="T70" fmla="*/ 140 w 273"/>
                  <a:gd name="T71" fmla="*/ 381 h 415"/>
                  <a:gd name="T72" fmla="*/ 171 w 273"/>
                  <a:gd name="T73" fmla="*/ 359 h 415"/>
                  <a:gd name="T74" fmla="*/ 199 w 273"/>
                  <a:gd name="T75" fmla="*/ 326 h 415"/>
                  <a:gd name="T76" fmla="*/ 223 w 273"/>
                  <a:gd name="T77" fmla="*/ 281 h 415"/>
                  <a:gd name="T78" fmla="*/ 239 w 273"/>
                  <a:gd name="T79" fmla="*/ 230 h 415"/>
                  <a:gd name="T80" fmla="*/ 246 w 273"/>
                  <a:gd name="T81" fmla="*/ 176 h 415"/>
                  <a:gd name="T82" fmla="*/ 243 w 273"/>
                  <a:gd name="T83" fmla="*/ 126 h 415"/>
                  <a:gd name="T84" fmla="*/ 231 w 273"/>
                  <a:gd name="T85" fmla="*/ 83 h 415"/>
                  <a:gd name="T86" fmla="*/ 212 w 273"/>
                  <a:gd name="T87" fmla="*/ 50 h 415"/>
                  <a:gd name="T88" fmla="*/ 186 w 273"/>
                  <a:gd name="T89" fmla="*/ 31 h 415"/>
                  <a:gd name="T90" fmla="*/ 163 w 273"/>
                  <a:gd name="T9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415">
                    <a:moveTo>
                      <a:pt x="109" y="415"/>
                    </a:moveTo>
                    <a:lnTo>
                      <a:pt x="109" y="415"/>
                    </a:lnTo>
                    <a:lnTo>
                      <a:pt x="101" y="414"/>
                    </a:lnTo>
                    <a:lnTo>
                      <a:pt x="91" y="413"/>
                    </a:lnTo>
                    <a:lnTo>
                      <a:pt x="78" y="409"/>
                    </a:lnTo>
                    <a:lnTo>
                      <a:pt x="66" y="403"/>
                    </a:lnTo>
                    <a:lnTo>
                      <a:pt x="54" y="395"/>
                    </a:lnTo>
                    <a:lnTo>
                      <a:pt x="45" y="385"/>
                    </a:lnTo>
                    <a:lnTo>
                      <a:pt x="35" y="374"/>
                    </a:lnTo>
                    <a:lnTo>
                      <a:pt x="26" y="361"/>
                    </a:lnTo>
                    <a:lnTo>
                      <a:pt x="19" y="346"/>
                    </a:lnTo>
                    <a:lnTo>
                      <a:pt x="12" y="330"/>
                    </a:lnTo>
                    <a:lnTo>
                      <a:pt x="8" y="313"/>
                    </a:lnTo>
                    <a:lnTo>
                      <a:pt x="4" y="296"/>
                    </a:lnTo>
                    <a:lnTo>
                      <a:pt x="1" y="277"/>
                    </a:lnTo>
                    <a:lnTo>
                      <a:pt x="0" y="258"/>
                    </a:lnTo>
                    <a:lnTo>
                      <a:pt x="0" y="238"/>
                    </a:lnTo>
                    <a:lnTo>
                      <a:pt x="1" y="219"/>
                    </a:lnTo>
                    <a:lnTo>
                      <a:pt x="5" y="199"/>
                    </a:lnTo>
                    <a:lnTo>
                      <a:pt x="8" y="179"/>
                    </a:lnTo>
                    <a:lnTo>
                      <a:pt x="13" y="160"/>
                    </a:lnTo>
                    <a:lnTo>
                      <a:pt x="19" y="141"/>
                    </a:lnTo>
                    <a:lnTo>
                      <a:pt x="25" y="124"/>
                    </a:lnTo>
                    <a:lnTo>
                      <a:pt x="33" y="107"/>
                    </a:lnTo>
                    <a:lnTo>
                      <a:pt x="40" y="92"/>
                    </a:lnTo>
                    <a:lnTo>
                      <a:pt x="50" y="76"/>
                    </a:lnTo>
                    <a:lnTo>
                      <a:pt x="59" y="62"/>
                    </a:lnTo>
                    <a:lnTo>
                      <a:pt x="70" y="50"/>
                    </a:lnTo>
                    <a:lnTo>
                      <a:pt x="79" y="39"/>
                    </a:lnTo>
                    <a:lnTo>
                      <a:pt x="91" y="29"/>
                    </a:lnTo>
                    <a:lnTo>
                      <a:pt x="102" y="20"/>
                    </a:lnTo>
                    <a:lnTo>
                      <a:pt x="114" y="13"/>
                    </a:lnTo>
                    <a:lnTo>
                      <a:pt x="126" y="7"/>
                    </a:lnTo>
                    <a:lnTo>
                      <a:pt x="139" y="3"/>
                    </a:lnTo>
                    <a:lnTo>
                      <a:pt x="150" y="0"/>
                    </a:lnTo>
                    <a:lnTo>
                      <a:pt x="163" y="0"/>
                    </a:lnTo>
                    <a:lnTo>
                      <a:pt x="173" y="0"/>
                    </a:lnTo>
                    <a:lnTo>
                      <a:pt x="182" y="1"/>
                    </a:lnTo>
                    <a:lnTo>
                      <a:pt x="195" y="5"/>
                    </a:lnTo>
                    <a:lnTo>
                      <a:pt x="207" y="12"/>
                    </a:lnTo>
                    <a:lnTo>
                      <a:pt x="219" y="19"/>
                    </a:lnTo>
                    <a:lnTo>
                      <a:pt x="229" y="28"/>
                    </a:lnTo>
                    <a:lnTo>
                      <a:pt x="238" y="40"/>
                    </a:lnTo>
                    <a:lnTo>
                      <a:pt x="247" y="52"/>
                    </a:lnTo>
                    <a:lnTo>
                      <a:pt x="254" y="66"/>
                    </a:lnTo>
                    <a:lnTo>
                      <a:pt x="260" y="81"/>
                    </a:lnTo>
                    <a:lnTo>
                      <a:pt x="265" y="97"/>
                    </a:lnTo>
                    <a:lnTo>
                      <a:pt x="269" y="115"/>
                    </a:lnTo>
                    <a:lnTo>
                      <a:pt x="271" y="134"/>
                    </a:lnTo>
                    <a:lnTo>
                      <a:pt x="273" y="152"/>
                    </a:lnTo>
                    <a:lnTo>
                      <a:pt x="273" y="172"/>
                    </a:lnTo>
                    <a:lnTo>
                      <a:pt x="271" y="193"/>
                    </a:lnTo>
                    <a:lnTo>
                      <a:pt x="269" y="213"/>
                    </a:lnTo>
                    <a:lnTo>
                      <a:pt x="265" y="235"/>
                    </a:lnTo>
                    <a:lnTo>
                      <a:pt x="261" y="255"/>
                    </a:lnTo>
                    <a:lnTo>
                      <a:pt x="254" y="273"/>
                    </a:lnTo>
                    <a:lnTo>
                      <a:pt x="248" y="290"/>
                    </a:lnTo>
                    <a:lnTo>
                      <a:pt x="241" y="307"/>
                    </a:lnTo>
                    <a:lnTo>
                      <a:pt x="233" y="324"/>
                    </a:lnTo>
                    <a:lnTo>
                      <a:pt x="224" y="338"/>
                    </a:lnTo>
                    <a:lnTo>
                      <a:pt x="214" y="352"/>
                    </a:lnTo>
                    <a:lnTo>
                      <a:pt x="204" y="365"/>
                    </a:lnTo>
                    <a:lnTo>
                      <a:pt x="194" y="375"/>
                    </a:lnTo>
                    <a:lnTo>
                      <a:pt x="183" y="385"/>
                    </a:lnTo>
                    <a:lnTo>
                      <a:pt x="171" y="394"/>
                    </a:lnTo>
                    <a:lnTo>
                      <a:pt x="159" y="401"/>
                    </a:lnTo>
                    <a:lnTo>
                      <a:pt x="147" y="408"/>
                    </a:lnTo>
                    <a:lnTo>
                      <a:pt x="135" y="411"/>
                    </a:lnTo>
                    <a:lnTo>
                      <a:pt x="122" y="414"/>
                    </a:lnTo>
                    <a:lnTo>
                      <a:pt x="109" y="415"/>
                    </a:lnTo>
                    <a:close/>
                    <a:moveTo>
                      <a:pt x="163" y="27"/>
                    </a:moveTo>
                    <a:lnTo>
                      <a:pt x="163" y="27"/>
                    </a:lnTo>
                    <a:lnTo>
                      <a:pt x="154" y="27"/>
                    </a:lnTo>
                    <a:lnTo>
                      <a:pt x="143" y="29"/>
                    </a:lnTo>
                    <a:lnTo>
                      <a:pt x="133" y="33"/>
                    </a:lnTo>
                    <a:lnTo>
                      <a:pt x="124" y="39"/>
                    </a:lnTo>
                    <a:lnTo>
                      <a:pt x="114" y="45"/>
                    </a:lnTo>
                    <a:lnTo>
                      <a:pt x="104" y="53"/>
                    </a:lnTo>
                    <a:lnTo>
                      <a:pt x="95" y="61"/>
                    </a:lnTo>
                    <a:lnTo>
                      <a:pt x="87" y="72"/>
                    </a:lnTo>
                    <a:lnTo>
                      <a:pt x="78" y="83"/>
                    </a:lnTo>
                    <a:lnTo>
                      <a:pt x="70" y="95"/>
                    </a:lnTo>
                    <a:lnTo>
                      <a:pt x="62" y="108"/>
                    </a:lnTo>
                    <a:lnTo>
                      <a:pt x="55" y="122"/>
                    </a:lnTo>
                    <a:lnTo>
                      <a:pt x="49" y="137"/>
                    </a:lnTo>
                    <a:lnTo>
                      <a:pt x="44" y="152"/>
                    </a:lnTo>
                    <a:lnTo>
                      <a:pt x="38" y="168"/>
                    </a:lnTo>
                    <a:lnTo>
                      <a:pt x="35" y="184"/>
                    </a:lnTo>
                    <a:lnTo>
                      <a:pt x="31" y="203"/>
                    </a:lnTo>
                    <a:lnTo>
                      <a:pt x="28" y="221"/>
                    </a:lnTo>
                    <a:lnTo>
                      <a:pt x="27" y="239"/>
                    </a:lnTo>
                    <a:lnTo>
                      <a:pt x="27" y="257"/>
                    </a:lnTo>
                    <a:lnTo>
                      <a:pt x="28" y="274"/>
                    </a:lnTo>
                    <a:lnTo>
                      <a:pt x="31" y="290"/>
                    </a:lnTo>
                    <a:lnTo>
                      <a:pt x="34" y="306"/>
                    </a:lnTo>
                    <a:lnTo>
                      <a:pt x="38" y="321"/>
                    </a:lnTo>
                    <a:lnTo>
                      <a:pt x="43" y="334"/>
                    </a:lnTo>
                    <a:lnTo>
                      <a:pt x="49" y="346"/>
                    </a:lnTo>
                    <a:lnTo>
                      <a:pt x="55" y="356"/>
                    </a:lnTo>
                    <a:lnTo>
                      <a:pt x="62" y="366"/>
                    </a:lnTo>
                    <a:lnTo>
                      <a:pt x="71" y="373"/>
                    </a:lnTo>
                    <a:lnTo>
                      <a:pt x="79" y="379"/>
                    </a:lnTo>
                    <a:lnTo>
                      <a:pt x="88" y="384"/>
                    </a:lnTo>
                    <a:lnTo>
                      <a:pt x="98" y="386"/>
                    </a:lnTo>
                    <a:lnTo>
                      <a:pt x="107" y="388"/>
                    </a:lnTo>
                    <a:lnTo>
                      <a:pt x="118" y="387"/>
                    </a:lnTo>
                    <a:lnTo>
                      <a:pt x="129" y="385"/>
                    </a:lnTo>
                    <a:lnTo>
                      <a:pt x="140" y="381"/>
                    </a:lnTo>
                    <a:lnTo>
                      <a:pt x="150" y="375"/>
                    </a:lnTo>
                    <a:lnTo>
                      <a:pt x="161" y="368"/>
                    </a:lnTo>
                    <a:lnTo>
                      <a:pt x="171" y="359"/>
                    </a:lnTo>
                    <a:lnTo>
                      <a:pt x="181" y="350"/>
                    </a:lnTo>
                    <a:lnTo>
                      <a:pt x="190" y="338"/>
                    </a:lnTo>
                    <a:lnTo>
                      <a:pt x="199" y="326"/>
                    </a:lnTo>
                    <a:lnTo>
                      <a:pt x="208" y="312"/>
                    </a:lnTo>
                    <a:lnTo>
                      <a:pt x="215" y="297"/>
                    </a:lnTo>
                    <a:lnTo>
                      <a:pt x="223" y="281"/>
                    </a:lnTo>
                    <a:lnTo>
                      <a:pt x="229" y="265"/>
                    </a:lnTo>
                    <a:lnTo>
                      <a:pt x="235" y="248"/>
                    </a:lnTo>
                    <a:lnTo>
                      <a:pt x="239" y="230"/>
                    </a:lnTo>
                    <a:lnTo>
                      <a:pt x="242" y="211"/>
                    </a:lnTo>
                    <a:lnTo>
                      <a:pt x="244" y="193"/>
                    </a:lnTo>
                    <a:lnTo>
                      <a:pt x="246" y="176"/>
                    </a:lnTo>
                    <a:lnTo>
                      <a:pt x="246" y="158"/>
                    </a:lnTo>
                    <a:lnTo>
                      <a:pt x="244" y="142"/>
                    </a:lnTo>
                    <a:lnTo>
                      <a:pt x="243" y="126"/>
                    </a:lnTo>
                    <a:lnTo>
                      <a:pt x="240" y="111"/>
                    </a:lnTo>
                    <a:lnTo>
                      <a:pt x="236" y="97"/>
                    </a:lnTo>
                    <a:lnTo>
                      <a:pt x="231" y="83"/>
                    </a:lnTo>
                    <a:lnTo>
                      <a:pt x="226" y="71"/>
                    </a:lnTo>
                    <a:lnTo>
                      <a:pt x="220" y="60"/>
                    </a:lnTo>
                    <a:lnTo>
                      <a:pt x="212" y="50"/>
                    </a:lnTo>
                    <a:lnTo>
                      <a:pt x="204" y="43"/>
                    </a:lnTo>
                    <a:lnTo>
                      <a:pt x="196" y="35"/>
                    </a:lnTo>
                    <a:lnTo>
                      <a:pt x="186" y="31"/>
                    </a:lnTo>
                    <a:lnTo>
                      <a:pt x="176" y="28"/>
                    </a:lnTo>
                    <a:lnTo>
                      <a:pt x="170" y="27"/>
                    </a:lnTo>
                    <a:lnTo>
                      <a:pt x="16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86"/>
              <p:cNvSpPr>
                <a:spLocks/>
              </p:cNvSpPr>
              <p:nvPr userDrawn="1"/>
            </p:nvSpPr>
            <p:spPr bwMode="auto">
              <a:xfrm>
                <a:off x="2435" y="2581"/>
                <a:ext cx="87" cy="565"/>
              </a:xfrm>
              <a:custGeom>
                <a:avLst/>
                <a:gdLst>
                  <a:gd name="T0" fmla="*/ 49 w 260"/>
                  <a:gd name="T1" fmla="*/ 1696 h 1697"/>
                  <a:gd name="T2" fmla="*/ 42 w 260"/>
                  <a:gd name="T3" fmla="*/ 1690 h 1697"/>
                  <a:gd name="T4" fmla="*/ 31 w 260"/>
                  <a:gd name="T5" fmla="*/ 1637 h 1697"/>
                  <a:gd name="T6" fmla="*/ 18 w 260"/>
                  <a:gd name="T7" fmla="*/ 1540 h 1697"/>
                  <a:gd name="T8" fmla="*/ 9 w 260"/>
                  <a:gd name="T9" fmla="*/ 1441 h 1697"/>
                  <a:gd name="T10" fmla="*/ 2 w 260"/>
                  <a:gd name="T11" fmla="*/ 1339 h 1697"/>
                  <a:gd name="T12" fmla="*/ 0 w 260"/>
                  <a:gd name="T13" fmla="*/ 1236 h 1697"/>
                  <a:gd name="T14" fmla="*/ 1 w 260"/>
                  <a:gd name="T15" fmla="*/ 1132 h 1697"/>
                  <a:gd name="T16" fmla="*/ 6 w 260"/>
                  <a:gd name="T17" fmla="*/ 1026 h 1697"/>
                  <a:gd name="T18" fmla="*/ 15 w 260"/>
                  <a:gd name="T19" fmla="*/ 920 h 1697"/>
                  <a:gd name="T20" fmla="*/ 27 w 260"/>
                  <a:gd name="T21" fmla="*/ 813 h 1697"/>
                  <a:gd name="T22" fmla="*/ 43 w 260"/>
                  <a:gd name="T23" fmla="*/ 705 h 1697"/>
                  <a:gd name="T24" fmla="*/ 63 w 260"/>
                  <a:gd name="T25" fmla="*/ 597 h 1697"/>
                  <a:gd name="T26" fmla="*/ 86 w 260"/>
                  <a:gd name="T27" fmla="*/ 489 h 1697"/>
                  <a:gd name="T28" fmla="*/ 113 w 260"/>
                  <a:gd name="T29" fmla="*/ 381 h 1697"/>
                  <a:gd name="T30" fmla="*/ 144 w 260"/>
                  <a:gd name="T31" fmla="*/ 274 h 1697"/>
                  <a:gd name="T32" fmla="*/ 177 w 260"/>
                  <a:gd name="T33" fmla="*/ 167 h 1697"/>
                  <a:gd name="T34" fmla="*/ 214 w 260"/>
                  <a:gd name="T35" fmla="*/ 61 h 1697"/>
                  <a:gd name="T36" fmla="*/ 238 w 260"/>
                  <a:gd name="T37" fmla="*/ 4 h 1697"/>
                  <a:gd name="T38" fmla="*/ 246 w 260"/>
                  <a:gd name="T39" fmla="*/ 0 h 1697"/>
                  <a:gd name="T40" fmla="*/ 256 w 260"/>
                  <a:gd name="T41" fmla="*/ 4 h 1697"/>
                  <a:gd name="T42" fmla="*/ 260 w 260"/>
                  <a:gd name="T43" fmla="*/ 14 h 1697"/>
                  <a:gd name="T44" fmla="*/ 240 w 260"/>
                  <a:gd name="T45" fmla="*/ 71 h 1697"/>
                  <a:gd name="T46" fmla="*/ 203 w 260"/>
                  <a:gd name="T47" fmla="*/ 176 h 1697"/>
                  <a:gd name="T48" fmla="*/ 170 w 260"/>
                  <a:gd name="T49" fmla="*/ 282 h 1697"/>
                  <a:gd name="T50" fmla="*/ 139 w 260"/>
                  <a:gd name="T51" fmla="*/ 387 h 1697"/>
                  <a:gd name="T52" fmla="*/ 112 w 260"/>
                  <a:gd name="T53" fmla="*/ 494 h 1697"/>
                  <a:gd name="T54" fmla="*/ 90 w 260"/>
                  <a:gd name="T55" fmla="*/ 601 h 1697"/>
                  <a:gd name="T56" fmla="*/ 70 w 260"/>
                  <a:gd name="T57" fmla="*/ 709 h 1697"/>
                  <a:gd name="T58" fmla="*/ 54 w 260"/>
                  <a:gd name="T59" fmla="*/ 815 h 1697"/>
                  <a:gd name="T60" fmla="*/ 42 w 260"/>
                  <a:gd name="T61" fmla="*/ 922 h 1697"/>
                  <a:gd name="T62" fmla="*/ 33 w 260"/>
                  <a:gd name="T63" fmla="*/ 1027 h 1697"/>
                  <a:gd name="T64" fmla="*/ 28 w 260"/>
                  <a:gd name="T65" fmla="*/ 1132 h 1697"/>
                  <a:gd name="T66" fmla="*/ 27 w 260"/>
                  <a:gd name="T67" fmla="*/ 1236 h 1697"/>
                  <a:gd name="T68" fmla="*/ 29 w 260"/>
                  <a:gd name="T69" fmla="*/ 1337 h 1697"/>
                  <a:gd name="T70" fmla="*/ 35 w 260"/>
                  <a:gd name="T71" fmla="*/ 1438 h 1697"/>
                  <a:gd name="T72" fmla="*/ 45 w 260"/>
                  <a:gd name="T73" fmla="*/ 1537 h 1697"/>
                  <a:gd name="T74" fmla="*/ 58 w 260"/>
                  <a:gd name="T75" fmla="*/ 1633 h 1697"/>
                  <a:gd name="T76" fmla="*/ 67 w 260"/>
                  <a:gd name="T77" fmla="*/ 1686 h 1697"/>
                  <a:gd name="T78" fmla="*/ 60 w 260"/>
                  <a:gd name="T79" fmla="*/ 1695 h 1697"/>
                  <a:gd name="T80" fmla="*/ 54 w 260"/>
                  <a:gd name="T81" fmla="*/ 1697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1697">
                    <a:moveTo>
                      <a:pt x="53" y="1697"/>
                    </a:moveTo>
                    <a:lnTo>
                      <a:pt x="49" y="1696"/>
                    </a:lnTo>
                    <a:lnTo>
                      <a:pt x="44" y="1694"/>
                    </a:lnTo>
                    <a:lnTo>
                      <a:pt x="42" y="1690"/>
                    </a:lnTo>
                    <a:lnTo>
                      <a:pt x="40" y="1686"/>
                    </a:lnTo>
                    <a:lnTo>
                      <a:pt x="31" y="1637"/>
                    </a:lnTo>
                    <a:lnTo>
                      <a:pt x="25" y="1589"/>
                    </a:lnTo>
                    <a:lnTo>
                      <a:pt x="18" y="1540"/>
                    </a:lnTo>
                    <a:lnTo>
                      <a:pt x="13" y="1491"/>
                    </a:lnTo>
                    <a:lnTo>
                      <a:pt x="9" y="1441"/>
                    </a:lnTo>
                    <a:lnTo>
                      <a:pt x="4" y="1390"/>
                    </a:lnTo>
                    <a:lnTo>
                      <a:pt x="2" y="1339"/>
                    </a:lnTo>
                    <a:lnTo>
                      <a:pt x="0" y="1288"/>
                    </a:lnTo>
                    <a:lnTo>
                      <a:pt x="0" y="1236"/>
                    </a:lnTo>
                    <a:lnTo>
                      <a:pt x="0" y="1184"/>
                    </a:lnTo>
                    <a:lnTo>
                      <a:pt x="1" y="1132"/>
                    </a:lnTo>
                    <a:lnTo>
                      <a:pt x="3" y="1079"/>
                    </a:lnTo>
                    <a:lnTo>
                      <a:pt x="6" y="1026"/>
                    </a:lnTo>
                    <a:lnTo>
                      <a:pt x="10" y="972"/>
                    </a:lnTo>
                    <a:lnTo>
                      <a:pt x="15" y="920"/>
                    </a:lnTo>
                    <a:lnTo>
                      <a:pt x="21" y="866"/>
                    </a:lnTo>
                    <a:lnTo>
                      <a:pt x="27" y="813"/>
                    </a:lnTo>
                    <a:lnTo>
                      <a:pt x="35" y="759"/>
                    </a:lnTo>
                    <a:lnTo>
                      <a:pt x="43" y="705"/>
                    </a:lnTo>
                    <a:lnTo>
                      <a:pt x="53" y="651"/>
                    </a:lnTo>
                    <a:lnTo>
                      <a:pt x="63" y="597"/>
                    </a:lnTo>
                    <a:lnTo>
                      <a:pt x="75" y="543"/>
                    </a:lnTo>
                    <a:lnTo>
                      <a:pt x="86" y="489"/>
                    </a:lnTo>
                    <a:lnTo>
                      <a:pt x="99" y="435"/>
                    </a:lnTo>
                    <a:lnTo>
                      <a:pt x="113" y="381"/>
                    </a:lnTo>
                    <a:lnTo>
                      <a:pt x="127" y="327"/>
                    </a:lnTo>
                    <a:lnTo>
                      <a:pt x="144" y="274"/>
                    </a:lnTo>
                    <a:lnTo>
                      <a:pt x="160" y="220"/>
                    </a:lnTo>
                    <a:lnTo>
                      <a:pt x="177" y="167"/>
                    </a:lnTo>
                    <a:lnTo>
                      <a:pt x="195" y="114"/>
                    </a:lnTo>
                    <a:lnTo>
                      <a:pt x="214" y="61"/>
                    </a:lnTo>
                    <a:lnTo>
                      <a:pt x="234" y="8"/>
                    </a:lnTo>
                    <a:lnTo>
                      <a:pt x="238" y="4"/>
                    </a:lnTo>
                    <a:lnTo>
                      <a:pt x="242" y="1"/>
                    </a:lnTo>
                    <a:lnTo>
                      <a:pt x="246" y="0"/>
                    </a:lnTo>
                    <a:lnTo>
                      <a:pt x="252" y="1"/>
                    </a:lnTo>
                    <a:lnTo>
                      <a:pt x="256" y="4"/>
                    </a:lnTo>
                    <a:lnTo>
                      <a:pt x="259" y="8"/>
                    </a:lnTo>
                    <a:lnTo>
                      <a:pt x="260" y="14"/>
                    </a:lnTo>
                    <a:lnTo>
                      <a:pt x="259" y="18"/>
                    </a:lnTo>
                    <a:lnTo>
                      <a:pt x="240" y="71"/>
                    </a:lnTo>
                    <a:lnTo>
                      <a:pt x="220" y="123"/>
                    </a:lnTo>
                    <a:lnTo>
                      <a:pt x="203" y="176"/>
                    </a:lnTo>
                    <a:lnTo>
                      <a:pt x="186" y="229"/>
                    </a:lnTo>
                    <a:lnTo>
                      <a:pt x="170" y="282"/>
                    </a:lnTo>
                    <a:lnTo>
                      <a:pt x="153" y="334"/>
                    </a:lnTo>
                    <a:lnTo>
                      <a:pt x="139" y="387"/>
                    </a:lnTo>
                    <a:lnTo>
                      <a:pt x="125" y="441"/>
                    </a:lnTo>
                    <a:lnTo>
                      <a:pt x="112" y="494"/>
                    </a:lnTo>
                    <a:lnTo>
                      <a:pt x="100" y="548"/>
                    </a:lnTo>
                    <a:lnTo>
                      <a:pt x="90" y="601"/>
                    </a:lnTo>
                    <a:lnTo>
                      <a:pt x="80" y="655"/>
                    </a:lnTo>
                    <a:lnTo>
                      <a:pt x="70" y="709"/>
                    </a:lnTo>
                    <a:lnTo>
                      <a:pt x="62" y="762"/>
                    </a:lnTo>
                    <a:lnTo>
                      <a:pt x="54" y="815"/>
                    </a:lnTo>
                    <a:lnTo>
                      <a:pt x="48" y="869"/>
                    </a:lnTo>
                    <a:lnTo>
                      <a:pt x="42" y="922"/>
                    </a:lnTo>
                    <a:lnTo>
                      <a:pt x="37" y="975"/>
                    </a:lnTo>
                    <a:lnTo>
                      <a:pt x="33" y="1027"/>
                    </a:lnTo>
                    <a:lnTo>
                      <a:pt x="30" y="1079"/>
                    </a:lnTo>
                    <a:lnTo>
                      <a:pt x="28" y="1132"/>
                    </a:lnTo>
                    <a:lnTo>
                      <a:pt x="27" y="1184"/>
                    </a:lnTo>
                    <a:lnTo>
                      <a:pt x="27" y="1236"/>
                    </a:lnTo>
                    <a:lnTo>
                      <a:pt x="27" y="1287"/>
                    </a:lnTo>
                    <a:lnTo>
                      <a:pt x="29" y="1337"/>
                    </a:lnTo>
                    <a:lnTo>
                      <a:pt x="31" y="1388"/>
                    </a:lnTo>
                    <a:lnTo>
                      <a:pt x="35" y="1438"/>
                    </a:lnTo>
                    <a:lnTo>
                      <a:pt x="40" y="1487"/>
                    </a:lnTo>
                    <a:lnTo>
                      <a:pt x="45" y="1537"/>
                    </a:lnTo>
                    <a:lnTo>
                      <a:pt x="51" y="1586"/>
                    </a:lnTo>
                    <a:lnTo>
                      <a:pt x="58" y="1633"/>
                    </a:lnTo>
                    <a:lnTo>
                      <a:pt x="67" y="1681"/>
                    </a:lnTo>
                    <a:lnTo>
                      <a:pt x="67" y="1686"/>
                    </a:lnTo>
                    <a:lnTo>
                      <a:pt x="65" y="1691"/>
                    </a:lnTo>
                    <a:lnTo>
                      <a:pt x="60" y="1695"/>
                    </a:lnTo>
                    <a:lnTo>
                      <a:pt x="56" y="1697"/>
                    </a:lnTo>
                    <a:lnTo>
                      <a:pt x="54" y="1697"/>
                    </a:lnTo>
                    <a:lnTo>
                      <a:pt x="53" y="16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87"/>
              <p:cNvSpPr>
                <a:spLocks/>
              </p:cNvSpPr>
              <p:nvPr userDrawn="1"/>
            </p:nvSpPr>
            <p:spPr bwMode="auto">
              <a:xfrm>
                <a:off x="2473" y="2617"/>
                <a:ext cx="49" cy="492"/>
              </a:xfrm>
              <a:custGeom>
                <a:avLst/>
                <a:gdLst>
                  <a:gd name="T0" fmla="*/ 92 w 148"/>
                  <a:gd name="T1" fmla="*/ 1476 h 1478"/>
                  <a:gd name="T2" fmla="*/ 86 w 148"/>
                  <a:gd name="T3" fmla="*/ 1472 h 1478"/>
                  <a:gd name="T4" fmla="*/ 73 w 148"/>
                  <a:gd name="T5" fmla="*/ 1426 h 1478"/>
                  <a:gd name="T6" fmla="*/ 53 w 148"/>
                  <a:gd name="T7" fmla="*/ 1343 h 1478"/>
                  <a:gd name="T8" fmla="*/ 36 w 148"/>
                  <a:gd name="T9" fmla="*/ 1257 h 1478"/>
                  <a:gd name="T10" fmla="*/ 23 w 148"/>
                  <a:gd name="T11" fmla="*/ 1171 h 1478"/>
                  <a:gd name="T12" fmla="*/ 12 w 148"/>
                  <a:gd name="T13" fmla="*/ 1084 h 1478"/>
                  <a:gd name="T14" fmla="*/ 5 w 148"/>
                  <a:gd name="T15" fmla="*/ 996 h 1478"/>
                  <a:gd name="T16" fmla="*/ 1 w 148"/>
                  <a:gd name="T17" fmla="*/ 907 h 1478"/>
                  <a:gd name="T18" fmla="*/ 0 w 148"/>
                  <a:gd name="T19" fmla="*/ 816 h 1478"/>
                  <a:gd name="T20" fmla="*/ 2 w 148"/>
                  <a:gd name="T21" fmla="*/ 725 h 1478"/>
                  <a:gd name="T22" fmla="*/ 8 w 148"/>
                  <a:gd name="T23" fmla="*/ 632 h 1478"/>
                  <a:gd name="T24" fmla="*/ 17 w 148"/>
                  <a:gd name="T25" fmla="*/ 539 h 1478"/>
                  <a:gd name="T26" fmla="*/ 28 w 148"/>
                  <a:gd name="T27" fmla="*/ 444 h 1478"/>
                  <a:gd name="T28" fmla="*/ 44 w 148"/>
                  <a:gd name="T29" fmla="*/ 350 h 1478"/>
                  <a:gd name="T30" fmla="*/ 62 w 148"/>
                  <a:gd name="T31" fmla="*/ 253 h 1478"/>
                  <a:gd name="T32" fmla="*/ 83 w 148"/>
                  <a:gd name="T33" fmla="*/ 157 h 1478"/>
                  <a:gd name="T34" fmla="*/ 108 w 148"/>
                  <a:gd name="T35" fmla="*/ 59 h 1478"/>
                  <a:gd name="T36" fmla="*/ 124 w 148"/>
                  <a:gd name="T37" fmla="*/ 5 h 1478"/>
                  <a:gd name="T38" fmla="*/ 133 w 148"/>
                  <a:gd name="T39" fmla="*/ 0 h 1478"/>
                  <a:gd name="T40" fmla="*/ 143 w 148"/>
                  <a:gd name="T41" fmla="*/ 3 h 1478"/>
                  <a:gd name="T42" fmla="*/ 148 w 148"/>
                  <a:gd name="T43" fmla="*/ 12 h 1478"/>
                  <a:gd name="T44" fmla="*/ 134 w 148"/>
                  <a:gd name="T45" fmla="*/ 66 h 1478"/>
                  <a:gd name="T46" fmla="*/ 110 w 148"/>
                  <a:gd name="T47" fmla="*/ 163 h 1478"/>
                  <a:gd name="T48" fmla="*/ 89 w 148"/>
                  <a:gd name="T49" fmla="*/ 259 h 1478"/>
                  <a:gd name="T50" fmla="*/ 70 w 148"/>
                  <a:gd name="T51" fmla="*/ 354 h 1478"/>
                  <a:gd name="T52" fmla="*/ 55 w 148"/>
                  <a:gd name="T53" fmla="*/ 448 h 1478"/>
                  <a:gd name="T54" fmla="*/ 44 w 148"/>
                  <a:gd name="T55" fmla="*/ 542 h 1478"/>
                  <a:gd name="T56" fmla="*/ 35 w 148"/>
                  <a:gd name="T57" fmla="*/ 633 h 1478"/>
                  <a:gd name="T58" fmla="*/ 29 w 148"/>
                  <a:gd name="T59" fmla="*/ 725 h 1478"/>
                  <a:gd name="T60" fmla="*/ 27 w 148"/>
                  <a:gd name="T61" fmla="*/ 816 h 1478"/>
                  <a:gd name="T62" fmla="*/ 28 w 148"/>
                  <a:gd name="T63" fmla="*/ 905 h 1478"/>
                  <a:gd name="T64" fmla="*/ 32 w 148"/>
                  <a:gd name="T65" fmla="*/ 993 h 1478"/>
                  <a:gd name="T66" fmla="*/ 39 w 148"/>
                  <a:gd name="T67" fmla="*/ 1080 h 1478"/>
                  <a:gd name="T68" fmla="*/ 49 w 148"/>
                  <a:gd name="T69" fmla="*/ 1167 h 1478"/>
                  <a:gd name="T70" fmla="*/ 63 w 148"/>
                  <a:gd name="T71" fmla="*/ 1252 h 1478"/>
                  <a:gd name="T72" fmla="*/ 79 w 148"/>
                  <a:gd name="T73" fmla="*/ 1336 h 1478"/>
                  <a:gd name="T74" fmla="*/ 99 w 148"/>
                  <a:gd name="T75" fmla="*/ 1419 h 1478"/>
                  <a:gd name="T76" fmla="*/ 110 w 148"/>
                  <a:gd name="T77" fmla="*/ 1466 h 1478"/>
                  <a:gd name="T78" fmla="*/ 105 w 148"/>
                  <a:gd name="T79" fmla="*/ 1474 h 1478"/>
                  <a:gd name="T80" fmla="*/ 99 w 148"/>
                  <a:gd name="T81"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478">
                    <a:moveTo>
                      <a:pt x="96" y="1478"/>
                    </a:moveTo>
                    <a:lnTo>
                      <a:pt x="92" y="1476"/>
                    </a:lnTo>
                    <a:lnTo>
                      <a:pt x="89" y="1474"/>
                    </a:lnTo>
                    <a:lnTo>
                      <a:pt x="86" y="1472"/>
                    </a:lnTo>
                    <a:lnTo>
                      <a:pt x="83" y="1468"/>
                    </a:lnTo>
                    <a:lnTo>
                      <a:pt x="73" y="1426"/>
                    </a:lnTo>
                    <a:lnTo>
                      <a:pt x="62" y="1385"/>
                    </a:lnTo>
                    <a:lnTo>
                      <a:pt x="53" y="1343"/>
                    </a:lnTo>
                    <a:lnTo>
                      <a:pt x="44" y="1299"/>
                    </a:lnTo>
                    <a:lnTo>
                      <a:pt x="36" y="1257"/>
                    </a:lnTo>
                    <a:lnTo>
                      <a:pt x="28" y="1214"/>
                    </a:lnTo>
                    <a:lnTo>
                      <a:pt x="23" y="1171"/>
                    </a:lnTo>
                    <a:lnTo>
                      <a:pt x="17" y="1128"/>
                    </a:lnTo>
                    <a:lnTo>
                      <a:pt x="12" y="1084"/>
                    </a:lnTo>
                    <a:lnTo>
                      <a:pt x="8" y="1040"/>
                    </a:lnTo>
                    <a:lnTo>
                      <a:pt x="5" y="996"/>
                    </a:lnTo>
                    <a:lnTo>
                      <a:pt x="2" y="951"/>
                    </a:lnTo>
                    <a:lnTo>
                      <a:pt x="1" y="907"/>
                    </a:lnTo>
                    <a:lnTo>
                      <a:pt x="0" y="861"/>
                    </a:lnTo>
                    <a:lnTo>
                      <a:pt x="0" y="816"/>
                    </a:lnTo>
                    <a:lnTo>
                      <a:pt x="1" y="770"/>
                    </a:lnTo>
                    <a:lnTo>
                      <a:pt x="2" y="725"/>
                    </a:lnTo>
                    <a:lnTo>
                      <a:pt x="5" y="679"/>
                    </a:lnTo>
                    <a:lnTo>
                      <a:pt x="8" y="632"/>
                    </a:lnTo>
                    <a:lnTo>
                      <a:pt x="12" y="586"/>
                    </a:lnTo>
                    <a:lnTo>
                      <a:pt x="17" y="539"/>
                    </a:lnTo>
                    <a:lnTo>
                      <a:pt x="23" y="492"/>
                    </a:lnTo>
                    <a:lnTo>
                      <a:pt x="28" y="444"/>
                    </a:lnTo>
                    <a:lnTo>
                      <a:pt x="36" y="397"/>
                    </a:lnTo>
                    <a:lnTo>
                      <a:pt x="44" y="350"/>
                    </a:lnTo>
                    <a:lnTo>
                      <a:pt x="53" y="302"/>
                    </a:lnTo>
                    <a:lnTo>
                      <a:pt x="62" y="253"/>
                    </a:lnTo>
                    <a:lnTo>
                      <a:pt x="73" y="206"/>
                    </a:lnTo>
                    <a:lnTo>
                      <a:pt x="83" y="157"/>
                    </a:lnTo>
                    <a:lnTo>
                      <a:pt x="95" y="108"/>
                    </a:lnTo>
                    <a:lnTo>
                      <a:pt x="108" y="59"/>
                    </a:lnTo>
                    <a:lnTo>
                      <a:pt x="122" y="9"/>
                    </a:lnTo>
                    <a:lnTo>
                      <a:pt x="124" y="5"/>
                    </a:lnTo>
                    <a:lnTo>
                      <a:pt x="128" y="2"/>
                    </a:lnTo>
                    <a:lnTo>
                      <a:pt x="133" y="0"/>
                    </a:lnTo>
                    <a:lnTo>
                      <a:pt x="139" y="1"/>
                    </a:lnTo>
                    <a:lnTo>
                      <a:pt x="143" y="3"/>
                    </a:lnTo>
                    <a:lnTo>
                      <a:pt x="147" y="7"/>
                    </a:lnTo>
                    <a:lnTo>
                      <a:pt x="148" y="12"/>
                    </a:lnTo>
                    <a:lnTo>
                      <a:pt x="148" y="17"/>
                    </a:lnTo>
                    <a:lnTo>
                      <a:pt x="134" y="66"/>
                    </a:lnTo>
                    <a:lnTo>
                      <a:pt x="122" y="114"/>
                    </a:lnTo>
                    <a:lnTo>
                      <a:pt x="110" y="163"/>
                    </a:lnTo>
                    <a:lnTo>
                      <a:pt x="99" y="211"/>
                    </a:lnTo>
                    <a:lnTo>
                      <a:pt x="89" y="259"/>
                    </a:lnTo>
                    <a:lnTo>
                      <a:pt x="79" y="306"/>
                    </a:lnTo>
                    <a:lnTo>
                      <a:pt x="70" y="354"/>
                    </a:lnTo>
                    <a:lnTo>
                      <a:pt x="63" y="401"/>
                    </a:lnTo>
                    <a:lnTo>
                      <a:pt x="55" y="448"/>
                    </a:lnTo>
                    <a:lnTo>
                      <a:pt x="49" y="495"/>
                    </a:lnTo>
                    <a:lnTo>
                      <a:pt x="44" y="542"/>
                    </a:lnTo>
                    <a:lnTo>
                      <a:pt x="39" y="588"/>
                    </a:lnTo>
                    <a:lnTo>
                      <a:pt x="35" y="633"/>
                    </a:lnTo>
                    <a:lnTo>
                      <a:pt x="32" y="680"/>
                    </a:lnTo>
                    <a:lnTo>
                      <a:pt x="29" y="725"/>
                    </a:lnTo>
                    <a:lnTo>
                      <a:pt x="28" y="770"/>
                    </a:lnTo>
                    <a:lnTo>
                      <a:pt x="27" y="816"/>
                    </a:lnTo>
                    <a:lnTo>
                      <a:pt x="27" y="860"/>
                    </a:lnTo>
                    <a:lnTo>
                      <a:pt x="28" y="905"/>
                    </a:lnTo>
                    <a:lnTo>
                      <a:pt x="29" y="950"/>
                    </a:lnTo>
                    <a:lnTo>
                      <a:pt x="32" y="993"/>
                    </a:lnTo>
                    <a:lnTo>
                      <a:pt x="35" y="1037"/>
                    </a:lnTo>
                    <a:lnTo>
                      <a:pt x="39" y="1080"/>
                    </a:lnTo>
                    <a:lnTo>
                      <a:pt x="44" y="1125"/>
                    </a:lnTo>
                    <a:lnTo>
                      <a:pt x="49" y="1167"/>
                    </a:lnTo>
                    <a:lnTo>
                      <a:pt x="55" y="1210"/>
                    </a:lnTo>
                    <a:lnTo>
                      <a:pt x="63" y="1252"/>
                    </a:lnTo>
                    <a:lnTo>
                      <a:pt x="70" y="1294"/>
                    </a:lnTo>
                    <a:lnTo>
                      <a:pt x="79" y="1336"/>
                    </a:lnTo>
                    <a:lnTo>
                      <a:pt x="89" y="1378"/>
                    </a:lnTo>
                    <a:lnTo>
                      <a:pt x="99" y="1419"/>
                    </a:lnTo>
                    <a:lnTo>
                      <a:pt x="109" y="1460"/>
                    </a:lnTo>
                    <a:lnTo>
                      <a:pt x="110" y="1466"/>
                    </a:lnTo>
                    <a:lnTo>
                      <a:pt x="108" y="1471"/>
                    </a:lnTo>
                    <a:lnTo>
                      <a:pt x="105" y="1474"/>
                    </a:lnTo>
                    <a:lnTo>
                      <a:pt x="101" y="1478"/>
                    </a:lnTo>
                    <a:lnTo>
                      <a:pt x="99" y="1478"/>
                    </a:lnTo>
                    <a:lnTo>
                      <a:pt x="96" y="1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8"/>
              <p:cNvSpPr>
                <a:spLocks/>
              </p:cNvSpPr>
              <p:nvPr userDrawn="1"/>
            </p:nvSpPr>
            <p:spPr bwMode="auto">
              <a:xfrm>
                <a:off x="2510" y="2664"/>
                <a:ext cx="64" cy="430"/>
              </a:xfrm>
              <a:custGeom>
                <a:avLst/>
                <a:gdLst>
                  <a:gd name="T0" fmla="*/ 172 w 191"/>
                  <a:gd name="T1" fmla="*/ 1288 h 1289"/>
                  <a:gd name="T2" fmla="*/ 166 w 191"/>
                  <a:gd name="T3" fmla="*/ 1283 h 1289"/>
                  <a:gd name="T4" fmla="*/ 137 w 191"/>
                  <a:gd name="T5" fmla="*/ 1184 h 1289"/>
                  <a:gd name="T6" fmla="*/ 90 w 191"/>
                  <a:gd name="T7" fmla="*/ 1002 h 1289"/>
                  <a:gd name="T8" fmla="*/ 54 w 191"/>
                  <a:gd name="T9" fmla="*/ 828 h 1289"/>
                  <a:gd name="T10" fmla="*/ 27 w 191"/>
                  <a:gd name="T11" fmla="*/ 662 h 1289"/>
                  <a:gd name="T12" fmla="*/ 13 w 191"/>
                  <a:gd name="T13" fmla="*/ 543 h 1289"/>
                  <a:gd name="T14" fmla="*/ 6 w 191"/>
                  <a:gd name="T15" fmla="*/ 467 h 1289"/>
                  <a:gd name="T16" fmla="*/ 2 w 191"/>
                  <a:gd name="T17" fmla="*/ 391 h 1289"/>
                  <a:gd name="T18" fmla="*/ 0 w 191"/>
                  <a:gd name="T19" fmla="*/ 318 h 1289"/>
                  <a:gd name="T20" fmla="*/ 1 w 191"/>
                  <a:gd name="T21" fmla="*/ 246 h 1289"/>
                  <a:gd name="T22" fmla="*/ 3 w 191"/>
                  <a:gd name="T23" fmla="*/ 177 h 1289"/>
                  <a:gd name="T24" fmla="*/ 8 w 191"/>
                  <a:gd name="T25" fmla="*/ 109 h 1289"/>
                  <a:gd name="T26" fmla="*/ 16 w 191"/>
                  <a:gd name="T27" fmla="*/ 43 h 1289"/>
                  <a:gd name="T28" fmla="*/ 22 w 191"/>
                  <a:gd name="T29" fmla="*/ 7 h 1289"/>
                  <a:gd name="T30" fmla="*/ 30 w 191"/>
                  <a:gd name="T31" fmla="*/ 0 h 1289"/>
                  <a:gd name="T32" fmla="*/ 41 w 191"/>
                  <a:gd name="T33" fmla="*/ 2 h 1289"/>
                  <a:gd name="T34" fmla="*/ 47 w 191"/>
                  <a:gd name="T35" fmla="*/ 10 h 1289"/>
                  <a:gd name="T36" fmla="*/ 43 w 191"/>
                  <a:gd name="T37" fmla="*/ 48 h 1289"/>
                  <a:gd name="T38" fmla="*/ 35 w 191"/>
                  <a:gd name="T39" fmla="*/ 113 h 1289"/>
                  <a:gd name="T40" fmla="*/ 30 w 191"/>
                  <a:gd name="T41" fmla="*/ 179 h 1289"/>
                  <a:gd name="T42" fmla="*/ 28 w 191"/>
                  <a:gd name="T43" fmla="*/ 249 h 1289"/>
                  <a:gd name="T44" fmla="*/ 27 w 191"/>
                  <a:gd name="T45" fmla="*/ 319 h 1289"/>
                  <a:gd name="T46" fmla="*/ 29 w 191"/>
                  <a:gd name="T47" fmla="*/ 391 h 1289"/>
                  <a:gd name="T48" fmla="*/ 36 w 191"/>
                  <a:gd name="T49" fmla="*/ 503 h 1289"/>
                  <a:gd name="T50" fmla="*/ 54 w 191"/>
                  <a:gd name="T51" fmla="*/ 660 h 1289"/>
                  <a:gd name="T52" fmla="*/ 81 w 191"/>
                  <a:gd name="T53" fmla="*/ 824 h 1289"/>
                  <a:gd name="T54" fmla="*/ 117 w 191"/>
                  <a:gd name="T55" fmla="*/ 997 h 1289"/>
                  <a:gd name="T56" fmla="*/ 164 w 191"/>
                  <a:gd name="T57" fmla="*/ 1178 h 1289"/>
                  <a:gd name="T58" fmla="*/ 191 w 191"/>
                  <a:gd name="T59" fmla="*/ 1277 h 1289"/>
                  <a:gd name="T60" fmla="*/ 185 w 191"/>
                  <a:gd name="T61" fmla="*/ 1286 h 1289"/>
                  <a:gd name="T62" fmla="*/ 179 w 191"/>
                  <a:gd name="T63"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1289">
                    <a:moveTo>
                      <a:pt x="177" y="1289"/>
                    </a:moveTo>
                    <a:lnTo>
                      <a:pt x="172" y="1288"/>
                    </a:lnTo>
                    <a:lnTo>
                      <a:pt x="169" y="1286"/>
                    </a:lnTo>
                    <a:lnTo>
                      <a:pt x="166" y="1283"/>
                    </a:lnTo>
                    <a:lnTo>
                      <a:pt x="164" y="1279"/>
                    </a:lnTo>
                    <a:lnTo>
                      <a:pt x="137" y="1184"/>
                    </a:lnTo>
                    <a:lnTo>
                      <a:pt x="113" y="1092"/>
                    </a:lnTo>
                    <a:lnTo>
                      <a:pt x="90" y="1002"/>
                    </a:lnTo>
                    <a:lnTo>
                      <a:pt x="71" y="913"/>
                    </a:lnTo>
                    <a:lnTo>
                      <a:pt x="54" y="828"/>
                    </a:lnTo>
                    <a:lnTo>
                      <a:pt x="40" y="744"/>
                    </a:lnTo>
                    <a:lnTo>
                      <a:pt x="27" y="662"/>
                    </a:lnTo>
                    <a:lnTo>
                      <a:pt x="17" y="582"/>
                    </a:lnTo>
                    <a:lnTo>
                      <a:pt x="13" y="543"/>
                    </a:lnTo>
                    <a:lnTo>
                      <a:pt x="9" y="504"/>
                    </a:lnTo>
                    <a:lnTo>
                      <a:pt x="6" y="467"/>
                    </a:lnTo>
                    <a:lnTo>
                      <a:pt x="4" y="429"/>
                    </a:lnTo>
                    <a:lnTo>
                      <a:pt x="2" y="391"/>
                    </a:lnTo>
                    <a:lnTo>
                      <a:pt x="1" y="354"/>
                    </a:lnTo>
                    <a:lnTo>
                      <a:pt x="0" y="318"/>
                    </a:lnTo>
                    <a:lnTo>
                      <a:pt x="0" y="282"/>
                    </a:lnTo>
                    <a:lnTo>
                      <a:pt x="1" y="246"/>
                    </a:lnTo>
                    <a:lnTo>
                      <a:pt x="2" y="212"/>
                    </a:lnTo>
                    <a:lnTo>
                      <a:pt x="3" y="177"/>
                    </a:lnTo>
                    <a:lnTo>
                      <a:pt x="5" y="144"/>
                    </a:lnTo>
                    <a:lnTo>
                      <a:pt x="8" y="109"/>
                    </a:lnTo>
                    <a:lnTo>
                      <a:pt x="11" y="77"/>
                    </a:lnTo>
                    <a:lnTo>
                      <a:pt x="16" y="43"/>
                    </a:lnTo>
                    <a:lnTo>
                      <a:pt x="20" y="12"/>
                    </a:lnTo>
                    <a:lnTo>
                      <a:pt x="22" y="7"/>
                    </a:lnTo>
                    <a:lnTo>
                      <a:pt x="26" y="2"/>
                    </a:lnTo>
                    <a:lnTo>
                      <a:pt x="30" y="0"/>
                    </a:lnTo>
                    <a:lnTo>
                      <a:pt x="35" y="0"/>
                    </a:lnTo>
                    <a:lnTo>
                      <a:pt x="41" y="2"/>
                    </a:lnTo>
                    <a:lnTo>
                      <a:pt x="45" y="6"/>
                    </a:lnTo>
                    <a:lnTo>
                      <a:pt x="47" y="10"/>
                    </a:lnTo>
                    <a:lnTo>
                      <a:pt x="47" y="15"/>
                    </a:lnTo>
                    <a:lnTo>
                      <a:pt x="43" y="48"/>
                    </a:lnTo>
                    <a:lnTo>
                      <a:pt x="38" y="80"/>
                    </a:lnTo>
                    <a:lnTo>
                      <a:pt x="35" y="113"/>
                    </a:lnTo>
                    <a:lnTo>
                      <a:pt x="32" y="146"/>
                    </a:lnTo>
                    <a:lnTo>
                      <a:pt x="30" y="179"/>
                    </a:lnTo>
                    <a:lnTo>
                      <a:pt x="29" y="214"/>
                    </a:lnTo>
                    <a:lnTo>
                      <a:pt x="28" y="249"/>
                    </a:lnTo>
                    <a:lnTo>
                      <a:pt x="27" y="283"/>
                    </a:lnTo>
                    <a:lnTo>
                      <a:pt x="27" y="319"/>
                    </a:lnTo>
                    <a:lnTo>
                      <a:pt x="28" y="354"/>
                    </a:lnTo>
                    <a:lnTo>
                      <a:pt x="29" y="391"/>
                    </a:lnTo>
                    <a:lnTo>
                      <a:pt x="31" y="428"/>
                    </a:lnTo>
                    <a:lnTo>
                      <a:pt x="36" y="503"/>
                    </a:lnTo>
                    <a:lnTo>
                      <a:pt x="44" y="580"/>
                    </a:lnTo>
                    <a:lnTo>
                      <a:pt x="54" y="660"/>
                    </a:lnTo>
                    <a:lnTo>
                      <a:pt x="67" y="741"/>
                    </a:lnTo>
                    <a:lnTo>
                      <a:pt x="81" y="824"/>
                    </a:lnTo>
                    <a:lnTo>
                      <a:pt x="98" y="909"/>
                    </a:lnTo>
                    <a:lnTo>
                      <a:pt x="117" y="997"/>
                    </a:lnTo>
                    <a:lnTo>
                      <a:pt x="139" y="1086"/>
                    </a:lnTo>
                    <a:lnTo>
                      <a:pt x="164" y="1178"/>
                    </a:lnTo>
                    <a:lnTo>
                      <a:pt x="190" y="1272"/>
                    </a:lnTo>
                    <a:lnTo>
                      <a:pt x="191" y="1277"/>
                    </a:lnTo>
                    <a:lnTo>
                      <a:pt x="189" y="1282"/>
                    </a:lnTo>
                    <a:lnTo>
                      <a:pt x="185" y="1286"/>
                    </a:lnTo>
                    <a:lnTo>
                      <a:pt x="181" y="1288"/>
                    </a:lnTo>
                    <a:lnTo>
                      <a:pt x="179" y="1289"/>
                    </a:lnTo>
                    <a:lnTo>
                      <a:pt x="177"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89"/>
              <p:cNvSpPr>
                <a:spLocks/>
              </p:cNvSpPr>
              <p:nvPr userDrawn="1"/>
            </p:nvSpPr>
            <p:spPr bwMode="auto">
              <a:xfrm>
                <a:off x="1907" y="1799"/>
                <a:ext cx="732" cy="399"/>
              </a:xfrm>
              <a:custGeom>
                <a:avLst/>
                <a:gdLst>
                  <a:gd name="T0" fmla="*/ 1038 w 2197"/>
                  <a:gd name="T1" fmla="*/ 1199 h 1199"/>
                  <a:gd name="T2" fmla="*/ 744 w 2197"/>
                  <a:gd name="T3" fmla="*/ 1113 h 1199"/>
                  <a:gd name="T4" fmla="*/ 512 w 2197"/>
                  <a:gd name="T5" fmla="*/ 999 h 1199"/>
                  <a:gd name="T6" fmla="*/ 334 w 2197"/>
                  <a:gd name="T7" fmla="*/ 864 h 1199"/>
                  <a:gd name="T8" fmla="*/ 201 w 2197"/>
                  <a:gd name="T9" fmla="*/ 717 h 1199"/>
                  <a:gd name="T10" fmla="*/ 109 w 2197"/>
                  <a:gd name="T11" fmla="*/ 566 h 1199"/>
                  <a:gd name="T12" fmla="*/ 50 w 2197"/>
                  <a:gd name="T13" fmla="*/ 418 h 1199"/>
                  <a:gd name="T14" fmla="*/ 17 w 2197"/>
                  <a:gd name="T15" fmla="*/ 283 h 1199"/>
                  <a:gd name="T16" fmla="*/ 2 w 2197"/>
                  <a:gd name="T17" fmla="*/ 166 h 1199"/>
                  <a:gd name="T18" fmla="*/ 0 w 2197"/>
                  <a:gd name="T19" fmla="*/ 77 h 1199"/>
                  <a:gd name="T20" fmla="*/ 4 w 2197"/>
                  <a:gd name="T21" fmla="*/ 11 h 1199"/>
                  <a:gd name="T22" fmla="*/ 15 w 2197"/>
                  <a:gd name="T23" fmla="*/ 0 h 1199"/>
                  <a:gd name="T24" fmla="*/ 29 w 2197"/>
                  <a:gd name="T25" fmla="*/ 5 h 1199"/>
                  <a:gd name="T26" fmla="*/ 30 w 2197"/>
                  <a:gd name="T27" fmla="*/ 27 h 1199"/>
                  <a:gd name="T28" fmla="*/ 27 w 2197"/>
                  <a:gd name="T29" fmla="*/ 105 h 1199"/>
                  <a:gd name="T30" fmla="*/ 32 w 2197"/>
                  <a:gd name="T31" fmla="*/ 201 h 1199"/>
                  <a:gd name="T32" fmla="*/ 52 w 2197"/>
                  <a:gd name="T33" fmla="*/ 321 h 1199"/>
                  <a:gd name="T34" fmla="*/ 92 w 2197"/>
                  <a:gd name="T35" fmla="*/ 458 h 1199"/>
                  <a:gd name="T36" fmla="*/ 160 w 2197"/>
                  <a:gd name="T37" fmla="*/ 602 h 1199"/>
                  <a:gd name="T38" fmla="*/ 262 w 2197"/>
                  <a:gd name="T39" fmla="*/ 749 h 1199"/>
                  <a:gd name="T40" fmla="*/ 405 w 2197"/>
                  <a:gd name="T41" fmla="*/ 890 h 1199"/>
                  <a:gd name="T42" fmla="*/ 596 w 2197"/>
                  <a:gd name="T43" fmla="*/ 1015 h 1199"/>
                  <a:gd name="T44" fmla="*/ 841 w 2197"/>
                  <a:gd name="T45" fmla="*/ 1118 h 1199"/>
                  <a:gd name="T46" fmla="*/ 1058 w 2197"/>
                  <a:gd name="T47" fmla="*/ 1159 h 1199"/>
                  <a:gd name="T48" fmla="*/ 1146 w 2197"/>
                  <a:gd name="T49" fmla="*/ 1102 h 1199"/>
                  <a:gd name="T50" fmla="*/ 1393 w 2197"/>
                  <a:gd name="T51" fmla="*/ 942 h 1199"/>
                  <a:gd name="T52" fmla="*/ 1579 w 2197"/>
                  <a:gd name="T53" fmla="*/ 833 h 1199"/>
                  <a:gd name="T54" fmla="*/ 1711 w 2197"/>
                  <a:gd name="T55" fmla="*/ 765 h 1199"/>
                  <a:gd name="T56" fmla="*/ 1828 w 2197"/>
                  <a:gd name="T57" fmla="*/ 718 h 1199"/>
                  <a:gd name="T58" fmla="*/ 1888 w 2197"/>
                  <a:gd name="T59" fmla="*/ 703 h 1199"/>
                  <a:gd name="T60" fmla="*/ 1944 w 2197"/>
                  <a:gd name="T61" fmla="*/ 694 h 1199"/>
                  <a:gd name="T62" fmla="*/ 1994 w 2197"/>
                  <a:gd name="T63" fmla="*/ 693 h 1199"/>
                  <a:gd name="T64" fmla="*/ 2040 w 2197"/>
                  <a:gd name="T65" fmla="*/ 696 h 1199"/>
                  <a:gd name="T66" fmla="*/ 2114 w 2197"/>
                  <a:gd name="T67" fmla="*/ 713 h 1199"/>
                  <a:gd name="T68" fmla="*/ 2165 w 2197"/>
                  <a:gd name="T69" fmla="*/ 733 h 1199"/>
                  <a:gd name="T70" fmla="*/ 2196 w 2197"/>
                  <a:gd name="T71" fmla="*/ 755 h 1199"/>
                  <a:gd name="T72" fmla="*/ 2195 w 2197"/>
                  <a:gd name="T73" fmla="*/ 769 h 1199"/>
                  <a:gd name="T74" fmla="*/ 2181 w 2197"/>
                  <a:gd name="T75" fmla="*/ 774 h 1199"/>
                  <a:gd name="T76" fmla="*/ 2152 w 2197"/>
                  <a:gd name="T77" fmla="*/ 758 h 1199"/>
                  <a:gd name="T78" fmla="*/ 2105 w 2197"/>
                  <a:gd name="T79" fmla="*/ 738 h 1199"/>
                  <a:gd name="T80" fmla="*/ 2035 w 2197"/>
                  <a:gd name="T81" fmla="*/ 723 h 1199"/>
                  <a:gd name="T82" fmla="*/ 1962 w 2197"/>
                  <a:gd name="T83" fmla="*/ 720 h 1199"/>
                  <a:gd name="T84" fmla="*/ 1911 w 2197"/>
                  <a:gd name="T85" fmla="*/ 726 h 1199"/>
                  <a:gd name="T86" fmla="*/ 1855 w 2197"/>
                  <a:gd name="T87" fmla="*/ 738 h 1199"/>
                  <a:gd name="T88" fmla="*/ 1761 w 2197"/>
                  <a:gd name="T89" fmla="*/ 772 h 1199"/>
                  <a:gd name="T90" fmla="*/ 1633 w 2197"/>
                  <a:gd name="T91" fmla="*/ 836 h 1199"/>
                  <a:gd name="T92" fmla="*/ 1493 w 2197"/>
                  <a:gd name="T93" fmla="*/ 913 h 1199"/>
                  <a:gd name="T94" fmla="*/ 1231 w 2197"/>
                  <a:gd name="T95" fmla="*/ 1078 h 1199"/>
                  <a:gd name="T96" fmla="*/ 1093 w 2197"/>
                  <a:gd name="T97" fmla="*/ 1168 h 1199"/>
                  <a:gd name="T98" fmla="*/ 1044 w 2197"/>
                  <a:gd name="T99" fmla="*/ 1198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97" h="1199">
                    <a:moveTo>
                      <a:pt x="1040" y="1199"/>
                    </a:moveTo>
                    <a:lnTo>
                      <a:pt x="1039" y="1199"/>
                    </a:lnTo>
                    <a:lnTo>
                      <a:pt x="1038" y="1199"/>
                    </a:lnTo>
                    <a:lnTo>
                      <a:pt x="933" y="1173"/>
                    </a:lnTo>
                    <a:lnTo>
                      <a:pt x="835" y="1144"/>
                    </a:lnTo>
                    <a:lnTo>
                      <a:pt x="744" y="1113"/>
                    </a:lnTo>
                    <a:lnTo>
                      <a:pt x="661" y="1077"/>
                    </a:lnTo>
                    <a:lnTo>
                      <a:pt x="583" y="1039"/>
                    </a:lnTo>
                    <a:lnTo>
                      <a:pt x="512" y="999"/>
                    </a:lnTo>
                    <a:lnTo>
                      <a:pt x="447" y="955"/>
                    </a:lnTo>
                    <a:lnTo>
                      <a:pt x="387" y="910"/>
                    </a:lnTo>
                    <a:lnTo>
                      <a:pt x="334" y="864"/>
                    </a:lnTo>
                    <a:lnTo>
                      <a:pt x="284" y="816"/>
                    </a:lnTo>
                    <a:lnTo>
                      <a:pt x="241" y="767"/>
                    </a:lnTo>
                    <a:lnTo>
                      <a:pt x="201" y="717"/>
                    </a:lnTo>
                    <a:lnTo>
                      <a:pt x="166" y="666"/>
                    </a:lnTo>
                    <a:lnTo>
                      <a:pt x="136" y="616"/>
                    </a:lnTo>
                    <a:lnTo>
                      <a:pt x="109" y="566"/>
                    </a:lnTo>
                    <a:lnTo>
                      <a:pt x="86" y="516"/>
                    </a:lnTo>
                    <a:lnTo>
                      <a:pt x="67" y="466"/>
                    </a:lnTo>
                    <a:lnTo>
                      <a:pt x="50" y="418"/>
                    </a:lnTo>
                    <a:lnTo>
                      <a:pt x="37" y="371"/>
                    </a:lnTo>
                    <a:lnTo>
                      <a:pt x="26" y="326"/>
                    </a:lnTo>
                    <a:lnTo>
                      <a:pt x="17" y="283"/>
                    </a:lnTo>
                    <a:lnTo>
                      <a:pt x="11" y="241"/>
                    </a:lnTo>
                    <a:lnTo>
                      <a:pt x="5" y="202"/>
                    </a:lnTo>
                    <a:lnTo>
                      <a:pt x="2" y="166"/>
                    </a:lnTo>
                    <a:lnTo>
                      <a:pt x="1" y="133"/>
                    </a:lnTo>
                    <a:lnTo>
                      <a:pt x="0" y="104"/>
                    </a:lnTo>
                    <a:lnTo>
                      <a:pt x="0" y="77"/>
                    </a:lnTo>
                    <a:lnTo>
                      <a:pt x="1" y="55"/>
                    </a:lnTo>
                    <a:lnTo>
                      <a:pt x="3" y="24"/>
                    </a:lnTo>
                    <a:lnTo>
                      <a:pt x="4" y="11"/>
                    </a:lnTo>
                    <a:lnTo>
                      <a:pt x="6" y="7"/>
                    </a:lnTo>
                    <a:lnTo>
                      <a:pt x="10" y="2"/>
                    </a:lnTo>
                    <a:lnTo>
                      <a:pt x="15" y="0"/>
                    </a:lnTo>
                    <a:lnTo>
                      <a:pt x="20" y="0"/>
                    </a:lnTo>
                    <a:lnTo>
                      <a:pt x="25" y="2"/>
                    </a:lnTo>
                    <a:lnTo>
                      <a:pt x="29" y="5"/>
                    </a:lnTo>
                    <a:lnTo>
                      <a:pt x="31" y="10"/>
                    </a:lnTo>
                    <a:lnTo>
                      <a:pt x="31" y="15"/>
                    </a:lnTo>
                    <a:lnTo>
                      <a:pt x="30" y="27"/>
                    </a:lnTo>
                    <a:lnTo>
                      <a:pt x="28" y="57"/>
                    </a:lnTo>
                    <a:lnTo>
                      <a:pt x="27" y="79"/>
                    </a:lnTo>
                    <a:lnTo>
                      <a:pt x="27" y="105"/>
                    </a:lnTo>
                    <a:lnTo>
                      <a:pt x="28" y="133"/>
                    </a:lnTo>
                    <a:lnTo>
                      <a:pt x="29" y="165"/>
                    </a:lnTo>
                    <a:lnTo>
                      <a:pt x="32" y="201"/>
                    </a:lnTo>
                    <a:lnTo>
                      <a:pt x="37" y="239"/>
                    </a:lnTo>
                    <a:lnTo>
                      <a:pt x="43" y="279"/>
                    </a:lnTo>
                    <a:lnTo>
                      <a:pt x="52" y="321"/>
                    </a:lnTo>
                    <a:lnTo>
                      <a:pt x="62" y="365"/>
                    </a:lnTo>
                    <a:lnTo>
                      <a:pt x="75" y="410"/>
                    </a:lnTo>
                    <a:lnTo>
                      <a:pt x="92" y="458"/>
                    </a:lnTo>
                    <a:lnTo>
                      <a:pt x="111" y="505"/>
                    </a:lnTo>
                    <a:lnTo>
                      <a:pt x="134" y="554"/>
                    </a:lnTo>
                    <a:lnTo>
                      <a:pt x="160" y="602"/>
                    </a:lnTo>
                    <a:lnTo>
                      <a:pt x="190" y="652"/>
                    </a:lnTo>
                    <a:lnTo>
                      <a:pt x="223" y="701"/>
                    </a:lnTo>
                    <a:lnTo>
                      <a:pt x="262" y="749"/>
                    </a:lnTo>
                    <a:lnTo>
                      <a:pt x="304" y="797"/>
                    </a:lnTo>
                    <a:lnTo>
                      <a:pt x="352" y="844"/>
                    </a:lnTo>
                    <a:lnTo>
                      <a:pt x="405" y="890"/>
                    </a:lnTo>
                    <a:lnTo>
                      <a:pt x="463" y="933"/>
                    </a:lnTo>
                    <a:lnTo>
                      <a:pt x="526" y="975"/>
                    </a:lnTo>
                    <a:lnTo>
                      <a:pt x="596" y="1015"/>
                    </a:lnTo>
                    <a:lnTo>
                      <a:pt x="670" y="1053"/>
                    </a:lnTo>
                    <a:lnTo>
                      <a:pt x="752" y="1087"/>
                    </a:lnTo>
                    <a:lnTo>
                      <a:pt x="841" y="1118"/>
                    </a:lnTo>
                    <a:lnTo>
                      <a:pt x="936" y="1147"/>
                    </a:lnTo>
                    <a:lnTo>
                      <a:pt x="1038" y="1171"/>
                    </a:lnTo>
                    <a:lnTo>
                      <a:pt x="1058" y="1159"/>
                    </a:lnTo>
                    <a:lnTo>
                      <a:pt x="1083" y="1143"/>
                    </a:lnTo>
                    <a:lnTo>
                      <a:pt x="1112" y="1124"/>
                    </a:lnTo>
                    <a:lnTo>
                      <a:pt x="1146" y="1102"/>
                    </a:lnTo>
                    <a:lnTo>
                      <a:pt x="1220" y="1053"/>
                    </a:lnTo>
                    <a:lnTo>
                      <a:pt x="1304" y="999"/>
                    </a:lnTo>
                    <a:lnTo>
                      <a:pt x="1393" y="942"/>
                    </a:lnTo>
                    <a:lnTo>
                      <a:pt x="1486" y="886"/>
                    </a:lnTo>
                    <a:lnTo>
                      <a:pt x="1532" y="859"/>
                    </a:lnTo>
                    <a:lnTo>
                      <a:pt x="1579" y="833"/>
                    </a:lnTo>
                    <a:lnTo>
                      <a:pt x="1624" y="809"/>
                    </a:lnTo>
                    <a:lnTo>
                      <a:pt x="1668" y="786"/>
                    </a:lnTo>
                    <a:lnTo>
                      <a:pt x="1711" y="765"/>
                    </a:lnTo>
                    <a:lnTo>
                      <a:pt x="1752" y="747"/>
                    </a:lnTo>
                    <a:lnTo>
                      <a:pt x="1791" y="731"/>
                    </a:lnTo>
                    <a:lnTo>
                      <a:pt x="1828" y="718"/>
                    </a:lnTo>
                    <a:lnTo>
                      <a:pt x="1848" y="711"/>
                    </a:lnTo>
                    <a:lnTo>
                      <a:pt x="1869" y="707"/>
                    </a:lnTo>
                    <a:lnTo>
                      <a:pt x="1888" y="703"/>
                    </a:lnTo>
                    <a:lnTo>
                      <a:pt x="1907" y="699"/>
                    </a:lnTo>
                    <a:lnTo>
                      <a:pt x="1926" y="696"/>
                    </a:lnTo>
                    <a:lnTo>
                      <a:pt x="1944" y="694"/>
                    </a:lnTo>
                    <a:lnTo>
                      <a:pt x="1961" y="693"/>
                    </a:lnTo>
                    <a:lnTo>
                      <a:pt x="1978" y="693"/>
                    </a:lnTo>
                    <a:lnTo>
                      <a:pt x="1994" y="693"/>
                    </a:lnTo>
                    <a:lnTo>
                      <a:pt x="2010" y="693"/>
                    </a:lnTo>
                    <a:lnTo>
                      <a:pt x="2026" y="694"/>
                    </a:lnTo>
                    <a:lnTo>
                      <a:pt x="2040" y="696"/>
                    </a:lnTo>
                    <a:lnTo>
                      <a:pt x="2067" y="701"/>
                    </a:lnTo>
                    <a:lnTo>
                      <a:pt x="2091" y="706"/>
                    </a:lnTo>
                    <a:lnTo>
                      <a:pt x="2114" y="713"/>
                    </a:lnTo>
                    <a:lnTo>
                      <a:pt x="2134" y="719"/>
                    </a:lnTo>
                    <a:lnTo>
                      <a:pt x="2151" y="727"/>
                    </a:lnTo>
                    <a:lnTo>
                      <a:pt x="2165" y="733"/>
                    </a:lnTo>
                    <a:lnTo>
                      <a:pt x="2184" y="745"/>
                    </a:lnTo>
                    <a:lnTo>
                      <a:pt x="2193" y="750"/>
                    </a:lnTo>
                    <a:lnTo>
                      <a:pt x="2196" y="755"/>
                    </a:lnTo>
                    <a:lnTo>
                      <a:pt x="2197" y="759"/>
                    </a:lnTo>
                    <a:lnTo>
                      <a:pt x="2197" y="764"/>
                    </a:lnTo>
                    <a:lnTo>
                      <a:pt x="2195" y="769"/>
                    </a:lnTo>
                    <a:lnTo>
                      <a:pt x="2191" y="773"/>
                    </a:lnTo>
                    <a:lnTo>
                      <a:pt x="2186" y="774"/>
                    </a:lnTo>
                    <a:lnTo>
                      <a:pt x="2181" y="774"/>
                    </a:lnTo>
                    <a:lnTo>
                      <a:pt x="2177" y="772"/>
                    </a:lnTo>
                    <a:lnTo>
                      <a:pt x="2170" y="768"/>
                    </a:lnTo>
                    <a:lnTo>
                      <a:pt x="2152" y="758"/>
                    </a:lnTo>
                    <a:lnTo>
                      <a:pt x="2139" y="751"/>
                    </a:lnTo>
                    <a:lnTo>
                      <a:pt x="2123" y="745"/>
                    </a:lnTo>
                    <a:lnTo>
                      <a:pt x="2105" y="738"/>
                    </a:lnTo>
                    <a:lnTo>
                      <a:pt x="2084" y="733"/>
                    </a:lnTo>
                    <a:lnTo>
                      <a:pt x="2061" y="728"/>
                    </a:lnTo>
                    <a:lnTo>
                      <a:pt x="2035" y="723"/>
                    </a:lnTo>
                    <a:lnTo>
                      <a:pt x="2007" y="721"/>
                    </a:lnTo>
                    <a:lnTo>
                      <a:pt x="1977" y="720"/>
                    </a:lnTo>
                    <a:lnTo>
                      <a:pt x="1962" y="720"/>
                    </a:lnTo>
                    <a:lnTo>
                      <a:pt x="1945" y="721"/>
                    </a:lnTo>
                    <a:lnTo>
                      <a:pt x="1928" y="723"/>
                    </a:lnTo>
                    <a:lnTo>
                      <a:pt x="1911" y="726"/>
                    </a:lnTo>
                    <a:lnTo>
                      <a:pt x="1893" y="729"/>
                    </a:lnTo>
                    <a:lnTo>
                      <a:pt x="1874" y="733"/>
                    </a:lnTo>
                    <a:lnTo>
                      <a:pt x="1855" y="738"/>
                    </a:lnTo>
                    <a:lnTo>
                      <a:pt x="1836" y="744"/>
                    </a:lnTo>
                    <a:lnTo>
                      <a:pt x="1800" y="757"/>
                    </a:lnTo>
                    <a:lnTo>
                      <a:pt x="1761" y="772"/>
                    </a:lnTo>
                    <a:lnTo>
                      <a:pt x="1720" y="791"/>
                    </a:lnTo>
                    <a:lnTo>
                      <a:pt x="1677" y="812"/>
                    </a:lnTo>
                    <a:lnTo>
                      <a:pt x="1633" y="836"/>
                    </a:lnTo>
                    <a:lnTo>
                      <a:pt x="1586" y="860"/>
                    </a:lnTo>
                    <a:lnTo>
                      <a:pt x="1541" y="886"/>
                    </a:lnTo>
                    <a:lnTo>
                      <a:pt x="1493" y="913"/>
                    </a:lnTo>
                    <a:lnTo>
                      <a:pt x="1401" y="969"/>
                    </a:lnTo>
                    <a:lnTo>
                      <a:pt x="1313" y="1026"/>
                    </a:lnTo>
                    <a:lnTo>
                      <a:pt x="1231" y="1078"/>
                    </a:lnTo>
                    <a:lnTo>
                      <a:pt x="1161" y="1125"/>
                    </a:lnTo>
                    <a:lnTo>
                      <a:pt x="1124" y="1148"/>
                    </a:lnTo>
                    <a:lnTo>
                      <a:pt x="1093" y="1168"/>
                    </a:lnTo>
                    <a:lnTo>
                      <a:pt x="1067" y="1185"/>
                    </a:lnTo>
                    <a:lnTo>
                      <a:pt x="1047" y="1197"/>
                    </a:lnTo>
                    <a:lnTo>
                      <a:pt x="1044" y="1198"/>
                    </a:lnTo>
                    <a:lnTo>
                      <a:pt x="1040" y="1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90"/>
              <p:cNvSpPr>
                <a:spLocks/>
              </p:cNvSpPr>
              <p:nvPr userDrawn="1"/>
            </p:nvSpPr>
            <p:spPr bwMode="auto">
              <a:xfrm>
                <a:off x="1971" y="1838"/>
                <a:ext cx="569" cy="297"/>
              </a:xfrm>
              <a:custGeom>
                <a:avLst/>
                <a:gdLst>
                  <a:gd name="T0" fmla="*/ 839 w 1705"/>
                  <a:gd name="T1" fmla="*/ 889 h 891"/>
                  <a:gd name="T2" fmla="*/ 769 w 1705"/>
                  <a:gd name="T3" fmla="*/ 880 h 891"/>
                  <a:gd name="T4" fmla="*/ 690 w 1705"/>
                  <a:gd name="T5" fmla="*/ 859 h 891"/>
                  <a:gd name="T6" fmla="*/ 602 w 1705"/>
                  <a:gd name="T7" fmla="*/ 828 h 891"/>
                  <a:gd name="T8" fmla="*/ 503 w 1705"/>
                  <a:gd name="T9" fmla="*/ 782 h 891"/>
                  <a:gd name="T10" fmla="*/ 405 w 1705"/>
                  <a:gd name="T11" fmla="*/ 729 h 891"/>
                  <a:gd name="T12" fmla="*/ 333 w 1705"/>
                  <a:gd name="T13" fmla="*/ 678 h 891"/>
                  <a:gd name="T14" fmla="*/ 267 w 1705"/>
                  <a:gd name="T15" fmla="*/ 619 h 891"/>
                  <a:gd name="T16" fmla="*/ 209 w 1705"/>
                  <a:gd name="T17" fmla="*/ 555 h 891"/>
                  <a:gd name="T18" fmla="*/ 158 w 1705"/>
                  <a:gd name="T19" fmla="*/ 486 h 891"/>
                  <a:gd name="T20" fmla="*/ 115 w 1705"/>
                  <a:gd name="T21" fmla="*/ 413 h 891"/>
                  <a:gd name="T22" fmla="*/ 78 w 1705"/>
                  <a:gd name="T23" fmla="*/ 338 h 891"/>
                  <a:gd name="T24" fmla="*/ 49 w 1705"/>
                  <a:gd name="T25" fmla="*/ 262 h 891"/>
                  <a:gd name="T26" fmla="*/ 26 w 1705"/>
                  <a:gd name="T27" fmla="*/ 185 h 891"/>
                  <a:gd name="T28" fmla="*/ 10 w 1705"/>
                  <a:gd name="T29" fmla="*/ 110 h 891"/>
                  <a:gd name="T30" fmla="*/ 1 w 1705"/>
                  <a:gd name="T31" fmla="*/ 38 h 891"/>
                  <a:gd name="T32" fmla="*/ 3 w 1705"/>
                  <a:gd name="T33" fmla="*/ 4 h 891"/>
                  <a:gd name="T34" fmla="*/ 17 w 1705"/>
                  <a:gd name="T35" fmla="*/ 1 h 891"/>
                  <a:gd name="T36" fmla="*/ 27 w 1705"/>
                  <a:gd name="T37" fmla="*/ 13 h 891"/>
                  <a:gd name="T38" fmla="*/ 34 w 1705"/>
                  <a:gd name="T39" fmla="*/ 82 h 891"/>
                  <a:gd name="T40" fmla="*/ 47 w 1705"/>
                  <a:gd name="T41" fmla="*/ 154 h 891"/>
                  <a:gd name="T42" fmla="*/ 66 w 1705"/>
                  <a:gd name="T43" fmla="*/ 229 h 891"/>
                  <a:gd name="T44" fmla="*/ 92 w 1705"/>
                  <a:gd name="T45" fmla="*/ 302 h 891"/>
                  <a:gd name="T46" fmla="*/ 125 w 1705"/>
                  <a:gd name="T47" fmla="*/ 375 h 891"/>
                  <a:gd name="T48" fmla="*/ 165 w 1705"/>
                  <a:gd name="T49" fmla="*/ 447 h 891"/>
                  <a:gd name="T50" fmla="*/ 212 w 1705"/>
                  <a:gd name="T51" fmla="*/ 516 h 891"/>
                  <a:gd name="T52" fmla="*/ 266 w 1705"/>
                  <a:gd name="T53" fmla="*/ 579 h 891"/>
                  <a:gd name="T54" fmla="*/ 327 w 1705"/>
                  <a:gd name="T55" fmla="*/ 638 h 891"/>
                  <a:gd name="T56" fmla="*/ 395 w 1705"/>
                  <a:gd name="T57" fmla="*/ 691 h 891"/>
                  <a:gd name="T58" fmla="*/ 478 w 1705"/>
                  <a:gd name="T59" fmla="*/ 740 h 891"/>
                  <a:gd name="T60" fmla="*/ 575 w 1705"/>
                  <a:gd name="T61" fmla="*/ 787 h 891"/>
                  <a:gd name="T62" fmla="*/ 660 w 1705"/>
                  <a:gd name="T63" fmla="*/ 821 h 891"/>
                  <a:gd name="T64" fmla="*/ 738 w 1705"/>
                  <a:gd name="T65" fmla="*/ 845 h 891"/>
                  <a:gd name="T66" fmla="*/ 806 w 1705"/>
                  <a:gd name="T67" fmla="*/ 859 h 891"/>
                  <a:gd name="T68" fmla="*/ 866 w 1705"/>
                  <a:gd name="T69" fmla="*/ 864 h 891"/>
                  <a:gd name="T70" fmla="*/ 919 w 1705"/>
                  <a:gd name="T71" fmla="*/ 862 h 891"/>
                  <a:gd name="T72" fmla="*/ 964 w 1705"/>
                  <a:gd name="T73" fmla="*/ 856 h 891"/>
                  <a:gd name="T74" fmla="*/ 1014 w 1705"/>
                  <a:gd name="T75" fmla="*/ 840 h 891"/>
                  <a:gd name="T76" fmla="*/ 1068 w 1705"/>
                  <a:gd name="T77" fmla="*/ 809 h 891"/>
                  <a:gd name="T78" fmla="*/ 1231 w 1705"/>
                  <a:gd name="T79" fmla="*/ 686 h 891"/>
                  <a:gd name="T80" fmla="*/ 1347 w 1705"/>
                  <a:gd name="T81" fmla="*/ 608 h 891"/>
                  <a:gd name="T82" fmla="*/ 1468 w 1705"/>
                  <a:gd name="T83" fmla="*/ 537 h 891"/>
                  <a:gd name="T84" fmla="*/ 1528 w 1705"/>
                  <a:gd name="T85" fmla="*/ 509 h 891"/>
                  <a:gd name="T86" fmla="*/ 1585 w 1705"/>
                  <a:gd name="T87" fmla="*/ 488 h 891"/>
                  <a:gd name="T88" fmla="*/ 1641 w 1705"/>
                  <a:gd name="T89" fmla="*/ 474 h 891"/>
                  <a:gd name="T90" fmla="*/ 1692 w 1705"/>
                  <a:gd name="T91" fmla="*/ 469 h 891"/>
                  <a:gd name="T92" fmla="*/ 1705 w 1705"/>
                  <a:gd name="T93" fmla="*/ 478 h 891"/>
                  <a:gd name="T94" fmla="*/ 1702 w 1705"/>
                  <a:gd name="T95" fmla="*/ 493 h 891"/>
                  <a:gd name="T96" fmla="*/ 1694 w 1705"/>
                  <a:gd name="T97" fmla="*/ 496 h 891"/>
                  <a:gd name="T98" fmla="*/ 1687 w 1705"/>
                  <a:gd name="T99" fmla="*/ 496 h 891"/>
                  <a:gd name="T100" fmla="*/ 1638 w 1705"/>
                  <a:gd name="T101" fmla="*/ 502 h 891"/>
                  <a:gd name="T102" fmla="*/ 1584 w 1705"/>
                  <a:gd name="T103" fmla="*/ 516 h 891"/>
                  <a:gd name="T104" fmla="*/ 1509 w 1705"/>
                  <a:gd name="T105" fmla="*/ 547 h 891"/>
                  <a:gd name="T106" fmla="*/ 1390 w 1705"/>
                  <a:gd name="T107" fmla="*/ 613 h 891"/>
                  <a:gd name="T108" fmla="*/ 1275 w 1705"/>
                  <a:gd name="T109" fmla="*/ 688 h 891"/>
                  <a:gd name="T110" fmla="*/ 1119 w 1705"/>
                  <a:gd name="T111" fmla="*/ 804 h 891"/>
                  <a:gd name="T112" fmla="*/ 1050 w 1705"/>
                  <a:gd name="T113" fmla="*/ 853 h 891"/>
                  <a:gd name="T114" fmla="*/ 992 w 1705"/>
                  <a:gd name="T115" fmla="*/ 876 h 891"/>
                  <a:gd name="T116" fmla="*/ 949 w 1705"/>
                  <a:gd name="T117" fmla="*/ 886 h 891"/>
                  <a:gd name="T118" fmla="*/ 899 w 1705"/>
                  <a:gd name="T119" fmla="*/ 890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5" h="891">
                    <a:moveTo>
                      <a:pt x="881" y="891"/>
                    </a:moveTo>
                    <a:lnTo>
                      <a:pt x="861" y="890"/>
                    </a:lnTo>
                    <a:lnTo>
                      <a:pt x="839" y="889"/>
                    </a:lnTo>
                    <a:lnTo>
                      <a:pt x="816" y="887"/>
                    </a:lnTo>
                    <a:lnTo>
                      <a:pt x="794" y="884"/>
                    </a:lnTo>
                    <a:lnTo>
                      <a:pt x="769" y="880"/>
                    </a:lnTo>
                    <a:lnTo>
                      <a:pt x="744" y="874"/>
                    </a:lnTo>
                    <a:lnTo>
                      <a:pt x="717" y="868"/>
                    </a:lnTo>
                    <a:lnTo>
                      <a:pt x="690" y="859"/>
                    </a:lnTo>
                    <a:lnTo>
                      <a:pt x="662" y="850"/>
                    </a:lnTo>
                    <a:lnTo>
                      <a:pt x="632" y="840"/>
                    </a:lnTo>
                    <a:lnTo>
                      <a:pt x="602" y="828"/>
                    </a:lnTo>
                    <a:lnTo>
                      <a:pt x="570" y="815"/>
                    </a:lnTo>
                    <a:lnTo>
                      <a:pt x="537" y="800"/>
                    </a:lnTo>
                    <a:lnTo>
                      <a:pt x="503" y="782"/>
                    </a:lnTo>
                    <a:lnTo>
                      <a:pt x="468" y="765"/>
                    </a:lnTo>
                    <a:lnTo>
                      <a:pt x="432" y="745"/>
                    </a:lnTo>
                    <a:lnTo>
                      <a:pt x="405" y="729"/>
                    </a:lnTo>
                    <a:lnTo>
                      <a:pt x="380" y="713"/>
                    </a:lnTo>
                    <a:lnTo>
                      <a:pt x="356" y="696"/>
                    </a:lnTo>
                    <a:lnTo>
                      <a:pt x="333" y="678"/>
                    </a:lnTo>
                    <a:lnTo>
                      <a:pt x="310" y="659"/>
                    </a:lnTo>
                    <a:lnTo>
                      <a:pt x="288" y="640"/>
                    </a:lnTo>
                    <a:lnTo>
                      <a:pt x="267" y="619"/>
                    </a:lnTo>
                    <a:lnTo>
                      <a:pt x="247" y="599"/>
                    </a:lnTo>
                    <a:lnTo>
                      <a:pt x="228" y="577"/>
                    </a:lnTo>
                    <a:lnTo>
                      <a:pt x="209" y="555"/>
                    </a:lnTo>
                    <a:lnTo>
                      <a:pt x="191" y="532"/>
                    </a:lnTo>
                    <a:lnTo>
                      <a:pt x="174" y="509"/>
                    </a:lnTo>
                    <a:lnTo>
                      <a:pt x="158" y="486"/>
                    </a:lnTo>
                    <a:lnTo>
                      <a:pt x="143" y="462"/>
                    </a:lnTo>
                    <a:lnTo>
                      <a:pt x="129" y="438"/>
                    </a:lnTo>
                    <a:lnTo>
                      <a:pt x="115" y="413"/>
                    </a:lnTo>
                    <a:lnTo>
                      <a:pt x="102" y="388"/>
                    </a:lnTo>
                    <a:lnTo>
                      <a:pt x="90" y="364"/>
                    </a:lnTo>
                    <a:lnTo>
                      <a:pt x="78" y="338"/>
                    </a:lnTo>
                    <a:lnTo>
                      <a:pt x="67" y="313"/>
                    </a:lnTo>
                    <a:lnTo>
                      <a:pt x="57" y="287"/>
                    </a:lnTo>
                    <a:lnTo>
                      <a:pt x="49" y="262"/>
                    </a:lnTo>
                    <a:lnTo>
                      <a:pt x="40" y="236"/>
                    </a:lnTo>
                    <a:lnTo>
                      <a:pt x="33" y="211"/>
                    </a:lnTo>
                    <a:lnTo>
                      <a:pt x="26" y="185"/>
                    </a:lnTo>
                    <a:lnTo>
                      <a:pt x="20" y="161"/>
                    </a:lnTo>
                    <a:lnTo>
                      <a:pt x="14" y="135"/>
                    </a:lnTo>
                    <a:lnTo>
                      <a:pt x="10" y="110"/>
                    </a:lnTo>
                    <a:lnTo>
                      <a:pt x="7" y="86"/>
                    </a:lnTo>
                    <a:lnTo>
                      <a:pt x="3" y="61"/>
                    </a:lnTo>
                    <a:lnTo>
                      <a:pt x="1" y="38"/>
                    </a:lnTo>
                    <a:lnTo>
                      <a:pt x="0" y="14"/>
                    </a:lnTo>
                    <a:lnTo>
                      <a:pt x="0" y="8"/>
                    </a:lnTo>
                    <a:lnTo>
                      <a:pt x="3" y="4"/>
                    </a:lnTo>
                    <a:lnTo>
                      <a:pt x="8" y="1"/>
                    </a:lnTo>
                    <a:lnTo>
                      <a:pt x="12" y="0"/>
                    </a:lnTo>
                    <a:lnTo>
                      <a:pt x="17" y="1"/>
                    </a:lnTo>
                    <a:lnTo>
                      <a:pt x="22" y="3"/>
                    </a:lnTo>
                    <a:lnTo>
                      <a:pt x="25" y="7"/>
                    </a:lnTo>
                    <a:lnTo>
                      <a:pt x="27" y="13"/>
                    </a:lnTo>
                    <a:lnTo>
                      <a:pt x="28" y="35"/>
                    </a:lnTo>
                    <a:lnTo>
                      <a:pt x="30" y="59"/>
                    </a:lnTo>
                    <a:lnTo>
                      <a:pt x="34" y="82"/>
                    </a:lnTo>
                    <a:lnTo>
                      <a:pt x="37" y="107"/>
                    </a:lnTo>
                    <a:lnTo>
                      <a:pt x="41" y="130"/>
                    </a:lnTo>
                    <a:lnTo>
                      <a:pt x="47" y="154"/>
                    </a:lnTo>
                    <a:lnTo>
                      <a:pt x="52" y="179"/>
                    </a:lnTo>
                    <a:lnTo>
                      <a:pt x="58" y="204"/>
                    </a:lnTo>
                    <a:lnTo>
                      <a:pt x="66" y="229"/>
                    </a:lnTo>
                    <a:lnTo>
                      <a:pt x="74" y="253"/>
                    </a:lnTo>
                    <a:lnTo>
                      <a:pt x="82" y="278"/>
                    </a:lnTo>
                    <a:lnTo>
                      <a:pt x="92" y="302"/>
                    </a:lnTo>
                    <a:lnTo>
                      <a:pt x="103" y="327"/>
                    </a:lnTo>
                    <a:lnTo>
                      <a:pt x="114" y="352"/>
                    </a:lnTo>
                    <a:lnTo>
                      <a:pt x="125" y="375"/>
                    </a:lnTo>
                    <a:lnTo>
                      <a:pt x="138" y="400"/>
                    </a:lnTo>
                    <a:lnTo>
                      <a:pt x="151" y="424"/>
                    </a:lnTo>
                    <a:lnTo>
                      <a:pt x="165" y="447"/>
                    </a:lnTo>
                    <a:lnTo>
                      <a:pt x="180" y="470"/>
                    </a:lnTo>
                    <a:lnTo>
                      <a:pt x="196" y="493"/>
                    </a:lnTo>
                    <a:lnTo>
                      <a:pt x="212" y="516"/>
                    </a:lnTo>
                    <a:lnTo>
                      <a:pt x="229" y="537"/>
                    </a:lnTo>
                    <a:lnTo>
                      <a:pt x="247" y="559"/>
                    </a:lnTo>
                    <a:lnTo>
                      <a:pt x="266" y="579"/>
                    </a:lnTo>
                    <a:lnTo>
                      <a:pt x="285" y="600"/>
                    </a:lnTo>
                    <a:lnTo>
                      <a:pt x="306" y="619"/>
                    </a:lnTo>
                    <a:lnTo>
                      <a:pt x="327" y="638"/>
                    </a:lnTo>
                    <a:lnTo>
                      <a:pt x="349" y="656"/>
                    </a:lnTo>
                    <a:lnTo>
                      <a:pt x="372" y="673"/>
                    </a:lnTo>
                    <a:lnTo>
                      <a:pt x="395" y="691"/>
                    </a:lnTo>
                    <a:lnTo>
                      <a:pt x="419" y="706"/>
                    </a:lnTo>
                    <a:lnTo>
                      <a:pt x="445" y="721"/>
                    </a:lnTo>
                    <a:lnTo>
                      <a:pt x="478" y="740"/>
                    </a:lnTo>
                    <a:lnTo>
                      <a:pt x="512" y="756"/>
                    </a:lnTo>
                    <a:lnTo>
                      <a:pt x="543" y="773"/>
                    </a:lnTo>
                    <a:lnTo>
                      <a:pt x="575" y="787"/>
                    </a:lnTo>
                    <a:lnTo>
                      <a:pt x="604" y="800"/>
                    </a:lnTo>
                    <a:lnTo>
                      <a:pt x="633" y="812"/>
                    </a:lnTo>
                    <a:lnTo>
                      <a:pt x="660" y="821"/>
                    </a:lnTo>
                    <a:lnTo>
                      <a:pt x="687" y="831"/>
                    </a:lnTo>
                    <a:lnTo>
                      <a:pt x="713" y="839"/>
                    </a:lnTo>
                    <a:lnTo>
                      <a:pt x="738" y="845"/>
                    </a:lnTo>
                    <a:lnTo>
                      <a:pt x="761" y="850"/>
                    </a:lnTo>
                    <a:lnTo>
                      <a:pt x="784" y="855"/>
                    </a:lnTo>
                    <a:lnTo>
                      <a:pt x="806" y="859"/>
                    </a:lnTo>
                    <a:lnTo>
                      <a:pt x="827" y="861"/>
                    </a:lnTo>
                    <a:lnTo>
                      <a:pt x="847" y="863"/>
                    </a:lnTo>
                    <a:lnTo>
                      <a:pt x="866" y="864"/>
                    </a:lnTo>
                    <a:lnTo>
                      <a:pt x="884" y="864"/>
                    </a:lnTo>
                    <a:lnTo>
                      <a:pt x="902" y="863"/>
                    </a:lnTo>
                    <a:lnTo>
                      <a:pt x="919" y="862"/>
                    </a:lnTo>
                    <a:lnTo>
                      <a:pt x="935" y="861"/>
                    </a:lnTo>
                    <a:lnTo>
                      <a:pt x="950" y="858"/>
                    </a:lnTo>
                    <a:lnTo>
                      <a:pt x="964" y="856"/>
                    </a:lnTo>
                    <a:lnTo>
                      <a:pt x="977" y="853"/>
                    </a:lnTo>
                    <a:lnTo>
                      <a:pt x="990" y="848"/>
                    </a:lnTo>
                    <a:lnTo>
                      <a:pt x="1014" y="840"/>
                    </a:lnTo>
                    <a:lnTo>
                      <a:pt x="1035" y="830"/>
                    </a:lnTo>
                    <a:lnTo>
                      <a:pt x="1052" y="820"/>
                    </a:lnTo>
                    <a:lnTo>
                      <a:pt x="1068" y="809"/>
                    </a:lnTo>
                    <a:lnTo>
                      <a:pt x="1103" y="782"/>
                    </a:lnTo>
                    <a:lnTo>
                      <a:pt x="1162" y="737"/>
                    </a:lnTo>
                    <a:lnTo>
                      <a:pt x="1231" y="686"/>
                    </a:lnTo>
                    <a:lnTo>
                      <a:pt x="1268" y="660"/>
                    </a:lnTo>
                    <a:lnTo>
                      <a:pt x="1307" y="633"/>
                    </a:lnTo>
                    <a:lnTo>
                      <a:pt x="1347" y="608"/>
                    </a:lnTo>
                    <a:lnTo>
                      <a:pt x="1387" y="583"/>
                    </a:lnTo>
                    <a:lnTo>
                      <a:pt x="1427" y="559"/>
                    </a:lnTo>
                    <a:lnTo>
                      <a:pt x="1468" y="537"/>
                    </a:lnTo>
                    <a:lnTo>
                      <a:pt x="1488" y="528"/>
                    </a:lnTo>
                    <a:lnTo>
                      <a:pt x="1508" y="518"/>
                    </a:lnTo>
                    <a:lnTo>
                      <a:pt x="1528" y="509"/>
                    </a:lnTo>
                    <a:lnTo>
                      <a:pt x="1548" y="501"/>
                    </a:lnTo>
                    <a:lnTo>
                      <a:pt x="1567" y="494"/>
                    </a:lnTo>
                    <a:lnTo>
                      <a:pt x="1585" y="488"/>
                    </a:lnTo>
                    <a:lnTo>
                      <a:pt x="1605" y="481"/>
                    </a:lnTo>
                    <a:lnTo>
                      <a:pt x="1623" y="477"/>
                    </a:lnTo>
                    <a:lnTo>
                      <a:pt x="1641" y="474"/>
                    </a:lnTo>
                    <a:lnTo>
                      <a:pt x="1659" y="470"/>
                    </a:lnTo>
                    <a:lnTo>
                      <a:pt x="1676" y="469"/>
                    </a:lnTo>
                    <a:lnTo>
                      <a:pt x="1692" y="469"/>
                    </a:lnTo>
                    <a:lnTo>
                      <a:pt x="1698" y="470"/>
                    </a:lnTo>
                    <a:lnTo>
                      <a:pt x="1702" y="474"/>
                    </a:lnTo>
                    <a:lnTo>
                      <a:pt x="1705" y="478"/>
                    </a:lnTo>
                    <a:lnTo>
                      <a:pt x="1705" y="483"/>
                    </a:lnTo>
                    <a:lnTo>
                      <a:pt x="1704" y="489"/>
                    </a:lnTo>
                    <a:lnTo>
                      <a:pt x="1702" y="493"/>
                    </a:lnTo>
                    <a:lnTo>
                      <a:pt x="1700" y="494"/>
                    </a:lnTo>
                    <a:lnTo>
                      <a:pt x="1698" y="495"/>
                    </a:lnTo>
                    <a:lnTo>
                      <a:pt x="1694" y="496"/>
                    </a:lnTo>
                    <a:lnTo>
                      <a:pt x="1692" y="496"/>
                    </a:lnTo>
                    <a:lnTo>
                      <a:pt x="1689" y="496"/>
                    </a:lnTo>
                    <a:lnTo>
                      <a:pt x="1687" y="496"/>
                    </a:lnTo>
                    <a:lnTo>
                      <a:pt x="1672" y="496"/>
                    </a:lnTo>
                    <a:lnTo>
                      <a:pt x="1654" y="498"/>
                    </a:lnTo>
                    <a:lnTo>
                      <a:pt x="1638" y="502"/>
                    </a:lnTo>
                    <a:lnTo>
                      <a:pt x="1621" y="505"/>
                    </a:lnTo>
                    <a:lnTo>
                      <a:pt x="1603" y="510"/>
                    </a:lnTo>
                    <a:lnTo>
                      <a:pt x="1584" y="516"/>
                    </a:lnTo>
                    <a:lnTo>
                      <a:pt x="1566" y="522"/>
                    </a:lnTo>
                    <a:lnTo>
                      <a:pt x="1546" y="530"/>
                    </a:lnTo>
                    <a:lnTo>
                      <a:pt x="1509" y="547"/>
                    </a:lnTo>
                    <a:lnTo>
                      <a:pt x="1469" y="568"/>
                    </a:lnTo>
                    <a:lnTo>
                      <a:pt x="1430" y="589"/>
                    </a:lnTo>
                    <a:lnTo>
                      <a:pt x="1390" y="613"/>
                    </a:lnTo>
                    <a:lnTo>
                      <a:pt x="1351" y="638"/>
                    </a:lnTo>
                    <a:lnTo>
                      <a:pt x="1312" y="663"/>
                    </a:lnTo>
                    <a:lnTo>
                      <a:pt x="1275" y="688"/>
                    </a:lnTo>
                    <a:lnTo>
                      <a:pt x="1240" y="714"/>
                    </a:lnTo>
                    <a:lnTo>
                      <a:pt x="1174" y="762"/>
                    </a:lnTo>
                    <a:lnTo>
                      <a:pt x="1119" y="804"/>
                    </a:lnTo>
                    <a:lnTo>
                      <a:pt x="1084" y="831"/>
                    </a:lnTo>
                    <a:lnTo>
                      <a:pt x="1068" y="842"/>
                    </a:lnTo>
                    <a:lnTo>
                      <a:pt x="1050" y="853"/>
                    </a:lnTo>
                    <a:lnTo>
                      <a:pt x="1029" y="862"/>
                    </a:lnTo>
                    <a:lnTo>
                      <a:pt x="1005" y="872"/>
                    </a:lnTo>
                    <a:lnTo>
                      <a:pt x="992" y="876"/>
                    </a:lnTo>
                    <a:lnTo>
                      <a:pt x="978" y="880"/>
                    </a:lnTo>
                    <a:lnTo>
                      <a:pt x="964" y="883"/>
                    </a:lnTo>
                    <a:lnTo>
                      <a:pt x="949" y="886"/>
                    </a:lnTo>
                    <a:lnTo>
                      <a:pt x="933" y="888"/>
                    </a:lnTo>
                    <a:lnTo>
                      <a:pt x="917" y="889"/>
                    </a:lnTo>
                    <a:lnTo>
                      <a:pt x="899" y="890"/>
                    </a:lnTo>
                    <a:lnTo>
                      <a:pt x="881" y="8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91"/>
              <p:cNvSpPr>
                <a:spLocks/>
              </p:cNvSpPr>
              <p:nvPr userDrawn="1"/>
            </p:nvSpPr>
            <p:spPr bwMode="auto">
              <a:xfrm>
                <a:off x="2259" y="1817"/>
                <a:ext cx="127" cy="259"/>
              </a:xfrm>
              <a:custGeom>
                <a:avLst/>
                <a:gdLst>
                  <a:gd name="T0" fmla="*/ 337 w 381"/>
                  <a:gd name="T1" fmla="*/ 776 h 777"/>
                  <a:gd name="T2" fmla="*/ 310 w 381"/>
                  <a:gd name="T3" fmla="*/ 773 h 777"/>
                  <a:gd name="T4" fmla="*/ 280 w 381"/>
                  <a:gd name="T5" fmla="*/ 763 h 777"/>
                  <a:gd name="T6" fmla="*/ 246 w 381"/>
                  <a:gd name="T7" fmla="*/ 750 h 777"/>
                  <a:gd name="T8" fmla="*/ 216 w 381"/>
                  <a:gd name="T9" fmla="*/ 733 h 777"/>
                  <a:gd name="T10" fmla="*/ 188 w 381"/>
                  <a:gd name="T11" fmla="*/ 715 h 777"/>
                  <a:gd name="T12" fmla="*/ 159 w 381"/>
                  <a:gd name="T13" fmla="*/ 690 h 777"/>
                  <a:gd name="T14" fmla="*/ 129 w 381"/>
                  <a:gd name="T15" fmla="*/ 661 h 777"/>
                  <a:gd name="T16" fmla="*/ 101 w 381"/>
                  <a:gd name="T17" fmla="*/ 626 h 777"/>
                  <a:gd name="T18" fmla="*/ 74 w 381"/>
                  <a:gd name="T19" fmla="*/ 584 h 777"/>
                  <a:gd name="T20" fmla="*/ 51 w 381"/>
                  <a:gd name="T21" fmla="*/ 536 h 777"/>
                  <a:gd name="T22" fmla="*/ 29 w 381"/>
                  <a:gd name="T23" fmla="*/ 480 h 777"/>
                  <a:gd name="T24" fmla="*/ 13 w 381"/>
                  <a:gd name="T25" fmla="*/ 421 h 777"/>
                  <a:gd name="T26" fmla="*/ 4 w 381"/>
                  <a:gd name="T27" fmla="*/ 372 h 777"/>
                  <a:gd name="T28" fmla="*/ 0 w 381"/>
                  <a:gd name="T29" fmla="*/ 324 h 777"/>
                  <a:gd name="T30" fmla="*/ 1 w 381"/>
                  <a:gd name="T31" fmla="*/ 280 h 777"/>
                  <a:gd name="T32" fmla="*/ 4 w 381"/>
                  <a:gd name="T33" fmla="*/ 239 h 777"/>
                  <a:gd name="T34" fmla="*/ 11 w 381"/>
                  <a:gd name="T35" fmla="*/ 201 h 777"/>
                  <a:gd name="T36" fmla="*/ 20 w 381"/>
                  <a:gd name="T37" fmla="*/ 165 h 777"/>
                  <a:gd name="T38" fmla="*/ 32 w 381"/>
                  <a:gd name="T39" fmla="*/ 134 h 777"/>
                  <a:gd name="T40" fmla="*/ 51 w 381"/>
                  <a:gd name="T41" fmla="*/ 93 h 777"/>
                  <a:gd name="T42" fmla="*/ 77 w 381"/>
                  <a:gd name="T43" fmla="*/ 50 h 777"/>
                  <a:gd name="T44" fmla="*/ 107 w 381"/>
                  <a:gd name="T45" fmla="*/ 11 h 777"/>
                  <a:gd name="T46" fmla="*/ 120 w 381"/>
                  <a:gd name="T47" fmla="*/ 0 h 777"/>
                  <a:gd name="T48" fmla="*/ 129 w 381"/>
                  <a:gd name="T49" fmla="*/ 1 h 777"/>
                  <a:gd name="T50" fmla="*/ 137 w 381"/>
                  <a:gd name="T51" fmla="*/ 9 h 777"/>
                  <a:gd name="T52" fmla="*/ 136 w 381"/>
                  <a:gd name="T53" fmla="*/ 19 h 777"/>
                  <a:gd name="T54" fmla="*/ 126 w 381"/>
                  <a:gd name="T55" fmla="*/ 30 h 777"/>
                  <a:gd name="T56" fmla="*/ 97 w 381"/>
                  <a:gd name="T57" fmla="*/ 67 h 777"/>
                  <a:gd name="T58" fmla="*/ 73 w 381"/>
                  <a:gd name="T59" fmla="*/ 107 h 777"/>
                  <a:gd name="T60" fmla="*/ 56 w 381"/>
                  <a:gd name="T61" fmla="*/ 146 h 777"/>
                  <a:gd name="T62" fmla="*/ 45 w 381"/>
                  <a:gd name="T63" fmla="*/ 175 h 777"/>
                  <a:gd name="T64" fmla="*/ 38 w 381"/>
                  <a:gd name="T65" fmla="*/ 209 h 777"/>
                  <a:gd name="T66" fmla="*/ 31 w 381"/>
                  <a:gd name="T67" fmla="*/ 244 h 777"/>
                  <a:gd name="T68" fmla="*/ 27 w 381"/>
                  <a:gd name="T69" fmla="*/ 283 h 777"/>
                  <a:gd name="T70" fmla="*/ 27 w 381"/>
                  <a:gd name="T71" fmla="*/ 324 h 777"/>
                  <a:gd name="T72" fmla="*/ 31 w 381"/>
                  <a:gd name="T73" fmla="*/ 368 h 777"/>
                  <a:gd name="T74" fmla="*/ 40 w 381"/>
                  <a:gd name="T75" fmla="*/ 416 h 777"/>
                  <a:gd name="T76" fmla="*/ 55 w 381"/>
                  <a:gd name="T77" fmla="*/ 471 h 777"/>
                  <a:gd name="T78" fmla="*/ 74 w 381"/>
                  <a:gd name="T79" fmla="*/ 524 h 777"/>
                  <a:gd name="T80" fmla="*/ 98 w 381"/>
                  <a:gd name="T81" fmla="*/ 570 h 777"/>
                  <a:gd name="T82" fmla="*/ 123 w 381"/>
                  <a:gd name="T83" fmla="*/ 609 h 777"/>
                  <a:gd name="T84" fmla="*/ 149 w 381"/>
                  <a:gd name="T85" fmla="*/ 643 h 777"/>
                  <a:gd name="T86" fmla="*/ 176 w 381"/>
                  <a:gd name="T87" fmla="*/ 670 h 777"/>
                  <a:gd name="T88" fmla="*/ 203 w 381"/>
                  <a:gd name="T89" fmla="*/ 692 h 777"/>
                  <a:gd name="T90" fmla="*/ 230 w 381"/>
                  <a:gd name="T91" fmla="*/ 711 h 777"/>
                  <a:gd name="T92" fmla="*/ 262 w 381"/>
                  <a:gd name="T93" fmla="*/ 728 h 777"/>
                  <a:gd name="T94" fmla="*/ 301 w 381"/>
                  <a:gd name="T95" fmla="*/ 743 h 777"/>
                  <a:gd name="T96" fmla="*/ 332 w 381"/>
                  <a:gd name="T97" fmla="*/ 749 h 777"/>
                  <a:gd name="T98" fmla="*/ 356 w 381"/>
                  <a:gd name="T99" fmla="*/ 750 h 777"/>
                  <a:gd name="T100" fmla="*/ 369 w 381"/>
                  <a:gd name="T101" fmla="*/ 748 h 777"/>
                  <a:gd name="T102" fmla="*/ 378 w 381"/>
                  <a:gd name="T103" fmla="*/ 753 h 777"/>
                  <a:gd name="T104" fmla="*/ 381 w 381"/>
                  <a:gd name="T105" fmla="*/ 763 h 777"/>
                  <a:gd name="T106" fmla="*/ 377 w 381"/>
                  <a:gd name="T107" fmla="*/ 772 h 777"/>
                  <a:gd name="T108" fmla="*/ 361 w 381"/>
                  <a:gd name="T109" fmla="*/ 77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777">
                    <a:moveTo>
                      <a:pt x="349" y="777"/>
                    </a:moveTo>
                    <a:lnTo>
                      <a:pt x="337" y="776"/>
                    </a:lnTo>
                    <a:lnTo>
                      <a:pt x="324" y="775"/>
                    </a:lnTo>
                    <a:lnTo>
                      <a:pt x="310" y="773"/>
                    </a:lnTo>
                    <a:lnTo>
                      <a:pt x="295" y="769"/>
                    </a:lnTo>
                    <a:lnTo>
                      <a:pt x="280" y="763"/>
                    </a:lnTo>
                    <a:lnTo>
                      <a:pt x="262" y="758"/>
                    </a:lnTo>
                    <a:lnTo>
                      <a:pt x="246" y="750"/>
                    </a:lnTo>
                    <a:lnTo>
                      <a:pt x="229" y="741"/>
                    </a:lnTo>
                    <a:lnTo>
                      <a:pt x="216" y="733"/>
                    </a:lnTo>
                    <a:lnTo>
                      <a:pt x="202" y="725"/>
                    </a:lnTo>
                    <a:lnTo>
                      <a:pt x="188" y="715"/>
                    </a:lnTo>
                    <a:lnTo>
                      <a:pt x="174" y="703"/>
                    </a:lnTo>
                    <a:lnTo>
                      <a:pt x="159" y="690"/>
                    </a:lnTo>
                    <a:lnTo>
                      <a:pt x="145" y="677"/>
                    </a:lnTo>
                    <a:lnTo>
                      <a:pt x="129" y="661"/>
                    </a:lnTo>
                    <a:lnTo>
                      <a:pt x="115" y="645"/>
                    </a:lnTo>
                    <a:lnTo>
                      <a:pt x="101" y="626"/>
                    </a:lnTo>
                    <a:lnTo>
                      <a:pt x="88" y="606"/>
                    </a:lnTo>
                    <a:lnTo>
                      <a:pt x="74" y="584"/>
                    </a:lnTo>
                    <a:lnTo>
                      <a:pt x="63" y="560"/>
                    </a:lnTo>
                    <a:lnTo>
                      <a:pt x="51" y="536"/>
                    </a:lnTo>
                    <a:lnTo>
                      <a:pt x="40" y="509"/>
                    </a:lnTo>
                    <a:lnTo>
                      <a:pt x="29" y="480"/>
                    </a:lnTo>
                    <a:lnTo>
                      <a:pt x="19" y="448"/>
                    </a:lnTo>
                    <a:lnTo>
                      <a:pt x="13" y="421"/>
                    </a:lnTo>
                    <a:lnTo>
                      <a:pt x="9" y="396"/>
                    </a:lnTo>
                    <a:lnTo>
                      <a:pt x="4" y="372"/>
                    </a:lnTo>
                    <a:lnTo>
                      <a:pt x="2" y="348"/>
                    </a:lnTo>
                    <a:lnTo>
                      <a:pt x="0" y="324"/>
                    </a:lnTo>
                    <a:lnTo>
                      <a:pt x="0" y="301"/>
                    </a:lnTo>
                    <a:lnTo>
                      <a:pt x="1" y="280"/>
                    </a:lnTo>
                    <a:lnTo>
                      <a:pt x="2" y="258"/>
                    </a:lnTo>
                    <a:lnTo>
                      <a:pt x="4" y="239"/>
                    </a:lnTo>
                    <a:lnTo>
                      <a:pt x="7" y="219"/>
                    </a:lnTo>
                    <a:lnTo>
                      <a:pt x="11" y="201"/>
                    </a:lnTo>
                    <a:lnTo>
                      <a:pt x="16" y="183"/>
                    </a:lnTo>
                    <a:lnTo>
                      <a:pt x="20" y="165"/>
                    </a:lnTo>
                    <a:lnTo>
                      <a:pt x="26" y="149"/>
                    </a:lnTo>
                    <a:lnTo>
                      <a:pt x="32" y="134"/>
                    </a:lnTo>
                    <a:lnTo>
                      <a:pt x="38" y="120"/>
                    </a:lnTo>
                    <a:lnTo>
                      <a:pt x="51" y="93"/>
                    </a:lnTo>
                    <a:lnTo>
                      <a:pt x="64" y="69"/>
                    </a:lnTo>
                    <a:lnTo>
                      <a:pt x="77" y="50"/>
                    </a:lnTo>
                    <a:lnTo>
                      <a:pt x="88" y="34"/>
                    </a:lnTo>
                    <a:lnTo>
                      <a:pt x="107" y="11"/>
                    </a:lnTo>
                    <a:lnTo>
                      <a:pt x="115" y="3"/>
                    </a:lnTo>
                    <a:lnTo>
                      <a:pt x="120" y="0"/>
                    </a:lnTo>
                    <a:lnTo>
                      <a:pt x="125" y="0"/>
                    </a:lnTo>
                    <a:lnTo>
                      <a:pt x="129" y="1"/>
                    </a:lnTo>
                    <a:lnTo>
                      <a:pt x="134" y="5"/>
                    </a:lnTo>
                    <a:lnTo>
                      <a:pt x="137" y="9"/>
                    </a:lnTo>
                    <a:lnTo>
                      <a:pt x="137" y="14"/>
                    </a:lnTo>
                    <a:lnTo>
                      <a:pt x="136" y="19"/>
                    </a:lnTo>
                    <a:lnTo>
                      <a:pt x="133" y="23"/>
                    </a:lnTo>
                    <a:lnTo>
                      <a:pt x="126" y="30"/>
                    </a:lnTo>
                    <a:lnTo>
                      <a:pt x="109" y="52"/>
                    </a:lnTo>
                    <a:lnTo>
                      <a:pt x="97" y="67"/>
                    </a:lnTo>
                    <a:lnTo>
                      <a:pt x="85" y="86"/>
                    </a:lnTo>
                    <a:lnTo>
                      <a:pt x="73" y="107"/>
                    </a:lnTo>
                    <a:lnTo>
                      <a:pt x="61" y="132"/>
                    </a:lnTo>
                    <a:lnTo>
                      <a:pt x="56" y="146"/>
                    </a:lnTo>
                    <a:lnTo>
                      <a:pt x="51" y="160"/>
                    </a:lnTo>
                    <a:lnTo>
                      <a:pt x="45" y="175"/>
                    </a:lnTo>
                    <a:lnTo>
                      <a:pt x="41" y="191"/>
                    </a:lnTo>
                    <a:lnTo>
                      <a:pt x="38" y="209"/>
                    </a:lnTo>
                    <a:lnTo>
                      <a:pt x="33" y="226"/>
                    </a:lnTo>
                    <a:lnTo>
                      <a:pt x="31" y="244"/>
                    </a:lnTo>
                    <a:lnTo>
                      <a:pt x="29" y="263"/>
                    </a:lnTo>
                    <a:lnTo>
                      <a:pt x="27" y="283"/>
                    </a:lnTo>
                    <a:lnTo>
                      <a:pt x="27" y="304"/>
                    </a:lnTo>
                    <a:lnTo>
                      <a:pt x="27" y="324"/>
                    </a:lnTo>
                    <a:lnTo>
                      <a:pt x="29" y="346"/>
                    </a:lnTo>
                    <a:lnTo>
                      <a:pt x="31" y="368"/>
                    </a:lnTo>
                    <a:lnTo>
                      <a:pt x="34" y="392"/>
                    </a:lnTo>
                    <a:lnTo>
                      <a:pt x="40" y="416"/>
                    </a:lnTo>
                    <a:lnTo>
                      <a:pt x="46" y="441"/>
                    </a:lnTo>
                    <a:lnTo>
                      <a:pt x="55" y="471"/>
                    </a:lnTo>
                    <a:lnTo>
                      <a:pt x="65" y="498"/>
                    </a:lnTo>
                    <a:lnTo>
                      <a:pt x="74" y="524"/>
                    </a:lnTo>
                    <a:lnTo>
                      <a:pt x="86" y="548"/>
                    </a:lnTo>
                    <a:lnTo>
                      <a:pt x="98" y="570"/>
                    </a:lnTo>
                    <a:lnTo>
                      <a:pt x="110" y="591"/>
                    </a:lnTo>
                    <a:lnTo>
                      <a:pt x="123" y="609"/>
                    </a:lnTo>
                    <a:lnTo>
                      <a:pt x="136" y="626"/>
                    </a:lnTo>
                    <a:lnTo>
                      <a:pt x="149" y="643"/>
                    </a:lnTo>
                    <a:lnTo>
                      <a:pt x="163" y="657"/>
                    </a:lnTo>
                    <a:lnTo>
                      <a:pt x="176" y="670"/>
                    </a:lnTo>
                    <a:lnTo>
                      <a:pt x="190" y="681"/>
                    </a:lnTo>
                    <a:lnTo>
                      <a:pt x="203" y="692"/>
                    </a:lnTo>
                    <a:lnTo>
                      <a:pt x="217" y="702"/>
                    </a:lnTo>
                    <a:lnTo>
                      <a:pt x="230" y="711"/>
                    </a:lnTo>
                    <a:lnTo>
                      <a:pt x="242" y="717"/>
                    </a:lnTo>
                    <a:lnTo>
                      <a:pt x="262" y="728"/>
                    </a:lnTo>
                    <a:lnTo>
                      <a:pt x="283" y="736"/>
                    </a:lnTo>
                    <a:lnTo>
                      <a:pt x="301" y="743"/>
                    </a:lnTo>
                    <a:lnTo>
                      <a:pt x="318" y="747"/>
                    </a:lnTo>
                    <a:lnTo>
                      <a:pt x="332" y="749"/>
                    </a:lnTo>
                    <a:lnTo>
                      <a:pt x="345" y="750"/>
                    </a:lnTo>
                    <a:lnTo>
                      <a:pt x="356" y="750"/>
                    </a:lnTo>
                    <a:lnTo>
                      <a:pt x="364" y="748"/>
                    </a:lnTo>
                    <a:lnTo>
                      <a:pt x="369" y="748"/>
                    </a:lnTo>
                    <a:lnTo>
                      <a:pt x="375" y="749"/>
                    </a:lnTo>
                    <a:lnTo>
                      <a:pt x="378" y="753"/>
                    </a:lnTo>
                    <a:lnTo>
                      <a:pt x="381" y="758"/>
                    </a:lnTo>
                    <a:lnTo>
                      <a:pt x="381" y="763"/>
                    </a:lnTo>
                    <a:lnTo>
                      <a:pt x="380" y="768"/>
                    </a:lnTo>
                    <a:lnTo>
                      <a:pt x="377" y="772"/>
                    </a:lnTo>
                    <a:lnTo>
                      <a:pt x="371" y="774"/>
                    </a:lnTo>
                    <a:lnTo>
                      <a:pt x="361" y="776"/>
                    </a:lnTo>
                    <a:lnTo>
                      <a:pt x="34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92"/>
              <p:cNvSpPr>
                <a:spLocks/>
              </p:cNvSpPr>
              <p:nvPr userDrawn="1"/>
            </p:nvSpPr>
            <p:spPr bwMode="auto">
              <a:xfrm>
                <a:off x="2215" y="1861"/>
                <a:ext cx="135" cy="239"/>
              </a:xfrm>
              <a:custGeom>
                <a:avLst/>
                <a:gdLst>
                  <a:gd name="T0" fmla="*/ 390 w 406"/>
                  <a:gd name="T1" fmla="*/ 717 h 717"/>
                  <a:gd name="T2" fmla="*/ 377 w 406"/>
                  <a:gd name="T3" fmla="*/ 711 h 717"/>
                  <a:gd name="T4" fmla="*/ 336 w 406"/>
                  <a:gd name="T5" fmla="*/ 691 h 717"/>
                  <a:gd name="T6" fmla="*/ 296 w 406"/>
                  <a:gd name="T7" fmla="*/ 665 h 717"/>
                  <a:gd name="T8" fmla="*/ 250 w 406"/>
                  <a:gd name="T9" fmla="*/ 629 h 717"/>
                  <a:gd name="T10" fmla="*/ 199 w 406"/>
                  <a:gd name="T11" fmla="*/ 583 h 717"/>
                  <a:gd name="T12" fmla="*/ 160 w 406"/>
                  <a:gd name="T13" fmla="*/ 540 h 717"/>
                  <a:gd name="T14" fmla="*/ 134 w 406"/>
                  <a:gd name="T15" fmla="*/ 507 h 717"/>
                  <a:gd name="T16" fmla="*/ 109 w 406"/>
                  <a:gd name="T17" fmla="*/ 470 h 717"/>
                  <a:gd name="T18" fmla="*/ 84 w 406"/>
                  <a:gd name="T19" fmla="*/ 432 h 717"/>
                  <a:gd name="T20" fmla="*/ 62 w 406"/>
                  <a:gd name="T21" fmla="*/ 388 h 717"/>
                  <a:gd name="T22" fmla="*/ 42 w 406"/>
                  <a:gd name="T23" fmla="*/ 347 h 717"/>
                  <a:gd name="T24" fmla="*/ 27 w 406"/>
                  <a:gd name="T25" fmla="*/ 307 h 717"/>
                  <a:gd name="T26" fmla="*/ 16 w 406"/>
                  <a:gd name="T27" fmla="*/ 269 h 717"/>
                  <a:gd name="T28" fmla="*/ 9 w 406"/>
                  <a:gd name="T29" fmla="*/ 233 h 717"/>
                  <a:gd name="T30" fmla="*/ 3 w 406"/>
                  <a:gd name="T31" fmla="*/ 198 h 717"/>
                  <a:gd name="T32" fmla="*/ 0 w 406"/>
                  <a:gd name="T33" fmla="*/ 152 h 717"/>
                  <a:gd name="T34" fmla="*/ 2 w 406"/>
                  <a:gd name="T35" fmla="*/ 99 h 717"/>
                  <a:gd name="T36" fmla="*/ 10 w 406"/>
                  <a:gd name="T37" fmla="*/ 57 h 717"/>
                  <a:gd name="T38" fmla="*/ 21 w 406"/>
                  <a:gd name="T39" fmla="*/ 17 h 717"/>
                  <a:gd name="T40" fmla="*/ 28 w 406"/>
                  <a:gd name="T41" fmla="*/ 3 h 717"/>
                  <a:gd name="T42" fmla="*/ 38 w 406"/>
                  <a:gd name="T43" fmla="*/ 0 h 717"/>
                  <a:gd name="T44" fmla="*/ 48 w 406"/>
                  <a:gd name="T45" fmla="*/ 4 h 717"/>
                  <a:gd name="T46" fmla="*/ 51 w 406"/>
                  <a:gd name="T47" fmla="*/ 14 h 717"/>
                  <a:gd name="T48" fmla="*/ 47 w 406"/>
                  <a:gd name="T49" fmla="*/ 27 h 717"/>
                  <a:gd name="T50" fmla="*/ 36 w 406"/>
                  <a:gd name="T51" fmla="*/ 63 h 717"/>
                  <a:gd name="T52" fmla="*/ 30 w 406"/>
                  <a:gd name="T53" fmla="*/ 102 h 717"/>
                  <a:gd name="T54" fmla="*/ 28 w 406"/>
                  <a:gd name="T55" fmla="*/ 153 h 717"/>
                  <a:gd name="T56" fmla="*/ 30 w 406"/>
                  <a:gd name="T57" fmla="*/ 197 h 717"/>
                  <a:gd name="T58" fmla="*/ 36 w 406"/>
                  <a:gd name="T59" fmla="*/ 230 h 717"/>
                  <a:gd name="T60" fmla="*/ 43 w 406"/>
                  <a:gd name="T61" fmla="*/ 263 h 717"/>
                  <a:gd name="T62" fmla="*/ 54 w 406"/>
                  <a:gd name="T63" fmla="*/ 300 h 717"/>
                  <a:gd name="T64" fmla="*/ 68 w 406"/>
                  <a:gd name="T65" fmla="*/ 338 h 717"/>
                  <a:gd name="T66" fmla="*/ 85 w 406"/>
                  <a:gd name="T67" fmla="*/ 377 h 717"/>
                  <a:gd name="T68" fmla="*/ 108 w 406"/>
                  <a:gd name="T69" fmla="*/ 418 h 717"/>
                  <a:gd name="T70" fmla="*/ 131 w 406"/>
                  <a:gd name="T71" fmla="*/ 455 h 717"/>
                  <a:gd name="T72" fmla="*/ 156 w 406"/>
                  <a:gd name="T73" fmla="*/ 491 h 717"/>
                  <a:gd name="T74" fmla="*/ 180 w 406"/>
                  <a:gd name="T75" fmla="*/ 522 h 717"/>
                  <a:gd name="T76" fmla="*/ 218 w 406"/>
                  <a:gd name="T77" fmla="*/ 563 h 717"/>
                  <a:gd name="T78" fmla="*/ 268 w 406"/>
                  <a:gd name="T79" fmla="*/ 609 h 717"/>
                  <a:gd name="T80" fmla="*/ 312 w 406"/>
                  <a:gd name="T81" fmla="*/ 643 h 717"/>
                  <a:gd name="T82" fmla="*/ 351 w 406"/>
                  <a:gd name="T83" fmla="*/ 667 h 717"/>
                  <a:gd name="T84" fmla="*/ 389 w 406"/>
                  <a:gd name="T85" fmla="*/ 687 h 717"/>
                  <a:gd name="T86" fmla="*/ 402 w 406"/>
                  <a:gd name="T87" fmla="*/ 694 h 717"/>
                  <a:gd name="T88" fmla="*/ 406 w 406"/>
                  <a:gd name="T89" fmla="*/ 704 h 717"/>
                  <a:gd name="T90" fmla="*/ 403 w 406"/>
                  <a:gd name="T91" fmla="*/ 712 h 717"/>
                  <a:gd name="T92" fmla="*/ 396 w 406"/>
                  <a:gd name="T93"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717">
                    <a:moveTo>
                      <a:pt x="392" y="717"/>
                    </a:moveTo>
                    <a:lnTo>
                      <a:pt x="390" y="717"/>
                    </a:lnTo>
                    <a:lnTo>
                      <a:pt x="388" y="717"/>
                    </a:lnTo>
                    <a:lnTo>
                      <a:pt x="377" y="711"/>
                    </a:lnTo>
                    <a:lnTo>
                      <a:pt x="352" y="699"/>
                    </a:lnTo>
                    <a:lnTo>
                      <a:pt x="336" y="691"/>
                    </a:lnTo>
                    <a:lnTo>
                      <a:pt x="318" y="679"/>
                    </a:lnTo>
                    <a:lnTo>
                      <a:pt x="296" y="665"/>
                    </a:lnTo>
                    <a:lnTo>
                      <a:pt x="273" y="649"/>
                    </a:lnTo>
                    <a:lnTo>
                      <a:pt x="250" y="629"/>
                    </a:lnTo>
                    <a:lnTo>
                      <a:pt x="225" y="608"/>
                    </a:lnTo>
                    <a:lnTo>
                      <a:pt x="199" y="583"/>
                    </a:lnTo>
                    <a:lnTo>
                      <a:pt x="173" y="555"/>
                    </a:lnTo>
                    <a:lnTo>
                      <a:pt x="160" y="540"/>
                    </a:lnTo>
                    <a:lnTo>
                      <a:pt x="147" y="523"/>
                    </a:lnTo>
                    <a:lnTo>
                      <a:pt x="134" y="507"/>
                    </a:lnTo>
                    <a:lnTo>
                      <a:pt x="121" y="489"/>
                    </a:lnTo>
                    <a:lnTo>
                      <a:pt x="109" y="470"/>
                    </a:lnTo>
                    <a:lnTo>
                      <a:pt x="96" y="451"/>
                    </a:lnTo>
                    <a:lnTo>
                      <a:pt x="84" y="432"/>
                    </a:lnTo>
                    <a:lnTo>
                      <a:pt x="72" y="410"/>
                    </a:lnTo>
                    <a:lnTo>
                      <a:pt x="62" y="388"/>
                    </a:lnTo>
                    <a:lnTo>
                      <a:pt x="51" y="368"/>
                    </a:lnTo>
                    <a:lnTo>
                      <a:pt x="42" y="347"/>
                    </a:lnTo>
                    <a:lnTo>
                      <a:pt x="35" y="327"/>
                    </a:lnTo>
                    <a:lnTo>
                      <a:pt x="27" y="307"/>
                    </a:lnTo>
                    <a:lnTo>
                      <a:pt x="22" y="288"/>
                    </a:lnTo>
                    <a:lnTo>
                      <a:pt x="16" y="269"/>
                    </a:lnTo>
                    <a:lnTo>
                      <a:pt x="12" y="250"/>
                    </a:lnTo>
                    <a:lnTo>
                      <a:pt x="9" y="233"/>
                    </a:lnTo>
                    <a:lnTo>
                      <a:pt x="5" y="216"/>
                    </a:lnTo>
                    <a:lnTo>
                      <a:pt x="3" y="198"/>
                    </a:lnTo>
                    <a:lnTo>
                      <a:pt x="1" y="183"/>
                    </a:lnTo>
                    <a:lnTo>
                      <a:pt x="0" y="152"/>
                    </a:lnTo>
                    <a:lnTo>
                      <a:pt x="0" y="125"/>
                    </a:lnTo>
                    <a:lnTo>
                      <a:pt x="2" y="99"/>
                    </a:lnTo>
                    <a:lnTo>
                      <a:pt x="5" y="76"/>
                    </a:lnTo>
                    <a:lnTo>
                      <a:pt x="10" y="57"/>
                    </a:lnTo>
                    <a:lnTo>
                      <a:pt x="13" y="41"/>
                    </a:lnTo>
                    <a:lnTo>
                      <a:pt x="21" y="17"/>
                    </a:lnTo>
                    <a:lnTo>
                      <a:pt x="25" y="7"/>
                    </a:lnTo>
                    <a:lnTo>
                      <a:pt x="28" y="3"/>
                    </a:lnTo>
                    <a:lnTo>
                      <a:pt x="32" y="1"/>
                    </a:lnTo>
                    <a:lnTo>
                      <a:pt x="38" y="0"/>
                    </a:lnTo>
                    <a:lnTo>
                      <a:pt x="43" y="1"/>
                    </a:lnTo>
                    <a:lnTo>
                      <a:pt x="48" y="4"/>
                    </a:lnTo>
                    <a:lnTo>
                      <a:pt x="50" y="8"/>
                    </a:lnTo>
                    <a:lnTo>
                      <a:pt x="51" y="14"/>
                    </a:lnTo>
                    <a:lnTo>
                      <a:pt x="50" y="19"/>
                    </a:lnTo>
                    <a:lnTo>
                      <a:pt x="47" y="27"/>
                    </a:lnTo>
                    <a:lnTo>
                      <a:pt x="40" y="48"/>
                    </a:lnTo>
                    <a:lnTo>
                      <a:pt x="36" y="63"/>
                    </a:lnTo>
                    <a:lnTo>
                      <a:pt x="32" y="82"/>
                    </a:lnTo>
                    <a:lnTo>
                      <a:pt x="30" y="102"/>
                    </a:lnTo>
                    <a:lnTo>
                      <a:pt x="28" y="127"/>
                    </a:lnTo>
                    <a:lnTo>
                      <a:pt x="28" y="153"/>
                    </a:lnTo>
                    <a:lnTo>
                      <a:pt x="29" y="182"/>
                    </a:lnTo>
                    <a:lnTo>
                      <a:pt x="30" y="197"/>
                    </a:lnTo>
                    <a:lnTo>
                      <a:pt x="32" y="212"/>
                    </a:lnTo>
                    <a:lnTo>
                      <a:pt x="36" y="230"/>
                    </a:lnTo>
                    <a:lnTo>
                      <a:pt x="39" y="246"/>
                    </a:lnTo>
                    <a:lnTo>
                      <a:pt x="43" y="263"/>
                    </a:lnTo>
                    <a:lnTo>
                      <a:pt x="48" y="282"/>
                    </a:lnTo>
                    <a:lnTo>
                      <a:pt x="54" y="300"/>
                    </a:lnTo>
                    <a:lnTo>
                      <a:pt x="61" y="318"/>
                    </a:lnTo>
                    <a:lnTo>
                      <a:pt x="68" y="338"/>
                    </a:lnTo>
                    <a:lnTo>
                      <a:pt x="77" y="357"/>
                    </a:lnTo>
                    <a:lnTo>
                      <a:pt x="85" y="377"/>
                    </a:lnTo>
                    <a:lnTo>
                      <a:pt x="96" y="397"/>
                    </a:lnTo>
                    <a:lnTo>
                      <a:pt x="108" y="418"/>
                    </a:lnTo>
                    <a:lnTo>
                      <a:pt x="119" y="437"/>
                    </a:lnTo>
                    <a:lnTo>
                      <a:pt x="131" y="455"/>
                    </a:lnTo>
                    <a:lnTo>
                      <a:pt x="144" y="474"/>
                    </a:lnTo>
                    <a:lnTo>
                      <a:pt x="156" y="491"/>
                    </a:lnTo>
                    <a:lnTo>
                      <a:pt x="169" y="507"/>
                    </a:lnTo>
                    <a:lnTo>
                      <a:pt x="180" y="522"/>
                    </a:lnTo>
                    <a:lnTo>
                      <a:pt x="193" y="536"/>
                    </a:lnTo>
                    <a:lnTo>
                      <a:pt x="218" y="563"/>
                    </a:lnTo>
                    <a:lnTo>
                      <a:pt x="243" y="587"/>
                    </a:lnTo>
                    <a:lnTo>
                      <a:pt x="268" y="609"/>
                    </a:lnTo>
                    <a:lnTo>
                      <a:pt x="291" y="627"/>
                    </a:lnTo>
                    <a:lnTo>
                      <a:pt x="312" y="643"/>
                    </a:lnTo>
                    <a:lnTo>
                      <a:pt x="333" y="656"/>
                    </a:lnTo>
                    <a:lnTo>
                      <a:pt x="351" y="667"/>
                    </a:lnTo>
                    <a:lnTo>
                      <a:pt x="366" y="676"/>
                    </a:lnTo>
                    <a:lnTo>
                      <a:pt x="389" y="687"/>
                    </a:lnTo>
                    <a:lnTo>
                      <a:pt x="397" y="691"/>
                    </a:lnTo>
                    <a:lnTo>
                      <a:pt x="402" y="694"/>
                    </a:lnTo>
                    <a:lnTo>
                      <a:pt x="405" y="698"/>
                    </a:lnTo>
                    <a:lnTo>
                      <a:pt x="406" y="704"/>
                    </a:lnTo>
                    <a:lnTo>
                      <a:pt x="405" y="708"/>
                    </a:lnTo>
                    <a:lnTo>
                      <a:pt x="403" y="712"/>
                    </a:lnTo>
                    <a:lnTo>
                      <a:pt x="400" y="714"/>
                    </a:lnTo>
                    <a:lnTo>
                      <a:pt x="396" y="717"/>
                    </a:lnTo>
                    <a:lnTo>
                      <a:pt x="392"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93"/>
              <p:cNvSpPr>
                <a:spLocks/>
              </p:cNvSpPr>
              <p:nvPr userDrawn="1"/>
            </p:nvSpPr>
            <p:spPr bwMode="auto">
              <a:xfrm>
                <a:off x="2138" y="1885"/>
                <a:ext cx="183" cy="238"/>
              </a:xfrm>
              <a:custGeom>
                <a:avLst/>
                <a:gdLst>
                  <a:gd name="T0" fmla="*/ 535 w 550"/>
                  <a:gd name="T1" fmla="*/ 713 h 713"/>
                  <a:gd name="T2" fmla="*/ 524 w 550"/>
                  <a:gd name="T3" fmla="*/ 709 h 713"/>
                  <a:gd name="T4" fmla="*/ 477 w 550"/>
                  <a:gd name="T5" fmla="*/ 690 h 713"/>
                  <a:gd name="T6" fmla="*/ 422 w 550"/>
                  <a:gd name="T7" fmla="*/ 662 h 713"/>
                  <a:gd name="T8" fmla="*/ 380 w 550"/>
                  <a:gd name="T9" fmla="*/ 636 h 713"/>
                  <a:gd name="T10" fmla="*/ 335 w 550"/>
                  <a:gd name="T11" fmla="*/ 605 h 713"/>
                  <a:gd name="T12" fmla="*/ 288 w 550"/>
                  <a:gd name="T13" fmla="*/ 567 h 713"/>
                  <a:gd name="T14" fmla="*/ 242 w 550"/>
                  <a:gd name="T15" fmla="*/ 523 h 713"/>
                  <a:gd name="T16" fmla="*/ 199 w 550"/>
                  <a:gd name="T17" fmla="*/ 474 h 713"/>
                  <a:gd name="T18" fmla="*/ 161 w 550"/>
                  <a:gd name="T19" fmla="*/ 427 h 713"/>
                  <a:gd name="T20" fmla="*/ 127 w 550"/>
                  <a:gd name="T21" fmla="*/ 380 h 713"/>
                  <a:gd name="T22" fmla="*/ 99 w 550"/>
                  <a:gd name="T23" fmla="*/ 334 h 713"/>
                  <a:gd name="T24" fmla="*/ 77 w 550"/>
                  <a:gd name="T25" fmla="*/ 289 h 713"/>
                  <a:gd name="T26" fmla="*/ 57 w 550"/>
                  <a:gd name="T27" fmla="*/ 247 h 713"/>
                  <a:gd name="T28" fmla="*/ 41 w 550"/>
                  <a:gd name="T29" fmla="*/ 207 h 713"/>
                  <a:gd name="T30" fmla="*/ 23 w 550"/>
                  <a:gd name="T31" fmla="*/ 152 h 713"/>
                  <a:gd name="T32" fmla="*/ 9 w 550"/>
                  <a:gd name="T33" fmla="*/ 91 h 713"/>
                  <a:gd name="T34" fmla="*/ 0 w 550"/>
                  <a:gd name="T35" fmla="*/ 29 h 713"/>
                  <a:gd name="T36" fmla="*/ 1 w 550"/>
                  <a:gd name="T37" fmla="*/ 8 h 713"/>
                  <a:gd name="T38" fmla="*/ 8 w 550"/>
                  <a:gd name="T39" fmla="*/ 1 h 713"/>
                  <a:gd name="T40" fmla="*/ 13 w 550"/>
                  <a:gd name="T41" fmla="*/ 0 h 713"/>
                  <a:gd name="T42" fmla="*/ 23 w 550"/>
                  <a:gd name="T43" fmla="*/ 3 h 713"/>
                  <a:gd name="T44" fmla="*/ 27 w 550"/>
                  <a:gd name="T45" fmla="*/ 13 h 713"/>
                  <a:gd name="T46" fmla="*/ 31 w 550"/>
                  <a:gd name="T47" fmla="*/ 60 h 713"/>
                  <a:gd name="T48" fmla="*/ 41 w 550"/>
                  <a:gd name="T49" fmla="*/ 111 h 713"/>
                  <a:gd name="T50" fmla="*/ 60 w 550"/>
                  <a:gd name="T51" fmla="*/ 178 h 713"/>
                  <a:gd name="T52" fmla="*/ 75 w 550"/>
                  <a:gd name="T53" fmla="*/ 216 h 713"/>
                  <a:gd name="T54" fmla="*/ 91 w 550"/>
                  <a:gd name="T55" fmla="*/ 256 h 713"/>
                  <a:gd name="T56" fmla="*/ 112 w 550"/>
                  <a:gd name="T57" fmla="*/ 299 h 713"/>
                  <a:gd name="T58" fmla="*/ 137 w 550"/>
                  <a:gd name="T59" fmla="*/ 342 h 713"/>
                  <a:gd name="T60" fmla="*/ 166 w 550"/>
                  <a:gd name="T61" fmla="*/ 388 h 713"/>
                  <a:gd name="T62" fmla="*/ 201 w 550"/>
                  <a:gd name="T63" fmla="*/ 434 h 713"/>
                  <a:gd name="T64" fmla="*/ 240 w 550"/>
                  <a:gd name="T65" fmla="*/ 481 h 713"/>
                  <a:gd name="T66" fmla="*/ 285 w 550"/>
                  <a:gd name="T67" fmla="*/ 527 h 713"/>
                  <a:gd name="T68" fmla="*/ 328 w 550"/>
                  <a:gd name="T69" fmla="*/ 566 h 713"/>
                  <a:gd name="T70" fmla="*/ 374 w 550"/>
                  <a:gd name="T71" fmla="*/ 599 h 713"/>
                  <a:gd name="T72" fmla="*/ 416 w 550"/>
                  <a:gd name="T73" fmla="*/ 626 h 713"/>
                  <a:gd name="T74" fmla="*/ 456 w 550"/>
                  <a:gd name="T75" fmla="*/ 649 h 713"/>
                  <a:gd name="T76" fmla="*/ 516 w 550"/>
                  <a:gd name="T77" fmla="*/ 677 h 713"/>
                  <a:gd name="T78" fmla="*/ 541 w 550"/>
                  <a:gd name="T79" fmla="*/ 687 h 713"/>
                  <a:gd name="T80" fmla="*/ 549 w 550"/>
                  <a:gd name="T81" fmla="*/ 693 h 713"/>
                  <a:gd name="T82" fmla="*/ 550 w 550"/>
                  <a:gd name="T83" fmla="*/ 704 h 713"/>
                  <a:gd name="T84" fmla="*/ 544 w 550"/>
                  <a:gd name="T85" fmla="*/ 710 h 713"/>
                  <a:gd name="T86" fmla="*/ 537 w 550"/>
                  <a:gd name="T87" fmla="*/ 713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0" h="713">
                    <a:moveTo>
                      <a:pt x="537" y="713"/>
                    </a:moveTo>
                    <a:lnTo>
                      <a:pt x="535" y="713"/>
                    </a:lnTo>
                    <a:lnTo>
                      <a:pt x="532" y="713"/>
                    </a:lnTo>
                    <a:lnTo>
                      <a:pt x="524" y="709"/>
                    </a:lnTo>
                    <a:lnTo>
                      <a:pt x="505" y="702"/>
                    </a:lnTo>
                    <a:lnTo>
                      <a:pt x="477" y="690"/>
                    </a:lnTo>
                    <a:lnTo>
                      <a:pt x="442" y="673"/>
                    </a:lnTo>
                    <a:lnTo>
                      <a:pt x="422" y="662"/>
                    </a:lnTo>
                    <a:lnTo>
                      <a:pt x="402" y="649"/>
                    </a:lnTo>
                    <a:lnTo>
                      <a:pt x="380" y="636"/>
                    </a:lnTo>
                    <a:lnTo>
                      <a:pt x="357" y="621"/>
                    </a:lnTo>
                    <a:lnTo>
                      <a:pt x="335" y="605"/>
                    </a:lnTo>
                    <a:lnTo>
                      <a:pt x="312" y="586"/>
                    </a:lnTo>
                    <a:lnTo>
                      <a:pt x="288" y="567"/>
                    </a:lnTo>
                    <a:lnTo>
                      <a:pt x="266" y="546"/>
                    </a:lnTo>
                    <a:lnTo>
                      <a:pt x="242" y="523"/>
                    </a:lnTo>
                    <a:lnTo>
                      <a:pt x="219" y="498"/>
                    </a:lnTo>
                    <a:lnTo>
                      <a:pt x="199" y="474"/>
                    </a:lnTo>
                    <a:lnTo>
                      <a:pt x="179" y="450"/>
                    </a:lnTo>
                    <a:lnTo>
                      <a:pt x="161" y="427"/>
                    </a:lnTo>
                    <a:lnTo>
                      <a:pt x="144" y="403"/>
                    </a:lnTo>
                    <a:lnTo>
                      <a:pt x="127" y="380"/>
                    </a:lnTo>
                    <a:lnTo>
                      <a:pt x="113" y="356"/>
                    </a:lnTo>
                    <a:lnTo>
                      <a:pt x="99" y="334"/>
                    </a:lnTo>
                    <a:lnTo>
                      <a:pt x="87" y="312"/>
                    </a:lnTo>
                    <a:lnTo>
                      <a:pt x="77" y="289"/>
                    </a:lnTo>
                    <a:lnTo>
                      <a:pt x="66" y="268"/>
                    </a:lnTo>
                    <a:lnTo>
                      <a:pt x="57" y="247"/>
                    </a:lnTo>
                    <a:lnTo>
                      <a:pt x="49" y="227"/>
                    </a:lnTo>
                    <a:lnTo>
                      <a:pt x="41" y="207"/>
                    </a:lnTo>
                    <a:lnTo>
                      <a:pt x="35" y="188"/>
                    </a:lnTo>
                    <a:lnTo>
                      <a:pt x="23" y="152"/>
                    </a:lnTo>
                    <a:lnTo>
                      <a:pt x="14" y="120"/>
                    </a:lnTo>
                    <a:lnTo>
                      <a:pt x="9" y="91"/>
                    </a:lnTo>
                    <a:lnTo>
                      <a:pt x="4" y="65"/>
                    </a:lnTo>
                    <a:lnTo>
                      <a:pt x="0" y="29"/>
                    </a:lnTo>
                    <a:lnTo>
                      <a:pt x="0" y="13"/>
                    </a:lnTo>
                    <a:lnTo>
                      <a:pt x="1" y="8"/>
                    </a:lnTo>
                    <a:lnTo>
                      <a:pt x="3" y="3"/>
                    </a:lnTo>
                    <a:lnTo>
                      <a:pt x="8" y="1"/>
                    </a:lnTo>
                    <a:lnTo>
                      <a:pt x="13" y="0"/>
                    </a:lnTo>
                    <a:lnTo>
                      <a:pt x="13" y="0"/>
                    </a:lnTo>
                    <a:lnTo>
                      <a:pt x="18" y="1"/>
                    </a:lnTo>
                    <a:lnTo>
                      <a:pt x="23" y="3"/>
                    </a:lnTo>
                    <a:lnTo>
                      <a:pt x="26" y="8"/>
                    </a:lnTo>
                    <a:lnTo>
                      <a:pt x="27" y="13"/>
                    </a:lnTo>
                    <a:lnTo>
                      <a:pt x="27" y="26"/>
                    </a:lnTo>
                    <a:lnTo>
                      <a:pt x="31" y="60"/>
                    </a:lnTo>
                    <a:lnTo>
                      <a:pt x="36" y="84"/>
                    </a:lnTo>
                    <a:lnTo>
                      <a:pt x="41" y="111"/>
                    </a:lnTo>
                    <a:lnTo>
                      <a:pt x="50" y="144"/>
                    </a:lnTo>
                    <a:lnTo>
                      <a:pt x="60" y="178"/>
                    </a:lnTo>
                    <a:lnTo>
                      <a:pt x="67" y="197"/>
                    </a:lnTo>
                    <a:lnTo>
                      <a:pt x="75" y="216"/>
                    </a:lnTo>
                    <a:lnTo>
                      <a:pt x="82" y="235"/>
                    </a:lnTo>
                    <a:lnTo>
                      <a:pt x="91" y="256"/>
                    </a:lnTo>
                    <a:lnTo>
                      <a:pt x="102" y="278"/>
                    </a:lnTo>
                    <a:lnTo>
                      <a:pt x="112" y="299"/>
                    </a:lnTo>
                    <a:lnTo>
                      <a:pt x="124" y="321"/>
                    </a:lnTo>
                    <a:lnTo>
                      <a:pt x="137" y="342"/>
                    </a:lnTo>
                    <a:lnTo>
                      <a:pt x="151" y="365"/>
                    </a:lnTo>
                    <a:lnTo>
                      <a:pt x="166" y="388"/>
                    </a:lnTo>
                    <a:lnTo>
                      <a:pt x="182" y="410"/>
                    </a:lnTo>
                    <a:lnTo>
                      <a:pt x="201" y="434"/>
                    </a:lnTo>
                    <a:lnTo>
                      <a:pt x="219" y="457"/>
                    </a:lnTo>
                    <a:lnTo>
                      <a:pt x="240" y="481"/>
                    </a:lnTo>
                    <a:lnTo>
                      <a:pt x="261" y="503"/>
                    </a:lnTo>
                    <a:lnTo>
                      <a:pt x="285" y="527"/>
                    </a:lnTo>
                    <a:lnTo>
                      <a:pt x="307" y="547"/>
                    </a:lnTo>
                    <a:lnTo>
                      <a:pt x="328" y="566"/>
                    </a:lnTo>
                    <a:lnTo>
                      <a:pt x="351" y="583"/>
                    </a:lnTo>
                    <a:lnTo>
                      <a:pt x="374" y="599"/>
                    </a:lnTo>
                    <a:lnTo>
                      <a:pt x="395" y="613"/>
                    </a:lnTo>
                    <a:lnTo>
                      <a:pt x="416" y="626"/>
                    </a:lnTo>
                    <a:lnTo>
                      <a:pt x="436" y="638"/>
                    </a:lnTo>
                    <a:lnTo>
                      <a:pt x="456" y="649"/>
                    </a:lnTo>
                    <a:lnTo>
                      <a:pt x="489" y="665"/>
                    </a:lnTo>
                    <a:lnTo>
                      <a:pt x="516" y="677"/>
                    </a:lnTo>
                    <a:lnTo>
                      <a:pt x="535" y="685"/>
                    </a:lnTo>
                    <a:lnTo>
                      <a:pt x="541" y="687"/>
                    </a:lnTo>
                    <a:lnTo>
                      <a:pt x="545" y="689"/>
                    </a:lnTo>
                    <a:lnTo>
                      <a:pt x="549" y="693"/>
                    </a:lnTo>
                    <a:lnTo>
                      <a:pt x="550" y="699"/>
                    </a:lnTo>
                    <a:lnTo>
                      <a:pt x="550" y="704"/>
                    </a:lnTo>
                    <a:lnTo>
                      <a:pt x="547" y="707"/>
                    </a:lnTo>
                    <a:lnTo>
                      <a:pt x="544" y="710"/>
                    </a:lnTo>
                    <a:lnTo>
                      <a:pt x="541" y="713"/>
                    </a:lnTo>
                    <a:lnTo>
                      <a:pt x="537" y="7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94"/>
              <p:cNvSpPr>
                <a:spLocks/>
              </p:cNvSpPr>
              <p:nvPr userDrawn="1"/>
            </p:nvSpPr>
            <p:spPr bwMode="auto">
              <a:xfrm>
                <a:off x="2046" y="1861"/>
                <a:ext cx="242" cy="272"/>
              </a:xfrm>
              <a:custGeom>
                <a:avLst/>
                <a:gdLst>
                  <a:gd name="T0" fmla="*/ 705 w 726"/>
                  <a:gd name="T1" fmla="*/ 816 h 816"/>
                  <a:gd name="T2" fmla="*/ 677 w 726"/>
                  <a:gd name="T3" fmla="*/ 809 h 816"/>
                  <a:gd name="T4" fmla="*/ 647 w 726"/>
                  <a:gd name="T5" fmla="*/ 800 h 816"/>
                  <a:gd name="T6" fmla="*/ 607 w 726"/>
                  <a:gd name="T7" fmla="*/ 782 h 816"/>
                  <a:gd name="T8" fmla="*/ 555 w 726"/>
                  <a:gd name="T9" fmla="*/ 756 h 816"/>
                  <a:gd name="T10" fmla="*/ 492 w 726"/>
                  <a:gd name="T11" fmla="*/ 720 h 816"/>
                  <a:gd name="T12" fmla="*/ 417 w 726"/>
                  <a:gd name="T13" fmla="*/ 671 h 816"/>
                  <a:gd name="T14" fmla="*/ 351 w 726"/>
                  <a:gd name="T15" fmla="*/ 625 h 816"/>
                  <a:gd name="T16" fmla="*/ 309 w 726"/>
                  <a:gd name="T17" fmla="*/ 590 h 816"/>
                  <a:gd name="T18" fmla="*/ 268 w 726"/>
                  <a:gd name="T19" fmla="*/ 554 h 816"/>
                  <a:gd name="T20" fmla="*/ 231 w 726"/>
                  <a:gd name="T21" fmla="*/ 515 h 816"/>
                  <a:gd name="T22" fmla="*/ 195 w 726"/>
                  <a:gd name="T23" fmla="*/ 475 h 816"/>
                  <a:gd name="T24" fmla="*/ 164 w 726"/>
                  <a:gd name="T25" fmla="*/ 434 h 816"/>
                  <a:gd name="T26" fmla="*/ 135 w 726"/>
                  <a:gd name="T27" fmla="*/ 392 h 816"/>
                  <a:gd name="T28" fmla="*/ 108 w 726"/>
                  <a:gd name="T29" fmla="*/ 350 h 816"/>
                  <a:gd name="T30" fmla="*/ 84 w 726"/>
                  <a:gd name="T31" fmla="*/ 307 h 816"/>
                  <a:gd name="T32" fmla="*/ 63 w 726"/>
                  <a:gd name="T33" fmla="*/ 264 h 816"/>
                  <a:gd name="T34" fmla="*/ 45 w 726"/>
                  <a:gd name="T35" fmla="*/ 222 h 816"/>
                  <a:gd name="T36" fmla="*/ 30 w 726"/>
                  <a:gd name="T37" fmla="*/ 181 h 816"/>
                  <a:gd name="T38" fmla="*/ 18 w 726"/>
                  <a:gd name="T39" fmla="*/ 141 h 816"/>
                  <a:gd name="T40" fmla="*/ 9 w 726"/>
                  <a:gd name="T41" fmla="*/ 102 h 816"/>
                  <a:gd name="T42" fmla="*/ 3 w 726"/>
                  <a:gd name="T43" fmla="*/ 66 h 816"/>
                  <a:gd name="T44" fmla="*/ 0 w 726"/>
                  <a:gd name="T45" fmla="*/ 30 h 816"/>
                  <a:gd name="T46" fmla="*/ 1 w 726"/>
                  <a:gd name="T47" fmla="*/ 8 h 816"/>
                  <a:gd name="T48" fmla="*/ 8 w 726"/>
                  <a:gd name="T49" fmla="*/ 1 h 816"/>
                  <a:gd name="T50" fmla="*/ 18 w 726"/>
                  <a:gd name="T51" fmla="*/ 1 h 816"/>
                  <a:gd name="T52" fmla="*/ 26 w 726"/>
                  <a:gd name="T53" fmla="*/ 8 h 816"/>
                  <a:gd name="T54" fmla="*/ 27 w 726"/>
                  <a:gd name="T55" fmla="*/ 29 h 816"/>
                  <a:gd name="T56" fmla="*/ 30 w 726"/>
                  <a:gd name="T57" fmla="*/ 63 h 816"/>
                  <a:gd name="T58" fmla="*/ 36 w 726"/>
                  <a:gd name="T59" fmla="*/ 99 h 816"/>
                  <a:gd name="T60" fmla="*/ 45 w 726"/>
                  <a:gd name="T61" fmla="*/ 137 h 816"/>
                  <a:gd name="T62" fmla="*/ 57 w 726"/>
                  <a:gd name="T63" fmla="*/ 175 h 816"/>
                  <a:gd name="T64" fmla="*/ 71 w 726"/>
                  <a:gd name="T65" fmla="*/ 215 h 816"/>
                  <a:gd name="T66" fmla="*/ 88 w 726"/>
                  <a:gd name="T67" fmla="*/ 256 h 816"/>
                  <a:gd name="T68" fmla="*/ 109 w 726"/>
                  <a:gd name="T69" fmla="*/ 297 h 816"/>
                  <a:gd name="T70" fmla="*/ 131 w 726"/>
                  <a:gd name="T71" fmla="*/ 338 h 816"/>
                  <a:gd name="T72" fmla="*/ 157 w 726"/>
                  <a:gd name="T73" fmla="*/ 378 h 816"/>
                  <a:gd name="T74" fmla="*/ 185 w 726"/>
                  <a:gd name="T75" fmla="*/ 419 h 816"/>
                  <a:gd name="T76" fmla="*/ 217 w 726"/>
                  <a:gd name="T77" fmla="*/ 459 h 816"/>
                  <a:gd name="T78" fmla="*/ 250 w 726"/>
                  <a:gd name="T79" fmla="*/ 496 h 816"/>
                  <a:gd name="T80" fmla="*/ 287 w 726"/>
                  <a:gd name="T81" fmla="*/ 534 h 816"/>
                  <a:gd name="T82" fmla="*/ 326 w 726"/>
                  <a:gd name="T83" fmla="*/ 570 h 816"/>
                  <a:gd name="T84" fmla="*/ 367 w 726"/>
                  <a:gd name="T85" fmla="*/ 603 h 816"/>
                  <a:gd name="T86" fmla="*/ 432 w 726"/>
                  <a:gd name="T87" fmla="*/ 649 h 816"/>
                  <a:gd name="T88" fmla="*/ 506 w 726"/>
                  <a:gd name="T89" fmla="*/ 697 h 816"/>
                  <a:gd name="T90" fmla="*/ 568 w 726"/>
                  <a:gd name="T91" fmla="*/ 733 h 816"/>
                  <a:gd name="T92" fmla="*/ 617 w 726"/>
                  <a:gd name="T93" fmla="*/ 759 h 816"/>
                  <a:gd name="T94" fmla="*/ 656 w 726"/>
                  <a:gd name="T95" fmla="*/ 775 h 816"/>
                  <a:gd name="T96" fmla="*/ 684 w 726"/>
                  <a:gd name="T97" fmla="*/ 783 h 816"/>
                  <a:gd name="T98" fmla="*/ 707 w 726"/>
                  <a:gd name="T99" fmla="*/ 789 h 816"/>
                  <a:gd name="T100" fmla="*/ 712 w 726"/>
                  <a:gd name="T101" fmla="*/ 789 h 816"/>
                  <a:gd name="T102" fmla="*/ 721 w 726"/>
                  <a:gd name="T103" fmla="*/ 793 h 816"/>
                  <a:gd name="T104" fmla="*/ 726 w 726"/>
                  <a:gd name="T105" fmla="*/ 802 h 816"/>
                  <a:gd name="T106" fmla="*/ 722 w 726"/>
                  <a:gd name="T107" fmla="*/ 812 h 816"/>
                  <a:gd name="T108" fmla="*/ 713 w 726"/>
                  <a:gd name="T109" fmla="*/ 816 h 816"/>
                  <a:gd name="T110" fmla="*/ 712 w 726"/>
                  <a:gd name="T111"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6" h="816">
                    <a:moveTo>
                      <a:pt x="712" y="816"/>
                    </a:moveTo>
                    <a:lnTo>
                      <a:pt x="705" y="816"/>
                    </a:lnTo>
                    <a:lnTo>
                      <a:pt x="689" y="813"/>
                    </a:lnTo>
                    <a:lnTo>
                      <a:pt x="677" y="809"/>
                    </a:lnTo>
                    <a:lnTo>
                      <a:pt x="663" y="805"/>
                    </a:lnTo>
                    <a:lnTo>
                      <a:pt x="647" y="800"/>
                    </a:lnTo>
                    <a:lnTo>
                      <a:pt x="628" y="792"/>
                    </a:lnTo>
                    <a:lnTo>
                      <a:pt x="607" y="782"/>
                    </a:lnTo>
                    <a:lnTo>
                      <a:pt x="582" y="771"/>
                    </a:lnTo>
                    <a:lnTo>
                      <a:pt x="555" y="756"/>
                    </a:lnTo>
                    <a:lnTo>
                      <a:pt x="525" y="740"/>
                    </a:lnTo>
                    <a:lnTo>
                      <a:pt x="492" y="720"/>
                    </a:lnTo>
                    <a:lnTo>
                      <a:pt x="455" y="697"/>
                    </a:lnTo>
                    <a:lnTo>
                      <a:pt x="417" y="671"/>
                    </a:lnTo>
                    <a:lnTo>
                      <a:pt x="373" y="641"/>
                    </a:lnTo>
                    <a:lnTo>
                      <a:pt x="351" y="625"/>
                    </a:lnTo>
                    <a:lnTo>
                      <a:pt x="329" y="608"/>
                    </a:lnTo>
                    <a:lnTo>
                      <a:pt x="309" y="590"/>
                    </a:lnTo>
                    <a:lnTo>
                      <a:pt x="288" y="572"/>
                    </a:lnTo>
                    <a:lnTo>
                      <a:pt x="268" y="554"/>
                    </a:lnTo>
                    <a:lnTo>
                      <a:pt x="249" y="534"/>
                    </a:lnTo>
                    <a:lnTo>
                      <a:pt x="231" y="515"/>
                    </a:lnTo>
                    <a:lnTo>
                      <a:pt x="212" y="495"/>
                    </a:lnTo>
                    <a:lnTo>
                      <a:pt x="195" y="475"/>
                    </a:lnTo>
                    <a:lnTo>
                      <a:pt x="179" y="454"/>
                    </a:lnTo>
                    <a:lnTo>
                      <a:pt x="164" y="434"/>
                    </a:lnTo>
                    <a:lnTo>
                      <a:pt x="149" y="413"/>
                    </a:lnTo>
                    <a:lnTo>
                      <a:pt x="135" y="392"/>
                    </a:lnTo>
                    <a:lnTo>
                      <a:pt x="121" y="371"/>
                    </a:lnTo>
                    <a:lnTo>
                      <a:pt x="108" y="350"/>
                    </a:lnTo>
                    <a:lnTo>
                      <a:pt x="96" y="328"/>
                    </a:lnTo>
                    <a:lnTo>
                      <a:pt x="84" y="307"/>
                    </a:lnTo>
                    <a:lnTo>
                      <a:pt x="73" y="286"/>
                    </a:lnTo>
                    <a:lnTo>
                      <a:pt x="63" y="264"/>
                    </a:lnTo>
                    <a:lnTo>
                      <a:pt x="54" y="244"/>
                    </a:lnTo>
                    <a:lnTo>
                      <a:pt x="45" y="222"/>
                    </a:lnTo>
                    <a:lnTo>
                      <a:pt x="38" y="202"/>
                    </a:lnTo>
                    <a:lnTo>
                      <a:pt x="30" y="181"/>
                    </a:lnTo>
                    <a:lnTo>
                      <a:pt x="25" y="161"/>
                    </a:lnTo>
                    <a:lnTo>
                      <a:pt x="18" y="141"/>
                    </a:lnTo>
                    <a:lnTo>
                      <a:pt x="14" y="122"/>
                    </a:lnTo>
                    <a:lnTo>
                      <a:pt x="9" y="102"/>
                    </a:lnTo>
                    <a:lnTo>
                      <a:pt x="6" y="84"/>
                    </a:lnTo>
                    <a:lnTo>
                      <a:pt x="3" y="66"/>
                    </a:lnTo>
                    <a:lnTo>
                      <a:pt x="1" y="47"/>
                    </a:lnTo>
                    <a:lnTo>
                      <a:pt x="0" y="30"/>
                    </a:lnTo>
                    <a:lnTo>
                      <a:pt x="0" y="14"/>
                    </a:lnTo>
                    <a:lnTo>
                      <a:pt x="1" y="8"/>
                    </a:lnTo>
                    <a:lnTo>
                      <a:pt x="4" y="4"/>
                    </a:lnTo>
                    <a:lnTo>
                      <a:pt x="8" y="1"/>
                    </a:lnTo>
                    <a:lnTo>
                      <a:pt x="14" y="0"/>
                    </a:lnTo>
                    <a:lnTo>
                      <a:pt x="18" y="1"/>
                    </a:lnTo>
                    <a:lnTo>
                      <a:pt x="22" y="4"/>
                    </a:lnTo>
                    <a:lnTo>
                      <a:pt x="26" y="8"/>
                    </a:lnTo>
                    <a:lnTo>
                      <a:pt x="27" y="14"/>
                    </a:lnTo>
                    <a:lnTo>
                      <a:pt x="27" y="29"/>
                    </a:lnTo>
                    <a:lnTo>
                      <a:pt x="28" y="46"/>
                    </a:lnTo>
                    <a:lnTo>
                      <a:pt x="30" y="63"/>
                    </a:lnTo>
                    <a:lnTo>
                      <a:pt x="33" y="81"/>
                    </a:lnTo>
                    <a:lnTo>
                      <a:pt x="36" y="99"/>
                    </a:lnTo>
                    <a:lnTo>
                      <a:pt x="40" y="117"/>
                    </a:lnTo>
                    <a:lnTo>
                      <a:pt x="45" y="137"/>
                    </a:lnTo>
                    <a:lnTo>
                      <a:pt x="50" y="155"/>
                    </a:lnTo>
                    <a:lnTo>
                      <a:pt x="57" y="175"/>
                    </a:lnTo>
                    <a:lnTo>
                      <a:pt x="63" y="195"/>
                    </a:lnTo>
                    <a:lnTo>
                      <a:pt x="71" y="215"/>
                    </a:lnTo>
                    <a:lnTo>
                      <a:pt x="80" y="235"/>
                    </a:lnTo>
                    <a:lnTo>
                      <a:pt x="88" y="256"/>
                    </a:lnTo>
                    <a:lnTo>
                      <a:pt x="98" y="276"/>
                    </a:lnTo>
                    <a:lnTo>
                      <a:pt x="109" y="297"/>
                    </a:lnTo>
                    <a:lnTo>
                      <a:pt x="120" y="317"/>
                    </a:lnTo>
                    <a:lnTo>
                      <a:pt x="131" y="338"/>
                    </a:lnTo>
                    <a:lnTo>
                      <a:pt x="144" y="358"/>
                    </a:lnTo>
                    <a:lnTo>
                      <a:pt x="157" y="378"/>
                    </a:lnTo>
                    <a:lnTo>
                      <a:pt x="171" y="398"/>
                    </a:lnTo>
                    <a:lnTo>
                      <a:pt x="185" y="419"/>
                    </a:lnTo>
                    <a:lnTo>
                      <a:pt x="201" y="438"/>
                    </a:lnTo>
                    <a:lnTo>
                      <a:pt x="217" y="459"/>
                    </a:lnTo>
                    <a:lnTo>
                      <a:pt x="233" y="478"/>
                    </a:lnTo>
                    <a:lnTo>
                      <a:pt x="250" y="496"/>
                    </a:lnTo>
                    <a:lnTo>
                      <a:pt x="269" y="516"/>
                    </a:lnTo>
                    <a:lnTo>
                      <a:pt x="287" y="534"/>
                    </a:lnTo>
                    <a:lnTo>
                      <a:pt x="306" y="552"/>
                    </a:lnTo>
                    <a:lnTo>
                      <a:pt x="326" y="570"/>
                    </a:lnTo>
                    <a:lnTo>
                      <a:pt x="346" y="587"/>
                    </a:lnTo>
                    <a:lnTo>
                      <a:pt x="367" y="603"/>
                    </a:lnTo>
                    <a:lnTo>
                      <a:pt x="390" y="619"/>
                    </a:lnTo>
                    <a:lnTo>
                      <a:pt x="432" y="649"/>
                    </a:lnTo>
                    <a:lnTo>
                      <a:pt x="471" y="674"/>
                    </a:lnTo>
                    <a:lnTo>
                      <a:pt x="506" y="697"/>
                    </a:lnTo>
                    <a:lnTo>
                      <a:pt x="539" y="717"/>
                    </a:lnTo>
                    <a:lnTo>
                      <a:pt x="568" y="733"/>
                    </a:lnTo>
                    <a:lnTo>
                      <a:pt x="595" y="747"/>
                    </a:lnTo>
                    <a:lnTo>
                      <a:pt x="617" y="759"/>
                    </a:lnTo>
                    <a:lnTo>
                      <a:pt x="638" y="767"/>
                    </a:lnTo>
                    <a:lnTo>
                      <a:pt x="656" y="775"/>
                    </a:lnTo>
                    <a:lnTo>
                      <a:pt x="671" y="780"/>
                    </a:lnTo>
                    <a:lnTo>
                      <a:pt x="684" y="783"/>
                    </a:lnTo>
                    <a:lnTo>
                      <a:pt x="694" y="787"/>
                    </a:lnTo>
                    <a:lnTo>
                      <a:pt x="707" y="789"/>
                    </a:lnTo>
                    <a:lnTo>
                      <a:pt x="712" y="789"/>
                    </a:lnTo>
                    <a:lnTo>
                      <a:pt x="712" y="789"/>
                    </a:lnTo>
                    <a:lnTo>
                      <a:pt x="717" y="790"/>
                    </a:lnTo>
                    <a:lnTo>
                      <a:pt x="721" y="793"/>
                    </a:lnTo>
                    <a:lnTo>
                      <a:pt x="724" y="798"/>
                    </a:lnTo>
                    <a:lnTo>
                      <a:pt x="726" y="802"/>
                    </a:lnTo>
                    <a:lnTo>
                      <a:pt x="725" y="807"/>
                    </a:lnTo>
                    <a:lnTo>
                      <a:pt x="722" y="812"/>
                    </a:lnTo>
                    <a:lnTo>
                      <a:pt x="719" y="815"/>
                    </a:lnTo>
                    <a:lnTo>
                      <a:pt x="713" y="816"/>
                    </a:lnTo>
                    <a:lnTo>
                      <a:pt x="712" y="816"/>
                    </a:lnTo>
                    <a:lnTo>
                      <a:pt x="712" y="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95"/>
              <p:cNvSpPr>
                <a:spLocks/>
              </p:cNvSpPr>
              <p:nvPr userDrawn="1"/>
            </p:nvSpPr>
            <p:spPr bwMode="auto">
              <a:xfrm>
                <a:off x="815" y="3217"/>
                <a:ext cx="391" cy="723"/>
              </a:xfrm>
              <a:custGeom>
                <a:avLst/>
                <a:gdLst>
                  <a:gd name="T0" fmla="*/ 1154 w 1172"/>
                  <a:gd name="T1" fmla="*/ 2167 h 2168"/>
                  <a:gd name="T2" fmla="*/ 1147 w 1172"/>
                  <a:gd name="T3" fmla="*/ 2160 h 2168"/>
                  <a:gd name="T4" fmla="*/ 1145 w 1172"/>
                  <a:gd name="T5" fmla="*/ 2146 h 2168"/>
                  <a:gd name="T6" fmla="*/ 1144 w 1172"/>
                  <a:gd name="T7" fmla="*/ 2087 h 2168"/>
                  <a:gd name="T8" fmla="*/ 1139 w 1172"/>
                  <a:gd name="T9" fmla="*/ 1978 h 2168"/>
                  <a:gd name="T10" fmla="*/ 1129 w 1172"/>
                  <a:gd name="T11" fmla="*/ 1828 h 2168"/>
                  <a:gd name="T12" fmla="*/ 1112 w 1172"/>
                  <a:gd name="T13" fmla="*/ 1646 h 2168"/>
                  <a:gd name="T14" fmla="*/ 1094 w 1172"/>
                  <a:gd name="T15" fmla="*/ 1492 h 2168"/>
                  <a:gd name="T16" fmla="*/ 1077 w 1172"/>
                  <a:gd name="T17" fmla="*/ 1384 h 2168"/>
                  <a:gd name="T18" fmla="*/ 1059 w 1172"/>
                  <a:gd name="T19" fmla="*/ 1273 h 2168"/>
                  <a:gd name="T20" fmla="*/ 1036 w 1172"/>
                  <a:gd name="T21" fmla="*/ 1159 h 2168"/>
                  <a:gd name="T22" fmla="*/ 1010 w 1172"/>
                  <a:gd name="T23" fmla="*/ 1043 h 2168"/>
                  <a:gd name="T24" fmla="*/ 981 w 1172"/>
                  <a:gd name="T25" fmla="*/ 927 h 2168"/>
                  <a:gd name="T26" fmla="*/ 947 w 1172"/>
                  <a:gd name="T27" fmla="*/ 812 h 2168"/>
                  <a:gd name="T28" fmla="*/ 901 w 1172"/>
                  <a:gd name="T29" fmla="*/ 706 h 2168"/>
                  <a:gd name="T30" fmla="*/ 844 w 1172"/>
                  <a:gd name="T31" fmla="*/ 609 h 2168"/>
                  <a:gd name="T32" fmla="*/ 778 w 1172"/>
                  <a:gd name="T33" fmla="*/ 521 h 2168"/>
                  <a:gd name="T34" fmla="*/ 706 w 1172"/>
                  <a:gd name="T35" fmla="*/ 441 h 2168"/>
                  <a:gd name="T36" fmla="*/ 627 w 1172"/>
                  <a:gd name="T37" fmla="*/ 367 h 2168"/>
                  <a:gd name="T38" fmla="*/ 547 w 1172"/>
                  <a:gd name="T39" fmla="*/ 303 h 2168"/>
                  <a:gd name="T40" fmla="*/ 465 w 1172"/>
                  <a:gd name="T41" fmla="*/ 245 h 2168"/>
                  <a:gd name="T42" fmla="*/ 384 w 1172"/>
                  <a:gd name="T43" fmla="*/ 196 h 2168"/>
                  <a:gd name="T44" fmla="*/ 306 w 1172"/>
                  <a:gd name="T45" fmla="*/ 153 h 2168"/>
                  <a:gd name="T46" fmla="*/ 233 w 1172"/>
                  <a:gd name="T47" fmla="*/ 116 h 2168"/>
                  <a:gd name="T48" fmla="*/ 167 w 1172"/>
                  <a:gd name="T49" fmla="*/ 87 h 2168"/>
                  <a:gd name="T50" fmla="*/ 85 w 1172"/>
                  <a:gd name="T51" fmla="*/ 53 h 2168"/>
                  <a:gd name="T52" fmla="*/ 19 w 1172"/>
                  <a:gd name="T53" fmla="*/ 31 h 2168"/>
                  <a:gd name="T54" fmla="*/ 5 w 1172"/>
                  <a:gd name="T55" fmla="*/ 25 h 2168"/>
                  <a:gd name="T56" fmla="*/ 0 w 1172"/>
                  <a:gd name="T57" fmla="*/ 16 h 2168"/>
                  <a:gd name="T58" fmla="*/ 3 w 1172"/>
                  <a:gd name="T59" fmla="*/ 6 h 2168"/>
                  <a:gd name="T60" fmla="*/ 12 w 1172"/>
                  <a:gd name="T61" fmla="*/ 0 h 2168"/>
                  <a:gd name="T62" fmla="*/ 27 w 1172"/>
                  <a:gd name="T63" fmla="*/ 5 h 2168"/>
                  <a:gd name="T64" fmla="*/ 95 w 1172"/>
                  <a:gd name="T65" fmla="*/ 27 h 2168"/>
                  <a:gd name="T66" fmla="*/ 178 w 1172"/>
                  <a:gd name="T67" fmla="*/ 62 h 2168"/>
                  <a:gd name="T68" fmla="*/ 245 w 1172"/>
                  <a:gd name="T69" fmla="*/ 92 h 2168"/>
                  <a:gd name="T70" fmla="*/ 319 w 1172"/>
                  <a:gd name="T71" fmla="*/ 129 h 2168"/>
                  <a:gd name="T72" fmla="*/ 398 w 1172"/>
                  <a:gd name="T73" fmla="*/ 173 h 2168"/>
                  <a:gd name="T74" fmla="*/ 481 w 1172"/>
                  <a:gd name="T75" fmla="*/ 224 h 2168"/>
                  <a:gd name="T76" fmla="*/ 565 w 1172"/>
                  <a:gd name="T77" fmla="*/ 283 h 2168"/>
                  <a:gd name="T78" fmla="*/ 647 w 1172"/>
                  <a:gd name="T79" fmla="*/ 349 h 2168"/>
                  <a:gd name="T80" fmla="*/ 726 w 1172"/>
                  <a:gd name="T81" fmla="*/ 424 h 2168"/>
                  <a:gd name="T82" fmla="*/ 800 w 1172"/>
                  <a:gd name="T83" fmla="*/ 506 h 2168"/>
                  <a:gd name="T84" fmla="*/ 868 w 1172"/>
                  <a:gd name="T85" fmla="*/ 596 h 2168"/>
                  <a:gd name="T86" fmla="*/ 926 w 1172"/>
                  <a:gd name="T87" fmla="*/ 696 h 2168"/>
                  <a:gd name="T88" fmla="*/ 973 w 1172"/>
                  <a:gd name="T89" fmla="*/ 804 h 2168"/>
                  <a:gd name="T90" fmla="*/ 1007 w 1172"/>
                  <a:gd name="T91" fmla="*/ 919 h 2168"/>
                  <a:gd name="T92" fmla="*/ 1037 w 1172"/>
                  <a:gd name="T93" fmla="*/ 1037 h 2168"/>
                  <a:gd name="T94" fmla="*/ 1063 w 1172"/>
                  <a:gd name="T95" fmla="*/ 1152 h 2168"/>
                  <a:gd name="T96" fmla="*/ 1085 w 1172"/>
                  <a:gd name="T97" fmla="*/ 1268 h 2168"/>
                  <a:gd name="T98" fmla="*/ 1104 w 1172"/>
                  <a:gd name="T99" fmla="*/ 1380 h 2168"/>
                  <a:gd name="T100" fmla="*/ 1121 w 1172"/>
                  <a:gd name="T101" fmla="*/ 1489 h 2168"/>
                  <a:gd name="T102" fmla="*/ 1139 w 1172"/>
                  <a:gd name="T103" fmla="*/ 1643 h 2168"/>
                  <a:gd name="T104" fmla="*/ 1156 w 1172"/>
                  <a:gd name="T105" fmla="*/ 1826 h 2168"/>
                  <a:gd name="T106" fmla="*/ 1166 w 1172"/>
                  <a:gd name="T107" fmla="*/ 1977 h 2168"/>
                  <a:gd name="T108" fmla="*/ 1171 w 1172"/>
                  <a:gd name="T109" fmla="*/ 2086 h 2168"/>
                  <a:gd name="T110" fmla="*/ 1172 w 1172"/>
                  <a:gd name="T111" fmla="*/ 2146 h 2168"/>
                  <a:gd name="T112" fmla="*/ 1171 w 1172"/>
                  <a:gd name="T113" fmla="*/ 2160 h 2168"/>
                  <a:gd name="T114" fmla="*/ 1164 w 1172"/>
                  <a:gd name="T115" fmla="*/ 2167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2" h="2168">
                    <a:moveTo>
                      <a:pt x="1158" y="2168"/>
                    </a:moveTo>
                    <a:lnTo>
                      <a:pt x="1154" y="2167"/>
                    </a:lnTo>
                    <a:lnTo>
                      <a:pt x="1150" y="2165"/>
                    </a:lnTo>
                    <a:lnTo>
                      <a:pt x="1147" y="2160"/>
                    </a:lnTo>
                    <a:lnTo>
                      <a:pt x="1145" y="2155"/>
                    </a:lnTo>
                    <a:lnTo>
                      <a:pt x="1145" y="2146"/>
                    </a:lnTo>
                    <a:lnTo>
                      <a:pt x="1145" y="2123"/>
                    </a:lnTo>
                    <a:lnTo>
                      <a:pt x="1144" y="2087"/>
                    </a:lnTo>
                    <a:lnTo>
                      <a:pt x="1142" y="2037"/>
                    </a:lnTo>
                    <a:lnTo>
                      <a:pt x="1139" y="1978"/>
                    </a:lnTo>
                    <a:lnTo>
                      <a:pt x="1136" y="1908"/>
                    </a:lnTo>
                    <a:lnTo>
                      <a:pt x="1129" y="1828"/>
                    </a:lnTo>
                    <a:lnTo>
                      <a:pt x="1122" y="1741"/>
                    </a:lnTo>
                    <a:lnTo>
                      <a:pt x="1112" y="1646"/>
                    </a:lnTo>
                    <a:lnTo>
                      <a:pt x="1100" y="1545"/>
                    </a:lnTo>
                    <a:lnTo>
                      <a:pt x="1094" y="1492"/>
                    </a:lnTo>
                    <a:lnTo>
                      <a:pt x="1086" y="1439"/>
                    </a:lnTo>
                    <a:lnTo>
                      <a:pt x="1077" y="1384"/>
                    </a:lnTo>
                    <a:lnTo>
                      <a:pt x="1069" y="1329"/>
                    </a:lnTo>
                    <a:lnTo>
                      <a:pt x="1059" y="1273"/>
                    </a:lnTo>
                    <a:lnTo>
                      <a:pt x="1048" y="1216"/>
                    </a:lnTo>
                    <a:lnTo>
                      <a:pt x="1036" y="1159"/>
                    </a:lnTo>
                    <a:lnTo>
                      <a:pt x="1025" y="1100"/>
                    </a:lnTo>
                    <a:lnTo>
                      <a:pt x="1010" y="1043"/>
                    </a:lnTo>
                    <a:lnTo>
                      <a:pt x="996" y="985"/>
                    </a:lnTo>
                    <a:lnTo>
                      <a:pt x="981" y="927"/>
                    </a:lnTo>
                    <a:lnTo>
                      <a:pt x="965" y="868"/>
                    </a:lnTo>
                    <a:lnTo>
                      <a:pt x="947" y="812"/>
                    </a:lnTo>
                    <a:lnTo>
                      <a:pt x="925" y="758"/>
                    </a:lnTo>
                    <a:lnTo>
                      <a:pt x="901" y="706"/>
                    </a:lnTo>
                    <a:lnTo>
                      <a:pt x="874" y="657"/>
                    </a:lnTo>
                    <a:lnTo>
                      <a:pt x="844" y="609"/>
                    </a:lnTo>
                    <a:lnTo>
                      <a:pt x="812" y="564"/>
                    </a:lnTo>
                    <a:lnTo>
                      <a:pt x="778" y="521"/>
                    </a:lnTo>
                    <a:lnTo>
                      <a:pt x="743" y="480"/>
                    </a:lnTo>
                    <a:lnTo>
                      <a:pt x="706" y="441"/>
                    </a:lnTo>
                    <a:lnTo>
                      <a:pt x="667" y="403"/>
                    </a:lnTo>
                    <a:lnTo>
                      <a:pt x="627" y="367"/>
                    </a:lnTo>
                    <a:lnTo>
                      <a:pt x="587" y="334"/>
                    </a:lnTo>
                    <a:lnTo>
                      <a:pt x="547" y="303"/>
                    </a:lnTo>
                    <a:lnTo>
                      <a:pt x="506" y="274"/>
                    </a:lnTo>
                    <a:lnTo>
                      <a:pt x="465" y="245"/>
                    </a:lnTo>
                    <a:lnTo>
                      <a:pt x="424" y="220"/>
                    </a:lnTo>
                    <a:lnTo>
                      <a:pt x="384" y="196"/>
                    </a:lnTo>
                    <a:lnTo>
                      <a:pt x="344" y="173"/>
                    </a:lnTo>
                    <a:lnTo>
                      <a:pt x="306" y="153"/>
                    </a:lnTo>
                    <a:lnTo>
                      <a:pt x="269" y="133"/>
                    </a:lnTo>
                    <a:lnTo>
                      <a:pt x="233" y="116"/>
                    </a:lnTo>
                    <a:lnTo>
                      <a:pt x="200" y="101"/>
                    </a:lnTo>
                    <a:lnTo>
                      <a:pt x="167" y="87"/>
                    </a:lnTo>
                    <a:lnTo>
                      <a:pt x="137" y="74"/>
                    </a:lnTo>
                    <a:lnTo>
                      <a:pt x="85" y="53"/>
                    </a:lnTo>
                    <a:lnTo>
                      <a:pt x="45" y="39"/>
                    </a:lnTo>
                    <a:lnTo>
                      <a:pt x="19" y="31"/>
                    </a:lnTo>
                    <a:lnTo>
                      <a:pt x="9" y="27"/>
                    </a:lnTo>
                    <a:lnTo>
                      <a:pt x="5" y="25"/>
                    </a:lnTo>
                    <a:lnTo>
                      <a:pt x="2" y="21"/>
                    </a:lnTo>
                    <a:lnTo>
                      <a:pt x="0" y="16"/>
                    </a:lnTo>
                    <a:lnTo>
                      <a:pt x="0" y="10"/>
                    </a:lnTo>
                    <a:lnTo>
                      <a:pt x="3" y="6"/>
                    </a:lnTo>
                    <a:lnTo>
                      <a:pt x="6" y="3"/>
                    </a:lnTo>
                    <a:lnTo>
                      <a:pt x="12" y="0"/>
                    </a:lnTo>
                    <a:lnTo>
                      <a:pt x="17" y="1"/>
                    </a:lnTo>
                    <a:lnTo>
                      <a:pt x="27" y="5"/>
                    </a:lnTo>
                    <a:lnTo>
                      <a:pt x="54" y="13"/>
                    </a:lnTo>
                    <a:lnTo>
                      <a:pt x="95" y="27"/>
                    </a:lnTo>
                    <a:lnTo>
                      <a:pt x="148" y="49"/>
                    </a:lnTo>
                    <a:lnTo>
                      <a:pt x="178" y="62"/>
                    </a:lnTo>
                    <a:lnTo>
                      <a:pt x="210" y="76"/>
                    </a:lnTo>
                    <a:lnTo>
                      <a:pt x="245" y="92"/>
                    </a:lnTo>
                    <a:lnTo>
                      <a:pt x="282" y="109"/>
                    </a:lnTo>
                    <a:lnTo>
                      <a:pt x="319" y="129"/>
                    </a:lnTo>
                    <a:lnTo>
                      <a:pt x="358" y="150"/>
                    </a:lnTo>
                    <a:lnTo>
                      <a:pt x="398" y="173"/>
                    </a:lnTo>
                    <a:lnTo>
                      <a:pt x="439" y="198"/>
                    </a:lnTo>
                    <a:lnTo>
                      <a:pt x="481" y="224"/>
                    </a:lnTo>
                    <a:lnTo>
                      <a:pt x="522" y="253"/>
                    </a:lnTo>
                    <a:lnTo>
                      <a:pt x="565" y="283"/>
                    </a:lnTo>
                    <a:lnTo>
                      <a:pt x="606" y="315"/>
                    </a:lnTo>
                    <a:lnTo>
                      <a:pt x="647" y="349"/>
                    </a:lnTo>
                    <a:lnTo>
                      <a:pt x="687" y="385"/>
                    </a:lnTo>
                    <a:lnTo>
                      <a:pt x="726" y="424"/>
                    </a:lnTo>
                    <a:lnTo>
                      <a:pt x="764" y="463"/>
                    </a:lnTo>
                    <a:lnTo>
                      <a:pt x="800" y="506"/>
                    </a:lnTo>
                    <a:lnTo>
                      <a:pt x="836" y="550"/>
                    </a:lnTo>
                    <a:lnTo>
                      <a:pt x="868" y="596"/>
                    </a:lnTo>
                    <a:lnTo>
                      <a:pt x="898" y="645"/>
                    </a:lnTo>
                    <a:lnTo>
                      <a:pt x="926" y="696"/>
                    </a:lnTo>
                    <a:lnTo>
                      <a:pt x="951" y="748"/>
                    </a:lnTo>
                    <a:lnTo>
                      <a:pt x="973" y="804"/>
                    </a:lnTo>
                    <a:lnTo>
                      <a:pt x="991" y="861"/>
                    </a:lnTo>
                    <a:lnTo>
                      <a:pt x="1007" y="919"/>
                    </a:lnTo>
                    <a:lnTo>
                      <a:pt x="1022" y="978"/>
                    </a:lnTo>
                    <a:lnTo>
                      <a:pt x="1037" y="1037"/>
                    </a:lnTo>
                    <a:lnTo>
                      <a:pt x="1050" y="1095"/>
                    </a:lnTo>
                    <a:lnTo>
                      <a:pt x="1063" y="1152"/>
                    </a:lnTo>
                    <a:lnTo>
                      <a:pt x="1074" y="1210"/>
                    </a:lnTo>
                    <a:lnTo>
                      <a:pt x="1085" y="1268"/>
                    </a:lnTo>
                    <a:lnTo>
                      <a:pt x="1095" y="1324"/>
                    </a:lnTo>
                    <a:lnTo>
                      <a:pt x="1104" y="1380"/>
                    </a:lnTo>
                    <a:lnTo>
                      <a:pt x="1113" y="1435"/>
                    </a:lnTo>
                    <a:lnTo>
                      <a:pt x="1121" y="1489"/>
                    </a:lnTo>
                    <a:lnTo>
                      <a:pt x="1127" y="1542"/>
                    </a:lnTo>
                    <a:lnTo>
                      <a:pt x="1139" y="1643"/>
                    </a:lnTo>
                    <a:lnTo>
                      <a:pt x="1149" y="1738"/>
                    </a:lnTo>
                    <a:lnTo>
                      <a:pt x="1156" y="1826"/>
                    </a:lnTo>
                    <a:lnTo>
                      <a:pt x="1163" y="1906"/>
                    </a:lnTo>
                    <a:lnTo>
                      <a:pt x="1166" y="1977"/>
                    </a:lnTo>
                    <a:lnTo>
                      <a:pt x="1169" y="2037"/>
                    </a:lnTo>
                    <a:lnTo>
                      <a:pt x="1171" y="2086"/>
                    </a:lnTo>
                    <a:lnTo>
                      <a:pt x="1172" y="2123"/>
                    </a:lnTo>
                    <a:lnTo>
                      <a:pt x="1172" y="2146"/>
                    </a:lnTo>
                    <a:lnTo>
                      <a:pt x="1172" y="2155"/>
                    </a:lnTo>
                    <a:lnTo>
                      <a:pt x="1171" y="2160"/>
                    </a:lnTo>
                    <a:lnTo>
                      <a:pt x="1168" y="2165"/>
                    </a:lnTo>
                    <a:lnTo>
                      <a:pt x="1164" y="2167"/>
                    </a:lnTo>
                    <a:lnTo>
                      <a:pt x="1158" y="2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96"/>
              <p:cNvSpPr>
                <a:spLocks/>
              </p:cNvSpPr>
              <p:nvPr userDrawn="1"/>
            </p:nvSpPr>
            <p:spPr bwMode="auto">
              <a:xfrm>
                <a:off x="946" y="3022"/>
                <a:ext cx="372" cy="812"/>
              </a:xfrm>
              <a:custGeom>
                <a:avLst/>
                <a:gdLst>
                  <a:gd name="T0" fmla="*/ 928 w 1116"/>
                  <a:gd name="T1" fmla="*/ 2427 h 2437"/>
                  <a:gd name="T2" fmla="*/ 853 w 1116"/>
                  <a:gd name="T3" fmla="*/ 2324 h 2437"/>
                  <a:gd name="T4" fmla="*/ 793 w 1116"/>
                  <a:gd name="T5" fmla="*/ 2215 h 2437"/>
                  <a:gd name="T6" fmla="*/ 738 w 1116"/>
                  <a:gd name="T7" fmla="*/ 2073 h 2437"/>
                  <a:gd name="T8" fmla="*/ 704 w 1116"/>
                  <a:gd name="T9" fmla="*/ 1901 h 2437"/>
                  <a:gd name="T10" fmla="*/ 703 w 1116"/>
                  <a:gd name="T11" fmla="*/ 1703 h 2437"/>
                  <a:gd name="T12" fmla="*/ 751 w 1116"/>
                  <a:gd name="T13" fmla="*/ 1482 h 2437"/>
                  <a:gd name="T14" fmla="*/ 855 w 1116"/>
                  <a:gd name="T15" fmla="*/ 1249 h 2437"/>
                  <a:gd name="T16" fmla="*/ 951 w 1116"/>
                  <a:gd name="T17" fmla="*/ 1043 h 2437"/>
                  <a:gd name="T18" fmla="*/ 1022 w 1116"/>
                  <a:gd name="T19" fmla="*/ 854 h 2437"/>
                  <a:gd name="T20" fmla="*/ 1068 w 1116"/>
                  <a:gd name="T21" fmla="*/ 684 h 2437"/>
                  <a:gd name="T22" fmla="*/ 1088 w 1116"/>
                  <a:gd name="T23" fmla="*/ 531 h 2437"/>
                  <a:gd name="T24" fmla="*/ 1084 w 1116"/>
                  <a:gd name="T25" fmla="*/ 399 h 2437"/>
                  <a:gd name="T26" fmla="*/ 1055 w 1116"/>
                  <a:gd name="T27" fmla="*/ 284 h 2437"/>
                  <a:gd name="T28" fmla="*/ 1001 w 1116"/>
                  <a:gd name="T29" fmla="*/ 190 h 2437"/>
                  <a:gd name="T30" fmla="*/ 918 w 1116"/>
                  <a:gd name="T31" fmla="*/ 116 h 2437"/>
                  <a:gd name="T32" fmla="*/ 805 w 1116"/>
                  <a:gd name="T33" fmla="*/ 62 h 2437"/>
                  <a:gd name="T34" fmla="*/ 676 w 1116"/>
                  <a:gd name="T35" fmla="*/ 35 h 2437"/>
                  <a:gd name="T36" fmla="*/ 540 w 1116"/>
                  <a:gd name="T37" fmla="*/ 29 h 2437"/>
                  <a:gd name="T38" fmla="*/ 404 w 1116"/>
                  <a:gd name="T39" fmla="*/ 42 h 2437"/>
                  <a:gd name="T40" fmla="*/ 274 w 1116"/>
                  <a:gd name="T41" fmla="*/ 69 h 2437"/>
                  <a:gd name="T42" fmla="*/ 161 w 1116"/>
                  <a:gd name="T43" fmla="*/ 106 h 2437"/>
                  <a:gd name="T44" fmla="*/ 70 w 1116"/>
                  <a:gd name="T45" fmla="*/ 148 h 2437"/>
                  <a:gd name="T46" fmla="*/ 18 w 1116"/>
                  <a:gd name="T47" fmla="*/ 184 h 2437"/>
                  <a:gd name="T48" fmla="*/ 1 w 1116"/>
                  <a:gd name="T49" fmla="*/ 175 h 2437"/>
                  <a:gd name="T50" fmla="*/ 19 w 1116"/>
                  <a:gd name="T51" fmla="*/ 149 h 2437"/>
                  <a:gd name="T52" fmla="*/ 99 w 1116"/>
                  <a:gd name="T53" fmla="*/ 103 h 2437"/>
                  <a:gd name="T54" fmla="*/ 205 w 1116"/>
                  <a:gd name="T55" fmla="*/ 61 h 2437"/>
                  <a:gd name="T56" fmla="*/ 331 w 1116"/>
                  <a:gd name="T57" fmla="*/ 26 h 2437"/>
                  <a:gd name="T58" fmla="*/ 470 w 1116"/>
                  <a:gd name="T59" fmla="*/ 6 h 2437"/>
                  <a:gd name="T60" fmla="*/ 611 w 1116"/>
                  <a:gd name="T61" fmla="*/ 1 h 2437"/>
                  <a:gd name="T62" fmla="*/ 749 w 1116"/>
                  <a:gd name="T63" fmla="*/ 19 h 2437"/>
                  <a:gd name="T64" fmla="*/ 877 w 1116"/>
                  <a:gd name="T65" fmla="*/ 61 h 2437"/>
                  <a:gd name="T66" fmla="*/ 975 w 1116"/>
                  <a:gd name="T67" fmla="*/ 126 h 2437"/>
                  <a:gd name="T68" fmla="*/ 1033 w 1116"/>
                  <a:gd name="T69" fmla="*/ 189 h 2437"/>
                  <a:gd name="T70" fmla="*/ 1080 w 1116"/>
                  <a:gd name="T71" fmla="*/ 275 h 2437"/>
                  <a:gd name="T72" fmla="*/ 1109 w 1116"/>
                  <a:gd name="T73" fmla="*/ 382 h 2437"/>
                  <a:gd name="T74" fmla="*/ 1116 w 1116"/>
                  <a:gd name="T75" fmla="*/ 518 h 2437"/>
                  <a:gd name="T76" fmla="*/ 1096 w 1116"/>
                  <a:gd name="T77" fmla="*/ 684 h 2437"/>
                  <a:gd name="T78" fmla="*/ 1042 w 1116"/>
                  <a:gd name="T79" fmla="*/ 881 h 2437"/>
                  <a:gd name="T80" fmla="*/ 949 w 1116"/>
                  <a:gd name="T81" fmla="*/ 1115 h 2437"/>
                  <a:gd name="T82" fmla="*/ 823 w 1116"/>
                  <a:gd name="T83" fmla="*/ 1374 h 2437"/>
                  <a:gd name="T84" fmla="*/ 747 w 1116"/>
                  <a:gd name="T85" fmla="*/ 1600 h 2437"/>
                  <a:gd name="T86" fmla="*/ 725 w 1116"/>
                  <a:gd name="T87" fmla="*/ 1804 h 2437"/>
                  <a:gd name="T88" fmla="*/ 744 w 1116"/>
                  <a:gd name="T89" fmla="*/ 1984 h 2437"/>
                  <a:gd name="T90" fmla="*/ 789 w 1116"/>
                  <a:gd name="T91" fmla="*/ 2138 h 2437"/>
                  <a:gd name="T92" fmla="*/ 846 w 1116"/>
                  <a:gd name="T93" fmla="*/ 2260 h 2437"/>
                  <a:gd name="T94" fmla="*/ 914 w 1116"/>
                  <a:gd name="T95" fmla="*/ 2365 h 2437"/>
                  <a:gd name="T96" fmla="*/ 957 w 1116"/>
                  <a:gd name="T97" fmla="*/ 2418 h 2437"/>
                  <a:gd name="T98" fmla="*/ 949 w 1116"/>
                  <a:gd name="T99" fmla="*/ 2437 h 2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6" h="2437">
                    <a:moveTo>
                      <a:pt x="944" y="2437"/>
                    </a:moveTo>
                    <a:lnTo>
                      <a:pt x="939" y="2437"/>
                    </a:lnTo>
                    <a:lnTo>
                      <a:pt x="934" y="2433"/>
                    </a:lnTo>
                    <a:lnTo>
                      <a:pt x="928" y="2427"/>
                    </a:lnTo>
                    <a:lnTo>
                      <a:pt x="914" y="2410"/>
                    </a:lnTo>
                    <a:lnTo>
                      <a:pt x="893" y="2383"/>
                    </a:lnTo>
                    <a:lnTo>
                      <a:pt x="868" y="2346"/>
                    </a:lnTo>
                    <a:lnTo>
                      <a:pt x="853" y="2324"/>
                    </a:lnTo>
                    <a:lnTo>
                      <a:pt x="839" y="2301"/>
                    </a:lnTo>
                    <a:lnTo>
                      <a:pt x="824" y="2275"/>
                    </a:lnTo>
                    <a:lnTo>
                      <a:pt x="809" y="2246"/>
                    </a:lnTo>
                    <a:lnTo>
                      <a:pt x="793" y="2215"/>
                    </a:lnTo>
                    <a:lnTo>
                      <a:pt x="778" y="2183"/>
                    </a:lnTo>
                    <a:lnTo>
                      <a:pt x="764" y="2148"/>
                    </a:lnTo>
                    <a:lnTo>
                      <a:pt x="751" y="2112"/>
                    </a:lnTo>
                    <a:lnTo>
                      <a:pt x="738" y="2073"/>
                    </a:lnTo>
                    <a:lnTo>
                      <a:pt x="728" y="2033"/>
                    </a:lnTo>
                    <a:lnTo>
                      <a:pt x="718" y="1991"/>
                    </a:lnTo>
                    <a:lnTo>
                      <a:pt x="709" y="1947"/>
                    </a:lnTo>
                    <a:lnTo>
                      <a:pt x="704" y="1901"/>
                    </a:lnTo>
                    <a:lnTo>
                      <a:pt x="700" y="1854"/>
                    </a:lnTo>
                    <a:lnTo>
                      <a:pt x="698" y="1805"/>
                    </a:lnTo>
                    <a:lnTo>
                      <a:pt x="700" y="1754"/>
                    </a:lnTo>
                    <a:lnTo>
                      <a:pt x="703" y="1703"/>
                    </a:lnTo>
                    <a:lnTo>
                      <a:pt x="710" y="1650"/>
                    </a:lnTo>
                    <a:lnTo>
                      <a:pt x="720" y="1595"/>
                    </a:lnTo>
                    <a:lnTo>
                      <a:pt x="734" y="1540"/>
                    </a:lnTo>
                    <a:lnTo>
                      <a:pt x="751" y="1482"/>
                    </a:lnTo>
                    <a:lnTo>
                      <a:pt x="773" y="1423"/>
                    </a:lnTo>
                    <a:lnTo>
                      <a:pt x="798" y="1364"/>
                    </a:lnTo>
                    <a:lnTo>
                      <a:pt x="828" y="1303"/>
                    </a:lnTo>
                    <a:lnTo>
                      <a:pt x="855" y="1249"/>
                    </a:lnTo>
                    <a:lnTo>
                      <a:pt x="882" y="1196"/>
                    </a:lnTo>
                    <a:lnTo>
                      <a:pt x="907" y="1143"/>
                    </a:lnTo>
                    <a:lnTo>
                      <a:pt x="930" y="1093"/>
                    </a:lnTo>
                    <a:lnTo>
                      <a:pt x="951" y="1043"/>
                    </a:lnTo>
                    <a:lnTo>
                      <a:pt x="972" y="995"/>
                    </a:lnTo>
                    <a:lnTo>
                      <a:pt x="990" y="947"/>
                    </a:lnTo>
                    <a:lnTo>
                      <a:pt x="1007" y="900"/>
                    </a:lnTo>
                    <a:lnTo>
                      <a:pt x="1022" y="854"/>
                    </a:lnTo>
                    <a:lnTo>
                      <a:pt x="1036" y="810"/>
                    </a:lnTo>
                    <a:lnTo>
                      <a:pt x="1048" y="767"/>
                    </a:lnTo>
                    <a:lnTo>
                      <a:pt x="1059" y="725"/>
                    </a:lnTo>
                    <a:lnTo>
                      <a:pt x="1068" y="684"/>
                    </a:lnTo>
                    <a:lnTo>
                      <a:pt x="1075" y="644"/>
                    </a:lnTo>
                    <a:lnTo>
                      <a:pt x="1082" y="606"/>
                    </a:lnTo>
                    <a:lnTo>
                      <a:pt x="1086" y="568"/>
                    </a:lnTo>
                    <a:lnTo>
                      <a:pt x="1088" y="531"/>
                    </a:lnTo>
                    <a:lnTo>
                      <a:pt x="1090" y="497"/>
                    </a:lnTo>
                    <a:lnTo>
                      <a:pt x="1089" y="462"/>
                    </a:lnTo>
                    <a:lnTo>
                      <a:pt x="1088" y="430"/>
                    </a:lnTo>
                    <a:lnTo>
                      <a:pt x="1084" y="399"/>
                    </a:lnTo>
                    <a:lnTo>
                      <a:pt x="1080" y="368"/>
                    </a:lnTo>
                    <a:lnTo>
                      <a:pt x="1073" y="339"/>
                    </a:lnTo>
                    <a:lnTo>
                      <a:pt x="1065" y="311"/>
                    </a:lnTo>
                    <a:lnTo>
                      <a:pt x="1055" y="284"/>
                    </a:lnTo>
                    <a:lnTo>
                      <a:pt x="1044" y="259"/>
                    </a:lnTo>
                    <a:lnTo>
                      <a:pt x="1031" y="236"/>
                    </a:lnTo>
                    <a:lnTo>
                      <a:pt x="1016" y="212"/>
                    </a:lnTo>
                    <a:lnTo>
                      <a:pt x="1001" y="190"/>
                    </a:lnTo>
                    <a:lnTo>
                      <a:pt x="982" y="171"/>
                    </a:lnTo>
                    <a:lnTo>
                      <a:pt x="963" y="151"/>
                    </a:lnTo>
                    <a:lnTo>
                      <a:pt x="943" y="134"/>
                    </a:lnTo>
                    <a:lnTo>
                      <a:pt x="918" y="116"/>
                    </a:lnTo>
                    <a:lnTo>
                      <a:pt x="892" y="100"/>
                    </a:lnTo>
                    <a:lnTo>
                      <a:pt x="864" y="86"/>
                    </a:lnTo>
                    <a:lnTo>
                      <a:pt x="835" y="73"/>
                    </a:lnTo>
                    <a:lnTo>
                      <a:pt x="805" y="62"/>
                    </a:lnTo>
                    <a:lnTo>
                      <a:pt x="774" y="53"/>
                    </a:lnTo>
                    <a:lnTo>
                      <a:pt x="742" y="45"/>
                    </a:lnTo>
                    <a:lnTo>
                      <a:pt x="709" y="39"/>
                    </a:lnTo>
                    <a:lnTo>
                      <a:pt x="676" y="35"/>
                    </a:lnTo>
                    <a:lnTo>
                      <a:pt x="642" y="32"/>
                    </a:lnTo>
                    <a:lnTo>
                      <a:pt x="609" y="29"/>
                    </a:lnTo>
                    <a:lnTo>
                      <a:pt x="574" y="28"/>
                    </a:lnTo>
                    <a:lnTo>
                      <a:pt x="540" y="29"/>
                    </a:lnTo>
                    <a:lnTo>
                      <a:pt x="505" y="31"/>
                    </a:lnTo>
                    <a:lnTo>
                      <a:pt x="471" y="34"/>
                    </a:lnTo>
                    <a:lnTo>
                      <a:pt x="437" y="37"/>
                    </a:lnTo>
                    <a:lnTo>
                      <a:pt x="404" y="42"/>
                    </a:lnTo>
                    <a:lnTo>
                      <a:pt x="370" y="48"/>
                    </a:lnTo>
                    <a:lnTo>
                      <a:pt x="338" y="54"/>
                    </a:lnTo>
                    <a:lnTo>
                      <a:pt x="305" y="61"/>
                    </a:lnTo>
                    <a:lnTo>
                      <a:pt x="274" y="69"/>
                    </a:lnTo>
                    <a:lnTo>
                      <a:pt x="244" y="77"/>
                    </a:lnTo>
                    <a:lnTo>
                      <a:pt x="215" y="87"/>
                    </a:lnTo>
                    <a:lnTo>
                      <a:pt x="188" y="95"/>
                    </a:lnTo>
                    <a:lnTo>
                      <a:pt x="161" y="106"/>
                    </a:lnTo>
                    <a:lnTo>
                      <a:pt x="136" y="116"/>
                    </a:lnTo>
                    <a:lnTo>
                      <a:pt x="112" y="127"/>
                    </a:lnTo>
                    <a:lnTo>
                      <a:pt x="91" y="137"/>
                    </a:lnTo>
                    <a:lnTo>
                      <a:pt x="70" y="148"/>
                    </a:lnTo>
                    <a:lnTo>
                      <a:pt x="53" y="159"/>
                    </a:lnTo>
                    <a:lnTo>
                      <a:pt x="37" y="170"/>
                    </a:lnTo>
                    <a:lnTo>
                      <a:pt x="23" y="182"/>
                    </a:lnTo>
                    <a:lnTo>
                      <a:pt x="18" y="184"/>
                    </a:lnTo>
                    <a:lnTo>
                      <a:pt x="13" y="185"/>
                    </a:lnTo>
                    <a:lnTo>
                      <a:pt x="7" y="184"/>
                    </a:lnTo>
                    <a:lnTo>
                      <a:pt x="3" y="181"/>
                    </a:lnTo>
                    <a:lnTo>
                      <a:pt x="1" y="175"/>
                    </a:lnTo>
                    <a:lnTo>
                      <a:pt x="0" y="170"/>
                    </a:lnTo>
                    <a:lnTo>
                      <a:pt x="2" y="165"/>
                    </a:lnTo>
                    <a:lnTo>
                      <a:pt x="5" y="161"/>
                    </a:lnTo>
                    <a:lnTo>
                      <a:pt x="19" y="149"/>
                    </a:lnTo>
                    <a:lnTo>
                      <a:pt x="37" y="137"/>
                    </a:lnTo>
                    <a:lnTo>
                      <a:pt x="55" y="126"/>
                    </a:lnTo>
                    <a:lnTo>
                      <a:pt x="76" y="114"/>
                    </a:lnTo>
                    <a:lnTo>
                      <a:pt x="99" y="103"/>
                    </a:lnTo>
                    <a:lnTo>
                      <a:pt x="123" y="92"/>
                    </a:lnTo>
                    <a:lnTo>
                      <a:pt x="149" y="81"/>
                    </a:lnTo>
                    <a:lnTo>
                      <a:pt x="177" y="70"/>
                    </a:lnTo>
                    <a:lnTo>
                      <a:pt x="205" y="61"/>
                    </a:lnTo>
                    <a:lnTo>
                      <a:pt x="235" y="51"/>
                    </a:lnTo>
                    <a:lnTo>
                      <a:pt x="267" y="42"/>
                    </a:lnTo>
                    <a:lnTo>
                      <a:pt x="299" y="34"/>
                    </a:lnTo>
                    <a:lnTo>
                      <a:pt x="331" y="26"/>
                    </a:lnTo>
                    <a:lnTo>
                      <a:pt x="365" y="20"/>
                    </a:lnTo>
                    <a:lnTo>
                      <a:pt x="399" y="14"/>
                    </a:lnTo>
                    <a:lnTo>
                      <a:pt x="434" y="9"/>
                    </a:lnTo>
                    <a:lnTo>
                      <a:pt x="470" y="6"/>
                    </a:lnTo>
                    <a:lnTo>
                      <a:pt x="505" y="2"/>
                    </a:lnTo>
                    <a:lnTo>
                      <a:pt x="541" y="1"/>
                    </a:lnTo>
                    <a:lnTo>
                      <a:pt x="575" y="0"/>
                    </a:lnTo>
                    <a:lnTo>
                      <a:pt x="611" y="1"/>
                    </a:lnTo>
                    <a:lnTo>
                      <a:pt x="647" y="4"/>
                    </a:lnTo>
                    <a:lnTo>
                      <a:pt x="681" y="7"/>
                    </a:lnTo>
                    <a:lnTo>
                      <a:pt x="716" y="12"/>
                    </a:lnTo>
                    <a:lnTo>
                      <a:pt x="749" y="19"/>
                    </a:lnTo>
                    <a:lnTo>
                      <a:pt x="783" y="26"/>
                    </a:lnTo>
                    <a:lnTo>
                      <a:pt x="815" y="36"/>
                    </a:lnTo>
                    <a:lnTo>
                      <a:pt x="846" y="48"/>
                    </a:lnTo>
                    <a:lnTo>
                      <a:pt x="877" y="61"/>
                    </a:lnTo>
                    <a:lnTo>
                      <a:pt x="906" y="76"/>
                    </a:lnTo>
                    <a:lnTo>
                      <a:pt x="933" y="93"/>
                    </a:lnTo>
                    <a:lnTo>
                      <a:pt x="960" y="113"/>
                    </a:lnTo>
                    <a:lnTo>
                      <a:pt x="975" y="126"/>
                    </a:lnTo>
                    <a:lnTo>
                      <a:pt x="990" y="140"/>
                    </a:lnTo>
                    <a:lnTo>
                      <a:pt x="1005" y="155"/>
                    </a:lnTo>
                    <a:lnTo>
                      <a:pt x="1019" y="172"/>
                    </a:lnTo>
                    <a:lnTo>
                      <a:pt x="1033" y="189"/>
                    </a:lnTo>
                    <a:lnTo>
                      <a:pt x="1046" y="209"/>
                    </a:lnTo>
                    <a:lnTo>
                      <a:pt x="1058" y="229"/>
                    </a:lnTo>
                    <a:lnTo>
                      <a:pt x="1069" y="251"/>
                    </a:lnTo>
                    <a:lnTo>
                      <a:pt x="1080" y="275"/>
                    </a:lnTo>
                    <a:lnTo>
                      <a:pt x="1088" y="299"/>
                    </a:lnTo>
                    <a:lnTo>
                      <a:pt x="1097" y="325"/>
                    </a:lnTo>
                    <a:lnTo>
                      <a:pt x="1103" y="353"/>
                    </a:lnTo>
                    <a:lnTo>
                      <a:pt x="1109" y="382"/>
                    </a:lnTo>
                    <a:lnTo>
                      <a:pt x="1113" y="414"/>
                    </a:lnTo>
                    <a:lnTo>
                      <a:pt x="1115" y="447"/>
                    </a:lnTo>
                    <a:lnTo>
                      <a:pt x="1116" y="482"/>
                    </a:lnTo>
                    <a:lnTo>
                      <a:pt x="1116" y="518"/>
                    </a:lnTo>
                    <a:lnTo>
                      <a:pt x="1114" y="556"/>
                    </a:lnTo>
                    <a:lnTo>
                      <a:pt x="1110" y="597"/>
                    </a:lnTo>
                    <a:lnTo>
                      <a:pt x="1103" y="639"/>
                    </a:lnTo>
                    <a:lnTo>
                      <a:pt x="1096" y="684"/>
                    </a:lnTo>
                    <a:lnTo>
                      <a:pt x="1085" y="730"/>
                    </a:lnTo>
                    <a:lnTo>
                      <a:pt x="1073" y="779"/>
                    </a:lnTo>
                    <a:lnTo>
                      <a:pt x="1058" y="828"/>
                    </a:lnTo>
                    <a:lnTo>
                      <a:pt x="1042" y="881"/>
                    </a:lnTo>
                    <a:lnTo>
                      <a:pt x="1022" y="936"/>
                    </a:lnTo>
                    <a:lnTo>
                      <a:pt x="1001" y="993"/>
                    </a:lnTo>
                    <a:lnTo>
                      <a:pt x="976" y="1053"/>
                    </a:lnTo>
                    <a:lnTo>
                      <a:pt x="949" y="1115"/>
                    </a:lnTo>
                    <a:lnTo>
                      <a:pt x="920" y="1179"/>
                    </a:lnTo>
                    <a:lnTo>
                      <a:pt x="887" y="1246"/>
                    </a:lnTo>
                    <a:lnTo>
                      <a:pt x="852" y="1316"/>
                    </a:lnTo>
                    <a:lnTo>
                      <a:pt x="823" y="1374"/>
                    </a:lnTo>
                    <a:lnTo>
                      <a:pt x="798" y="1433"/>
                    </a:lnTo>
                    <a:lnTo>
                      <a:pt x="777" y="1490"/>
                    </a:lnTo>
                    <a:lnTo>
                      <a:pt x="760" y="1545"/>
                    </a:lnTo>
                    <a:lnTo>
                      <a:pt x="747" y="1600"/>
                    </a:lnTo>
                    <a:lnTo>
                      <a:pt x="737" y="1653"/>
                    </a:lnTo>
                    <a:lnTo>
                      <a:pt x="730" y="1705"/>
                    </a:lnTo>
                    <a:lnTo>
                      <a:pt x="727" y="1756"/>
                    </a:lnTo>
                    <a:lnTo>
                      <a:pt x="725" y="1804"/>
                    </a:lnTo>
                    <a:lnTo>
                      <a:pt x="727" y="1852"/>
                    </a:lnTo>
                    <a:lnTo>
                      <a:pt x="731" y="1897"/>
                    </a:lnTo>
                    <a:lnTo>
                      <a:pt x="736" y="1941"/>
                    </a:lnTo>
                    <a:lnTo>
                      <a:pt x="744" y="1984"/>
                    </a:lnTo>
                    <a:lnTo>
                      <a:pt x="754" y="2025"/>
                    </a:lnTo>
                    <a:lnTo>
                      <a:pt x="764" y="2064"/>
                    </a:lnTo>
                    <a:lnTo>
                      <a:pt x="776" y="2102"/>
                    </a:lnTo>
                    <a:lnTo>
                      <a:pt x="789" y="2138"/>
                    </a:lnTo>
                    <a:lnTo>
                      <a:pt x="803" y="2171"/>
                    </a:lnTo>
                    <a:lnTo>
                      <a:pt x="817" y="2202"/>
                    </a:lnTo>
                    <a:lnTo>
                      <a:pt x="831" y="2233"/>
                    </a:lnTo>
                    <a:lnTo>
                      <a:pt x="846" y="2260"/>
                    </a:lnTo>
                    <a:lnTo>
                      <a:pt x="860" y="2286"/>
                    </a:lnTo>
                    <a:lnTo>
                      <a:pt x="876" y="2309"/>
                    </a:lnTo>
                    <a:lnTo>
                      <a:pt x="889" y="2330"/>
                    </a:lnTo>
                    <a:lnTo>
                      <a:pt x="914" y="2365"/>
                    </a:lnTo>
                    <a:lnTo>
                      <a:pt x="934" y="2392"/>
                    </a:lnTo>
                    <a:lnTo>
                      <a:pt x="948" y="2409"/>
                    </a:lnTo>
                    <a:lnTo>
                      <a:pt x="953" y="2414"/>
                    </a:lnTo>
                    <a:lnTo>
                      <a:pt x="957" y="2418"/>
                    </a:lnTo>
                    <a:lnTo>
                      <a:pt x="958" y="2424"/>
                    </a:lnTo>
                    <a:lnTo>
                      <a:pt x="957" y="2429"/>
                    </a:lnTo>
                    <a:lnTo>
                      <a:pt x="953" y="2433"/>
                    </a:lnTo>
                    <a:lnTo>
                      <a:pt x="949" y="2437"/>
                    </a:lnTo>
                    <a:lnTo>
                      <a:pt x="944" y="24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97"/>
              <p:cNvSpPr>
                <a:spLocks/>
              </p:cNvSpPr>
              <p:nvPr userDrawn="1"/>
            </p:nvSpPr>
            <p:spPr bwMode="auto">
              <a:xfrm>
                <a:off x="1099" y="3006"/>
                <a:ext cx="1602" cy="402"/>
              </a:xfrm>
              <a:custGeom>
                <a:avLst/>
                <a:gdLst>
                  <a:gd name="T0" fmla="*/ 4784 w 4806"/>
                  <a:gd name="T1" fmla="*/ 1203 h 1207"/>
                  <a:gd name="T2" fmla="*/ 4769 w 4806"/>
                  <a:gd name="T3" fmla="*/ 1175 h 1207"/>
                  <a:gd name="T4" fmla="*/ 4701 w 4806"/>
                  <a:gd name="T5" fmla="*/ 1115 h 1207"/>
                  <a:gd name="T6" fmla="*/ 4577 w 4806"/>
                  <a:gd name="T7" fmla="*/ 1062 h 1207"/>
                  <a:gd name="T8" fmla="*/ 4396 w 4806"/>
                  <a:gd name="T9" fmla="*/ 1017 h 1207"/>
                  <a:gd name="T10" fmla="*/ 4157 w 4806"/>
                  <a:gd name="T11" fmla="*/ 979 h 1207"/>
                  <a:gd name="T12" fmla="*/ 3862 w 4806"/>
                  <a:gd name="T13" fmla="*/ 950 h 1207"/>
                  <a:gd name="T14" fmla="*/ 3511 w 4806"/>
                  <a:gd name="T15" fmla="*/ 927 h 1207"/>
                  <a:gd name="T16" fmla="*/ 3103 w 4806"/>
                  <a:gd name="T17" fmla="*/ 913 h 1207"/>
                  <a:gd name="T18" fmla="*/ 2640 w 4806"/>
                  <a:gd name="T19" fmla="*/ 905 h 1207"/>
                  <a:gd name="T20" fmla="*/ 2120 w 4806"/>
                  <a:gd name="T21" fmla="*/ 907 h 1207"/>
                  <a:gd name="T22" fmla="*/ 1545 w 4806"/>
                  <a:gd name="T23" fmla="*/ 915 h 1207"/>
                  <a:gd name="T24" fmla="*/ 1216 w 4806"/>
                  <a:gd name="T25" fmla="*/ 923 h 1207"/>
                  <a:gd name="T26" fmla="*/ 1095 w 4806"/>
                  <a:gd name="T27" fmla="*/ 915 h 1207"/>
                  <a:gd name="T28" fmla="*/ 932 w 4806"/>
                  <a:gd name="T29" fmla="*/ 877 h 1207"/>
                  <a:gd name="T30" fmla="*/ 774 w 4806"/>
                  <a:gd name="T31" fmla="*/ 815 h 1207"/>
                  <a:gd name="T32" fmla="*/ 624 w 4806"/>
                  <a:gd name="T33" fmla="*/ 729 h 1207"/>
                  <a:gd name="T34" fmla="*/ 486 w 4806"/>
                  <a:gd name="T35" fmla="*/ 630 h 1207"/>
                  <a:gd name="T36" fmla="*/ 360 w 4806"/>
                  <a:gd name="T37" fmla="*/ 521 h 1207"/>
                  <a:gd name="T38" fmla="*/ 249 w 4806"/>
                  <a:gd name="T39" fmla="*/ 407 h 1207"/>
                  <a:gd name="T40" fmla="*/ 155 w 4806"/>
                  <a:gd name="T41" fmla="*/ 293 h 1207"/>
                  <a:gd name="T42" fmla="*/ 81 w 4806"/>
                  <a:gd name="T43" fmla="*/ 188 h 1207"/>
                  <a:gd name="T44" fmla="*/ 29 w 4806"/>
                  <a:gd name="T45" fmla="*/ 93 h 1207"/>
                  <a:gd name="T46" fmla="*/ 0 w 4806"/>
                  <a:gd name="T47" fmla="*/ 16 h 1207"/>
                  <a:gd name="T48" fmla="*/ 5 w 4806"/>
                  <a:gd name="T49" fmla="*/ 2 h 1207"/>
                  <a:gd name="T50" fmla="*/ 19 w 4806"/>
                  <a:gd name="T51" fmla="*/ 1 h 1207"/>
                  <a:gd name="T52" fmla="*/ 32 w 4806"/>
                  <a:gd name="T53" fmla="*/ 29 h 1207"/>
                  <a:gd name="T54" fmla="*/ 66 w 4806"/>
                  <a:gd name="T55" fmla="*/ 103 h 1207"/>
                  <a:gd name="T56" fmla="*/ 122 w 4806"/>
                  <a:gd name="T57" fmla="*/ 197 h 1207"/>
                  <a:gd name="T58" fmla="*/ 199 w 4806"/>
                  <a:gd name="T59" fmla="*/ 304 h 1207"/>
                  <a:gd name="T60" fmla="*/ 297 w 4806"/>
                  <a:gd name="T61" fmla="*/ 418 h 1207"/>
                  <a:gd name="T62" fmla="*/ 410 w 4806"/>
                  <a:gd name="T63" fmla="*/ 531 h 1207"/>
                  <a:gd name="T64" fmla="*/ 538 w 4806"/>
                  <a:gd name="T65" fmla="*/ 639 h 1207"/>
                  <a:gd name="T66" fmla="*/ 681 w 4806"/>
                  <a:gd name="T67" fmla="*/ 736 h 1207"/>
                  <a:gd name="T68" fmla="*/ 833 w 4806"/>
                  <a:gd name="T69" fmla="*/ 815 h 1207"/>
                  <a:gd name="T70" fmla="*/ 996 w 4806"/>
                  <a:gd name="T71" fmla="*/ 870 h 1207"/>
                  <a:gd name="T72" fmla="*/ 1166 w 4806"/>
                  <a:gd name="T73" fmla="*/ 895 h 1207"/>
                  <a:gd name="T74" fmla="*/ 1515 w 4806"/>
                  <a:gd name="T75" fmla="*/ 888 h 1207"/>
                  <a:gd name="T76" fmla="*/ 2215 w 4806"/>
                  <a:gd name="T77" fmla="*/ 877 h 1207"/>
                  <a:gd name="T78" fmla="*/ 2629 w 4806"/>
                  <a:gd name="T79" fmla="*/ 877 h 1207"/>
                  <a:gd name="T80" fmla="*/ 3057 w 4806"/>
                  <a:gd name="T81" fmla="*/ 883 h 1207"/>
                  <a:gd name="T82" fmla="*/ 3480 w 4806"/>
                  <a:gd name="T83" fmla="*/ 898 h 1207"/>
                  <a:gd name="T84" fmla="*/ 3877 w 4806"/>
                  <a:gd name="T85" fmla="*/ 925 h 1207"/>
                  <a:gd name="T86" fmla="*/ 4229 w 4806"/>
                  <a:gd name="T87" fmla="*/ 964 h 1207"/>
                  <a:gd name="T88" fmla="*/ 4514 w 4806"/>
                  <a:gd name="T89" fmla="*/ 1020 h 1207"/>
                  <a:gd name="T90" fmla="*/ 4713 w 4806"/>
                  <a:gd name="T91" fmla="*/ 1094 h 1207"/>
                  <a:gd name="T92" fmla="*/ 4805 w 4806"/>
                  <a:gd name="T93" fmla="*/ 1189 h 1207"/>
                  <a:gd name="T94" fmla="*/ 4801 w 4806"/>
                  <a:gd name="T95" fmla="*/ 1203 h 1207"/>
                  <a:gd name="T96" fmla="*/ 4792 w 4806"/>
                  <a:gd name="T97"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06" h="1207">
                    <a:moveTo>
                      <a:pt x="4792" y="1207"/>
                    </a:moveTo>
                    <a:lnTo>
                      <a:pt x="4788" y="1206"/>
                    </a:lnTo>
                    <a:lnTo>
                      <a:pt x="4784" y="1203"/>
                    </a:lnTo>
                    <a:lnTo>
                      <a:pt x="4781" y="1201"/>
                    </a:lnTo>
                    <a:lnTo>
                      <a:pt x="4779" y="1197"/>
                    </a:lnTo>
                    <a:lnTo>
                      <a:pt x="4769" y="1175"/>
                    </a:lnTo>
                    <a:lnTo>
                      <a:pt x="4753" y="1154"/>
                    </a:lnTo>
                    <a:lnTo>
                      <a:pt x="4730" y="1134"/>
                    </a:lnTo>
                    <a:lnTo>
                      <a:pt x="4701" y="1115"/>
                    </a:lnTo>
                    <a:lnTo>
                      <a:pt x="4667" y="1096"/>
                    </a:lnTo>
                    <a:lnTo>
                      <a:pt x="4625" y="1078"/>
                    </a:lnTo>
                    <a:lnTo>
                      <a:pt x="4577" y="1062"/>
                    </a:lnTo>
                    <a:lnTo>
                      <a:pt x="4523" y="1046"/>
                    </a:lnTo>
                    <a:lnTo>
                      <a:pt x="4463" y="1031"/>
                    </a:lnTo>
                    <a:lnTo>
                      <a:pt x="4396" y="1017"/>
                    </a:lnTo>
                    <a:lnTo>
                      <a:pt x="4322" y="1004"/>
                    </a:lnTo>
                    <a:lnTo>
                      <a:pt x="4242" y="991"/>
                    </a:lnTo>
                    <a:lnTo>
                      <a:pt x="4157" y="979"/>
                    </a:lnTo>
                    <a:lnTo>
                      <a:pt x="4065" y="968"/>
                    </a:lnTo>
                    <a:lnTo>
                      <a:pt x="3967" y="958"/>
                    </a:lnTo>
                    <a:lnTo>
                      <a:pt x="3862" y="950"/>
                    </a:lnTo>
                    <a:lnTo>
                      <a:pt x="3751" y="941"/>
                    </a:lnTo>
                    <a:lnTo>
                      <a:pt x="3634" y="933"/>
                    </a:lnTo>
                    <a:lnTo>
                      <a:pt x="3511" y="927"/>
                    </a:lnTo>
                    <a:lnTo>
                      <a:pt x="3382" y="922"/>
                    </a:lnTo>
                    <a:lnTo>
                      <a:pt x="3246" y="916"/>
                    </a:lnTo>
                    <a:lnTo>
                      <a:pt x="3103" y="913"/>
                    </a:lnTo>
                    <a:lnTo>
                      <a:pt x="2955" y="910"/>
                    </a:lnTo>
                    <a:lnTo>
                      <a:pt x="2801" y="908"/>
                    </a:lnTo>
                    <a:lnTo>
                      <a:pt x="2640" y="905"/>
                    </a:lnTo>
                    <a:lnTo>
                      <a:pt x="2472" y="905"/>
                    </a:lnTo>
                    <a:lnTo>
                      <a:pt x="2300" y="905"/>
                    </a:lnTo>
                    <a:lnTo>
                      <a:pt x="2120" y="907"/>
                    </a:lnTo>
                    <a:lnTo>
                      <a:pt x="1935" y="909"/>
                    </a:lnTo>
                    <a:lnTo>
                      <a:pt x="1742" y="912"/>
                    </a:lnTo>
                    <a:lnTo>
                      <a:pt x="1545" y="915"/>
                    </a:lnTo>
                    <a:lnTo>
                      <a:pt x="1341" y="919"/>
                    </a:lnTo>
                    <a:lnTo>
                      <a:pt x="1224" y="923"/>
                    </a:lnTo>
                    <a:lnTo>
                      <a:pt x="1216" y="923"/>
                    </a:lnTo>
                    <a:lnTo>
                      <a:pt x="1207" y="923"/>
                    </a:lnTo>
                    <a:lnTo>
                      <a:pt x="1151" y="921"/>
                    </a:lnTo>
                    <a:lnTo>
                      <a:pt x="1095" y="915"/>
                    </a:lnTo>
                    <a:lnTo>
                      <a:pt x="1040" y="905"/>
                    </a:lnTo>
                    <a:lnTo>
                      <a:pt x="986" y="894"/>
                    </a:lnTo>
                    <a:lnTo>
                      <a:pt x="932" y="877"/>
                    </a:lnTo>
                    <a:lnTo>
                      <a:pt x="878" y="859"/>
                    </a:lnTo>
                    <a:lnTo>
                      <a:pt x="826" y="838"/>
                    </a:lnTo>
                    <a:lnTo>
                      <a:pt x="774" y="815"/>
                    </a:lnTo>
                    <a:lnTo>
                      <a:pt x="723" y="788"/>
                    </a:lnTo>
                    <a:lnTo>
                      <a:pt x="673" y="760"/>
                    </a:lnTo>
                    <a:lnTo>
                      <a:pt x="624" y="729"/>
                    </a:lnTo>
                    <a:lnTo>
                      <a:pt x="576" y="698"/>
                    </a:lnTo>
                    <a:lnTo>
                      <a:pt x="531" y="665"/>
                    </a:lnTo>
                    <a:lnTo>
                      <a:pt x="486" y="630"/>
                    </a:lnTo>
                    <a:lnTo>
                      <a:pt x="442" y="595"/>
                    </a:lnTo>
                    <a:lnTo>
                      <a:pt x="400" y="558"/>
                    </a:lnTo>
                    <a:lnTo>
                      <a:pt x="360" y="521"/>
                    </a:lnTo>
                    <a:lnTo>
                      <a:pt x="321" y="483"/>
                    </a:lnTo>
                    <a:lnTo>
                      <a:pt x="284" y="444"/>
                    </a:lnTo>
                    <a:lnTo>
                      <a:pt x="249" y="407"/>
                    </a:lnTo>
                    <a:lnTo>
                      <a:pt x="216" y="369"/>
                    </a:lnTo>
                    <a:lnTo>
                      <a:pt x="184" y="331"/>
                    </a:lnTo>
                    <a:lnTo>
                      <a:pt x="155" y="293"/>
                    </a:lnTo>
                    <a:lnTo>
                      <a:pt x="128" y="258"/>
                    </a:lnTo>
                    <a:lnTo>
                      <a:pt x="103" y="222"/>
                    </a:lnTo>
                    <a:lnTo>
                      <a:pt x="81" y="188"/>
                    </a:lnTo>
                    <a:lnTo>
                      <a:pt x="61" y="154"/>
                    </a:lnTo>
                    <a:lnTo>
                      <a:pt x="44" y="123"/>
                    </a:lnTo>
                    <a:lnTo>
                      <a:pt x="29" y="93"/>
                    </a:lnTo>
                    <a:lnTo>
                      <a:pt x="16" y="65"/>
                    </a:lnTo>
                    <a:lnTo>
                      <a:pt x="6" y="40"/>
                    </a:lnTo>
                    <a:lnTo>
                      <a:pt x="0" y="16"/>
                    </a:lnTo>
                    <a:lnTo>
                      <a:pt x="0" y="11"/>
                    </a:lnTo>
                    <a:lnTo>
                      <a:pt x="1" y="5"/>
                    </a:lnTo>
                    <a:lnTo>
                      <a:pt x="5" y="2"/>
                    </a:lnTo>
                    <a:lnTo>
                      <a:pt x="9" y="0"/>
                    </a:lnTo>
                    <a:lnTo>
                      <a:pt x="15" y="0"/>
                    </a:lnTo>
                    <a:lnTo>
                      <a:pt x="19" y="1"/>
                    </a:lnTo>
                    <a:lnTo>
                      <a:pt x="23" y="4"/>
                    </a:lnTo>
                    <a:lnTo>
                      <a:pt x="26" y="9"/>
                    </a:lnTo>
                    <a:lnTo>
                      <a:pt x="32" y="29"/>
                    </a:lnTo>
                    <a:lnTo>
                      <a:pt x="41" y="52"/>
                    </a:lnTo>
                    <a:lnTo>
                      <a:pt x="51" y="76"/>
                    </a:lnTo>
                    <a:lnTo>
                      <a:pt x="66" y="103"/>
                    </a:lnTo>
                    <a:lnTo>
                      <a:pt x="82" y="134"/>
                    </a:lnTo>
                    <a:lnTo>
                      <a:pt x="101" y="165"/>
                    </a:lnTo>
                    <a:lnTo>
                      <a:pt x="122" y="197"/>
                    </a:lnTo>
                    <a:lnTo>
                      <a:pt x="145" y="232"/>
                    </a:lnTo>
                    <a:lnTo>
                      <a:pt x="171" y="267"/>
                    </a:lnTo>
                    <a:lnTo>
                      <a:pt x="199" y="304"/>
                    </a:lnTo>
                    <a:lnTo>
                      <a:pt x="230" y="341"/>
                    </a:lnTo>
                    <a:lnTo>
                      <a:pt x="262" y="379"/>
                    </a:lnTo>
                    <a:lnTo>
                      <a:pt x="297" y="418"/>
                    </a:lnTo>
                    <a:lnTo>
                      <a:pt x="332" y="455"/>
                    </a:lnTo>
                    <a:lnTo>
                      <a:pt x="370" y="493"/>
                    </a:lnTo>
                    <a:lnTo>
                      <a:pt x="410" y="531"/>
                    </a:lnTo>
                    <a:lnTo>
                      <a:pt x="451" y="568"/>
                    </a:lnTo>
                    <a:lnTo>
                      <a:pt x="494" y="604"/>
                    </a:lnTo>
                    <a:lnTo>
                      <a:pt x="538" y="639"/>
                    </a:lnTo>
                    <a:lnTo>
                      <a:pt x="585" y="672"/>
                    </a:lnTo>
                    <a:lnTo>
                      <a:pt x="632" y="705"/>
                    </a:lnTo>
                    <a:lnTo>
                      <a:pt x="681" y="736"/>
                    </a:lnTo>
                    <a:lnTo>
                      <a:pt x="731" y="764"/>
                    </a:lnTo>
                    <a:lnTo>
                      <a:pt x="781" y="790"/>
                    </a:lnTo>
                    <a:lnTo>
                      <a:pt x="833" y="815"/>
                    </a:lnTo>
                    <a:lnTo>
                      <a:pt x="887" y="835"/>
                    </a:lnTo>
                    <a:lnTo>
                      <a:pt x="941" y="855"/>
                    </a:lnTo>
                    <a:lnTo>
                      <a:pt x="996" y="870"/>
                    </a:lnTo>
                    <a:lnTo>
                      <a:pt x="1051" y="882"/>
                    </a:lnTo>
                    <a:lnTo>
                      <a:pt x="1109" y="890"/>
                    </a:lnTo>
                    <a:lnTo>
                      <a:pt x="1166" y="895"/>
                    </a:lnTo>
                    <a:lnTo>
                      <a:pt x="1223" y="896"/>
                    </a:lnTo>
                    <a:lnTo>
                      <a:pt x="1340" y="892"/>
                    </a:lnTo>
                    <a:lnTo>
                      <a:pt x="1515" y="888"/>
                    </a:lnTo>
                    <a:lnTo>
                      <a:pt x="1722" y="884"/>
                    </a:lnTo>
                    <a:lnTo>
                      <a:pt x="1957" y="881"/>
                    </a:lnTo>
                    <a:lnTo>
                      <a:pt x="2215" y="877"/>
                    </a:lnTo>
                    <a:lnTo>
                      <a:pt x="2350" y="877"/>
                    </a:lnTo>
                    <a:lnTo>
                      <a:pt x="2489" y="876"/>
                    </a:lnTo>
                    <a:lnTo>
                      <a:pt x="2629" y="877"/>
                    </a:lnTo>
                    <a:lnTo>
                      <a:pt x="2770" y="878"/>
                    </a:lnTo>
                    <a:lnTo>
                      <a:pt x="2914" y="881"/>
                    </a:lnTo>
                    <a:lnTo>
                      <a:pt x="3057" y="883"/>
                    </a:lnTo>
                    <a:lnTo>
                      <a:pt x="3199" y="887"/>
                    </a:lnTo>
                    <a:lnTo>
                      <a:pt x="3341" y="892"/>
                    </a:lnTo>
                    <a:lnTo>
                      <a:pt x="3480" y="898"/>
                    </a:lnTo>
                    <a:lnTo>
                      <a:pt x="3616" y="905"/>
                    </a:lnTo>
                    <a:lnTo>
                      <a:pt x="3749" y="914"/>
                    </a:lnTo>
                    <a:lnTo>
                      <a:pt x="3877" y="925"/>
                    </a:lnTo>
                    <a:lnTo>
                      <a:pt x="4000" y="936"/>
                    </a:lnTo>
                    <a:lnTo>
                      <a:pt x="4118" y="950"/>
                    </a:lnTo>
                    <a:lnTo>
                      <a:pt x="4229" y="964"/>
                    </a:lnTo>
                    <a:lnTo>
                      <a:pt x="4332" y="981"/>
                    </a:lnTo>
                    <a:lnTo>
                      <a:pt x="4428" y="999"/>
                    </a:lnTo>
                    <a:lnTo>
                      <a:pt x="4514" y="1020"/>
                    </a:lnTo>
                    <a:lnTo>
                      <a:pt x="4591" y="1043"/>
                    </a:lnTo>
                    <a:lnTo>
                      <a:pt x="4658" y="1067"/>
                    </a:lnTo>
                    <a:lnTo>
                      <a:pt x="4713" y="1094"/>
                    </a:lnTo>
                    <a:lnTo>
                      <a:pt x="4756" y="1123"/>
                    </a:lnTo>
                    <a:lnTo>
                      <a:pt x="4788" y="1155"/>
                    </a:lnTo>
                    <a:lnTo>
                      <a:pt x="4805" y="1189"/>
                    </a:lnTo>
                    <a:lnTo>
                      <a:pt x="4806" y="1195"/>
                    </a:lnTo>
                    <a:lnTo>
                      <a:pt x="4804" y="1199"/>
                    </a:lnTo>
                    <a:lnTo>
                      <a:pt x="4801" y="1203"/>
                    </a:lnTo>
                    <a:lnTo>
                      <a:pt x="4796" y="1206"/>
                    </a:lnTo>
                    <a:lnTo>
                      <a:pt x="4794" y="1207"/>
                    </a:lnTo>
                    <a:lnTo>
                      <a:pt x="4792" y="1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98"/>
              <p:cNvSpPr>
                <a:spLocks/>
              </p:cNvSpPr>
              <p:nvPr userDrawn="1"/>
            </p:nvSpPr>
            <p:spPr bwMode="auto">
              <a:xfrm>
                <a:off x="1254" y="2967"/>
                <a:ext cx="1389" cy="377"/>
              </a:xfrm>
              <a:custGeom>
                <a:avLst/>
                <a:gdLst>
                  <a:gd name="T0" fmla="*/ 4100 w 4168"/>
                  <a:gd name="T1" fmla="*/ 1130 h 1132"/>
                  <a:gd name="T2" fmla="*/ 4023 w 4168"/>
                  <a:gd name="T3" fmla="*/ 1122 h 1132"/>
                  <a:gd name="T4" fmla="*/ 3905 w 4168"/>
                  <a:gd name="T5" fmla="*/ 1097 h 1132"/>
                  <a:gd name="T6" fmla="*/ 3737 w 4168"/>
                  <a:gd name="T7" fmla="*/ 1053 h 1132"/>
                  <a:gd name="T8" fmla="*/ 3513 w 4168"/>
                  <a:gd name="T9" fmla="*/ 982 h 1132"/>
                  <a:gd name="T10" fmla="*/ 3286 w 4168"/>
                  <a:gd name="T11" fmla="*/ 904 h 1132"/>
                  <a:gd name="T12" fmla="*/ 3155 w 4168"/>
                  <a:gd name="T13" fmla="*/ 867 h 1132"/>
                  <a:gd name="T14" fmla="*/ 3021 w 4168"/>
                  <a:gd name="T15" fmla="*/ 841 h 1132"/>
                  <a:gd name="T16" fmla="*/ 2883 w 4168"/>
                  <a:gd name="T17" fmla="*/ 824 h 1132"/>
                  <a:gd name="T18" fmla="*/ 2742 w 4168"/>
                  <a:gd name="T19" fmla="*/ 815 h 1132"/>
                  <a:gd name="T20" fmla="*/ 2596 w 4168"/>
                  <a:gd name="T21" fmla="*/ 814 h 1132"/>
                  <a:gd name="T22" fmla="*/ 2446 w 4168"/>
                  <a:gd name="T23" fmla="*/ 818 h 1132"/>
                  <a:gd name="T24" fmla="*/ 2187 w 4168"/>
                  <a:gd name="T25" fmla="*/ 838 h 1132"/>
                  <a:gd name="T26" fmla="*/ 1862 w 4168"/>
                  <a:gd name="T27" fmla="*/ 872 h 1132"/>
                  <a:gd name="T28" fmla="*/ 1577 w 4168"/>
                  <a:gd name="T29" fmla="*/ 905 h 1132"/>
                  <a:gd name="T30" fmla="*/ 1313 w 4168"/>
                  <a:gd name="T31" fmla="*/ 933 h 1132"/>
                  <a:gd name="T32" fmla="*/ 1042 w 4168"/>
                  <a:gd name="T33" fmla="*/ 955 h 1132"/>
                  <a:gd name="T34" fmla="*/ 821 w 4168"/>
                  <a:gd name="T35" fmla="*/ 945 h 1132"/>
                  <a:gd name="T36" fmla="*/ 631 w 4168"/>
                  <a:gd name="T37" fmla="*/ 890 h 1132"/>
                  <a:gd name="T38" fmla="*/ 471 w 4168"/>
                  <a:gd name="T39" fmla="*/ 800 h 1132"/>
                  <a:gd name="T40" fmla="*/ 340 w 4168"/>
                  <a:gd name="T41" fmla="*/ 686 h 1132"/>
                  <a:gd name="T42" fmla="*/ 233 w 4168"/>
                  <a:gd name="T43" fmla="*/ 555 h 1132"/>
                  <a:gd name="T44" fmla="*/ 150 w 4168"/>
                  <a:gd name="T45" fmla="*/ 420 h 1132"/>
                  <a:gd name="T46" fmla="*/ 87 w 4168"/>
                  <a:gd name="T47" fmla="*/ 290 h 1132"/>
                  <a:gd name="T48" fmla="*/ 44 w 4168"/>
                  <a:gd name="T49" fmla="*/ 175 h 1132"/>
                  <a:gd name="T50" fmla="*/ 16 w 4168"/>
                  <a:gd name="T51" fmla="*/ 84 h 1132"/>
                  <a:gd name="T52" fmla="*/ 0 w 4168"/>
                  <a:gd name="T53" fmla="*/ 16 h 1132"/>
                  <a:gd name="T54" fmla="*/ 5 w 4168"/>
                  <a:gd name="T55" fmla="*/ 2 h 1132"/>
                  <a:gd name="T56" fmla="*/ 21 w 4168"/>
                  <a:gd name="T57" fmla="*/ 2 h 1132"/>
                  <a:gd name="T58" fmla="*/ 29 w 4168"/>
                  <a:gd name="T59" fmla="*/ 24 h 1132"/>
                  <a:gd name="T60" fmla="*/ 50 w 4168"/>
                  <a:gd name="T61" fmla="*/ 104 h 1132"/>
                  <a:gd name="T62" fmla="*/ 82 w 4168"/>
                  <a:gd name="T63" fmla="*/ 202 h 1132"/>
                  <a:gd name="T64" fmla="*/ 131 w 4168"/>
                  <a:gd name="T65" fmla="*/ 320 h 1132"/>
                  <a:gd name="T66" fmla="*/ 198 w 4168"/>
                  <a:gd name="T67" fmla="*/ 450 h 1132"/>
                  <a:gd name="T68" fmla="*/ 286 w 4168"/>
                  <a:gd name="T69" fmla="*/ 581 h 1132"/>
                  <a:gd name="T70" fmla="*/ 397 w 4168"/>
                  <a:gd name="T71" fmla="*/ 704 h 1132"/>
                  <a:gd name="T72" fmla="*/ 534 w 4168"/>
                  <a:gd name="T73" fmla="*/ 810 h 1132"/>
                  <a:gd name="T74" fmla="*/ 699 w 4168"/>
                  <a:gd name="T75" fmla="*/ 887 h 1132"/>
                  <a:gd name="T76" fmla="*/ 893 w 4168"/>
                  <a:gd name="T77" fmla="*/ 927 h 1132"/>
                  <a:gd name="T78" fmla="*/ 1132 w 4168"/>
                  <a:gd name="T79" fmla="*/ 921 h 1132"/>
                  <a:gd name="T80" fmla="*/ 1399 w 4168"/>
                  <a:gd name="T81" fmla="*/ 897 h 1132"/>
                  <a:gd name="T82" fmla="*/ 1661 w 4168"/>
                  <a:gd name="T83" fmla="*/ 868 h 1132"/>
                  <a:gd name="T84" fmla="*/ 1970 w 4168"/>
                  <a:gd name="T85" fmla="*/ 832 h 1132"/>
                  <a:gd name="T86" fmla="*/ 2292 w 4168"/>
                  <a:gd name="T87" fmla="*/ 801 h 1132"/>
                  <a:gd name="T88" fmla="*/ 2498 w 4168"/>
                  <a:gd name="T89" fmla="*/ 789 h 1132"/>
                  <a:gd name="T90" fmla="*/ 2647 w 4168"/>
                  <a:gd name="T91" fmla="*/ 787 h 1132"/>
                  <a:gd name="T92" fmla="*/ 2792 w 4168"/>
                  <a:gd name="T93" fmla="*/ 790 h 1132"/>
                  <a:gd name="T94" fmla="*/ 2935 w 4168"/>
                  <a:gd name="T95" fmla="*/ 802 h 1132"/>
                  <a:gd name="T96" fmla="*/ 3072 w 4168"/>
                  <a:gd name="T97" fmla="*/ 822 h 1132"/>
                  <a:gd name="T98" fmla="*/ 3207 w 4168"/>
                  <a:gd name="T99" fmla="*/ 852 h 1132"/>
                  <a:gd name="T100" fmla="*/ 3338 w 4168"/>
                  <a:gd name="T101" fmla="*/ 893 h 1132"/>
                  <a:gd name="T102" fmla="*/ 3658 w 4168"/>
                  <a:gd name="T103" fmla="*/ 1001 h 1132"/>
                  <a:gd name="T104" fmla="*/ 3886 w 4168"/>
                  <a:gd name="T105" fmla="*/ 1066 h 1132"/>
                  <a:gd name="T106" fmla="*/ 4034 w 4168"/>
                  <a:gd name="T107" fmla="*/ 1096 h 1132"/>
                  <a:gd name="T108" fmla="*/ 4117 w 4168"/>
                  <a:gd name="T109" fmla="*/ 1104 h 1132"/>
                  <a:gd name="T110" fmla="*/ 4150 w 4168"/>
                  <a:gd name="T111" fmla="*/ 1104 h 1132"/>
                  <a:gd name="T112" fmla="*/ 4162 w 4168"/>
                  <a:gd name="T113" fmla="*/ 1105 h 1132"/>
                  <a:gd name="T114" fmla="*/ 4168 w 4168"/>
                  <a:gd name="T115" fmla="*/ 1120 h 1132"/>
                  <a:gd name="T116" fmla="*/ 4157 w 4168"/>
                  <a:gd name="T117" fmla="*/ 113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68" h="1132">
                    <a:moveTo>
                      <a:pt x="4131" y="1132"/>
                    </a:moveTo>
                    <a:lnTo>
                      <a:pt x="4117" y="1131"/>
                    </a:lnTo>
                    <a:lnTo>
                      <a:pt x="4100" y="1130"/>
                    </a:lnTo>
                    <a:lnTo>
                      <a:pt x="4078" y="1129"/>
                    </a:lnTo>
                    <a:lnTo>
                      <a:pt x="4054" y="1126"/>
                    </a:lnTo>
                    <a:lnTo>
                      <a:pt x="4023" y="1122"/>
                    </a:lnTo>
                    <a:lnTo>
                      <a:pt x="3989" y="1115"/>
                    </a:lnTo>
                    <a:lnTo>
                      <a:pt x="3950" y="1108"/>
                    </a:lnTo>
                    <a:lnTo>
                      <a:pt x="3905" y="1097"/>
                    </a:lnTo>
                    <a:lnTo>
                      <a:pt x="3855" y="1085"/>
                    </a:lnTo>
                    <a:lnTo>
                      <a:pt x="3799" y="1071"/>
                    </a:lnTo>
                    <a:lnTo>
                      <a:pt x="3737" y="1053"/>
                    </a:lnTo>
                    <a:lnTo>
                      <a:pt x="3669" y="1033"/>
                    </a:lnTo>
                    <a:lnTo>
                      <a:pt x="3595" y="1009"/>
                    </a:lnTo>
                    <a:lnTo>
                      <a:pt x="3513" y="982"/>
                    </a:lnTo>
                    <a:lnTo>
                      <a:pt x="3424" y="952"/>
                    </a:lnTo>
                    <a:lnTo>
                      <a:pt x="3328" y="918"/>
                    </a:lnTo>
                    <a:lnTo>
                      <a:pt x="3286" y="904"/>
                    </a:lnTo>
                    <a:lnTo>
                      <a:pt x="3243" y="890"/>
                    </a:lnTo>
                    <a:lnTo>
                      <a:pt x="3199" y="878"/>
                    </a:lnTo>
                    <a:lnTo>
                      <a:pt x="3155" y="867"/>
                    </a:lnTo>
                    <a:lnTo>
                      <a:pt x="3111" y="857"/>
                    </a:lnTo>
                    <a:lnTo>
                      <a:pt x="3067" y="849"/>
                    </a:lnTo>
                    <a:lnTo>
                      <a:pt x="3021" y="841"/>
                    </a:lnTo>
                    <a:lnTo>
                      <a:pt x="2976" y="835"/>
                    </a:lnTo>
                    <a:lnTo>
                      <a:pt x="2930" y="828"/>
                    </a:lnTo>
                    <a:lnTo>
                      <a:pt x="2883" y="824"/>
                    </a:lnTo>
                    <a:lnTo>
                      <a:pt x="2837" y="820"/>
                    </a:lnTo>
                    <a:lnTo>
                      <a:pt x="2789" y="817"/>
                    </a:lnTo>
                    <a:lnTo>
                      <a:pt x="2742" y="815"/>
                    </a:lnTo>
                    <a:lnTo>
                      <a:pt x="2693" y="814"/>
                    </a:lnTo>
                    <a:lnTo>
                      <a:pt x="2644" y="814"/>
                    </a:lnTo>
                    <a:lnTo>
                      <a:pt x="2596" y="814"/>
                    </a:lnTo>
                    <a:lnTo>
                      <a:pt x="2546" y="815"/>
                    </a:lnTo>
                    <a:lnTo>
                      <a:pt x="2497" y="816"/>
                    </a:lnTo>
                    <a:lnTo>
                      <a:pt x="2446" y="818"/>
                    </a:lnTo>
                    <a:lnTo>
                      <a:pt x="2395" y="822"/>
                    </a:lnTo>
                    <a:lnTo>
                      <a:pt x="2292" y="829"/>
                    </a:lnTo>
                    <a:lnTo>
                      <a:pt x="2187" y="838"/>
                    </a:lnTo>
                    <a:lnTo>
                      <a:pt x="2081" y="847"/>
                    </a:lnTo>
                    <a:lnTo>
                      <a:pt x="1972" y="859"/>
                    </a:lnTo>
                    <a:lnTo>
                      <a:pt x="1862" y="872"/>
                    </a:lnTo>
                    <a:lnTo>
                      <a:pt x="1749" y="885"/>
                    </a:lnTo>
                    <a:lnTo>
                      <a:pt x="1663" y="895"/>
                    </a:lnTo>
                    <a:lnTo>
                      <a:pt x="1577" y="905"/>
                    </a:lnTo>
                    <a:lnTo>
                      <a:pt x="1490" y="914"/>
                    </a:lnTo>
                    <a:lnTo>
                      <a:pt x="1402" y="924"/>
                    </a:lnTo>
                    <a:lnTo>
                      <a:pt x="1313" y="933"/>
                    </a:lnTo>
                    <a:lnTo>
                      <a:pt x="1223" y="940"/>
                    </a:lnTo>
                    <a:lnTo>
                      <a:pt x="1134" y="948"/>
                    </a:lnTo>
                    <a:lnTo>
                      <a:pt x="1042" y="955"/>
                    </a:lnTo>
                    <a:lnTo>
                      <a:pt x="964" y="958"/>
                    </a:lnTo>
                    <a:lnTo>
                      <a:pt x="891" y="953"/>
                    </a:lnTo>
                    <a:lnTo>
                      <a:pt x="821" y="945"/>
                    </a:lnTo>
                    <a:lnTo>
                      <a:pt x="754" y="932"/>
                    </a:lnTo>
                    <a:lnTo>
                      <a:pt x="690" y="912"/>
                    </a:lnTo>
                    <a:lnTo>
                      <a:pt x="631" y="890"/>
                    </a:lnTo>
                    <a:lnTo>
                      <a:pt x="574" y="864"/>
                    </a:lnTo>
                    <a:lnTo>
                      <a:pt x="522" y="833"/>
                    </a:lnTo>
                    <a:lnTo>
                      <a:pt x="471" y="800"/>
                    </a:lnTo>
                    <a:lnTo>
                      <a:pt x="424" y="764"/>
                    </a:lnTo>
                    <a:lnTo>
                      <a:pt x="380" y="725"/>
                    </a:lnTo>
                    <a:lnTo>
                      <a:pt x="340" y="686"/>
                    </a:lnTo>
                    <a:lnTo>
                      <a:pt x="301" y="643"/>
                    </a:lnTo>
                    <a:lnTo>
                      <a:pt x="266" y="599"/>
                    </a:lnTo>
                    <a:lnTo>
                      <a:pt x="233" y="555"/>
                    </a:lnTo>
                    <a:lnTo>
                      <a:pt x="203" y="511"/>
                    </a:lnTo>
                    <a:lnTo>
                      <a:pt x="176" y="465"/>
                    </a:lnTo>
                    <a:lnTo>
                      <a:pt x="150" y="420"/>
                    </a:lnTo>
                    <a:lnTo>
                      <a:pt x="127" y="376"/>
                    </a:lnTo>
                    <a:lnTo>
                      <a:pt x="107" y="333"/>
                    </a:lnTo>
                    <a:lnTo>
                      <a:pt x="87" y="290"/>
                    </a:lnTo>
                    <a:lnTo>
                      <a:pt x="71" y="249"/>
                    </a:lnTo>
                    <a:lnTo>
                      <a:pt x="57" y="211"/>
                    </a:lnTo>
                    <a:lnTo>
                      <a:pt x="44" y="175"/>
                    </a:lnTo>
                    <a:lnTo>
                      <a:pt x="33" y="141"/>
                    </a:lnTo>
                    <a:lnTo>
                      <a:pt x="24" y="111"/>
                    </a:lnTo>
                    <a:lnTo>
                      <a:pt x="16" y="84"/>
                    </a:lnTo>
                    <a:lnTo>
                      <a:pt x="11" y="62"/>
                    </a:lnTo>
                    <a:lnTo>
                      <a:pt x="2" y="28"/>
                    </a:lnTo>
                    <a:lnTo>
                      <a:pt x="0" y="16"/>
                    </a:lnTo>
                    <a:lnTo>
                      <a:pt x="0" y="11"/>
                    </a:lnTo>
                    <a:lnTo>
                      <a:pt x="2" y="5"/>
                    </a:lnTo>
                    <a:lnTo>
                      <a:pt x="5" y="2"/>
                    </a:lnTo>
                    <a:lnTo>
                      <a:pt x="11" y="0"/>
                    </a:lnTo>
                    <a:lnTo>
                      <a:pt x="16" y="0"/>
                    </a:lnTo>
                    <a:lnTo>
                      <a:pt x="21" y="2"/>
                    </a:lnTo>
                    <a:lnTo>
                      <a:pt x="25" y="5"/>
                    </a:lnTo>
                    <a:lnTo>
                      <a:pt x="27" y="11"/>
                    </a:lnTo>
                    <a:lnTo>
                      <a:pt x="29" y="24"/>
                    </a:lnTo>
                    <a:lnTo>
                      <a:pt x="37" y="55"/>
                    </a:lnTo>
                    <a:lnTo>
                      <a:pt x="43" y="78"/>
                    </a:lnTo>
                    <a:lnTo>
                      <a:pt x="50" y="104"/>
                    </a:lnTo>
                    <a:lnTo>
                      <a:pt x="59" y="134"/>
                    </a:lnTo>
                    <a:lnTo>
                      <a:pt x="70" y="166"/>
                    </a:lnTo>
                    <a:lnTo>
                      <a:pt x="82" y="202"/>
                    </a:lnTo>
                    <a:lnTo>
                      <a:pt x="96" y="239"/>
                    </a:lnTo>
                    <a:lnTo>
                      <a:pt x="112" y="279"/>
                    </a:lnTo>
                    <a:lnTo>
                      <a:pt x="131" y="320"/>
                    </a:lnTo>
                    <a:lnTo>
                      <a:pt x="151" y="363"/>
                    </a:lnTo>
                    <a:lnTo>
                      <a:pt x="174" y="406"/>
                    </a:lnTo>
                    <a:lnTo>
                      <a:pt x="198" y="450"/>
                    </a:lnTo>
                    <a:lnTo>
                      <a:pt x="225" y="494"/>
                    </a:lnTo>
                    <a:lnTo>
                      <a:pt x="255" y="538"/>
                    </a:lnTo>
                    <a:lnTo>
                      <a:pt x="286" y="581"/>
                    </a:lnTo>
                    <a:lnTo>
                      <a:pt x="321" y="624"/>
                    </a:lnTo>
                    <a:lnTo>
                      <a:pt x="357" y="665"/>
                    </a:lnTo>
                    <a:lnTo>
                      <a:pt x="397" y="704"/>
                    </a:lnTo>
                    <a:lnTo>
                      <a:pt x="441" y="742"/>
                    </a:lnTo>
                    <a:lnTo>
                      <a:pt x="486" y="777"/>
                    </a:lnTo>
                    <a:lnTo>
                      <a:pt x="534" y="810"/>
                    </a:lnTo>
                    <a:lnTo>
                      <a:pt x="586" y="839"/>
                    </a:lnTo>
                    <a:lnTo>
                      <a:pt x="640" y="865"/>
                    </a:lnTo>
                    <a:lnTo>
                      <a:pt x="699" y="887"/>
                    </a:lnTo>
                    <a:lnTo>
                      <a:pt x="760" y="905"/>
                    </a:lnTo>
                    <a:lnTo>
                      <a:pt x="825" y="919"/>
                    </a:lnTo>
                    <a:lnTo>
                      <a:pt x="893" y="927"/>
                    </a:lnTo>
                    <a:lnTo>
                      <a:pt x="965" y="931"/>
                    </a:lnTo>
                    <a:lnTo>
                      <a:pt x="1040" y="928"/>
                    </a:lnTo>
                    <a:lnTo>
                      <a:pt x="1132" y="921"/>
                    </a:lnTo>
                    <a:lnTo>
                      <a:pt x="1221" y="914"/>
                    </a:lnTo>
                    <a:lnTo>
                      <a:pt x="1311" y="906"/>
                    </a:lnTo>
                    <a:lnTo>
                      <a:pt x="1399" y="897"/>
                    </a:lnTo>
                    <a:lnTo>
                      <a:pt x="1487" y="887"/>
                    </a:lnTo>
                    <a:lnTo>
                      <a:pt x="1574" y="878"/>
                    </a:lnTo>
                    <a:lnTo>
                      <a:pt x="1661" y="868"/>
                    </a:lnTo>
                    <a:lnTo>
                      <a:pt x="1746" y="858"/>
                    </a:lnTo>
                    <a:lnTo>
                      <a:pt x="1858" y="845"/>
                    </a:lnTo>
                    <a:lnTo>
                      <a:pt x="1970" y="832"/>
                    </a:lnTo>
                    <a:lnTo>
                      <a:pt x="2079" y="820"/>
                    </a:lnTo>
                    <a:lnTo>
                      <a:pt x="2187" y="811"/>
                    </a:lnTo>
                    <a:lnTo>
                      <a:pt x="2292" y="801"/>
                    </a:lnTo>
                    <a:lnTo>
                      <a:pt x="2396" y="795"/>
                    </a:lnTo>
                    <a:lnTo>
                      <a:pt x="2447" y="791"/>
                    </a:lnTo>
                    <a:lnTo>
                      <a:pt x="2498" y="789"/>
                    </a:lnTo>
                    <a:lnTo>
                      <a:pt x="2548" y="788"/>
                    </a:lnTo>
                    <a:lnTo>
                      <a:pt x="2598" y="787"/>
                    </a:lnTo>
                    <a:lnTo>
                      <a:pt x="2647" y="787"/>
                    </a:lnTo>
                    <a:lnTo>
                      <a:pt x="2696" y="787"/>
                    </a:lnTo>
                    <a:lnTo>
                      <a:pt x="2745" y="788"/>
                    </a:lnTo>
                    <a:lnTo>
                      <a:pt x="2792" y="790"/>
                    </a:lnTo>
                    <a:lnTo>
                      <a:pt x="2840" y="793"/>
                    </a:lnTo>
                    <a:lnTo>
                      <a:pt x="2887" y="797"/>
                    </a:lnTo>
                    <a:lnTo>
                      <a:pt x="2935" y="802"/>
                    </a:lnTo>
                    <a:lnTo>
                      <a:pt x="2981" y="808"/>
                    </a:lnTo>
                    <a:lnTo>
                      <a:pt x="3027" y="814"/>
                    </a:lnTo>
                    <a:lnTo>
                      <a:pt x="3072" y="822"/>
                    </a:lnTo>
                    <a:lnTo>
                      <a:pt x="3117" y="831"/>
                    </a:lnTo>
                    <a:lnTo>
                      <a:pt x="3163" y="841"/>
                    </a:lnTo>
                    <a:lnTo>
                      <a:pt x="3207" y="852"/>
                    </a:lnTo>
                    <a:lnTo>
                      <a:pt x="3250" y="865"/>
                    </a:lnTo>
                    <a:lnTo>
                      <a:pt x="3294" y="878"/>
                    </a:lnTo>
                    <a:lnTo>
                      <a:pt x="3338" y="893"/>
                    </a:lnTo>
                    <a:lnTo>
                      <a:pt x="3455" y="935"/>
                    </a:lnTo>
                    <a:lnTo>
                      <a:pt x="3562" y="971"/>
                    </a:lnTo>
                    <a:lnTo>
                      <a:pt x="3658" y="1001"/>
                    </a:lnTo>
                    <a:lnTo>
                      <a:pt x="3744" y="1027"/>
                    </a:lnTo>
                    <a:lnTo>
                      <a:pt x="3819" y="1048"/>
                    </a:lnTo>
                    <a:lnTo>
                      <a:pt x="3886" y="1066"/>
                    </a:lnTo>
                    <a:lnTo>
                      <a:pt x="3943" y="1078"/>
                    </a:lnTo>
                    <a:lnTo>
                      <a:pt x="3992" y="1088"/>
                    </a:lnTo>
                    <a:lnTo>
                      <a:pt x="4034" y="1096"/>
                    </a:lnTo>
                    <a:lnTo>
                      <a:pt x="4069" y="1100"/>
                    </a:lnTo>
                    <a:lnTo>
                      <a:pt x="4096" y="1103"/>
                    </a:lnTo>
                    <a:lnTo>
                      <a:pt x="4117" y="1104"/>
                    </a:lnTo>
                    <a:lnTo>
                      <a:pt x="4132" y="1105"/>
                    </a:lnTo>
                    <a:lnTo>
                      <a:pt x="4143" y="1104"/>
                    </a:lnTo>
                    <a:lnTo>
                      <a:pt x="4150" y="1104"/>
                    </a:lnTo>
                    <a:lnTo>
                      <a:pt x="4152" y="1104"/>
                    </a:lnTo>
                    <a:lnTo>
                      <a:pt x="4157" y="1104"/>
                    </a:lnTo>
                    <a:lnTo>
                      <a:pt x="4162" y="1105"/>
                    </a:lnTo>
                    <a:lnTo>
                      <a:pt x="4166" y="1110"/>
                    </a:lnTo>
                    <a:lnTo>
                      <a:pt x="4168" y="1114"/>
                    </a:lnTo>
                    <a:lnTo>
                      <a:pt x="4168" y="1120"/>
                    </a:lnTo>
                    <a:lnTo>
                      <a:pt x="4166" y="1125"/>
                    </a:lnTo>
                    <a:lnTo>
                      <a:pt x="4163" y="1128"/>
                    </a:lnTo>
                    <a:lnTo>
                      <a:pt x="4157" y="1130"/>
                    </a:lnTo>
                    <a:lnTo>
                      <a:pt x="4151" y="1131"/>
                    </a:lnTo>
                    <a:lnTo>
                      <a:pt x="4131" y="1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9"/>
              <p:cNvSpPr>
                <a:spLocks/>
              </p:cNvSpPr>
              <p:nvPr userDrawn="1"/>
            </p:nvSpPr>
            <p:spPr bwMode="auto">
              <a:xfrm>
                <a:off x="708" y="3416"/>
                <a:ext cx="485" cy="596"/>
              </a:xfrm>
              <a:custGeom>
                <a:avLst/>
                <a:gdLst>
                  <a:gd name="T0" fmla="*/ 1436 w 1455"/>
                  <a:gd name="T1" fmla="*/ 1789 h 1790"/>
                  <a:gd name="T2" fmla="*/ 1430 w 1455"/>
                  <a:gd name="T3" fmla="*/ 1784 h 1790"/>
                  <a:gd name="T4" fmla="*/ 1427 w 1455"/>
                  <a:gd name="T5" fmla="*/ 1772 h 1790"/>
                  <a:gd name="T6" fmla="*/ 1420 w 1455"/>
                  <a:gd name="T7" fmla="*/ 1724 h 1790"/>
                  <a:gd name="T8" fmla="*/ 1405 w 1455"/>
                  <a:gd name="T9" fmla="*/ 1640 h 1790"/>
                  <a:gd name="T10" fmla="*/ 1380 w 1455"/>
                  <a:gd name="T11" fmla="*/ 1524 h 1790"/>
                  <a:gd name="T12" fmla="*/ 1347 w 1455"/>
                  <a:gd name="T13" fmla="*/ 1386 h 1790"/>
                  <a:gd name="T14" fmla="*/ 1314 w 1455"/>
                  <a:gd name="T15" fmla="*/ 1272 h 1790"/>
                  <a:gd name="T16" fmla="*/ 1288 w 1455"/>
                  <a:gd name="T17" fmla="*/ 1192 h 1790"/>
                  <a:gd name="T18" fmla="*/ 1260 w 1455"/>
                  <a:gd name="T19" fmla="*/ 1111 h 1790"/>
                  <a:gd name="T20" fmla="*/ 1229 w 1455"/>
                  <a:gd name="T21" fmla="*/ 1028 h 1790"/>
                  <a:gd name="T22" fmla="*/ 1194 w 1455"/>
                  <a:gd name="T23" fmla="*/ 946 h 1790"/>
                  <a:gd name="T24" fmla="*/ 1157 w 1455"/>
                  <a:gd name="T25" fmla="*/ 865 h 1790"/>
                  <a:gd name="T26" fmla="*/ 1087 w 1455"/>
                  <a:gd name="T27" fmla="*/ 736 h 1790"/>
                  <a:gd name="T28" fmla="*/ 989 w 1455"/>
                  <a:gd name="T29" fmla="*/ 580 h 1790"/>
                  <a:gd name="T30" fmla="*/ 891 w 1455"/>
                  <a:gd name="T31" fmla="*/ 447 h 1790"/>
                  <a:gd name="T32" fmla="*/ 794 w 1455"/>
                  <a:gd name="T33" fmla="*/ 337 h 1790"/>
                  <a:gd name="T34" fmla="*/ 698 w 1455"/>
                  <a:gd name="T35" fmla="*/ 247 h 1790"/>
                  <a:gd name="T36" fmla="*/ 604 w 1455"/>
                  <a:gd name="T37" fmla="*/ 176 h 1790"/>
                  <a:gd name="T38" fmla="*/ 513 w 1455"/>
                  <a:gd name="T39" fmla="*/ 121 h 1790"/>
                  <a:gd name="T40" fmla="*/ 428 w 1455"/>
                  <a:gd name="T41" fmla="*/ 81 h 1790"/>
                  <a:gd name="T42" fmla="*/ 347 w 1455"/>
                  <a:gd name="T43" fmla="*/ 54 h 1790"/>
                  <a:gd name="T44" fmla="*/ 273 w 1455"/>
                  <a:gd name="T45" fmla="*/ 37 h 1790"/>
                  <a:gd name="T46" fmla="*/ 207 w 1455"/>
                  <a:gd name="T47" fmla="*/ 28 h 1790"/>
                  <a:gd name="T48" fmla="*/ 149 w 1455"/>
                  <a:gd name="T49" fmla="*/ 26 h 1790"/>
                  <a:gd name="T50" fmla="*/ 100 w 1455"/>
                  <a:gd name="T51" fmla="*/ 29 h 1790"/>
                  <a:gd name="T52" fmla="*/ 62 w 1455"/>
                  <a:gd name="T53" fmla="*/ 34 h 1790"/>
                  <a:gd name="T54" fmla="*/ 26 w 1455"/>
                  <a:gd name="T55" fmla="*/ 41 h 1790"/>
                  <a:gd name="T56" fmla="*/ 13 w 1455"/>
                  <a:gd name="T57" fmla="*/ 45 h 1790"/>
                  <a:gd name="T58" fmla="*/ 4 w 1455"/>
                  <a:gd name="T59" fmla="*/ 40 h 1790"/>
                  <a:gd name="T60" fmla="*/ 0 w 1455"/>
                  <a:gd name="T61" fmla="*/ 30 h 1790"/>
                  <a:gd name="T62" fmla="*/ 4 w 1455"/>
                  <a:gd name="T63" fmla="*/ 22 h 1790"/>
                  <a:gd name="T64" fmla="*/ 17 w 1455"/>
                  <a:gd name="T65" fmla="*/ 16 h 1790"/>
                  <a:gd name="T66" fmla="*/ 55 w 1455"/>
                  <a:gd name="T67" fmla="*/ 8 h 1790"/>
                  <a:gd name="T68" fmla="*/ 94 w 1455"/>
                  <a:gd name="T69" fmla="*/ 2 h 1790"/>
                  <a:gd name="T70" fmla="*/ 145 w 1455"/>
                  <a:gd name="T71" fmla="*/ 0 h 1790"/>
                  <a:gd name="T72" fmla="*/ 204 w 1455"/>
                  <a:gd name="T73" fmla="*/ 2 h 1790"/>
                  <a:gd name="T74" fmla="*/ 273 w 1455"/>
                  <a:gd name="T75" fmla="*/ 10 h 1790"/>
                  <a:gd name="T76" fmla="*/ 350 w 1455"/>
                  <a:gd name="T77" fmla="*/ 27 h 1790"/>
                  <a:gd name="T78" fmla="*/ 432 w 1455"/>
                  <a:gd name="T79" fmla="*/ 55 h 1790"/>
                  <a:gd name="T80" fmla="*/ 521 w 1455"/>
                  <a:gd name="T81" fmla="*/ 95 h 1790"/>
                  <a:gd name="T82" fmla="*/ 613 w 1455"/>
                  <a:gd name="T83" fmla="*/ 151 h 1790"/>
                  <a:gd name="T84" fmla="*/ 711 w 1455"/>
                  <a:gd name="T85" fmla="*/ 223 h 1790"/>
                  <a:gd name="T86" fmla="*/ 809 w 1455"/>
                  <a:gd name="T87" fmla="*/ 314 h 1790"/>
                  <a:gd name="T88" fmla="*/ 909 w 1455"/>
                  <a:gd name="T89" fmla="*/ 427 h 1790"/>
                  <a:gd name="T90" fmla="*/ 1010 w 1455"/>
                  <a:gd name="T91" fmla="*/ 562 h 1790"/>
                  <a:gd name="T92" fmla="*/ 1110 w 1455"/>
                  <a:gd name="T93" fmla="*/ 722 h 1790"/>
                  <a:gd name="T94" fmla="*/ 1180 w 1455"/>
                  <a:gd name="T95" fmla="*/ 853 h 1790"/>
                  <a:gd name="T96" fmla="*/ 1219 w 1455"/>
                  <a:gd name="T97" fmla="*/ 935 h 1790"/>
                  <a:gd name="T98" fmla="*/ 1254 w 1455"/>
                  <a:gd name="T99" fmla="*/ 1018 h 1790"/>
                  <a:gd name="T100" fmla="*/ 1285 w 1455"/>
                  <a:gd name="T101" fmla="*/ 1101 h 1790"/>
                  <a:gd name="T102" fmla="*/ 1314 w 1455"/>
                  <a:gd name="T103" fmla="*/ 1183 h 1790"/>
                  <a:gd name="T104" fmla="*/ 1340 w 1455"/>
                  <a:gd name="T105" fmla="*/ 1264 h 1790"/>
                  <a:gd name="T106" fmla="*/ 1373 w 1455"/>
                  <a:gd name="T107" fmla="*/ 1380 h 1790"/>
                  <a:gd name="T108" fmla="*/ 1407 w 1455"/>
                  <a:gd name="T109" fmla="*/ 1519 h 1790"/>
                  <a:gd name="T110" fmla="*/ 1431 w 1455"/>
                  <a:gd name="T111" fmla="*/ 1636 h 1790"/>
                  <a:gd name="T112" fmla="*/ 1446 w 1455"/>
                  <a:gd name="T113" fmla="*/ 1721 h 1790"/>
                  <a:gd name="T114" fmla="*/ 1453 w 1455"/>
                  <a:gd name="T115" fmla="*/ 1768 h 1790"/>
                  <a:gd name="T116" fmla="*/ 1455 w 1455"/>
                  <a:gd name="T117" fmla="*/ 1780 h 1790"/>
                  <a:gd name="T118" fmla="*/ 1448 w 1455"/>
                  <a:gd name="T119" fmla="*/ 1788 h 1790"/>
                  <a:gd name="T120" fmla="*/ 1442 w 1455"/>
                  <a:gd name="T121" fmla="*/ 179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5" h="1790">
                    <a:moveTo>
                      <a:pt x="1442" y="1790"/>
                    </a:moveTo>
                    <a:lnTo>
                      <a:pt x="1436" y="1789"/>
                    </a:lnTo>
                    <a:lnTo>
                      <a:pt x="1432" y="1787"/>
                    </a:lnTo>
                    <a:lnTo>
                      <a:pt x="1430" y="1784"/>
                    </a:lnTo>
                    <a:lnTo>
                      <a:pt x="1428" y="1778"/>
                    </a:lnTo>
                    <a:lnTo>
                      <a:pt x="1427" y="1772"/>
                    </a:lnTo>
                    <a:lnTo>
                      <a:pt x="1424" y="1753"/>
                    </a:lnTo>
                    <a:lnTo>
                      <a:pt x="1420" y="1724"/>
                    </a:lnTo>
                    <a:lnTo>
                      <a:pt x="1414" y="1686"/>
                    </a:lnTo>
                    <a:lnTo>
                      <a:pt x="1405" y="1640"/>
                    </a:lnTo>
                    <a:lnTo>
                      <a:pt x="1393" y="1586"/>
                    </a:lnTo>
                    <a:lnTo>
                      <a:pt x="1380" y="1524"/>
                    </a:lnTo>
                    <a:lnTo>
                      <a:pt x="1365" y="1459"/>
                    </a:lnTo>
                    <a:lnTo>
                      <a:pt x="1347" y="1386"/>
                    </a:lnTo>
                    <a:lnTo>
                      <a:pt x="1325" y="1311"/>
                    </a:lnTo>
                    <a:lnTo>
                      <a:pt x="1314" y="1272"/>
                    </a:lnTo>
                    <a:lnTo>
                      <a:pt x="1301" y="1232"/>
                    </a:lnTo>
                    <a:lnTo>
                      <a:pt x="1288" y="1192"/>
                    </a:lnTo>
                    <a:lnTo>
                      <a:pt x="1275" y="1152"/>
                    </a:lnTo>
                    <a:lnTo>
                      <a:pt x="1260" y="1111"/>
                    </a:lnTo>
                    <a:lnTo>
                      <a:pt x="1245" y="1070"/>
                    </a:lnTo>
                    <a:lnTo>
                      <a:pt x="1229" y="1028"/>
                    </a:lnTo>
                    <a:lnTo>
                      <a:pt x="1212" y="987"/>
                    </a:lnTo>
                    <a:lnTo>
                      <a:pt x="1194" y="946"/>
                    </a:lnTo>
                    <a:lnTo>
                      <a:pt x="1176" y="905"/>
                    </a:lnTo>
                    <a:lnTo>
                      <a:pt x="1157" y="865"/>
                    </a:lnTo>
                    <a:lnTo>
                      <a:pt x="1136" y="825"/>
                    </a:lnTo>
                    <a:lnTo>
                      <a:pt x="1087" y="736"/>
                    </a:lnTo>
                    <a:lnTo>
                      <a:pt x="1039" y="654"/>
                    </a:lnTo>
                    <a:lnTo>
                      <a:pt x="989" y="580"/>
                    </a:lnTo>
                    <a:lnTo>
                      <a:pt x="941" y="510"/>
                    </a:lnTo>
                    <a:lnTo>
                      <a:pt x="891" y="447"/>
                    </a:lnTo>
                    <a:lnTo>
                      <a:pt x="842" y="389"/>
                    </a:lnTo>
                    <a:lnTo>
                      <a:pt x="794" y="337"/>
                    </a:lnTo>
                    <a:lnTo>
                      <a:pt x="745" y="290"/>
                    </a:lnTo>
                    <a:lnTo>
                      <a:pt x="698" y="247"/>
                    </a:lnTo>
                    <a:lnTo>
                      <a:pt x="650" y="210"/>
                    </a:lnTo>
                    <a:lnTo>
                      <a:pt x="604" y="176"/>
                    </a:lnTo>
                    <a:lnTo>
                      <a:pt x="558" y="147"/>
                    </a:lnTo>
                    <a:lnTo>
                      <a:pt x="513" y="121"/>
                    </a:lnTo>
                    <a:lnTo>
                      <a:pt x="470" y="100"/>
                    </a:lnTo>
                    <a:lnTo>
                      <a:pt x="428" y="81"/>
                    </a:lnTo>
                    <a:lnTo>
                      <a:pt x="387" y="66"/>
                    </a:lnTo>
                    <a:lnTo>
                      <a:pt x="347" y="54"/>
                    </a:lnTo>
                    <a:lnTo>
                      <a:pt x="309" y="45"/>
                    </a:lnTo>
                    <a:lnTo>
                      <a:pt x="273" y="37"/>
                    </a:lnTo>
                    <a:lnTo>
                      <a:pt x="239" y="32"/>
                    </a:lnTo>
                    <a:lnTo>
                      <a:pt x="207" y="28"/>
                    </a:lnTo>
                    <a:lnTo>
                      <a:pt x="177" y="27"/>
                    </a:lnTo>
                    <a:lnTo>
                      <a:pt x="149" y="26"/>
                    </a:lnTo>
                    <a:lnTo>
                      <a:pt x="123" y="27"/>
                    </a:lnTo>
                    <a:lnTo>
                      <a:pt x="100" y="29"/>
                    </a:lnTo>
                    <a:lnTo>
                      <a:pt x="80" y="32"/>
                    </a:lnTo>
                    <a:lnTo>
                      <a:pt x="62" y="34"/>
                    </a:lnTo>
                    <a:lnTo>
                      <a:pt x="48" y="37"/>
                    </a:lnTo>
                    <a:lnTo>
                      <a:pt x="26" y="41"/>
                    </a:lnTo>
                    <a:lnTo>
                      <a:pt x="18" y="45"/>
                    </a:lnTo>
                    <a:lnTo>
                      <a:pt x="13" y="45"/>
                    </a:lnTo>
                    <a:lnTo>
                      <a:pt x="8" y="43"/>
                    </a:lnTo>
                    <a:lnTo>
                      <a:pt x="4" y="40"/>
                    </a:lnTo>
                    <a:lnTo>
                      <a:pt x="1" y="36"/>
                    </a:lnTo>
                    <a:lnTo>
                      <a:pt x="0" y="30"/>
                    </a:lnTo>
                    <a:lnTo>
                      <a:pt x="2" y="25"/>
                    </a:lnTo>
                    <a:lnTo>
                      <a:pt x="4" y="22"/>
                    </a:lnTo>
                    <a:lnTo>
                      <a:pt x="10" y="19"/>
                    </a:lnTo>
                    <a:lnTo>
                      <a:pt x="17" y="16"/>
                    </a:lnTo>
                    <a:lnTo>
                      <a:pt x="39" y="11"/>
                    </a:lnTo>
                    <a:lnTo>
                      <a:pt x="55" y="8"/>
                    </a:lnTo>
                    <a:lnTo>
                      <a:pt x="73" y="6"/>
                    </a:lnTo>
                    <a:lnTo>
                      <a:pt x="94" y="2"/>
                    </a:lnTo>
                    <a:lnTo>
                      <a:pt x="118" y="1"/>
                    </a:lnTo>
                    <a:lnTo>
                      <a:pt x="145" y="0"/>
                    </a:lnTo>
                    <a:lnTo>
                      <a:pt x="173" y="0"/>
                    </a:lnTo>
                    <a:lnTo>
                      <a:pt x="204" y="2"/>
                    </a:lnTo>
                    <a:lnTo>
                      <a:pt x="238" y="6"/>
                    </a:lnTo>
                    <a:lnTo>
                      <a:pt x="273" y="10"/>
                    </a:lnTo>
                    <a:lnTo>
                      <a:pt x="310" y="18"/>
                    </a:lnTo>
                    <a:lnTo>
                      <a:pt x="350" y="27"/>
                    </a:lnTo>
                    <a:lnTo>
                      <a:pt x="390" y="40"/>
                    </a:lnTo>
                    <a:lnTo>
                      <a:pt x="432" y="55"/>
                    </a:lnTo>
                    <a:lnTo>
                      <a:pt x="476" y="74"/>
                    </a:lnTo>
                    <a:lnTo>
                      <a:pt x="521" y="95"/>
                    </a:lnTo>
                    <a:lnTo>
                      <a:pt x="567" y="121"/>
                    </a:lnTo>
                    <a:lnTo>
                      <a:pt x="613" y="151"/>
                    </a:lnTo>
                    <a:lnTo>
                      <a:pt x="662" y="185"/>
                    </a:lnTo>
                    <a:lnTo>
                      <a:pt x="711" y="223"/>
                    </a:lnTo>
                    <a:lnTo>
                      <a:pt x="759" y="266"/>
                    </a:lnTo>
                    <a:lnTo>
                      <a:pt x="809" y="314"/>
                    </a:lnTo>
                    <a:lnTo>
                      <a:pt x="860" y="367"/>
                    </a:lnTo>
                    <a:lnTo>
                      <a:pt x="909" y="427"/>
                    </a:lnTo>
                    <a:lnTo>
                      <a:pt x="960" y="491"/>
                    </a:lnTo>
                    <a:lnTo>
                      <a:pt x="1010" y="562"/>
                    </a:lnTo>
                    <a:lnTo>
                      <a:pt x="1060" y="639"/>
                    </a:lnTo>
                    <a:lnTo>
                      <a:pt x="1110" y="722"/>
                    </a:lnTo>
                    <a:lnTo>
                      <a:pt x="1160" y="812"/>
                    </a:lnTo>
                    <a:lnTo>
                      <a:pt x="1180" y="853"/>
                    </a:lnTo>
                    <a:lnTo>
                      <a:pt x="1200" y="894"/>
                    </a:lnTo>
                    <a:lnTo>
                      <a:pt x="1219" y="935"/>
                    </a:lnTo>
                    <a:lnTo>
                      <a:pt x="1236" y="976"/>
                    </a:lnTo>
                    <a:lnTo>
                      <a:pt x="1254" y="1018"/>
                    </a:lnTo>
                    <a:lnTo>
                      <a:pt x="1270" y="1059"/>
                    </a:lnTo>
                    <a:lnTo>
                      <a:pt x="1285" y="1101"/>
                    </a:lnTo>
                    <a:lnTo>
                      <a:pt x="1300" y="1142"/>
                    </a:lnTo>
                    <a:lnTo>
                      <a:pt x="1314" y="1183"/>
                    </a:lnTo>
                    <a:lnTo>
                      <a:pt x="1327" y="1224"/>
                    </a:lnTo>
                    <a:lnTo>
                      <a:pt x="1340" y="1264"/>
                    </a:lnTo>
                    <a:lnTo>
                      <a:pt x="1351" y="1303"/>
                    </a:lnTo>
                    <a:lnTo>
                      <a:pt x="1373" y="1380"/>
                    </a:lnTo>
                    <a:lnTo>
                      <a:pt x="1391" y="1452"/>
                    </a:lnTo>
                    <a:lnTo>
                      <a:pt x="1407" y="1519"/>
                    </a:lnTo>
                    <a:lnTo>
                      <a:pt x="1420" y="1581"/>
                    </a:lnTo>
                    <a:lnTo>
                      <a:pt x="1431" y="1636"/>
                    </a:lnTo>
                    <a:lnTo>
                      <a:pt x="1439" y="1682"/>
                    </a:lnTo>
                    <a:lnTo>
                      <a:pt x="1446" y="1721"/>
                    </a:lnTo>
                    <a:lnTo>
                      <a:pt x="1451" y="1749"/>
                    </a:lnTo>
                    <a:lnTo>
                      <a:pt x="1453" y="1768"/>
                    </a:lnTo>
                    <a:lnTo>
                      <a:pt x="1455" y="1775"/>
                    </a:lnTo>
                    <a:lnTo>
                      <a:pt x="1455" y="1780"/>
                    </a:lnTo>
                    <a:lnTo>
                      <a:pt x="1452" y="1785"/>
                    </a:lnTo>
                    <a:lnTo>
                      <a:pt x="1448" y="1788"/>
                    </a:lnTo>
                    <a:lnTo>
                      <a:pt x="1443" y="1790"/>
                    </a:lnTo>
                    <a:lnTo>
                      <a:pt x="1442" y="1790"/>
                    </a:lnTo>
                    <a:lnTo>
                      <a:pt x="1442" y="1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0"/>
              <p:cNvSpPr>
                <a:spLocks/>
              </p:cNvSpPr>
              <p:nvPr userDrawn="1"/>
            </p:nvSpPr>
            <p:spPr bwMode="auto">
              <a:xfrm>
                <a:off x="361" y="3061"/>
                <a:ext cx="1739" cy="1259"/>
              </a:xfrm>
              <a:custGeom>
                <a:avLst/>
                <a:gdLst>
                  <a:gd name="T0" fmla="*/ 143 w 5215"/>
                  <a:gd name="T1" fmla="*/ 3596 h 3777"/>
                  <a:gd name="T2" fmla="*/ 426 w 5215"/>
                  <a:gd name="T3" fmla="*/ 3223 h 3777"/>
                  <a:gd name="T4" fmla="*/ 754 w 5215"/>
                  <a:gd name="T5" fmla="*/ 2771 h 3777"/>
                  <a:gd name="T6" fmla="*/ 922 w 5215"/>
                  <a:gd name="T7" fmla="*/ 2528 h 3777"/>
                  <a:gd name="T8" fmla="*/ 1086 w 5215"/>
                  <a:gd name="T9" fmla="*/ 2282 h 3777"/>
                  <a:gd name="T10" fmla="*/ 1241 w 5215"/>
                  <a:gd name="T11" fmla="*/ 2037 h 3777"/>
                  <a:gd name="T12" fmla="*/ 1380 w 5215"/>
                  <a:gd name="T13" fmla="*/ 1799 h 3777"/>
                  <a:gd name="T14" fmla="*/ 1499 w 5215"/>
                  <a:gd name="T15" fmla="*/ 1574 h 3777"/>
                  <a:gd name="T16" fmla="*/ 1636 w 5215"/>
                  <a:gd name="T17" fmla="*/ 1299 h 3777"/>
                  <a:gd name="T18" fmla="*/ 1795 w 5215"/>
                  <a:gd name="T19" fmla="*/ 1034 h 3777"/>
                  <a:gd name="T20" fmla="*/ 1956 w 5215"/>
                  <a:gd name="T21" fmla="*/ 817 h 3777"/>
                  <a:gd name="T22" fmla="*/ 2118 w 5215"/>
                  <a:gd name="T23" fmla="*/ 641 h 3777"/>
                  <a:gd name="T24" fmla="*/ 2275 w 5215"/>
                  <a:gd name="T25" fmla="*/ 503 h 3777"/>
                  <a:gd name="T26" fmla="*/ 2426 w 5215"/>
                  <a:gd name="T27" fmla="*/ 398 h 3777"/>
                  <a:gd name="T28" fmla="*/ 2568 w 5215"/>
                  <a:gd name="T29" fmla="*/ 322 h 3777"/>
                  <a:gd name="T30" fmla="*/ 2696 w 5215"/>
                  <a:gd name="T31" fmla="*/ 270 h 3777"/>
                  <a:gd name="T32" fmla="*/ 2808 w 5215"/>
                  <a:gd name="T33" fmla="*/ 236 h 3777"/>
                  <a:gd name="T34" fmla="*/ 2899 w 5215"/>
                  <a:gd name="T35" fmla="*/ 219 h 3777"/>
                  <a:gd name="T36" fmla="*/ 2969 w 5215"/>
                  <a:gd name="T37" fmla="*/ 211 h 3777"/>
                  <a:gd name="T38" fmla="*/ 3321 w 5215"/>
                  <a:gd name="T39" fmla="*/ 183 h 3777"/>
                  <a:gd name="T40" fmla="*/ 3844 w 5215"/>
                  <a:gd name="T41" fmla="*/ 135 h 3777"/>
                  <a:gd name="T42" fmla="*/ 4413 w 5215"/>
                  <a:gd name="T43" fmla="*/ 80 h 3777"/>
                  <a:gd name="T44" fmla="*/ 4899 w 5215"/>
                  <a:gd name="T45" fmla="*/ 30 h 3777"/>
                  <a:gd name="T46" fmla="*/ 5176 w 5215"/>
                  <a:gd name="T47" fmla="*/ 2 h 3777"/>
                  <a:gd name="T48" fmla="*/ 5209 w 5215"/>
                  <a:gd name="T49" fmla="*/ 3 h 3777"/>
                  <a:gd name="T50" fmla="*/ 5213 w 5215"/>
                  <a:gd name="T51" fmla="*/ 17 h 3777"/>
                  <a:gd name="T52" fmla="*/ 5203 w 5215"/>
                  <a:gd name="T53" fmla="*/ 27 h 3777"/>
                  <a:gd name="T54" fmla="*/ 5023 w 5215"/>
                  <a:gd name="T55" fmla="*/ 45 h 3777"/>
                  <a:gd name="T56" fmla="*/ 4594 w 5215"/>
                  <a:gd name="T57" fmla="*/ 88 h 3777"/>
                  <a:gd name="T58" fmla="*/ 4038 w 5215"/>
                  <a:gd name="T59" fmla="*/ 143 h 3777"/>
                  <a:gd name="T60" fmla="*/ 3485 w 5215"/>
                  <a:gd name="T61" fmla="*/ 196 h 3777"/>
                  <a:gd name="T62" fmla="*/ 3061 w 5215"/>
                  <a:gd name="T63" fmla="*/ 233 h 3777"/>
                  <a:gd name="T64" fmla="*/ 2892 w 5215"/>
                  <a:gd name="T65" fmla="*/ 247 h 3777"/>
                  <a:gd name="T66" fmla="*/ 2769 w 5215"/>
                  <a:gd name="T67" fmla="*/ 274 h 3777"/>
                  <a:gd name="T68" fmla="*/ 2638 w 5215"/>
                  <a:gd name="T69" fmla="*/ 321 h 3777"/>
                  <a:gd name="T70" fmla="*/ 2502 w 5215"/>
                  <a:gd name="T71" fmla="*/ 387 h 3777"/>
                  <a:gd name="T72" fmla="*/ 2364 w 5215"/>
                  <a:gd name="T73" fmla="*/ 475 h 3777"/>
                  <a:gd name="T74" fmla="*/ 2223 w 5215"/>
                  <a:gd name="T75" fmla="*/ 585 h 3777"/>
                  <a:gd name="T76" fmla="*/ 2083 w 5215"/>
                  <a:gd name="T77" fmla="*/ 719 h 3777"/>
                  <a:gd name="T78" fmla="*/ 1945 w 5215"/>
                  <a:gd name="T79" fmla="*/ 879 h 3777"/>
                  <a:gd name="T80" fmla="*/ 1810 w 5215"/>
                  <a:gd name="T81" fmla="*/ 1063 h 3777"/>
                  <a:gd name="T82" fmla="*/ 1680 w 5215"/>
                  <a:gd name="T83" fmla="*/ 1275 h 3777"/>
                  <a:gd name="T84" fmla="*/ 1558 w 5215"/>
                  <a:gd name="T85" fmla="*/ 1514 h 3777"/>
                  <a:gd name="T86" fmla="*/ 1448 w 5215"/>
                  <a:gd name="T87" fmla="*/ 1731 h 3777"/>
                  <a:gd name="T88" fmla="*/ 1318 w 5215"/>
                  <a:gd name="T89" fmla="*/ 1962 h 3777"/>
                  <a:gd name="T90" fmla="*/ 1170 w 5215"/>
                  <a:gd name="T91" fmla="*/ 2203 h 3777"/>
                  <a:gd name="T92" fmla="*/ 1011 w 5215"/>
                  <a:gd name="T93" fmla="*/ 2446 h 3777"/>
                  <a:gd name="T94" fmla="*/ 845 w 5215"/>
                  <a:gd name="T95" fmla="*/ 2689 h 3777"/>
                  <a:gd name="T96" fmla="*/ 569 w 5215"/>
                  <a:gd name="T97" fmla="*/ 3074 h 3777"/>
                  <a:gd name="T98" fmla="*/ 267 w 5215"/>
                  <a:gd name="T99" fmla="*/ 3478 h 3777"/>
                  <a:gd name="T100" fmla="*/ 35 w 5215"/>
                  <a:gd name="T101" fmla="*/ 3777 h 3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15" h="3777">
                    <a:moveTo>
                      <a:pt x="0" y="3777"/>
                    </a:moveTo>
                    <a:lnTo>
                      <a:pt x="66" y="3694"/>
                    </a:lnTo>
                    <a:lnTo>
                      <a:pt x="143" y="3596"/>
                    </a:lnTo>
                    <a:lnTo>
                      <a:pt x="229" y="3483"/>
                    </a:lnTo>
                    <a:lnTo>
                      <a:pt x="324" y="3358"/>
                    </a:lnTo>
                    <a:lnTo>
                      <a:pt x="426" y="3223"/>
                    </a:lnTo>
                    <a:lnTo>
                      <a:pt x="532" y="3080"/>
                    </a:lnTo>
                    <a:lnTo>
                      <a:pt x="643" y="2927"/>
                    </a:lnTo>
                    <a:lnTo>
                      <a:pt x="754" y="2771"/>
                    </a:lnTo>
                    <a:lnTo>
                      <a:pt x="811" y="2691"/>
                    </a:lnTo>
                    <a:lnTo>
                      <a:pt x="867" y="2610"/>
                    </a:lnTo>
                    <a:lnTo>
                      <a:pt x="922" y="2528"/>
                    </a:lnTo>
                    <a:lnTo>
                      <a:pt x="978" y="2446"/>
                    </a:lnTo>
                    <a:lnTo>
                      <a:pt x="1032" y="2364"/>
                    </a:lnTo>
                    <a:lnTo>
                      <a:pt x="1086" y="2282"/>
                    </a:lnTo>
                    <a:lnTo>
                      <a:pt x="1139" y="2200"/>
                    </a:lnTo>
                    <a:lnTo>
                      <a:pt x="1191" y="2118"/>
                    </a:lnTo>
                    <a:lnTo>
                      <a:pt x="1241" y="2037"/>
                    </a:lnTo>
                    <a:lnTo>
                      <a:pt x="1289" y="1956"/>
                    </a:lnTo>
                    <a:lnTo>
                      <a:pt x="1336" y="1877"/>
                    </a:lnTo>
                    <a:lnTo>
                      <a:pt x="1380" y="1799"/>
                    </a:lnTo>
                    <a:lnTo>
                      <a:pt x="1422" y="1723"/>
                    </a:lnTo>
                    <a:lnTo>
                      <a:pt x="1462" y="1647"/>
                    </a:lnTo>
                    <a:lnTo>
                      <a:pt x="1499" y="1574"/>
                    </a:lnTo>
                    <a:lnTo>
                      <a:pt x="1533" y="1503"/>
                    </a:lnTo>
                    <a:lnTo>
                      <a:pt x="1584" y="1398"/>
                    </a:lnTo>
                    <a:lnTo>
                      <a:pt x="1636" y="1299"/>
                    </a:lnTo>
                    <a:lnTo>
                      <a:pt x="1688" y="1206"/>
                    </a:lnTo>
                    <a:lnTo>
                      <a:pt x="1741" y="1117"/>
                    </a:lnTo>
                    <a:lnTo>
                      <a:pt x="1795" y="1034"/>
                    </a:lnTo>
                    <a:lnTo>
                      <a:pt x="1848" y="957"/>
                    </a:lnTo>
                    <a:lnTo>
                      <a:pt x="1902" y="884"/>
                    </a:lnTo>
                    <a:lnTo>
                      <a:pt x="1956" y="817"/>
                    </a:lnTo>
                    <a:lnTo>
                      <a:pt x="2010" y="753"/>
                    </a:lnTo>
                    <a:lnTo>
                      <a:pt x="2064" y="695"/>
                    </a:lnTo>
                    <a:lnTo>
                      <a:pt x="2118" y="641"/>
                    </a:lnTo>
                    <a:lnTo>
                      <a:pt x="2171" y="591"/>
                    </a:lnTo>
                    <a:lnTo>
                      <a:pt x="2223" y="545"/>
                    </a:lnTo>
                    <a:lnTo>
                      <a:pt x="2275" y="503"/>
                    </a:lnTo>
                    <a:lnTo>
                      <a:pt x="2327" y="464"/>
                    </a:lnTo>
                    <a:lnTo>
                      <a:pt x="2378" y="430"/>
                    </a:lnTo>
                    <a:lnTo>
                      <a:pt x="2426" y="398"/>
                    </a:lnTo>
                    <a:lnTo>
                      <a:pt x="2475" y="369"/>
                    </a:lnTo>
                    <a:lnTo>
                      <a:pt x="2523" y="344"/>
                    </a:lnTo>
                    <a:lnTo>
                      <a:pt x="2568" y="322"/>
                    </a:lnTo>
                    <a:lnTo>
                      <a:pt x="2612" y="302"/>
                    </a:lnTo>
                    <a:lnTo>
                      <a:pt x="2655" y="284"/>
                    </a:lnTo>
                    <a:lnTo>
                      <a:pt x="2696" y="270"/>
                    </a:lnTo>
                    <a:lnTo>
                      <a:pt x="2735" y="257"/>
                    </a:lnTo>
                    <a:lnTo>
                      <a:pt x="2773" y="246"/>
                    </a:lnTo>
                    <a:lnTo>
                      <a:pt x="2808" y="236"/>
                    </a:lnTo>
                    <a:lnTo>
                      <a:pt x="2841" y="229"/>
                    </a:lnTo>
                    <a:lnTo>
                      <a:pt x="2871" y="223"/>
                    </a:lnTo>
                    <a:lnTo>
                      <a:pt x="2899" y="219"/>
                    </a:lnTo>
                    <a:lnTo>
                      <a:pt x="2925" y="216"/>
                    </a:lnTo>
                    <a:lnTo>
                      <a:pt x="2949" y="214"/>
                    </a:lnTo>
                    <a:lnTo>
                      <a:pt x="2969" y="211"/>
                    </a:lnTo>
                    <a:lnTo>
                      <a:pt x="3059" y="206"/>
                    </a:lnTo>
                    <a:lnTo>
                      <a:pt x="3178" y="196"/>
                    </a:lnTo>
                    <a:lnTo>
                      <a:pt x="3321" y="183"/>
                    </a:lnTo>
                    <a:lnTo>
                      <a:pt x="3483" y="169"/>
                    </a:lnTo>
                    <a:lnTo>
                      <a:pt x="3659" y="153"/>
                    </a:lnTo>
                    <a:lnTo>
                      <a:pt x="3844" y="135"/>
                    </a:lnTo>
                    <a:lnTo>
                      <a:pt x="4035" y="116"/>
                    </a:lnTo>
                    <a:lnTo>
                      <a:pt x="4227" y="98"/>
                    </a:lnTo>
                    <a:lnTo>
                      <a:pt x="4413" y="80"/>
                    </a:lnTo>
                    <a:lnTo>
                      <a:pt x="4590" y="61"/>
                    </a:lnTo>
                    <a:lnTo>
                      <a:pt x="4755" y="45"/>
                    </a:lnTo>
                    <a:lnTo>
                      <a:pt x="4899" y="30"/>
                    </a:lnTo>
                    <a:lnTo>
                      <a:pt x="5021" y="18"/>
                    </a:lnTo>
                    <a:lnTo>
                      <a:pt x="5115" y="9"/>
                    </a:lnTo>
                    <a:lnTo>
                      <a:pt x="5176" y="2"/>
                    </a:lnTo>
                    <a:lnTo>
                      <a:pt x="5199" y="0"/>
                    </a:lnTo>
                    <a:lnTo>
                      <a:pt x="5205" y="0"/>
                    </a:lnTo>
                    <a:lnTo>
                      <a:pt x="5209" y="3"/>
                    </a:lnTo>
                    <a:lnTo>
                      <a:pt x="5212" y="6"/>
                    </a:lnTo>
                    <a:lnTo>
                      <a:pt x="5215" y="12"/>
                    </a:lnTo>
                    <a:lnTo>
                      <a:pt x="5213" y="17"/>
                    </a:lnTo>
                    <a:lnTo>
                      <a:pt x="5211" y="21"/>
                    </a:lnTo>
                    <a:lnTo>
                      <a:pt x="5207" y="25"/>
                    </a:lnTo>
                    <a:lnTo>
                      <a:pt x="5203" y="27"/>
                    </a:lnTo>
                    <a:lnTo>
                      <a:pt x="5179" y="29"/>
                    </a:lnTo>
                    <a:lnTo>
                      <a:pt x="5117" y="36"/>
                    </a:lnTo>
                    <a:lnTo>
                      <a:pt x="5023" y="45"/>
                    </a:lnTo>
                    <a:lnTo>
                      <a:pt x="4901" y="57"/>
                    </a:lnTo>
                    <a:lnTo>
                      <a:pt x="4757" y="72"/>
                    </a:lnTo>
                    <a:lnTo>
                      <a:pt x="4594" y="88"/>
                    </a:lnTo>
                    <a:lnTo>
                      <a:pt x="4415" y="107"/>
                    </a:lnTo>
                    <a:lnTo>
                      <a:pt x="4229" y="125"/>
                    </a:lnTo>
                    <a:lnTo>
                      <a:pt x="4038" y="143"/>
                    </a:lnTo>
                    <a:lnTo>
                      <a:pt x="3846" y="162"/>
                    </a:lnTo>
                    <a:lnTo>
                      <a:pt x="3661" y="180"/>
                    </a:lnTo>
                    <a:lnTo>
                      <a:pt x="3485" y="196"/>
                    </a:lnTo>
                    <a:lnTo>
                      <a:pt x="3323" y="210"/>
                    </a:lnTo>
                    <a:lnTo>
                      <a:pt x="3180" y="223"/>
                    </a:lnTo>
                    <a:lnTo>
                      <a:pt x="3061" y="233"/>
                    </a:lnTo>
                    <a:lnTo>
                      <a:pt x="2971" y="238"/>
                    </a:lnTo>
                    <a:lnTo>
                      <a:pt x="2932" y="242"/>
                    </a:lnTo>
                    <a:lnTo>
                      <a:pt x="2892" y="247"/>
                    </a:lnTo>
                    <a:lnTo>
                      <a:pt x="2852" y="254"/>
                    </a:lnTo>
                    <a:lnTo>
                      <a:pt x="2811" y="263"/>
                    </a:lnTo>
                    <a:lnTo>
                      <a:pt x="2769" y="274"/>
                    </a:lnTo>
                    <a:lnTo>
                      <a:pt x="2726" y="288"/>
                    </a:lnTo>
                    <a:lnTo>
                      <a:pt x="2682" y="303"/>
                    </a:lnTo>
                    <a:lnTo>
                      <a:pt x="2638" y="321"/>
                    </a:lnTo>
                    <a:lnTo>
                      <a:pt x="2593" y="341"/>
                    </a:lnTo>
                    <a:lnTo>
                      <a:pt x="2547" y="363"/>
                    </a:lnTo>
                    <a:lnTo>
                      <a:pt x="2502" y="387"/>
                    </a:lnTo>
                    <a:lnTo>
                      <a:pt x="2457" y="414"/>
                    </a:lnTo>
                    <a:lnTo>
                      <a:pt x="2410" y="444"/>
                    </a:lnTo>
                    <a:lnTo>
                      <a:pt x="2364" y="475"/>
                    </a:lnTo>
                    <a:lnTo>
                      <a:pt x="2316" y="509"/>
                    </a:lnTo>
                    <a:lnTo>
                      <a:pt x="2270" y="546"/>
                    </a:lnTo>
                    <a:lnTo>
                      <a:pt x="2223" y="585"/>
                    </a:lnTo>
                    <a:lnTo>
                      <a:pt x="2176" y="627"/>
                    </a:lnTo>
                    <a:lnTo>
                      <a:pt x="2130" y="672"/>
                    </a:lnTo>
                    <a:lnTo>
                      <a:pt x="2083" y="719"/>
                    </a:lnTo>
                    <a:lnTo>
                      <a:pt x="2037" y="770"/>
                    </a:lnTo>
                    <a:lnTo>
                      <a:pt x="1990" y="822"/>
                    </a:lnTo>
                    <a:lnTo>
                      <a:pt x="1945" y="879"/>
                    </a:lnTo>
                    <a:lnTo>
                      <a:pt x="1900" y="937"/>
                    </a:lnTo>
                    <a:lnTo>
                      <a:pt x="1854" y="998"/>
                    </a:lnTo>
                    <a:lnTo>
                      <a:pt x="1810" y="1063"/>
                    </a:lnTo>
                    <a:lnTo>
                      <a:pt x="1767" y="1130"/>
                    </a:lnTo>
                    <a:lnTo>
                      <a:pt x="1724" y="1200"/>
                    </a:lnTo>
                    <a:lnTo>
                      <a:pt x="1680" y="1275"/>
                    </a:lnTo>
                    <a:lnTo>
                      <a:pt x="1639" y="1351"/>
                    </a:lnTo>
                    <a:lnTo>
                      <a:pt x="1598" y="1431"/>
                    </a:lnTo>
                    <a:lnTo>
                      <a:pt x="1558" y="1514"/>
                    </a:lnTo>
                    <a:lnTo>
                      <a:pt x="1524" y="1585"/>
                    </a:lnTo>
                    <a:lnTo>
                      <a:pt x="1487" y="1657"/>
                    </a:lnTo>
                    <a:lnTo>
                      <a:pt x="1448" y="1731"/>
                    </a:lnTo>
                    <a:lnTo>
                      <a:pt x="1407" y="1807"/>
                    </a:lnTo>
                    <a:lnTo>
                      <a:pt x="1363" y="1885"/>
                    </a:lnTo>
                    <a:lnTo>
                      <a:pt x="1318" y="1962"/>
                    </a:lnTo>
                    <a:lnTo>
                      <a:pt x="1270" y="2042"/>
                    </a:lnTo>
                    <a:lnTo>
                      <a:pt x="1220" y="2122"/>
                    </a:lnTo>
                    <a:lnTo>
                      <a:pt x="1170" y="2203"/>
                    </a:lnTo>
                    <a:lnTo>
                      <a:pt x="1118" y="2284"/>
                    </a:lnTo>
                    <a:lnTo>
                      <a:pt x="1065" y="2365"/>
                    </a:lnTo>
                    <a:lnTo>
                      <a:pt x="1011" y="2446"/>
                    </a:lnTo>
                    <a:lnTo>
                      <a:pt x="956" y="2528"/>
                    </a:lnTo>
                    <a:lnTo>
                      <a:pt x="901" y="2608"/>
                    </a:lnTo>
                    <a:lnTo>
                      <a:pt x="845" y="2689"/>
                    </a:lnTo>
                    <a:lnTo>
                      <a:pt x="789" y="2768"/>
                    </a:lnTo>
                    <a:lnTo>
                      <a:pt x="678" y="2924"/>
                    </a:lnTo>
                    <a:lnTo>
                      <a:pt x="569" y="3074"/>
                    </a:lnTo>
                    <a:lnTo>
                      <a:pt x="463" y="3218"/>
                    </a:lnTo>
                    <a:lnTo>
                      <a:pt x="362" y="3353"/>
                    </a:lnTo>
                    <a:lnTo>
                      <a:pt x="267" y="3478"/>
                    </a:lnTo>
                    <a:lnTo>
                      <a:pt x="179" y="3591"/>
                    </a:lnTo>
                    <a:lnTo>
                      <a:pt x="102" y="3692"/>
                    </a:lnTo>
                    <a:lnTo>
                      <a:pt x="35" y="3777"/>
                    </a:lnTo>
                    <a:lnTo>
                      <a:pt x="0" y="3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01"/>
              <p:cNvSpPr>
                <a:spLocks/>
              </p:cNvSpPr>
              <p:nvPr userDrawn="1"/>
            </p:nvSpPr>
            <p:spPr bwMode="auto">
              <a:xfrm>
                <a:off x="501" y="3501"/>
                <a:ext cx="645" cy="819"/>
              </a:xfrm>
              <a:custGeom>
                <a:avLst/>
                <a:gdLst>
                  <a:gd name="T0" fmla="*/ 94 w 1936"/>
                  <a:gd name="T1" fmla="*/ 2352 h 2457"/>
                  <a:gd name="T2" fmla="*/ 334 w 1936"/>
                  <a:gd name="T3" fmla="*/ 2082 h 2457"/>
                  <a:gd name="T4" fmla="*/ 621 w 1936"/>
                  <a:gd name="T5" fmla="*/ 1752 h 2457"/>
                  <a:gd name="T6" fmla="*/ 931 w 1936"/>
                  <a:gd name="T7" fmla="*/ 1388 h 2457"/>
                  <a:gd name="T8" fmla="*/ 1162 w 1936"/>
                  <a:gd name="T9" fmla="*/ 1108 h 2457"/>
                  <a:gd name="T10" fmla="*/ 1310 w 1936"/>
                  <a:gd name="T11" fmla="*/ 923 h 2457"/>
                  <a:gd name="T12" fmla="*/ 1448 w 1936"/>
                  <a:gd name="T13" fmla="*/ 745 h 2457"/>
                  <a:gd name="T14" fmla="*/ 1574 w 1936"/>
                  <a:gd name="T15" fmla="*/ 575 h 2457"/>
                  <a:gd name="T16" fmla="*/ 1687 w 1936"/>
                  <a:gd name="T17" fmla="*/ 418 h 2457"/>
                  <a:gd name="T18" fmla="*/ 1780 w 1936"/>
                  <a:gd name="T19" fmla="*/ 276 h 2457"/>
                  <a:gd name="T20" fmla="*/ 1850 w 1936"/>
                  <a:gd name="T21" fmla="*/ 152 h 2457"/>
                  <a:gd name="T22" fmla="*/ 1896 w 1936"/>
                  <a:gd name="T23" fmla="*/ 51 h 2457"/>
                  <a:gd name="T24" fmla="*/ 1911 w 1936"/>
                  <a:gd name="T25" fmla="*/ 6 h 2457"/>
                  <a:gd name="T26" fmla="*/ 1920 w 1936"/>
                  <a:gd name="T27" fmla="*/ 0 h 2457"/>
                  <a:gd name="T28" fmla="*/ 1931 w 1936"/>
                  <a:gd name="T29" fmla="*/ 2 h 2457"/>
                  <a:gd name="T30" fmla="*/ 1936 w 1936"/>
                  <a:gd name="T31" fmla="*/ 11 h 2457"/>
                  <a:gd name="T32" fmla="*/ 1929 w 1936"/>
                  <a:gd name="T33" fmla="*/ 41 h 2457"/>
                  <a:gd name="T34" fmla="*/ 1906 w 1936"/>
                  <a:gd name="T35" fmla="*/ 98 h 2457"/>
                  <a:gd name="T36" fmla="*/ 1873 w 1936"/>
                  <a:gd name="T37" fmla="*/ 165 h 2457"/>
                  <a:gd name="T38" fmla="*/ 1831 w 1936"/>
                  <a:gd name="T39" fmla="*/ 240 h 2457"/>
                  <a:gd name="T40" fmla="*/ 1781 w 1936"/>
                  <a:gd name="T41" fmla="*/ 322 h 2457"/>
                  <a:gd name="T42" fmla="*/ 1722 w 1936"/>
                  <a:gd name="T43" fmla="*/ 410 h 2457"/>
                  <a:gd name="T44" fmla="*/ 1623 w 1936"/>
                  <a:gd name="T45" fmla="*/ 553 h 2457"/>
                  <a:gd name="T46" fmla="*/ 1471 w 1936"/>
                  <a:gd name="T47" fmla="*/ 758 h 2457"/>
                  <a:gd name="T48" fmla="*/ 1304 w 1936"/>
                  <a:gd name="T49" fmla="*/ 973 h 2457"/>
                  <a:gd name="T50" fmla="*/ 1130 w 1936"/>
                  <a:gd name="T51" fmla="*/ 1190 h 2457"/>
                  <a:gd name="T52" fmla="*/ 953 w 1936"/>
                  <a:gd name="T53" fmla="*/ 1403 h 2457"/>
                  <a:gd name="T54" fmla="*/ 813 w 1936"/>
                  <a:gd name="T55" fmla="*/ 1570 h 2457"/>
                  <a:gd name="T56" fmla="*/ 702 w 1936"/>
                  <a:gd name="T57" fmla="*/ 1700 h 2457"/>
                  <a:gd name="T58" fmla="*/ 589 w 1936"/>
                  <a:gd name="T59" fmla="*/ 1832 h 2457"/>
                  <a:gd name="T60" fmla="*/ 476 w 1936"/>
                  <a:gd name="T61" fmla="*/ 1962 h 2457"/>
                  <a:gd name="T62" fmla="*/ 366 w 1936"/>
                  <a:gd name="T63" fmla="*/ 2088 h 2457"/>
                  <a:gd name="T64" fmla="*/ 261 w 1936"/>
                  <a:gd name="T65" fmla="*/ 2207 h 2457"/>
                  <a:gd name="T66" fmla="*/ 164 w 1936"/>
                  <a:gd name="T67" fmla="*/ 2316 h 2457"/>
                  <a:gd name="T68" fmla="*/ 77 w 1936"/>
                  <a:gd name="T69" fmla="*/ 2414 h 2457"/>
                  <a:gd name="T70" fmla="*/ 0 w 1936"/>
                  <a:gd name="T71" fmla="*/ 2457 h 2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6" h="2457">
                    <a:moveTo>
                      <a:pt x="0" y="2457"/>
                    </a:moveTo>
                    <a:lnTo>
                      <a:pt x="94" y="2352"/>
                    </a:lnTo>
                    <a:lnTo>
                      <a:pt x="206" y="2227"/>
                    </a:lnTo>
                    <a:lnTo>
                      <a:pt x="334" y="2082"/>
                    </a:lnTo>
                    <a:lnTo>
                      <a:pt x="473" y="1924"/>
                    </a:lnTo>
                    <a:lnTo>
                      <a:pt x="621" y="1752"/>
                    </a:lnTo>
                    <a:lnTo>
                      <a:pt x="774" y="1573"/>
                    </a:lnTo>
                    <a:lnTo>
                      <a:pt x="931" y="1388"/>
                    </a:lnTo>
                    <a:lnTo>
                      <a:pt x="1085" y="1200"/>
                    </a:lnTo>
                    <a:lnTo>
                      <a:pt x="1162" y="1108"/>
                    </a:lnTo>
                    <a:lnTo>
                      <a:pt x="1236" y="1015"/>
                    </a:lnTo>
                    <a:lnTo>
                      <a:pt x="1310" y="923"/>
                    </a:lnTo>
                    <a:lnTo>
                      <a:pt x="1380" y="833"/>
                    </a:lnTo>
                    <a:lnTo>
                      <a:pt x="1448" y="745"/>
                    </a:lnTo>
                    <a:lnTo>
                      <a:pt x="1513" y="659"/>
                    </a:lnTo>
                    <a:lnTo>
                      <a:pt x="1574" y="575"/>
                    </a:lnTo>
                    <a:lnTo>
                      <a:pt x="1633" y="495"/>
                    </a:lnTo>
                    <a:lnTo>
                      <a:pt x="1687" y="418"/>
                    </a:lnTo>
                    <a:lnTo>
                      <a:pt x="1735" y="344"/>
                    </a:lnTo>
                    <a:lnTo>
                      <a:pt x="1780" y="276"/>
                    </a:lnTo>
                    <a:lnTo>
                      <a:pt x="1817" y="212"/>
                    </a:lnTo>
                    <a:lnTo>
                      <a:pt x="1850" y="152"/>
                    </a:lnTo>
                    <a:lnTo>
                      <a:pt x="1877" y="99"/>
                    </a:lnTo>
                    <a:lnTo>
                      <a:pt x="1896" y="51"/>
                    </a:lnTo>
                    <a:lnTo>
                      <a:pt x="1909" y="10"/>
                    </a:lnTo>
                    <a:lnTo>
                      <a:pt x="1911" y="6"/>
                    </a:lnTo>
                    <a:lnTo>
                      <a:pt x="1916" y="1"/>
                    </a:lnTo>
                    <a:lnTo>
                      <a:pt x="1920" y="0"/>
                    </a:lnTo>
                    <a:lnTo>
                      <a:pt x="1925" y="0"/>
                    </a:lnTo>
                    <a:lnTo>
                      <a:pt x="1931" y="2"/>
                    </a:lnTo>
                    <a:lnTo>
                      <a:pt x="1934" y="6"/>
                    </a:lnTo>
                    <a:lnTo>
                      <a:pt x="1936" y="11"/>
                    </a:lnTo>
                    <a:lnTo>
                      <a:pt x="1935" y="16"/>
                    </a:lnTo>
                    <a:lnTo>
                      <a:pt x="1929" y="41"/>
                    </a:lnTo>
                    <a:lnTo>
                      <a:pt x="1919" y="69"/>
                    </a:lnTo>
                    <a:lnTo>
                      <a:pt x="1906" y="98"/>
                    </a:lnTo>
                    <a:lnTo>
                      <a:pt x="1891" y="131"/>
                    </a:lnTo>
                    <a:lnTo>
                      <a:pt x="1873" y="165"/>
                    </a:lnTo>
                    <a:lnTo>
                      <a:pt x="1853" y="202"/>
                    </a:lnTo>
                    <a:lnTo>
                      <a:pt x="1831" y="240"/>
                    </a:lnTo>
                    <a:lnTo>
                      <a:pt x="1807" y="280"/>
                    </a:lnTo>
                    <a:lnTo>
                      <a:pt x="1781" y="322"/>
                    </a:lnTo>
                    <a:lnTo>
                      <a:pt x="1753" y="365"/>
                    </a:lnTo>
                    <a:lnTo>
                      <a:pt x="1722" y="410"/>
                    </a:lnTo>
                    <a:lnTo>
                      <a:pt x="1691" y="457"/>
                    </a:lnTo>
                    <a:lnTo>
                      <a:pt x="1623" y="553"/>
                    </a:lnTo>
                    <a:lnTo>
                      <a:pt x="1548" y="654"/>
                    </a:lnTo>
                    <a:lnTo>
                      <a:pt x="1471" y="758"/>
                    </a:lnTo>
                    <a:lnTo>
                      <a:pt x="1389" y="865"/>
                    </a:lnTo>
                    <a:lnTo>
                      <a:pt x="1304" y="973"/>
                    </a:lnTo>
                    <a:lnTo>
                      <a:pt x="1217" y="1082"/>
                    </a:lnTo>
                    <a:lnTo>
                      <a:pt x="1130" y="1190"/>
                    </a:lnTo>
                    <a:lnTo>
                      <a:pt x="1041" y="1298"/>
                    </a:lnTo>
                    <a:lnTo>
                      <a:pt x="953" y="1403"/>
                    </a:lnTo>
                    <a:lnTo>
                      <a:pt x="867" y="1506"/>
                    </a:lnTo>
                    <a:lnTo>
                      <a:pt x="813" y="1570"/>
                    </a:lnTo>
                    <a:lnTo>
                      <a:pt x="758" y="1634"/>
                    </a:lnTo>
                    <a:lnTo>
                      <a:pt x="702" y="1700"/>
                    </a:lnTo>
                    <a:lnTo>
                      <a:pt x="646" y="1766"/>
                    </a:lnTo>
                    <a:lnTo>
                      <a:pt x="589" y="1832"/>
                    </a:lnTo>
                    <a:lnTo>
                      <a:pt x="532" y="1897"/>
                    </a:lnTo>
                    <a:lnTo>
                      <a:pt x="476" y="1962"/>
                    </a:lnTo>
                    <a:lnTo>
                      <a:pt x="421" y="2025"/>
                    </a:lnTo>
                    <a:lnTo>
                      <a:pt x="366" y="2088"/>
                    </a:lnTo>
                    <a:lnTo>
                      <a:pt x="313" y="2148"/>
                    </a:lnTo>
                    <a:lnTo>
                      <a:pt x="261" y="2207"/>
                    </a:lnTo>
                    <a:lnTo>
                      <a:pt x="212" y="2263"/>
                    </a:lnTo>
                    <a:lnTo>
                      <a:pt x="164" y="2316"/>
                    </a:lnTo>
                    <a:lnTo>
                      <a:pt x="120" y="2366"/>
                    </a:lnTo>
                    <a:lnTo>
                      <a:pt x="77" y="2414"/>
                    </a:lnTo>
                    <a:lnTo>
                      <a:pt x="38" y="2457"/>
                    </a:lnTo>
                    <a:lnTo>
                      <a:pt x="0" y="24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02"/>
              <p:cNvSpPr>
                <a:spLocks/>
              </p:cNvSpPr>
              <p:nvPr userDrawn="1"/>
            </p:nvSpPr>
            <p:spPr bwMode="auto">
              <a:xfrm>
                <a:off x="374" y="3057"/>
                <a:ext cx="1067" cy="1253"/>
              </a:xfrm>
              <a:custGeom>
                <a:avLst/>
                <a:gdLst>
                  <a:gd name="T0" fmla="*/ 11 w 3200"/>
                  <a:gd name="T1" fmla="*/ 3759 h 3760"/>
                  <a:gd name="T2" fmla="*/ 3 w 3200"/>
                  <a:gd name="T3" fmla="*/ 3754 h 3760"/>
                  <a:gd name="T4" fmla="*/ 0 w 3200"/>
                  <a:gd name="T5" fmla="*/ 3746 h 3760"/>
                  <a:gd name="T6" fmla="*/ 14 w 3200"/>
                  <a:gd name="T7" fmla="*/ 3712 h 3760"/>
                  <a:gd name="T8" fmla="*/ 99 w 3200"/>
                  <a:gd name="T9" fmla="*/ 3532 h 3760"/>
                  <a:gd name="T10" fmla="*/ 246 w 3200"/>
                  <a:gd name="T11" fmla="*/ 3218 h 3760"/>
                  <a:gd name="T12" fmla="*/ 435 w 3200"/>
                  <a:gd name="T13" fmla="*/ 2813 h 3760"/>
                  <a:gd name="T14" fmla="*/ 649 w 3200"/>
                  <a:gd name="T15" fmla="*/ 2360 h 3760"/>
                  <a:gd name="T16" fmla="*/ 867 w 3200"/>
                  <a:gd name="T17" fmla="*/ 1900 h 3760"/>
                  <a:gd name="T18" fmla="*/ 1069 w 3200"/>
                  <a:gd name="T19" fmla="*/ 1476 h 3760"/>
                  <a:gd name="T20" fmla="*/ 1237 w 3200"/>
                  <a:gd name="T21" fmla="*/ 1129 h 3760"/>
                  <a:gd name="T22" fmla="*/ 1336 w 3200"/>
                  <a:gd name="T23" fmla="*/ 938 h 3760"/>
                  <a:gd name="T24" fmla="*/ 1422 w 3200"/>
                  <a:gd name="T25" fmla="*/ 825 h 3760"/>
                  <a:gd name="T26" fmla="*/ 1531 w 3200"/>
                  <a:gd name="T27" fmla="*/ 718 h 3760"/>
                  <a:gd name="T28" fmla="*/ 1660 w 3200"/>
                  <a:gd name="T29" fmla="*/ 619 h 3760"/>
                  <a:gd name="T30" fmla="*/ 1802 w 3200"/>
                  <a:gd name="T31" fmla="*/ 526 h 3760"/>
                  <a:gd name="T32" fmla="*/ 1955 w 3200"/>
                  <a:gd name="T33" fmla="*/ 440 h 3760"/>
                  <a:gd name="T34" fmla="*/ 2116 w 3200"/>
                  <a:gd name="T35" fmla="*/ 363 h 3760"/>
                  <a:gd name="T36" fmla="*/ 2278 w 3200"/>
                  <a:gd name="T37" fmla="*/ 291 h 3760"/>
                  <a:gd name="T38" fmla="*/ 2439 w 3200"/>
                  <a:gd name="T39" fmla="*/ 228 h 3760"/>
                  <a:gd name="T40" fmla="*/ 2595 w 3200"/>
                  <a:gd name="T41" fmla="*/ 173 h 3760"/>
                  <a:gd name="T42" fmla="*/ 2740 w 3200"/>
                  <a:gd name="T43" fmla="*/ 124 h 3760"/>
                  <a:gd name="T44" fmla="*/ 2872 w 3200"/>
                  <a:gd name="T45" fmla="*/ 83 h 3760"/>
                  <a:gd name="T46" fmla="*/ 3035 w 3200"/>
                  <a:gd name="T47" fmla="*/ 38 h 3760"/>
                  <a:gd name="T48" fmla="*/ 3167 w 3200"/>
                  <a:gd name="T49" fmla="*/ 4 h 3760"/>
                  <a:gd name="T50" fmla="*/ 3192 w 3200"/>
                  <a:gd name="T51" fmla="*/ 1 h 3760"/>
                  <a:gd name="T52" fmla="*/ 3199 w 3200"/>
                  <a:gd name="T53" fmla="*/ 9 h 3760"/>
                  <a:gd name="T54" fmla="*/ 3199 w 3200"/>
                  <a:gd name="T55" fmla="*/ 19 h 3760"/>
                  <a:gd name="T56" fmla="*/ 3192 w 3200"/>
                  <a:gd name="T57" fmla="*/ 26 h 3760"/>
                  <a:gd name="T58" fmla="*/ 3176 w 3200"/>
                  <a:gd name="T59" fmla="*/ 29 h 3760"/>
                  <a:gd name="T60" fmla="*/ 3130 w 3200"/>
                  <a:gd name="T61" fmla="*/ 39 h 3760"/>
                  <a:gd name="T62" fmla="*/ 3013 w 3200"/>
                  <a:gd name="T63" fmla="*/ 68 h 3760"/>
                  <a:gd name="T64" fmla="*/ 2846 w 3200"/>
                  <a:gd name="T65" fmla="*/ 117 h 3760"/>
                  <a:gd name="T66" fmla="*/ 2715 w 3200"/>
                  <a:gd name="T67" fmla="*/ 159 h 3760"/>
                  <a:gd name="T68" fmla="*/ 2571 w 3200"/>
                  <a:gd name="T69" fmla="*/ 207 h 3760"/>
                  <a:gd name="T70" fmla="*/ 2419 w 3200"/>
                  <a:gd name="T71" fmla="*/ 265 h 3760"/>
                  <a:gd name="T72" fmla="*/ 2262 w 3200"/>
                  <a:gd name="T73" fmla="*/ 328 h 3760"/>
                  <a:gd name="T74" fmla="*/ 2104 w 3200"/>
                  <a:gd name="T75" fmla="*/ 398 h 3760"/>
                  <a:gd name="T76" fmla="*/ 1950 w 3200"/>
                  <a:gd name="T77" fmla="*/ 476 h 3760"/>
                  <a:gd name="T78" fmla="*/ 1802 w 3200"/>
                  <a:gd name="T79" fmla="*/ 559 h 3760"/>
                  <a:gd name="T80" fmla="*/ 1666 w 3200"/>
                  <a:gd name="T81" fmla="*/ 650 h 3760"/>
                  <a:gd name="T82" fmla="*/ 1544 w 3200"/>
                  <a:gd name="T83" fmla="*/ 745 h 3760"/>
                  <a:gd name="T84" fmla="*/ 1439 w 3200"/>
                  <a:gd name="T85" fmla="*/ 846 h 3760"/>
                  <a:gd name="T86" fmla="*/ 1357 w 3200"/>
                  <a:gd name="T87" fmla="*/ 954 h 3760"/>
                  <a:gd name="T88" fmla="*/ 1261 w 3200"/>
                  <a:gd name="T89" fmla="*/ 1141 h 3760"/>
                  <a:gd name="T90" fmla="*/ 1094 w 3200"/>
                  <a:gd name="T91" fmla="*/ 1488 h 3760"/>
                  <a:gd name="T92" fmla="*/ 891 w 3200"/>
                  <a:gd name="T93" fmla="*/ 1912 h 3760"/>
                  <a:gd name="T94" fmla="*/ 674 w 3200"/>
                  <a:gd name="T95" fmla="*/ 2372 h 3760"/>
                  <a:gd name="T96" fmla="*/ 460 w 3200"/>
                  <a:gd name="T97" fmla="*/ 2825 h 3760"/>
                  <a:gd name="T98" fmla="*/ 270 w 3200"/>
                  <a:gd name="T99" fmla="*/ 3230 h 3760"/>
                  <a:gd name="T100" fmla="*/ 123 w 3200"/>
                  <a:gd name="T101" fmla="*/ 3543 h 3760"/>
                  <a:gd name="T102" fmla="*/ 39 w 3200"/>
                  <a:gd name="T103" fmla="*/ 3724 h 3760"/>
                  <a:gd name="T104" fmla="*/ 24 w 3200"/>
                  <a:gd name="T105" fmla="*/ 3754 h 3760"/>
                  <a:gd name="T106" fmla="*/ 17 w 3200"/>
                  <a:gd name="T107" fmla="*/ 3759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0" h="3760">
                    <a:moveTo>
                      <a:pt x="14" y="3760"/>
                    </a:moveTo>
                    <a:lnTo>
                      <a:pt x="11" y="3759"/>
                    </a:lnTo>
                    <a:lnTo>
                      <a:pt x="7" y="3758"/>
                    </a:lnTo>
                    <a:lnTo>
                      <a:pt x="3" y="3754"/>
                    </a:lnTo>
                    <a:lnTo>
                      <a:pt x="1" y="3750"/>
                    </a:lnTo>
                    <a:lnTo>
                      <a:pt x="0" y="3746"/>
                    </a:lnTo>
                    <a:lnTo>
                      <a:pt x="1" y="3740"/>
                    </a:lnTo>
                    <a:lnTo>
                      <a:pt x="14" y="3712"/>
                    </a:lnTo>
                    <a:lnTo>
                      <a:pt x="47" y="3641"/>
                    </a:lnTo>
                    <a:lnTo>
                      <a:pt x="99" y="3532"/>
                    </a:lnTo>
                    <a:lnTo>
                      <a:pt x="165" y="3389"/>
                    </a:lnTo>
                    <a:lnTo>
                      <a:pt x="246" y="3218"/>
                    </a:lnTo>
                    <a:lnTo>
                      <a:pt x="337" y="3025"/>
                    </a:lnTo>
                    <a:lnTo>
                      <a:pt x="435" y="2813"/>
                    </a:lnTo>
                    <a:lnTo>
                      <a:pt x="541" y="2591"/>
                    </a:lnTo>
                    <a:lnTo>
                      <a:pt x="649" y="2360"/>
                    </a:lnTo>
                    <a:lnTo>
                      <a:pt x="759" y="2129"/>
                    </a:lnTo>
                    <a:lnTo>
                      <a:pt x="867" y="1900"/>
                    </a:lnTo>
                    <a:lnTo>
                      <a:pt x="971" y="1681"/>
                    </a:lnTo>
                    <a:lnTo>
                      <a:pt x="1069" y="1476"/>
                    </a:lnTo>
                    <a:lnTo>
                      <a:pt x="1159" y="1290"/>
                    </a:lnTo>
                    <a:lnTo>
                      <a:pt x="1237" y="1129"/>
                    </a:lnTo>
                    <a:lnTo>
                      <a:pt x="1302" y="997"/>
                    </a:lnTo>
                    <a:lnTo>
                      <a:pt x="1336" y="938"/>
                    </a:lnTo>
                    <a:lnTo>
                      <a:pt x="1376" y="881"/>
                    </a:lnTo>
                    <a:lnTo>
                      <a:pt x="1422" y="825"/>
                    </a:lnTo>
                    <a:lnTo>
                      <a:pt x="1474" y="771"/>
                    </a:lnTo>
                    <a:lnTo>
                      <a:pt x="1531" y="718"/>
                    </a:lnTo>
                    <a:lnTo>
                      <a:pt x="1594" y="668"/>
                    </a:lnTo>
                    <a:lnTo>
                      <a:pt x="1660" y="619"/>
                    </a:lnTo>
                    <a:lnTo>
                      <a:pt x="1730" y="572"/>
                    </a:lnTo>
                    <a:lnTo>
                      <a:pt x="1802" y="526"/>
                    </a:lnTo>
                    <a:lnTo>
                      <a:pt x="1878" y="483"/>
                    </a:lnTo>
                    <a:lnTo>
                      <a:pt x="1955" y="440"/>
                    </a:lnTo>
                    <a:lnTo>
                      <a:pt x="2035" y="401"/>
                    </a:lnTo>
                    <a:lnTo>
                      <a:pt x="2116" y="363"/>
                    </a:lnTo>
                    <a:lnTo>
                      <a:pt x="2197" y="326"/>
                    </a:lnTo>
                    <a:lnTo>
                      <a:pt x="2278" y="291"/>
                    </a:lnTo>
                    <a:lnTo>
                      <a:pt x="2359" y="259"/>
                    </a:lnTo>
                    <a:lnTo>
                      <a:pt x="2439" y="228"/>
                    </a:lnTo>
                    <a:lnTo>
                      <a:pt x="2518" y="200"/>
                    </a:lnTo>
                    <a:lnTo>
                      <a:pt x="2595" y="173"/>
                    </a:lnTo>
                    <a:lnTo>
                      <a:pt x="2669" y="147"/>
                    </a:lnTo>
                    <a:lnTo>
                      <a:pt x="2740" y="124"/>
                    </a:lnTo>
                    <a:lnTo>
                      <a:pt x="2809" y="103"/>
                    </a:lnTo>
                    <a:lnTo>
                      <a:pt x="2872" y="83"/>
                    </a:lnTo>
                    <a:lnTo>
                      <a:pt x="2932" y="66"/>
                    </a:lnTo>
                    <a:lnTo>
                      <a:pt x="3035" y="38"/>
                    </a:lnTo>
                    <a:lnTo>
                      <a:pt x="3115" y="17"/>
                    </a:lnTo>
                    <a:lnTo>
                      <a:pt x="3167" y="4"/>
                    </a:lnTo>
                    <a:lnTo>
                      <a:pt x="3186" y="0"/>
                    </a:lnTo>
                    <a:lnTo>
                      <a:pt x="3192" y="1"/>
                    </a:lnTo>
                    <a:lnTo>
                      <a:pt x="3196" y="4"/>
                    </a:lnTo>
                    <a:lnTo>
                      <a:pt x="3199" y="9"/>
                    </a:lnTo>
                    <a:lnTo>
                      <a:pt x="3200" y="14"/>
                    </a:lnTo>
                    <a:lnTo>
                      <a:pt x="3199" y="19"/>
                    </a:lnTo>
                    <a:lnTo>
                      <a:pt x="3196" y="24"/>
                    </a:lnTo>
                    <a:lnTo>
                      <a:pt x="3192" y="26"/>
                    </a:lnTo>
                    <a:lnTo>
                      <a:pt x="3188" y="27"/>
                    </a:lnTo>
                    <a:lnTo>
                      <a:pt x="3176" y="29"/>
                    </a:lnTo>
                    <a:lnTo>
                      <a:pt x="3157" y="32"/>
                    </a:lnTo>
                    <a:lnTo>
                      <a:pt x="3130" y="39"/>
                    </a:lnTo>
                    <a:lnTo>
                      <a:pt x="3098" y="46"/>
                    </a:lnTo>
                    <a:lnTo>
                      <a:pt x="3013" y="68"/>
                    </a:lnTo>
                    <a:lnTo>
                      <a:pt x="2906" y="98"/>
                    </a:lnTo>
                    <a:lnTo>
                      <a:pt x="2846" y="117"/>
                    </a:lnTo>
                    <a:lnTo>
                      <a:pt x="2782" y="136"/>
                    </a:lnTo>
                    <a:lnTo>
                      <a:pt x="2715" y="159"/>
                    </a:lnTo>
                    <a:lnTo>
                      <a:pt x="2643" y="182"/>
                    </a:lnTo>
                    <a:lnTo>
                      <a:pt x="2571" y="207"/>
                    </a:lnTo>
                    <a:lnTo>
                      <a:pt x="2495" y="235"/>
                    </a:lnTo>
                    <a:lnTo>
                      <a:pt x="2419" y="265"/>
                    </a:lnTo>
                    <a:lnTo>
                      <a:pt x="2340" y="296"/>
                    </a:lnTo>
                    <a:lnTo>
                      <a:pt x="2262" y="328"/>
                    </a:lnTo>
                    <a:lnTo>
                      <a:pt x="2183" y="363"/>
                    </a:lnTo>
                    <a:lnTo>
                      <a:pt x="2104" y="398"/>
                    </a:lnTo>
                    <a:lnTo>
                      <a:pt x="2027" y="436"/>
                    </a:lnTo>
                    <a:lnTo>
                      <a:pt x="1950" y="476"/>
                    </a:lnTo>
                    <a:lnTo>
                      <a:pt x="1876" y="517"/>
                    </a:lnTo>
                    <a:lnTo>
                      <a:pt x="1802" y="559"/>
                    </a:lnTo>
                    <a:lnTo>
                      <a:pt x="1733" y="603"/>
                    </a:lnTo>
                    <a:lnTo>
                      <a:pt x="1666" y="650"/>
                    </a:lnTo>
                    <a:lnTo>
                      <a:pt x="1602" y="696"/>
                    </a:lnTo>
                    <a:lnTo>
                      <a:pt x="1544" y="745"/>
                    </a:lnTo>
                    <a:lnTo>
                      <a:pt x="1489" y="796"/>
                    </a:lnTo>
                    <a:lnTo>
                      <a:pt x="1439" y="846"/>
                    </a:lnTo>
                    <a:lnTo>
                      <a:pt x="1396" y="899"/>
                    </a:lnTo>
                    <a:lnTo>
                      <a:pt x="1357" y="954"/>
                    </a:lnTo>
                    <a:lnTo>
                      <a:pt x="1326" y="1009"/>
                    </a:lnTo>
                    <a:lnTo>
                      <a:pt x="1261" y="1141"/>
                    </a:lnTo>
                    <a:lnTo>
                      <a:pt x="1183" y="1302"/>
                    </a:lnTo>
                    <a:lnTo>
                      <a:pt x="1094" y="1488"/>
                    </a:lnTo>
                    <a:lnTo>
                      <a:pt x="996" y="1693"/>
                    </a:lnTo>
                    <a:lnTo>
                      <a:pt x="891" y="1912"/>
                    </a:lnTo>
                    <a:lnTo>
                      <a:pt x="783" y="2141"/>
                    </a:lnTo>
                    <a:lnTo>
                      <a:pt x="674" y="2372"/>
                    </a:lnTo>
                    <a:lnTo>
                      <a:pt x="565" y="2602"/>
                    </a:lnTo>
                    <a:lnTo>
                      <a:pt x="460" y="2825"/>
                    </a:lnTo>
                    <a:lnTo>
                      <a:pt x="361" y="3036"/>
                    </a:lnTo>
                    <a:lnTo>
                      <a:pt x="270" y="3230"/>
                    </a:lnTo>
                    <a:lnTo>
                      <a:pt x="190" y="3400"/>
                    </a:lnTo>
                    <a:lnTo>
                      <a:pt x="123" y="3543"/>
                    </a:lnTo>
                    <a:lnTo>
                      <a:pt x="72" y="3653"/>
                    </a:lnTo>
                    <a:lnTo>
                      <a:pt x="39" y="3724"/>
                    </a:lnTo>
                    <a:lnTo>
                      <a:pt x="26" y="3751"/>
                    </a:lnTo>
                    <a:lnTo>
                      <a:pt x="24" y="3754"/>
                    </a:lnTo>
                    <a:lnTo>
                      <a:pt x="20" y="3758"/>
                    </a:lnTo>
                    <a:lnTo>
                      <a:pt x="17" y="3759"/>
                    </a:lnTo>
                    <a:lnTo>
                      <a:pt x="14" y="37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03"/>
              <p:cNvSpPr>
                <a:spLocks/>
              </p:cNvSpPr>
              <p:nvPr userDrawn="1"/>
            </p:nvSpPr>
            <p:spPr bwMode="auto">
              <a:xfrm>
                <a:off x="1180" y="3594"/>
                <a:ext cx="1769" cy="368"/>
              </a:xfrm>
              <a:custGeom>
                <a:avLst/>
                <a:gdLst>
                  <a:gd name="T0" fmla="*/ 3262 w 5309"/>
                  <a:gd name="T1" fmla="*/ 1102 h 1104"/>
                  <a:gd name="T2" fmla="*/ 3052 w 5309"/>
                  <a:gd name="T3" fmla="*/ 1087 h 1104"/>
                  <a:gd name="T4" fmla="*/ 2846 w 5309"/>
                  <a:gd name="T5" fmla="*/ 1056 h 1104"/>
                  <a:gd name="T6" fmla="*/ 2644 w 5309"/>
                  <a:gd name="T7" fmla="*/ 1010 h 1104"/>
                  <a:gd name="T8" fmla="*/ 2513 w 5309"/>
                  <a:gd name="T9" fmla="*/ 970 h 1104"/>
                  <a:gd name="T10" fmla="*/ 2418 w 5309"/>
                  <a:gd name="T11" fmla="*/ 933 h 1104"/>
                  <a:gd name="T12" fmla="*/ 2324 w 5309"/>
                  <a:gd name="T13" fmla="*/ 892 h 1104"/>
                  <a:gd name="T14" fmla="*/ 2149 w 5309"/>
                  <a:gd name="T15" fmla="*/ 806 h 1104"/>
                  <a:gd name="T16" fmla="*/ 1983 w 5309"/>
                  <a:gd name="T17" fmla="*/ 722 h 1104"/>
                  <a:gd name="T18" fmla="*/ 1827 w 5309"/>
                  <a:gd name="T19" fmla="*/ 638 h 1104"/>
                  <a:gd name="T20" fmla="*/ 1679 w 5309"/>
                  <a:gd name="T21" fmla="*/ 555 h 1104"/>
                  <a:gd name="T22" fmla="*/ 1538 w 5309"/>
                  <a:gd name="T23" fmla="*/ 477 h 1104"/>
                  <a:gd name="T24" fmla="*/ 1264 w 5309"/>
                  <a:gd name="T25" fmla="*/ 323 h 1104"/>
                  <a:gd name="T26" fmla="*/ 1106 w 5309"/>
                  <a:gd name="T27" fmla="*/ 239 h 1104"/>
                  <a:gd name="T28" fmla="*/ 957 w 5309"/>
                  <a:gd name="T29" fmla="*/ 166 h 1104"/>
                  <a:gd name="T30" fmla="*/ 817 w 5309"/>
                  <a:gd name="T31" fmla="*/ 106 h 1104"/>
                  <a:gd name="T32" fmla="*/ 683 w 5309"/>
                  <a:gd name="T33" fmla="*/ 61 h 1104"/>
                  <a:gd name="T34" fmla="*/ 555 w 5309"/>
                  <a:gd name="T35" fmla="*/ 34 h 1104"/>
                  <a:gd name="T36" fmla="*/ 430 w 5309"/>
                  <a:gd name="T37" fmla="*/ 24 h 1104"/>
                  <a:gd name="T38" fmla="*/ 307 w 5309"/>
                  <a:gd name="T39" fmla="*/ 36 h 1104"/>
                  <a:gd name="T40" fmla="*/ 185 w 5309"/>
                  <a:gd name="T41" fmla="*/ 70 h 1104"/>
                  <a:gd name="T42" fmla="*/ 61 w 5309"/>
                  <a:gd name="T43" fmla="*/ 128 h 1104"/>
                  <a:gd name="T44" fmla="*/ 9 w 5309"/>
                  <a:gd name="T45" fmla="*/ 155 h 1104"/>
                  <a:gd name="T46" fmla="*/ 0 w 5309"/>
                  <a:gd name="T47" fmla="*/ 143 h 1104"/>
                  <a:gd name="T48" fmla="*/ 5 w 5309"/>
                  <a:gd name="T49" fmla="*/ 130 h 1104"/>
                  <a:gd name="T50" fmla="*/ 133 w 5309"/>
                  <a:gd name="T51" fmla="*/ 62 h 1104"/>
                  <a:gd name="T52" fmla="*/ 261 w 5309"/>
                  <a:gd name="T53" fmla="*/ 20 h 1104"/>
                  <a:gd name="T54" fmla="*/ 388 w 5309"/>
                  <a:gd name="T55" fmla="*/ 1 h 1104"/>
                  <a:gd name="T56" fmla="*/ 517 w 5309"/>
                  <a:gd name="T57" fmla="*/ 4 h 1104"/>
                  <a:gd name="T58" fmla="*/ 649 w 5309"/>
                  <a:gd name="T59" fmla="*/ 27 h 1104"/>
                  <a:gd name="T60" fmla="*/ 785 w 5309"/>
                  <a:gd name="T61" fmla="*/ 66 h 1104"/>
                  <a:gd name="T62" fmla="*/ 925 w 5309"/>
                  <a:gd name="T63" fmla="*/ 123 h 1104"/>
                  <a:gd name="T64" fmla="*/ 1072 w 5309"/>
                  <a:gd name="T65" fmla="*/ 192 h 1104"/>
                  <a:gd name="T66" fmla="*/ 1227 w 5309"/>
                  <a:gd name="T67" fmla="*/ 273 h 1104"/>
                  <a:gd name="T68" fmla="*/ 1507 w 5309"/>
                  <a:gd name="T69" fmla="*/ 428 h 1104"/>
                  <a:gd name="T70" fmla="*/ 1644 w 5309"/>
                  <a:gd name="T71" fmla="*/ 506 h 1104"/>
                  <a:gd name="T72" fmla="*/ 1790 w 5309"/>
                  <a:gd name="T73" fmla="*/ 587 h 1104"/>
                  <a:gd name="T74" fmla="*/ 1943 w 5309"/>
                  <a:gd name="T75" fmla="*/ 669 h 1104"/>
                  <a:gd name="T76" fmla="*/ 2105 w 5309"/>
                  <a:gd name="T77" fmla="*/ 754 h 1104"/>
                  <a:gd name="T78" fmla="*/ 2277 w 5309"/>
                  <a:gd name="T79" fmla="*/ 839 h 1104"/>
                  <a:gd name="T80" fmla="*/ 2560 w 5309"/>
                  <a:gd name="T81" fmla="*/ 957 h 1104"/>
                  <a:gd name="T82" fmla="*/ 2915 w 5309"/>
                  <a:gd name="T83" fmla="*/ 1041 h 1104"/>
                  <a:gd name="T84" fmla="*/ 3283 w 5309"/>
                  <a:gd name="T85" fmla="*/ 1075 h 1104"/>
                  <a:gd name="T86" fmla="*/ 3653 w 5309"/>
                  <a:gd name="T87" fmla="*/ 1069 h 1104"/>
                  <a:gd name="T88" fmla="*/ 4012 w 5309"/>
                  <a:gd name="T89" fmla="*/ 1032 h 1104"/>
                  <a:gd name="T90" fmla="*/ 4349 w 5309"/>
                  <a:gd name="T91" fmla="*/ 974 h 1104"/>
                  <a:gd name="T92" fmla="*/ 4652 w 5309"/>
                  <a:gd name="T93" fmla="*/ 904 h 1104"/>
                  <a:gd name="T94" fmla="*/ 4909 w 5309"/>
                  <a:gd name="T95" fmla="*/ 833 h 1104"/>
                  <a:gd name="T96" fmla="*/ 5109 w 5309"/>
                  <a:gd name="T97" fmla="*/ 769 h 1104"/>
                  <a:gd name="T98" fmla="*/ 5267 w 5309"/>
                  <a:gd name="T99" fmla="*/ 714 h 1104"/>
                  <a:gd name="T100" fmla="*/ 5300 w 5309"/>
                  <a:gd name="T101" fmla="*/ 704 h 1104"/>
                  <a:gd name="T102" fmla="*/ 5309 w 5309"/>
                  <a:gd name="T103" fmla="*/ 717 h 1104"/>
                  <a:gd name="T104" fmla="*/ 5300 w 5309"/>
                  <a:gd name="T105" fmla="*/ 729 h 1104"/>
                  <a:gd name="T106" fmla="*/ 5202 w 5309"/>
                  <a:gd name="T107" fmla="*/ 766 h 1104"/>
                  <a:gd name="T108" fmla="*/ 4945 w 5309"/>
                  <a:gd name="T109" fmla="*/ 850 h 1104"/>
                  <a:gd name="T110" fmla="*/ 4769 w 5309"/>
                  <a:gd name="T111" fmla="*/ 901 h 1104"/>
                  <a:gd name="T112" fmla="*/ 4566 w 5309"/>
                  <a:gd name="T113" fmla="*/ 954 h 1104"/>
                  <a:gd name="T114" fmla="*/ 4341 w 5309"/>
                  <a:gd name="T115" fmla="*/ 1002 h 1104"/>
                  <a:gd name="T116" fmla="*/ 4100 w 5309"/>
                  <a:gd name="T117" fmla="*/ 1047 h 1104"/>
                  <a:gd name="T118" fmla="*/ 3844 w 5309"/>
                  <a:gd name="T119" fmla="*/ 1080 h 1104"/>
                  <a:gd name="T120" fmla="*/ 3580 w 5309"/>
                  <a:gd name="T121" fmla="*/ 110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09" h="1104">
                    <a:moveTo>
                      <a:pt x="3401" y="1104"/>
                    </a:moveTo>
                    <a:lnTo>
                      <a:pt x="3331" y="1103"/>
                    </a:lnTo>
                    <a:lnTo>
                      <a:pt x="3262" y="1102"/>
                    </a:lnTo>
                    <a:lnTo>
                      <a:pt x="3191" y="1097"/>
                    </a:lnTo>
                    <a:lnTo>
                      <a:pt x="3121" y="1093"/>
                    </a:lnTo>
                    <a:lnTo>
                      <a:pt x="3052" y="1087"/>
                    </a:lnTo>
                    <a:lnTo>
                      <a:pt x="2983" y="1078"/>
                    </a:lnTo>
                    <a:lnTo>
                      <a:pt x="2914" y="1068"/>
                    </a:lnTo>
                    <a:lnTo>
                      <a:pt x="2846" y="1056"/>
                    </a:lnTo>
                    <a:lnTo>
                      <a:pt x="2778" y="1043"/>
                    </a:lnTo>
                    <a:lnTo>
                      <a:pt x="2711" y="1027"/>
                    </a:lnTo>
                    <a:lnTo>
                      <a:pt x="2644" y="1010"/>
                    </a:lnTo>
                    <a:lnTo>
                      <a:pt x="2578" y="990"/>
                    </a:lnTo>
                    <a:lnTo>
                      <a:pt x="2546" y="981"/>
                    </a:lnTo>
                    <a:lnTo>
                      <a:pt x="2513" y="970"/>
                    </a:lnTo>
                    <a:lnTo>
                      <a:pt x="2481" y="958"/>
                    </a:lnTo>
                    <a:lnTo>
                      <a:pt x="2450" y="946"/>
                    </a:lnTo>
                    <a:lnTo>
                      <a:pt x="2418" y="933"/>
                    </a:lnTo>
                    <a:lnTo>
                      <a:pt x="2386" y="920"/>
                    </a:lnTo>
                    <a:lnTo>
                      <a:pt x="2356" y="906"/>
                    </a:lnTo>
                    <a:lnTo>
                      <a:pt x="2324" y="892"/>
                    </a:lnTo>
                    <a:lnTo>
                      <a:pt x="2265" y="863"/>
                    </a:lnTo>
                    <a:lnTo>
                      <a:pt x="2207" y="835"/>
                    </a:lnTo>
                    <a:lnTo>
                      <a:pt x="2149" y="806"/>
                    </a:lnTo>
                    <a:lnTo>
                      <a:pt x="2093" y="778"/>
                    </a:lnTo>
                    <a:lnTo>
                      <a:pt x="2037" y="750"/>
                    </a:lnTo>
                    <a:lnTo>
                      <a:pt x="1983" y="722"/>
                    </a:lnTo>
                    <a:lnTo>
                      <a:pt x="1930" y="694"/>
                    </a:lnTo>
                    <a:lnTo>
                      <a:pt x="1878" y="666"/>
                    </a:lnTo>
                    <a:lnTo>
                      <a:pt x="1827" y="638"/>
                    </a:lnTo>
                    <a:lnTo>
                      <a:pt x="1777" y="611"/>
                    </a:lnTo>
                    <a:lnTo>
                      <a:pt x="1727" y="582"/>
                    </a:lnTo>
                    <a:lnTo>
                      <a:pt x="1679" y="555"/>
                    </a:lnTo>
                    <a:lnTo>
                      <a:pt x="1631" y="530"/>
                    </a:lnTo>
                    <a:lnTo>
                      <a:pt x="1585" y="503"/>
                    </a:lnTo>
                    <a:lnTo>
                      <a:pt x="1538" y="477"/>
                    </a:lnTo>
                    <a:lnTo>
                      <a:pt x="1493" y="452"/>
                    </a:lnTo>
                    <a:lnTo>
                      <a:pt x="1376" y="386"/>
                    </a:lnTo>
                    <a:lnTo>
                      <a:pt x="1264" y="323"/>
                    </a:lnTo>
                    <a:lnTo>
                      <a:pt x="1210" y="294"/>
                    </a:lnTo>
                    <a:lnTo>
                      <a:pt x="1157" y="266"/>
                    </a:lnTo>
                    <a:lnTo>
                      <a:pt x="1106" y="239"/>
                    </a:lnTo>
                    <a:lnTo>
                      <a:pt x="1056" y="213"/>
                    </a:lnTo>
                    <a:lnTo>
                      <a:pt x="1006" y="188"/>
                    </a:lnTo>
                    <a:lnTo>
                      <a:pt x="957" y="166"/>
                    </a:lnTo>
                    <a:lnTo>
                      <a:pt x="910" y="144"/>
                    </a:lnTo>
                    <a:lnTo>
                      <a:pt x="863" y="125"/>
                    </a:lnTo>
                    <a:lnTo>
                      <a:pt x="817" y="106"/>
                    </a:lnTo>
                    <a:lnTo>
                      <a:pt x="772" y="89"/>
                    </a:lnTo>
                    <a:lnTo>
                      <a:pt x="727" y="74"/>
                    </a:lnTo>
                    <a:lnTo>
                      <a:pt x="683" y="61"/>
                    </a:lnTo>
                    <a:lnTo>
                      <a:pt x="640" y="50"/>
                    </a:lnTo>
                    <a:lnTo>
                      <a:pt x="598" y="41"/>
                    </a:lnTo>
                    <a:lnTo>
                      <a:pt x="555" y="34"/>
                    </a:lnTo>
                    <a:lnTo>
                      <a:pt x="514" y="29"/>
                    </a:lnTo>
                    <a:lnTo>
                      <a:pt x="471" y="25"/>
                    </a:lnTo>
                    <a:lnTo>
                      <a:pt x="430" y="24"/>
                    </a:lnTo>
                    <a:lnTo>
                      <a:pt x="389" y="27"/>
                    </a:lnTo>
                    <a:lnTo>
                      <a:pt x="348" y="30"/>
                    </a:lnTo>
                    <a:lnTo>
                      <a:pt x="307" y="36"/>
                    </a:lnTo>
                    <a:lnTo>
                      <a:pt x="266" y="45"/>
                    </a:lnTo>
                    <a:lnTo>
                      <a:pt x="225" y="57"/>
                    </a:lnTo>
                    <a:lnTo>
                      <a:pt x="185" y="70"/>
                    </a:lnTo>
                    <a:lnTo>
                      <a:pt x="144" y="87"/>
                    </a:lnTo>
                    <a:lnTo>
                      <a:pt x="103" y="106"/>
                    </a:lnTo>
                    <a:lnTo>
                      <a:pt x="61" y="128"/>
                    </a:lnTo>
                    <a:lnTo>
                      <a:pt x="20" y="153"/>
                    </a:lnTo>
                    <a:lnTo>
                      <a:pt x="15" y="155"/>
                    </a:lnTo>
                    <a:lnTo>
                      <a:pt x="9" y="155"/>
                    </a:lnTo>
                    <a:lnTo>
                      <a:pt x="5" y="153"/>
                    </a:lnTo>
                    <a:lnTo>
                      <a:pt x="1" y="149"/>
                    </a:lnTo>
                    <a:lnTo>
                      <a:pt x="0" y="143"/>
                    </a:lnTo>
                    <a:lnTo>
                      <a:pt x="0" y="139"/>
                    </a:lnTo>
                    <a:lnTo>
                      <a:pt x="2" y="133"/>
                    </a:lnTo>
                    <a:lnTo>
                      <a:pt x="5" y="130"/>
                    </a:lnTo>
                    <a:lnTo>
                      <a:pt x="48" y="104"/>
                    </a:lnTo>
                    <a:lnTo>
                      <a:pt x="91" y="82"/>
                    </a:lnTo>
                    <a:lnTo>
                      <a:pt x="133" y="62"/>
                    </a:lnTo>
                    <a:lnTo>
                      <a:pt x="176" y="45"/>
                    </a:lnTo>
                    <a:lnTo>
                      <a:pt x="219" y="31"/>
                    </a:lnTo>
                    <a:lnTo>
                      <a:pt x="261" y="20"/>
                    </a:lnTo>
                    <a:lnTo>
                      <a:pt x="303" y="11"/>
                    </a:lnTo>
                    <a:lnTo>
                      <a:pt x="346" y="5"/>
                    </a:lnTo>
                    <a:lnTo>
                      <a:pt x="388" y="1"/>
                    </a:lnTo>
                    <a:lnTo>
                      <a:pt x="431" y="0"/>
                    </a:lnTo>
                    <a:lnTo>
                      <a:pt x="474" y="1"/>
                    </a:lnTo>
                    <a:lnTo>
                      <a:pt x="517" y="4"/>
                    </a:lnTo>
                    <a:lnTo>
                      <a:pt x="561" y="9"/>
                    </a:lnTo>
                    <a:lnTo>
                      <a:pt x="604" y="17"/>
                    </a:lnTo>
                    <a:lnTo>
                      <a:pt x="649" y="27"/>
                    </a:lnTo>
                    <a:lnTo>
                      <a:pt x="693" y="37"/>
                    </a:lnTo>
                    <a:lnTo>
                      <a:pt x="738" y="51"/>
                    </a:lnTo>
                    <a:lnTo>
                      <a:pt x="785" y="66"/>
                    </a:lnTo>
                    <a:lnTo>
                      <a:pt x="830" y="84"/>
                    </a:lnTo>
                    <a:lnTo>
                      <a:pt x="877" y="102"/>
                    </a:lnTo>
                    <a:lnTo>
                      <a:pt x="925" y="123"/>
                    </a:lnTo>
                    <a:lnTo>
                      <a:pt x="974" y="144"/>
                    </a:lnTo>
                    <a:lnTo>
                      <a:pt x="1022" y="167"/>
                    </a:lnTo>
                    <a:lnTo>
                      <a:pt x="1072" y="192"/>
                    </a:lnTo>
                    <a:lnTo>
                      <a:pt x="1123" y="218"/>
                    </a:lnTo>
                    <a:lnTo>
                      <a:pt x="1174" y="245"/>
                    </a:lnTo>
                    <a:lnTo>
                      <a:pt x="1227" y="273"/>
                    </a:lnTo>
                    <a:lnTo>
                      <a:pt x="1281" y="302"/>
                    </a:lnTo>
                    <a:lnTo>
                      <a:pt x="1391" y="363"/>
                    </a:lnTo>
                    <a:lnTo>
                      <a:pt x="1507" y="428"/>
                    </a:lnTo>
                    <a:lnTo>
                      <a:pt x="1551" y="454"/>
                    </a:lnTo>
                    <a:lnTo>
                      <a:pt x="1598" y="480"/>
                    </a:lnTo>
                    <a:lnTo>
                      <a:pt x="1644" y="506"/>
                    </a:lnTo>
                    <a:lnTo>
                      <a:pt x="1692" y="533"/>
                    </a:lnTo>
                    <a:lnTo>
                      <a:pt x="1740" y="559"/>
                    </a:lnTo>
                    <a:lnTo>
                      <a:pt x="1790" y="587"/>
                    </a:lnTo>
                    <a:lnTo>
                      <a:pt x="1840" y="614"/>
                    </a:lnTo>
                    <a:lnTo>
                      <a:pt x="1891" y="642"/>
                    </a:lnTo>
                    <a:lnTo>
                      <a:pt x="1943" y="669"/>
                    </a:lnTo>
                    <a:lnTo>
                      <a:pt x="1996" y="697"/>
                    </a:lnTo>
                    <a:lnTo>
                      <a:pt x="2050" y="726"/>
                    </a:lnTo>
                    <a:lnTo>
                      <a:pt x="2105" y="754"/>
                    </a:lnTo>
                    <a:lnTo>
                      <a:pt x="2161" y="782"/>
                    </a:lnTo>
                    <a:lnTo>
                      <a:pt x="2219" y="810"/>
                    </a:lnTo>
                    <a:lnTo>
                      <a:pt x="2277" y="839"/>
                    </a:lnTo>
                    <a:lnTo>
                      <a:pt x="2336" y="867"/>
                    </a:lnTo>
                    <a:lnTo>
                      <a:pt x="2446" y="916"/>
                    </a:lnTo>
                    <a:lnTo>
                      <a:pt x="2560" y="957"/>
                    </a:lnTo>
                    <a:lnTo>
                      <a:pt x="2675" y="990"/>
                    </a:lnTo>
                    <a:lnTo>
                      <a:pt x="2794" y="1019"/>
                    </a:lnTo>
                    <a:lnTo>
                      <a:pt x="2915" y="1041"/>
                    </a:lnTo>
                    <a:lnTo>
                      <a:pt x="3037" y="1057"/>
                    </a:lnTo>
                    <a:lnTo>
                      <a:pt x="3159" y="1068"/>
                    </a:lnTo>
                    <a:lnTo>
                      <a:pt x="3283" y="1075"/>
                    </a:lnTo>
                    <a:lnTo>
                      <a:pt x="3406" y="1077"/>
                    </a:lnTo>
                    <a:lnTo>
                      <a:pt x="3529" y="1075"/>
                    </a:lnTo>
                    <a:lnTo>
                      <a:pt x="3653" y="1069"/>
                    </a:lnTo>
                    <a:lnTo>
                      <a:pt x="3775" y="1060"/>
                    </a:lnTo>
                    <a:lnTo>
                      <a:pt x="3894" y="1047"/>
                    </a:lnTo>
                    <a:lnTo>
                      <a:pt x="4012" y="1032"/>
                    </a:lnTo>
                    <a:lnTo>
                      <a:pt x="4128" y="1014"/>
                    </a:lnTo>
                    <a:lnTo>
                      <a:pt x="4240" y="995"/>
                    </a:lnTo>
                    <a:lnTo>
                      <a:pt x="4349" y="974"/>
                    </a:lnTo>
                    <a:lnTo>
                      <a:pt x="4455" y="952"/>
                    </a:lnTo>
                    <a:lnTo>
                      <a:pt x="4555" y="928"/>
                    </a:lnTo>
                    <a:lnTo>
                      <a:pt x="4652" y="904"/>
                    </a:lnTo>
                    <a:lnTo>
                      <a:pt x="4744" y="880"/>
                    </a:lnTo>
                    <a:lnTo>
                      <a:pt x="4830" y="857"/>
                    </a:lnTo>
                    <a:lnTo>
                      <a:pt x="4909" y="833"/>
                    </a:lnTo>
                    <a:lnTo>
                      <a:pt x="4984" y="810"/>
                    </a:lnTo>
                    <a:lnTo>
                      <a:pt x="5050" y="790"/>
                    </a:lnTo>
                    <a:lnTo>
                      <a:pt x="5109" y="769"/>
                    </a:lnTo>
                    <a:lnTo>
                      <a:pt x="5161" y="752"/>
                    </a:lnTo>
                    <a:lnTo>
                      <a:pt x="5205" y="737"/>
                    </a:lnTo>
                    <a:lnTo>
                      <a:pt x="5267" y="714"/>
                    </a:lnTo>
                    <a:lnTo>
                      <a:pt x="5290" y="704"/>
                    </a:lnTo>
                    <a:lnTo>
                      <a:pt x="5295" y="703"/>
                    </a:lnTo>
                    <a:lnTo>
                      <a:pt x="5300" y="704"/>
                    </a:lnTo>
                    <a:lnTo>
                      <a:pt x="5305" y="708"/>
                    </a:lnTo>
                    <a:lnTo>
                      <a:pt x="5308" y="712"/>
                    </a:lnTo>
                    <a:lnTo>
                      <a:pt x="5309" y="717"/>
                    </a:lnTo>
                    <a:lnTo>
                      <a:pt x="5308" y="723"/>
                    </a:lnTo>
                    <a:lnTo>
                      <a:pt x="5305" y="727"/>
                    </a:lnTo>
                    <a:lnTo>
                      <a:pt x="5300" y="729"/>
                    </a:lnTo>
                    <a:lnTo>
                      <a:pt x="5287" y="735"/>
                    </a:lnTo>
                    <a:lnTo>
                      <a:pt x="5254" y="748"/>
                    </a:lnTo>
                    <a:lnTo>
                      <a:pt x="5202" y="766"/>
                    </a:lnTo>
                    <a:lnTo>
                      <a:pt x="5132" y="791"/>
                    </a:lnTo>
                    <a:lnTo>
                      <a:pt x="5047" y="819"/>
                    </a:lnTo>
                    <a:lnTo>
                      <a:pt x="4945" y="850"/>
                    </a:lnTo>
                    <a:lnTo>
                      <a:pt x="4890" y="867"/>
                    </a:lnTo>
                    <a:lnTo>
                      <a:pt x="4831" y="884"/>
                    </a:lnTo>
                    <a:lnTo>
                      <a:pt x="4769" y="901"/>
                    </a:lnTo>
                    <a:lnTo>
                      <a:pt x="4704" y="919"/>
                    </a:lnTo>
                    <a:lnTo>
                      <a:pt x="4636" y="937"/>
                    </a:lnTo>
                    <a:lnTo>
                      <a:pt x="4566" y="954"/>
                    </a:lnTo>
                    <a:lnTo>
                      <a:pt x="4494" y="970"/>
                    </a:lnTo>
                    <a:lnTo>
                      <a:pt x="4418" y="987"/>
                    </a:lnTo>
                    <a:lnTo>
                      <a:pt x="4341" y="1002"/>
                    </a:lnTo>
                    <a:lnTo>
                      <a:pt x="4263" y="1019"/>
                    </a:lnTo>
                    <a:lnTo>
                      <a:pt x="4182" y="1033"/>
                    </a:lnTo>
                    <a:lnTo>
                      <a:pt x="4100" y="1047"/>
                    </a:lnTo>
                    <a:lnTo>
                      <a:pt x="4015" y="1059"/>
                    </a:lnTo>
                    <a:lnTo>
                      <a:pt x="3930" y="1069"/>
                    </a:lnTo>
                    <a:lnTo>
                      <a:pt x="3844" y="1080"/>
                    </a:lnTo>
                    <a:lnTo>
                      <a:pt x="3756" y="1088"/>
                    </a:lnTo>
                    <a:lnTo>
                      <a:pt x="3669" y="1095"/>
                    </a:lnTo>
                    <a:lnTo>
                      <a:pt x="3580" y="1100"/>
                    </a:lnTo>
                    <a:lnTo>
                      <a:pt x="3491" y="1103"/>
                    </a:lnTo>
                    <a:lnTo>
                      <a:pt x="3401" y="1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04"/>
              <p:cNvSpPr>
                <a:spLocks/>
              </p:cNvSpPr>
              <p:nvPr userDrawn="1"/>
            </p:nvSpPr>
            <p:spPr bwMode="auto">
              <a:xfrm>
                <a:off x="1234" y="3493"/>
                <a:ext cx="1642" cy="269"/>
              </a:xfrm>
              <a:custGeom>
                <a:avLst/>
                <a:gdLst>
                  <a:gd name="T0" fmla="*/ 2702 w 4926"/>
                  <a:gd name="T1" fmla="*/ 808 h 808"/>
                  <a:gd name="T2" fmla="*/ 2521 w 4926"/>
                  <a:gd name="T3" fmla="*/ 798 h 808"/>
                  <a:gd name="T4" fmla="*/ 2314 w 4926"/>
                  <a:gd name="T5" fmla="*/ 769 h 808"/>
                  <a:gd name="T6" fmla="*/ 2115 w 4926"/>
                  <a:gd name="T7" fmla="*/ 725 h 808"/>
                  <a:gd name="T8" fmla="*/ 1925 w 4926"/>
                  <a:gd name="T9" fmla="*/ 668 h 808"/>
                  <a:gd name="T10" fmla="*/ 1742 w 4926"/>
                  <a:gd name="T11" fmla="*/ 602 h 808"/>
                  <a:gd name="T12" fmla="*/ 1441 w 4926"/>
                  <a:gd name="T13" fmla="*/ 470 h 808"/>
                  <a:gd name="T14" fmla="*/ 1119 w 4926"/>
                  <a:gd name="T15" fmla="*/ 314 h 808"/>
                  <a:gd name="T16" fmla="*/ 813 w 4926"/>
                  <a:gd name="T17" fmla="*/ 172 h 808"/>
                  <a:gd name="T18" fmla="*/ 628 w 4926"/>
                  <a:gd name="T19" fmla="*/ 102 h 808"/>
                  <a:gd name="T20" fmla="*/ 482 w 4926"/>
                  <a:gd name="T21" fmla="*/ 60 h 808"/>
                  <a:gd name="T22" fmla="*/ 339 w 4926"/>
                  <a:gd name="T23" fmla="*/ 34 h 808"/>
                  <a:gd name="T24" fmla="*/ 195 w 4926"/>
                  <a:gd name="T25" fmla="*/ 28 h 808"/>
                  <a:gd name="T26" fmla="*/ 51 w 4926"/>
                  <a:gd name="T27" fmla="*/ 43 h 808"/>
                  <a:gd name="T28" fmla="*/ 2 w 4926"/>
                  <a:gd name="T29" fmla="*/ 46 h 808"/>
                  <a:gd name="T30" fmla="*/ 5 w 4926"/>
                  <a:gd name="T31" fmla="*/ 27 h 808"/>
                  <a:gd name="T32" fmla="*/ 120 w 4926"/>
                  <a:gd name="T33" fmla="*/ 6 h 808"/>
                  <a:gd name="T34" fmla="*/ 266 w 4926"/>
                  <a:gd name="T35" fmla="*/ 1 h 808"/>
                  <a:gd name="T36" fmla="*/ 412 w 4926"/>
                  <a:gd name="T37" fmla="*/ 18 h 808"/>
                  <a:gd name="T38" fmla="*/ 559 w 4926"/>
                  <a:gd name="T39" fmla="*/ 52 h 808"/>
                  <a:gd name="T40" fmla="*/ 707 w 4926"/>
                  <a:gd name="T41" fmla="*/ 101 h 808"/>
                  <a:gd name="T42" fmla="*/ 974 w 4926"/>
                  <a:gd name="T43" fmla="*/ 214 h 808"/>
                  <a:gd name="T44" fmla="*/ 1290 w 4926"/>
                  <a:gd name="T45" fmla="*/ 367 h 808"/>
                  <a:gd name="T46" fmla="*/ 1620 w 4926"/>
                  <a:gd name="T47" fmla="*/ 522 h 808"/>
                  <a:gd name="T48" fmla="*/ 1841 w 4926"/>
                  <a:gd name="T49" fmla="*/ 610 h 808"/>
                  <a:gd name="T50" fmla="*/ 2025 w 4926"/>
                  <a:gd name="T51" fmla="*/ 672 h 808"/>
                  <a:gd name="T52" fmla="*/ 2217 w 4926"/>
                  <a:gd name="T53" fmla="*/ 722 h 808"/>
                  <a:gd name="T54" fmla="*/ 2419 w 4926"/>
                  <a:gd name="T55" fmla="*/ 758 h 808"/>
                  <a:gd name="T56" fmla="*/ 2630 w 4926"/>
                  <a:gd name="T57" fmla="*/ 779 h 808"/>
                  <a:gd name="T58" fmla="*/ 2893 w 4926"/>
                  <a:gd name="T59" fmla="*/ 778 h 808"/>
                  <a:gd name="T60" fmla="*/ 3154 w 4926"/>
                  <a:gd name="T61" fmla="*/ 756 h 808"/>
                  <a:gd name="T62" fmla="*/ 3396 w 4926"/>
                  <a:gd name="T63" fmla="*/ 719 h 808"/>
                  <a:gd name="T64" fmla="*/ 3621 w 4926"/>
                  <a:gd name="T65" fmla="*/ 675 h 808"/>
                  <a:gd name="T66" fmla="*/ 3916 w 4926"/>
                  <a:gd name="T67" fmla="*/ 617 h 808"/>
                  <a:gd name="T68" fmla="*/ 4109 w 4926"/>
                  <a:gd name="T69" fmla="*/ 588 h 808"/>
                  <a:gd name="T70" fmla="*/ 4263 w 4926"/>
                  <a:gd name="T71" fmla="*/ 575 h 808"/>
                  <a:gd name="T72" fmla="*/ 4414 w 4926"/>
                  <a:gd name="T73" fmla="*/ 576 h 808"/>
                  <a:gd name="T74" fmla="*/ 4566 w 4926"/>
                  <a:gd name="T75" fmla="*/ 593 h 808"/>
                  <a:gd name="T76" fmla="*/ 4720 w 4926"/>
                  <a:gd name="T77" fmla="*/ 630 h 808"/>
                  <a:gd name="T78" fmla="*/ 4878 w 4926"/>
                  <a:gd name="T79" fmla="*/ 689 h 808"/>
                  <a:gd name="T80" fmla="*/ 4926 w 4926"/>
                  <a:gd name="T81" fmla="*/ 721 h 808"/>
                  <a:gd name="T82" fmla="*/ 4912 w 4926"/>
                  <a:gd name="T83" fmla="*/ 734 h 808"/>
                  <a:gd name="T84" fmla="*/ 4790 w 4926"/>
                  <a:gd name="T85" fmla="*/ 681 h 808"/>
                  <a:gd name="T86" fmla="*/ 4636 w 4926"/>
                  <a:gd name="T87" fmla="*/ 635 h 808"/>
                  <a:gd name="T88" fmla="*/ 4485 w 4926"/>
                  <a:gd name="T89" fmla="*/ 609 h 808"/>
                  <a:gd name="T90" fmla="*/ 4336 w 4926"/>
                  <a:gd name="T91" fmla="*/ 600 h 808"/>
                  <a:gd name="T92" fmla="*/ 4186 w 4926"/>
                  <a:gd name="T93" fmla="*/ 607 h 808"/>
                  <a:gd name="T94" fmla="*/ 4034 w 4926"/>
                  <a:gd name="T95" fmla="*/ 625 h 808"/>
                  <a:gd name="T96" fmla="*/ 3762 w 4926"/>
                  <a:gd name="T97" fmla="*/ 674 h 808"/>
                  <a:gd name="T98" fmla="*/ 3525 w 4926"/>
                  <a:gd name="T99" fmla="*/ 722 h 808"/>
                  <a:gd name="T100" fmla="*/ 3306 w 4926"/>
                  <a:gd name="T101" fmla="*/ 761 h 808"/>
                  <a:gd name="T102" fmla="*/ 3072 w 4926"/>
                  <a:gd name="T103" fmla="*/ 792 h 808"/>
                  <a:gd name="T104" fmla="*/ 2820 w 4926"/>
                  <a:gd name="T105"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26" h="808">
                    <a:moveTo>
                      <a:pt x="2754" y="808"/>
                    </a:moveTo>
                    <a:lnTo>
                      <a:pt x="2737" y="808"/>
                    </a:lnTo>
                    <a:lnTo>
                      <a:pt x="2720" y="808"/>
                    </a:lnTo>
                    <a:lnTo>
                      <a:pt x="2702" y="808"/>
                    </a:lnTo>
                    <a:lnTo>
                      <a:pt x="2684" y="807"/>
                    </a:lnTo>
                    <a:lnTo>
                      <a:pt x="2629" y="806"/>
                    </a:lnTo>
                    <a:lnTo>
                      <a:pt x="2575" y="802"/>
                    </a:lnTo>
                    <a:lnTo>
                      <a:pt x="2521" y="798"/>
                    </a:lnTo>
                    <a:lnTo>
                      <a:pt x="2468" y="793"/>
                    </a:lnTo>
                    <a:lnTo>
                      <a:pt x="2416" y="785"/>
                    </a:lnTo>
                    <a:lnTo>
                      <a:pt x="2364" y="778"/>
                    </a:lnTo>
                    <a:lnTo>
                      <a:pt x="2314" y="769"/>
                    </a:lnTo>
                    <a:lnTo>
                      <a:pt x="2263" y="759"/>
                    </a:lnTo>
                    <a:lnTo>
                      <a:pt x="2213" y="748"/>
                    </a:lnTo>
                    <a:lnTo>
                      <a:pt x="2163" y="738"/>
                    </a:lnTo>
                    <a:lnTo>
                      <a:pt x="2115" y="725"/>
                    </a:lnTo>
                    <a:lnTo>
                      <a:pt x="2066" y="712"/>
                    </a:lnTo>
                    <a:lnTo>
                      <a:pt x="2019" y="698"/>
                    </a:lnTo>
                    <a:lnTo>
                      <a:pt x="1971" y="684"/>
                    </a:lnTo>
                    <a:lnTo>
                      <a:pt x="1925" y="668"/>
                    </a:lnTo>
                    <a:lnTo>
                      <a:pt x="1878" y="652"/>
                    </a:lnTo>
                    <a:lnTo>
                      <a:pt x="1832" y="636"/>
                    </a:lnTo>
                    <a:lnTo>
                      <a:pt x="1788" y="619"/>
                    </a:lnTo>
                    <a:lnTo>
                      <a:pt x="1742" y="602"/>
                    </a:lnTo>
                    <a:lnTo>
                      <a:pt x="1698" y="583"/>
                    </a:lnTo>
                    <a:lnTo>
                      <a:pt x="1611" y="546"/>
                    </a:lnTo>
                    <a:lnTo>
                      <a:pt x="1525" y="509"/>
                    </a:lnTo>
                    <a:lnTo>
                      <a:pt x="1441" y="470"/>
                    </a:lnTo>
                    <a:lnTo>
                      <a:pt x="1359" y="431"/>
                    </a:lnTo>
                    <a:lnTo>
                      <a:pt x="1278" y="392"/>
                    </a:lnTo>
                    <a:lnTo>
                      <a:pt x="1199" y="353"/>
                    </a:lnTo>
                    <a:lnTo>
                      <a:pt x="1119" y="314"/>
                    </a:lnTo>
                    <a:lnTo>
                      <a:pt x="1040" y="276"/>
                    </a:lnTo>
                    <a:lnTo>
                      <a:pt x="964" y="239"/>
                    </a:lnTo>
                    <a:lnTo>
                      <a:pt x="887" y="204"/>
                    </a:lnTo>
                    <a:lnTo>
                      <a:pt x="813" y="172"/>
                    </a:lnTo>
                    <a:lnTo>
                      <a:pt x="738" y="142"/>
                    </a:lnTo>
                    <a:lnTo>
                      <a:pt x="701" y="128"/>
                    </a:lnTo>
                    <a:lnTo>
                      <a:pt x="665" y="114"/>
                    </a:lnTo>
                    <a:lnTo>
                      <a:pt x="628" y="102"/>
                    </a:lnTo>
                    <a:lnTo>
                      <a:pt x="591" y="90"/>
                    </a:lnTo>
                    <a:lnTo>
                      <a:pt x="555" y="79"/>
                    </a:lnTo>
                    <a:lnTo>
                      <a:pt x="519" y="68"/>
                    </a:lnTo>
                    <a:lnTo>
                      <a:pt x="482" y="60"/>
                    </a:lnTo>
                    <a:lnTo>
                      <a:pt x="447" y="52"/>
                    </a:lnTo>
                    <a:lnTo>
                      <a:pt x="411" y="45"/>
                    </a:lnTo>
                    <a:lnTo>
                      <a:pt x="374" y="39"/>
                    </a:lnTo>
                    <a:lnTo>
                      <a:pt x="339" y="34"/>
                    </a:lnTo>
                    <a:lnTo>
                      <a:pt x="303" y="31"/>
                    </a:lnTo>
                    <a:lnTo>
                      <a:pt x="267" y="28"/>
                    </a:lnTo>
                    <a:lnTo>
                      <a:pt x="232" y="27"/>
                    </a:lnTo>
                    <a:lnTo>
                      <a:pt x="195" y="28"/>
                    </a:lnTo>
                    <a:lnTo>
                      <a:pt x="159" y="29"/>
                    </a:lnTo>
                    <a:lnTo>
                      <a:pt x="124" y="33"/>
                    </a:lnTo>
                    <a:lnTo>
                      <a:pt x="88" y="37"/>
                    </a:lnTo>
                    <a:lnTo>
                      <a:pt x="51" y="43"/>
                    </a:lnTo>
                    <a:lnTo>
                      <a:pt x="16" y="51"/>
                    </a:lnTo>
                    <a:lnTo>
                      <a:pt x="10" y="51"/>
                    </a:lnTo>
                    <a:lnTo>
                      <a:pt x="5" y="50"/>
                    </a:lnTo>
                    <a:lnTo>
                      <a:pt x="2" y="46"/>
                    </a:lnTo>
                    <a:lnTo>
                      <a:pt x="0" y="41"/>
                    </a:lnTo>
                    <a:lnTo>
                      <a:pt x="0" y="36"/>
                    </a:lnTo>
                    <a:lnTo>
                      <a:pt x="1" y="31"/>
                    </a:lnTo>
                    <a:lnTo>
                      <a:pt x="5" y="27"/>
                    </a:lnTo>
                    <a:lnTo>
                      <a:pt x="9" y="25"/>
                    </a:lnTo>
                    <a:lnTo>
                      <a:pt x="46" y="18"/>
                    </a:lnTo>
                    <a:lnTo>
                      <a:pt x="84" y="11"/>
                    </a:lnTo>
                    <a:lnTo>
                      <a:pt x="120" y="6"/>
                    </a:lnTo>
                    <a:lnTo>
                      <a:pt x="157" y="2"/>
                    </a:lnTo>
                    <a:lnTo>
                      <a:pt x="194" y="1"/>
                    </a:lnTo>
                    <a:lnTo>
                      <a:pt x="230" y="0"/>
                    </a:lnTo>
                    <a:lnTo>
                      <a:pt x="266" y="1"/>
                    </a:lnTo>
                    <a:lnTo>
                      <a:pt x="303" y="4"/>
                    </a:lnTo>
                    <a:lnTo>
                      <a:pt x="340" y="7"/>
                    </a:lnTo>
                    <a:lnTo>
                      <a:pt x="376" y="12"/>
                    </a:lnTo>
                    <a:lnTo>
                      <a:pt x="412" y="18"/>
                    </a:lnTo>
                    <a:lnTo>
                      <a:pt x="449" y="24"/>
                    </a:lnTo>
                    <a:lnTo>
                      <a:pt x="485" y="33"/>
                    </a:lnTo>
                    <a:lnTo>
                      <a:pt x="522" y="41"/>
                    </a:lnTo>
                    <a:lnTo>
                      <a:pt x="559" y="52"/>
                    </a:lnTo>
                    <a:lnTo>
                      <a:pt x="596" y="63"/>
                    </a:lnTo>
                    <a:lnTo>
                      <a:pt x="633" y="75"/>
                    </a:lnTo>
                    <a:lnTo>
                      <a:pt x="670" y="87"/>
                    </a:lnTo>
                    <a:lnTo>
                      <a:pt x="707" y="101"/>
                    </a:lnTo>
                    <a:lnTo>
                      <a:pt x="745" y="115"/>
                    </a:lnTo>
                    <a:lnTo>
                      <a:pt x="820" y="146"/>
                    </a:lnTo>
                    <a:lnTo>
                      <a:pt x="896" y="178"/>
                    </a:lnTo>
                    <a:lnTo>
                      <a:pt x="974" y="214"/>
                    </a:lnTo>
                    <a:lnTo>
                      <a:pt x="1051" y="251"/>
                    </a:lnTo>
                    <a:lnTo>
                      <a:pt x="1130" y="290"/>
                    </a:lnTo>
                    <a:lnTo>
                      <a:pt x="1211" y="328"/>
                    </a:lnTo>
                    <a:lnTo>
                      <a:pt x="1290" y="367"/>
                    </a:lnTo>
                    <a:lnTo>
                      <a:pt x="1370" y="406"/>
                    </a:lnTo>
                    <a:lnTo>
                      <a:pt x="1452" y="445"/>
                    </a:lnTo>
                    <a:lnTo>
                      <a:pt x="1535" y="484"/>
                    </a:lnTo>
                    <a:lnTo>
                      <a:pt x="1620" y="522"/>
                    </a:lnTo>
                    <a:lnTo>
                      <a:pt x="1707" y="558"/>
                    </a:lnTo>
                    <a:lnTo>
                      <a:pt x="1751" y="576"/>
                    </a:lnTo>
                    <a:lnTo>
                      <a:pt x="1795" y="593"/>
                    </a:lnTo>
                    <a:lnTo>
                      <a:pt x="1841" y="610"/>
                    </a:lnTo>
                    <a:lnTo>
                      <a:pt x="1886" y="626"/>
                    </a:lnTo>
                    <a:lnTo>
                      <a:pt x="1931" y="641"/>
                    </a:lnTo>
                    <a:lnTo>
                      <a:pt x="1978" y="657"/>
                    </a:lnTo>
                    <a:lnTo>
                      <a:pt x="2025" y="672"/>
                    </a:lnTo>
                    <a:lnTo>
                      <a:pt x="2073" y="686"/>
                    </a:lnTo>
                    <a:lnTo>
                      <a:pt x="2120" y="699"/>
                    </a:lnTo>
                    <a:lnTo>
                      <a:pt x="2169" y="711"/>
                    </a:lnTo>
                    <a:lnTo>
                      <a:pt x="2217" y="722"/>
                    </a:lnTo>
                    <a:lnTo>
                      <a:pt x="2267" y="732"/>
                    </a:lnTo>
                    <a:lnTo>
                      <a:pt x="2317" y="742"/>
                    </a:lnTo>
                    <a:lnTo>
                      <a:pt x="2368" y="751"/>
                    </a:lnTo>
                    <a:lnTo>
                      <a:pt x="2419" y="758"/>
                    </a:lnTo>
                    <a:lnTo>
                      <a:pt x="2471" y="766"/>
                    </a:lnTo>
                    <a:lnTo>
                      <a:pt x="2524" y="771"/>
                    </a:lnTo>
                    <a:lnTo>
                      <a:pt x="2577" y="775"/>
                    </a:lnTo>
                    <a:lnTo>
                      <a:pt x="2630" y="779"/>
                    </a:lnTo>
                    <a:lnTo>
                      <a:pt x="2685" y="780"/>
                    </a:lnTo>
                    <a:lnTo>
                      <a:pt x="2755" y="781"/>
                    </a:lnTo>
                    <a:lnTo>
                      <a:pt x="2825" y="780"/>
                    </a:lnTo>
                    <a:lnTo>
                      <a:pt x="2893" y="778"/>
                    </a:lnTo>
                    <a:lnTo>
                      <a:pt x="2960" y="774"/>
                    </a:lnTo>
                    <a:lnTo>
                      <a:pt x="3025" y="769"/>
                    </a:lnTo>
                    <a:lnTo>
                      <a:pt x="3090" y="762"/>
                    </a:lnTo>
                    <a:lnTo>
                      <a:pt x="3154" y="756"/>
                    </a:lnTo>
                    <a:lnTo>
                      <a:pt x="3215" y="747"/>
                    </a:lnTo>
                    <a:lnTo>
                      <a:pt x="3277" y="739"/>
                    </a:lnTo>
                    <a:lnTo>
                      <a:pt x="3337" y="729"/>
                    </a:lnTo>
                    <a:lnTo>
                      <a:pt x="3396" y="719"/>
                    </a:lnTo>
                    <a:lnTo>
                      <a:pt x="3454" y="708"/>
                    </a:lnTo>
                    <a:lnTo>
                      <a:pt x="3510" y="698"/>
                    </a:lnTo>
                    <a:lnTo>
                      <a:pt x="3566" y="687"/>
                    </a:lnTo>
                    <a:lnTo>
                      <a:pt x="3621" y="675"/>
                    </a:lnTo>
                    <a:lnTo>
                      <a:pt x="3675" y="664"/>
                    </a:lnTo>
                    <a:lnTo>
                      <a:pt x="3756" y="648"/>
                    </a:lnTo>
                    <a:lnTo>
                      <a:pt x="3837" y="632"/>
                    </a:lnTo>
                    <a:lnTo>
                      <a:pt x="3916" y="617"/>
                    </a:lnTo>
                    <a:lnTo>
                      <a:pt x="3994" y="604"/>
                    </a:lnTo>
                    <a:lnTo>
                      <a:pt x="4033" y="597"/>
                    </a:lnTo>
                    <a:lnTo>
                      <a:pt x="4071" y="592"/>
                    </a:lnTo>
                    <a:lnTo>
                      <a:pt x="4109" y="588"/>
                    </a:lnTo>
                    <a:lnTo>
                      <a:pt x="4148" y="583"/>
                    </a:lnTo>
                    <a:lnTo>
                      <a:pt x="4186" y="580"/>
                    </a:lnTo>
                    <a:lnTo>
                      <a:pt x="4224" y="577"/>
                    </a:lnTo>
                    <a:lnTo>
                      <a:pt x="4263" y="575"/>
                    </a:lnTo>
                    <a:lnTo>
                      <a:pt x="4300" y="573"/>
                    </a:lnTo>
                    <a:lnTo>
                      <a:pt x="4338" y="573"/>
                    </a:lnTo>
                    <a:lnTo>
                      <a:pt x="4376" y="573"/>
                    </a:lnTo>
                    <a:lnTo>
                      <a:pt x="4414" y="576"/>
                    </a:lnTo>
                    <a:lnTo>
                      <a:pt x="4452" y="578"/>
                    </a:lnTo>
                    <a:lnTo>
                      <a:pt x="4490" y="582"/>
                    </a:lnTo>
                    <a:lnTo>
                      <a:pt x="4528" y="586"/>
                    </a:lnTo>
                    <a:lnTo>
                      <a:pt x="4566" y="593"/>
                    </a:lnTo>
                    <a:lnTo>
                      <a:pt x="4605" y="599"/>
                    </a:lnTo>
                    <a:lnTo>
                      <a:pt x="4644" y="608"/>
                    </a:lnTo>
                    <a:lnTo>
                      <a:pt x="4682" y="619"/>
                    </a:lnTo>
                    <a:lnTo>
                      <a:pt x="4720" y="630"/>
                    </a:lnTo>
                    <a:lnTo>
                      <a:pt x="4759" y="643"/>
                    </a:lnTo>
                    <a:lnTo>
                      <a:pt x="4799" y="657"/>
                    </a:lnTo>
                    <a:lnTo>
                      <a:pt x="4838" y="672"/>
                    </a:lnTo>
                    <a:lnTo>
                      <a:pt x="4878" y="689"/>
                    </a:lnTo>
                    <a:lnTo>
                      <a:pt x="4918" y="708"/>
                    </a:lnTo>
                    <a:lnTo>
                      <a:pt x="4922" y="712"/>
                    </a:lnTo>
                    <a:lnTo>
                      <a:pt x="4925" y="716"/>
                    </a:lnTo>
                    <a:lnTo>
                      <a:pt x="4926" y="721"/>
                    </a:lnTo>
                    <a:lnTo>
                      <a:pt x="4925" y="727"/>
                    </a:lnTo>
                    <a:lnTo>
                      <a:pt x="4921" y="731"/>
                    </a:lnTo>
                    <a:lnTo>
                      <a:pt x="4916" y="733"/>
                    </a:lnTo>
                    <a:lnTo>
                      <a:pt x="4912" y="734"/>
                    </a:lnTo>
                    <a:lnTo>
                      <a:pt x="4906" y="732"/>
                    </a:lnTo>
                    <a:lnTo>
                      <a:pt x="4867" y="714"/>
                    </a:lnTo>
                    <a:lnTo>
                      <a:pt x="4828" y="698"/>
                    </a:lnTo>
                    <a:lnTo>
                      <a:pt x="4790" y="681"/>
                    </a:lnTo>
                    <a:lnTo>
                      <a:pt x="4751" y="667"/>
                    </a:lnTo>
                    <a:lnTo>
                      <a:pt x="4713" y="656"/>
                    </a:lnTo>
                    <a:lnTo>
                      <a:pt x="4674" y="645"/>
                    </a:lnTo>
                    <a:lnTo>
                      <a:pt x="4636" y="635"/>
                    </a:lnTo>
                    <a:lnTo>
                      <a:pt x="4598" y="626"/>
                    </a:lnTo>
                    <a:lnTo>
                      <a:pt x="4561" y="619"/>
                    </a:lnTo>
                    <a:lnTo>
                      <a:pt x="4523" y="613"/>
                    </a:lnTo>
                    <a:lnTo>
                      <a:pt x="4485" y="609"/>
                    </a:lnTo>
                    <a:lnTo>
                      <a:pt x="4448" y="605"/>
                    </a:lnTo>
                    <a:lnTo>
                      <a:pt x="4411" y="603"/>
                    </a:lnTo>
                    <a:lnTo>
                      <a:pt x="4373" y="600"/>
                    </a:lnTo>
                    <a:lnTo>
                      <a:pt x="4336" y="600"/>
                    </a:lnTo>
                    <a:lnTo>
                      <a:pt x="4298" y="600"/>
                    </a:lnTo>
                    <a:lnTo>
                      <a:pt x="4260" y="602"/>
                    </a:lnTo>
                    <a:lnTo>
                      <a:pt x="4223" y="604"/>
                    </a:lnTo>
                    <a:lnTo>
                      <a:pt x="4186" y="607"/>
                    </a:lnTo>
                    <a:lnTo>
                      <a:pt x="4148" y="610"/>
                    </a:lnTo>
                    <a:lnTo>
                      <a:pt x="4110" y="615"/>
                    </a:lnTo>
                    <a:lnTo>
                      <a:pt x="4073" y="620"/>
                    </a:lnTo>
                    <a:lnTo>
                      <a:pt x="4034" y="625"/>
                    </a:lnTo>
                    <a:lnTo>
                      <a:pt x="3996" y="631"/>
                    </a:lnTo>
                    <a:lnTo>
                      <a:pt x="3918" y="644"/>
                    </a:lnTo>
                    <a:lnTo>
                      <a:pt x="3840" y="659"/>
                    </a:lnTo>
                    <a:lnTo>
                      <a:pt x="3762" y="674"/>
                    </a:lnTo>
                    <a:lnTo>
                      <a:pt x="3681" y="691"/>
                    </a:lnTo>
                    <a:lnTo>
                      <a:pt x="3630" y="701"/>
                    </a:lnTo>
                    <a:lnTo>
                      <a:pt x="3578" y="712"/>
                    </a:lnTo>
                    <a:lnTo>
                      <a:pt x="3525" y="722"/>
                    </a:lnTo>
                    <a:lnTo>
                      <a:pt x="3472" y="732"/>
                    </a:lnTo>
                    <a:lnTo>
                      <a:pt x="3418" y="742"/>
                    </a:lnTo>
                    <a:lnTo>
                      <a:pt x="3363" y="752"/>
                    </a:lnTo>
                    <a:lnTo>
                      <a:pt x="3306" y="761"/>
                    </a:lnTo>
                    <a:lnTo>
                      <a:pt x="3250" y="770"/>
                    </a:lnTo>
                    <a:lnTo>
                      <a:pt x="3191" y="779"/>
                    </a:lnTo>
                    <a:lnTo>
                      <a:pt x="3132" y="785"/>
                    </a:lnTo>
                    <a:lnTo>
                      <a:pt x="3072" y="792"/>
                    </a:lnTo>
                    <a:lnTo>
                      <a:pt x="3011" y="797"/>
                    </a:lnTo>
                    <a:lnTo>
                      <a:pt x="2948" y="802"/>
                    </a:lnTo>
                    <a:lnTo>
                      <a:pt x="2885" y="806"/>
                    </a:lnTo>
                    <a:lnTo>
                      <a:pt x="2820" y="808"/>
                    </a:lnTo>
                    <a:lnTo>
                      <a:pt x="2754" y="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05"/>
              <p:cNvSpPr>
                <a:spLocks/>
              </p:cNvSpPr>
              <p:nvPr userDrawn="1"/>
            </p:nvSpPr>
            <p:spPr bwMode="auto">
              <a:xfrm>
                <a:off x="1222" y="3447"/>
                <a:ext cx="1625" cy="204"/>
              </a:xfrm>
              <a:custGeom>
                <a:avLst/>
                <a:gdLst>
                  <a:gd name="T0" fmla="*/ 4846 w 4877"/>
                  <a:gd name="T1" fmla="*/ 599 h 611"/>
                  <a:gd name="T2" fmla="*/ 4800 w 4877"/>
                  <a:gd name="T3" fmla="*/ 542 h 611"/>
                  <a:gd name="T4" fmla="*/ 4739 w 4877"/>
                  <a:gd name="T5" fmla="*/ 454 h 611"/>
                  <a:gd name="T6" fmla="*/ 4664 w 4877"/>
                  <a:gd name="T7" fmla="*/ 368 h 611"/>
                  <a:gd name="T8" fmla="*/ 4551 w 4877"/>
                  <a:gd name="T9" fmla="*/ 288 h 611"/>
                  <a:gd name="T10" fmla="*/ 4388 w 4877"/>
                  <a:gd name="T11" fmla="*/ 229 h 611"/>
                  <a:gd name="T12" fmla="*/ 4157 w 4877"/>
                  <a:gd name="T13" fmla="*/ 201 h 611"/>
                  <a:gd name="T14" fmla="*/ 3845 w 4877"/>
                  <a:gd name="T15" fmla="*/ 218 h 611"/>
                  <a:gd name="T16" fmla="*/ 3436 w 4877"/>
                  <a:gd name="T17" fmla="*/ 293 h 611"/>
                  <a:gd name="T18" fmla="*/ 2915 w 4877"/>
                  <a:gd name="T19" fmla="*/ 440 h 611"/>
                  <a:gd name="T20" fmla="*/ 2613 w 4877"/>
                  <a:gd name="T21" fmla="*/ 530 h 611"/>
                  <a:gd name="T22" fmla="*/ 2414 w 4877"/>
                  <a:gd name="T23" fmla="*/ 559 h 611"/>
                  <a:gd name="T24" fmla="*/ 2222 w 4877"/>
                  <a:gd name="T25" fmla="*/ 562 h 611"/>
                  <a:gd name="T26" fmla="*/ 2034 w 4877"/>
                  <a:gd name="T27" fmla="*/ 539 h 611"/>
                  <a:gd name="T28" fmla="*/ 1851 w 4877"/>
                  <a:gd name="T29" fmla="*/ 499 h 611"/>
                  <a:gd name="T30" fmla="*/ 1670 w 4877"/>
                  <a:gd name="T31" fmla="*/ 445 h 611"/>
                  <a:gd name="T32" fmla="*/ 1363 w 4877"/>
                  <a:gd name="T33" fmla="*/ 328 h 611"/>
                  <a:gd name="T34" fmla="*/ 1051 w 4877"/>
                  <a:gd name="T35" fmla="*/ 204 h 611"/>
                  <a:gd name="T36" fmla="*/ 783 w 4877"/>
                  <a:gd name="T37" fmla="*/ 112 h 611"/>
                  <a:gd name="T38" fmla="*/ 627 w 4877"/>
                  <a:gd name="T39" fmla="*/ 71 h 611"/>
                  <a:gd name="T40" fmla="*/ 469 w 4877"/>
                  <a:gd name="T41" fmla="*/ 42 h 611"/>
                  <a:gd name="T42" fmla="*/ 307 w 4877"/>
                  <a:gd name="T43" fmla="*/ 27 h 611"/>
                  <a:gd name="T44" fmla="*/ 142 w 4877"/>
                  <a:gd name="T45" fmla="*/ 31 h 611"/>
                  <a:gd name="T46" fmla="*/ 11 w 4877"/>
                  <a:gd name="T47" fmla="*/ 48 h 611"/>
                  <a:gd name="T48" fmla="*/ 1 w 4877"/>
                  <a:gd name="T49" fmla="*/ 31 h 611"/>
                  <a:gd name="T50" fmla="*/ 54 w 4877"/>
                  <a:gd name="T51" fmla="*/ 14 h 611"/>
                  <a:gd name="T52" fmla="*/ 223 w 4877"/>
                  <a:gd name="T53" fmla="*/ 0 h 611"/>
                  <a:gd name="T54" fmla="*/ 389 w 4877"/>
                  <a:gd name="T55" fmla="*/ 6 h 611"/>
                  <a:gd name="T56" fmla="*/ 551 w 4877"/>
                  <a:gd name="T57" fmla="*/ 28 h 611"/>
                  <a:gd name="T58" fmla="*/ 709 w 4877"/>
                  <a:gd name="T59" fmla="*/ 64 h 611"/>
                  <a:gd name="T60" fmla="*/ 905 w 4877"/>
                  <a:gd name="T61" fmla="*/ 123 h 611"/>
                  <a:gd name="T62" fmla="*/ 1210 w 4877"/>
                  <a:gd name="T63" fmla="*/ 239 h 611"/>
                  <a:gd name="T64" fmla="*/ 1545 w 4877"/>
                  <a:gd name="T65" fmla="*/ 372 h 611"/>
                  <a:gd name="T66" fmla="*/ 1765 w 4877"/>
                  <a:gd name="T67" fmla="*/ 446 h 611"/>
                  <a:gd name="T68" fmla="*/ 1945 w 4877"/>
                  <a:gd name="T69" fmla="*/ 494 h 611"/>
                  <a:gd name="T70" fmla="*/ 2128 w 4877"/>
                  <a:gd name="T71" fmla="*/ 526 h 611"/>
                  <a:gd name="T72" fmla="*/ 2316 w 4877"/>
                  <a:gd name="T73" fmla="*/ 537 h 611"/>
                  <a:gd name="T74" fmla="*/ 2509 w 4877"/>
                  <a:gd name="T75" fmla="*/ 523 h 611"/>
                  <a:gd name="T76" fmla="*/ 2707 w 4877"/>
                  <a:gd name="T77" fmla="*/ 478 h 611"/>
                  <a:gd name="T78" fmla="*/ 3187 w 4877"/>
                  <a:gd name="T79" fmla="*/ 329 h 611"/>
                  <a:gd name="T80" fmla="*/ 3656 w 4877"/>
                  <a:gd name="T81" fmla="*/ 220 h 611"/>
                  <a:gd name="T82" fmla="*/ 4020 w 4877"/>
                  <a:gd name="T83" fmla="*/ 176 h 611"/>
                  <a:gd name="T84" fmla="*/ 4293 w 4877"/>
                  <a:gd name="T85" fmla="*/ 185 h 611"/>
                  <a:gd name="T86" fmla="*/ 4493 w 4877"/>
                  <a:gd name="T87" fmla="*/ 232 h 611"/>
                  <a:gd name="T88" fmla="*/ 4631 w 4877"/>
                  <a:gd name="T89" fmla="*/ 306 h 611"/>
                  <a:gd name="T90" fmla="*/ 4726 w 4877"/>
                  <a:gd name="T91" fmla="*/ 393 h 611"/>
                  <a:gd name="T92" fmla="*/ 4790 w 4877"/>
                  <a:gd name="T93" fmla="*/ 479 h 611"/>
                  <a:gd name="T94" fmla="*/ 4846 w 4877"/>
                  <a:gd name="T95" fmla="*/ 560 h 611"/>
                  <a:gd name="T96" fmla="*/ 4876 w 4877"/>
                  <a:gd name="T97" fmla="*/ 592 h 611"/>
                  <a:gd name="T98" fmla="*/ 4872 w 4877"/>
                  <a:gd name="T99" fmla="*/ 608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77" h="611">
                    <a:moveTo>
                      <a:pt x="4864" y="611"/>
                    </a:moveTo>
                    <a:lnTo>
                      <a:pt x="4859" y="610"/>
                    </a:lnTo>
                    <a:lnTo>
                      <a:pt x="4856" y="608"/>
                    </a:lnTo>
                    <a:lnTo>
                      <a:pt x="4846" y="599"/>
                    </a:lnTo>
                    <a:lnTo>
                      <a:pt x="4836" y="590"/>
                    </a:lnTo>
                    <a:lnTo>
                      <a:pt x="4827" y="579"/>
                    </a:lnTo>
                    <a:lnTo>
                      <a:pt x="4818" y="568"/>
                    </a:lnTo>
                    <a:lnTo>
                      <a:pt x="4800" y="542"/>
                    </a:lnTo>
                    <a:lnTo>
                      <a:pt x="4781" y="514"/>
                    </a:lnTo>
                    <a:lnTo>
                      <a:pt x="4768" y="495"/>
                    </a:lnTo>
                    <a:lnTo>
                      <a:pt x="4754" y="474"/>
                    </a:lnTo>
                    <a:lnTo>
                      <a:pt x="4739" y="454"/>
                    </a:lnTo>
                    <a:lnTo>
                      <a:pt x="4723" y="432"/>
                    </a:lnTo>
                    <a:lnTo>
                      <a:pt x="4706" y="410"/>
                    </a:lnTo>
                    <a:lnTo>
                      <a:pt x="4686" y="389"/>
                    </a:lnTo>
                    <a:lnTo>
                      <a:pt x="4664" y="368"/>
                    </a:lnTo>
                    <a:lnTo>
                      <a:pt x="4640" y="347"/>
                    </a:lnTo>
                    <a:lnTo>
                      <a:pt x="4614" y="327"/>
                    </a:lnTo>
                    <a:lnTo>
                      <a:pt x="4584" y="308"/>
                    </a:lnTo>
                    <a:lnTo>
                      <a:pt x="4551" y="288"/>
                    </a:lnTo>
                    <a:lnTo>
                      <a:pt x="4516" y="271"/>
                    </a:lnTo>
                    <a:lnTo>
                      <a:pt x="4477" y="256"/>
                    </a:lnTo>
                    <a:lnTo>
                      <a:pt x="4435" y="241"/>
                    </a:lnTo>
                    <a:lnTo>
                      <a:pt x="4388" y="229"/>
                    </a:lnTo>
                    <a:lnTo>
                      <a:pt x="4336" y="218"/>
                    </a:lnTo>
                    <a:lnTo>
                      <a:pt x="4281" y="210"/>
                    </a:lnTo>
                    <a:lnTo>
                      <a:pt x="4222" y="204"/>
                    </a:lnTo>
                    <a:lnTo>
                      <a:pt x="4157" y="201"/>
                    </a:lnTo>
                    <a:lnTo>
                      <a:pt x="4087" y="201"/>
                    </a:lnTo>
                    <a:lnTo>
                      <a:pt x="4012" y="203"/>
                    </a:lnTo>
                    <a:lnTo>
                      <a:pt x="3931" y="209"/>
                    </a:lnTo>
                    <a:lnTo>
                      <a:pt x="3845" y="218"/>
                    </a:lnTo>
                    <a:lnTo>
                      <a:pt x="3752" y="231"/>
                    </a:lnTo>
                    <a:lnTo>
                      <a:pt x="3653" y="247"/>
                    </a:lnTo>
                    <a:lnTo>
                      <a:pt x="3548" y="268"/>
                    </a:lnTo>
                    <a:lnTo>
                      <a:pt x="3436" y="293"/>
                    </a:lnTo>
                    <a:lnTo>
                      <a:pt x="3317" y="323"/>
                    </a:lnTo>
                    <a:lnTo>
                      <a:pt x="3191" y="356"/>
                    </a:lnTo>
                    <a:lnTo>
                      <a:pt x="3057" y="395"/>
                    </a:lnTo>
                    <a:lnTo>
                      <a:pt x="2915" y="440"/>
                    </a:lnTo>
                    <a:lnTo>
                      <a:pt x="2766" y="488"/>
                    </a:lnTo>
                    <a:lnTo>
                      <a:pt x="2715" y="504"/>
                    </a:lnTo>
                    <a:lnTo>
                      <a:pt x="2664" y="518"/>
                    </a:lnTo>
                    <a:lnTo>
                      <a:pt x="2613" y="530"/>
                    </a:lnTo>
                    <a:lnTo>
                      <a:pt x="2563" y="541"/>
                    </a:lnTo>
                    <a:lnTo>
                      <a:pt x="2514" y="549"/>
                    </a:lnTo>
                    <a:lnTo>
                      <a:pt x="2464" y="555"/>
                    </a:lnTo>
                    <a:lnTo>
                      <a:pt x="2414" y="559"/>
                    </a:lnTo>
                    <a:lnTo>
                      <a:pt x="2366" y="563"/>
                    </a:lnTo>
                    <a:lnTo>
                      <a:pt x="2318" y="564"/>
                    </a:lnTo>
                    <a:lnTo>
                      <a:pt x="2270" y="563"/>
                    </a:lnTo>
                    <a:lnTo>
                      <a:pt x="2222" y="562"/>
                    </a:lnTo>
                    <a:lnTo>
                      <a:pt x="2175" y="557"/>
                    </a:lnTo>
                    <a:lnTo>
                      <a:pt x="2127" y="553"/>
                    </a:lnTo>
                    <a:lnTo>
                      <a:pt x="2081" y="546"/>
                    </a:lnTo>
                    <a:lnTo>
                      <a:pt x="2034" y="539"/>
                    </a:lnTo>
                    <a:lnTo>
                      <a:pt x="1988" y="530"/>
                    </a:lnTo>
                    <a:lnTo>
                      <a:pt x="1941" y="522"/>
                    </a:lnTo>
                    <a:lnTo>
                      <a:pt x="1896" y="511"/>
                    </a:lnTo>
                    <a:lnTo>
                      <a:pt x="1851" y="499"/>
                    </a:lnTo>
                    <a:lnTo>
                      <a:pt x="1805" y="486"/>
                    </a:lnTo>
                    <a:lnTo>
                      <a:pt x="1760" y="473"/>
                    </a:lnTo>
                    <a:lnTo>
                      <a:pt x="1716" y="459"/>
                    </a:lnTo>
                    <a:lnTo>
                      <a:pt x="1670" y="445"/>
                    </a:lnTo>
                    <a:lnTo>
                      <a:pt x="1626" y="429"/>
                    </a:lnTo>
                    <a:lnTo>
                      <a:pt x="1538" y="397"/>
                    </a:lnTo>
                    <a:lnTo>
                      <a:pt x="1450" y="364"/>
                    </a:lnTo>
                    <a:lnTo>
                      <a:pt x="1363" y="328"/>
                    </a:lnTo>
                    <a:lnTo>
                      <a:pt x="1275" y="294"/>
                    </a:lnTo>
                    <a:lnTo>
                      <a:pt x="1201" y="264"/>
                    </a:lnTo>
                    <a:lnTo>
                      <a:pt x="1126" y="233"/>
                    </a:lnTo>
                    <a:lnTo>
                      <a:pt x="1051" y="204"/>
                    </a:lnTo>
                    <a:lnTo>
                      <a:pt x="975" y="176"/>
                    </a:lnTo>
                    <a:lnTo>
                      <a:pt x="898" y="149"/>
                    </a:lnTo>
                    <a:lnTo>
                      <a:pt x="822" y="124"/>
                    </a:lnTo>
                    <a:lnTo>
                      <a:pt x="783" y="112"/>
                    </a:lnTo>
                    <a:lnTo>
                      <a:pt x="744" y="101"/>
                    </a:lnTo>
                    <a:lnTo>
                      <a:pt x="705" y="91"/>
                    </a:lnTo>
                    <a:lnTo>
                      <a:pt x="666" y="80"/>
                    </a:lnTo>
                    <a:lnTo>
                      <a:pt x="627" y="71"/>
                    </a:lnTo>
                    <a:lnTo>
                      <a:pt x="587" y="63"/>
                    </a:lnTo>
                    <a:lnTo>
                      <a:pt x="548" y="55"/>
                    </a:lnTo>
                    <a:lnTo>
                      <a:pt x="508" y="48"/>
                    </a:lnTo>
                    <a:lnTo>
                      <a:pt x="469" y="42"/>
                    </a:lnTo>
                    <a:lnTo>
                      <a:pt x="429" y="37"/>
                    </a:lnTo>
                    <a:lnTo>
                      <a:pt x="388" y="33"/>
                    </a:lnTo>
                    <a:lnTo>
                      <a:pt x="348" y="29"/>
                    </a:lnTo>
                    <a:lnTo>
                      <a:pt x="307" y="27"/>
                    </a:lnTo>
                    <a:lnTo>
                      <a:pt x="266" y="27"/>
                    </a:lnTo>
                    <a:lnTo>
                      <a:pt x="224" y="27"/>
                    </a:lnTo>
                    <a:lnTo>
                      <a:pt x="183" y="28"/>
                    </a:lnTo>
                    <a:lnTo>
                      <a:pt x="142" y="31"/>
                    </a:lnTo>
                    <a:lnTo>
                      <a:pt x="100" y="36"/>
                    </a:lnTo>
                    <a:lnTo>
                      <a:pt x="58" y="41"/>
                    </a:lnTo>
                    <a:lnTo>
                      <a:pt x="16" y="48"/>
                    </a:lnTo>
                    <a:lnTo>
                      <a:pt x="11" y="48"/>
                    </a:lnTo>
                    <a:lnTo>
                      <a:pt x="6" y="46"/>
                    </a:lnTo>
                    <a:lnTo>
                      <a:pt x="2" y="42"/>
                    </a:lnTo>
                    <a:lnTo>
                      <a:pt x="0" y="37"/>
                    </a:lnTo>
                    <a:lnTo>
                      <a:pt x="1" y="31"/>
                    </a:lnTo>
                    <a:lnTo>
                      <a:pt x="2" y="27"/>
                    </a:lnTo>
                    <a:lnTo>
                      <a:pt x="6" y="23"/>
                    </a:lnTo>
                    <a:lnTo>
                      <a:pt x="12" y="21"/>
                    </a:lnTo>
                    <a:lnTo>
                      <a:pt x="54" y="14"/>
                    </a:lnTo>
                    <a:lnTo>
                      <a:pt x="97" y="9"/>
                    </a:lnTo>
                    <a:lnTo>
                      <a:pt x="139" y="5"/>
                    </a:lnTo>
                    <a:lnTo>
                      <a:pt x="181" y="1"/>
                    </a:lnTo>
                    <a:lnTo>
                      <a:pt x="223" y="0"/>
                    </a:lnTo>
                    <a:lnTo>
                      <a:pt x="266" y="0"/>
                    </a:lnTo>
                    <a:lnTo>
                      <a:pt x="307" y="0"/>
                    </a:lnTo>
                    <a:lnTo>
                      <a:pt x="348" y="2"/>
                    </a:lnTo>
                    <a:lnTo>
                      <a:pt x="389" y="6"/>
                    </a:lnTo>
                    <a:lnTo>
                      <a:pt x="430" y="10"/>
                    </a:lnTo>
                    <a:lnTo>
                      <a:pt x="471" y="15"/>
                    </a:lnTo>
                    <a:lnTo>
                      <a:pt x="511" y="21"/>
                    </a:lnTo>
                    <a:lnTo>
                      <a:pt x="551" y="28"/>
                    </a:lnTo>
                    <a:lnTo>
                      <a:pt x="591" y="36"/>
                    </a:lnTo>
                    <a:lnTo>
                      <a:pt x="630" y="44"/>
                    </a:lnTo>
                    <a:lnTo>
                      <a:pt x="670" y="53"/>
                    </a:lnTo>
                    <a:lnTo>
                      <a:pt x="709" y="64"/>
                    </a:lnTo>
                    <a:lnTo>
                      <a:pt x="749" y="75"/>
                    </a:lnTo>
                    <a:lnTo>
                      <a:pt x="788" y="85"/>
                    </a:lnTo>
                    <a:lnTo>
                      <a:pt x="827" y="97"/>
                    </a:lnTo>
                    <a:lnTo>
                      <a:pt x="905" y="123"/>
                    </a:lnTo>
                    <a:lnTo>
                      <a:pt x="983" y="150"/>
                    </a:lnTo>
                    <a:lnTo>
                      <a:pt x="1058" y="178"/>
                    </a:lnTo>
                    <a:lnTo>
                      <a:pt x="1135" y="209"/>
                    </a:lnTo>
                    <a:lnTo>
                      <a:pt x="1210" y="239"/>
                    </a:lnTo>
                    <a:lnTo>
                      <a:pt x="1286" y="269"/>
                    </a:lnTo>
                    <a:lnTo>
                      <a:pt x="1371" y="304"/>
                    </a:lnTo>
                    <a:lnTo>
                      <a:pt x="1458" y="338"/>
                    </a:lnTo>
                    <a:lnTo>
                      <a:pt x="1545" y="372"/>
                    </a:lnTo>
                    <a:lnTo>
                      <a:pt x="1633" y="403"/>
                    </a:lnTo>
                    <a:lnTo>
                      <a:pt x="1677" y="418"/>
                    </a:lnTo>
                    <a:lnTo>
                      <a:pt x="1721" y="433"/>
                    </a:lnTo>
                    <a:lnTo>
                      <a:pt x="1765" y="446"/>
                    </a:lnTo>
                    <a:lnTo>
                      <a:pt x="1810" y="460"/>
                    </a:lnTo>
                    <a:lnTo>
                      <a:pt x="1855" y="472"/>
                    </a:lnTo>
                    <a:lnTo>
                      <a:pt x="1899" y="484"/>
                    </a:lnTo>
                    <a:lnTo>
                      <a:pt x="1945" y="494"/>
                    </a:lnTo>
                    <a:lnTo>
                      <a:pt x="1990" y="503"/>
                    </a:lnTo>
                    <a:lnTo>
                      <a:pt x="2036" y="512"/>
                    </a:lnTo>
                    <a:lnTo>
                      <a:pt x="2082" y="519"/>
                    </a:lnTo>
                    <a:lnTo>
                      <a:pt x="2128" y="526"/>
                    </a:lnTo>
                    <a:lnTo>
                      <a:pt x="2175" y="530"/>
                    </a:lnTo>
                    <a:lnTo>
                      <a:pt x="2222" y="533"/>
                    </a:lnTo>
                    <a:lnTo>
                      <a:pt x="2269" y="536"/>
                    </a:lnTo>
                    <a:lnTo>
                      <a:pt x="2316" y="537"/>
                    </a:lnTo>
                    <a:lnTo>
                      <a:pt x="2364" y="536"/>
                    </a:lnTo>
                    <a:lnTo>
                      <a:pt x="2412" y="532"/>
                    </a:lnTo>
                    <a:lnTo>
                      <a:pt x="2460" y="528"/>
                    </a:lnTo>
                    <a:lnTo>
                      <a:pt x="2509" y="523"/>
                    </a:lnTo>
                    <a:lnTo>
                      <a:pt x="2558" y="514"/>
                    </a:lnTo>
                    <a:lnTo>
                      <a:pt x="2608" y="504"/>
                    </a:lnTo>
                    <a:lnTo>
                      <a:pt x="2657" y="492"/>
                    </a:lnTo>
                    <a:lnTo>
                      <a:pt x="2707" y="478"/>
                    </a:lnTo>
                    <a:lnTo>
                      <a:pt x="2758" y="462"/>
                    </a:lnTo>
                    <a:lnTo>
                      <a:pt x="2909" y="413"/>
                    </a:lnTo>
                    <a:lnTo>
                      <a:pt x="3051" y="368"/>
                    </a:lnTo>
                    <a:lnTo>
                      <a:pt x="3187" y="329"/>
                    </a:lnTo>
                    <a:lnTo>
                      <a:pt x="3315" y="295"/>
                    </a:lnTo>
                    <a:lnTo>
                      <a:pt x="3436" y="266"/>
                    </a:lnTo>
                    <a:lnTo>
                      <a:pt x="3549" y="241"/>
                    </a:lnTo>
                    <a:lnTo>
                      <a:pt x="3656" y="220"/>
                    </a:lnTo>
                    <a:lnTo>
                      <a:pt x="3757" y="203"/>
                    </a:lnTo>
                    <a:lnTo>
                      <a:pt x="3850" y="190"/>
                    </a:lnTo>
                    <a:lnTo>
                      <a:pt x="3938" y="182"/>
                    </a:lnTo>
                    <a:lnTo>
                      <a:pt x="4020" y="176"/>
                    </a:lnTo>
                    <a:lnTo>
                      <a:pt x="4096" y="174"/>
                    </a:lnTo>
                    <a:lnTo>
                      <a:pt x="4167" y="175"/>
                    </a:lnTo>
                    <a:lnTo>
                      <a:pt x="4233" y="178"/>
                    </a:lnTo>
                    <a:lnTo>
                      <a:pt x="4293" y="185"/>
                    </a:lnTo>
                    <a:lnTo>
                      <a:pt x="4349" y="193"/>
                    </a:lnTo>
                    <a:lnTo>
                      <a:pt x="4401" y="204"/>
                    </a:lnTo>
                    <a:lnTo>
                      <a:pt x="4449" y="217"/>
                    </a:lnTo>
                    <a:lnTo>
                      <a:pt x="4493" y="232"/>
                    </a:lnTo>
                    <a:lnTo>
                      <a:pt x="4532" y="248"/>
                    </a:lnTo>
                    <a:lnTo>
                      <a:pt x="4569" y="267"/>
                    </a:lnTo>
                    <a:lnTo>
                      <a:pt x="4602" y="286"/>
                    </a:lnTo>
                    <a:lnTo>
                      <a:pt x="4631" y="306"/>
                    </a:lnTo>
                    <a:lnTo>
                      <a:pt x="4659" y="327"/>
                    </a:lnTo>
                    <a:lnTo>
                      <a:pt x="4683" y="349"/>
                    </a:lnTo>
                    <a:lnTo>
                      <a:pt x="4706" y="370"/>
                    </a:lnTo>
                    <a:lnTo>
                      <a:pt x="4726" y="393"/>
                    </a:lnTo>
                    <a:lnTo>
                      <a:pt x="4745" y="415"/>
                    </a:lnTo>
                    <a:lnTo>
                      <a:pt x="4761" y="437"/>
                    </a:lnTo>
                    <a:lnTo>
                      <a:pt x="4776" y="458"/>
                    </a:lnTo>
                    <a:lnTo>
                      <a:pt x="4790" y="479"/>
                    </a:lnTo>
                    <a:lnTo>
                      <a:pt x="4803" y="499"/>
                    </a:lnTo>
                    <a:lnTo>
                      <a:pt x="4821" y="526"/>
                    </a:lnTo>
                    <a:lnTo>
                      <a:pt x="4839" y="550"/>
                    </a:lnTo>
                    <a:lnTo>
                      <a:pt x="4846" y="560"/>
                    </a:lnTo>
                    <a:lnTo>
                      <a:pt x="4855" y="570"/>
                    </a:lnTo>
                    <a:lnTo>
                      <a:pt x="4863" y="580"/>
                    </a:lnTo>
                    <a:lnTo>
                      <a:pt x="4872" y="587"/>
                    </a:lnTo>
                    <a:lnTo>
                      <a:pt x="4876" y="592"/>
                    </a:lnTo>
                    <a:lnTo>
                      <a:pt x="4877" y="596"/>
                    </a:lnTo>
                    <a:lnTo>
                      <a:pt x="4877" y="601"/>
                    </a:lnTo>
                    <a:lnTo>
                      <a:pt x="4874" y="606"/>
                    </a:lnTo>
                    <a:lnTo>
                      <a:pt x="4872" y="608"/>
                    </a:lnTo>
                    <a:lnTo>
                      <a:pt x="4870" y="610"/>
                    </a:lnTo>
                    <a:lnTo>
                      <a:pt x="4867" y="611"/>
                    </a:lnTo>
                    <a:lnTo>
                      <a:pt x="4864" y="6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06"/>
              <p:cNvSpPr>
                <a:spLocks/>
              </p:cNvSpPr>
              <p:nvPr userDrawn="1"/>
            </p:nvSpPr>
            <p:spPr bwMode="auto">
              <a:xfrm>
                <a:off x="1202" y="3384"/>
                <a:ext cx="1588" cy="126"/>
              </a:xfrm>
              <a:custGeom>
                <a:avLst/>
                <a:gdLst>
                  <a:gd name="T0" fmla="*/ 4740 w 4762"/>
                  <a:gd name="T1" fmla="*/ 376 h 378"/>
                  <a:gd name="T2" fmla="*/ 4724 w 4762"/>
                  <a:gd name="T3" fmla="*/ 347 h 378"/>
                  <a:gd name="T4" fmla="*/ 4654 w 4762"/>
                  <a:gd name="T5" fmla="*/ 284 h 378"/>
                  <a:gd name="T6" fmla="*/ 4532 w 4762"/>
                  <a:gd name="T7" fmla="*/ 230 h 378"/>
                  <a:gd name="T8" fmla="*/ 4365 w 4762"/>
                  <a:gd name="T9" fmla="*/ 186 h 378"/>
                  <a:gd name="T10" fmla="*/ 4162 w 4762"/>
                  <a:gd name="T11" fmla="*/ 151 h 378"/>
                  <a:gd name="T12" fmla="*/ 3930 w 4762"/>
                  <a:gd name="T13" fmla="*/ 125 h 378"/>
                  <a:gd name="T14" fmla="*/ 3676 w 4762"/>
                  <a:gd name="T15" fmla="*/ 109 h 378"/>
                  <a:gd name="T16" fmla="*/ 3407 w 4762"/>
                  <a:gd name="T17" fmla="*/ 103 h 378"/>
                  <a:gd name="T18" fmla="*/ 3132 w 4762"/>
                  <a:gd name="T19" fmla="*/ 106 h 378"/>
                  <a:gd name="T20" fmla="*/ 2858 w 4762"/>
                  <a:gd name="T21" fmla="*/ 120 h 378"/>
                  <a:gd name="T22" fmla="*/ 2590 w 4762"/>
                  <a:gd name="T23" fmla="*/ 144 h 378"/>
                  <a:gd name="T24" fmla="*/ 2406 w 4762"/>
                  <a:gd name="T25" fmla="*/ 165 h 378"/>
                  <a:gd name="T26" fmla="*/ 2261 w 4762"/>
                  <a:gd name="T27" fmla="*/ 176 h 378"/>
                  <a:gd name="T28" fmla="*/ 2116 w 4762"/>
                  <a:gd name="T29" fmla="*/ 182 h 378"/>
                  <a:gd name="T30" fmla="*/ 1830 w 4762"/>
                  <a:gd name="T31" fmla="*/ 177 h 378"/>
                  <a:gd name="T32" fmla="*/ 1551 w 4762"/>
                  <a:gd name="T33" fmla="*/ 157 h 378"/>
                  <a:gd name="T34" fmla="*/ 1281 w 4762"/>
                  <a:gd name="T35" fmla="*/ 128 h 378"/>
                  <a:gd name="T36" fmla="*/ 1023 w 4762"/>
                  <a:gd name="T37" fmla="*/ 94 h 378"/>
                  <a:gd name="T38" fmla="*/ 803 w 4762"/>
                  <a:gd name="T39" fmla="*/ 65 h 378"/>
                  <a:gd name="T40" fmla="*/ 595 w 4762"/>
                  <a:gd name="T41" fmla="*/ 42 h 378"/>
                  <a:gd name="T42" fmla="*/ 402 w 4762"/>
                  <a:gd name="T43" fmla="*/ 28 h 378"/>
                  <a:gd name="T44" fmla="*/ 225 w 4762"/>
                  <a:gd name="T45" fmla="*/ 29 h 378"/>
                  <a:gd name="T46" fmla="*/ 143 w 4762"/>
                  <a:gd name="T47" fmla="*/ 36 h 378"/>
                  <a:gd name="T48" fmla="*/ 65 w 4762"/>
                  <a:gd name="T49" fmla="*/ 48 h 378"/>
                  <a:gd name="T50" fmla="*/ 10 w 4762"/>
                  <a:gd name="T51" fmla="*/ 58 h 378"/>
                  <a:gd name="T52" fmla="*/ 0 w 4762"/>
                  <a:gd name="T53" fmla="*/ 48 h 378"/>
                  <a:gd name="T54" fmla="*/ 4 w 4762"/>
                  <a:gd name="T55" fmla="*/ 34 h 378"/>
                  <a:gd name="T56" fmla="*/ 59 w 4762"/>
                  <a:gd name="T57" fmla="*/ 21 h 378"/>
                  <a:gd name="T58" fmla="*/ 139 w 4762"/>
                  <a:gd name="T59" fmla="*/ 9 h 378"/>
                  <a:gd name="T60" fmla="*/ 222 w 4762"/>
                  <a:gd name="T61" fmla="*/ 2 h 378"/>
                  <a:gd name="T62" fmla="*/ 401 w 4762"/>
                  <a:gd name="T63" fmla="*/ 1 h 378"/>
                  <a:gd name="T64" fmla="*/ 596 w 4762"/>
                  <a:gd name="T65" fmla="*/ 15 h 378"/>
                  <a:gd name="T66" fmla="*/ 804 w 4762"/>
                  <a:gd name="T67" fmla="*/ 38 h 378"/>
                  <a:gd name="T68" fmla="*/ 1026 w 4762"/>
                  <a:gd name="T69" fmla="*/ 67 h 378"/>
                  <a:gd name="T70" fmla="*/ 1285 w 4762"/>
                  <a:gd name="T71" fmla="*/ 101 h 378"/>
                  <a:gd name="T72" fmla="*/ 1553 w 4762"/>
                  <a:gd name="T73" fmla="*/ 130 h 378"/>
                  <a:gd name="T74" fmla="*/ 1831 w 4762"/>
                  <a:gd name="T75" fmla="*/ 150 h 378"/>
                  <a:gd name="T76" fmla="*/ 2115 w 4762"/>
                  <a:gd name="T77" fmla="*/ 155 h 378"/>
                  <a:gd name="T78" fmla="*/ 2259 w 4762"/>
                  <a:gd name="T79" fmla="*/ 149 h 378"/>
                  <a:gd name="T80" fmla="*/ 2404 w 4762"/>
                  <a:gd name="T81" fmla="*/ 138 h 378"/>
                  <a:gd name="T82" fmla="*/ 2580 w 4762"/>
                  <a:gd name="T83" fmla="*/ 118 h 378"/>
                  <a:gd name="T84" fmla="*/ 2832 w 4762"/>
                  <a:gd name="T85" fmla="*/ 95 h 378"/>
                  <a:gd name="T86" fmla="*/ 3099 w 4762"/>
                  <a:gd name="T87" fmla="*/ 81 h 378"/>
                  <a:gd name="T88" fmla="*/ 3373 w 4762"/>
                  <a:gd name="T89" fmla="*/ 77 h 378"/>
                  <a:gd name="T90" fmla="*/ 3645 w 4762"/>
                  <a:gd name="T91" fmla="*/ 82 h 378"/>
                  <a:gd name="T92" fmla="*/ 3906 w 4762"/>
                  <a:gd name="T93" fmla="*/ 97 h 378"/>
                  <a:gd name="T94" fmla="*/ 4148 w 4762"/>
                  <a:gd name="T95" fmla="*/ 122 h 378"/>
                  <a:gd name="T96" fmla="*/ 4362 w 4762"/>
                  <a:gd name="T97" fmla="*/ 159 h 378"/>
                  <a:gd name="T98" fmla="*/ 4539 w 4762"/>
                  <a:gd name="T99" fmla="*/ 205 h 378"/>
                  <a:gd name="T100" fmla="*/ 4671 w 4762"/>
                  <a:gd name="T101" fmla="*/ 265 h 378"/>
                  <a:gd name="T102" fmla="*/ 4749 w 4762"/>
                  <a:gd name="T103" fmla="*/ 335 h 378"/>
                  <a:gd name="T104" fmla="*/ 4759 w 4762"/>
                  <a:gd name="T105" fmla="*/ 372 h 378"/>
                  <a:gd name="T106" fmla="*/ 4750 w 4762"/>
                  <a:gd name="T107" fmla="*/ 37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62" h="378">
                    <a:moveTo>
                      <a:pt x="4748" y="378"/>
                    </a:moveTo>
                    <a:lnTo>
                      <a:pt x="4743" y="378"/>
                    </a:lnTo>
                    <a:lnTo>
                      <a:pt x="4740" y="376"/>
                    </a:lnTo>
                    <a:lnTo>
                      <a:pt x="4737" y="373"/>
                    </a:lnTo>
                    <a:lnTo>
                      <a:pt x="4735" y="369"/>
                    </a:lnTo>
                    <a:lnTo>
                      <a:pt x="4724" y="347"/>
                    </a:lnTo>
                    <a:lnTo>
                      <a:pt x="4706" y="325"/>
                    </a:lnTo>
                    <a:lnTo>
                      <a:pt x="4683" y="304"/>
                    </a:lnTo>
                    <a:lnTo>
                      <a:pt x="4654" y="284"/>
                    </a:lnTo>
                    <a:lnTo>
                      <a:pt x="4618" y="265"/>
                    </a:lnTo>
                    <a:lnTo>
                      <a:pt x="4577" y="247"/>
                    </a:lnTo>
                    <a:lnTo>
                      <a:pt x="4532" y="230"/>
                    </a:lnTo>
                    <a:lnTo>
                      <a:pt x="4481" y="215"/>
                    </a:lnTo>
                    <a:lnTo>
                      <a:pt x="4425" y="200"/>
                    </a:lnTo>
                    <a:lnTo>
                      <a:pt x="4365" y="186"/>
                    </a:lnTo>
                    <a:lnTo>
                      <a:pt x="4302" y="173"/>
                    </a:lnTo>
                    <a:lnTo>
                      <a:pt x="4234" y="162"/>
                    </a:lnTo>
                    <a:lnTo>
                      <a:pt x="4162" y="151"/>
                    </a:lnTo>
                    <a:lnTo>
                      <a:pt x="4088" y="142"/>
                    </a:lnTo>
                    <a:lnTo>
                      <a:pt x="4010" y="133"/>
                    </a:lnTo>
                    <a:lnTo>
                      <a:pt x="3930" y="125"/>
                    </a:lnTo>
                    <a:lnTo>
                      <a:pt x="3848" y="119"/>
                    </a:lnTo>
                    <a:lnTo>
                      <a:pt x="3763" y="114"/>
                    </a:lnTo>
                    <a:lnTo>
                      <a:pt x="3676" y="109"/>
                    </a:lnTo>
                    <a:lnTo>
                      <a:pt x="3588" y="106"/>
                    </a:lnTo>
                    <a:lnTo>
                      <a:pt x="3498" y="104"/>
                    </a:lnTo>
                    <a:lnTo>
                      <a:pt x="3407" y="103"/>
                    </a:lnTo>
                    <a:lnTo>
                      <a:pt x="3317" y="103"/>
                    </a:lnTo>
                    <a:lnTo>
                      <a:pt x="3225" y="104"/>
                    </a:lnTo>
                    <a:lnTo>
                      <a:pt x="3132" y="106"/>
                    </a:lnTo>
                    <a:lnTo>
                      <a:pt x="3040" y="110"/>
                    </a:lnTo>
                    <a:lnTo>
                      <a:pt x="2949" y="115"/>
                    </a:lnTo>
                    <a:lnTo>
                      <a:pt x="2858" y="120"/>
                    </a:lnTo>
                    <a:lnTo>
                      <a:pt x="2767" y="126"/>
                    </a:lnTo>
                    <a:lnTo>
                      <a:pt x="2679" y="135"/>
                    </a:lnTo>
                    <a:lnTo>
                      <a:pt x="2590" y="144"/>
                    </a:lnTo>
                    <a:lnTo>
                      <a:pt x="2505" y="155"/>
                    </a:lnTo>
                    <a:lnTo>
                      <a:pt x="2456" y="160"/>
                    </a:lnTo>
                    <a:lnTo>
                      <a:pt x="2406" y="165"/>
                    </a:lnTo>
                    <a:lnTo>
                      <a:pt x="2358" y="170"/>
                    </a:lnTo>
                    <a:lnTo>
                      <a:pt x="2309" y="173"/>
                    </a:lnTo>
                    <a:lnTo>
                      <a:pt x="2261" y="176"/>
                    </a:lnTo>
                    <a:lnTo>
                      <a:pt x="2212" y="178"/>
                    </a:lnTo>
                    <a:lnTo>
                      <a:pt x="2164" y="180"/>
                    </a:lnTo>
                    <a:lnTo>
                      <a:pt x="2116" y="182"/>
                    </a:lnTo>
                    <a:lnTo>
                      <a:pt x="2020" y="182"/>
                    </a:lnTo>
                    <a:lnTo>
                      <a:pt x="1925" y="180"/>
                    </a:lnTo>
                    <a:lnTo>
                      <a:pt x="1830" y="177"/>
                    </a:lnTo>
                    <a:lnTo>
                      <a:pt x="1736" y="172"/>
                    </a:lnTo>
                    <a:lnTo>
                      <a:pt x="1643" y="165"/>
                    </a:lnTo>
                    <a:lnTo>
                      <a:pt x="1551" y="157"/>
                    </a:lnTo>
                    <a:lnTo>
                      <a:pt x="1461" y="148"/>
                    </a:lnTo>
                    <a:lnTo>
                      <a:pt x="1371" y="137"/>
                    </a:lnTo>
                    <a:lnTo>
                      <a:pt x="1281" y="128"/>
                    </a:lnTo>
                    <a:lnTo>
                      <a:pt x="1194" y="116"/>
                    </a:lnTo>
                    <a:lnTo>
                      <a:pt x="1107" y="105"/>
                    </a:lnTo>
                    <a:lnTo>
                      <a:pt x="1023" y="94"/>
                    </a:lnTo>
                    <a:lnTo>
                      <a:pt x="948" y="83"/>
                    </a:lnTo>
                    <a:lnTo>
                      <a:pt x="874" y="75"/>
                    </a:lnTo>
                    <a:lnTo>
                      <a:pt x="803" y="65"/>
                    </a:lnTo>
                    <a:lnTo>
                      <a:pt x="732" y="56"/>
                    </a:lnTo>
                    <a:lnTo>
                      <a:pt x="663" y="49"/>
                    </a:lnTo>
                    <a:lnTo>
                      <a:pt x="595" y="42"/>
                    </a:lnTo>
                    <a:lnTo>
                      <a:pt x="529" y="36"/>
                    </a:lnTo>
                    <a:lnTo>
                      <a:pt x="465" y="32"/>
                    </a:lnTo>
                    <a:lnTo>
                      <a:pt x="402" y="28"/>
                    </a:lnTo>
                    <a:lnTo>
                      <a:pt x="341" y="27"/>
                    </a:lnTo>
                    <a:lnTo>
                      <a:pt x="282" y="27"/>
                    </a:lnTo>
                    <a:lnTo>
                      <a:pt x="225" y="29"/>
                    </a:lnTo>
                    <a:lnTo>
                      <a:pt x="197" y="30"/>
                    </a:lnTo>
                    <a:lnTo>
                      <a:pt x="170" y="33"/>
                    </a:lnTo>
                    <a:lnTo>
                      <a:pt x="143" y="36"/>
                    </a:lnTo>
                    <a:lnTo>
                      <a:pt x="116" y="39"/>
                    </a:lnTo>
                    <a:lnTo>
                      <a:pt x="90" y="42"/>
                    </a:lnTo>
                    <a:lnTo>
                      <a:pt x="65" y="48"/>
                    </a:lnTo>
                    <a:lnTo>
                      <a:pt x="41" y="52"/>
                    </a:lnTo>
                    <a:lnTo>
                      <a:pt x="16" y="58"/>
                    </a:lnTo>
                    <a:lnTo>
                      <a:pt x="10" y="58"/>
                    </a:lnTo>
                    <a:lnTo>
                      <a:pt x="6" y="56"/>
                    </a:lnTo>
                    <a:lnTo>
                      <a:pt x="2" y="53"/>
                    </a:lnTo>
                    <a:lnTo>
                      <a:pt x="0" y="48"/>
                    </a:lnTo>
                    <a:lnTo>
                      <a:pt x="0" y="42"/>
                    </a:lnTo>
                    <a:lnTo>
                      <a:pt x="1" y="38"/>
                    </a:lnTo>
                    <a:lnTo>
                      <a:pt x="4" y="34"/>
                    </a:lnTo>
                    <a:lnTo>
                      <a:pt x="9" y="32"/>
                    </a:lnTo>
                    <a:lnTo>
                      <a:pt x="34" y="26"/>
                    </a:lnTo>
                    <a:lnTo>
                      <a:pt x="59" y="21"/>
                    </a:lnTo>
                    <a:lnTo>
                      <a:pt x="85" y="16"/>
                    </a:lnTo>
                    <a:lnTo>
                      <a:pt x="112" y="12"/>
                    </a:lnTo>
                    <a:lnTo>
                      <a:pt x="139" y="9"/>
                    </a:lnTo>
                    <a:lnTo>
                      <a:pt x="166" y="6"/>
                    </a:lnTo>
                    <a:lnTo>
                      <a:pt x="194" y="3"/>
                    </a:lnTo>
                    <a:lnTo>
                      <a:pt x="222" y="2"/>
                    </a:lnTo>
                    <a:lnTo>
                      <a:pt x="279" y="0"/>
                    </a:lnTo>
                    <a:lnTo>
                      <a:pt x="340" y="0"/>
                    </a:lnTo>
                    <a:lnTo>
                      <a:pt x="401" y="1"/>
                    </a:lnTo>
                    <a:lnTo>
                      <a:pt x="464" y="5"/>
                    </a:lnTo>
                    <a:lnTo>
                      <a:pt x="529" y="9"/>
                    </a:lnTo>
                    <a:lnTo>
                      <a:pt x="596" y="15"/>
                    </a:lnTo>
                    <a:lnTo>
                      <a:pt x="664" y="22"/>
                    </a:lnTo>
                    <a:lnTo>
                      <a:pt x="734" y="29"/>
                    </a:lnTo>
                    <a:lnTo>
                      <a:pt x="804" y="38"/>
                    </a:lnTo>
                    <a:lnTo>
                      <a:pt x="877" y="48"/>
                    </a:lnTo>
                    <a:lnTo>
                      <a:pt x="951" y="57"/>
                    </a:lnTo>
                    <a:lnTo>
                      <a:pt x="1026" y="67"/>
                    </a:lnTo>
                    <a:lnTo>
                      <a:pt x="1111" y="78"/>
                    </a:lnTo>
                    <a:lnTo>
                      <a:pt x="1197" y="90"/>
                    </a:lnTo>
                    <a:lnTo>
                      <a:pt x="1285" y="101"/>
                    </a:lnTo>
                    <a:lnTo>
                      <a:pt x="1373" y="111"/>
                    </a:lnTo>
                    <a:lnTo>
                      <a:pt x="1463" y="121"/>
                    </a:lnTo>
                    <a:lnTo>
                      <a:pt x="1553" y="130"/>
                    </a:lnTo>
                    <a:lnTo>
                      <a:pt x="1644" y="137"/>
                    </a:lnTo>
                    <a:lnTo>
                      <a:pt x="1737" y="145"/>
                    </a:lnTo>
                    <a:lnTo>
                      <a:pt x="1831" y="150"/>
                    </a:lnTo>
                    <a:lnTo>
                      <a:pt x="1925" y="153"/>
                    </a:lnTo>
                    <a:lnTo>
                      <a:pt x="2019" y="155"/>
                    </a:lnTo>
                    <a:lnTo>
                      <a:pt x="2115" y="155"/>
                    </a:lnTo>
                    <a:lnTo>
                      <a:pt x="2162" y="153"/>
                    </a:lnTo>
                    <a:lnTo>
                      <a:pt x="2211" y="151"/>
                    </a:lnTo>
                    <a:lnTo>
                      <a:pt x="2259" y="149"/>
                    </a:lnTo>
                    <a:lnTo>
                      <a:pt x="2307" y="147"/>
                    </a:lnTo>
                    <a:lnTo>
                      <a:pt x="2356" y="143"/>
                    </a:lnTo>
                    <a:lnTo>
                      <a:pt x="2404" y="138"/>
                    </a:lnTo>
                    <a:lnTo>
                      <a:pt x="2453" y="133"/>
                    </a:lnTo>
                    <a:lnTo>
                      <a:pt x="2501" y="128"/>
                    </a:lnTo>
                    <a:lnTo>
                      <a:pt x="2580" y="118"/>
                    </a:lnTo>
                    <a:lnTo>
                      <a:pt x="2661" y="109"/>
                    </a:lnTo>
                    <a:lnTo>
                      <a:pt x="2746" y="102"/>
                    </a:lnTo>
                    <a:lnTo>
                      <a:pt x="2832" y="95"/>
                    </a:lnTo>
                    <a:lnTo>
                      <a:pt x="2919" y="90"/>
                    </a:lnTo>
                    <a:lnTo>
                      <a:pt x="3008" y="85"/>
                    </a:lnTo>
                    <a:lnTo>
                      <a:pt x="3099" y="81"/>
                    </a:lnTo>
                    <a:lnTo>
                      <a:pt x="3189" y="79"/>
                    </a:lnTo>
                    <a:lnTo>
                      <a:pt x="3281" y="78"/>
                    </a:lnTo>
                    <a:lnTo>
                      <a:pt x="3373" y="77"/>
                    </a:lnTo>
                    <a:lnTo>
                      <a:pt x="3464" y="78"/>
                    </a:lnTo>
                    <a:lnTo>
                      <a:pt x="3554" y="79"/>
                    </a:lnTo>
                    <a:lnTo>
                      <a:pt x="3645" y="82"/>
                    </a:lnTo>
                    <a:lnTo>
                      <a:pt x="3734" y="85"/>
                    </a:lnTo>
                    <a:lnTo>
                      <a:pt x="3821" y="91"/>
                    </a:lnTo>
                    <a:lnTo>
                      <a:pt x="3906" y="97"/>
                    </a:lnTo>
                    <a:lnTo>
                      <a:pt x="3989" y="104"/>
                    </a:lnTo>
                    <a:lnTo>
                      <a:pt x="4070" y="112"/>
                    </a:lnTo>
                    <a:lnTo>
                      <a:pt x="4148" y="122"/>
                    </a:lnTo>
                    <a:lnTo>
                      <a:pt x="4223" y="133"/>
                    </a:lnTo>
                    <a:lnTo>
                      <a:pt x="4295" y="145"/>
                    </a:lnTo>
                    <a:lnTo>
                      <a:pt x="4362" y="159"/>
                    </a:lnTo>
                    <a:lnTo>
                      <a:pt x="4426" y="173"/>
                    </a:lnTo>
                    <a:lnTo>
                      <a:pt x="4485" y="189"/>
                    </a:lnTo>
                    <a:lnTo>
                      <a:pt x="4539" y="205"/>
                    </a:lnTo>
                    <a:lnTo>
                      <a:pt x="4589" y="224"/>
                    </a:lnTo>
                    <a:lnTo>
                      <a:pt x="4633" y="243"/>
                    </a:lnTo>
                    <a:lnTo>
                      <a:pt x="4671" y="265"/>
                    </a:lnTo>
                    <a:lnTo>
                      <a:pt x="4703" y="286"/>
                    </a:lnTo>
                    <a:lnTo>
                      <a:pt x="4729" y="310"/>
                    </a:lnTo>
                    <a:lnTo>
                      <a:pt x="4749" y="335"/>
                    </a:lnTo>
                    <a:lnTo>
                      <a:pt x="4760" y="361"/>
                    </a:lnTo>
                    <a:lnTo>
                      <a:pt x="4762" y="366"/>
                    </a:lnTo>
                    <a:lnTo>
                      <a:pt x="4759" y="372"/>
                    </a:lnTo>
                    <a:lnTo>
                      <a:pt x="4756" y="375"/>
                    </a:lnTo>
                    <a:lnTo>
                      <a:pt x="4752" y="378"/>
                    </a:lnTo>
                    <a:lnTo>
                      <a:pt x="4750" y="378"/>
                    </a:lnTo>
                    <a:lnTo>
                      <a:pt x="4748" y="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07"/>
              <p:cNvSpPr>
                <a:spLocks/>
              </p:cNvSpPr>
              <p:nvPr userDrawn="1"/>
            </p:nvSpPr>
            <p:spPr bwMode="auto">
              <a:xfrm>
                <a:off x="3224" y="3855"/>
                <a:ext cx="493" cy="465"/>
              </a:xfrm>
              <a:custGeom>
                <a:avLst/>
                <a:gdLst>
                  <a:gd name="T0" fmla="*/ 1418 w 1481"/>
                  <a:gd name="T1" fmla="*/ 1339 h 1394"/>
                  <a:gd name="T2" fmla="*/ 1346 w 1481"/>
                  <a:gd name="T3" fmla="*/ 1229 h 1394"/>
                  <a:gd name="T4" fmla="*/ 1269 w 1481"/>
                  <a:gd name="T5" fmla="*/ 1118 h 1394"/>
                  <a:gd name="T6" fmla="*/ 1187 w 1481"/>
                  <a:gd name="T7" fmla="*/ 1006 h 1394"/>
                  <a:gd name="T8" fmla="*/ 1102 w 1481"/>
                  <a:gd name="T9" fmla="*/ 897 h 1394"/>
                  <a:gd name="T10" fmla="*/ 1015 w 1481"/>
                  <a:gd name="T11" fmla="*/ 789 h 1394"/>
                  <a:gd name="T12" fmla="*/ 884 w 1481"/>
                  <a:gd name="T13" fmla="*/ 634 h 1394"/>
                  <a:gd name="T14" fmla="*/ 717 w 1481"/>
                  <a:gd name="T15" fmla="*/ 444 h 1394"/>
                  <a:gd name="T16" fmla="*/ 565 w 1481"/>
                  <a:gd name="T17" fmla="*/ 281 h 1394"/>
                  <a:gd name="T18" fmla="*/ 439 w 1481"/>
                  <a:gd name="T19" fmla="*/ 150 h 1394"/>
                  <a:gd name="T20" fmla="*/ 353 w 1481"/>
                  <a:gd name="T21" fmla="*/ 63 h 1394"/>
                  <a:gd name="T22" fmla="*/ 28 w 1481"/>
                  <a:gd name="T23" fmla="*/ 705 h 1394"/>
                  <a:gd name="T24" fmla="*/ 35 w 1481"/>
                  <a:gd name="T25" fmla="*/ 779 h 1394"/>
                  <a:gd name="T26" fmla="*/ 53 w 1481"/>
                  <a:gd name="T27" fmla="*/ 932 h 1394"/>
                  <a:gd name="T28" fmla="*/ 80 w 1481"/>
                  <a:gd name="T29" fmla="*/ 1144 h 1394"/>
                  <a:gd name="T30" fmla="*/ 116 w 1481"/>
                  <a:gd name="T31" fmla="*/ 1394 h 1394"/>
                  <a:gd name="T32" fmla="*/ 69 w 1481"/>
                  <a:gd name="T33" fmla="*/ 1258 h 1394"/>
                  <a:gd name="T34" fmla="*/ 35 w 1481"/>
                  <a:gd name="T35" fmla="*/ 1014 h 1394"/>
                  <a:gd name="T36" fmla="*/ 14 w 1481"/>
                  <a:gd name="T37" fmla="*/ 826 h 1394"/>
                  <a:gd name="T38" fmla="*/ 2 w 1481"/>
                  <a:gd name="T39" fmla="*/ 719 h 1394"/>
                  <a:gd name="T40" fmla="*/ 0 w 1481"/>
                  <a:gd name="T41" fmla="*/ 701 h 1394"/>
                  <a:gd name="T42" fmla="*/ 310 w 1481"/>
                  <a:gd name="T43" fmla="*/ 8 h 1394"/>
                  <a:gd name="T44" fmla="*/ 314 w 1481"/>
                  <a:gd name="T45" fmla="*/ 4 h 1394"/>
                  <a:gd name="T46" fmla="*/ 319 w 1481"/>
                  <a:gd name="T47" fmla="*/ 0 h 1394"/>
                  <a:gd name="T48" fmla="*/ 326 w 1481"/>
                  <a:gd name="T49" fmla="*/ 1 h 1394"/>
                  <a:gd name="T50" fmla="*/ 331 w 1481"/>
                  <a:gd name="T51" fmla="*/ 5 h 1394"/>
                  <a:gd name="T52" fmla="*/ 368 w 1481"/>
                  <a:gd name="T53" fmla="*/ 40 h 1394"/>
                  <a:gd name="T54" fmla="*/ 463 w 1481"/>
                  <a:gd name="T55" fmla="*/ 135 h 1394"/>
                  <a:gd name="T56" fmla="*/ 601 w 1481"/>
                  <a:gd name="T57" fmla="*/ 280 h 1394"/>
                  <a:gd name="T58" fmla="*/ 771 w 1481"/>
                  <a:gd name="T59" fmla="*/ 465 h 1394"/>
                  <a:gd name="T60" fmla="*/ 958 w 1481"/>
                  <a:gd name="T61" fmla="*/ 678 h 1394"/>
                  <a:gd name="T62" fmla="*/ 1053 w 1481"/>
                  <a:gd name="T63" fmla="*/ 793 h 1394"/>
                  <a:gd name="T64" fmla="*/ 1147 w 1481"/>
                  <a:gd name="T65" fmla="*/ 910 h 1394"/>
                  <a:gd name="T66" fmla="*/ 1239 w 1481"/>
                  <a:gd name="T67" fmla="*/ 1031 h 1394"/>
                  <a:gd name="T68" fmla="*/ 1327 w 1481"/>
                  <a:gd name="T69" fmla="*/ 1152 h 1394"/>
                  <a:gd name="T70" fmla="*/ 1408 w 1481"/>
                  <a:gd name="T71" fmla="*/ 1274 h 1394"/>
                  <a:gd name="T72" fmla="*/ 1481 w 1481"/>
                  <a:gd name="T7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1" h="1394">
                    <a:moveTo>
                      <a:pt x="1450" y="1394"/>
                    </a:moveTo>
                    <a:lnTo>
                      <a:pt x="1418" y="1339"/>
                    </a:lnTo>
                    <a:lnTo>
                      <a:pt x="1382" y="1284"/>
                    </a:lnTo>
                    <a:lnTo>
                      <a:pt x="1346" y="1229"/>
                    </a:lnTo>
                    <a:lnTo>
                      <a:pt x="1307" y="1174"/>
                    </a:lnTo>
                    <a:lnTo>
                      <a:pt x="1269" y="1118"/>
                    </a:lnTo>
                    <a:lnTo>
                      <a:pt x="1229" y="1063"/>
                    </a:lnTo>
                    <a:lnTo>
                      <a:pt x="1187" y="1006"/>
                    </a:lnTo>
                    <a:lnTo>
                      <a:pt x="1144" y="951"/>
                    </a:lnTo>
                    <a:lnTo>
                      <a:pt x="1102" y="897"/>
                    </a:lnTo>
                    <a:lnTo>
                      <a:pt x="1059" y="842"/>
                    </a:lnTo>
                    <a:lnTo>
                      <a:pt x="1015" y="789"/>
                    </a:lnTo>
                    <a:lnTo>
                      <a:pt x="972" y="737"/>
                    </a:lnTo>
                    <a:lnTo>
                      <a:pt x="884" y="634"/>
                    </a:lnTo>
                    <a:lnTo>
                      <a:pt x="799" y="537"/>
                    </a:lnTo>
                    <a:lnTo>
                      <a:pt x="717" y="444"/>
                    </a:lnTo>
                    <a:lnTo>
                      <a:pt x="638" y="359"/>
                    </a:lnTo>
                    <a:lnTo>
                      <a:pt x="565" y="281"/>
                    </a:lnTo>
                    <a:lnTo>
                      <a:pt x="498" y="211"/>
                    </a:lnTo>
                    <a:lnTo>
                      <a:pt x="439" y="150"/>
                    </a:lnTo>
                    <a:lnTo>
                      <a:pt x="391" y="101"/>
                    </a:lnTo>
                    <a:lnTo>
                      <a:pt x="353" y="63"/>
                    </a:lnTo>
                    <a:lnTo>
                      <a:pt x="326" y="37"/>
                    </a:lnTo>
                    <a:lnTo>
                      <a:pt x="28" y="705"/>
                    </a:lnTo>
                    <a:lnTo>
                      <a:pt x="30" y="731"/>
                    </a:lnTo>
                    <a:lnTo>
                      <a:pt x="35" y="779"/>
                    </a:lnTo>
                    <a:lnTo>
                      <a:pt x="43" y="847"/>
                    </a:lnTo>
                    <a:lnTo>
                      <a:pt x="53" y="932"/>
                    </a:lnTo>
                    <a:lnTo>
                      <a:pt x="66" y="1031"/>
                    </a:lnTo>
                    <a:lnTo>
                      <a:pt x="80" y="1144"/>
                    </a:lnTo>
                    <a:lnTo>
                      <a:pt x="97" y="1266"/>
                    </a:lnTo>
                    <a:lnTo>
                      <a:pt x="116" y="1394"/>
                    </a:lnTo>
                    <a:lnTo>
                      <a:pt x="89" y="1394"/>
                    </a:lnTo>
                    <a:lnTo>
                      <a:pt x="69" y="1258"/>
                    </a:lnTo>
                    <a:lnTo>
                      <a:pt x="52" y="1131"/>
                    </a:lnTo>
                    <a:lnTo>
                      <a:pt x="35" y="1014"/>
                    </a:lnTo>
                    <a:lnTo>
                      <a:pt x="24" y="911"/>
                    </a:lnTo>
                    <a:lnTo>
                      <a:pt x="14" y="826"/>
                    </a:lnTo>
                    <a:lnTo>
                      <a:pt x="6" y="761"/>
                    </a:lnTo>
                    <a:lnTo>
                      <a:pt x="2" y="719"/>
                    </a:lnTo>
                    <a:lnTo>
                      <a:pt x="0" y="704"/>
                    </a:lnTo>
                    <a:lnTo>
                      <a:pt x="0" y="701"/>
                    </a:lnTo>
                    <a:lnTo>
                      <a:pt x="1" y="698"/>
                    </a:lnTo>
                    <a:lnTo>
                      <a:pt x="310" y="8"/>
                    </a:lnTo>
                    <a:lnTo>
                      <a:pt x="312" y="6"/>
                    </a:lnTo>
                    <a:lnTo>
                      <a:pt x="314" y="4"/>
                    </a:lnTo>
                    <a:lnTo>
                      <a:pt x="316" y="1"/>
                    </a:lnTo>
                    <a:lnTo>
                      <a:pt x="319" y="0"/>
                    </a:lnTo>
                    <a:lnTo>
                      <a:pt x="323" y="0"/>
                    </a:lnTo>
                    <a:lnTo>
                      <a:pt x="326" y="1"/>
                    </a:lnTo>
                    <a:lnTo>
                      <a:pt x="329" y="3"/>
                    </a:lnTo>
                    <a:lnTo>
                      <a:pt x="331" y="5"/>
                    </a:lnTo>
                    <a:lnTo>
                      <a:pt x="342" y="14"/>
                    </a:lnTo>
                    <a:lnTo>
                      <a:pt x="368" y="40"/>
                    </a:lnTo>
                    <a:lnTo>
                      <a:pt x="409" y="81"/>
                    </a:lnTo>
                    <a:lnTo>
                      <a:pt x="463" y="135"/>
                    </a:lnTo>
                    <a:lnTo>
                      <a:pt x="528" y="202"/>
                    </a:lnTo>
                    <a:lnTo>
                      <a:pt x="601" y="280"/>
                    </a:lnTo>
                    <a:lnTo>
                      <a:pt x="683" y="368"/>
                    </a:lnTo>
                    <a:lnTo>
                      <a:pt x="771" y="465"/>
                    </a:lnTo>
                    <a:lnTo>
                      <a:pt x="863" y="568"/>
                    </a:lnTo>
                    <a:lnTo>
                      <a:pt x="958" y="678"/>
                    </a:lnTo>
                    <a:lnTo>
                      <a:pt x="1005" y="734"/>
                    </a:lnTo>
                    <a:lnTo>
                      <a:pt x="1053" y="793"/>
                    </a:lnTo>
                    <a:lnTo>
                      <a:pt x="1100" y="851"/>
                    </a:lnTo>
                    <a:lnTo>
                      <a:pt x="1147" y="910"/>
                    </a:lnTo>
                    <a:lnTo>
                      <a:pt x="1193" y="971"/>
                    </a:lnTo>
                    <a:lnTo>
                      <a:pt x="1239" y="1031"/>
                    </a:lnTo>
                    <a:lnTo>
                      <a:pt x="1284" y="1092"/>
                    </a:lnTo>
                    <a:lnTo>
                      <a:pt x="1327" y="1152"/>
                    </a:lnTo>
                    <a:lnTo>
                      <a:pt x="1368" y="1214"/>
                    </a:lnTo>
                    <a:lnTo>
                      <a:pt x="1408" y="1274"/>
                    </a:lnTo>
                    <a:lnTo>
                      <a:pt x="1446" y="1335"/>
                    </a:lnTo>
                    <a:lnTo>
                      <a:pt x="1481" y="1394"/>
                    </a:lnTo>
                    <a:lnTo>
                      <a:pt x="1450" y="1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08"/>
              <p:cNvSpPr>
                <a:spLocks/>
              </p:cNvSpPr>
              <p:nvPr userDrawn="1"/>
            </p:nvSpPr>
            <p:spPr bwMode="auto">
              <a:xfrm>
                <a:off x="2457" y="3166"/>
                <a:ext cx="645" cy="232"/>
              </a:xfrm>
              <a:custGeom>
                <a:avLst/>
                <a:gdLst>
                  <a:gd name="T0" fmla="*/ 1918 w 1935"/>
                  <a:gd name="T1" fmla="*/ 695 h 696"/>
                  <a:gd name="T2" fmla="*/ 1851 w 1935"/>
                  <a:gd name="T3" fmla="*/ 643 h 696"/>
                  <a:gd name="T4" fmla="*/ 1723 w 1935"/>
                  <a:gd name="T5" fmla="*/ 553 h 696"/>
                  <a:gd name="T6" fmla="*/ 1591 w 1935"/>
                  <a:gd name="T7" fmla="*/ 471 h 696"/>
                  <a:gd name="T8" fmla="*/ 1458 w 1935"/>
                  <a:gd name="T9" fmla="*/ 397 h 696"/>
                  <a:gd name="T10" fmla="*/ 1324 w 1935"/>
                  <a:gd name="T11" fmla="*/ 332 h 696"/>
                  <a:gd name="T12" fmla="*/ 1192 w 1935"/>
                  <a:gd name="T13" fmla="*/ 273 h 696"/>
                  <a:gd name="T14" fmla="*/ 1063 w 1935"/>
                  <a:gd name="T15" fmla="*/ 222 h 696"/>
                  <a:gd name="T16" fmla="*/ 940 w 1935"/>
                  <a:gd name="T17" fmla="*/ 179 h 696"/>
                  <a:gd name="T18" fmla="*/ 823 w 1935"/>
                  <a:gd name="T19" fmla="*/ 142 h 696"/>
                  <a:gd name="T20" fmla="*/ 715 w 1935"/>
                  <a:gd name="T21" fmla="*/ 110 h 696"/>
                  <a:gd name="T22" fmla="*/ 571 w 1935"/>
                  <a:gd name="T23" fmla="*/ 74 h 696"/>
                  <a:gd name="T24" fmla="*/ 426 w 1935"/>
                  <a:gd name="T25" fmla="*/ 43 h 696"/>
                  <a:gd name="T26" fmla="*/ 345 w 1935"/>
                  <a:gd name="T27" fmla="*/ 28 h 696"/>
                  <a:gd name="T28" fmla="*/ 13 w 1935"/>
                  <a:gd name="T29" fmla="*/ 27 h 696"/>
                  <a:gd name="T30" fmla="*/ 3 w 1935"/>
                  <a:gd name="T31" fmla="*/ 23 h 696"/>
                  <a:gd name="T32" fmla="*/ 0 w 1935"/>
                  <a:gd name="T33" fmla="*/ 13 h 696"/>
                  <a:gd name="T34" fmla="*/ 3 w 1935"/>
                  <a:gd name="T35" fmla="*/ 3 h 696"/>
                  <a:gd name="T36" fmla="*/ 13 w 1935"/>
                  <a:gd name="T37" fmla="*/ 0 h 696"/>
                  <a:gd name="T38" fmla="*/ 347 w 1935"/>
                  <a:gd name="T39" fmla="*/ 1 h 696"/>
                  <a:gd name="T40" fmla="*/ 430 w 1935"/>
                  <a:gd name="T41" fmla="*/ 16 h 696"/>
                  <a:gd name="T42" fmla="*/ 576 w 1935"/>
                  <a:gd name="T43" fmla="*/ 48 h 696"/>
                  <a:gd name="T44" fmla="*/ 721 w 1935"/>
                  <a:gd name="T45" fmla="*/ 84 h 696"/>
                  <a:gd name="T46" fmla="*/ 830 w 1935"/>
                  <a:gd name="T47" fmla="*/ 116 h 696"/>
                  <a:gd name="T48" fmla="*/ 948 w 1935"/>
                  <a:gd name="T49" fmla="*/ 153 h 696"/>
                  <a:gd name="T50" fmla="*/ 1073 w 1935"/>
                  <a:gd name="T51" fmla="*/ 198 h 696"/>
                  <a:gd name="T52" fmla="*/ 1203 w 1935"/>
                  <a:gd name="T53" fmla="*/ 248 h 696"/>
                  <a:gd name="T54" fmla="*/ 1336 w 1935"/>
                  <a:gd name="T55" fmla="*/ 307 h 696"/>
                  <a:gd name="T56" fmla="*/ 1471 w 1935"/>
                  <a:gd name="T57" fmla="*/ 374 h 696"/>
                  <a:gd name="T58" fmla="*/ 1605 w 1935"/>
                  <a:gd name="T59" fmla="*/ 448 h 696"/>
                  <a:gd name="T60" fmla="*/ 1738 w 1935"/>
                  <a:gd name="T61" fmla="*/ 530 h 696"/>
                  <a:gd name="T62" fmla="*/ 1867 w 1935"/>
                  <a:gd name="T63" fmla="*/ 623 h 696"/>
                  <a:gd name="T64" fmla="*/ 1934 w 1935"/>
                  <a:gd name="T65" fmla="*/ 676 h 696"/>
                  <a:gd name="T66" fmla="*/ 1935 w 1935"/>
                  <a:gd name="T67" fmla="*/ 687 h 696"/>
                  <a:gd name="T68" fmla="*/ 1929 w 1935"/>
                  <a:gd name="T69" fmla="*/ 693 h 696"/>
                  <a:gd name="T70" fmla="*/ 1924 w 1935"/>
                  <a:gd name="T71"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5" h="696">
                    <a:moveTo>
                      <a:pt x="1922" y="696"/>
                    </a:moveTo>
                    <a:lnTo>
                      <a:pt x="1918" y="695"/>
                    </a:lnTo>
                    <a:lnTo>
                      <a:pt x="1913" y="693"/>
                    </a:lnTo>
                    <a:lnTo>
                      <a:pt x="1851" y="643"/>
                    </a:lnTo>
                    <a:lnTo>
                      <a:pt x="1787" y="597"/>
                    </a:lnTo>
                    <a:lnTo>
                      <a:pt x="1723" y="553"/>
                    </a:lnTo>
                    <a:lnTo>
                      <a:pt x="1657" y="511"/>
                    </a:lnTo>
                    <a:lnTo>
                      <a:pt x="1591" y="471"/>
                    </a:lnTo>
                    <a:lnTo>
                      <a:pt x="1524" y="433"/>
                    </a:lnTo>
                    <a:lnTo>
                      <a:pt x="1458" y="397"/>
                    </a:lnTo>
                    <a:lnTo>
                      <a:pt x="1391" y="363"/>
                    </a:lnTo>
                    <a:lnTo>
                      <a:pt x="1324" y="332"/>
                    </a:lnTo>
                    <a:lnTo>
                      <a:pt x="1258" y="301"/>
                    </a:lnTo>
                    <a:lnTo>
                      <a:pt x="1192" y="273"/>
                    </a:lnTo>
                    <a:lnTo>
                      <a:pt x="1127" y="247"/>
                    </a:lnTo>
                    <a:lnTo>
                      <a:pt x="1063" y="222"/>
                    </a:lnTo>
                    <a:lnTo>
                      <a:pt x="1001" y="200"/>
                    </a:lnTo>
                    <a:lnTo>
                      <a:pt x="940" y="179"/>
                    </a:lnTo>
                    <a:lnTo>
                      <a:pt x="881" y="160"/>
                    </a:lnTo>
                    <a:lnTo>
                      <a:pt x="823" y="142"/>
                    </a:lnTo>
                    <a:lnTo>
                      <a:pt x="768" y="125"/>
                    </a:lnTo>
                    <a:lnTo>
                      <a:pt x="715" y="110"/>
                    </a:lnTo>
                    <a:lnTo>
                      <a:pt x="664" y="97"/>
                    </a:lnTo>
                    <a:lnTo>
                      <a:pt x="571" y="74"/>
                    </a:lnTo>
                    <a:lnTo>
                      <a:pt x="491" y="56"/>
                    </a:lnTo>
                    <a:lnTo>
                      <a:pt x="426" y="43"/>
                    </a:lnTo>
                    <a:lnTo>
                      <a:pt x="377" y="34"/>
                    </a:lnTo>
                    <a:lnTo>
                      <a:pt x="345" y="28"/>
                    </a:lnTo>
                    <a:lnTo>
                      <a:pt x="333" y="27"/>
                    </a:lnTo>
                    <a:lnTo>
                      <a:pt x="13" y="27"/>
                    </a:lnTo>
                    <a:lnTo>
                      <a:pt x="7" y="26"/>
                    </a:lnTo>
                    <a:lnTo>
                      <a:pt x="3" y="23"/>
                    </a:lnTo>
                    <a:lnTo>
                      <a:pt x="1" y="18"/>
                    </a:lnTo>
                    <a:lnTo>
                      <a:pt x="0" y="13"/>
                    </a:lnTo>
                    <a:lnTo>
                      <a:pt x="1" y="8"/>
                    </a:lnTo>
                    <a:lnTo>
                      <a:pt x="3" y="3"/>
                    </a:lnTo>
                    <a:lnTo>
                      <a:pt x="7" y="1"/>
                    </a:lnTo>
                    <a:lnTo>
                      <a:pt x="13" y="0"/>
                    </a:lnTo>
                    <a:lnTo>
                      <a:pt x="335" y="0"/>
                    </a:lnTo>
                    <a:lnTo>
                      <a:pt x="347" y="1"/>
                    </a:lnTo>
                    <a:lnTo>
                      <a:pt x="380" y="7"/>
                    </a:lnTo>
                    <a:lnTo>
                      <a:pt x="430" y="16"/>
                    </a:lnTo>
                    <a:lnTo>
                      <a:pt x="495" y="29"/>
                    </a:lnTo>
                    <a:lnTo>
                      <a:pt x="576" y="48"/>
                    </a:lnTo>
                    <a:lnTo>
                      <a:pt x="670" y="70"/>
                    </a:lnTo>
                    <a:lnTo>
                      <a:pt x="721" y="84"/>
                    </a:lnTo>
                    <a:lnTo>
                      <a:pt x="774" y="99"/>
                    </a:lnTo>
                    <a:lnTo>
                      <a:pt x="830" y="116"/>
                    </a:lnTo>
                    <a:lnTo>
                      <a:pt x="888" y="134"/>
                    </a:lnTo>
                    <a:lnTo>
                      <a:pt x="948" y="153"/>
                    </a:lnTo>
                    <a:lnTo>
                      <a:pt x="1011" y="175"/>
                    </a:lnTo>
                    <a:lnTo>
                      <a:pt x="1073" y="198"/>
                    </a:lnTo>
                    <a:lnTo>
                      <a:pt x="1138" y="222"/>
                    </a:lnTo>
                    <a:lnTo>
                      <a:pt x="1203" y="248"/>
                    </a:lnTo>
                    <a:lnTo>
                      <a:pt x="1269" y="276"/>
                    </a:lnTo>
                    <a:lnTo>
                      <a:pt x="1336" y="307"/>
                    </a:lnTo>
                    <a:lnTo>
                      <a:pt x="1404" y="339"/>
                    </a:lnTo>
                    <a:lnTo>
                      <a:pt x="1471" y="374"/>
                    </a:lnTo>
                    <a:lnTo>
                      <a:pt x="1539" y="409"/>
                    </a:lnTo>
                    <a:lnTo>
                      <a:pt x="1605" y="448"/>
                    </a:lnTo>
                    <a:lnTo>
                      <a:pt x="1672" y="488"/>
                    </a:lnTo>
                    <a:lnTo>
                      <a:pt x="1738" y="530"/>
                    </a:lnTo>
                    <a:lnTo>
                      <a:pt x="1803" y="575"/>
                    </a:lnTo>
                    <a:lnTo>
                      <a:pt x="1867" y="623"/>
                    </a:lnTo>
                    <a:lnTo>
                      <a:pt x="1931" y="672"/>
                    </a:lnTo>
                    <a:lnTo>
                      <a:pt x="1934" y="676"/>
                    </a:lnTo>
                    <a:lnTo>
                      <a:pt x="1935" y="681"/>
                    </a:lnTo>
                    <a:lnTo>
                      <a:pt x="1935" y="687"/>
                    </a:lnTo>
                    <a:lnTo>
                      <a:pt x="1932" y="691"/>
                    </a:lnTo>
                    <a:lnTo>
                      <a:pt x="1929" y="693"/>
                    </a:lnTo>
                    <a:lnTo>
                      <a:pt x="1927" y="695"/>
                    </a:lnTo>
                    <a:lnTo>
                      <a:pt x="1924" y="695"/>
                    </a:lnTo>
                    <a:lnTo>
                      <a:pt x="1922"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09"/>
              <p:cNvSpPr>
                <a:spLocks/>
              </p:cNvSpPr>
              <p:nvPr userDrawn="1"/>
            </p:nvSpPr>
            <p:spPr bwMode="auto">
              <a:xfrm>
                <a:off x="3093" y="3389"/>
                <a:ext cx="280" cy="931"/>
              </a:xfrm>
              <a:custGeom>
                <a:avLst/>
                <a:gdLst>
                  <a:gd name="T0" fmla="*/ 775 w 840"/>
                  <a:gd name="T1" fmla="*/ 2740 h 2793"/>
                  <a:gd name="T2" fmla="*/ 763 w 840"/>
                  <a:gd name="T3" fmla="*/ 2667 h 2793"/>
                  <a:gd name="T4" fmla="*/ 750 w 840"/>
                  <a:gd name="T5" fmla="*/ 2599 h 2793"/>
                  <a:gd name="T6" fmla="*/ 729 w 840"/>
                  <a:gd name="T7" fmla="*/ 2469 h 2793"/>
                  <a:gd name="T8" fmla="*/ 715 w 840"/>
                  <a:gd name="T9" fmla="*/ 2372 h 2793"/>
                  <a:gd name="T10" fmla="*/ 713 w 840"/>
                  <a:gd name="T11" fmla="*/ 2308 h 2793"/>
                  <a:gd name="T12" fmla="*/ 721 w 840"/>
                  <a:gd name="T13" fmla="*/ 2258 h 2793"/>
                  <a:gd name="T14" fmla="*/ 757 w 840"/>
                  <a:gd name="T15" fmla="*/ 2137 h 2793"/>
                  <a:gd name="T16" fmla="*/ 783 w 840"/>
                  <a:gd name="T17" fmla="*/ 2040 h 2793"/>
                  <a:gd name="T18" fmla="*/ 800 w 840"/>
                  <a:gd name="T19" fmla="*/ 1953 h 2793"/>
                  <a:gd name="T20" fmla="*/ 810 w 840"/>
                  <a:gd name="T21" fmla="*/ 1853 h 2793"/>
                  <a:gd name="T22" fmla="*/ 813 w 840"/>
                  <a:gd name="T23" fmla="*/ 1738 h 2793"/>
                  <a:gd name="T24" fmla="*/ 803 w 840"/>
                  <a:gd name="T25" fmla="*/ 1606 h 2793"/>
                  <a:gd name="T26" fmla="*/ 781 w 840"/>
                  <a:gd name="T27" fmla="*/ 1454 h 2793"/>
                  <a:gd name="T28" fmla="*/ 742 w 840"/>
                  <a:gd name="T29" fmla="*/ 1283 h 2793"/>
                  <a:gd name="T30" fmla="*/ 683 w 840"/>
                  <a:gd name="T31" fmla="*/ 1087 h 2793"/>
                  <a:gd name="T32" fmla="*/ 602 w 840"/>
                  <a:gd name="T33" fmla="*/ 867 h 2793"/>
                  <a:gd name="T34" fmla="*/ 514 w 840"/>
                  <a:gd name="T35" fmla="*/ 658 h 2793"/>
                  <a:gd name="T36" fmla="*/ 440 w 840"/>
                  <a:gd name="T37" fmla="*/ 520 h 2793"/>
                  <a:gd name="T38" fmla="*/ 352 w 840"/>
                  <a:gd name="T39" fmla="*/ 386 h 2793"/>
                  <a:gd name="T40" fmla="*/ 249 w 840"/>
                  <a:gd name="T41" fmla="*/ 259 h 2793"/>
                  <a:gd name="T42" fmla="*/ 134 w 840"/>
                  <a:gd name="T43" fmla="*/ 139 h 2793"/>
                  <a:gd name="T44" fmla="*/ 5 w 840"/>
                  <a:gd name="T45" fmla="*/ 24 h 2793"/>
                  <a:gd name="T46" fmla="*/ 1 w 840"/>
                  <a:gd name="T47" fmla="*/ 10 h 2793"/>
                  <a:gd name="T48" fmla="*/ 12 w 840"/>
                  <a:gd name="T49" fmla="*/ 0 h 2793"/>
                  <a:gd name="T50" fmla="*/ 67 w 840"/>
                  <a:gd name="T51" fmla="*/ 41 h 2793"/>
                  <a:gd name="T52" fmla="*/ 193 w 840"/>
                  <a:gd name="T53" fmla="*/ 159 h 2793"/>
                  <a:gd name="T54" fmla="*/ 306 w 840"/>
                  <a:gd name="T55" fmla="*/ 283 h 2793"/>
                  <a:gd name="T56" fmla="*/ 405 w 840"/>
                  <a:gd name="T57" fmla="*/ 415 h 2793"/>
                  <a:gd name="T58" fmla="*/ 490 w 840"/>
                  <a:gd name="T59" fmla="*/ 552 h 2793"/>
                  <a:gd name="T60" fmla="*/ 560 w 840"/>
                  <a:gd name="T61" fmla="*/ 694 h 2793"/>
                  <a:gd name="T62" fmla="*/ 659 w 840"/>
                  <a:gd name="T63" fmla="*/ 935 h 2793"/>
                  <a:gd name="T64" fmla="*/ 732 w 840"/>
                  <a:gd name="T65" fmla="*/ 1149 h 2793"/>
                  <a:gd name="T66" fmla="*/ 784 w 840"/>
                  <a:gd name="T67" fmla="*/ 1339 h 2793"/>
                  <a:gd name="T68" fmla="*/ 817 w 840"/>
                  <a:gd name="T69" fmla="*/ 1505 h 2793"/>
                  <a:gd name="T70" fmla="*/ 836 w 840"/>
                  <a:gd name="T71" fmla="*/ 1652 h 2793"/>
                  <a:gd name="T72" fmla="*/ 840 w 840"/>
                  <a:gd name="T73" fmla="*/ 1780 h 2793"/>
                  <a:gd name="T74" fmla="*/ 835 w 840"/>
                  <a:gd name="T75" fmla="*/ 1892 h 2793"/>
                  <a:gd name="T76" fmla="*/ 822 w 840"/>
                  <a:gd name="T77" fmla="*/ 1988 h 2793"/>
                  <a:gd name="T78" fmla="*/ 803 w 840"/>
                  <a:gd name="T79" fmla="*/ 2071 h 2793"/>
                  <a:gd name="T80" fmla="*/ 770 w 840"/>
                  <a:gd name="T81" fmla="*/ 2186 h 2793"/>
                  <a:gd name="T82" fmla="*/ 744 w 840"/>
                  <a:gd name="T83" fmla="*/ 2278 h 2793"/>
                  <a:gd name="T84" fmla="*/ 738 w 840"/>
                  <a:gd name="T85" fmla="*/ 2325 h 2793"/>
                  <a:gd name="T86" fmla="*/ 745 w 840"/>
                  <a:gd name="T87" fmla="*/ 2399 h 2793"/>
                  <a:gd name="T88" fmla="*/ 762 w 840"/>
                  <a:gd name="T89" fmla="*/ 2506 h 2793"/>
                  <a:gd name="T90" fmla="*/ 782 w 840"/>
                  <a:gd name="T91" fmla="*/ 2616 h 2793"/>
                  <a:gd name="T92" fmla="*/ 793 w 840"/>
                  <a:gd name="T93" fmla="*/ 2688 h 2793"/>
                  <a:gd name="T94" fmla="*/ 808 w 840"/>
                  <a:gd name="T95" fmla="*/ 2766 h 2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0" h="2793">
                    <a:moveTo>
                      <a:pt x="785" y="2793"/>
                    </a:moveTo>
                    <a:lnTo>
                      <a:pt x="781" y="2766"/>
                    </a:lnTo>
                    <a:lnTo>
                      <a:pt x="775" y="2740"/>
                    </a:lnTo>
                    <a:lnTo>
                      <a:pt x="771" y="2715"/>
                    </a:lnTo>
                    <a:lnTo>
                      <a:pt x="766" y="2690"/>
                    </a:lnTo>
                    <a:lnTo>
                      <a:pt x="763" y="2667"/>
                    </a:lnTo>
                    <a:lnTo>
                      <a:pt x="759" y="2643"/>
                    </a:lnTo>
                    <a:lnTo>
                      <a:pt x="755" y="2620"/>
                    </a:lnTo>
                    <a:lnTo>
                      <a:pt x="750" y="2599"/>
                    </a:lnTo>
                    <a:lnTo>
                      <a:pt x="743" y="2552"/>
                    </a:lnTo>
                    <a:lnTo>
                      <a:pt x="735" y="2509"/>
                    </a:lnTo>
                    <a:lnTo>
                      <a:pt x="729" y="2469"/>
                    </a:lnTo>
                    <a:lnTo>
                      <a:pt x="722" y="2434"/>
                    </a:lnTo>
                    <a:lnTo>
                      <a:pt x="718" y="2401"/>
                    </a:lnTo>
                    <a:lnTo>
                      <a:pt x="715" y="2372"/>
                    </a:lnTo>
                    <a:lnTo>
                      <a:pt x="713" y="2346"/>
                    </a:lnTo>
                    <a:lnTo>
                      <a:pt x="711" y="2325"/>
                    </a:lnTo>
                    <a:lnTo>
                      <a:pt x="713" y="2308"/>
                    </a:lnTo>
                    <a:lnTo>
                      <a:pt x="715" y="2292"/>
                    </a:lnTo>
                    <a:lnTo>
                      <a:pt x="718" y="2275"/>
                    </a:lnTo>
                    <a:lnTo>
                      <a:pt x="721" y="2258"/>
                    </a:lnTo>
                    <a:lnTo>
                      <a:pt x="732" y="2220"/>
                    </a:lnTo>
                    <a:lnTo>
                      <a:pt x="744" y="2179"/>
                    </a:lnTo>
                    <a:lnTo>
                      <a:pt x="757" y="2137"/>
                    </a:lnTo>
                    <a:lnTo>
                      <a:pt x="771" y="2090"/>
                    </a:lnTo>
                    <a:lnTo>
                      <a:pt x="777" y="2065"/>
                    </a:lnTo>
                    <a:lnTo>
                      <a:pt x="783" y="2040"/>
                    </a:lnTo>
                    <a:lnTo>
                      <a:pt x="789" y="2011"/>
                    </a:lnTo>
                    <a:lnTo>
                      <a:pt x="795" y="1983"/>
                    </a:lnTo>
                    <a:lnTo>
                      <a:pt x="800" y="1953"/>
                    </a:lnTo>
                    <a:lnTo>
                      <a:pt x="804" y="1921"/>
                    </a:lnTo>
                    <a:lnTo>
                      <a:pt x="808" y="1888"/>
                    </a:lnTo>
                    <a:lnTo>
                      <a:pt x="810" y="1853"/>
                    </a:lnTo>
                    <a:lnTo>
                      <a:pt x="812" y="1817"/>
                    </a:lnTo>
                    <a:lnTo>
                      <a:pt x="813" y="1778"/>
                    </a:lnTo>
                    <a:lnTo>
                      <a:pt x="813" y="1738"/>
                    </a:lnTo>
                    <a:lnTo>
                      <a:pt x="811" y="1696"/>
                    </a:lnTo>
                    <a:lnTo>
                      <a:pt x="808" y="1652"/>
                    </a:lnTo>
                    <a:lnTo>
                      <a:pt x="803" y="1606"/>
                    </a:lnTo>
                    <a:lnTo>
                      <a:pt x="798" y="1558"/>
                    </a:lnTo>
                    <a:lnTo>
                      <a:pt x="790" y="1507"/>
                    </a:lnTo>
                    <a:lnTo>
                      <a:pt x="781" y="1454"/>
                    </a:lnTo>
                    <a:lnTo>
                      <a:pt x="770" y="1399"/>
                    </a:lnTo>
                    <a:lnTo>
                      <a:pt x="757" y="1342"/>
                    </a:lnTo>
                    <a:lnTo>
                      <a:pt x="742" y="1283"/>
                    </a:lnTo>
                    <a:lnTo>
                      <a:pt x="724" y="1220"/>
                    </a:lnTo>
                    <a:lnTo>
                      <a:pt x="705" y="1155"/>
                    </a:lnTo>
                    <a:lnTo>
                      <a:pt x="683" y="1087"/>
                    </a:lnTo>
                    <a:lnTo>
                      <a:pt x="659" y="1016"/>
                    </a:lnTo>
                    <a:lnTo>
                      <a:pt x="633" y="944"/>
                    </a:lnTo>
                    <a:lnTo>
                      <a:pt x="602" y="867"/>
                    </a:lnTo>
                    <a:lnTo>
                      <a:pt x="571" y="788"/>
                    </a:lnTo>
                    <a:lnTo>
                      <a:pt x="535" y="705"/>
                    </a:lnTo>
                    <a:lnTo>
                      <a:pt x="514" y="658"/>
                    </a:lnTo>
                    <a:lnTo>
                      <a:pt x="491" y="611"/>
                    </a:lnTo>
                    <a:lnTo>
                      <a:pt x="466" y="565"/>
                    </a:lnTo>
                    <a:lnTo>
                      <a:pt x="440" y="520"/>
                    </a:lnTo>
                    <a:lnTo>
                      <a:pt x="412" y="474"/>
                    </a:lnTo>
                    <a:lnTo>
                      <a:pt x="383" y="430"/>
                    </a:lnTo>
                    <a:lnTo>
                      <a:pt x="352" y="386"/>
                    </a:lnTo>
                    <a:lnTo>
                      <a:pt x="319" y="343"/>
                    </a:lnTo>
                    <a:lnTo>
                      <a:pt x="285" y="300"/>
                    </a:lnTo>
                    <a:lnTo>
                      <a:pt x="249" y="259"/>
                    </a:lnTo>
                    <a:lnTo>
                      <a:pt x="213" y="218"/>
                    </a:lnTo>
                    <a:lnTo>
                      <a:pt x="174" y="177"/>
                    </a:lnTo>
                    <a:lnTo>
                      <a:pt x="134" y="139"/>
                    </a:lnTo>
                    <a:lnTo>
                      <a:pt x="93" y="100"/>
                    </a:lnTo>
                    <a:lnTo>
                      <a:pt x="50" y="61"/>
                    </a:lnTo>
                    <a:lnTo>
                      <a:pt x="5" y="24"/>
                    </a:lnTo>
                    <a:lnTo>
                      <a:pt x="2" y="20"/>
                    </a:lnTo>
                    <a:lnTo>
                      <a:pt x="0" y="14"/>
                    </a:lnTo>
                    <a:lnTo>
                      <a:pt x="1" y="10"/>
                    </a:lnTo>
                    <a:lnTo>
                      <a:pt x="3" y="5"/>
                    </a:lnTo>
                    <a:lnTo>
                      <a:pt x="7" y="1"/>
                    </a:lnTo>
                    <a:lnTo>
                      <a:pt x="12" y="0"/>
                    </a:lnTo>
                    <a:lnTo>
                      <a:pt x="17" y="0"/>
                    </a:lnTo>
                    <a:lnTo>
                      <a:pt x="23" y="3"/>
                    </a:lnTo>
                    <a:lnTo>
                      <a:pt x="67" y="41"/>
                    </a:lnTo>
                    <a:lnTo>
                      <a:pt x="111" y="79"/>
                    </a:lnTo>
                    <a:lnTo>
                      <a:pt x="153" y="119"/>
                    </a:lnTo>
                    <a:lnTo>
                      <a:pt x="193" y="159"/>
                    </a:lnTo>
                    <a:lnTo>
                      <a:pt x="233" y="200"/>
                    </a:lnTo>
                    <a:lnTo>
                      <a:pt x="270" y="241"/>
                    </a:lnTo>
                    <a:lnTo>
                      <a:pt x="306" y="283"/>
                    </a:lnTo>
                    <a:lnTo>
                      <a:pt x="341" y="326"/>
                    </a:lnTo>
                    <a:lnTo>
                      <a:pt x="373" y="371"/>
                    </a:lnTo>
                    <a:lnTo>
                      <a:pt x="405" y="415"/>
                    </a:lnTo>
                    <a:lnTo>
                      <a:pt x="435" y="460"/>
                    </a:lnTo>
                    <a:lnTo>
                      <a:pt x="463" y="506"/>
                    </a:lnTo>
                    <a:lnTo>
                      <a:pt x="490" y="552"/>
                    </a:lnTo>
                    <a:lnTo>
                      <a:pt x="515" y="598"/>
                    </a:lnTo>
                    <a:lnTo>
                      <a:pt x="539" y="647"/>
                    </a:lnTo>
                    <a:lnTo>
                      <a:pt x="560" y="694"/>
                    </a:lnTo>
                    <a:lnTo>
                      <a:pt x="596" y="778"/>
                    </a:lnTo>
                    <a:lnTo>
                      <a:pt x="628" y="857"/>
                    </a:lnTo>
                    <a:lnTo>
                      <a:pt x="659" y="935"/>
                    </a:lnTo>
                    <a:lnTo>
                      <a:pt x="686" y="1010"/>
                    </a:lnTo>
                    <a:lnTo>
                      <a:pt x="709" y="1081"/>
                    </a:lnTo>
                    <a:lnTo>
                      <a:pt x="732" y="1149"/>
                    </a:lnTo>
                    <a:lnTo>
                      <a:pt x="751" y="1215"/>
                    </a:lnTo>
                    <a:lnTo>
                      <a:pt x="769" y="1278"/>
                    </a:lnTo>
                    <a:lnTo>
                      <a:pt x="784" y="1339"/>
                    </a:lnTo>
                    <a:lnTo>
                      <a:pt x="797" y="1397"/>
                    </a:lnTo>
                    <a:lnTo>
                      <a:pt x="808" y="1452"/>
                    </a:lnTo>
                    <a:lnTo>
                      <a:pt x="817" y="1505"/>
                    </a:lnTo>
                    <a:lnTo>
                      <a:pt x="825" y="1557"/>
                    </a:lnTo>
                    <a:lnTo>
                      <a:pt x="831" y="1606"/>
                    </a:lnTo>
                    <a:lnTo>
                      <a:pt x="836" y="1652"/>
                    </a:lnTo>
                    <a:lnTo>
                      <a:pt x="838" y="1697"/>
                    </a:lnTo>
                    <a:lnTo>
                      <a:pt x="840" y="1739"/>
                    </a:lnTo>
                    <a:lnTo>
                      <a:pt x="840" y="1780"/>
                    </a:lnTo>
                    <a:lnTo>
                      <a:pt x="839" y="1819"/>
                    </a:lnTo>
                    <a:lnTo>
                      <a:pt x="838" y="1856"/>
                    </a:lnTo>
                    <a:lnTo>
                      <a:pt x="835" y="1892"/>
                    </a:lnTo>
                    <a:lnTo>
                      <a:pt x="830" y="1925"/>
                    </a:lnTo>
                    <a:lnTo>
                      <a:pt x="826" y="1957"/>
                    </a:lnTo>
                    <a:lnTo>
                      <a:pt x="822" y="1988"/>
                    </a:lnTo>
                    <a:lnTo>
                      <a:pt x="816" y="2017"/>
                    </a:lnTo>
                    <a:lnTo>
                      <a:pt x="810" y="2045"/>
                    </a:lnTo>
                    <a:lnTo>
                      <a:pt x="803" y="2071"/>
                    </a:lnTo>
                    <a:lnTo>
                      <a:pt x="797" y="2097"/>
                    </a:lnTo>
                    <a:lnTo>
                      <a:pt x="783" y="2144"/>
                    </a:lnTo>
                    <a:lnTo>
                      <a:pt x="770" y="2186"/>
                    </a:lnTo>
                    <a:lnTo>
                      <a:pt x="758" y="2226"/>
                    </a:lnTo>
                    <a:lnTo>
                      <a:pt x="748" y="2262"/>
                    </a:lnTo>
                    <a:lnTo>
                      <a:pt x="744" y="2278"/>
                    </a:lnTo>
                    <a:lnTo>
                      <a:pt x="742" y="2294"/>
                    </a:lnTo>
                    <a:lnTo>
                      <a:pt x="740" y="2309"/>
                    </a:lnTo>
                    <a:lnTo>
                      <a:pt x="738" y="2325"/>
                    </a:lnTo>
                    <a:lnTo>
                      <a:pt x="740" y="2345"/>
                    </a:lnTo>
                    <a:lnTo>
                      <a:pt x="742" y="2370"/>
                    </a:lnTo>
                    <a:lnTo>
                      <a:pt x="745" y="2399"/>
                    </a:lnTo>
                    <a:lnTo>
                      <a:pt x="749" y="2430"/>
                    </a:lnTo>
                    <a:lnTo>
                      <a:pt x="755" y="2466"/>
                    </a:lnTo>
                    <a:lnTo>
                      <a:pt x="762" y="2506"/>
                    </a:lnTo>
                    <a:lnTo>
                      <a:pt x="770" y="2548"/>
                    </a:lnTo>
                    <a:lnTo>
                      <a:pt x="777" y="2594"/>
                    </a:lnTo>
                    <a:lnTo>
                      <a:pt x="782" y="2616"/>
                    </a:lnTo>
                    <a:lnTo>
                      <a:pt x="786" y="2640"/>
                    </a:lnTo>
                    <a:lnTo>
                      <a:pt x="789" y="2663"/>
                    </a:lnTo>
                    <a:lnTo>
                      <a:pt x="793" y="2688"/>
                    </a:lnTo>
                    <a:lnTo>
                      <a:pt x="798" y="2713"/>
                    </a:lnTo>
                    <a:lnTo>
                      <a:pt x="803" y="2739"/>
                    </a:lnTo>
                    <a:lnTo>
                      <a:pt x="808" y="2766"/>
                    </a:lnTo>
                    <a:lnTo>
                      <a:pt x="812" y="2793"/>
                    </a:lnTo>
                    <a:lnTo>
                      <a:pt x="785" y="27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10"/>
              <p:cNvSpPr>
                <a:spLocks/>
              </p:cNvSpPr>
              <p:nvPr userDrawn="1"/>
            </p:nvSpPr>
            <p:spPr bwMode="auto">
              <a:xfrm>
                <a:off x="1166" y="3938"/>
                <a:ext cx="188" cy="382"/>
              </a:xfrm>
              <a:custGeom>
                <a:avLst/>
                <a:gdLst>
                  <a:gd name="T0" fmla="*/ 533 w 563"/>
                  <a:gd name="T1" fmla="*/ 1147 h 1147"/>
                  <a:gd name="T2" fmla="*/ 521 w 563"/>
                  <a:gd name="T3" fmla="*/ 1123 h 1147"/>
                  <a:gd name="T4" fmla="*/ 509 w 563"/>
                  <a:gd name="T5" fmla="*/ 1100 h 1147"/>
                  <a:gd name="T6" fmla="*/ 498 w 563"/>
                  <a:gd name="T7" fmla="*/ 1077 h 1147"/>
                  <a:gd name="T8" fmla="*/ 488 w 563"/>
                  <a:gd name="T9" fmla="*/ 1054 h 1147"/>
                  <a:gd name="T10" fmla="*/ 477 w 563"/>
                  <a:gd name="T11" fmla="*/ 1033 h 1147"/>
                  <a:gd name="T12" fmla="*/ 466 w 563"/>
                  <a:gd name="T13" fmla="*/ 1011 h 1147"/>
                  <a:gd name="T14" fmla="*/ 455 w 563"/>
                  <a:gd name="T15" fmla="*/ 990 h 1147"/>
                  <a:gd name="T16" fmla="*/ 445 w 563"/>
                  <a:gd name="T17" fmla="*/ 970 h 1147"/>
                  <a:gd name="T18" fmla="*/ 433 w 563"/>
                  <a:gd name="T19" fmla="*/ 943 h 1147"/>
                  <a:gd name="T20" fmla="*/ 413 w 563"/>
                  <a:gd name="T21" fmla="*/ 904 h 1147"/>
                  <a:gd name="T22" fmla="*/ 394 w 563"/>
                  <a:gd name="T23" fmla="*/ 863 h 1147"/>
                  <a:gd name="T24" fmla="*/ 371 w 563"/>
                  <a:gd name="T25" fmla="*/ 818 h 1147"/>
                  <a:gd name="T26" fmla="*/ 347 w 563"/>
                  <a:gd name="T27" fmla="*/ 769 h 1147"/>
                  <a:gd name="T28" fmla="*/ 322 w 563"/>
                  <a:gd name="T29" fmla="*/ 718 h 1147"/>
                  <a:gd name="T30" fmla="*/ 296 w 563"/>
                  <a:gd name="T31" fmla="*/ 663 h 1147"/>
                  <a:gd name="T32" fmla="*/ 269 w 563"/>
                  <a:gd name="T33" fmla="*/ 607 h 1147"/>
                  <a:gd name="T34" fmla="*/ 241 w 563"/>
                  <a:gd name="T35" fmla="*/ 548 h 1147"/>
                  <a:gd name="T36" fmla="*/ 212 w 563"/>
                  <a:gd name="T37" fmla="*/ 486 h 1147"/>
                  <a:gd name="T38" fmla="*/ 183 w 563"/>
                  <a:gd name="T39" fmla="*/ 424 h 1147"/>
                  <a:gd name="T40" fmla="*/ 153 w 563"/>
                  <a:gd name="T41" fmla="*/ 359 h 1147"/>
                  <a:gd name="T42" fmla="*/ 123 w 563"/>
                  <a:gd name="T43" fmla="*/ 293 h 1147"/>
                  <a:gd name="T44" fmla="*/ 92 w 563"/>
                  <a:gd name="T45" fmla="*/ 225 h 1147"/>
                  <a:gd name="T46" fmla="*/ 62 w 563"/>
                  <a:gd name="T47" fmla="*/ 157 h 1147"/>
                  <a:gd name="T48" fmla="*/ 31 w 563"/>
                  <a:gd name="T49" fmla="*/ 88 h 1147"/>
                  <a:gd name="T50" fmla="*/ 1 w 563"/>
                  <a:gd name="T51" fmla="*/ 18 h 1147"/>
                  <a:gd name="T52" fmla="*/ 0 w 563"/>
                  <a:gd name="T53" fmla="*/ 12 h 1147"/>
                  <a:gd name="T54" fmla="*/ 1 w 563"/>
                  <a:gd name="T55" fmla="*/ 8 h 1147"/>
                  <a:gd name="T56" fmla="*/ 4 w 563"/>
                  <a:gd name="T57" fmla="*/ 4 h 1147"/>
                  <a:gd name="T58" fmla="*/ 8 w 563"/>
                  <a:gd name="T59" fmla="*/ 1 h 1147"/>
                  <a:gd name="T60" fmla="*/ 14 w 563"/>
                  <a:gd name="T61" fmla="*/ 0 h 1147"/>
                  <a:gd name="T62" fmla="*/ 18 w 563"/>
                  <a:gd name="T63" fmla="*/ 1 h 1147"/>
                  <a:gd name="T64" fmla="*/ 23 w 563"/>
                  <a:gd name="T65" fmla="*/ 3 h 1147"/>
                  <a:gd name="T66" fmla="*/ 25 w 563"/>
                  <a:gd name="T67" fmla="*/ 7 h 1147"/>
                  <a:gd name="T68" fmla="*/ 56 w 563"/>
                  <a:gd name="T69" fmla="*/ 77 h 1147"/>
                  <a:gd name="T70" fmla="*/ 86 w 563"/>
                  <a:gd name="T71" fmla="*/ 146 h 1147"/>
                  <a:gd name="T72" fmla="*/ 117 w 563"/>
                  <a:gd name="T73" fmla="*/ 214 h 1147"/>
                  <a:gd name="T74" fmla="*/ 147 w 563"/>
                  <a:gd name="T75" fmla="*/ 282 h 1147"/>
                  <a:gd name="T76" fmla="*/ 178 w 563"/>
                  <a:gd name="T77" fmla="*/ 348 h 1147"/>
                  <a:gd name="T78" fmla="*/ 208 w 563"/>
                  <a:gd name="T79" fmla="*/ 413 h 1147"/>
                  <a:gd name="T80" fmla="*/ 237 w 563"/>
                  <a:gd name="T81" fmla="*/ 476 h 1147"/>
                  <a:gd name="T82" fmla="*/ 266 w 563"/>
                  <a:gd name="T83" fmla="*/ 537 h 1147"/>
                  <a:gd name="T84" fmla="*/ 294 w 563"/>
                  <a:gd name="T85" fmla="*/ 595 h 1147"/>
                  <a:gd name="T86" fmla="*/ 321 w 563"/>
                  <a:gd name="T87" fmla="*/ 653 h 1147"/>
                  <a:gd name="T88" fmla="*/ 347 w 563"/>
                  <a:gd name="T89" fmla="*/ 707 h 1147"/>
                  <a:gd name="T90" fmla="*/ 372 w 563"/>
                  <a:gd name="T91" fmla="*/ 757 h 1147"/>
                  <a:gd name="T92" fmla="*/ 396 w 563"/>
                  <a:gd name="T93" fmla="*/ 806 h 1147"/>
                  <a:gd name="T94" fmla="*/ 417 w 563"/>
                  <a:gd name="T95" fmla="*/ 851 h 1147"/>
                  <a:gd name="T96" fmla="*/ 438 w 563"/>
                  <a:gd name="T97" fmla="*/ 892 h 1147"/>
                  <a:gd name="T98" fmla="*/ 456 w 563"/>
                  <a:gd name="T99" fmla="*/ 931 h 1147"/>
                  <a:gd name="T100" fmla="*/ 470 w 563"/>
                  <a:gd name="T101" fmla="*/ 958 h 1147"/>
                  <a:gd name="T102" fmla="*/ 480 w 563"/>
                  <a:gd name="T103" fmla="*/ 980 h 1147"/>
                  <a:gd name="T104" fmla="*/ 491 w 563"/>
                  <a:gd name="T105" fmla="*/ 1001 h 1147"/>
                  <a:gd name="T106" fmla="*/ 502 w 563"/>
                  <a:gd name="T107" fmla="*/ 1023 h 1147"/>
                  <a:gd name="T108" fmla="*/ 514 w 563"/>
                  <a:gd name="T109" fmla="*/ 1046 h 1147"/>
                  <a:gd name="T110" fmla="*/ 524 w 563"/>
                  <a:gd name="T111" fmla="*/ 1069 h 1147"/>
                  <a:gd name="T112" fmla="*/ 536 w 563"/>
                  <a:gd name="T113" fmla="*/ 1093 h 1147"/>
                  <a:gd name="T114" fmla="*/ 549 w 563"/>
                  <a:gd name="T115" fmla="*/ 1118 h 1147"/>
                  <a:gd name="T116" fmla="*/ 561 w 563"/>
                  <a:gd name="T117" fmla="*/ 1143 h 1147"/>
                  <a:gd name="T118" fmla="*/ 563 w 563"/>
                  <a:gd name="T119" fmla="*/ 1147 h 1147"/>
                  <a:gd name="T120" fmla="*/ 533 w 563"/>
                  <a:gd name="T121" fmla="*/ 114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3" h="1147">
                    <a:moveTo>
                      <a:pt x="533" y="1147"/>
                    </a:moveTo>
                    <a:lnTo>
                      <a:pt x="521" y="1123"/>
                    </a:lnTo>
                    <a:lnTo>
                      <a:pt x="509" y="1100"/>
                    </a:lnTo>
                    <a:lnTo>
                      <a:pt x="498" y="1077"/>
                    </a:lnTo>
                    <a:lnTo>
                      <a:pt x="488" y="1054"/>
                    </a:lnTo>
                    <a:lnTo>
                      <a:pt x="477" y="1033"/>
                    </a:lnTo>
                    <a:lnTo>
                      <a:pt x="466" y="1011"/>
                    </a:lnTo>
                    <a:lnTo>
                      <a:pt x="455" y="990"/>
                    </a:lnTo>
                    <a:lnTo>
                      <a:pt x="445" y="970"/>
                    </a:lnTo>
                    <a:lnTo>
                      <a:pt x="433" y="943"/>
                    </a:lnTo>
                    <a:lnTo>
                      <a:pt x="413" y="904"/>
                    </a:lnTo>
                    <a:lnTo>
                      <a:pt x="394" y="863"/>
                    </a:lnTo>
                    <a:lnTo>
                      <a:pt x="371" y="818"/>
                    </a:lnTo>
                    <a:lnTo>
                      <a:pt x="347" y="769"/>
                    </a:lnTo>
                    <a:lnTo>
                      <a:pt x="322" y="718"/>
                    </a:lnTo>
                    <a:lnTo>
                      <a:pt x="296" y="663"/>
                    </a:lnTo>
                    <a:lnTo>
                      <a:pt x="269" y="607"/>
                    </a:lnTo>
                    <a:lnTo>
                      <a:pt x="241" y="548"/>
                    </a:lnTo>
                    <a:lnTo>
                      <a:pt x="212" y="486"/>
                    </a:lnTo>
                    <a:lnTo>
                      <a:pt x="183" y="424"/>
                    </a:lnTo>
                    <a:lnTo>
                      <a:pt x="153" y="359"/>
                    </a:lnTo>
                    <a:lnTo>
                      <a:pt x="123" y="293"/>
                    </a:lnTo>
                    <a:lnTo>
                      <a:pt x="92" y="225"/>
                    </a:lnTo>
                    <a:lnTo>
                      <a:pt x="62" y="157"/>
                    </a:lnTo>
                    <a:lnTo>
                      <a:pt x="31" y="88"/>
                    </a:lnTo>
                    <a:lnTo>
                      <a:pt x="1" y="18"/>
                    </a:lnTo>
                    <a:lnTo>
                      <a:pt x="0" y="12"/>
                    </a:lnTo>
                    <a:lnTo>
                      <a:pt x="1" y="8"/>
                    </a:lnTo>
                    <a:lnTo>
                      <a:pt x="4" y="4"/>
                    </a:lnTo>
                    <a:lnTo>
                      <a:pt x="8" y="1"/>
                    </a:lnTo>
                    <a:lnTo>
                      <a:pt x="14" y="0"/>
                    </a:lnTo>
                    <a:lnTo>
                      <a:pt x="18" y="1"/>
                    </a:lnTo>
                    <a:lnTo>
                      <a:pt x="23" y="3"/>
                    </a:lnTo>
                    <a:lnTo>
                      <a:pt x="25" y="7"/>
                    </a:lnTo>
                    <a:lnTo>
                      <a:pt x="56" y="77"/>
                    </a:lnTo>
                    <a:lnTo>
                      <a:pt x="86" y="146"/>
                    </a:lnTo>
                    <a:lnTo>
                      <a:pt x="117" y="214"/>
                    </a:lnTo>
                    <a:lnTo>
                      <a:pt x="147" y="282"/>
                    </a:lnTo>
                    <a:lnTo>
                      <a:pt x="178" y="348"/>
                    </a:lnTo>
                    <a:lnTo>
                      <a:pt x="208" y="413"/>
                    </a:lnTo>
                    <a:lnTo>
                      <a:pt x="237" y="476"/>
                    </a:lnTo>
                    <a:lnTo>
                      <a:pt x="266" y="537"/>
                    </a:lnTo>
                    <a:lnTo>
                      <a:pt x="294" y="595"/>
                    </a:lnTo>
                    <a:lnTo>
                      <a:pt x="321" y="653"/>
                    </a:lnTo>
                    <a:lnTo>
                      <a:pt x="347" y="707"/>
                    </a:lnTo>
                    <a:lnTo>
                      <a:pt x="372" y="757"/>
                    </a:lnTo>
                    <a:lnTo>
                      <a:pt x="396" y="806"/>
                    </a:lnTo>
                    <a:lnTo>
                      <a:pt x="417" y="851"/>
                    </a:lnTo>
                    <a:lnTo>
                      <a:pt x="438" y="892"/>
                    </a:lnTo>
                    <a:lnTo>
                      <a:pt x="456" y="931"/>
                    </a:lnTo>
                    <a:lnTo>
                      <a:pt x="470" y="958"/>
                    </a:lnTo>
                    <a:lnTo>
                      <a:pt x="480" y="980"/>
                    </a:lnTo>
                    <a:lnTo>
                      <a:pt x="491" y="1001"/>
                    </a:lnTo>
                    <a:lnTo>
                      <a:pt x="502" y="1023"/>
                    </a:lnTo>
                    <a:lnTo>
                      <a:pt x="514" y="1046"/>
                    </a:lnTo>
                    <a:lnTo>
                      <a:pt x="524" y="1069"/>
                    </a:lnTo>
                    <a:lnTo>
                      <a:pt x="536" y="1093"/>
                    </a:lnTo>
                    <a:lnTo>
                      <a:pt x="549" y="1118"/>
                    </a:lnTo>
                    <a:lnTo>
                      <a:pt x="561" y="1143"/>
                    </a:lnTo>
                    <a:lnTo>
                      <a:pt x="563" y="1147"/>
                    </a:lnTo>
                    <a:lnTo>
                      <a:pt x="533"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11"/>
              <p:cNvSpPr>
                <a:spLocks/>
              </p:cNvSpPr>
              <p:nvPr userDrawn="1"/>
            </p:nvSpPr>
            <p:spPr bwMode="auto">
              <a:xfrm>
                <a:off x="200" y="2934"/>
                <a:ext cx="3186" cy="1386"/>
              </a:xfrm>
              <a:custGeom>
                <a:avLst/>
                <a:gdLst>
                  <a:gd name="T0" fmla="*/ 145 w 9557"/>
                  <a:gd name="T1" fmla="*/ 3871 h 4158"/>
                  <a:gd name="T2" fmla="*/ 823 w 9557"/>
                  <a:gd name="T3" fmla="*/ 2860 h 4158"/>
                  <a:gd name="T4" fmla="*/ 1177 w 9557"/>
                  <a:gd name="T5" fmla="*/ 2201 h 4158"/>
                  <a:gd name="T6" fmla="*/ 1521 w 9557"/>
                  <a:gd name="T7" fmla="*/ 1164 h 4158"/>
                  <a:gd name="T8" fmla="*/ 1878 w 9557"/>
                  <a:gd name="T9" fmla="*/ 584 h 4158"/>
                  <a:gd name="T10" fmla="*/ 2673 w 9557"/>
                  <a:gd name="T11" fmla="*/ 94 h 4158"/>
                  <a:gd name="T12" fmla="*/ 3607 w 9557"/>
                  <a:gd name="T13" fmla="*/ 8 h 4158"/>
                  <a:gd name="T14" fmla="*/ 4053 w 9557"/>
                  <a:gd name="T15" fmla="*/ 103 h 4158"/>
                  <a:gd name="T16" fmla="*/ 4728 w 9557"/>
                  <a:gd name="T17" fmla="*/ 323 h 4158"/>
                  <a:gd name="T18" fmla="*/ 5177 w 9557"/>
                  <a:gd name="T19" fmla="*/ 354 h 4158"/>
                  <a:gd name="T20" fmla="*/ 6114 w 9557"/>
                  <a:gd name="T21" fmla="*/ 412 h 4158"/>
                  <a:gd name="T22" fmla="*/ 6524 w 9557"/>
                  <a:gd name="T23" fmla="*/ 539 h 4158"/>
                  <a:gd name="T24" fmla="*/ 6954 w 9557"/>
                  <a:gd name="T25" fmla="*/ 577 h 4158"/>
                  <a:gd name="T26" fmla="*/ 7396 w 9557"/>
                  <a:gd name="T27" fmla="*/ 577 h 4158"/>
                  <a:gd name="T28" fmla="*/ 8211 w 9557"/>
                  <a:gd name="T29" fmla="*/ 871 h 4158"/>
                  <a:gd name="T30" fmla="*/ 8956 w 9557"/>
                  <a:gd name="T31" fmla="*/ 1562 h 4158"/>
                  <a:gd name="T32" fmla="*/ 9417 w 9557"/>
                  <a:gd name="T33" fmla="*/ 2436 h 4158"/>
                  <a:gd name="T34" fmla="*/ 9553 w 9557"/>
                  <a:gd name="T35" fmla="*/ 2993 h 4158"/>
                  <a:gd name="T36" fmla="*/ 9474 w 9557"/>
                  <a:gd name="T37" fmla="*/ 3527 h 4158"/>
                  <a:gd name="T38" fmla="*/ 9099 w 9557"/>
                  <a:gd name="T39" fmla="*/ 3473 h 4158"/>
                  <a:gd name="T40" fmla="*/ 8597 w 9557"/>
                  <a:gd name="T41" fmla="*/ 3049 h 4158"/>
                  <a:gd name="T42" fmla="*/ 8285 w 9557"/>
                  <a:gd name="T43" fmla="*/ 2903 h 4158"/>
                  <a:gd name="T44" fmla="*/ 7922 w 9557"/>
                  <a:gd name="T45" fmla="*/ 2958 h 4158"/>
                  <a:gd name="T46" fmla="*/ 7342 w 9557"/>
                  <a:gd name="T47" fmla="*/ 3145 h 4158"/>
                  <a:gd name="T48" fmla="*/ 6449 w 9557"/>
                  <a:gd name="T49" fmla="*/ 3227 h 4158"/>
                  <a:gd name="T50" fmla="*/ 5623 w 9557"/>
                  <a:gd name="T51" fmla="*/ 3161 h 4158"/>
                  <a:gd name="T52" fmla="*/ 4761 w 9557"/>
                  <a:gd name="T53" fmla="*/ 2808 h 4158"/>
                  <a:gd name="T54" fmla="*/ 3428 w 9557"/>
                  <a:gd name="T55" fmla="*/ 2166 h 4158"/>
                  <a:gd name="T56" fmla="*/ 3201 w 9557"/>
                  <a:gd name="T57" fmla="*/ 2368 h 4158"/>
                  <a:gd name="T58" fmla="*/ 2918 w 9557"/>
                  <a:gd name="T59" fmla="*/ 3085 h 4158"/>
                  <a:gd name="T60" fmla="*/ 2495 w 9557"/>
                  <a:gd name="T61" fmla="*/ 4063 h 4158"/>
                  <a:gd name="T62" fmla="*/ 2513 w 9557"/>
                  <a:gd name="T63" fmla="*/ 3973 h 4158"/>
                  <a:gd name="T64" fmla="*/ 2967 w 9557"/>
                  <a:gd name="T65" fmla="*/ 2865 h 4158"/>
                  <a:gd name="T66" fmla="*/ 3190 w 9557"/>
                  <a:gd name="T67" fmla="*/ 2336 h 4158"/>
                  <a:gd name="T68" fmla="*/ 3399 w 9557"/>
                  <a:gd name="T69" fmla="*/ 2147 h 4158"/>
                  <a:gd name="T70" fmla="*/ 4314 w 9557"/>
                  <a:gd name="T71" fmla="*/ 2563 h 4158"/>
                  <a:gd name="T72" fmla="*/ 5418 w 9557"/>
                  <a:gd name="T73" fmla="*/ 3077 h 4158"/>
                  <a:gd name="T74" fmla="*/ 6122 w 9557"/>
                  <a:gd name="T75" fmla="*/ 3195 h 4158"/>
                  <a:gd name="T76" fmla="*/ 7134 w 9557"/>
                  <a:gd name="T77" fmla="*/ 3163 h 4158"/>
                  <a:gd name="T78" fmla="*/ 7747 w 9557"/>
                  <a:gd name="T79" fmla="*/ 2988 h 4158"/>
                  <a:gd name="T80" fmla="*/ 8197 w 9557"/>
                  <a:gd name="T81" fmla="*/ 2873 h 4158"/>
                  <a:gd name="T82" fmla="*/ 8470 w 9557"/>
                  <a:gd name="T83" fmla="*/ 2937 h 4158"/>
                  <a:gd name="T84" fmla="*/ 9037 w 9557"/>
                  <a:gd name="T85" fmla="*/ 3393 h 4158"/>
                  <a:gd name="T86" fmla="*/ 9472 w 9557"/>
                  <a:gd name="T87" fmla="*/ 3452 h 4158"/>
                  <a:gd name="T88" fmla="*/ 9518 w 9557"/>
                  <a:gd name="T89" fmla="*/ 2913 h 4158"/>
                  <a:gd name="T90" fmla="*/ 9340 w 9557"/>
                  <a:gd name="T91" fmla="*/ 2311 h 4158"/>
                  <a:gd name="T92" fmla="*/ 8841 w 9557"/>
                  <a:gd name="T93" fmla="*/ 1455 h 4158"/>
                  <a:gd name="T94" fmla="*/ 8060 w 9557"/>
                  <a:gd name="T95" fmla="*/ 823 h 4158"/>
                  <a:gd name="T96" fmla="*/ 7280 w 9557"/>
                  <a:gd name="T97" fmla="*/ 591 h 4158"/>
                  <a:gd name="T98" fmla="*/ 6887 w 9557"/>
                  <a:gd name="T99" fmla="*/ 627 h 4158"/>
                  <a:gd name="T100" fmla="*/ 6589 w 9557"/>
                  <a:gd name="T101" fmla="*/ 587 h 4158"/>
                  <a:gd name="T102" fmla="*/ 6180 w 9557"/>
                  <a:gd name="T103" fmla="*/ 452 h 4158"/>
                  <a:gd name="T104" fmla="*/ 5178 w 9557"/>
                  <a:gd name="T105" fmla="*/ 381 h 4158"/>
                  <a:gd name="T106" fmla="*/ 4725 w 9557"/>
                  <a:gd name="T107" fmla="*/ 349 h 4158"/>
                  <a:gd name="T108" fmla="*/ 4043 w 9557"/>
                  <a:gd name="T109" fmla="*/ 129 h 4158"/>
                  <a:gd name="T110" fmla="*/ 3603 w 9557"/>
                  <a:gd name="T111" fmla="*/ 34 h 4158"/>
                  <a:gd name="T112" fmla="*/ 2683 w 9557"/>
                  <a:gd name="T113" fmla="*/ 119 h 4158"/>
                  <a:gd name="T114" fmla="*/ 1899 w 9557"/>
                  <a:gd name="T115" fmla="*/ 601 h 4158"/>
                  <a:gd name="T116" fmla="*/ 1543 w 9557"/>
                  <a:gd name="T117" fmla="*/ 1176 h 4158"/>
                  <a:gd name="T118" fmla="*/ 1203 w 9557"/>
                  <a:gd name="T119" fmla="*/ 2207 h 4158"/>
                  <a:gd name="T120" fmla="*/ 847 w 9557"/>
                  <a:gd name="T121" fmla="*/ 2873 h 4158"/>
                  <a:gd name="T122" fmla="*/ 169 w 9557"/>
                  <a:gd name="T123" fmla="*/ 3884 h 4158"/>
                  <a:gd name="T124" fmla="*/ 0 w 9557"/>
                  <a:gd name="T125" fmla="*/ 4158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57" h="4158">
                    <a:moveTo>
                      <a:pt x="0" y="4158"/>
                    </a:moveTo>
                    <a:lnTo>
                      <a:pt x="9" y="4140"/>
                    </a:lnTo>
                    <a:lnTo>
                      <a:pt x="18" y="4122"/>
                    </a:lnTo>
                    <a:lnTo>
                      <a:pt x="26" y="4103"/>
                    </a:lnTo>
                    <a:lnTo>
                      <a:pt x="35" y="4085"/>
                    </a:lnTo>
                    <a:lnTo>
                      <a:pt x="45" y="4062"/>
                    </a:lnTo>
                    <a:lnTo>
                      <a:pt x="55" y="4038"/>
                    </a:lnTo>
                    <a:lnTo>
                      <a:pt x="67" y="4013"/>
                    </a:lnTo>
                    <a:lnTo>
                      <a:pt x="79" y="3987"/>
                    </a:lnTo>
                    <a:lnTo>
                      <a:pt x="93" y="3960"/>
                    </a:lnTo>
                    <a:lnTo>
                      <a:pt x="108" y="3932"/>
                    </a:lnTo>
                    <a:lnTo>
                      <a:pt x="126" y="3902"/>
                    </a:lnTo>
                    <a:lnTo>
                      <a:pt x="145" y="3871"/>
                    </a:lnTo>
                    <a:lnTo>
                      <a:pt x="187" y="3803"/>
                    </a:lnTo>
                    <a:lnTo>
                      <a:pt x="235" y="3729"/>
                    </a:lnTo>
                    <a:lnTo>
                      <a:pt x="287" y="3651"/>
                    </a:lnTo>
                    <a:lnTo>
                      <a:pt x="343" y="3569"/>
                    </a:lnTo>
                    <a:lnTo>
                      <a:pt x="402" y="3481"/>
                    </a:lnTo>
                    <a:lnTo>
                      <a:pt x="465" y="3392"/>
                    </a:lnTo>
                    <a:lnTo>
                      <a:pt x="514" y="3319"/>
                    </a:lnTo>
                    <a:lnTo>
                      <a:pt x="565" y="3246"/>
                    </a:lnTo>
                    <a:lnTo>
                      <a:pt x="617" y="3170"/>
                    </a:lnTo>
                    <a:lnTo>
                      <a:pt x="669" y="3094"/>
                    </a:lnTo>
                    <a:lnTo>
                      <a:pt x="721" y="3017"/>
                    </a:lnTo>
                    <a:lnTo>
                      <a:pt x="772" y="2938"/>
                    </a:lnTo>
                    <a:lnTo>
                      <a:pt x="823" y="2860"/>
                    </a:lnTo>
                    <a:lnTo>
                      <a:pt x="872" y="2783"/>
                    </a:lnTo>
                    <a:lnTo>
                      <a:pt x="920" y="2705"/>
                    </a:lnTo>
                    <a:lnTo>
                      <a:pt x="966" y="2628"/>
                    </a:lnTo>
                    <a:lnTo>
                      <a:pt x="1010" y="2552"/>
                    </a:lnTo>
                    <a:lnTo>
                      <a:pt x="1050" y="2477"/>
                    </a:lnTo>
                    <a:lnTo>
                      <a:pt x="1069" y="2442"/>
                    </a:lnTo>
                    <a:lnTo>
                      <a:pt x="1088" y="2405"/>
                    </a:lnTo>
                    <a:lnTo>
                      <a:pt x="1105" y="2369"/>
                    </a:lnTo>
                    <a:lnTo>
                      <a:pt x="1122" y="2335"/>
                    </a:lnTo>
                    <a:lnTo>
                      <a:pt x="1137" y="2300"/>
                    </a:lnTo>
                    <a:lnTo>
                      <a:pt x="1151" y="2266"/>
                    </a:lnTo>
                    <a:lnTo>
                      <a:pt x="1165" y="2233"/>
                    </a:lnTo>
                    <a:lnTo>
                      <a:pt x="1177" y="2201"/>
                    </a:lnTo>
                    <a:lnTo>
                      <a:pt x="1197" y="2104"/>
                    </a:lnTo>
                    <a:lnTo>
                      <a:pt x="1218" y="2011"/>
                    </a:lnTo>
                    <a:lnTo>
                      <a:pt x="1241" y="1919"/>
                    </a:lnTo>
                    <a:lnTo>
                      <a:pt x="1266" y="1832"/>
                    </a:lnTo>
                    <a:lnTo>
                      <a:pt x="1291" y="1746"/>
                    </a:lnTo>
                    <a:lnTo>
                      <a:pt x="1317" y="1663"/>
                    </a:lnTo>
                    <a:lnTo>
                      <a:pt x="1345" y="1583"/>
                    </a:lnTo>
                    <a:lnTo>
                      <a:pt x="1373" y="1507"/>
                    </a:lnTo>
                    <a:lnTo>
                      <a:pt x="1402" y="1432"/>
                    </a:lnTo>
                    <a:lnTo>
                      <a:pt x="1431" y="1361"/>
                    </a:lnTo>
                    <a:lnTo>
                      <a:pt x="1460" y="1292"/>
                    </a:lnTo>
                    <a:lnTo>
                      <a:pt x="1491" y="1226"/>
                    </a:lnTo>
                    <a:lnTo>
                      <a:pt x="1521" y="1164"/>
                    </a:lnTo>
                    <a:lnTo>
                      <a:pt x="1550" y="1104"/>
                    </a:lnTo>
                    <a:lnTo>
                      <a:pt x="1580" y="1047"/>
                    </a:lnTo>
                    <a:lnTo>
                      <a:pt x="1609" y="993"/>
                    </a:lnTo>
                    <a:lnTo>
                      <a:pt x="1637" y="942"/>
                    </a:lnTo>
                    <a:lnTo>
                      <a:pt x="1665" y="894"/>
                    </a:lnTo>
                    <a:lnTo>
                      <a:pt x="1694" y="849"/>
                    </a:lnTo>
                    <a:lnTo>
                      <a:pt x="1719" y="807"/>
                    </a:lnTo>
                    <a:lnTo>
                      <a:pt x="1744" y="768"/>
                    </a:lnTo>
                    <a:lnTo>
                      <a:pt x="1768" y="733"/>
                    </a:lnTo>
                    <a:lnTo>
                      <a:pt x="1791" y="700"/>
                    </a:lnTo>
                    <a:lnTo>
                      <a:pt x="1812" y="670"/>
                    </a:lnTo>
                    <a:lnTo>
                      <a:pt x="1849" y="621"/>
                    </a:lnTo>
                    <a:lnTo>
                      <a:pt x="1878" y="584"/>
                    </a:lnTo>
                    <a:lnTo>
                      <a:pt x="1898" y="560"/>
                    </a:lnTo>
                    <a:lnTo>
                      <a:pt x="1907" y="548"/>
                    </a:lnTo>
                    <a:lnTo>
                      <a:pt x="1966" y="487"/>
                    </a:lnTo>
                    <a:lnTo>
                      <a:pt x="2026" y="429"/>
                    </a:lnTo>
                    <a:lnTo>
                      <a:pt x="2091" y="377"/>
                    </a:lnTo>
                    <a:lnTo>
                      <a:pt x="2158" y="328"/>
                    </a:lnTo>
                    <a:lnTo>
                      <a:pt x="2227" y="284"/>
                    </a:lnTo>
                    <a:lnTo>
                      <a:pt x="2297" y="244"/>
                    </a:lnTo>
                    <a:lnTo>
                      <a:pt x="2371" y="206"/>
                    </a:lnTo>
                    <a:lnTo>
                      <a:pt x="2444" y="173"/>
                    </a:lnTo>
                    <a:lnTo>
                      <a:pt x="2520" y="143"/>
                    </a:lnTo>
                    <a:lnTo>
                      <a:pt x="2596" y="116"/>
                    </a:lnTo>
                    <a:lnTo>
                      <a:pt x="2673" y="94"/>
                    </a:lnTo>
                    <a:lnTo>
                      <a:pt x="2751" y="73"/>
                    </a:lnTo>
                    <a:lnTo>
                      <a:pt x="2827" y="55"/>
                    </a:lnTo>
                    <a:lnTo>
                      <a:pt x="2905" y="41"/>
                    </a:lnTo>
                    <a:lnTo>
                      <a:pt x="2982" y="28"/>
                    </a:lnTo>
                    <a:lnTo>
                      <a:pt x="3057" y="18"/>
                    </a:lnTo>
                    <a:lnTo>
                      <a:pt x="3133" y="11"/>
                    </a:lnTo>
                    <a:lnTo>
                      <a:pt x="3206" y="5"/>
                    </a:lnTo>
                    <a:lnTo>
                      <a:pt x="3279" y="2"/>
                    </a:lnTo>
                    <a:lnTo>
                      <a:pt x="3349" y="0"/>
                    </a:lnTo>
                    <a:lnTo>
                      <a:pt x="3417" y="0"/>
                    </a:lnTo>
                    <a:lnTo>
                      <a:pt x="3483" y="2"/>
                    </a:lnTo>
                    <a:lnTo>
                      <a:pt x="3546" y="4"/>
                    </a:lnTo>
                    <a:lnTo>
                      <a:pt x="3607" y="8"/>
                    </a:lnTo>
                    <a:lnTo>
                      <a:pt x="3664" y="14"/>
                    </a:lnTo>
                    <a:lnTo>
                      <a:pt x="3718" y="19"/>
                    </a:lnTo>
                    <a:lnTo>
                      <a:pt x="3768" y="27"/>
                    </a:lnTo>
                    <a:lnTo>
                      <a:pt x="3814" y="34"/>
                    </a:lnTo>
                    <a:lnTo>
                      <a:pt x="3855" y="42"/>
                    </a:lnTo>
                    <a:lnTo>
                      <a:pt x="3893" y="51"/>
                    </a:lnTo>
                    <a:lnTo>
                      <a:pt x="3925" y="59"/>
                    </a:lnTo>
                    <a:lnTo>
                      <a:pt x="3952" y="68"/>
                    </a:lnTo>
                    <a:lnTo>
                      <a:pt x="3971" y="74"/>
                    </a:lnTo>
                    <a:lnTo>
                      <a:pt x="3991" y="81"/>
                    </a:lnTo>
                    <a:lnTo>
                      <a:pt x="4011" y="88"/>
                    </a:lnTo>
                    <a:lnTo>
                      <a:pt x="4031" y="96"/>
                    </a:lnTo>
                    <a:lnTo>
                      <a:pt x="4053" y="103"/>
                    </a:lnTo>
                    <a:lnTo>
                      <a:pt x="4075" y="112"/>
                    </a:lnTo>
                    <a:lnTo>
                      <a:pt x="4096" y="121"/>
                    </a:lnTo>
                    <a:lnTo>
                      <a:pt x="4119" y="129"/>
                    </a:lnTo>
                    <a:lnTo>
                      <a:pt x="4172" y="149"/>
                    </a:lnTo>
                    <a:lnTo>
                      <a:pt x="4228" y="170"/>
                    </a:lnTo>
                    <a:lnTo>
                      <a:pt x="4285" y="191"/>
                    </a:lnTo>
                    <a:lnTo>
                      <a:pt x="4344" y="213"/>
                    </a:lnTo>
                    <a:lnTo>
                      <a:pt x="4405" y="233"/>
                    </a:lnTo>
                    <a:lnTo>
                      <a:pt x="4468" y="254"/>
                    </a:lnTo>
                    <a:lnTo>
                      <a:pt x="4531" y="273"/>
                    </a:lnTo>
                    <a:lnTo>
                      <a:pt x="4596" y="290"/>
                    </a:lnTo>
                    <a:lnTo>
                      <a:pt x="4662" y="308"/>
                    </a:lnTo>
                    <a:lnTo>
                      <a:pt x="4728" y="323"/>
                    </a:lnTo>
                    <a:lnTo>
                      <a:pt x="4761" y="329"/>
                    </a:lnTo>
                    <a:lnTo>
                      <a:pt x="4796" y="334"/>
                    </a:lnTo>
                    <a:lnTo>
                      <a:pt x="4829" y="340"/>
                    </a:lnTo>
                    <a:lnTo>
                      <a:pt x="4863" y="345"/>
                    </a:lnTo>
                    <a:lnTo>
                      <a:pt x="4896" y="350"/>
                    </a:lnTo>
                    <a:lnTo>
                      <a:pt x="4931" y="353"/>
                    </a:lnTo>
                    <a:lnTo>
                      <a:pt x="4964" y="355"/>
                    </a:lnTo>
                    <a:lnTo>
                      <a:pt x="4998" y="357"/>
                    </a:lnTo>
                    <a:lnTo>
                      <a:pt x="5032" y="358"/>
                    </a:lnTo>
                    <a:lnTo>
                      <a:pt x="5066" y="358"/>
                    </a:lnTo>
                    <a:lnTo>
                      <a:pt x="5099" y="358"/>
                    </a:lnTo>
                    <a:lnTo>
                      <a:pt x="5133" y="356"/>
                    </a:lnTo>
                    <a:lnTo>
                      <a:pt x="5177" y="354"/>
                    </a:lnTo>
                    <a:lnTo>
                      <a:pt x="5221" y="352"/>
                    </a:lnTo>
                    <a:lnTo>
                      <a:pt x="5266" y="351"/>
                    </a:lnTo>
                    <a:lnTo>
                      <a:pt x="5311" y="350"/>
                    </a:lnTo>
                    <a:lnTo>
                      <a:pt x="5404" y="350"/>
                    </a:lnTo>
                    <a:lnTo>
                      <a:pt x="5497" y="352"/>
                    </a:lnTo>
                    <a:lnTo>
                      <a:pt x="5591" y="355"/>
                    </a:lnTo>
                    <a:lnTo>
                      <a:pt x="5683" y="360"/>
                    </a:lnTo>
                    <a:lnTo>
                      <a:pt x="5775" y="368"/>
                    </a:lnTo>
                    <a:lnTo>
                      <a:pt x="5865" y="377"/>
                    </a:lnTo>
                    <a:lnTo>
                      <a:pt x="5951" y="387"/>
                    </a:lnTo>
                    <a:lnTo>
                      <a:pt x="6035" y="399"/>
                    </a:lnTo>
                    <a:lnTo>
                      <a:pt x="6075" y="406"/>
                    </a:lnTo>
                    <a:lnTo>
                      <a:pt x="6114" y="412"/>
                    </a:lnTo>
                    <a:lnTo>
                      <a:pt x="6152" y="420"/>
                    </a:lnTo>
                    <a:lnTo>
                      <a:pt x="6189" y="426"/>
                    </a:lnTo>
                    <a:lnTo>
                      <a:pt x="6223" y="435"/>
                    </a:lnTo>
                    <a:lnTo>
                      <a:pt x="6257" y="442"/>
                    </a:lnTo>
                    <a:lnTo>
                      <a:pt x="6288" y="451"/>
                    </a:lnTo>
                    <a:lnTo>
                      <a:pt x="6318" y="460"/>
                    </a:lnTo>
                    <a:lnTo>
                      <a:pt x="6346" y="468"/>
                    </a:lnTo>
                    <a:lnTo>
                      <a:pt x="6372" y="477"/>
                    </a:lnTo>
                    <a:lnTo>
                      <a:pt x="6397" y="487"/>
                    </a:lnTo>
                    <a:lnTo>
                      <a:pt x="6419" y="496"/>
                    </a:lnTo>
                    <a:lnTo>
                      <a:pt x="6453" y="512"/>
                    </a:lnTo>
                    <a:lnTo>
                      <a:pt x="6488" y="526"/>
                    </a:lnTo>
                    <a:lnTo>
                      <a:pt x="6524" y="539"/>
                    </a:lnTo>
                    <a:lnTo>
                      <a:pt x="6560" y="550"/>
                    </a:lnTo>
                    <a:lnTo>
                      <a:pt x="6597" y="561"/>
                    </a:lnTo>
                    <a:lnTo>
                      <a:pt x="6635" y="572"/>
                    </a:lnTo>
                    <a:lnTo>
                      <a:pt x="6673" y="581"/>
                    </a:lnTo>
                    <a:lnTo>
                      <a:pt x="6711" y="589"/>
                    </a:lnTo>
                    <a:lnTo>
                      <a:pt x="6765" y="598"/>
                    </a:lnTo>
                    <a:lnTo>
                      <a:pt x="6810" y="604"/>
                    </a:lnTo>
                    <a:lnTo>
                      <a:pt x="6842" y="608"/>
                    </a:lnTo>
                    <a:lnTo>
                      <a:pt x="6859" y="609"/>
                    </a:lnTo>
                    <a:lnTo>
                      <a:pt x="6871" y="603"/>
                    </a:lnTo>
                    <a:lnTo>
                      <a:pt x="6891" y="596"/>
                    </a:lnTo>
                    <a:lnTo>
                      <a:pt x="6919" y="587"/>
                    </a:lnTo>
                    <a:lnTo>
                      <a:pt x="6954" y="577"/>
                    </a:lnTo>
                    <a:lnTo>
                      <a:pt x="6976" y="573"/>
                    </a:lnTo>
                    <a:lnTo>
                      <a:pt x="6999" y="569"/>
                    </a:lnTo>
                    <a:lnTo>
                      <a:pt x="7025" y="565"/>
                    </a:lnTo>
                    <a:lnTo>
                      <a:pt x="7052" y="562"/>
                    </a:lnTo>
                    <a:lnTo>
                      <a:pt x="7081" y="559"/>
                    </a:lnTo>
                    <a:lnTo>
                      <a:pt x="7113" y="558"/>
                    </a:lnTo>
                    <a:lnTo>
                      <a:pt x="7147" y="557"/>
                    </a:lnTo>
                    <a:lnTo>
                      <a:pt x="7182" y="557"/>
                    </a:lnTo>
                    <a:lnTo>
                      <a:pt x="7221" y="558"/>
                    </a:lnTo>
                    <a:lnTo>
                      <a:pt x="7261" y="561"/>
                    </a:lnTo>
                    <a:lnTo>
                      <a:pt x="7304" y="564"/>
                    </a:lnTo>
                    <a:lnTo>
                      <a:pt x="7348" y="570"/>
                    </a:lnTo>
                    <a:lnTo>
                      <a:pt x="7396" y="577"/>
                    </a:lnTo>
                    <a:lnTo>
                      <a:pt x="7446" y="586"/>
                    </a:lnTo>
                    <a:lnTo>
                      <a:pt x="7498" y="597"/>
                    </a:lnTo>
                    <a:lnTo>
                      <a:pt x="7552" y="610"/>
                    </a:lnTo>
                    <a:lnTo>
                      <a:pt x="7609" y="625"/>
                    </a:lnTo>
                    <a:lnTo>
                      <a:pt x="7667" y="642"/>
                    </a:lnTo>
                    <a:lnTo>
                      <a:pt x="7729" y="662"/>
                    </a:lnTo>
                    <a:lnTo>
                      <a:pt x="7792" y="683"/>
                    </a:lnTo>
                    <a:lnTo>
                      <a:pt x="7858" y="708"/>
                    </a:lnTo>
                    <a:lnTo>
                      <a:pt x="7927" y="735"/>
                    </a:lnTo>
                    <a:lnTo>
                      <a:pt x="7999" y="765"/>
                    </a:lnTo>
                    <a:lnTo>
                      <a:pt x="8072" y="799"/>
                    </a:lnTo>
                    <a:lnTo>
                      <a:pt x="8142" y="834"/>
                    </a:lnTo>
                    <a:lnTo>
                      <a:pt x="8211" y="871"/>
                    </a:lnTo>
                    <a:lnTo>
                      <a:pt x="8279" y="912"/>
                    </a:lnTo>
                    <a:lnTo>
                      <a:pt x="8344" y="955"/>
                    </a:lnTo>
                    <a:lnTo>
                      <a:pt x="8409" y="1001"/>
                    </a:lnTo>
                    <a:lnTo>
                      <a:pt x="8472" y="1048"/>
                    </a:lnTo>
                    <a:lnTo>
                      <a:pt x="8532" y="1098"/>
                    </a:lnTo>
                    <a:lnTo>
                      <a:pt x="8590" y="1149"/>
                    </a:lnTo>
                    <a:lnTo>
                      <a:pt x="8648" y="1203"/>
                    </a:lnTo>
                    <a:lnTo>
                      <a:pt x="8704" y="1260"/>
                    </a:lnTo>
                    <a:lnTo>
                      <a:pt x="8758" y="1317"/>
                    </a:lnTo>
                    <a:lnTo>
                      <a:pt x="8809" y="1376"/>
                    </a:lnTo>
                    <a:lnTo>
                      <a:pt x="8860" y="1437"/>
                    </a:lnTo>
                    <a:lnTo>
                      <a:pt x="8909" y="1498"/>
                    </a:lnTo>
                    <a:lnTo>
                      <a:pt x="8956" y="1562"/>
                    </a:lnTo>
                    <a:lnTo>
                      <a:pt x="9002" y="1626"/>
                    </a:lnTo>
                    <a:lnTo>
                      <a:pt x="9046" y="1691"/>
                    </a:lnTo>
                    <a:lnTo>
                      <a:pt x="9088" y="1757"/>
                    </a:lnTo>
                    <a:lnTo>
                      <a:pt x="9128" y="1824"/>
                    </a:lnTo>
                    <a:lnTo>
                      <a:pt x="9167" y="1891"/>
                    </a:lnTo>
                    <a:lnTo>
                      <a:pt x="9204" y="1959"/>
                    </a:lnTo>
                    <a:lnTo>
                      <a:pt x="9239" y="2027"/>
                    </a:lnTo>
                    <a:lnTo>
                      <a:pt x="9274" y="2095"/>
                    </a:lnTo>
                    <a:lnTo>
                      <a:pt x="9305" y="2164"/>
                    </a:lnTo>
                    <a:lnTo>
                      <a:pt x="9335" y="2232"/>
                    </a:lnTo>
                    <a:lnTo>
                      <a:pt x="9365" y="2300"/>
                    </a:lnTo>
                    <a:lnTo>
                      <a:pt x="9392" y="2368"/>
                    </a:lnTo>
                    <a:lnTo>
                      <a:pt x="9417" y="2436"/>
                    </a:lnTo>
                    <a:lnTo>
                      <a:pt x="9441" y="2503"/>
                    </a:lnTo>
                    <a:lnTo>
                      <a:pt x="9463" y="2570"/>
                    </a:lnTo>
                    <a:lnTo>
                      <a:pt x="9483" y="2635"/>
                    </a:lnTo>
                    <a:lnTo>
                      <a:pt x="9502" y="2701"/>
                    </a:lnTo>
                    <a:lnTo>
                      <a:pt x="9510" y="2731"/>
                    </a:lnTo>
                    <a:lnTo>
                      <a:pt x="9518" y="2762"/>
                    </a:lnTo>
                    <a:lnTo>
                      <a:pt x="9524" y="2792"/>
                    </a:lnTo>
                    <a:lnTo>
                      <a:pt x="9531" y="2823"/>
                    </a:lnTo>
                    <a:lnTo>
                      <a:pt x="9536" y="2852"/>
                    </a:lnTo>
                    <a:lnTo>
                      <a:pt x="9541" y="2881"/>
                    </a:lnTo>
                    <a:lnTo>
                      <a:pt x="9545" y="2910"/>
                    </a:lnTo>
                    <a:lnTo>
                      <a:pt x="9548" y="2938"/>
                    </a:lnTo>
                    <a:lnTo>
                      <a:pt x="9553" y="2993"/>
                    </a:lnTo>
                    <a:lnTo>
                      <a:pt x="9556" y="3046"/>
                    </a:lnTo>
                    <a:lnTo>
                      <a:pt x="9557" y="3097"/>
                    </a:lnTo>
                    <a:lnTo>
                      <a:pt x="9556" y="3145"/>
                    </a:lnTo>
                    <a:lnTo>
                      <a:pt x="9552" y="3193"/>
                    </a:lnTo>
                    <a:lnTo>
                      <a:pt x="9548" y="3237"/>
                    </a:lnTo>
                    <a:lnTo>
                      <a:pt x="9542" y="3280"/>
                    </a:lnTo>
                    <a:lnTo>
                      <a:pt x="9534" y="3320"/>
                    </a:lnTo>
                    <a:lnTo>
                      <a:pt x="9526" y="3359"/>
                    </a:lnTo>
                    <a:lnTo>
                      <a:pt x="9518" y="3395"/>
                    </a:lnTo>
                    <a:lnTo>
                      <a:pt x="9508" y="3429"/>
                    </a:lnTo>
                    <a:lnTo>
                      <a:pt x="9498" y="3461"/>
                    </a:lnTo>
                    <a:lnTo>
                      <a:pt x="9485" y="3496"/>
                    </a:lnTo>
                    <a:lnTo>
                      <a:pt x="9474" y="3527"/>
                    </a:lnTo>
                    <a:lnTo>
                      <a:pt x="9462" y="3553"/>
                    </a:lnTo>
                    <a:lnTo>
                      <a:pt x="9452" y="3575"/>
                    </a:lnTo>
                    <a:lnTo>
                      <a:pt x="9436" y="3605"/>
                    </a:lnTo>
                    <a:lnTo>
                      <a:pt x="9429" y="3617"/>
                    </a:lnTo>
                    <a:lnTo>
                      <a:pt x="9425" y="3620"/>
                    </a:lnTo>
                    <a:lnTo>
                      <a:pt x="9422" y="3623"/>
                    </a:lnTo>
                    <a:lnTo>
                      <a:pt x="9416" y="3624"/>
                    </a:lnTo>
                    <a:lnTo>
                      <a:pt x="9412" y="3623"/>
                    </a:lnTo>
                    <a:lnTo>
                      <a:pt x="9171" y="3514"/>
                    </a:lnTo>
                    <a:lnTo>
                      <a:pt x="9153" y="3505"/>
                    </a:lnTo>
                    <a:lnTo>
                      <a:pt x="9136" y="3495"/>
                    </a:lnTo>
                    <a:lnTo>
                      <a:pt x="9117" y="3484"/>
                    </a:lnTo>
                    <a:lnTo>
                      <a:pt x="9099" y="3473"/>
                    </a:lnTo>
                    <a:lnTo>
                      <a:pt x="9079" y="3460"/>
                    </a:lnTo>
                    <a:lnTo>
                      <a:pt x="9060" y="3446"/>
                    </a:lnTo>
                    <a:lnTo>
                      <a:pt x="9041" y="3430"/>
                    </a:lnTo>
                    <a:lnTo>
                      <a:pt x="9021" y="3415"/>
                    </a:lnTo>
                    <a:lnTo>
                      <a:pt x="8981" y="3382"/>
                    </a:lnTo>
                    <a:lnTo>
                      <a:pt x="8940" y="3346"/>
                    </a:lnTo>
                    <a:lnTo>
                      <a:pt x="8898" y="3308"/>
                    </a:lnTo>
                    <a:lnTo>
                      <a:pt x="8856" y="3270"/>
                    </a:lnTo>
                    <a:lnTo>
                      <a:pt x="8785" y="3205"/>
                    </a:lnTo>
                    <a:lnTo>
                      <a:pt x="8710" y="3140"/>
                    </a:lnTo>
                    <a:lnTo>
                      <a:pt x="8673" y="3109"/>
                    </a:lnTo>
                    <a:lnTo>
                      <a:pt x="8636" y="3079"/>
                    </a:lnTo>
                    <a:lnTo>
                      <a:pt x="8597" y="3049"/>
                    </a:lnTo>
                    <a:lnTo>
                      <a:pt x="8559" y="3022"/>
                    </a:lnTo>
                    <a:lnTo>
                      <a:pt x="8520" y="2996"/>
                    </a:lnTo>
                    <a:lnTo>
                      <a:pt x="8481" y="2974"/>
                    </a:lnTo>
                    <a:lnTo>
                      <a:pt x="8462" y="2963"/>
                    </a:lnTo>
                    <a:lnTo>
                      <a:pt x="8442" y="2953"/>
                    </a:lnTo>
                    <a:lnTo>
                      <a:pt x="8422" y="2944"/>
                    </a:lnTo>
                    <a:lnTo>
                      <a:pt x="8402" y="2935"/>
                    </a:lnTo>
                    <a:lnTo>
                      <a:pt x="8383" y="2927"/>
                    </a:lnTo>
                    <a:lnTo>
                      <a:pt x="8364" y="2921"/>
                    </a:lnTo>
                    <a:lnTo>
                      <a:pt x="8344" y="2914"/>
                    </a:lnTo>
                    <a:lnTo>
                      <a:pt x="8325" y="2910"/>
                    </a:lnTo>
                    <a:lnTo>
                      <a:pt x="8304" y="2906"/>
                    </a:lnTo>
                    <a:lnTo>
                      <a:pt x="8285" y="2903"/>
                    </a:lnTo>
                    <a:lnTo>
                      <a:pt x="8265" y="2900"/>
                    </a:lnTo>
                    <a:lnTo>
                      <a:pt x="8246" y="2900"/>
                    </a:lnTo>
                    <a:lnTo>
                      <a:pt x="8222" y="2900"/>
                    </a:lnTo>
                    <a:lnTo>
                      <a:pt x="8198" y="2900"/>
                    </a:lnTo>
                    <a:lnTo>
                      <a:pt x="8175" y="2903"/>
                    </a:lnTo>
                    <a:lnTo>
                      <a:pt x="8149" y="2906"/>
                    </a:lnTo>
                    <a:lnTo>
                      <a:pt x="8123" y="2909"/>
                    </a:lnTo>
                    <a:lnTo>
                      <a:pt x="8096" y="2913"/>
                    </a:lnTo>
                    <a:lnTo>
                      <a:pt x="8068" y="2920"/>
                    </a:lnTo>
                    <a:lnTo>
                      <a:pt x="8040" y="2926"/>
                    </a:lnTo>
                    <a:lnTo>
                      <a:pt x="8001" y="2936"/>
                    </a:lnTo>
                    <a:lnTo>
                      <a:pt x="7962" y="2946"/>
                    </a:lnTo>
                    <a:lnTo>
                      <a:pt x="7922" y="2958"/>
                    </a:lnTo>
                    <a:lnTo>
                      <a:pt x="7881" y="2971"/>
                    </a:lnTo>
                    <a:lnTo>
                      <a:pt x="7840" y="2985"/>
                    </a:lnTo>
                    <a:lnTo>
                      <a:pt x="7798" y="2999"/>
                    </a:lnTo>
                    <a:lnTo>
                      <a:pt x="7756" y="3013"/>
                    </a:lnTo>
                    <a:lnTo>
                      <a:pt x="7712" y="3028"/>
                    </a:lnTo>
                    <a:lnTo>
                      <a:pt x="7669" y="3043"/>
                    </a:lnTo>
                    <a:lnTo>
                      <a:pt x="7624" y="3058"/>
                    </a:lnTo>
                    <a:lnTo>
                      <a:pt x="7580" y="3073"/>
                    </a:lnTo>
                    <a:lnTo>
                      <a:pt x="7533" y="3088"/>
                    </a:lnTo>
                    <a:lnTo>
                      <a:pt x="7487" y="3103"/>
                    </a:lnTo>
                    <a:lnTo>
                      <a:pt x="7439" y="3118"/>
                    </a:lnTo>
                    <a:lnTo>
                      <a:pt x="7391" y="3132"/>
                    </a:lnTo>
                    <a:lnTo>
                      <a:pt x="7342" y="3145"/>
                    </a:lnTo>
                    <a:lnTo>
                      <a:pt x="7291" y="3157"/>
                    </a:lnTo>
                    <a:lnTo>
                      <a:pt x="7242" y="3169"/>
                    </a:lnTo>
                    <a:lnTo>
                      <a:pt x="7190" y="3180"/>
                    </a:lnTo>
                    <a:lnTo>
                      <a:pt x="7138" y="3189"/>
                    </a:lnTo>
                    <a:lnTo>
                      <a:pt x="7084" y="3197"/>
                    </a:lnTo>
                    <a:lnTo>
                      <a:pt x="7030" y="3204"/>
                    </a:lnTo>
                    <a:lnTo>
                      <a:pt x="6976" y="3209"/>
                    </a:lnTo>
                    <a:lnTo>
                      <a:pt x="6920" y="3212"/>
                    </a:lnTo>
                    <a:lnTo>
                      <a:pt x="6878" y="3213"/>
                    </a:lnTo>
                    <a:lnTo>
                      <a:pt x="6772" y="3218"/>
                    </a:lnTo>
                    <a:lnTo>
                      <a:pt x="6666" y="3222"/>
                    </a:lnTo>
                    <a:lnTo>
                      <a:pt x="6558" y="3225"/>
                    </a:lnTo>
                    <a:lnTo>
                      <a:pt x="6449" y="3227"/>
                    </a:lnTo>
                    <a:lnTo>
                      <a:pt x="6339" y="3229"/>
                    </a:lnTo>
                    <a:lnTo>
                      <a:pt x="6229" y="3226"/>
                    </a:lnTo>
                    <a:lnTo>
                      <a:pt x="6174" y="3225"/>
                    </a:lnTo>
                    <a:lnTo>
                      <a:pt x="6118" y="3222"/>
                    </a:lnTo>
                    <a:lnTo>
                      <a:pt x="6062" y="3219"/>
                    </a:lnTo>
                    <a:lnTo>
                      <a:pt x="6007" y="3216"/>
                    </a:lnTo>
                    <a:lnTo>
                      <a:pt x="5952" y="3210"/>
                    </a:lnTo>
                    <a:lnTo>
                      <a:pt x="5897" y="3205"/>
                    </a:lnTo>
                    <a:lnTo>
                      <a:pt x="5842" y="3198"/>
                    </a:lnTo>
                    <a:lnTo>
                      <a:pt x="5787" y="3190"/>
                    </a:lnTo>
                    <a:lnTo>
                      <a:pt x="5732" y="3181"/>
                    </a:lnTo>
                    <a:lnTo>
                      <a:pt x="5678" y="3171"/>
                    </a:lnTo>
                    <a:lnTo>
                      <a:pt x="5623" y="3161"/>
                    </a:lnTo>
                    <a:lnTo>
                      <a:pt x="5569" y="3148"/>
                    </a:lnTo>
                    <a:lnTo>
                      <a:pt x="5516" y="3135"/>
                    </a:lnTo>
                    <a:lnTo>
                      <a:pt x="5462" y="3120"/>
                    </a:lnTo>
                    <a:lnTo>
                      <a:pt x="5409" y="3103"/>
                    </a:lnTo>
                    <a:lnTo>
                      <a:pt x="5356" y="3085"/>
                    </a:lnTo>
                    <a:lnTo>
                      <a:pt x="5304" y="3066"/>
                    </a:lnTo>
                    <a:lnTo>
                      <a:pt x="5253" y="3045"/>
                    </a:lnTo>
                    <a:lnTo>
                      <a:pt x="5201" y="3022"/>
                    </a:lnTo>
                    <a:lnTo>
                      <a:pt x="5150" y="2999"/>
                    </a:lnTo>
                    <a:lnTo>
                      <a:pt x="5064" y="2955"/>
                    </a:lnTo>
                    <a:lnTo>
                      <a:pt x="4970" y="2910"/>
                    </a:lnTo>
                    <a:lnTo>
                      <a:pt x="4868" y="2860"/>
                    </a:lnTo>
                    <a:lnTo>
                      <a:pt x="4761" y="2808"/>
                    </a:lnTo>
                    <a:lnTo>
                      <a:pt x="4649" y="2754"/>
                    </a:lnTo>
                    <a:lnTo>
                      <a:pt x="4535" y="2699"/>
                    </a:lnTo>
                    <a:lnTo>
                      <a:pt x="4419" y="2642"/>
                    </a:lnTo>
                    <a:lnTo>
                      <a:pt x="4302" y="2586"/>
                    </a:lnTo>
                    <a:lnTo>
                      <a:pt x="4187" y="2531"/>
                    </a:lnTo>
                    <a:lnTo>
                      <a:pt x="4075" y="2476"/>
                    </a:lnTo>
                    <a:lnTo>
                      <a:pt x="3965" y="2424"/>
                    </a:lnTo>
                    <a:lnTo>
                      <a:pt x="3861" y="2374"/>
                    </a:lnTo>
                    <a:lnTo>
                      <a:pt x="3764" y="2327"/>
                    </a:lnTo>
                    <a:lnTo>
                      <a:pt x="3674" y="2284"/>
                    </a:lnTo>
                    <a:lnTo>
                      <a:pt x="3593" y="2245"/>
                    </a:lnTo>
                    <a:lnTo>
                      <a:pt x="3523" y="2212"/>
                    </a:lnTo>
                    <a:lnTo>
                      <a:pt x="3428" y="2166"/>
                    </a:lnTo>
                    <a:lnTo>
                      <a:pt x="3422" y="2167"/>
                    </a:lnTo>
                    <a:lnTo>
                      <a:pt x="3415" y="2170"/>
                    </a:lnTo>
                    <a:lnTo>
                      <a:pt x="3404" y="2174"/>
                    </a:lnTo>
                    <a:lnTo>
                      <a:pt x="3392" y="2180"/>
                    </a:lnTo>
                    <a:lnTo>
                      <a:pt x="3376" y="2188"/>
                    </a:lnTo>
                    <a:lnTo>
                      <a:pt x="3359" y="2200"/>
                    </a:lnTo>
                    <a:lnTo>
                      <a:pt x="3339" y="2214"/>
                    </a:lnTo>
                    <a:lnTo>
                      <a:pt x="3319" y="2232"/>
                    </a:lnTo>
                    <a:lnTo>
                      <a:pt x="3295" y="2254"/>
                    </a:lnTo>
                    <a:lnTo>
                      <a:pt x="3270" y="2280"/>
                    </a:lnTo>
                    <a:lnTo>
                      <a:pt x="3243" y="2311"/>
                    </a:lnTo>
                    <a:lnTo>
                      <a:pt x="3215" y="2348"/>
                    </a:lnTo>
                    <a:lnTo>
                      <a:pt x="3201" y="2368"/>
                    </a:lnTo>
                    <a:lnTo>
                      <a:pt x="3186" y="2390"/>
                    </a:lnTo>
                    <a:lnTo>
                      <a:pt x="3171" y="2414"/>
                    </a:lnTo>
                    <a:lnTo>
                      <a:pt x="3155" y="2438"/>
                    </a:lnTo>
                    <a:lnTo>
                      <a:pt x="3138" y="2464"/>
                    </a:lnTo>
                    <a:lnTo>
                      <a:pt x="3123" y="2492"/>
                    </a:lnTo>
                    <a:lnTo>
                      <a:pt x="3106" y="2523"/>
                    </a:lnTo>
                    <a:lnTo>
                      <a:pt x="3090" y="2554"/>
                    </a:lnTo>
                    <a:lnTo>
                      <a:pt x="3072" y="2618"/>
                    </a:lnTo>
                    <a:lnTo>
                      <a:pt x="3051" y="2693"/>
                    </a:lnTo>
                    <a:lnTo>
                      <a:pt x="3023" y="2780"/>
                    </a:lnTo>
                    <a:lnTo>
                      <a:pt x="2991" y="2875"/>
                    </a:lnTo>
                    <a:lnTo>
                      <a:pt x="2956" y="2977"/>
                    </a:lnTo>
                    <a:lnTo>
                      <a:pt x="2918" y="3085"/>
                    </a:lnTo>
                    <a:lnTo>
                      <a:pt x="2876" y="3197"/>
                    </a:lnTo>
                    <a:lnTo>
                      <a:pt x="2833" y="3312"/>
                    </a:lnTo>
                    <a:lnTo>
                      <a:pt x="2788" y="3426"/>
                    </a:lnTo>
                    <a:lnTo>
                      <a:pt x="2742" y="3539"/>
                    </a:lnTo>
                    <a:lnTo>
                      <a:pt x="2696" y="3650"/>
                    </a:lnTo>
                    <a:lnTo>
                      <a:pt x="2649" y="3755"/>
                    </a:lnTo>
                    <a:lnTo>
                      <a:pt x="2626" y="3805"/>
                    </a:lnTo>
                    <a:lnTo>
                      <a:pt x="2603" y="3855"/>
                    </a:lnTo>
                    <a:lnTo>
                      <a:pt x="2581" y="3901"/>
                    </a:lnTo>
                    <a:lnTo>
                      <a:pt x="2558" y="3945"/>
                    </a:lnTo>
                    <a:lnTo>
                      <a:pt x="2537" y="3987"/>
                    </a:lnTo>
                    <a:lnTo>
                      <a:pt x="2515" y="4026"/>
                    </a:lnTo>
                    <a:lnTo>
                      <a:pt x="2495" y="4063"/>
                    </a:lnTo>
                    <a:lnTo>
                      <a:pt x="2475" y="4096"/>
                    </a:lnTo>
                    <a:lnTo>
                      <a:pt x="2466" y="4112"/>
                    </a:lnTo>
                    <a:lnTo>
                      <a:pt x="2456" y="4127"/>
                    </a:lnTo>
                    <a:lnTo>
                      <a:pt x="2445" y="4142"/>
                    </a:lnTo>
                    <a:lnTo>
                      <a:pt x="2433" y="4158"/>
                    </a:lnTo>
                    <a:lnTo>
                      <a:pt x="2400" y="4158"/>
                    </a:lnTo>
                    <a:lnTo>
                      <a:pt x="2414" y="4139"/>
                    </a:lnTo>
                    <a:lnTo>
                      <a:pt x="2428" y="4119"/>
                    </a:lnTo>
                    <a:lnTo>
                      <a:pt x="2441" y="4101"/>
                    </a:lnTo>
                    <a:lnTo>
                      <a:pt x="2452" y="4082"/>
                    </a:lnTo>
                    <a:lnTo>
                      <a:pt x="2472" y="4049"/>
                    </a:lnTo>
                    <a:lnTo>
                      <a:pt x="2493" y="4012"/>
                    </a:lnTo>
                    <a:lnTo>
                      <a:pt x="2513" y="3973"/>
                    </a:lnTo>
                    <a:lnTo>
                      <a:pt x="2536" y="3931"/>
                    </a:lnTo>
                    <a:lnTo>
                      <a:pt x="2557" y="3887"/>
                    </a:lnTo>
                    <a:lnTo>
                      <a:pt x="2580" y="3841"/>
                    </a:lnTo>
                    <a:lnTo>
                      <a:pt x="2603" y="3792"/>
                    </a:lnTo>
                    <a:lnTo>
                      <a:pt x="2625" y="3742"/>
                    </a:lnTo>
                    <a:lnTo>
                      <a:pt x="2672" y="3637"/>
                    </a:lnTo>
                    <a:lnTo>
                      <a:pt x="2718" y="3527"/>
                    </a:lnTo>
                    <a:lnTo>
                      <a:pt x="2764" y="3414"/>
                    </a:lnTo>
                    <a:lnTo>
                      <a:pt x="2809" y="3300"/>
                    </a:lnTo>
                    <a:lnTo>
                      <a:pt x="2852" y="3185"/>
                    </a:lnTo>
                    <a:lnTo>
                      <a:pt x="2893" y="3074"/>
                    </a:lnTo>
                    <a:lnTo>
                      <a:pt x="2931" y="2966"/>
                    </a:lnTo>
                    <a:lnTo>
                      <a:pt x="2967" y="2865"/>
                    </a:lnTo>
                    <a:lnTo>
                      <a:pt x="2998" y="2770"/>
                    </a:lnTo>
                    <a:lnTo>
                      <a:pt x="3025" y="2683"/>
                    </a:lnTo>
                    <a:lnTo>
                      <a:pt x="3047" y="2609"/>
                    </a:lnTo>
                    <a:lnTo>
                      <a:pt x="3064" y="2545"/>
                    </a:lnTo>
                    <a:lnTo>
                      <a:pt x="3064" y="2544"/>
                    </a:lnTo>
                    <a:lnTo>
                      <a:pt x="3065" y="2543"/>
                    </a:lnTo>
                    <a:lnTo>
                      <a:pt x="3083" y="2507"/>
                    </a:lnTo>
                    <a:lnTo>
                      <a:pt x="3103" y="2473"/>
                    </a:lnTo>
                    <a:lnTo>
                      <a:pt x="3121" y="2442"/>
                    </a:lnTo>
                    <a:lnTo>
                      <a:pt x="3138" y="2412"/>
                    </a:lnTo>
                    <a:lnTo>
                      <a:pt x="3157" y="2385"/>
                    </a:lnTo>
                    <a:lnTo>
                      <a:pt x="3174" y="2360"/>
                    </a:lnTo>
                    <a:lnTo>
                      <a:pt x="3190" y="2336"/>
                    </a:lnTo>
                    <a:lnTo>
                      <a:pt x="3206" y="2314"/>
                    </a:lnTo>
                    <a:lnTo>
                      <a:pt x="3223" y="2294"/>
                    </a:lnTo>
                    <a:lnTo>
                      <a:pt x="3239" y="2275"/>
                    </a:lnTo>
                    <a:lnTo>
                      <a:pt x="3254" y="2258"/>
                    </a:lnTo>
                    <a:lnTo>
                      <a:pt x="3268" y="2242"/>
                    </a:lnTo>
                    <a:lnTo>
                      <a:pt x="3282" y="2228"/>
                    </a:lnTo>
                    <a:lnTo>
                      <a:pt x="3296" y="2215"/>
                    </a:lnTo>
                    <a:lnTo>
                      <a:pt x="3309" y="2204"/>
                    </a:lnTo>
                    <a:lnTo>
                      <a:pt x="3321" y="2193"/>
                    </a:lnTo>
                    <a:lnTo>
                      <a:pt x="3345" y="2176"/>
                    </a:lnTo>
                    <a:lnTo>
                      <a:pt x="3365" y="2163"/>
                    </a:lnTo>
                    <a:lnTo>
                      <a:pt x="3383" y="2153"/>
                    </a:lnTo>
                    <a:lnTo>
                      <a:pt x="3399" y="2147"/>
                    </a:lnTo>
                    <a:lnTo>
                      <a:pt x="3420" y="2140"/>
                    </a:lnTo>
                    <a:lnTo>
                      <a:pt x="3430" y="2139"/>
                    </a:lnTo>
                    <a:lnTo>
                      <a:pt x="3433" y="2139"/>
                    </a:lnTo>
                    <a:lnTo>
                      <a:pt x="3436" y="2140"/>
                    </a:lnTo>
                    <a:lnTo>
                      <a:pt x="3535" y="2188"/>
                    </a:lnTo>
                    <a:lnTo>
                      <a:pt x="3605" y="2221"/>
                    </a:lnTo>
                    <a:lnTo>
                      <a:pt x="3686" y="2260"/>
                    </a:lnTo>
                    <a:lnTo>
                      <a:pt x="3775" y="2302"/>
                    </a:lnTo>
                    <a:lnTo>
                      <a:pt x="3873" y="2350"/>
                    </a:lnTo>
                    <a:lnTo>
                      <a:pt x="3976" y="2400"/>
                    </a:lnTo>
                    <a:lnTo>
                      <a:pt x="4086" y="2452"/>
                    </a:lnTo>
                    <a:lnTo>
                      <a:pt x="4199" y="2506"/>
                    </a:lnTo>
                    <a:lnTo>
                      <a:pt x="4314" y="2563"/>
                    </a:lnTo>
                    <a:lnTo>
                      <a:pt x="4431" y="2619"/>
                    </a:lnTo>
                    <a:lnTo>
                      <a:pt x="4546" y="2675"/>
                    </a:lnTo>
                    <a:lnTo>
                      <a:pt x="4661" y="2730"/>
                    </a:lnTo>
                    <a:lnTo>
                      <a:pt x="4773" y="2784"/>
                    </a:lnTo>
                    <a:lnTo>
                      <a:pt x="4880" y="2836"/>
                    </a:lnTo>
                    <a:lnTo>
                      <a:pt x="4982" y="2885"/>
                    </a:lnTo>
                    <a:lnTo>
                      <a:pt x="5075" y="2932"/>
                    </a:lnTo>
                    <a:lnTo>
                      <a:pt x="5162" y="2974"/>
                    </a:lnTo>
                    <a:lnTo>
                      <a:pt x="5213" y="2998"/>
                    </a:lnTo>
                    <a:lnTo>
                      <a:pt x="5263" y="3020"/>
                    </a:lnTo>
                    <a:lnTo>
                      <a:pt x="5314" y="3041"/>
                    </a:lnTo>
                    <a:lnTo>
                      <a:pt x="5366" y="3060"/>
                    </a:lnTo>
                    <a:lnTo>
                      <a:pt x="5418" y="3077"/>
                    </a:lnTo>
                    <a:lnTo>
                      <a:pt x="5471" y="3094"/>
                    </a:lnTo>
                    <a:lnTo>
                      <a:pt x="5524" y="3109"/>
                    </a:lnTo>
                    <a:lnTo>
                      <a:pt x="5578" y="3122"/>
                    </a:lnTo>
                    <a:lnTo>
                      <a:pt x="5631" y="3135"/>
                    </a:lnTo>
                    <a:lnTo>
                      <a:pt x="5685" y="3145"/>
                    </a:lnTo>
                    <a:lnTo>
                      <a:pt x="5738" y="3155"/>
                    </a:lnTo>
                    <a:lnTo>
                      <a:pt x="5792" y="3164"/>
                    </a:lnTo>
                    <a:lnTo>
                      <a:pt x="5848" y="3171"/>
                    </a:lnTo>
                    <a:lnTo>
                      <a:pt x="5903" y="3178"/>
                    </a:lnTo>
                    <a:lnTo>
                      <a:pt x="5957" y="3183"/>
                    </a:lnTo>
                    <a:lnTo>
                      <a:pt x="6012" y="3189"/>
                    </a:lnTo>
                    <a:lnTo>
                      <a:pt x="6067" y="3192"/>
                    </a:lnTo>
                    <a:lnTo>
                      <a:pt x="6122" y="3195"/>
                    </a:lnTo>
                    <a:lnTo>
                      <a:pt x="6177" y="3198"/>
                    </a:lnTo>
                    <a:lnTo>
                      <a:pt x="6231" y="3199"/>
                    </a:lnTo>
                    <a:lnTo>
                      <a:pt x="6341" y="3202"/>
                    </a:lnTo>
                    <a:lnTo>
                      <a:pt x="6450" y="3201"/>
                    </a:lnTo>
                    <a:lnTo>
                      <a:pt x="6558" y="3198"/>
                    </a:lnTo>
                    <a:lnTo>
                      <a:pt x="6666" y="3195"/>
                    </a:lnTo>
                    <a:lnTo>
                      <a:pt x="6772" y="3191"/>
                    </a:lnTo>
                    <a:lnTo>
                      <a:pt x="6877" y="3186"/>
                    </a:lnTo>
                    <a:lnTo>
                      <a:pt x="6919" y="3185"/>
                    </a:lnTo>
                    <a:lnTo>
                      <a:pt x="6974" y="3182"/>
                    </a:lnTo>
                    <a:lnTo>
                      <a:pt x="7028" y="3177"/>
                    </a:lnTo>
                    <a:lnTo>
                      <a:pt x="7081" y="3170"/>
                    </a:lnTo>
                    <a:lnTo>
                      <a:pt x="7134" y="3163"/>
                    </a:lnTo>
                    <a:lnTo>
                      <a:pt x="7185" y="3153"/>
                    </a:lnTo>
                    <a:lnTo>
                      <a:pt x="7236" y="3142"/>
                    </a:lnTo>
                    <a:lnTo>
                      <a:pt x="7286" y="3131"/>
                    </a:lnTo>
                    <a:lnTo>
                      <a:pt x="7336" y="3118"/>
                    </a:lnTo>
                    <a:lnTo>
                      <a:pt x="7384" y="3106"/>
                    </a:lnTo>
                    <a:lnTo>
                      <a:pt x="7432" y="3091"/>
                    </a:lnTo>
                    <a:lnTo>
                      <a:pt x="7479" y="3077"/>
                    </a:lnTo>
                    <a:lnTo>
                      <a:pt x="7526" y="3062"/>
                    </a:lnTo>
                    <a:lnTo>
                      <a:pt x="7571" y="3047"/>
                    </a:lnTo>
                    <a:lnTo>
                      <a:pt x="7616" y="3032"/>
                    </a:lnTo>
                    <a:lnTo>
                      <a:pt x="7661" y="3017"/>
                    </a:lnTo>
                    <a:lnTo>
                      <a:pt x="7704" y="3002"/>
                    </a:lnTo>
                    <a:lnTo>
                      <a:pt x="7747" y="2988"/>
                    </a:lnTo>
                    <a:lnTo>
                      <a:pt x="7790" y="2973"/>
                    </a:lnTo>
                    <a:lnTo>
                      <a:pt x="7832" y="2959"/>
                    </a:lnTo>
                    <a:lnTo>
                      <a:pt x="7873" y="2945"/>
                    </a:lnTo>
                    <a:lnTo>
                      <a:pt x="7914" y="2932"/>
                    </a:lnTo>
                    <a:lnTo>
                      <a:pt x="7954" y="2920"/>
                    </a:lnTo>
                    <a:lnTo>
                      <a:pt x="7994" y="2909"/>
                    </a:lnTo>
                    <a:lnTo>
                      <a:pt x="8033" y="2899"/>
                    </a:lnTo>
                    <a:lnTo>
                      <a:pt x="8062" y="2893"/>
                    </a:lnTo>
                    <a:lnTo>
                      <a:pt x="8091" y="2887"/>
                    </a:lnTo>
                    <a:lnTo>
                      <a:pt x="8118" y="2882"/>
                    </a:lnTo>
                    <a:lnTo>
                      <a:pt x="8145" y="2879"/>
                    </a:lnTo>
                    <a:lnTo>
                      <a:pt x="8172" y="2876"/>
                    </a:lnTo>
                    <a:lnTo>
                      <a:pt x="8197" y="2873"/>
                    </a:lnTo>
                    <a:lnTo>
                      <a:pt x="8222" y="2873"/>
                    </a:lnTo>
                    <a:lnTo>
                      <a:pt x="8246" y="2873"/>
                    </a:lnTo>
                    <a:lnTo>
                      <a:pt x="8266" y="2873"/>
                    </a:lnTo>
                    <a:lnTo>
                      <a:pt x="8287" y="2876"/>
                    </a:lnTo>
                    <a:lnTo>
                      <a:pt x="8307" y="2879"/>
                    </a:lnTo>
                    <a:lnTo>
                      <a:pt x="8328" y="2883"/>
                    </a:lnTo>
                    <a:lnTo>
                      <a:pt x="8348" y="2889"/>
                    </a:lnTo>
                    <a:lnTo>
                      <a:pt x="8369" y="2894"/>
                    </a:lnTo>
                    <a:lnTo>
                      <a:pt x="8389" y="2901"/>
                    </a:lnTo>
                    <a:lnTo>
                      <a:pt x="8410" y="2909"/>
                    </a:lnTo>
                    <a:lnTo>
                      <a:pt x="8430" y="2918"/>
                    </a:lnTo>
                    <a:lnTo>
                      <a:pt x="8450" y="2927"/>
                    </a:lnTo>
                    <a:lnTo>
                      <a:pt x="8470" y="2937"/>
                    </a:lnTo>
                    <a:lnTo>
                      <a:pt x="8491" y="2948"/>
                    </a:lnTo>
                    <a:lnTo>
                      <a:pt x="8531" y="2972"/>
                    </a:lnTo>
                    <a:lnTo>
                      <a:pt x="8571" y="2998"/>
                    </a:lnTo>
                    <a:lnTo>
                      <a:pt x="8610" y="3026"/>
                    </a:lnTo>
                    <a:lnTo>
                      <a:pt x="8649" y="3055"/>
                    </a:lnTo>
                    <a:lnTo>
                      <a:pt x="8687" y="3086"/>
                    </a:lnTo>
                    <a:lnTo>
                      <a:pt x="8726" y="3117"/>
                    </a:lnTo>
                    <a:lnTo>
                      <a:pt x="8801" y="3183"/>
                    </a:lnTo>
                    <a:lnTo>
                      <a:pt x="8874" y="3250"/>
                    </a:lnTo>
                    <a:lnTo>
                      <a:pt x="8916" y="3288"/>
                    </a:lnTo>
                    <a:lnTo>
                      <a:pt x="8957" y="3325"/>
                    </a:lnTo>
                    <a:lnTo>
                      <a:pt x="8997" y="3360"/>
                    </a:lnTo>
                    <a:lnTo>
                      <a:pt x="9037" y="3393"/>
                    </a:lnTo>
                    <a:lnTo>
                      <a:pt x="9075" y="3423"/>
                    </a:lnTo>
                    <a:lnTo>
                      <a:pt x="9112" y="3449"/>
                    </a:lnTo>
                    <a:lnTo>
                      <a:pt x="9130" y="3461"/>
                    </a:lnTo>
                    <a:lnTo>
                      <a:pt x="9147" y="3471"/>
                    </a:lnTo>
                    <a:lnTo>
                      <a:pt x="9165" y="3481"/>
                    </a:lnTo>
                    <a:lnTo>
                      <a:pt x="9182" y="3489"/>
                    </a:lnTo>
                    <a:lnTo>
                      <a:pt x="9412" y="3592"/>
                    </a:lnTo>
                    <a:lnTo>
                      <a:pt x="9423" y="3573"/>
                    </a:lnTo>
                    <a:lnTo>
                      <a:pt x="9437" y="3542"/>
                    </a:lnTo>
                    <a:lnTo>
                      <a:pt x="9445" y="3523"/>
                    </a:lnTo>
                    <a:lnTo>
                      <a:pt x="9454" y="3502"/>
                    </a:lnTo>
                    <a:lnTo>
                      <a:pt x="9464" y="3478"/>
                    </a:lnTo>
                    <a:lnTo>
                      <a:pt x="9472" y="3452"/>
                    </a:lnTo>
                    <a:lnTo>
                      <a:pt x="9482" y="3421"/>
                    </a:lnTo>
                    <a:lnTo>
                      <a:pt x="9492" y="3388"/>
                    </a:lnTo>
                    <a:lnTo>
                      <a:pt x="9501" y="3353"/>
                    </a:lnTo>
                    <a:lnTo>
                      <a:pt x="9508" y="3315"/>
                    </a:lnTo>
                    <a:lnTo>
                      <a:pt x="9515" y="3276"/>
                    </a:lnTo>
                    <a:lnTo>
                      <a:pt x="9521" y="3234"/>
                    </a:lnTo>
                    <a:lnTo>
                      <a:pt x="9525" y="3190"/>
                    </a:lnTo>
                    <a:lnTo>
                      <a:pt x="9529" y="3144"/>
                    </a:lnTo>
                    <a:lnTo>
                      <a:pt x="9530" y="3096"/>
                    </a:lnTo>
                    <a:lnTo>
                      <a:pt x="9529" y="3046"/>
                    </a:lnTo>
                    <a:lnTo>
                      <a:pt x="9526" y="2994"/>
                    </a:lnTo>
                    <a:lnTo>
                      <a:pt x="9521" y="2940"/>
                    </a:lnTo>
                    <a:lnTo>
                      <a:pt x="9518" y="2913"/>
                    </a:lnTo>
                    <a:lnTo>
                      <a:pt x="9515" y="2885"/>
                    </a:lnTo>
                    <a:lnTo>
                      <a:pt x="9509" y="2856"/>
                    </a:lnTo>
                    <a:lnTo>
                      <a:pt x="9504" y="2827"/>
                    </a:lnTo>
                    <a:lnTo>
                      <a:pt x="9498" y="2798"/>
                    </a:lnTo>
                    <a:lnTo>
                      <a:pt x="9492" y="2769"/>
                    </a:lnTo>
                    <a:lnTo>
                      <a:pt x="9484" y="2738"/>
                    </a:lnTo>
                    <a:lnTo>
                      <a:pt x="9476" y="2707"/>
                    </a:lnTo>
                    <a:lnTo>
                      <a:pt x="9457" y="2643"/>
                    </a:lnTo>
                    <a:lnTo>
                      <a:pt x="9437" y="2578"/>
                    </a:lnTo>
                    <a:lnTo>
                      <a:pt x="9415" y="2512"/>
                    </a:lnTo>
                    <a:lnTo>
                      <a:pt x="9392" y="2446"/>
                    </a:lnTo>
                    <a:lnTo>
                      <a:pt x="9367" y="2379"/>
                    </a:lnTo>
                    <a:lnTo>
                      <a:pt x="9340" y="2311"/>
                    </a:lnTo>
                    <a:lnTo>
                      <a:pt x="9312" y="2243"/>
                    </a:lnTo>
                    <a:lnTo>
                      <a:pt x="9281" y="2176"/>
                    </a:lnTo>
                    <a:lnTo>
                      <a:pt x="9249" y="2108"/>
                    </a:lnTo>
                    <a:lnTo>
                      <a:pt x="9215" y="2040"/>
                    </a:lnTo>
                    <a:lnTo>
                      <a:pt x="9181" y="1972"/>
                    </a:lnTo>
                    <a:lnTo>
                      <a:pt x="9144" y="1905"/>
                    </a:lnTo>
                    <a:lnTo>
                      <a:pt x="9105" y="1838"/>
                    </a:lnTo>
                    <a:lnTo>
                      <a:pt x="9065" y="1772"/>
                    </a:lnTo>
                    <a:lnTo>
                      <a:pt x="9024" y="1708"/>
                    </a:lnTo>
                    <a:lnTo>
                      <a:pt x="8980" y="1643"/>
                    </a:lnTo>
                    <a:lnTo>
                      <a:pt x="8936" y="1579"/>
                    </a:lnTo>
                    <a:lnTo>
                      <a:pt x="8888" y="1517"/>
                    </a:lnTo>
                    <a:lnTo>
                      <a:pt x="8841" y="1455"/>
                    </a:lnTo>
                    <a:lnTo>
                      <a:pt x="8790" y="1395"/>
                    </a:lnTo>
                    <a:lnTo>
                      <a:pt x="8738" y="1336"/>
                    </a:lnTo>
                    <a:lnTo>
                      <a:pt x="8685" y="1279"/>
                    </a:lnTo>
                    <a:lnTo>
                      <a:pt x="8630" y="1224"/>
                    </a:lnTo>
                    <a:lnTo>
                      <a:pt x="8574" y="1171"/>
                    </a:lnTo>
                    <a:lnTo>
                      <a:pt x="8516" y="1119"/>
                    </a:lnTo>
                    <a:lnTo>
                      <a:pt x="8455" y="1070"/>
                    </a:lnTo>
                    <a:lnTo>
                      <a:pt x="8394" y="1022"/>
                    </a:lnTo>
                    <a:lnTo>
                      <a:pt x="8330" y="978"/>
                    </a:lnTo>
                    <a:lnTo>
                      <a:pt x="8265" y="935"/>
                    </a:lnTo>
                    <a:lnTo>
                      <a:pt x="8198" y="895"/>
                    </a:lnTo>
                    <a:lnTo>
                      <a:pt x="8130" y="858"/>
                    </a:lnTo>
                    <a:lnTo>
                      <a:pt x="8060" y="823"/>
                    </a:lnTo>
                    <a:lnTo>
                      <a:pt x="7986" y="789"/>
                    </a:lnTo>
                    <a:lnTo>
                      <a:pt x="7912" y="759"/>
                    </a:lnTo>
                    <a:lnTo>
                      <a:pt x="7842" y="731"/>
                    </a:lnTo>
                    <a:lnTo>
                      <a:pt x="7775" y="706"/>
                    </a:lnTo>
                    <a:lnTo>
                      <a:pt x="7710" y="684"/>
                    </a:lnTo>
                    <a:lnTo>
                      <a:pt x="7648" y="665"/>
                    </a:lnTo>
                    <a:lnTo>
                      <a:pt x="7588" y="648"/>
                    </a:lnTo>
                    <a:lnTo>
                      <a:pt x="7531" y="634"/>
                    </a:lnTo>
                    <a:lnTo>
                      <a:pt x="7476" y="621"/>
                    </a:lnTo>
                    <a:lnTo>
                      <a:pt x="7423" y="611"/>
                    </a:lnTo>
                    <a:lnTo>
                      <a:pt x="7373" y="602"/>
                    </a:lnTo>
                    <a:lnTo>
                      <a:pt x="7326" y="596"/>
                    </a:lnTo>
                    <a:lnTo>
                      <a:pt x="7280" y="591"/>
                    </a:lnTo>
                    <a:lnTo>
                      <a:pt x="7238" y="588"/>
                    </a:lnTo>
                    <a:lnTo>
                      <a:pt x="7198" y="586"/>
                    </a:lnTo>
                    <a:lnTo>
                      <a:pt x="7161" y="586"/>
                    </a:lnTo>
                    <a:lnTo>
                      <a:pt x="7125" y="586"/>
                    </a:lnTo>
                    <a:lnTo>
                      <a:pt x="7092" y="588"/>
                    </a:lnTo>
                    <a:lnTo>
                      <a:pt x="7061" y="590"/>
                    </a:lnTo>
                    <a:lnTo>
                      <a:pt x="7032" y="594"/>
                    </a:lnTo>
                    <a:lnTo>
                      <a:pt x="7006" y="597"/>
                    </a:lnTo>
                    <a:lnTo>
                      <a:pt x="6982" y="601"/>
                    </a:lnTo>
                    <a:lnTo>
                      <a:pt x="6961" y="605"/>
                    </a:lnTo>
                    <a:lnTo>
                      <a:pt x="6942" y="610"/>
                    </a:lnTo>
                    <a:lnTo>
                      <a:pt x="6910" y="618"/>
                    </a:lnTo>
                    <a:lnTo>
                      <a:pt x="6887" y="627"/>
                    </a:lnTo>
                    <a:lnTo>
                      <a:pt x="6874" y="632"/>
                    </a:lnTo>
                    <a:lnTo>
                      <a:pt x="6869" y="635"/>
                    </a:lnTo>
                    <a:lnTo>
                      <a:pt x="6866" y="636"/>
                    </a:lnTo>
                    <a:lnTo>
                      <a:pt x="6863" y="636"/>
                    </a:lnTo>
                    <a:lnTo>
                      <a:pt x="6850" y="636"/>
                    </a:lnTo>
                    <a:lnTo>
                      <a:pt x="6818" y="632"/>
                    </a:lnTo>
                    <a:lnTo>
                      <a:pt x="6796" y="630"/>
                    </a:lnTo>
                    <a:lnTo>
                      <a:pt x="6769" y="626"/>
                    </a:lnTo>
                    <a:lnTo>
                      <a:pt x="6739" y="622"/>
                    </a:lnTo>
                    <a:lnTo>
                      <a:pt x="6706" y="615"/>
                    </a:lnTo>
                    <a:lnTo>
                      <a:pt x="6666" y="608"/>
                    </a:lnTo>
                    <a:lnTo>
                      <a:pt x="6627" y="598"/>
                    </a:lnTo>
                    <a:lnTo>
                      <a:pt x="6589" y="587"/>
                    </a:lnTo>
                    <a:lnTo>
                      <a:pt x="6552" y="576"/>
                    </a:lnTo>
                    <a:lnTo>
                      <a:pt x="6515" y="563"/>
                    </a:lnTo>
                    <a:lnTo>
                      <a:pt x="6478" y="550"/>
                    </a:lnTo>
                    <a:lnTo>
                      <a:pt x="6443" y="536"/>
                    </a:lnTo>
                    <a:lnTo>
                      <a:pt x="6408" y="520"/>
                    </a:lnTo>
                    <a:lnTo>
                      <a:pt x="6386" y="512"/>
                    </a:lnTo>
                    <a:lnTo>
                      <a:pt x="6362" y="502"/>
                    </a:lnTo>
                    <a:lnTo>
                      <a:pt x="6336" y="493"/>
                    </a:lnTo>
                    <a:lnTo>
                      <a:pt x="6309" y="485"/>
                    </a:lnTo>
                    <a:lnTo>
                      <a:pt x="6278" y="476"/>
                    </a:lnTo>
                    <a:lnTo>
                      <a:pt x="6247" y="467"/>
                    </a:lnTo>
                    <a:lnTo>
                      <a:pt x="6215" y="460"/>
                    </a:lnTo>
                    <a:lnTo>
                      <a:pt x="6180" y="452"/>
                    </a:lnTo>
                    <a:lnTo>
                      <a:pt x="6107" y="438"/>
                    </a:lnTo>
                    <a:lnTo>
                      <a:pt x="6028" y="425"/>
                    </a:lnTo>
                    <a:lnTo>
                      <a:pt x="5946" y="413"/>
                    </a:lnTo>
                    <a:lnTo>
                      <a:pt x="5859" y="404"/>
                    </a:lnTo>
                    <a:lnTo>
                      <a:pt x="5771" y="395"/>
                    </a:lnTo>
                    <a:lnTo>
                      <a:pt x="5680" y="387"/>
                    </a:lnTo>
                    <a:lnTo>
                      <a:pt x="5588" y="382"/>
                    </a:lnTo>
                    <a:lnTo>
                      <a:pt x="5496" y="379"/>
                    </a:lnTo>
                    <a:lnTo>
                      <a:pt x="5403" y="377"/>
                    </a:lnTo>
                    <a:lnTo>
                      <a:pt x="5312" y="377"/>
                    </a:lnTo>
                    <a:lnTo>
                      <a:pt x="5267" y="378"/>
                    </a:lnTo>
                    <a:lnTo>
                      <a:pt x="5222" y="379"/>
                    </a:lnTo>
                    <a:lnTo>
                      <a:pt x="5178" y="381"/>
                    </a:lnTo>
                    <a:lnTo>
                      <a:pt x="5135" y="383"/>
                    </a:lnTo>
                    <a:lnTo>
                      <a:pt x="5100" y="385"/>
                    </a:lnTo>
                    <a:lnTo>
                      <a:pt x="5067" y="385"/>
                    </a:lnTo>
                    <a:lnTo>
                      <a:pt x="5032" y="385"/>
                    </a:lnTo>
                    <a:lnTo>
                      <a:pt x="4998" y="384"/>
                    </a:lnTo>
                    <a:lnTo>
                      <a:pt x="4963" y="382"/>
                    </a:lnTo>
                    <a:lnTo>
                      <a:pt x="4930" y="380"/>
                    </a:lnTo>
                    <a:lnTo>
                      <a:pt x="4895" y="377"/>
                    </a:lnTo>
                    <a:lnTo>
                      <a:pt x="4861" y="372"/>
                    </a:lnTo>
                    <a:lnTo>
                      <a:pt x="4826" y="367"/>
                    </a:lnTo>
                    <a:lnTo>
                      <a:pt x="4793" y="361"/>
                    </a:lnTo>
                    <a:lnTo>
                      <a:pt x="4758" y="356"/>
                    </a:lnTo>
                    <a:lnTo>
                      <a:pt x="4725" y="349"/>
                    </a:lnTo>
                    <a:lnTo>
                      <a:pt x="4658" y="333"/>
                    </a:lnTo>
                    <a:lnTo>
                      <a:pt x="4591" y="317"/>
                    </a:lnTo>
                    <a:lnTo>
                      <a:pt x="4525" y="299"/>
                    </a:lnTo>
                    <a:lnTo>
                      <a:pt x="4461" y="279"/>
                    </a:lnTo>
                    <a:lnTo>
                      <a:pt x="4397" y="259"/>
                    </a:lnTo>
                    <a:lnTo>
                      <a:pt x="4336" y="238"/>
                    </a:lnTo>
                    <a:lnTo>
                      <a:pt x="4276" y="217"/>
                    </a:lnTo>
                    <a:lnTo>
                      <a:pt x="4219" y="195"/>
                    </a:lnTo>
                    <a:lnTo>
                      <a:pt x="4163" y="175"/>
                    </a:lnTo>
                    <a:lnTo>
                      <a:pt x="4109" y="154"/>
                    </a:lnTo>
                    <a:lnTo>
                      <a:pt x="4087" y="146"/>
                    </a:lnTo>
                    <a:lnTo>
                      <a:pt x="4065" y="137"/>
                    </a:lnTo>
                    <a:lnTo>
                      <a:pt x="4043" y="129"/>
                    </a:lnTo>
                    <a:lnTo>
                      <a:pt x="4023" y="122"/>
                    </a:lnTo>
                    <a:lnTo>
                      <a:pt x="4002" y="114"/>
                    </a:lnTo>
                    <a:lnTo>
                      <a:pt x="3982" y="107"/>
                    </a:lnTo>
                    <a:lnTo>
                      <a:pt x="3962" y="99"/>
                    </a:lnTo>
                    <a:lnTo>
                      <a:pt x="3944" y="93"/>
                    </a:lnTo>
                    <a:lnTo>
                      <a:pt x="3917" y="84"/>
                    </a:lnTo>
                    <a:lnTo>
                      <a:pt x="3884" y="76"/>
                    </a:lnTo>
                    <a:lnTo>
                      <a:pt x="3848" y="68"/>
                    </a:lnTo>
                    <a:lnTo>
                      <a:pt x="3807" y="60"/>
                    </a:lnTo>
                    <a:lnTo>
                      <a:pt x="3761" y="53"/>
                    </a:lnTo>
                    <a:lnTo>
                      <a:pt x="3713" y="46"/>
                    </a:lnTo>
                    <a:lnTo>
                      <a:pt x="3659" y="40"/>
                    </a:lnTo>
                    <a:lnTo>
                      <a:pt x="3603" y="34"/>
                    </a:lnTo>
                    <a:lnTo>
                      <a:pt x="3543" y="31"/>
                    </a:lnTo>
                    <a:lnTo>
                      <a:pt x="3481" y="28"/>
                    </a:lnTo>
                    <a:lnTo>
                      <a:pt x="3416" y="27"/>
                    </a:lnTo>
                    <a:lnTo>
                      <a:pt x="3349" y="27"/>
                    </a:lnTo>
                    <a:lnTo>
                      <a:pt x="3279" y="28"/>
                    </a:lnTo>
                    <a:lnTo>
                      <a:pt x="3208" y="31"/>
                    </a:lnTo>
                    <a:lnTo>
                      <a:pt x="3135" y="37"/>
                    </a:lnTo>
                    <a:lnTo>
                      <a:pt x="3062" y="44"/>
                    </a:lnTo>
                    <a:lnTo>
                      <a:pt x="2986" y="54"/>
                    </a:lnTo>
                    <a:lnTo>
                      <a:pt x="2910" y="66"/>
                    </a:lnTo>
                    <a:lnTo>
                      <a:pt x="2835" y="81"/>
                    </a:lnTo>
                    <a:lnTo>
                      <a:pt x="2758" y="98"/>
                    </a:lnTo>
                    <a:lnTo>
                      <a:pt x="2683" y="119"/>
                    </a:lnTo>
                    <a:lnTo>
                      <a:pt x="2606" y="141"/>
                    </a:lnTo>
                    <a:lnTo>
                      <a:pt x="2531" y="167"/>
                    </a:lnTo>
                    <a:lnTo>
                      <a:pt x="2457" y="196"/>
                    </a:lnTo>
                    <a:lnTo>
                      <a:pt x="2384" y="230"/>
                    </a:lnTo>
                    <a:lnTo>
                      <a:pt x="2312" y="265"/>
                    </a:lnTo>
                    <a:lnTo>
                      <a:pt x="2242" y="305"/>
                    </a:lnTo>
                    <a:lnTo>
                      <a:pt x="2174" y="350"/>
                    </a:lnTo>
                    <a:lnTo>
                      <a:pt x="2108" y="397"/>
                    </a:lnTo>
                    <a:lnTo>
                      <a:pt x="2046" y="450"/>
                    </a:lnTo>
                    <a:lnTo>
                      <a:pt x="1985" y="506"/>
                    </a:lnTo>
                    <a:lnTo>
                      <a:pt x="1928" y="567"/>
                    </a:lnTo>
                    <a:lnTo>
                      <a:pt x="1918" y="577"/>
                    </a:lnTo>
                    <a:lnTo>
                      <a:pt x="1899" y="601"/>
                    </a:lnTo>
                    <a:lnTo>
                      <a:pt x="1870" y="638"/>
                    </a:lnTo>
                    <a:lnTo>
                      <a:pt x="1833" y="687"/>
                    </a:lnTo>
                    <a:lnTo>
                      <a:pt x="1812" y="717"/>
                    </a:lnTo>
                    <a:lnTo>
                      <a:pt x="1790" y="749"/>
                    </a:lnTo>
                    <a:lnTo>
                      <a:pt x="1766" y="785"/>
                    </a:lnTo>
                    <a:lnTo>
                      <a:pt x="1741" y="823"/>
                    </a:lnTo>
                    <a:lnTo>
                      <a:pt x="1715" y="865"/>
                    </a:lnTo>
                    <a:lnTo>
                      <a:pt x="1688" y="909"/>
                    </a:lnTo>
                    <a:lnTo>
                      <a:pt x="1660" y="956"/>
                    </a:lnTo>
                    <a:lnTo>
                      <a:pt x="1632" y="1007"/>
                    </a:lnTo>
                    <a:lnTo>
                      <a:pt x="1603" y="1061"/>
                    </a:lnTo>
                    <a:lnTo>
                      <a:pt x="1574" y="1117"/>
                    </a:lnTo>
                    <a:lnTo>
                      <a:pt x="1543" y="1176"/>
                    </a:lnTo>
                    <a:lnTo>
                      <a:pt x="1514" y="1239"/>
                    </a:lnTo>
                    <a:lnTo>
                      <a:pt x="1484" y="1304"/>
                    </a:lnTo>
                    <a:lnTo>
                      <a:pt x="1455" y="1373"/>
                    </a:lnTo>
                    <a:lnTo>
                      <a:pt x="1426" y="1443"/>
                    </a:lnTo>
                    <a:lnTo>
                      <a:pt x="1398" y="1518"/>
                    </a:lnTo>
                    <a:lnTo>
                      <a:pt x="1370" y="1594"/>
                    </a:lnTo>
                    <a:lnTo>
                      <a:pt x="1343" y="1673"/>
                    </a:lnTo>
                    <a:lnTo>
                      <a:pt x="1316" y="1755"/>
                    </a:lnTo>
                    <a:lnTo>
                      <a:pt x="1291" y="1840"/>
                    </a:lnTo>
                    <a:lnTo>
                      <a:pt x="1267" y="1928"/>
                    </a:lnTo>
                    <a:lnTo>
                      <a:pt x="1244" y="2018"/>
                    </a:lnTo>
                    <a:lnTo>
                      <a:pt x="1223" y="2111"/>
                    </a:lnTo>
                    <a:lnTo>
                      <a:pt x="1203" y="2207"/>
                    </a:lnTo>
                    <a:lnTo>
                      <a:pt x="1191" y="2241"/>
                    </a:lnTo>
                    <a:lnTo>
                      <a:pt x="1177" y="2274"/>
                    </a:lnTo>
                    <a:lnTo>
                      <a:pt x="1163" y="2309"/>
                    </a:lnTo>
                    <a:lnTo>
                      <a:pt x="1147" y="2343"/>
                    </a:lnTo>
                    <a:lnTo>
                      <a:pt x="1131" y="2379"/>
                    </a:lnTo>
                    <a:lnTo>
                      <a:pt x="1113" y="2415"/>
                    </a:lnTo>
                    <a:lnTo>
                      <a:pt x="1094" y="2451"/>
                    </a:lnTo>
                    <a:lnTo>
                      <a:pt x="1075" y="2488"/>
                    </a:lnTo>
                    <a:lnTo>
                      <a:pt x="1034" y="2564"/>
                    </a:lnTo>
                    <a:lnTo>
                      <a:pt x="991" y="2640"/>
                    </a:lnTo>
                    <a:lnTo>
                      <a:pt x="944" y="2717"/>
                    </a:lnTo>
                    <a:lnTo>
                      <a:pt x="896" y="2796"/>
                    </a:lnTo>
                    <a:lnTo>
                      <a:pt x="847" y="2873"/>
                    </a:lnTo>
                    <a:lnTo>
                      <a:pt x="795" y="2952"/>
                    </a:lnTo>
                    <a:lnTo>
                      <a:pt x="744" y="3031"/>
                    </a:lnTo>
                    <a:lnTo>
                      <a:pt x="691" y="3108"/>
                    </a:lnTo>
                    <a:lnTo>
                      <a:pt x="640" y="3185"/>
                    </a:lnTo>
                    <a:lnTo>
                      <a:pt x="588" y="3261"/>
                    </a:lnTo>
                    <a:lnTo>
                      <a:pt x="537" y="3334"/>
                    </a:lnTo>
                    <a:lnTo>
                      <a:pt x="487" y="3407"/>
                    </a:lnTo>
                    <a:lnTo>
                      <a:pt x="425" y="3496"/>
                    </a:lnTo>
                    <a:lnTo>
                      <a:pt x="365" y="3583"/>
                    </a:lnTo>
                    <a:lnTo>
                      <a:pt x="309" y="3666"/>
                    </a:lnTo>
                    <a:lnTo>
                      <a:pt x="257" y="3743"/>
                    </a:lnTo>
                    <a:lnTo>
                      <a:pt x="210" y="3816"/>
                    </a:lnTo>
                    <a:lnTo>
                      <a:pt x="169" y="3884"/>
                    </a:lnTo>
                    <a:lnTo>
                      <a:pt x="149" y="3915"/>
                    </a:lnTo>
                    <a:lnTo>
                      <a:pt x="132" y="3945"/>
                    </a:lnTo>
                    <a:lnTo>
                      <a:pt x="117" y="3973"/>
                    </a:lnTo>
                    <a:lnTo>
                      <a:pt x="104" y="3999"/>
                    </a:lnTo>
                    <a:lnTo>
                      <a:pt x="91" y="4025"/>
                    </a:lnTo>
                    <a:lnTo>
                      <a:pt x="80" y="4049"/>
                    </a:lnTo>
                    <a:lnTo>
                      <a:pt x="69" y="4073"/>
                    </a:lnTo>
                    <a:lnTo>
                      <a:pt x="60" y="4095"/>
                    </a:lnTo>
                    <a:lnTo>
                      <a:pt x="52" y="4112"/>
                    </a:lnTo>
                    <a:lnTo>
                      <a:pt x="45" y="4127"/>
                    </a:lnTo>
                    <a:lnTo>
                      <a:pt x="38" y="4143"/>
                    </a:lnTo>
                    <a:lnTo>
                      <a:pt x="31" y="4158"/>
                    </a:lnTo>
                    <a:lnTo>
                      <a:pt x="0" y="4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12"/>
              <p:cNvSpPr>
                <a:spLocks noEditPoints="1"/>
              </p:cNvSpPr>
              <p:nvPr userDrawn="1"/>
            </p:nvSpPr>
            <p:spPr bwMode="auto">
              <a:xfrm>
                <a:off x="2432" y="3120"/>
                <a:ext cx="954" cy="1022"/>
              </a:xfrm>
              <a:custGeom>
                <a:avLst/>
                <a:gdLst>
                  <a:gd name="T0" fmla="*/ 2441 w 2862"/>
                  <a:gd name="T1" fmla="*/ 2937 h 3066"/>
                  <a:gd name="T2" fmla="*/ 2326 w 2862"/>
                  <a:gd name="T3" fmla="*/ 2857 h 3066"/>
                  <a:gd name="T4" fmla="*/ 2015 w 2862"/>
                  <a:gd name="T5" fmla="*/ 2582 h 3066"/>
                  <a:gd name="T6" fmla="*/ 1786 w 2862"/>
                  <a:gd name="T7" fmla="*/ 2416 h 3066"/>
                  <a:gd name="T8" fmla="*/ 1669 w 2862"/>
                  <a:gd name="T9" fmla="*/ 2363 h 3066"/>
                  <a:gd name="T10" fmla="*/ 1551 w 2862"/>
                  <a:gd name="T11" fmla="*/ 2342 h 3066"/>
                  <a:gd name="T12" fmla="*/ 1527 w 2862"/>
                  <a:gd name="T13" fmla="*/ 2323 h 3066"/>
                  <a:gd name="T14" fmla="*/ 1462 w 2862"/>
                  <a:gd name="T15" fmla="*/ 2164 h 3066"/>
                  <a:gd name="T16" fmla="*/ 1311 w 2862"/>
                  <a:gd name="T17" fmla="*/ 1781 h 3066"/>
                  <a:gd name="T18" fmla="*/ 1122 w 2862"/>
                  <a:gd name="T19" fmla="*/ 1390 h 3066"/>
                  <a:gd name="T20" fmla="*/ 850 w 2862"/>
                  <a:gd name="T21" fmla="*/ 950 h 3066"/>
                  <a:gd name="T22" fmla="*/ 483 w 2862"/>
                  <a:gd name="T23" fmla="*/ 493 h 3066"/>
                  <a:gd name="T24" fmla="*/ 6 w 2862"/>
                  <a:gd name="T25" fmla="*/ 55 h 3066"/>
                  <a:gd name="T26" fmla="*/ 8 w 2862"/>
                  <a:gd name="T27" fmla="*/ 32 h 3066"/>
                  <a:gd name="T28" fmla="*/ 164 w 2862"/>
                  <a:gd name="T29" fmla="*/ 51 h 3066"/>
                  <a:gd name="T30" fmla="*/ 294 w 2862"/>
                  <a:gd name="T31" fmla="*/ 14 h 3066"/>
                  <a:gd name="T32" fmla="*/ 466 w 2862"/>
                  <a:gd name="T33" fmla="*/ 0 h 3066"/>
                  <a:gd name="T34" fmla="*/ 778 w 2862"/>
                  <a:gd name="T35" fmla="*/ 33 h 3066"/>
                  <a:gd name="T36" fmla="*/ 1126 w 2862"/>
                  <a:gd name="T37" fmla="*/ 136 h 3066"/>
                  <a:gd name="T38" fmla="*/ 1516 w 2862"/>
                  <a:gd name="T39" fmla="*/ 313 h 3066"/>
                  <a:gd name="T40" fmla="*/ 1895 w 2862"/>
                  <a:gd name="T41" fmla="*/ 591 h 3066"/>
                  <a:gd name="T42" fmla="*/ 2214 w 2862"/>
                  <a:gd name="T43" fmla="*/ 940 h 3066"/>
                  <a:gd name="T44" fmla="*/ 2472 w 2862"/>
                  <a:gd name="T45" fmla="*/ 1333 h 3066"/>
                  <a:gd name="T46" fmla="*/ 2670 w 2862"/>
                  <a:gd name="T47" fmla="*/ 1742 h 3066"/>
                  <a:gd name="T48" fmla="*/ 2807 w 2862"/>
                  <a:gd name="T49" fmla="*/ 2143 h 3066"/>
                  <a:gd name="T50" fmla="*/ 2846 w 2862"/>
                  <a:gd name="T51" fmla="*/ 2323 h 3066"/>
                  <a:gd name="T52" fmla="*/ 2861 w 2862"/>
                  <a:gd name="T53" fmla="*/ 2587 h 3066"/>
                  <a:gd name="T54" fmla="*/ 2823 w 2862"/>
                  <a:gd name="T55" fmla="*/ 2837 h 3066"/>
                  <a:gd name="T56" fmla="*/ 2757 w 2862"/>
                  <a:gd name="T57" fmla="*/ 3017 h 3066"/>
                  <a:gd name="T58" fmla="*/ 2722 w 2862"/>
                  <a:gd name="T59" fmla="*/ 3066 h 3066"/>
                  <a:gd name="T60" fmla="*/ 1635 w 2862"/>
                  <a:gd name="T61" fmla="*/ 2325 h 3066"/>
                  <a:gd name="T62" fmla="*/ 1757 w 2862"/>
                  <a:gd name="T63" fmla="*/ 2369 h 3066"/>
                  <a:gd name="T64" fmla="*/ 1955 w 2862"/>
                  <a:gd name="T65" fmla="*/ 2498 h 3066"/>
                  <a:gd name="T66" fmla="*/ 2262 w 2862"/>
                  <a:gd name="T67" fmla="*/ 2767 h 3066"/>
                  <a:gd name="T68" fmla="*/ 2452 w 2862"/>
                  <a:gd name="T69" fmla="*/ 2913 h 3066"/>
                  <a:gd name="T70" fmla="*/ 2750 w 2862"/>
                  <a:gd name="T71" fmla="*/ 2965 h 3066"/>
                  <a:gd name="T72" fmla="*/ 2806 w 2862"/>
                  <a:gd name="T73" fmla="*/ 2795 h 3066"/>
                  <a:gd name="T74" fmla="*/ 2835 w 2862"/>
                  <a:gd name="T75" fmla="*/ 2538 h 3066"/>
                  <a:gd name="T76" fmla="*/ 2814 w 2862"/>
                  <a:gd name="T77" fmla="*/ 2298 h 3066"/>
                  <a:gd name="T78" fmla="*/ 2762 w 2862"/>
                  <a:gd name="T79" fmla="*/ 2085 h 3066"/>
                  <a:gd name="T80" fmla="*/ 2617 w 2862"/>
                  <a:gd name="T81" fmla="*/ 1685 h 3066"/>
                  <a:gd name="T82" fmla="*/ 2410 w 2862"/>
                  <a:gd name="T83" fmla="*/ 1280 h 3066"/>
                  <a:gd name="T84" fmla="*/ 2146 w 2862"/>
                  <a:gd name="T85" fmla="*/ 897 h 3066"/>
                  <a:gd name="T86" fmla="*/ 1821 w 2862"/>
                  <a:gd name="T87" fmla="*/ 561 h 3066"/>
                  <a:gd name="T88" fmla="*/ 1435 w 2862"/>
                  <a:gd name="T89" fmla="*/ 300 h 3066"/>
                  <a:gd name="T90" fmla="*/ 1004 w 2862"/>
                  <a:gd name="T91" fmla="*/ 123 h 3066"/>
                  <a:gd name="T92" fmla="*/ 668 w 2862"/>
                  <a:gd name="T93" fmla="*/ 42 h 3066"/>
                  <a:gd name="T94" fmla="*/ 430 w 2862"/>
                  <a:gd name="T95" fmla="*/ 27 h 3066"/>
                  <a:gd name="T96" fmla="*/ 266 w 2862"/>
                  <a:gd name="T97" fmla="*/ 46 h 3066"/>
                  <a:gd name="T98" fmla="*/ 171 w 2862"/>
                  <a:gd name="T99" fmla="*/ 78 h 3066"/>
                  <a:gd name="T100" fmla="*/ 150 w 2862"/>
                  <a:gd name="T101" fmla="*/ 137 h 3066"/>
                  <a:gd name="T102" fmla="*/ 596 w 2862"/>
                  <a:gd name="T103" fmla="*/ 580 h 3066"/>
                  <a:gd name="T104" fmla="*/ 939 w 2862"/>
                  <a:gd name="T105" fmla="*/ 1031 h 3066"/>
                  <a:gd name="T106" fmla="*/ 1189 w 2862"/>
                  <a:gd name="T107" fmla="*/ 1460 h 3066"/>
                  <a:gd name="T108" fmla="*/ 1363 w 2862"/>
                  <a:gd name="T109" fmla="*/ 1834 h 3066"/>
                  <a:gd name="T110" fmla="*/ 1509 w 2862"/>
                  <a:gd name="T111" fmla="*/ 2212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2" h="3066">
                    <a:moveTo>
                      <a:pt x="2722" y="3066"/>
                    </a:moveTo>
                    <a:lnTo>
                      <a:pt x="2719" y="3065"/>
                    </a:lnTo>
                    <a:lnTo>
                      <a:pt x="2717" y="3065"/>
                    </a:lnTo>
                    <a:lnTo>
                      <a:pt x="2476" y="2956"/>
                    </a:lnTo>
                    <a:lnTo>
                      <a:pt x="2458" y="2947"/>
                    </a:lnTo>
                    <a:lnTo>
                      <a:pt x="2441" y="2937"/>
                    </a:lnTo>
                    <a:lnTo>
                      <a:pt x="2422" y="2926"/>
                    </a:lnTo>
                    <a:lnTo>
                      <a:pt x="2404" y="2915"/>
                    </a:lnTo>
                    <a:lnTo>
                      <a:pt x="2384" y="2902"/>
                    </a:lnTo>
                    <a:lnTo>
                      <a:pt x="2365" y="2888"/>
                    </a:lnTo>
                    <a:lnTo>
                      <a:pt x="2346" y="2872"/>
                    </a:lnTo>
                    <a:lnTo>
                      <a:pt x="2326" y="2857"/>
                    </a:lnTo>
                    <a:lnTo>
                      <a:pt x="2286" y="2824"/>
                    </a:lnTo>
                    <a:lnTo>
                      <a:pt x="2245" y="2788"/>
                    </a:lnTo>
                    <a:lnTo>
                      <a:pt x="2203" y="2750"/>
                    </a:lnTo>
                    <a:lnTo>
                      <a:pt x="2161" y="2712"/>
                    </a:lnTo>
                    <a:lnTo>
                      <a:pt x="2090" y="2647"/>
                    </a:lnTo>
                    <a:lnTo>
                      <a:pt x="2015" y="2582"/>
                    </a:lnTo>
                    <a:lnTo>
                      <a:pt x="1978" y="2551"/>
                    </a:lnTo>
                    <a:lnTo>
                      <a:pt x="1941" y="2521"/>
                    </a:lnTo>
                    <a:lnTo>
                      <a:pt x="1902" y="2491"/>
                    </a:lnTo>
                    <a:lnTo>
                      <a:pt x="1864" y="2464"/>
                    </a:lnTo>
                    <a:lnTo>
                      <a:pt x="1825" y="2438"/>
                    </a:lnTo>
                    <a:lnTo>
                      <a:pt x="1786" y="2416"/>
                    </a:lnTo>
                    <a:lnTo>
                      <a:pt x="1767" y="2405"/>
                    </a:lnTo>
                    <a:lnTo>
                      <a:pt x="1747" y="2395"/>
                    </a:lnTo>
                    <a:lnTo>
                      <a:pt x="1727" y="2386"/>
                    </a:lnTo>
                    <a:lnTo>
                      <a:pt x="1707" y="2377"/>
                    </a:lnTo>
                    <a:lnTo>
                      <a:pt x="1688" y="2369"/>
                    </a:lnTo>
                    <a:lnTo>
                      <a:pt x="1669" y="2363"/>
                    </a:lnTo>
                    <a:lnTo>
                      <a:pt x="1649" y="2356"/>
                    </a:lnTo>
                    <a:lnTo>
                      <a:pt x="1630" y="2352"/>
                    </a:lnTo>
                    <a:lnTo>
                      <a:pt x="1609" y="2348"/>
                    </a:lnTo>
                    <a:lnTo>
                      <a:pt x="1590" y="2345"/>
                    </a:lnTo>
                    <a:lnTo>
                      <a:pt x="1570" y="2342"/>
                    </a:lnTo>
                    <a:lnTo>
                      <a:pt x="1551" y="2342"/>
                    </a:lnTo>
                    <a:lnTo>
                      <a:pt x="1547" y="2341"/>
                    </a:lnTo>
                    <a:lnTo>
                      <a:pt x="1542" y="2340"/>
                    </a:lnTo>
                    <a:lnTo>
                      <a:pt x="1539" y="2338"/>
                    </a:lnTo>
                    <a:lnTo>
                      <a:pt x="1535" y="2334"/>
                    </a:lnTo>
                    <a:lnTo>
                      <a:pt x="1530" y="2329"/>
                    </a:lnTo>
                    <a:lnTo>
                      <a:pt x="1527" y="2323"/>
                    </a:lnTo>
                    <a:lnTo>
                      <a:pt x="1523" y="2315"/>
                    </a:lnTo>
                    <a:lnTo>
                      <a:pt x="1517" y="2307"/>
                    </a:lnTo>
                    <a:lnTo>
                      <a:pt x="1508" y="2283"/>
                    </a:lnTo>
                    <a:lnTo>
                      <a:pt x="1495" y="2252"/>
                    </a:lnTo>
                    <a:lnTo>
                      <a:pt x="1480" y="2213"/>
                    </a:lnTo>
                    <a:lnTo>
                      <a:pt x="1462" y="2164"/>
                    </a:lnTo>
                    <a:lnTo>
                      <a:pt x="1434" y="2087"/>
                    </a:lnTo>
                    <a:lnTo>
                      <a:pt x="1400" y="1997"/>
                    </a:lnTo>
                    <a:lnTo>
                      <a:pt x="1380" y="1946"/>
                    </a:lnTo>
                    <a:lnTo>
                      <a:pt x="1359" y="1894"/>
                    </a:lnTo>
                    <a:lnTo>
                      <a:pt x="1336" y="1839"/>
                    </a:lnTo>
                    <a:lnTo>
                      <a:pt x="1311" y="1781"/>
                    </a:lnTo>
                    <a:lnTo>
                      <a:pt x="1285" y="1721"/>
                    </a:lnTo>
                    <a:lnTo>
                      <a:pt x="1256" y="1659"/>
                    </a:lnTo>
                    <a:lnTo>
                      <a:pt x="1226" y="1594"/>
                    </a:lnTo>
                    <a:lnTo>
                      <a:pt x="1193" y="1528"/>
                    </a:lnTo>
                    <a:lnTo>
                      <a:pt x="1159" y="1460"/>
                    </a:lnTo>
                    <a:lnTo>
                      <a:pt x="1122" y="1390"/>
                    </a:lnTo>
                    <a:lnTo>
                      <a:pt x="1082" y="1320"/>
                    </a:lnTo>
                    <a:lnTo>
                      <a:pt x="1041" y="1248"/>
                    </a:lnTo>
                    <a:lnTo>
                      <a:pt x="997" y="1174"/>
                    </a:lnTo>
                    <a:lnTo>
                      <a:pt x="950" y="1100"/>
                    </a:lnTo>
                    <a:lnTo>
                      <a:pt x="902" y="1025"/>
                    </a:lnTo>
                    <a:lnTo>
                      <a:pt x="850" y="950"/>
                    </a:lnTo>
                    <a:lnTo>
                      <a:pt x="796" y="874"/>
                    </a:lnTo>
                    <a:lnTo>
                      <a:pt x="740" y="798"/>
                    </a:lnTo>
                    <a:lnTo>
                      <a:pt x="679" y="721"/>
                    </a:lnTo>
                    <a:lnTo>
                      <a:pt x="617" y="645"/>
                    </a:lnTo>
                    <a:lnTo>
                      <a:pt x="552" y="569"/>
                    </a:lnTo>
                    <a:lnTo>
                      <a:pt x="483" y="493"/>
                    </a:lnTo>
                    <a:lnTo>
                      <a:pt x="412" y="418"/>
                    </a:lnTo>
                    <a:lnTo>
                      <a:pt x="337" y="343"/>
                    </a:lnTo>
                    <a:lnTo>
                      <a:pt x="259" y="270"/>
                    </a:lnTo>
                    <a:lnTo>
                      <a:pt x="178" y="196"/>
                    </a:lnTo>
                    <a:lnTo>
                      <a:pt x="93" y="125"/>
                    </a:lnTo>
                    <a:lnTo>
                      <a:pt x="6" y="55"/>
                    </a:lnTo>
                    <a:lnTo>
                      <a:pt x="2" y="52"/>
                    </a:lnTo>
                    <a:lnTo>
                      <a:pt x="0" y="47"/>
                    </a:lnTo>
                    <a:lnTo>
                      <a:pt x="0" y="43"/>
                    </a:lnTo>
                    <a:lnTo>
                      <a:pt x="1" y="39"/>
                    </a:lnTo>
                    <a:lnTo>
                      <a:pt x="3" y="34"/>
                    </a:lnTo>
                    <a:lnTo>
                      <a:pt x="8" y="32"/>
                    </a:lnTo>
                    <a:lnTo>
                      <a:pt x="12" y="31"/>
                    </a:lnTo>
                    <a:lnTo>
                      <a:pt x="16" y="31"/>
                    </a:lnTo>
                    <a:lnTo>
                      <a:pt x="70" y="41"/>
                    </a:lnTo>
                    <a:lnTo>
                      <a:pt x="115" y="46"/>
                    </a:lnTo>
                    <a:lnTo>
                      <a:pt x="147" y="50"/>
                    </a:lnTo>
                    <a:lnTo>
                      <a:pt x="164" y="51"/>
                    </a:lnTo>
                    <a:lnTo>
                      <a:pt x="175" y="46"/>
                    </a:lnTo>
                    <a:lnTo>
                      <a:pt x="193" y="39"/>
                    </a:lnTo>
                    <a:lnTo>
                      <a:pt x="219" y="30"/>
                    </a:lnTo>
                    <a:lnTo>
                      <a:pt x="253" y="22"/>
                    </a:lnTo>
                    <a:lnTo>
                      <a:pt x="272" y="17"/>
                    </a:lnTo>
                    <a:lnTo>
                      <a:pt x="294" y="14"/>
                    </a:lnTo>
                    <a:lnTo>
                      <a:pt x="318" y="10"/>
                    </a:lnTo>
                    <a:lnTo>
                      <a:pt x="344" y="6"/>
                    </a:lnTo>
                    <a:lnTo>
                      <a:pt x="371" y="3"/>
                    </a:lnTo>
                    <a:lnTo>
                      <a:pt x="401" y="1"/>
                    </a:lnTo>
                    <a:lnTo>
                      <a:pt x="432" y="0"/>
                    </a:lnTo>
                    <a:lnTo>
                      <a:pt x="466" y="0"/>
                    </a:lnTo>
                    <a:lnTo>
                      <a:pt x="515" y="1"/>
                    </a:lnTo>
                    <a:lnTo>
                      <a:pt x="566" y="3"/>
                    </a:lnTo>
                    <a:lnTo>
                      <a:pt x="617" y="9"/>
                    </a:lnTo>
                    <a:lnTo>
                      <a:pt x="670" y="15"/>
                    </a:lnTo>
                    <a:lnTo>
                      <a:pt x="724" y="24"/>
                    </a:lnTo>
                    <a:lnTo>
                      <a:pt x="778" y="33"/>
                    </a:lnTo>
                    <a:lnTo>
                      <a:pt x="834" y="46"/>
                    </a:lnTo>
                    <a:lnTo>
                      <a:pt x="890" y="60"/>
                    </a:lnTo>
                    <a:lnTo>
                      <a:pt x="948" y="77"/>
                    </a:lnTo>
                    <a:lnTo>
                      <a:pt x="1007" y="94"/>
                    </a:lnTo>
                    <a:lnTo>
                      <a:pt x="1066" y="114"/>
                    </a:lnTo>
                    <a:lnTo>
                      <a:pt x="1126" y="136"/>
                    </a:lnTo>
                    <a:lnTo>
                      <a:pt x="1188" y="160"/>
                    </a:lnTo>
                    <a:lnTo>
                      <a:pt x="1250" y="185"/>
                    </a:lnTo>
                    <a:lnTo>
                      <a:pt x="1313" y="212"/>
                    </a:lnTo>
                    <a:lnTo>
                      <a:pt x="1377" y="241"/>
                    </a:lnTo>
                    <a:lnTo>
                      <a:pt x="1447" y="276"/>
                    </a:lnTo>
                    <a:lnTo>
                      <a:pt x="1516" y="313"/>
                    </a:lnTo>
                    <a:lnTo>
                      <a:pt x="1584" y="354"/>
                    </a:lnTo>
                    <a:lnTo>
                      <a:pt x="1649" y="397"/>
                    </a:lnTo>
                    <a:lnTo>
                      <a:pt x="1714" y="443"/>
                    </a:lnTo>
                    <a:lnTo>
                      <a:pt x="1777" y="490"/>
                    </a:lnTo>
                    <a:lnTo>
                      <a:pt x="1837" y="540"/>
                    </a:lnTo>
                    <a:lnTo>
                      <a:pt x="1895" y="591"/>
                    </a:lnTo>
                    <a:lnTo>
                      <a:pt x="1953" y="645"/>
                    </a:lnTo>
                    <a:lnTo>
                      <a:pt x="2009" y="702"/>
                    </a:lnTo>
                    <a:lnTo>
                      <a:pt x="2063" y="759"/>
                    </a:lnTo>
                    <a:lnTo>
                      <a:pt x="2114" y="818"/>
                    </a:lnTo>
                    <a:lnTo>
                      <a:pt x="2165" y="879"/>
                    </a:lnTo>
                    <a:lnTo>
                      <a:pt x="2214" y="940"/>
                    </a:lnTo>
                    <a:lnTo>
                      <a:pt x="2261" y="1004"/>
                    </a:lnTo>
                    <a:lnTo>
                      <a:pt x="2307" y="1068"/>
                    </a:lnTo>
                    <a:lnTo>
                      <a:pt x="2351" y="1133"/>
                    </a:lnTo>
                    <a:lnTo>
                      <a:pt x="2393" y="1199"/>
                    </a:lnTo>
                    <a:lnTo>
                      <a:pt x="2433" y="1266"/>
                    </a:lnTo>
                    <a:lnTo>
                      <a:pt x="2472" y="1333"/>
                    </a:lnTo>
                    <a:lnTo>
                      <a:pt x="2509" y="1401"/>
                    </a:lnTo>
                    <a:lnTo>
                      <a:pt x="2544" y="1469"/>
                    </a:lnTo>
                    <a:lnTo>
                      <a:pt x="2579" y="1537"/>
                    </a:lnTo>
                    <a:lnTo>
                      <a:pt x="2610" y="1606"/>
                    </a:lnTo>
                    <a:lnTo>
                      <a:pt x="2640" y="1674"/>
                    </a:lnTo>
                    <a:lnTo>
                      <a:pt x="2670" y="1742"/>
                    </a:lnTo>
                    <a:lnTo>
                      <a:pt x="2697" y="1810"/>
                    </a:lnTo>
                    <a:lnTo>
                      <a:pt x="2722" y="1878"/>
                    </a:lnTo>
                    <a:lnTo>
                      <a:pt x="2746" y="1945"/>
                    </a:lnTo>
                    <a:lnTo>
                      <a:pt x="2768" y="2012"/>
                    </a:lnTo>
                    <a:lnTo>
                      <a:pt x="2788" y="2077"/>
                    </a:lnTo>
                    <a:lnTo>
                      <a:pt x="2807" y="2143"/>
                    </a:lnTo>
                    <a:lnTo>
                      <a:pt x="2815" y="2173"/>
                    </a:lnTo>
                    <a:lnTo>
                      <a:pt x="2823" y="2204"/>
                    </a:lnTo>
                    <a:lnTo>
                      <a:pt x="2829" y="2234"/>
                    </a:lnTo>
                    <a:lnTo>
                      <a:pt x="2836" y="2265"/>
                    </a:lnTo>
                    <a:lnTo>
                      <a:pt x="2841" y="2294"/>
                    </a:lnTo>
                    <a:lnTo>
                      <a:pt x="2846" y="2323"/>
                    </a:lnTo>
                    <a:lnTo>
                      <a:pt x="2850" y="2352"/>
                    </a:lnTo>
                    <a:lnTo>
                      <a:pt x="2853" y="2380"/>
                    </a:lnTo>
                    <a:lnTo>
                      <a:pt x="2858" y="2435"/>
                    </a:lnTo>
                    <a:lnTo>
                      <a:pt x="2861" y="2488"/>
                    </a:lnTo>
                    <a:lnTo>
                      <a:pt x="2862" y="2539"/>
                    </a:lnTo>
                    <a:lnTo>
                      <a:pt x="2861" y="2587"/>
                    </a:lnTo>
                    <a:lnTo>
                      <a:pt x="2857" y="2635"/>
                    </a:lnTo>
                    <a:lnTo>
                      <a:pt x="2853" y="2679"/>
                    </a:lnTo>
                    <a:lnTo>
                      <a:pt x="2847" y="2722"/>
                    </a:lnTo>
                    <a:lnTo>
                      <a:pt x="2839" y="2762"/>
                    </a:lnTo>
                    <a:lnTo>
                      <a:pt x="2831" y="2801"/>
                    </a:lnTo>
                    <a:lnTo>
                      <a:pt x="2823" y="2837"/>
                    </a:lnTo>
                    <a:lnTo>
                      <a:pt x="2813" y="2871"/>
                    </a:lnTo>
                    <a:lnTo>
                      <a:pt x="2803" y="2903"/>
                    </a:lnTo>
                    <a:lnTo>
                      <a:pt x="2790" y="2938"/>
                    </a:lnTo>
                    <a:lnTo>
                      <a:pt x="2779" y="2969"/>
                    </a:lnTo>
                    <a:lnTo>
                      <a:pt x="2767" y="2995"/>
                    </a:lnTo>
                    <a:lnTo>
                      <a:pt x="2757" y="3017"/>
                    </a:lnTo>
                    <a:lnTo>
                      <a:pt x="2741" y="3047"/>
                    </a:lnTo>
                    <a:lnTo>
                      <a:pt x="2734" y="3059"/>
                    </a:lnTo>
                    <a:lnTo>
                      <a:pt x="2731" y="3061"/>
                    </a:lnTo>
                    <a:lnTo>
                      <a:pt x="2729" y="3063"/>
                    </a:lnTo>
                    <a:lnTo>
                      <a:pt x="2726" y="3065"/>
                    </a:lnTo>
                    <a:lnTo>
                      <a:pt x="2722" y="3066"/>
                    </a:lnTo>
                    <a:close/>
                    <a:moveTo>
                      <a:pt x="1554" y="2315"/>
                    </a:moveTo>
                    <a:lnTo>
                      <a:pt x="1554" y="2315"/>
                    </a:lnTo>
                    <a:lnTo>
                      <a:pt x="1575" y="2317"/>
                    </a:lnTo>
                    <a:lnTo>
                      <a:pt x="1595" y="2319"/>
                    </a:lnTo>
                    <a:lnTo>
                      <a:pt x="1615" y="2322"/>
                    </a:lnTo>
                    <a:lnTo>
                      <a:pt x="1635" y="2325"/>
                    </a:lnTo>
                    <a:lnTo>
                      <a:pt x="1656" y="2331"/>
                    </a:lnTo>
                    <a:lnTo>
                      <a:pt x="1676" y="2337"/>
                    </a:lnTo>
                    <a:lnTo>
                      <a:pt x="1697" y="2343"/>
                    </a:lnTo>
                    <a:lnTo>
                      <a:pt x="1717" y="2352"/>
                    </a:lnTo>
                    <a:lnTo>
                      <a:pt x="1737" y="2361"/>
                    </a:lnTo>
                    <a:lnTo>
                      <a:pt x="1757" y="2369"/>
                    </a:lnTo>
                    <a:lnTo>
                      <a:pt x="1778" y="2380"/>
                    </a:lnTo>
                    <a:lnTo>
                      <a:pt x="1797" y="2391"/>
                    </a:lnTo>
                    <a:lnTo>
                      <a:pt x="1837" y="2415"/>
                    </a:lnTo>
                    <a:lnTo>
                      <a:pt x="1877" y="2441"/>
                    </a:lnTo>
                    <a:lnTo>
                      <a:pt x="1916" y="2468"/>
                    </a:lnTo>
                    <a:lnTo>
                      <a:pt x="1955" y="2498"/>
                    </a:lnTo>
                    <a:lnTo>
                      <a:pt x="1994" y="2528"/>
                    </a:lnTo>
                    <a:lnTo>
                      <a:pt x="2031" y="2560"/>
                    </a:lnTo>
                    <a:lnTo>
                      <a:pt x="2106" y="2625"/>
                    </a:lnTo>
                    <a:lnTo>
                      <a:pt x="2179" y="2692"/>
                    </a:lnTo>
                    <a:lnTo>
                      <a:pt x="2221" y="2730"/>
                    </a:lnTo>
                    <a:lnTo>
                      <a:pt x="2262" y="2767"/>
                    </a:lnTo>
                    <a:lnTo>
                      <a:pt x="2302" y="2802"/>
                    </a:lnTo>
                    <a:lnTo>
                      <a:pt x="2342" y="2835"/>
                    </a:lnTo>
                    <a:lnTo>
                      <a:pt x="2380" y="2865"/>
                    </a:lnTo>
                    <a:lnTo>
                      <a:pt x="2417" y="2891"/>
                    </a:lnTo>
                    <a:lnTo>
                      <a:pt x="2435" y="2903"/>
                    </a:lnTo>
                    <a:lnTo>
                      <a:pt x="2452" y="2913"/>
                    </a:lnTo>
                    <a:lnTo>
                      <a:pt x="2470" y="2923"/>
                    </a:lnTo>
                    <a:lnTo>
                      <a:pt x="2487" y="2931"/>
                    </a:lnTo>
                    <a:lnTo>
                      <a:pt x="2717" y="3034"/>
                    </a:lnTo>
                    <a:lnTo>
                      <a:pt x="2728" y="3015"/>
                    </a:lnTo>
                    <a:lnTo>
                      <a:pt x="2742" y="2984"/>
                    </a:lnTo>
                    <a:lnTo>
                      <a:pt x="2750" y="2965"/>
                    </a:lnTo>
                    <a:lnTo>
                      <a:pt x="2759" y="2944"/>
                    </a:lnTo>
                    <a:lnTo>
                      <a:pt x="2769" y="2920"/>
                    </a:lnTo>
                    <a:lnTo>
                      <a:pt x="2777" y="2894"/>
                    </a:lnTo>
                    <a:lnTo>
                      <a:pt x="2787" y="2863"/>
                    </a:lnTo>
                    <a:lnTo>
                      <a:pt x="2797" y="2830"/>
                    </a:lnTo>
                    <a:lnTo>
                      <a:pt x="2806" y="2795"/>
                    </a:lnTo>
                    <a:lnTo>
                      <a:pt x="2813" y="2757"/>
                    </a:lnTo>
                    <a:lnTo>
                      <a:pt x="2820" y="2718"/>
                    </a:lnTo>
                    <a:lnTo>
                      <a:pt x="2826" y="2676"/>
                    </a:lnTo>
                    <a:lnTo>
                      <a:pt x="2830" y="2632"/>
                    </a:lnTo>
                    <a:lnTo>
                      <a:pt x="2834" y="2586"/>
                    </a:lnTo>
                    <a:lnTo>
                      <a:pt x="2835" y="2538"/>
                    </a:lnTo>
                    <a:lnTo>
                      <a:pt x="2834" y="2488"/>
                    </a:lnTo>
                    <a:lnTo>
                      <a:pt x="2831" y="2436"/>
                    </a:lnTo>
                    <a:lnTo>
                      <a:pt x="2826" y="2382"/>
                    </a:lnTo>
                    <a:lnTo>
                      <a:pt x="2823" y="2355"/>
                    </a:lnTo>
                    <a:lnTo>
                      <a:pt x="2820" y="2327"/>
                    </a:lnTo>
                    <a:lnTo>
                      <a:pt x="2814" y="2298"/>
                    </a:lnTo>
                    <a:lnTo>
                      <a:pt x="2809" y="2269"/>
                    </a:lnTo>
                    <a:lnTo>
                      <a:pt x="2803" y="2240"/>
                    </a:lnTo>
                    <a:lnTo>
                      <a:pt x="2797" y="2211"/>
                    </a:lnTo>
                    <a:lnTo>
                      <a:pt x="2789" y="2180"/>
                    </a:lnTo>
                    <a:lnTo>
                      <a:pt x="2781" y="2149"/>
                    </a:lnTo>
                    <a:lnTo>
                      <a:pt x="2762" y="2085"/>
                    </a:lnTo>
                    <a:lnTo>
                      <a:pt x="2742" y="2020"/>
                    </a:lnTo>
                    <a:lnTo>
                      <a:pt x="2720" y="1954"/>
                    </a:lnTo>
                    <a:lnTo>
                      <a:pt x="2697" y="1888"/>
                    </a:lnTo>
                    <a:lnTo>
                      <a:pt x="2672" y="1821"/>
                    </a:lnTo>
                    <a:lnTo>
                      <a:pt x="2645" y="1753"/>
                    </a:lnTo>
                    <a:lnTo>
                      <a:pt x="2617" y="1685"/>
                    </a:lnTo>
                    <a:lnTo>
                      <a:pt x="2586" y="1618"/>
                    </a:lnTo>
                    <a:lnTo>
                      <a:pt x="2554" y="1550"/>
                    </a:lnTo>
                    <a:lnTo>
                      <a:pt x="2520" y="1482"/>
                    </a:lnTo>
                    <a:lnTo>
                      <a:pt x="2486" y="1414"/>
                    </a:lnTo>
                    <a:lnTo>
                      <a:pt x="2449" y="1347"/>
                    </a:lnTo>
                    <a:lnTo>
                      <a:pt x="2410" y="1280"/>
                    </a:lnTo>
                    <a:lnTo>
                      <a:pt x="2370" y="1214"/>
                    </a:lnTo>
                    <a:lnTo>
                      <a:pt x="2329" y="1150"/>
                    </a:lnTo>
                    <a:lnTo>
                      <a:pt x="2285" y="1085"/>
                    </a:lnTo>
                    <a:lnTo>
                      <a:pt x="2241" y="1021"/>
                    </a:lnTo>
                    <a:lnTo>
                      <a:pt x="2193" y="959"/>
                    </a:lnTo>
                    <a:lnTo>
                      <a:pt x="2146" y="897"/>
                    </a:lnTo>
                    <a:lnTo>
                      <a:pt x="2095" y="837"/>
                    </a:lnTo>
                    <a:lnTo>
                      <a:pt x="2043" y="778"/>
                    </a:lnTo>
                    <a:lnTo>
                      <a:pt x="1990" y="721"/>
                    </a:lnTo>
                    <a:lnTo>
                      <a:pt x="1935" y="666"/>
                    </a:lnTo>
                    <a:lnTo>
                      <a:pt x="1879" y="613"/>
                    </a:lnTo>
                    <a:lnTo>
                      <a:pt x="1821" y="561"/>
                    </a:lnTo>
                    <a:lnTo>
                      <a:pt x="1760" y="512"/>
                    </a:lnTo>
                    <a:lnTo>
                      <a:pt x="1699" y="464"/>
                    </a:lnTo>
                    <a:lnTo>
                      <a:pt x="1635" y="420"/>
                    </a:lnTo>
                    <a:lnTo>
                      <a:pt x="1570" y="377"/>
                    </a:lnTo>
                    <a:lnTo>
                      <a:pt x="1503" y="337"/>
                    </a:lnTo>
                    <a:lnTo>
                      <a:pt x="1435" y="300"/>
                    </a:lnTo>
                    <a:lnTo>
                      <a:pt x="1365" y="265"/>
                    </a:lnTo>
                    <a:lnTo>
                      <a:pt x="1287" y="230"/>
                    </a:lnTo>
                    <a:lnTo>
                      <a:pt x="1213" y="199"/>
                    </a:lnTo>
                    <a:lnTo>
                      <a:pt x="1140" y="170"/>
                    </a:lnTo>
                    <a:lnTo>
                      <a:pt x="1071" y="145"/>
                    </a:lnTo>
                    <a:lnTo>
                      <a:pt x="1004" y="123"/>
                    </a:lnTo>
                    <a:lnTo>
                      <a:pt x="941" y="104"/>
                    </a:lnTo>
                    <a:lnTo>
                      <a:pt x="880" y="86"/>
                    </a:lnTo>
                    <a:lnTo>
                      <a:pt x="823" y="72"/>
                    </a:lnTo>
                    <a:lnTo>
                      <a:pt x="768" y="60"/>
                    </a:lnTo>
                    <a:lnTo>
                      <a:pt x="716" y="51"/>
                    </a:lnTo>
                    <a:lnTo>
                      <a:pt x="668" y="42"/>
                    </a:lnTo>
                    <a:lnTo>
                      <a:pt x="621" y="37"/>
                    </a:lnTo>
                    <a:lnTo>
                      <a:pt x="578" y="32"/>
                    </a:lnTo>
                    <a:lnTo>
                      <a:pt x="538" y="29"/>
                    </a:lnTo>
                    <a:lnTo>
                      <a:pt x="500" y="27"/>
                    </a:lnTo>
                    <a:lnTo>
                      <a:pt x="466" y="27"/>
                    </a:lnTo>
                    <a:lnTo>
                      <a:pt x="430" y="27"/>
                    </a:lnTo>
                    <a:lnTo>
                      <a:pt x="397" y="29"/>
                    </a:lnTo>
                    <a:lnTo>
                      <a:pt x="366" y="31"/>
                    </a:lnTo>
                    <a:lnTo>
                      <a:pt x="337" y="34"/>
                    </a:lnTo>
                    <a:lnTo>
                      <a:pt x="311" y="38"/>
                    </a:lnTo>
                    <a:lnTo>
                      <a:pt x="287" y="42"/>
                    </a:lnTo>
                    <a:lnTo>
                      <a:pt x="266" y="46"/>
                    </a:lnTo>
                    <a:lnTo>
                      <a:pt x="246" y="52"/>
                    </a:lnTo>
                    <a:lnTo>
                      <a:pt x="215" y="60"/>
                    </a:lnTo>
                    <a:lnTo>
                      <a:pt x="192" y="69"/>
                    </a:lnTo>
                    <a:lnTo>
                      <a:pt x="178" y="74"/>
                    </a:lnTo>
                    <a:lnTo>
                      <a:pt x="174" y="77"/>
                    </a:lnTo>
                    <a:lnTo>
                      <a:pt x="171" y="78"/>
                    </a:lnTo>
                    <a:lnTo>
                      <a:pt x="168" y="78"/>
                    </a:lnTo>
                    <a:lnTo>
                      <a:pt x="159" y="78"/>
                    </a:lnTo>
                    <a:lnTo>
                      <a:pt x="138" y="77"/>
                    </a:lnTo>
                    <a:lnTo>
                      <a:pt x="106" y="72"/>
                    </a:lnTo>
                    <a:lnTo>
                      <a:pt x="64" y="67"/>
                    </a:lnTo>
                    <a:lnTo>
                      <a:pt x="150" y="137"/>
                    </a:lnTo>
                    <a:lnTo>
                      <a:pt x="232" y="208"/>
                    </a:lnTo>
                    <a:lnTo>
                      <a:pt x="311" y="282"/>
                    </a:lnTo>
                    <a:lnTo>
                      <a:pt x="387" y="355"/>
                    </a:lnTo>
                    <a:lnTo>
                      <a:pt x="460" y="430"/>
                    </a:lnTo>
                    <a:lnTo>
                      <a:pt x="529" y="504"/>
                    </a:lnTo>
                    <a:lnTo>
                      <a:pt x="596" y="580"/>
                    </a:lnTo>
                    <a:lnTo>
                      <a:pt x="660" y="655"/>
                    </a:lnTo>
                    <a:lnTo>
                      <a:pt x="722" y="731"/>
                    </a:lnTo>
                    <a:lnTo>
                      <a:pt x="780" y="806"/>
                    </a:lnTo>
                    <a:lnTo>
                      <a:pt x="835" y="882"/>
                    </a:lnTo>
                    <a:lnTo>
                      <a:pt x="888" y="956"/>
                    </a:lnTo>
                    <a:lnTo>
                      <a:pt x="939" y="1031"/>
                    </a:lnTo>
                    <a:lnTo>
                      <a:pt x="986" y="1105"/>
                    </a:lnTo>
                    <a:lnTo>
                      <a:pt x="1031" y="1179"/>
                    </a:lnTo>
                    <a:lnTo>
                      <a:pt x="1075" y="1251"/>
                    </a:lnTo>
                    <a:lnTo>
                      <a:pt x="1115" y="1322"/>
                    </a:lnTo>
                    <a:lnTo>
                      <a:pt x="1153" y="1391"/>
                    </a:lnTo>
                    <a:lnTo>
                      <a:pt x="1189" y="1460"/>
                    </a:lnTo>
                    <a:lnTo>
                      <a:pt x="1224" y="1527"/>
                    </a:lnTo>
                    <a:lnTo>
                      <a:pt x="1255" y="1592"/>
                    </a:lnTo>
                    <a:lnTo>
                      <a:pt x="1285" y="1656"/>
                    </a:lnTo>
                    <a:lnTo>
                      <a:pt x="1313" y="1717"/>
                    </a:lnTo>
                    <a:lnTo>
                      <a:pt x="1339" y="1777"/>
                    </a:lnTo>
                    <a:lnTo>
                      <a:pt x="1363" y="1834"/>
                    </a:lnTo>
                    <a:lnTo>
                      <a:pt x="1386" y="1888"/>
                    </a:lnTo>
                    <a:lnTo>
                      <a:pt x="1406" y="1940"/>
                    </a:lnTo>
                    <a:lnTo>
                      <a:pt x="1426" y="1989"/>
                    </a:lnTo>
                    <a:lnTo>
                      <a:pt x="1459" y="2078"/>
                    </a:lnTo>
                    <a:lnTo>
                      <a:pt x="1487" y="2155"/>
                    </a:lnTo>
                    <a:lnTo>
                      <a:pt x="1509" y="2212"/>
                    </a:lnTo>
                    <a:lnTo>
                      <a:pt x="1527" y="2260"/>
                    </a:lnTo>
                    <a:lnTo>
                      <a:pt x="1536" y="2280"/>
                    </a:lnTo>
                    <a:lnTo>
                      <a:pt x="1542" y="2296"/>
                    </a:lnTo>
                    <a:lnTo>
                      <a:pt x="1549" y="2308"/>
                    </a:lnTo>
                    <a:lnTo>
                      <a:pt x="1554" y="2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13"/>
              <p:cNvSpPr>
                <a:spLocks/>
              </p:cNvSpPr>
              <p:nvPr userDrawn="1"/>
            </p:nvSpPr>
            <p:spPr bwMode="auto">
              <a:xfrm>
                <a:off x="779" y="3190"/>
                <a:ext cx="391" cy="723"/>
              </a:xfrm>
              <a:custGeom>
                <a:avLst/>
                <a:gdLst>
                  <a:gd name="T0" fmla="*/ 1153 w 1172"/>
                  <a:gd name="T1" fmla="*/ 2167 h 2168"/>
                  <a:gd name="T2" fmla="*/ 1147 w 1172"/>
                  <a:gd name="T3" fmla="*/ 2160 h 2168"/>
                  <a:gd name="T4" fmla="*/ 1145 w 1172"/>
                  <a:gd name="T5" fmla="*/ 2146 h 2168"/>
                  <a:gd name="T6" fmla="*/ 1144 w 1172"/>
                  <a:gd name="T7" fmla="*/ 2087 h 2168"/>
                  <a:gd name="T8" fmla="*/ 1139 w 1172"/>
                  <a:gd name="T9" fmla="*/ 1978 h 2168"/>
                  <a:gd name="T10" fmla="*/ 1129 w 1172"/>
                  <a:gd name="T11" fmla="*/ 1828 h 2168"/>
                  <a:gd name="T12" fmla="*/ 1112 w 1172"/>
                  <a:gd name="T13" fmla="*/ 1646 h 2168"/>
                  <a:gd name="T14" fmla="*/ 1094 w 1172"/>
                  <a:gd name="T15" fmla="*/ 1492 h 2168"/>
                  <a:gd name="T16" fmla="*/ 1077 w 1172"/>
                  <a:gd name="T17" fmla="*/ 1384 h 2168"/>
                  <a:gd name="T18" fmla="*/ 1059 w 1172"/>
                  <a:gd name="T19" fmla="*/ 1272 h 2168"/>
                  <a:gd name="T20" fmla="*/ 1036 w 1172"/>
                  <a:gd name="T21" fmla="*/ 1159 h 2168"/>
                  <a:gd name="T22" fmla="*/ 1010 w 1172"/>
                  <a:gd name="T23" fmla="*/ 1043 h 2168"/>
                  <a:gd name="T24" fmla="*/ 981 w 1172"/>
                  <a:gd name="T25" fmla="*/ 927 h 2168"/>
                  <a:gd name="T26" fmla="*/ 947 w 1172"/>
                  <a:gd name="T27" fmla="*/ 812 h 2168"/>
                  <a:gd name="T28" fmla="*/ 901 w 1172"/>
                  <a:gd name="T29" fmla="*/ 706 h 2168"/>
                  <a:gd name="T30" fmla="*/ 844 w 1172"/>
                  <a:gd name="T31" fmla="*/ 609 h 2168"/>
                  <a:gd name="T32" fmla="*/ 778 w 1172"/>
                  <a:gd name="T33" fmla="*/ 521 h 2168"/>
                  <a:gd name="T34" fmla="*/ 705 w 1172"/>
                  <a:gd name="T35" fmla="*/ 441 h 2168"/>
                  <a:gd name="T36" fmla="*/ 627 w 1172"/>
                  <a:gd name="T37" fmla="*/ 367 h 2168"/>
                  <a:gd name="T38" fmla="*/ 546 w 1172"/>
                  <a:gd name="T39" fmla="*/ 303 h 2168"/>
                  <a:gd name="T40" fmla="*/ 465 w 1172"/>
                  <a:gd name="T41" fmla="*/ 245 h 2168"/>
                  <a:gd name="T42" fmla="*/ 384 w 1172"/>
                  <a:gd name="T43" fmla="*/ 196 h 2168"/>
                  <a:gd name="T44" fmla="*/ 306 w 1172"/>
                  <a:gd name="T45" fmla="*/ 153 h 2168"/>
                  <a:gd name="T46" fmla="*/ 233 w 1172"/>
                  <a:gd name="T47" fmla="*/ 116 h 2168"/>
                  <a:gd name="T48" fmla="*/ 167 w 1172"/>
                  <a:gd name="T49" fmla="*/ 86 h 2168"/>
                  <a:gd name="T50" fmla="*/ 85 w 1172"/>
                  <a:gd name="T51" fmla="*/ 53 h 2168"/>
                  <a:gd name="T52" fmla="*/ 19 w 1172"/>
                  <a:gd name="T53" fmla="*/ 31 h 2168"/>
                  <a:gd name="T54" fmla="*/ 5 w 1172"/>
                  <a:gd name="T55" fmla="*/ 25 h 2168"/>
                  <a:gd name="T56" fmla="*/ 0 w 1172"/>
                  <a:gd name="T57" fmla="*/ 16 h 2168"/>
                  <a:gd name="T58" fmla="*/ 3 w 1172"/>
                  <a:gd name="T59" fmla="*/ 6 h 2168"/>
                  <a:gd name="T60" fmla="*/ 12 w 1172"/>
                  <a:gd name="T61" fmla="*/ 0 h 2168"/>
                  <a:gd name="T62" fmla="*/ 27 w 1172"/>
                  <a:gd name="T63" fmla="*/ 5 h 2168"/>
                  <a:gd name="T64" fmla="*/ 95 w 1172"/>
                  <a:gd name="T65" fmla="*/ 27 h 2168"/>
                  <a:gd name="T66" fmla="*/ 177 w 1172"/>
                  <a:gd name="T67" fmla="*/ 61 h 2168"/>
                  <a:gd name="T68" fmla="*/ 245 w 1172"/>
                  <a:gd name="T69" fmla="*/ 92 h 2168"/>
                  <a:gd name="T70" fmla="*/ 319 w 1172"/>
                  <a:gd name="T71" fmla="*/ 129 h 2168"/>
                  <a:gd name="T72" fmla="*/ 398 w 1172"/>
                  <a:gd name="T73" fmla="*/ 173 h 2168"/>
                  <a:gd name="T74" fmla="*/ 480 w 1172"/>
                  <a:gd name="T75" fmla="*/ 224 h 2168"/>
                  <a:gd name="T76" fmla="*/ 565 w 1172"/>
                  <a:gd name="T77" fmla="*/ 282 h 2168"/>
                  <a:gd name="T78" fmla="*/ 647 w 1172"/>
                  <a:gd name="T79" fmla="*/ 349 h 2168"/>
                  <a:gd name="T80" fmla="*/ 727 w 1172"/>
                  <a:gd name="T81" fmla="*/ 424 h 2168"/>
                  <a:gd name="T82" fmla="*/ 800 w 1172"/>
                  <a:gd name="T83" fmla="*/ 506 h 2168"/>
                  <a:gd name="T84" fmla="*/ 868 w 1172"/>
                  <a:gd name="T85" fmla="*/ 596 h 2168"/>
                  <a:gd name="T86" fmla="*/ 925 w 1172"/>
                  <a:gd name="T87" fmla="*/ 696 h 2168"/>
                  <a:gd name="T88" fmla="*/ 973 w 1172"/>
                  <a:gd name="T89" fmla="*/ 804 h 2168"/>
                  <a:gd name="T90" fmla="*/ 1007 w 1172"/>
                  <a:gd name="T91" fmla="*/ 919 h 2168"/>
                  <a:gd name="T92" fmla="*/ 1037 w 1172"/>
                  <a:gd name="T93" fmla="*/ 1037 h 2168"/>
                  <a:gd name="T94" fmla="*/ 1062 w 1172"/>
                  <a:gd name="T95" fmla="*/ 1152 h 2168"/>
                  <a:gd name="T96" fmla="*/ 1085 w 1172"/>
                  <a:gd name="T97" fmla="*/ 1268 h 2168"/>
                  <a:gd name="T98" fmla="*/ 1104 w 1172"/>
                  <a:gd name="T99" fmla="*/ 1380 h 2168"/>
                  <a:gd name="T100" fmla="*/ 1121 w 1172"/>
                  <a:gd name="T101" fmla="*/ 1489 h 2168"/>
                  <a:gd name="T102" fmla="*/ 1139 w 1172"/>
                  <a:gd name="T103" fmla="*/ 1642 h 2168"/>
                  <a:gd name="T104" fmla="*/ 1156 w 1172"/>
                  <a:gd name="T105" fmla="*/ 1826 h 2168"/>
                  <a:gd name="T106" fmla="*/ 1166 w 1172"/>
                  <a:gd name="T107" fmla="*/ 1977 h 2168"/>
                  <a:gd name="T108" fmla="*/ 1171 w 1172"/>
                  <a:gd name="T109" fmla="*/ 2086 h 2168"/>
                  <a:gd name="T110" fmla="*/ 1172 w 1172"/>
                  <a:gd name="T111" fmla="*/ 2146 h 2168"/>
                  <a:gd name="T112" fmla="*/ 1171 w 1172"/>
                  <a:gd name="T113" fmla="*/ 2160 h 2168"/>
                  <a:gd name="T114" fmla="*/ 1164 w 1172"/>
                  <a:gd name="T115" fmla="*/ 2167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2" h="2168">
                    <a:moveTo>
                      <a:pt x="1158" y="2168"/>
                    </a:moveTo>
                    <a:lnTo>
                      <a:pt x="1153" y="2167"/>
                    </a:lnTo>
                    <a:lnTo>
                      <a:pt x="1149" y="2165"/>
                    </a:lnTo>
                    <a:lnTo>
                      <a:pt x="1147" y="2160"/>
                    </a:lnTo>
                    <a:lnTo>
                      <a:pt x="1145" y="2155"/>
                    </a:lnTo>
                    <a:lnTo>
                      <a:pt x="1145" y="2146"/>
                    </a:lnTo>
                    <a:lnTo>
                      <a:pt x="1144" y="2123"/>
                    </a:lnTo>
                    <a:lnTo>
                      <a:pt x="1144" y="2087"/>
                    </a:lnTo>
                    <a:lnTo>
                      <a:pt x="1142" y="2037"/>
                    </a:lnTo>
                    <a:lnTo>
                      <a:pt x="1139" y="1978"/>
                    </a:lnTo>
                    <a:lnTo>
                      <a:pt x="1136" y="1908"/>
                    </a:lnTo>
                    <a:lnTo>
                      <a:pt x="1129" y="1828"/>
                    </a:lnTo>
                    <a:lnTo>
                      <a:pt x="1122" y="1741"/>
                    </a:lnTo>
                    <a:lnTo>
                      <a:pt x="1112" y="1646"/>
                    </a:lnTo>
                    <a:lnTo>
                      <a:pt x="1100" y="1545"/>
                    </a:lnTo>
                    <a:lnTo>
                      <a:pt x="1094" y="1492"/>
                    </a:lnTo>
                    <a:lnTo>
                      <a:pt x="1086" y="1438"/>
                    </a:lnTo>
                    <a:lnTo>
                      <a:pt x="1077" y="1384"/>
                    </a:lnTo>
                    <a:lnTo>
                      <a:pt x="1069" y="1329"/>
                    </a:lnTo>
                    <a:lnTo>
                      <a:pt x="1059" y="1272"/>
                    </a:lnTo>
                    <a:lnTo>
                      <a:pt x="1048" y="1216"/>
                    </a:lnTo>
                    <a:lnTo>
                      <a:pt x="1036" y="1159"/>
                    </a:lnTo>
                    <a:lnTo>
                      <a:pt x="1025" y="1100"/>
                    </a:lnTo>
                    <a:lnTo>
                      <a:pt x="1010" y="1043"/>
                    </a:lnTo>
                    <a:lnTo>
                      <a:pt x="996" y="985"/>
                    </a:lnTo>
                    <a:lnTo>
                      <a:pt x="981" y="927"/>
                    </a:lnTo>
                    <a:lnTo>
                      <a:pt x="965" y="868"/>
                    </a:lnTo>
                    <a:lnTo>
                      <a:pt x="947" y="812"/>
                    </a:lnTo>
                    <a:lnTo>
                      <a:pt x="925" y="758"/>
                    </a:lnTo>
                    <a:lnTo>
                      <a:pt x="901" y="706"/>
                    </a:lnTo>
                    <a:lnTo>
                      <a:pt x="873" y="657"/>
                    </a:lnTo>
                    <a:lnTo>
                      <a:pt x="844" y="609"/>
                    </a:lnTo>
                    <a:lnTo>
                      <a:pt x="812" y="564"/>
                    </a:lnTo>
                    <a:lnTo>
                      <a:pt x="778" y="521"/>
                    </a:lnTo>
                    <a:lnTo>
                      <a:pt x="743" y="480"/>
                    </a:lnTo>
                    <a:lnTo>
                      <a:pt x="705" y="441"/>
                    </a:lnTo>
                    <a:lnTo>
                      <a:pt x="667" y="403"/>
                    </a:lnTo>
                    <a:lnTo>
                      <a:pt x="627" y="367"/>
                    </a:lnTo>
                    <a:lnTo>
                      <a:pt x="587" y="334"/>
                    </a:lnTo>
                    <a:lnTo>
                      <a:pt x="546" y="303"/>
                    </a:lnTo>
                    <a:lnTo>
                      <a:pt x="506" y="274"/>
                    </a:lnTo>
                    <a:lnTo>
                      <a:pt x="465" y="245"/>
                    </a:lnTo>
                    <a:lnTo>
                      <a:pt x="424" y="220"/>
                    </a:lnTo>
                    <a:lnTo>
                      <a:pt x="384" y="196"/>
                    </a:lnTo>
                    <a:lnTo>
                      <a:pt x="344" y="173"/>
                    </a:lnTo>
                    <a:lnTo>
                      <a:pt x="306" y="153"/>
                    </a:lnTo>
                    <a:lnTo>
                      <a:pt x="269" y="133"/>
                    </a:lnTo>
                    <a:lnTo>
                      <a:pt x="233" y="116"/>
                    </a:lnTo>
                    <a:lnTo>
                      <a:pt x="200" y="100"/>
                    </a:lnTo>
                    <a:lnTo>
                      <a:pt x="167" y="86"/>
                    </a:lnTo>
                    <a:lnTo>
                      <a:pt x="137" y="74"/>
                    </a:lnTo>
                    <a:lnTo>
                      <a:pt x="85" y="53"/>
                    </a:lnTo>
                    <a:lnTo>
                      <a:pt x="45" y="39"/>
                    </a:lnTo>
                    <a:lnTo>
                      <a:pt x="19" y="31"/>
                    </a:lnTo>
                    <a:lnTo>
                      <a:pt x="10" y="27"/>
                    </a:lnTo>
                    <a:lnTo>
                      <a:pt x="5" y="25"/>
                    </a:lnTo>
                    <a:lnTo>
                      <a:pt x="1" y="21"/>
                    </a:lnTo>
                    <a:lnTo>
                      <a:pt x="0" y="16"/>
                    </a:lnTo>
                    <a:lnTo>
                      <a:pt x="0" y="10"/>
                    </a:lnTo>
                    <a:lnTo>
                      <a:pt x="3" y="6"/>
                    </a:lnTo>
                    <a:lnTo>
                      <a:pt x="6" y="3"/>
                    </a:lnTo>
                    <a:lnTo>
                      <a:pt x="12" y="0"/>
                    </a:lnTo>
                    <a:lnTo>
                      <a:pt x="17" y="2"/>
                    </a:lnTo>
                    <a:lnTo>
                      <a:pt x="27" y="5"/>
                    </a:lnTo>
                    <a:lnTo>
                      <a:pt x="54" y="13"/>
                    </a:lnTo>
                    <a:lnTo>
                      <a:pt x="95" y="27"/>
                    </a:lnTo>
                    <a:lnTo>
                      <a:pt x="147" y="49"/>
                    </a:lnTo>
                    <a:lnTo>
                      <a:pt x="177" y="61"/>
                    </a:lnTo>
                    <a:lnTo>
                      <a:pt x="210" y="76"/>
                    </a:lnTo>
                    <a:lnTo>
                      <a:pt x="245" y="92"/>
                    </a:lnTo>
                    <a:lnTo>
                      <a:pt x="281" y="109"/>
                    </a:lnTo>
                    <a:lnTo>
                      <a:pt x="319" y="129"/>
                    </a:lnTo>
                    <a:lnTo>
                      <a:pt x="358" y="150"/>
                    </a:lnTo>
                    <a:lnTo>
                      <a:pt x="398" y="173"/>
                    </a:lnTo>
                    <a:lnTo>
                      <a:pt x="439" y="198"/>
                    </a:lnTo>
                    <a:lnTo>
                      <a:pt x="480" y="224"/>
                    </a:lnTo>
                    <a:lnTo>
                      <a:pt x="522" y="252"/>
                    </a:lnTo>
                    <a:lnTo>
                      <a:pt x="565" y="282"/>
                    </a:lnTo>
                    <a:lnTo>
                      <a:pt x="606" y="315"/>
                    </a:lnTo>
                    <a:lnTo>
                      <a:pt x="647" y="349"/>
                    </a:lnTo>
                    <a:lnTo>
                      <a:pt x="687" y="385"/>
                    </a:lnTo>
                    <a:lnTo>
                      <a:pt x="727" y="424"/>
                    </a:lnTo>
                    <a:lnTo>
                      <a:pt x="764" y="464"/>
                    </a:lnTo>
                    <a:lnTo>
                      <a:pt x="800" y="506"/>
                    </a:lnTo>
                    <a:lnTo>
                      <a:pt x="834" y="550"/>
                    </a:lnTo>
                    <a:lnTo>
                      <a:pt x="868" y="596"/>
                    </a:lnTo>
                    <a:lnTo>
                      <a:pt x="898" y="645"/>
                    </a:lnTo>
                    <a:lnTo>
                      <a:pt x="925" y="696"/>
                    </a:lnTo>
                    <a:lnTo>
                      <a:pt x="951" y="749"/>
                    </a:lnTo>
                    <a:lnTo>
                      <a:pt x="973" y="804"/>
                    </a:lnTo>
                    <a:lnTo>
                      <a:pt x="991" y="861"/>
                    </a:lnTo>
                    <a:lnTo>
                      <a:pt x="1007" y="919"/>
                    </a:lnTo>
                    <a:lnTo>
                      <a:pt x="1022" y="977"/>
                    </a:lnTo>
                    <a:lnTo>
                      <a:pt x="1037" y="1037"/>
                    </a:lnTo>
                    <a:lnTo>
                      <a:pt x="1050" y="1095"/>
                    </a:lnTo>
                    <a:lnTo>
                      <a:pt x="1062" y="1152"/>
                    </a:lnTo>
                    <a:lnTo>
                      <a:pt x="1074" y="1211"/>
                    </a:lnTo>
                    <a:lnTo>
                      <a:pt x="1085" y="1268"/>
                    </a:lnTo>
                    <a:lnTo>
                      <a:pt x="1095" y="1324"/>
                    </a:lnTo>
                    <a:lnTo>
                      <a:pt x="1104" y="1380"/>
                    </a:lnTo>
                    <a:lnTo>
                      <a:pt x="1113" y="1435"/>
                    </a:lnTo>
                    <a:lnTo>
                      <a:pt x="1121" y="1489"/>
                    </a:lnTo>
                    <a:lnTo>
                      <a:pt x="1127" y="1541"/>
                    </a:lnTo>
                    <a:lnTo>
                      <a:pt x="1139" y="1642"/>
                    </a:lnTo>
                    <a:lnTo>
                      <a:pt x="1149" y="1738"/>
                    </a:lnTo>
                    <a:lnTo>
                      <a:pt x="1156" y="1826"/>
                    </a:lnTo>
                    <a:lnTo>
                      <a:pt x="1163" y="1906"/>
                    </a:lnTo>
                    <a:lnTo>
                      <a:pt x="1166" y="1977"/>
                    </a:lnTo>
                    <a:lnTo>
                      <a:pt x="1169" y="2037"/>
                    </a:lnTo>
                    <a:lnTo>
                      <a:pt x="1171" y="2086"/>
                    </a:lnTo>
                    <a:lnTo>
                      <a:pt x="1171" y="2123"/>
                    </a:lnTo>
                    <a:lnTo>
                      <a:pt x="1172" y="2146"/>
                    </a:lnTo>
                    <a:lnTo>
                      <a:pt x="1172" y="2155"/>
                    </a:lnTo>
                    <a:lnTo>
                      <a:pt x="1171" y="2160"/>
                    </a:lnTo>
                    <a:lnTo>
                      <a:pt x="1168" y="2165"/>
                    </a:lnTo>
                    <a:lnTo>
                      <a:pt x="1164" y="2167"/>
                    </a:lnTo>
                    <a:lnTo>
                      <a:pt x="1158" y="2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14"/>
              <p:cNvSpPr>
                <a:spLocks/>
              </p:cNvSpPr>
              <p:nvPr userDrawn="1"/>
            </p:nvSpPr>
            <p:spPr bwMode="auto">
              <a:xfrm>
                <a:off x="910" y="3040"/>
                <a:ext cx="359" cy="767"/>
              </a:xfrm>
              <a:custGeom>
                <a:avLst/>
                <a:gdLst>
                  <a:gd name="T0" fmla="*/ 927 w 1077"/>
                  <a:gd name="T1" fmla="*/ 2291 h 2301"/>
                  <a:gd name="T2" fmla="*/ 840 w 1077"/>
                  <a:gd name="T3" fmla="*/ 2181 h 2301"/>
                  <a:gd name="T4" fmla="*/ 771 w 1077"/>
                  <a:gd name="T5" fmla="*/ 2066 h 2301"/>
                  <a:gd name="T6" fmla="*/ 708 w 1077"/>
                  <a:gd name="T7" fmla="*/ 1919 h 2301"/>
                  <a:gd name="T8" fmla="*/ 670 w 1077"/>
                  <a:gd name="T9" fmla="*/ 1745 h 2301"/>
                  <a:gd name="T10" fmla="*/ 674 w 1077"/>
                  <a:gd name="T11" fmla="*/ 1548 h 2301"/>
                  <a:gd name="T12" fmla="*/ 734 w 1077"/>
                  <a:gd name="T13" fmla="*/ 1335 h 2301"/>
                  <a:gd name="T14" fmla="*/ 851 w 1077"/>
                  <a:gd name="T15" fmla="*/ 1133 h 2301"/>
                  <a:gd name="T16" fmla="*/ 930 w 1077"/>
                  <a:gd name="T17" fmla="*/ 1002 h 2301"/>
                  <a:gd name="T18" fmla="*/ 988 w 1077"/>
                  <a:gd name="T19" fmla="*/ 879 h 2301"/>
                  <a:gd name="T20" fmla="*/ 1028 w 1077"/>
                  <a:gd name="T21" fmla="*/ 764 h 2301"/>
                  <a:gd name="T22" fmla="*/ 1047 w 1077"/>
                  <a:gd name="T23" fmla="*/ 656 h 2301"/>
                  <a:gd name="T24" fmla="*/ 1048 w 1077"/>
                  <a:gd name="T25" fmla="*/ 554 h 2301"/>
                  <a:gd name="T26" fmla="*/ 1030 w 1077"/>
                  <a:gd name="T27" fmla="*/ 460 h 2301"/>
                  <a:gd name="T28" fmla="*/ 991 w 1077"/>
                  <a:gd name="T29" fmla="*/ 374 h 2301"/>
                  <a:gd name="T30" fmla="*/ 926 w 1077"/>
                  <a:gd name="T31" fmla="*/ 288 h 2301"/>
                  <a:gd name="T32" fmla="*/ 815 w 1077"/>
                  <a:gd name="T33" fmla="*/ 195 h 2301"/>
                  <a:gd name="T34" fmla="*/ 683 w 1077"/>
                  <a:gd name="T35" fmla="*/ 125 h 2301"/>
                  <a:gd name="T36" fmla="*/ 541 w 1077"/>
                  <a:gd name="T37" fmla="*/ 76 h 2301"/>
                  <a:gd name="T38" fmla="*/ 398 w 1077"/>
                  <a:gd name="T39" fmla="*/ 46 h 2301"/>
                  <a:gd name="T40" fmla="*/ 264 w 1077"/>
                  <a:gd name="T41" fmla="*/ 32 h 2301"/>
                  <a:gd name="T42" fmla="*/ 149 w 1077"/>
                  <a:gd name="T43" fmla="*/ 28 h 2301"/>
                  <a:gd name="T44" fmla="*/ 60 w 1077"/>
                  <a:gd name="T45" fmla="*/ 37 h 2301"/>
                  <a:gd name="T46" fmla="*/ 14 w 1077"/>
                  <a:gd name="T47" fmla="*/ 49 h 2301"/>
                  <a:gd name="T48" fmla="*/ 0 w 1077"/>
                  <a:gd name="T49" fmla="*/ 35 h 2301"/>
                  <a:gd name="T50" fmla="*/ 23 w 1077"/>
                  <a:gd name="T51" fmla="*/ 18 h 2301"/>
                  <a:gd name="T52" fmla="*/ 101 w 1077"/>
                  <a:gd name="T53" fmla="*/ 4 h 2301"/>
                  <a:gd name="T54" fmla="*/ 211 w 1077"/>
                  <a:gd name="T55" fmla="*/ 1 h 2301"/>
                  <a:gd name="T56" fmla="*/ 343 w 1077"/>
                  <a:gd name="T57" fmla="*/ 11 h 2301"/>
                  <a:gd name="T58" fmla="*/ 487 w 1077"/>
                  <a:gd name="T59" fmla="*/ 36 h 2301"/>
                  <a:gd name="T60" fmla="*/ 633 w 1077"/>
                  <a:gd name="T61" fmla="*/ 78 h 2301"/>
                  <a:gd name="T62" fmla="*/ 773 w 1077"/>
                  <a:gd name="T63" fmla="*/ 140 h 2301"/>
                  <a:gd name="T64" fmla="*/ 895 w 1077"/>
                  <a:gd name="T65" fmla="*/ 221 h 2301"/>
                  <a:gd name="T66" fmla="*/ 987 w 1077"/>
                  <a:gd name="T67" fmla="*/ 318 h 2301"/>
                  <a:gd name="T68" fmla="*/ 1038 w 1077"/>
                  <a:gd name="T69" fmla="*/ 404 h 2301"/>
                  <a:gd name="T70" fmla="*/ 1068 w 1077"/>
                  <a:gd name="T71" fmla="*/ 498 h 2301"/>
                  <a:gd name="T72" fmla="*/ 1077 w 1077"/>
                  <a:gd name="T73" fmla="*/ 599 h 2301"/>
                  <a:gd name="T74" fmla="*/ 1068 w 1077"/>
                  <a:gd name="T75" fmla="*/ 709 h 2301"/>
                  <a:gd name="T76" fmla="*/ 1038 w 1077"/>
                  <a:gd name="T77" fmla="*/ 825 h 2301"/>
                  <a:gd name="T78" fmla="*/ 987 w 1077"/>
                  <a:gd name="T79" fmla="*/ 948 h 2301"/>
                  <a:gd name="T80" fmla="*/ 917 w 1077"/>
                  <a:gd name="T81" fmla="*/ 1079 h 2301"/>
                  <a:gd name="T82" fmla="*/ 815 w 1077"/>
                  <a:gd name="T83" fmla="*/ 1236 h 2301"/>
                  <a:gd name="T84" fmla="*/ 722 w 1077"/>
                  <a:gd name="T85" fmla="*/ 1450 h 2301"/>
                  <a:gd name="T86" fmla="*/ 693 w 1077"/>
                  <a:gd name="T87" fmla="*/ 1650 h 2301"/>
                  <a:gd name="T88" fmla="*/ 713 w 1077"/>
                  <a:gd name="T89" fmla="*/ 1830 h 2301"/>
                  <a:gd name="T90" fmla="*/ 763 w 1077"/>
                  <a:gd name="T91" fmla="*/ 1986 h 2301"/>
                  <a:gd name="T92" fmla="*/ 829 w 1077"/>
                  <a:gd name="T93" fmla="*/ 2114 h 2301"/>
                  <a:gd name="T94" fmla="*/ 907 w 1077"/>
                  <a:gd name="T95" fmla="*/ 2225 h 2301"/>
                  <a:gd name="T96" fmla="*/ 957 w 1077"/>
                  <a:gd name="T97" fmla="*/ 2282 h 2301"/>
                  <a:gd name="T98" fmla="*/ 949 w 1077"/>
                  <a:gd name="T99" fmla="*/ 2300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7" h="2301">
                    <a:moveTo>
                      <a:pt x="944" y="2301"/>
                    </a:moveTo>
                    <a:lnTo>
                      <a:pt x="939" y="2301"/>
                    </a:lnTo>
                    <a:lnTo>
                      <a:pt x="934" y="2298"/>
                    </a:lnTo>
                    <a:lnTo>
                      <a:pt x="927" y="2291"/>
                    </a:lnTo>
                    <a:lnTo>
                      <a:pt x="911" y="2273"/>
                    </a:lnTo>
                    <a:lnTo>
                      <a:pt x="886" y="2244"/>
                    </a:lnTo>
                    <a:lnTo>
                      <a:pt x="857" y="2205"/>
                    </a:lnTo>
                    <a:lnTo>
                      <a:pt x="840" y="2181"/>
                    </a:lnTo>
                    <a:lnTo>
                      <a:pt x="824" y="2155"/>
                    </a:lnTo>
                    <a:lnTo>
                      <a:pt x="805" y="2128"/>
                    </a:lnTo>
                    <a:lnTo>
                      <a:pt x="788" y="2098"/>
                    </a:lnTo>
                    <a:lnTo>
                      <a:pt x="771" y="2066"/>
                    </a:lnTo>
                    <a:lnTo>
                      <a:pt x="755" y="2032"/>
                    </a:lnTo>
                    <a:lnTo>
                      <a:pt x="738" y="1996"/>
                    </a:lnTo>
                    <a:lnTo>
                      <a:pt x="722" y="1959"/>
                    </a:lnTo>
                    <a:lnTo>
                      <a:pt x="708" y="1919"/>
                    </a:lnTo>
                    <a:lnTo>
                      <a:pt x="696" y="1878"/>
                    </a:lnTo>
                    <a:lnTo>
                      <a:pt x="686" y="1835"/>
                    </a:lnTo>
                    <a:lnTo>
                      <a:pt x="677" y="1790"/>
                    </a:lnTo>
                    <a:lnTo>
                      <a:pt x="670" y="1745"/>
                    </a:lnTo>
                    <a:lnTo>
                      <a:pt x="667" y="1697"/>
                    </a:lnTo>
                    <a:lnTo>
                      <a:pt x="666" y="1649"/>
                    </a:lnTo>
                    <a:lnTo>
                      <a:pt x="668" y="1599"/>
                    </a:lnTo>
                    <a:lnTo>
                      <a:pt x="674" y="1548"/>
                    </a:lnTo>
                    <a:lnTo>
                      <a:pt x="682" y="1497"/>
                    </a:lnTo>
                    <a:lnTo>
                      <a:pt x="695" y="1444"/>
                    </a:lnTo>
                    <a:lnTo>
                      <a:pt x="713" y="1390"/>
                    </a:lnTo>
                    <a:lnTo>
                      <a:pt x="734" y="1335"/>
                    </a:lnTo>
                    <a:lnTo>
                      <a:pt x="761" y="1280"/>
                    </a:lnTo>
                    <a:lnTo>
                      <a:pt x="792" y="1222"/>
                    </a:lnTo>
                    <a:lnTo>
                      <a:pt x="828" y="1166"/>
                    </a:lnTo>
                    <a:lnTo>
                      <a:pt x="851" y="1133"/>
                    </a:lnTo>
                    <a:lnTo>
                      <a:pt x="872" y="1099"/>
                    </a:lnTo>
                    <a:lnTo>
                      <a:pt x="893" y="1067"/>
                    </a:lnTo>
                    <a:lnTo>
                      <a:pt x="911" y="1035"/>
                    </a:lnTo>
                    <a:lnTo>
                      <a:pt x="930" y="1002"/>
                    </a:lnTo>
                    <a:lnTo>
                      <a:pt x="946" y="971"/>
                    </a:lnTo>
                    <a:lnTo>
                      <a:pt x="961" y="940"/>
                    </a:lnTo>
                    <a:lnTo>
                      <a:pt x="975" y="909"/>
                    </a:lnTo>
                    <a:lnTo>
                      <a:pt x="988" y="879"/>
                    </a:lnTo>
                    <a:lnTo>
                      <a:pt x="1000" y="850"/>
                    </a:lnTo>
                    <a:lnTo>
                      <a:pt x="1011" y="821"/>
                    </a:lnTo>
                    <a:lnTo>
                      <a:pt x="1019" y="792"/>
                    </a:lnTo>
                    <a:lnTo>
                      <a:pt x="1028" y="764"/>
                    </a:lnTo>
                    <a:lnTo>
                      <a:pt x="1034" y="735"/>
                    </a:lnTo>
                    <a:lnTo>
                      <a:pt x="1040" y="709"/>
                    </a:lnTo>
                    <a:lnTo>
                      <a:pt x="1044" y="682"/>
                    </a:lnTo>
                    <a:lnTo>
                      <a:pt x="1047" y="656"/>
                    </a:lnTo>
                    <a:lnTo>
                      <a:pt x="1049" y="630"/>
                    </a:lnTo>
                    <a:lnTo>
                      <a:pt x="1051" y="604"/>
                    </a:lnTo>
                    <a:lnTo>
                      <a:pt x="1049" y="579"/>
                    </a:lnTo>
                    <a:lnTo>
                      <a:pt x="1048" y="554"/>
                    </a:lnTo>
                    <a:lnTo>
                      <a:pt x="1045" y="529"/>
                    </a:lnTo>
                    <a:lnTo>
                      <a:pt x="1041" y="507"/>
                    </a:lnTo>
                    <a:lnTo>
                      <a:pt x="1036" y="483"/>
                    </a:lnTo>
                    <a:lnTo>
                      <a:pt x="1030" y="460"/>
                    </a:lnTo>
                    <a:lnTo>
                      <a:pt x="1022" y="438"/>
                    </a:lnTo>
                    <a:lnTo>
                      <a:pt x="1013" y="416"/>
                    </a:lnTo>
                    <a:lnTo>
                      <a:pt x="1003" y="394"/>
                    </a:lnTo>
                    <a:lnTo>
                      <a:pt x="991" y="374"/>
                    </a:lnTo>
                    <a:lnTo>
                      <a:pt x="979" y="353"/>
                    </a:lnTo>
                    <a:lnTo>
                      <a:pt x="965" y="334"/>
                    </a:lnTo>
                    <a:lnTo>
                      <a:pt x="950" y="315"/>
                    </a:lnTo>
                    <a:lnTo>
                      <a:pt x="926" y="288"/>
                    </a:lnTo>
                    <a:lnTo>
                      <a:pt x="901" y="262"/>
                    </a:lnTo>
                    <a:lnTo>
                      <a:pt x="873" y="238"/>
                    </a:lnTo>
                    <a:lnTo>
                      <a:pt x="845" y="215"/>
                    </a:lnTo>
                    <a:lnTo>
                      <a:pt x="815" y="195"/>
                    </a:lnTo>
                    <a:lnTo>
                      <a:pt x="784" y="175"/>
                    </a:lnTo>
                    <a:lnTo>
                      <a:pt x="751" y="157"/>
                    </a:lnTo>
                    <a:lnTo>
                      <a:pt x="718" y="140"/>
                    </a:lnTo>
                    <a:lnTo>
                      <a:pt x="683" y="125"/>
                    </a:lnTo>
                    <a:lnTo>
                      <a:pt x="649" y="110"/>
                    </a:lnTo>
                    <a:lnTo>
                      <a:pt x="613" y="99"/>
                    </a:lnTo>
                    <a:lnTo>
                      <a:pt x="578" y="87"/>
                    </a:lnTo>
                    <a:lnTo>
                      <a:pt x="541" y="76"/>
                    </a:lnTo>
                    <a:lnTo>
                      <a:pt x="505" y="67"/>
                    </a:lnTo>
                    <a:lnTo>
                      <a:pt x="470" y="59"/>
                    </a:lnTo>
                    <a:lnTo>
                      <a:pt x="434" y="52"/>
                    </a:lnTo>
                    <a:lnTo>
                      <a:pt x="398" y="46"/>
                    </a:lnTo>
                    <a:lnTo>
                      <a:pt x="364" y="41"/>
                    </a:lnTo>
                    <a:lnTo>
                      <a:pt x="329" y="37"/>
                    </a:lnTo>
                    <a:lnTo>
                      <a:pt x="297" y="34"/>
                    </a:lnTo>
                    <a:lnTo>
                      <a:pt x="264" y="32"/>
                    </a:lnTo>
                    <a:lnTo>
                      <a:pt x="233" y="30"/>
                    </a:lnTo>
                    <a:lnTo>
                      <a:pt x="204" y="28"/>
                    </a:lnTo>
                    <a:lnTo>
                      <a:pt x="176" y="28"/>
                    </a:lnTo>
                    <a:lnTo>
                      <a:pt x="149" y="28"/>
                    </a:lnTo>
                    <a:lnTo>
                      <a:pt x="124" y="31"/>
                    </a:lnTo>
                    <a:lnTo>
                      <a:pt x="100" y="32"/>
                    </a:lnTo>
                    <a:lnTo>
                      <a:pt x="80" y="34"/>
                    </a:lnTo>
                    <a:lnTo>
                      <a:pt x="60" y="37"/>
                    </a:lnTo>
                    <a:lnTo>
                      <a:pt x="44" y="40"/>
                    </a:lnTo>
                    <a:lnTo>
                      <a:pt x="30" y="44"/>
                    </a:lnTo>
                    <a:lnTo>
                      <a:pt x="18" y="48"/>
                    </a:lnTo>
                    <a:lnTo>
                      <a:pt x="14" y="49"/>
                    </a:lnTo>
                    <a:lnTo>
                      <a:pt x="8" y="48"/>
                    </a:lnTo>
                    <a:lnTo>
                      <a:pt x="4" y="45"/>
                    </a:lnTo>
                    <a:lnTo>
                      <a:pt x="1" y="40"/>
                    </a:lnTo>
                    <a:lnTo>
                      <a:pt x="0" y="35"/>
                    </a:lnTo>
                    <a:lnTo>
                      <a:pt x="1" y="30"/>
                    </a:lnTo>
                    <a:lnTo>
                      <a:pt x="4" y="25"/>
                    </a:lnTo>
                    <a:lnTo>
                      <a:pt x="8" y="23"/>
                    </a:lnTo>
                    <a:lnTo>
                      <a:pt x="23" y="18"/>
                    </a:lnTo>
                    <a:lnTo>
                      <a:pt x="39" y="13"/>
                    </a:lnTo>
                    <a:lnTo>
                      <a:pt x="57" y="10"/>
                    </a:lnTo>
                    <a:lnTo>
                      <a:pt x="79" y="7"/>
                    </a:lnTo>
                    <a:lnTo>
                      <a:pt x="101" y="4"/>
                    </a:lnTo>
                    <a:lnTo>
                      <a:pt x="126" y="3"/>
                    </a:lnTo>
                    <a:lnTo>
                      <a:pt x="153" y="1"/>
                    </a:lnTo>
                    <a:lnTo>
                      <a:pt x="181" y="0"/>
                    </a:lnTo>
                    <a:lnTo>
                      <a:pt x="211" y="1"/>
                    </a:lnTo>
                    <a:lnTo>
                      <a:pt x="243" y="3"/>
                    </a:lnTo>
                    <a:lnTo>
                      <a:pt x="275" y="5"/>
                    </a:lnTo>
                    <a:lnTo>
                      <a:pt x="309" y="8"/>
                    </a:lnTo>
                    <a:lnTo>
                      <a:pt x="343" y="11"/>
                    </a:lnTo>
                    <a:lnTo>
                      <a:pt x="379" y="17"/>
                    </a:lnTo>
                    <a:lnTo>
                      <a:pt x="414" y="22"/>
                    </a:lnTo>
                    <a:lnTo>
                      <a:pt x="450" y="28"/>
                    </a:lnTo>
                    <a:lnTo>
                      <a:pt x="487" y="36"/>
                    </a:lnTo>
                    <a:lnTo>
                      <a:pt x="524" y="46"/>
                    </a:lnTo>
                    <a:lnTo>
                      <a:pt x="560" y="55"/>
                    </a:lnTo>
                    <a:lnTo>
                      <a:pt x="597" y="66"/>
                    </a:lnTo>
                    <a:lnTo>
                      <a:pt x="633" y="78"/>
                    </a:lnTo>
                    <a:lnTo>
                      <a:pt x="669" y="92"/>
                    </a:lnTo>
                    <a:lnTo>
                      <a:pt x="704" y="106"/>
                    </a:lnTo>
                    <a:lnTo>
                      <a:pt x="738" y="122"/>
                    </a:lnTo>
                    <a:lnTo>
                      <a:pt x="773" y="140"/>
                    </a:lnTo>
                    <a:lnTo>
                      <a:pt x="805" y="158"/>
                    </a:lnTo>
                    <a:lnTo>
                      <a:pt x="837" y="177"/>
                    </a:lnTo>
                    <a:lnTo>
                      <a:pt x="867" y="199"/>
                    </a:lnTo>
                    <a:lnTo>
                      <a:pt x="895" y="221"/>
                    </a:lnTo>
                    <a:lnTo>
                      <a:pt x="923" y="245"/>
                    </a:lnTo>
                    <a:lnTo>
                      <a:pt x="948" y="270"/>
                    </a:lnTo>
                    <a:lnTo>
                      <a:pt x="972" y="297"/>
                    </a:lnTo>
                    <a:lnTo>
                      <a:pt x="987" y="318"/>
                    </a:lnTo>
                    <a:lnTo>
                      <a:pt x="1002" y="338"/>
                    </a:lnTo>
                    <a:lnTo>
                      <a:pt x="1015" y="360"/>
                    </a:lnTo>
                    <a:lnTo>
                      <a:pt x="1027" y="381"/>
                    </a:lnTo>
                    <a:lnTo>
                      <a:pt x="1038" y="404"/>
                    </a:lnTo>
                    <a:lnTo>
                      <a:pt x="1047" y="427"/>
                    </a:lnTo>
                    <a:lnTo>
                      <a:pt x="1055" y="451"/>
                    </a:lnTo>
                    <a:lnTo>
                      <a:pt x="1062" y="474"/>
                    </a:lnTo>
                    <a:lnTo>
                      <a:pt x="1068" y="498"/>
                    </a:lnTo>
                    <a:lnTo>
                      <a:pt x="1072" y="523"/>
                    </a:lnTo>
                    <a:lnTo>
                      <a:pt x="1075" y="548"/>
                    </a:lnTo>
                    <a:lnTo>
                      <a:pt x="1076" y="574"/>
                    </a:lnTo>
                    <a:lnTo>
                      <a:pt x="1077" y="599"/>
                    </a:lnTo>
                    <a:lnTo>
                      <a:pt x="1076" y="626"/>
                    </a:lnTo>
                    <a:lnTo>
                      <a:pt x="1075" y="653"/>
                    </a:lnTo>
                    <a:lnTo>
                      <a:pt x="1072" y="680"/>
                    </a:lnTo>
                    <a:lnTo>
                      <a:pt x="1068" y="709"/>
                    </a:lnTo>
                    <a:lnTo>
                      <a:pt x="1061" y="737"/>
                    </a:lnTo>
                    <a:lnTo>
                      <a:pt x="1055" y="766"/>
                    </a:lnTo>
                    <a:lnTo>
                      <a:pt x="1046" y="795"/>
                    </a:lnTo>
                    <a:lnTo>
                      <a:pt x="1038" y="825"/>
                    </a:lnTo>
                    <a:lnTo>
                      <a:pt x="1027" y="854"/>
                    </a:lnTo>
                    <a:lnTo>
                      <a:pt x="1015" y="886"/>
                    </a:lnTo>
                    <a:lnTo>
                      <a:pt x="1002" y="917"/>
                    </a:lnTo>
                    <a:lnTo>
                      <a:pt x="987" y="948"/>
                    </a:lnTo>
                    <a:lnTo>
                      <a:pt x="972" y="979"/>
                    </a:lnTo>
                    <a:lnTo>
                      <a:pt x="954" y="1013"/>
                    </a:lnTo>
                    <a:lnTo>
                      <a:pt x="936" y="1045"/>
                    </a:lnTo>
                    <a:lnTo>
                      <a:pt x="917" y="1079"/>
                    </a:lnTo>
                    <a:lnTo>
                      <a:pt x="896" y="1112"/>
                    </a:lnTo>
                    <a:lnTo>
                      <a:pt x="873" y="1147"/>
                    </a:lnTo>
                    <a:lnTo>
                      <a:pt x="851" y="1181"/>
                    </a:lnTo>
                    <a:lnTo>
                      <a:pt x="815" y="1236"/>
                    </a:lnTo>
                    <a:lnTo>
                      <a:pt x="785" y="1290"/>
                    </a:lnTo>
                    <a:lnTo>
                      <a:pt x="760" y="1344"/>
                    </a:lnTo>
                    <a:lnTo>
                      <a:pt x="738" y="1397"/>
                    </a:lnTo>
                    <a:lnTo>
                      <a:pt x="722" y="1450"/>
                    </a:lnTo>
                    <a:lnTo>
                      <a:pt x="709" y="1501"/>
                    </a:lnTo>
                    <a:lnTo>
                      <a:pt x="701" y="1552"/>
                    </a:lnTo>
                    <a:lnTo>
                      <a:pt x="695" y="1601"/>
                    </a:lnTo>
                    <a:lnTo>
                      <a:pt x="693" y="1650"/>
                    </a:lnTo>
                    <a:lnTo>
                      <a:pt x="694" y="1696"/>
                    </a:lnTo>
                    <a:lnTo>
                      <a:pt x="697" y="1743"/>
                    </a:lnTo>
                    <a:lnTo>
                      <a:pt x="704" y="1787"/>
                    </a:lnTo>
                    <a:lnTo>
                      <a:pt x="713" y="1830"/>
                    </a:lnTo>
                    <a:lnTo>
                      <a:pt x="722" y="1871"/>
                    </a:lnTo>
                    <a:lnTo>
                      <a:pt x="735" y="1911"/>
                    </a:lnTo>
                    <a:lnTo>
                      <a:pt x="748" y="1949"/>
                    </a:lnTo>
                    <a:lnTo>
                      <a:pt x="763" y="1986"/>
                    </a:lnTo>
                    <a:lnTo>
                      <a:pt x="778" y="2021"/>
                    </a:lnTo>
                    <a:lnTo>
                      <a:pt x="795" y="2054"/>
                    </a:lnTo>
                    <a:lnTo>
                      <a:pt x="812" y="2085"/>
                    </a:lnTo>
                    <a:lnTo>
                      <a:pt x="829" y="2114"/>
                    </a:lnTo>
                    <a:lnTo>
                      <a:pt x="845" y="2141"/>
                    </a:lnTo>
                    <a:lnTo>
                      <a:pt x="863" y="2165"/>
                    </a:lnTo>
                    <a:lnTo>
                      <a:pt x="878" y="2187"/>
                    </a:lnTo>
                    <a:lnTo>
                      <a:pt x="907" y="2225"/>
                    </a:lnTo>
                    <a:lnTo>
                      <a:pt x="931" y="2253"/>
                    </a:lnTo>
                    <a:lnTo>
                      <a:pt x="947" y="2272"/>
                    </a:lnTo>
                    <a:lnTo>
                      <a:pt x="953" y="2278"/>
                    </a:lnTo>
                    <a:lnTo>
                      <a:pt x="957" y="2282"/>
                    </a:lnTo>
                    <a:lnTo>
                      <a:pt x="958" y="2288"/>
                    </a:lnTo>
                    <a:lnTo>
                      <a:pt x="957" y="2292"/>
                    </a:lnTo>
                    <a:lnTo>
                      <a:pt x="953" y="2298"/>
                    </a:lnTo>
                    <a:lnTo>
                      <a:pt x="949" y="2300"/>
                    </a:lnTo>
                    <a:lnTo>
                      <a:pt x="944" y="2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15"/>
              <p:cNvSpPr>
                <a:spLocks/>
              </p:cNvSpPr>
              <p:nvPr userDrawn="1"/>
            </p:nvSpPr>
            <p:spPr bwMode="auto">
              <a:xfrm>
                <a:off x="1063" y="2979"/>
                <a:ext cx="1628" cy="416"/>
              </a:xfrm>
              <a:custGeom>
                <a:avLst/>
                <a:gdLst>
                  <a:gd name="T0" fmla="*/ 4862 w 4884"/>
                  <a:gd name="T1" fmla="*/ 1245 h 1249"/>
                  <a:gd name="T2" fmla="*/ 4845 w 4884"/>
                  <a:gd name="T3" fmla="*/ 1212 h 1249"/>
                  <a:gd name="T4" fmla="*/ 4723 w 4884"/>
                  <a:gd name="T5" fmla="*/ 1144 h 1249"/>
                  <a:gd name="T6" fmla="*/ 4491 w 4884"/>
                  <a:gd name="T7" fmla="*/ 1087 h 1249"/>
                  <a:gd name="T8" fmla="*/ 4171 w 4884"/>
                  <a:gd name="T9" fmla="*/ 1039 h 1249"/>
                  <a:gd name="T10" fmla="*/ 3787 w 4884"/>
                  <a:gd name="T11" fmla="*/ 1000 h 1249"/>
                  <a:gd name="T12" fmla="*/ 3358 w 4884"/>
                  <a:gd name="T13" fmla="*/ 970 h 1249"/>
                  <a:gd name="T14" fmla="*/ 2909 w 4884"/>
                  <a:gd name="T15" fmla="*/ 949 h 1249"/>
                  <a:gd name="T16" fmla="*/ 2462 w 4884"/>
                  <a:gd name="T17" fmla="*/ 932 h 1249"/>
                  <a:gd name="T18" fmla="*/ 1904 w 4884"/>
                  <a:gd name="T19" fmla="*/ 922 h 1249"/>
                  <a:gd name="T20" fmla="*/ 1441 w 4884"/>
                  <a:gd name="T21" fmla="*/ 920 h 1249"/>
                  <a:gd name="T22" fmla="*/ 1252 w 4884"/>
                  <a:gd name="T23" fmla="*/ 924 h 1249"/>
                  <a:gd name="T24" fmla="*/ 1129 w 4884"/>
                  <a:gd name="T25" fmla="*/ 916 h 1249"/>
                  <a:gd name="T26" fmla="*/ 962 w 4884"/>
                  <a:gd name="T27" fmla="*/ 878 h 1249"/>
                  <a:gd name="T28" fmla="*/ 800 w 4884"/>
                  <a:gd name="T29" fmla="*/ 815 h 1249"/>
                  <a:gd name="T30" fmla="*/ 645 w 4884"/>
                  <a:gd name="T31" fmla="*/ 729 h 1249"/>
                  <a:gd name="T32" fmla="*/ 502 w 4884"/>
                  <a:gd name="T33" fmla="*/ 629 h 1249"/>
                  <a:gd name="T34" fmla="*/ 372 w 4884"/>
                  <a:gd name="T35" fmla="*/ 519 h 1249"/>
                  <a:gd name="T36" fmla="*/ 257 w 4884"/>
                  <a:gd name="T37" fmla="*/ 405 h 1249"/>
                  <a:gd name="T38" fmla="*/ 159 w 4884"/>
                  <a:gd name="T39" fmla="*/ 291 h 1249"/>
                  <a:gd name="T40" fmla="*/ 83 w 4884"/>
                  <a:gd name="T41" fmla="*/ 185 h 1249"/>
                  <a:gd name="T42" fmla="*/ 29 w 4884"/>
                  <a:gd name="T43" fmla="*/ 93 h 1249"/>
                  <a:gd name="T44" fmla="*/ 0 w 4884"/>
                  <a:gd name="T45" fmla="*/ 17 h 1249"/>
                  <a:gd name="T46" fmla="*/ 4 w 4884"/>
                  <a:gd name="T47" fmla="*/ 3 h 1249"/>
                  <a:gd name="T48" fmla="*/ 19 w 4884"/>
                  <a:gd name="T49" fmla="*/ 2 h 1249"/>
                  <a:gd name="T50" fmla="*/ 32 w 4884"/>
                  <a:gd name="T51" fmla="*/ 32 h 1249"/>
                  <a:gd name="T52" fmla="*/ 69 w 4884"/>
                  <a:gd name="T53" fmla="*/ 113 h 1249"/>
                  <a:gd name="T54" fmla="*/ 130 w 4884"/>
                  <a:gd name="T55" fmla="*/ 209 h 1249"/>
                  <a:gd name="T56" fmla="*/ 212 w 4884"/>
                  <a:gd name="T57" fmla="*/ 315 h 1249"/>
                  <a:gd name="T58" fmla="*/ 313 w 4884"/>
                  <a:gd name="T59" fmla="*/ 426 h 1249"/>
                  <a:gd name="T60" fmla="*/ 431 w 4884"/>
                  <a:gd name="T61" fmla="*/ 537 h 1249"/>
                  <a:gd name="T62" fmla="*/ 563 w 4884"/>
                  <a:gd name="T63" fmla="*/ 642 h 1249"/>
                  <a:gd name="T64" fmla="*/ 707 w 4884"/>
                  <a:gd name="T65" fmla="*/ 736 h 1249"/>
                  <a:gd name="T66" fmla="*/ 860 w 4884"/>
                  <a:gd name="T67" fmla="*/ 813 h 1249"/>
                  <a:gd name="T68" fmla="*/ 1021 w 4884"/>
                  <a:gd name="T69" fmla="*/ 868 h 1249"/>
                  <a:gd name="T70" fmla="*/ 1187 w 4884"/>
                  <a:gd name="T71" fmla="*/ 895 h 1249"/>
                  <a:gd name="T72" fmla="*/ 1261 w 4884"/>
                  <a:gd name="T73" fmla="*/ 897 h 1249"/>
                  <a:gd name="T74" fmla="*/ 1753 w 4884"/>
                  <a:gd name="T75" fmla="*/ 896 h 1249"/>
                  <a:gd name="T76" fmla="*/ 2285 w 4884"/>
                  <a:gd name="T77" fmla="*/ 903 h 1249"/>
                  <a:gd name="T78" fmla="*/ 2740 w 4884"/>
                  <a:gd name="T79" fmla="*/ 916 h 1249"/>
                  <a:gd name="T80" fmla="*/ 3214 w 4884"/>
                  <a:gd name="T81" fmla="*/ 937 h 1249"/>
                  <a:gd name="T82" fmla="*/ 3679 w 4884"/>
                  <a:gd name="T83" fmla="*/ 966 h 1249"/>
                  <a:gd name="T84" fmla="*/ 4105 w 4884"/>
                  <a:gd name="T85" fmla="*/ 1006 h 1249"/>
                  <a:gd name="T86" fmla="*/ 4464 w 4884"/>
                  <a:gd name="T87" fmla="*/ 1057 h 1249"/>
                  <a:gd name="T88" fmla="*/ 4728 w 4884"/>
                  <a:gd name="T89" fmla="*/ 1122 h 1249"/>
                  <a:gd name="T90" fmla="*/ 4869 w 4884"/>
                  <a:gd name="T91" fmla="*/ 1202 h 1249"/>
                  <a:gd name="T92" fmla="*/ 4882 w 4884"/>
                  <a:gd name="T93" fmla="*/ 1242 h 1249"/>
                  <a:gd name="T94" fmla="*/ 4872 w 4884"/>
                  <a:gd name="T95" fmla="*/ 1248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84" h="1249">
                    <a:moveTo>
                      <a:pt x="4870" y="1249"/>
                    </a:moveTo>
                    <a:lnTo>
                      <a:pt x="4865" y="1248"/>
                    </a:lnTo>
                    <a:lnTo>
                      <a:pt x="4862" y="1245"/>
                    </a:lnTo>
                    <a:lnTo>
                      <a:pt x="4859" y="1241"/>
                    </a:lnTo>
                    <a:lnTo>
                      <a:pt x="4857" y="1237"/>
                    </a:lnTo>
                    <a:lnTo>
                      <a:pt x="4845" y="1212"/>
                    </a:lnTo>
                    <a:lnTo>
                      <a:pt x="4818" y="1188"/>
                    </a:lnTo>
                    <a:lnTo>
                      <a:pt x="4777" y="1166"/>
                    </a:lnTo>
                    <a:lnTo>
                      <a:pt x="4723" y="1144"/>
                    </a:lnTo>
                    <a:lnTo>
                      <a:pt x="4657" y="1125"/>
                    </a:lnTo>
                    <a:lnTo>
                      <a:pt x="4579" y="1105"/>
                    </a:lnTo>
                    <a:lnTo>
                      <a:pt x="4491" y="1087"/>
                    </a:lnTo>
                    <a:lnTo>
                      <a:pt x="4393" y="1071"/>
                    </a:lnTo>
                    <a:lnTo>
                      <a:pt x="4287" y="1054"/>
                    </a:lnTo>
                    <a:lnTo>
                      <a:pt x="4171" y="1039"/>
                    </a:lnTo>
                    <a:lnTo>
                      <a:pt x="4049" y="1025"/>
                    </a:lnTo>
                    <a:lnTo>
                      <a:pt x="3920" y="1012"/>
                    </a:lnTo>
                    <a:lnTo>
                      <a:pt x="3787" y="1000"/>
                    </a:lnTo>
                    <a:lnTo>
                      <a:pt x="3647" y="990"/>
                    </a:lnTo>
                    <a:lnTo>
                      <a:pt x="3505" y="980"/>
                    </a:lnTo>
                    <a:lnTo>
                      <a:pt x="3358" y="970"/>
                    </a:lnTo>
                    <a:lnTo>
                      <a:pt x="3210" y="963"/>
                    </a:lnTo>
                    <a:lnTo>
                      <a:pt x="3060" y="955"/>
                    </a:lnTo>
                    <a:lnTo>
                      <a:pt x="2909" y="949"/>
                    </a:lnTo>
                    <a:lnTo>
                      <a:pt x="2759" y="942"/>
                    </a:lnTo>
                    <a:lnTo>
                      <a:pt x="2609" y="937"/>
                    </a:lnTo>
                    <a:lnTo>
                      <a:pt x="2462" y="932"/>
                    </a:lnTo>
                    <a:lnTo>
                      <a:pt x="2316" y="929"/>
                    </a:lnTo>
                    <a:lnTo>
                      <a:pt x="2174" y="926"/>
                    </a:lnTo>
                    <a:lnTo>
                      <a:pt x="1904" y="922"/>
                    </a:lnTo>
                    <a:lnTo>
                      <a:pt x="1657" y="920"/>
                    </a:lnTo>
                    <a:lnTo>
                      <a:pt x="1545" y="920"/>
                    </a:lnTo>
                    <a:lnTo>
                      <a:pt x="1441" y="920"/>
                    </a:lnTo>
                    <a:lnTo>
                      <a:pt x="1346" y="922"/>
                    </a:lnTo>
                    <a:lnTo>
                      <a:pt x="1261" y="924"/>
                    </a:lnTo>
                    <a:lnTo>
                      <a:pt x="1252" y="924"/>
                    </a:lnTo>
                    <a:lnTo>
                      <a:pt x="1244" y="924"/>
                    </a:lnTo>
                    <a:lnTo>
                      <a:pt x="1186" y="922"/>
                    </a:lnTo>
                    <a:lnTo>
                      <a:pt x="1129" y="916"/>
                    </a:lnTo>
                    <a:lnTo>
                      <a:pt x="1073" y="906"/>
                    </a:lnTo>
                    <a:lnTo>
                      <a:pt x="1017" y="894"/>
                    </a:lnTo>
                    <a:lnTo>
                      <a:pt x="962" y="878"/>
                    </a:lnTo>
                    <a:lnTo>
                      <a:pt x="907" y="860"/>
                    </a:lnTo>
                    <a:lnTo>
                      <a:pt x="853" y="838"/>
                    </a:lnTo>
                    <a:lnTo>
                      <a:pt x="800" y="815"/>
                    </a:lnTo>
                    <a:lnTo>
                      <a:pt x="747" y="788"/>
                    </a:lnTo>
                    <a:lnTo>
                      <a:pt x="696" y="760"/>
                    </a:lnTo>
                    <a:lnTo>
                      <a:pt x="645" y="729"/>
                    </a:lnTo>
                    <a:lnTo>
                      <a:pt x="597" y="697"/>
                    </a:lnTo>
                    <a:lnTo>
                      <a:pt x="548" y="664"/>
                    </a:lnTo>
                    <a:lnTo>
                      <a:pt x="502" y="629"/>
                    </a:lnTo>
                    <a:lnTo>
                      <a:pt x="458" y="593"/>
                    </a:lnTo>
                    <a:lnTo>
                      <a:pt x="413" y="557"/>
                    </a:lnTo>
                    <a:lnTo>
                      <a:pt x="372" y="519"/>
                    </a:lnTo>
                    <a:lnTo>
                      <a:pt x="331" y="481"/>
                    </a:lnTo>
                    <a:lnTo>
                      <a:pt x="293" y="442"/>
                    </a:lnTo>
                    <a:lnTo>
                      <a:pt x="257" y="405"/>
                    </a:lnTo>
                    <a:lnTo>
                      <a:pt x="222" y="367"/>
                    </a:lnTo>
                    <a:lnTo>
                      <a:pt x="190" y="329"/>
                    </a:lnTo>
                    <a:lnTo>
                      <a:pt x="159" y="291"/>
                    </a:lnTo>
                    <a:lnTo>
                      <a:pt x="131" y="256"/>
                    </a:lnTo>
                    <a:lnTo>
                      <a:pt x="106" y="220"/>
                    </a:lnTo>
                    <a:lnTo>
                      <a:pt x="83" y="185"/>
                    </a:lnTo>
                    <a:lnTo>
                      <a:pt x="62" y="153"/>
                    </a:lnTo>
                    <a:lnTo>
                      <a:pt x="44" y="122"/>
                    </a:lnTo>
                    <a:lnTo>
                      <a:pt x="29" y="93"/>
                    </a:lnTo>
                    <a:lnTo>
                      <a:pt x="16" y="64"/>
                    </a:lnTo>
                    <a:lnTo>
                      <a:pt x="6" y="40"/>
                    </a:lnTo>
                    <a:lnTo>
                      <a:pt x="0" y="17"/>
                    </a:lnTo>
                    <a:lnTo>
                      <a:pt x="0" y="12"/>
                    </a:lnTo>
                    <a:lnTo>
                      <a:pt x="1" y="6"/>
                    </a:lnTo>
                    <a:lnTo>
                      <a:pt x="4" y="3"/>
                    </a:lnTo>
                    <a:lnTo>
                      <a:pt x="9" y="1"/>
                    </a:lnTo>
                    <a:lnTo>
                      <a:pt x="15" y="0"/>
                    </a:lnTo>
                    <a:lnTo>
                      <a:pt x="19" y="2"/>
                    </a:lnTo>
                    <a:lnTo>
                      <a:pt x="23" y="5"/>
                    </a:lnTo>
                    <a:lnTo>
                      <a:pt x="26" y="10"/>
                    </a:lnTo>
                    <a:lnTo>
                      <a:pt x="32" y="32"/>
                    </a:lnTo>
                    <a:lnTo>
                      <a:pt x="42" y="57"/>
                    </a:lnTo>
                    <a:lnTo>
                      <a:pt x="54" y="84"/>
                    </a:lnTo>
                    <a:lnTo>
                      <a:pt x="69" y="113"/>
                    </a:lnTo>
                    <a:lnTo>
                      <a:pt x="87" y="143"/>
                    </a:lnTo>
                    <a:lnTo>
                      <a:pt x="108" y="176"/>
                    </a:lnTo>
                    <a:lnTo>
                      <a:pt x="130" y="209"/>
                    </a:lnTo>
                    <a:lnTo>
                      <a:pt x="155" y="244"/>
                    </a:lnTo>
                    <a:lnTo>
                      <a:pt x="182" y="279"/>
                    </a:lnTo>
                    <a:lnTo>
                      <a:pt x="212" y="315"/>
                    </a:lnTo>
                    <a:lnTo>
                      <a:pt x="244" y="352"/>
                    </a:lnTo>
                    <a:lnTo>
                      <a:pt x="277" y="389"/>
                    </a:lnTo>
                    <a:lnTo>
                      <a:pt x="313" y="426"/>
                    </a:lnTo>
                    <a:lnTo>
                      <a:pt x="351" y="464"/>
                    </a:lnTo>
                    <a:lnTo>
                      <a:pt x="389" y="501"/>
                    </a:lnTo>
                    <a:lnTo>
                      <a:pt x="431" y="537"/>
                    </a:lnTo>
                    <a:lnTo>
                      <a:pt x="474" y="573"/>
                    </a:lnTo>
                    <a:lnTo>
                      <a:pt x="518" y="609"/>
                    </a:lnTo>
                    <a:lnTo>
                      <a:pt x="563" y="642"/>
                    </a:lnTo>
                    <a:lnTo>
                      <a:pt x="610" y="675"/>
                    </a:lnTo>
                    <a:lnTo>
                      <a:pt x="658" y="707"/>
                    </a:lnTo>
                    <a:lnTo>
                      <a:pt x="707" y="736"/>
                    </a:lnTo>
                    <a:lnTo>
                      <a:pt x="758" y="764"/>
                    </a:lnTo>
                    <a:lnTo>
                      <a:pt x="808" y="790"/>
                    </a:lnTo>
                    <a:lnTo>
                      <a:pt x="860" y="813"/>
                    </a:lnTo>
                    <a:lnTo>
                      <a:pt x="913" y="834"/>
                    </a:lnTo>
                    <a:lnTo>
                      <a:pt x="967" y="852"/>
                    </a:lnTo>
                    <a:lnTo>
                      <a:pt x="1021" y="868"/>
                    </a:lnTo>
                    <a:lnTo>
                      <a:pt x="1076" y="879"/>
                    </a:lnTo>
                    <a:lnTo>
                      <a:pt x="1131" y="889"/>
                    </a:lnTo>
                    <a:lnTo>
                      <a:pt x="1187" y="895"/>
                    </a:lnTo>
                    <a:lnTo>
                      <a:pt x="1243" y="897"/>
                    </a:lnTo>
                    <a:lnTo>
                      <a:pt x="1252" y="897"/>
                    </a:lnTo>
                    <a:lnTo>
                      <a:pt x="1261" y="897"/>
                    </a:lnTo>
                    <a:lnTo>
                      <a:pt x="1373" y="895"/>
                    </a:lnTo>
                    <a:lnTo>
                      <a:pt x="1541" y="895"/>
                    </a:lnTo>
                    <a:lnTo>
                      <a:pt x="1753" y="896"/>
                    </a:lnTo>
                    <a:lnTo>
                      <a:pt x="2005" y="898"/>
                    </a:lnTo>
                    <a:lnTo>
                      <a:pt x="2141" y="900"/>
                    </a:lnTo>
                    <a:lnTo>
                      <a:pt x="2285" y="903"/>
                    </a:lnTo>
                    <a:lnTo>
                      <a:pt x="2433" y="906"/>
                    </a:lnTo>
                    <a:lnTo>
                      <a:pt x="2585" y="911"/>
                    </a:lnTo>
                    <a:lnTo>
                      <a:pt x="2740" y="916"/>
                    </a:lnTo>
                    <a:lnTo>
                      <a:pt x="2898" y="922"/>
                    </a:lnTo>
                    <a:lnTo>
                      <a:pt x="3057" y="928"/>
                    </a:lnTo>
                    <a:lnTo>
                      <a:pt x="3214" y="937"/>
                    </a:lnTo>
                    <a:lnTo>
                      <a:pt x="3372" y="945"/>
                    </a:lnTo>
                    <a:lnTo>
                      <a:pt x="3527" y="955"/>
                    </a:lnTo>
                    <a:lnTo>
                      <a:pt x="3679" y="966"/>
                    </a:lnTo>
                    <a:lnTo>
                      <a:pt x="3827" y="978"/>
                    </a:lnTo>
                    <a:lnTo>
                      <a:pt x="3969" y="991"/>
                    </a:lnTo>
                    <a:lnTo>
                      <a:pt x="4105" y="1006"/>
                    </a:lnTo>
                    <a:lnTo>
                      <a:pt x="4234" y="1021"/>
                    </a:lnTo>
                    <a:lnTo>
                      <a:pt x="4353" y="1038"/>
                    </a:lnTo>
                    <a:lnTo>
                      <a:pt x="4464" y="1057"/>
                    </a:lnTo>
                    <a:lnTo>
                      <a:pt x="4564" y="1077"/>
                    </a:lnTo>
                    <a:lnTo>
                      <a:pt x="4653" y="1099"/>
                    </a:lnTo>
                    <a:lnTo>
                      <a:pt x="4728" y="1122"/>
                    </a:lnTo>
                    <a:lnTo>
                      <a:pt x="4790" y="1147"/>
                    </a:lnTo>
                    <a:lnTo>
                      <a:pt x="4837" y="1173"/>
                    </a:lnTo>
                    <a:lnTo>
                      <a:pt x="4869" y="1202"/>
                    </a:lnTo>
                    <a:lnTo>
                      <a:pt x="4884" y="1232"/>
                    </a:lnTo>
                    <a:lnTo>
                      <a:pt x="4884" y="1238"/>
                    </a:lnTo>
                    <a:lnTo>
                      <a:pt x="4882" y="1242"/>
                    </a:lnTo>
                    <a:lnTo>
                      <a:pt x="4877" y="1245"/>
                    </a:lnTo>
                    <a:lnTo>
                      <a:pt x="4873" y="1248"/>
                    </a:lnTo>
                    <a:lnTo>
                      <a:pt x="4872" y="1248"/>
                    </a:lnTo>
                    <a:lnTo>
                      <a:pt x="4870" y="1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16"/>
              <p:cNvSpPr>
                <a:spLocks/>
              </p:cNvSpPr>
              <p:nvPr userDrawn="1"/>
            </p:nvSpPr>
            <p:spPr bwMode="auto">
              <a:xfrm>
                <a:off x="672" y="3389"/>
                <a:ext cx="485" cy="596"/>
              </a:xfrm>
              <a:custGeom>
                <a:avLst/>
                <a:gdLst>
                  <a:gd name="T0" fmla="*/ 1436 w 1455"/>
                  <a:gd name="T1" fmla="*/ 1789 h 1790"/>
                  <a:gd name="T2" fmla="*/ 1429 w 1455"/>
                  <a:gd name="T3" fmla="*/ 1783 h 1790"/>
                  <a:gd name="T4" fmla="*/ 1427 w 1455"/>
                  <a:gd name="T5" fmla="*/ 1772 h 1790"/>
                  <a:gd name="T6" fmla="*/ 1419 w 1455"/>
                  <a:gd name="T7" fmla="*/ 1724 h 1790"/>
                  <a:gd name="T8" fmla="*/ 1404 w 1455"/>
                  <a:gd name="T9" fmla="*/ 1640 h 1790"/>
                  <a:gd name="T10" fmla="*/ 1380 w 1455"/>
                  <a:gd name="T11" fmla="*/ 1525 h 1790"/>
                  <a:gd name="T12" fmla="*/ 1347 w 1455"/>
                  <a:gd name="T13" fmla="*/ 1386 h 1790"/>
                  <a:gd name="T14" fmla="*/ 1314 w 1455"/>
                  <a:gd name="T15" fmla="*/ 1272 h 1790"/>
                  <a:gd name="T16" fmla="*/ 1288 w 1455"/>
                  <a:gd name="T17" fmla="*/ 1192 h 1790"/>
                  <a:gd name="T18" fmla="*/ 1260 w 1455"/>
                  <a:gd name="T19" fmla="*/ 1111 h 1790"/>
                  <a:gd name="T20" fmla="*/ 1229 w 1455"/>
                  <a:gd name="T21" fmla="*/ 1028 h 1790"/>
                  <a:gd name="T22" fmla="*/ 1194 w 1455"/>
                  <a:gd name="T23" fmla="*/ 946 h 1790"/>
                  <a:gd name="T24" fmla="*/ 1155 w 1455"/>
                  <a:gd name="T25" fmla="*/ 865 h 1790"/>
                  <a:gd name="T26" fmla="*/ 1087 w 1455"/>
                  <a:gd name="T27" fmla="*/ 737 h 1790"/>
                  <a:gd name="T28" fmla="*/ 989 w 1455"/>
                  <a:gd name="T29" fmla="*/ 579 h 1790"/>
                  <a:gd name="T30" fmla="*/ 891 w 1455"/>
                  <a:gd name="T31" fmla="*/ 447 h 1790"/>
                  <a:gd name="T32" fmla="*/ 794 w 1455"/>
                  <a:gd name="T33" fmla="*/ 337 h 1790"/>
                  <a:gd name="T34" fmla="*/ 698 w 1455"/>
                  <a:gd name="T35" fmla="*/ 248 h 1790"/>
                  <a:gd name="T36" fmla="*/ 604 w 1455"/>
                  <a:gd name="T37" fmla="*/ 176 h 1790"/>
                  <a:gd name="T38" fmla="*/ 513 w 1455"/>
                  <a:gd name="T39" fmla="*/ 121 h 1790"/>
                  <a:gd name="T40" fmla="*/ 428 w 1455"/>
                  <a:gd name="T41" fmla="*/ 81 h 1790"/>
                  <a:gd name="T42" fmla="*/ 347 w 1455"/>
                  <a:gd name="T43" fmla="*/ 54 h 1790"/>
                  <a:gd name="T44" fmla="*/ 273 w 1455"/>
                  <a:gd name="T45" fmla="*/ 37 h 1790"/>
                  <a:gd name="T46" fmla="*/ 206 w 1455"/>
                  <a:gd name="T47" fmla="*/ 28 h 1790"/>
                  <a:gd name="T48" fmla="*/ 149 w 1455"/>
                  <a:gd name="T49" fmla="*/ 26 h 1790"/>
                  <a:gd name="T50" fmla="*/ 101 w 1455"/>
                  <a:gd name="T51" fmla="*/ 29 h 1790"/>
                  <a:gd name="T52" fmla="*/ 62 w 1455"/>
                  <a:gd name="T53" fmla="*/ 34 h 1790"/>
                  <a:gd name="T54" fmla="*/ 26 w 1455"/>
                  <a:gd name="T55" fmla="*/ 41 h 1790"/>
                  <a:gd name="T56" fmla="*/ 13 w 1455"/>
                  <a:gd name="T57" fmla="*/ 45 h 1790"/>
                  <a:gd name="T58" fmla="*/ 4 w 1455"/>
                  <a:gd name="T59" fmla="*/ 40 h 1790"/>
                  <a:gd name="T60" fmla="*/ 0 w 1455"/>
                  <a:gd name="T61" fmla="*/ 31 h 1790"/>
                  <a:gd name="T62" fmla="*/ 4 w 1455"/>
                  <a:gd name="T63" fmla="*/ 21 h 1790"/>
                  <a:gd name="T64" fmla="*/ 17 w 1455"/>
                  <a:gd name="T65" fmla="*/ 17 h 1790"/>
                  <a:gd name="T66" fmla="*/ 54 w 1455"/>
                  <a:gd name="T67" fmla="*/ 8 h 1790"/>
                  <a:gd name="T68" fmla="*/ 94 w 1455"/>
                  <a:gd name="T69" fmla="*/ 2 h 1790"/>
                  <a:gd name="T70" fmla="*/ 145 w 1455"/>
                  <a:gd name="T71" fmla="*/ 0 h 1790"/>
                  <a:gd name="T72" fmla="*/ 204 w 1455"/>
                  <a:gd name="T73" fmla="*/ 1 h 1790"/>
                  <a:gd name="T74" fmla="*/ 273 w 1455"/>
                  <a:gd name="T75" fmla="*/ 10 h 1790"/>
                  <a:gd name="T76" fmla="*/ 350 w 1455"/>
                  <a:gd name="T77" fmla="*/ 27 h 1790"/>
                  <a:gd name="T78" fmla="*/ 432 w 1455"/>
                  <a:gd name="T79" fmla="*/ 55 h 1790"/>
                  <a:gd name="T80" fmla="*/ 521 w 1455"/>
                  <a:gd name="T81" fmla="*/ 95 h 1790"/>
                  <a:gd name="T82" fmla="*/ 613 w 1455"/>
                  <a:gd name="T83" fmla="*/ 150 h 1790"/>
                  <a:gd name="T84" fmla="*/ 711 w 1455"/>
                  <a:gd name="T85" fmla="*/ 223 h 1790"/>
                  <a:gd name="T86" fmla="*/ 809 w 1455"/>
                  <a:gd name="T87" fmla="*/ 314 h 1790"/>
                  <a:gd name="T88" fmla="*/ 909 w 1455"/>
                  <a:gd name="T89" fmla="*/ 427 h 1790"/>
                  <a:gd name="T90" fmla="*/ 1010 w 1455"/>
                  <a:gd name="T91" fmla="*/ 562 h 1790"/>
                  <a:gd name="T92" fmla="*/ 1110 w 1455"/>
                  <a:gd name="T93" fmla="*/ 722 h 1790"/>
                  <a:gd name="T94" fmla="*/ 1180 w 1455"/>
                  <a:gd name="T95" fmla="*/ 853 h 1790"/>
                  <a:gd name="T96" fmla="*/ 1218 w 1455"/>
                  <a:gd name="T97" fmla="*/ 935 h 1790"/>
                  <a:gd name="T98" fmla="*/ 1254 w 1455"/>
                  <a:gd name="T99" fmla="*/ 1018 h 1790"/>
                  <a:gd name="T100" fmla="*/ 1285 w 1455"/>
                  <a:gd name="T101" fmla="*/ 1101 h 1790"/>
                  <a:gd name="T102" fmla="*/ 1314 w 1455"/>
                  <a:gd name="T103" fmla="*/ 1183 h 1790"/>
                  <a:gd name="T104" fmla="*/ 1339 w 1455"/>
                  <a:gd name="T105" fmla="*/ 1264 h 1790"/>
                  <a:gd name="T106" fmla="*/ 1373 w 1455"/>
                  <a:gd name="T107" fmla="*/ 1380 h 1790"/>
                  <a:gd name="T108" fmla="*/ 1407 w 1455"/>
                  <a:gd name="T109" fmla="*/ 1519 h 1790"/>
                  <a:gd name="T110" fmla="*/ 1431 w 1455"/>
                  <a:gd name="T111" fmla="*/ 1636 h 1790"/>
                  <a:gd name="T112" fmla="*/ 1446 w 1455"/>
                  <a:gd name="T113" fmla="*/ 1721 h 1790"/>
                  <a:gd name="T114" fmla="*/ 1454 w 1455"/>
                  <a:gd name="T115" fmla="*/ 1767 h 1790"/>
                  <a:gd name="T116" fmla="*/ 1455 w 1455"/>
                  <a:gd name="T117" fmla="*/ 1780 h 1790"/>
                  <a:gd name="T118" fmla="*/ 1448 w 1455"/>
                  <a:gd name="T119" fmla="*/ 1788 h 1790"/>
                  <a:gd name="T120" fmla="*/ 1442 w 1455"/>
                  <a:gd name="T121" fmla="*/ 179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5" h="1790">
                    <a:moveTo>
                      <a:pt x="1441" y="1790"/>
                    </a:moveTo>
                    <a:lnTo>
                      <a:pt x="1436" y="1789"/>
                    </a:lnTo>
                    <a:lnTo>
                      <a:pt x="1432" y="1787"/>
                    </a:lnTo>
                    <a:lnTo>
                      <a:pt x="1429" y="1783"/>
                    </a:lnTo>
                    <a:lnTo>
                      <a:pt x="1428" y="1778"/>
                    </a:lnTo>
                    <a:lnTo>
                      <a:pt x="1427" y="1772"/>
                    </a:lnTo>
                    <a:lnTo>
                      <a:pt x="1424" y="1753"/>
                    </a:lnTo>
                    <a:lnTo>
                      <a:pt x="1419" y="1724"/>
                    </a:lnTo>
                    <a:lnTo>
                      <a:pt x="1412" y="1686"/>
                    </a:lnTo>
                    <a:lnTo>
                      <a:pt x="1404" y="1640"/>
                    </a:lnTo>
                    <a:lnTo>
                      <a:pt x="1393" y="1586"/>
                    </a:lnTo>
                    <a:lnTo>
                      <a:pt x="1380" y="1525"/>
                    </a:lnTo>
                    <a:lnTo>
                      <a:pt x="1365" y="1459"/>
                    </a:lnTo>
                    <a:lnTo>
                      <a:pt x="1347" y="1386"/>
                    </a:lnTo>
                    <a:lnTo>
                      <a:pt x="1325" y="1311"/>
                    </a:lnTo>
                    <a:lnTo>
                      <a:pt x="1314" y="1272"/>
                    </a:lnTo>
                    <a:lnTo>
                      <a:pt x="1301" y="1232"/>
                    </a:lnTo>
                    <a:lnTo>
                      <a:pt x="1288" y="1192"/>
                    </a:lnTo>
                    <a:lnTo>
                      <a:pt x="1274" y="1151"/>
                    </a:lnTo>
                    <a:lnTo>
                      <a:pt x="1260" y="1111"/>
                    </a:lnTo>
                    <a:lnTo>
                      <a:pt x="1245" y="1069"/>
                    </a:lnTo>
                    <a:lnTo>
                      <a:pt x="1229" y="1028"/>
                    </a:lnTo>
                    <a:lnTo>
                      <a:pt x="1212" y="987"/>
                    </a:lnTo>
                    <a:lnTo>
                      <a:pt x="1194" y="946"/>
                    </a:lnTo>
                    <a:lnTo>
                      <a:pt x="1175" y="905"/>
                    </a:lnTo>
                    <a:lnTo>
                      <a:pt x="1155" y="865"/>
                    </a:lnTo>
                    <a:lnTo>
                      <a:pt x="1136" y="825"/>
                    </a:lnTo>
                    <a:lnTo>
                      <a:pt x="1087" y="737"/>
                    </a:lnTo>
                    <a:lnTo>
                      <a:pt x="1039" y="654"/>
                    </a:lnTo>
                    <a:lnTo>
                      <a:pt x="989" y="579"/>
                    </a:lnTo>
                    <a:lnTo>
                      <a:pt x="941" y="510"/>
                    </a:lnTo>
                    <a:lnTo>
                      <a:pt x="891" y="447"/>
                    </a:lnTo>
                    <a:lnTo>
                      <a:pt x="842" y="389"/>
                    </a:lnTo>
                    <a:lnTo>
                      <a:pt x="794" y="337"/>
                    </a:lnTo>
                    <a:lnTo>
                      <a:pt x="745" y="290"/>
                    </a:lnTo>
                    <a:lnTo>
                      <a:pt x="698" y="248"/>
                    </a:lnTo>
                    <a:lnTo>
                      <a:pt x="650" y="210"/>
                    </a:lnTo>
                    <a:lnTo>
                      <a:pt x="604" y="176"/>
                    </a:lnTo>
                    <a:lnTo>
                      <a:pt x="558" y="147"/>
                    </a:lnTo>
                    <a:lnTo>
                      <a:pt x="513" y="121"/>
                    </a:lnTo>
                    <a:lnTo>
                      <a:pt x="470" y="100"/>
                    </a:lnTo>
                    <a:lnTo>
                      <a:pt x="428" y="81"/>
                    </a:lnTo>
                    <a:lnTo>
                      <a:pt x="387" y="66"/>
                    </a:lnTo>
                    <a:lnTo>
                      <a:pt x="347" y="54"/>
                    </a:lnTo>
                    <a:lnTo>
                      <a:pt x="309" y="45"/>
                    </a:lnTo>
                    <a:lnTo>
                      <a:pt x="273" y="37"/>
                    </a:lnTo>
                    <a:lnTo>
                      <a:pt x="239" y="32"/>
                    </a:lnTo>
                    <a:lnTo>
                      <a:pt x="206" y="28"/>
                    </a:lnTo>
                    <a:lnTo>
                      <a:pt x="177" y="27"/>
                    </a:lnTo>
                    <a:lnTo>
                      <a:pt x="149" y="26"/>
                    </a:lnTo>
                    <a:lnTo>
                      <a:pt x="123" y="27"/>
                    </a:lnTo>
                    <a:lnTo>
                      <a:pt x="101" y="29"/>
                    </a:lnTo>
                    <a:lnTo>
                      <a:pt x="80" y="32"/>
                    </a:lnTo>
                    <a:lnTo>
                      <a:pt x="62" y="34"/>
                    </a:lnTo>
                    <a:lnTo>
                      <a:pt x="47" y="37"/>
                    </a:lnTo>
                    <a:lnTo>
                      <a:pt x="26" y="41"/>
                    </a:lnTo>
                    <a:lnTo>
                      <a:pt x="18" y="45"/>
                    </a:lnTo>
                    <a:lnTo>
                      <a:pt x="13" y="45"/>
                    </a:lnTo>
                    <a:lnTo>
                      <a:pt x="8" y="43"/>
                    </a:lnTo>
                    <a:lnTo>
                      <a:pt x="4" y="40"/>
                    </a:lnTo>
                    <a:lnTo>
                      <a:pt x="1" y="36"/>
                    </a:lnTo>
                    <a:lnTo>
                      <a:pt x="0" y="31"/>
                    </a:lnTo>
                    <a:lnTo>
                      <a:pt x="2" y="25"/>
                    </a:lnTo>
                    <a:lnTo>
                      <a:pt x="4" y="21"/>
                    </a:lnTo>
                    <a:lnTo>
                      <a:pt x="10" y="19"/>
                    </a:lnTo>
                    <a:lnTo>
                      <a:pt x="17" y="17"/>
                    </a:lnTo>
                    <a:lnTo>
                      <a:pt x="39" y="11"/>
                    </a:lnTo>
                    <a:lnTo>
                      <a:pt x="54" y="8"/>
                    </a:lnTo>
                    <a:lnTo>
                      <a:pt x="72" y="6"/>
                    </a:lnTo>
                    <a:lnTo>
                      <a:pt x="94" y="2"/>
                    </a:lnTo>
                    <a:lnTo>
                      <a:pt x="118" y="1"/>
                    </a:lnTo>
                    <a:lnTo>
                      <a:pt x="145" y="0"/>
                    </a:lnTo>
                    <a:lnTo>
                      <a:pt x="173" y="0"/>
                    </a:lnTo>
                    <a:lnTo>
                      <a:pt x="204" y="1"/>
                    </a:lnTo>
                    <a:lnTo>
                      <a:pt x="238" y="5"/>
                    </a:lnTo>
                    <a:lnTo>
                      <a:pt x="273" y="10"/>
                    </a:lnTo>
                    <a:lnTo>
                      <a:pt x="310" y="18"/>
                    </a:lnTo>
                    <a:lnTo>
                      <a:pt x="350" y="27"/>
                    </a:lnTo>
                    <a:lnTo>
                      <a:pt x="390" y="39"/>
                    </a:lnTo>
                    <a:lnTo>
                      <a:pt x="432" y="55"/>
                    </a:lnTo>
                    <a:lnTo>
                      <a:pt x="476" y="74"/>
                    </a:lnTo>
                    <a:lnTo>
                      <a:pt x="521" y="95"/>
                    </a:lnTo>
                    <a:lnTo>
                      <a:pt x="567" y="121"/>
                    </a:lnTo>
                    <a:lnTo>
                      <a:pt x="613" y="150"/>
                    </a:lnTo>
                    <a:lnTo>
                      <a:pt x="662" y="185"/>
                    </a:lnTo>
                    <a:lnTo>
                      <a:pt x="711" y="223"/>
                    </a:lnTo>
                    <a:lnTo>
                      <a:pt x="759" y="266"/>
                    </a:lnTo>
                    <a:lnTo>
                      <a:pt x="809" y="314"/>
                    </a:lnTo>
                    <a:lnTo>
                      <a:pt x="860" y="367"/>
                    </a:lnTo>
                    <a:lnTo>
                      <a:pt x="909" y="427"/>
                    </a:lnTo>
                    <a:lnTo>
                      <a:pt x="960" y="491"/>
                    </a:lnTo>
                    <a:lnTo>
                      <a:pt x="1010" y="562"/>
                    </a:lnTo>
                    <a:lnTo>
                      <a:pt x="1060" y="638"/>
                    </a:lnTo>
                    <a:lnTo>
                      <a:pt x="1110" y="722"/>
                    </a:lnTo>
                    <a:lnTo>
                      <a:pt x="1160" y="812"/>
                    </a:lnTo>
                    <a:lnTo>
                      <a:pt x="1180" y="853"/>
                    </a:lnTo>
                    <a:lnTo>
                      <a:pt x="1200" y="894"/>
                    </a:lnTo>
                    <a:lnTo>
                      <a:pt x="1218" y="935"/>
                    </a:lnTo>
                    <a:lnTo>
                      <a:pt x="1236" y="976"/>
                    </a:lnTo>
                    <a:lnTo>
                      <a:pt x="1254" y="1018"/>
                    </a:lnTo>
                    <a:lnTo>
                      <a:pt x="1270" y="1059"/>
                    </a:lnTo>
                    <a:lnTo>
                      <a:pt x="1285" y="1101"/>
                    </a:lnTo>
                    <a:lnTo>
                      <a:pt x="1300" y="1142"/>
                    </a:lnTo>
                    <a:lnTo>
                      <a:pt x="1314" y="1183"/>
                    </a:lnTo>
                    <a:lnTo>
                      <a:pt x="1327" y="1223"/>
                    </a:lnTo>
                    <a:lnTo>
                      <a:pt x="1339" y="1264"/>
                    </a:lnTo>
                    <a:lnTo>
                      <a:pt x="1351" y="1303"/>
                    </a:lnTo>
                    <a:lnTo>
                      <a:pt x="1373" y="1380"/>
                    </a:lnTo>
                    <a:lnTo>
                      <a:pt x="1391" y="1452"/>
                    </a:lnTo>
                    <a:lnTo>
                      <a:pt x="1407" y="1519"/>
                    </a:lnTo>
                    <a:lnTo>
                      <a:pt x="1420" y="1581"/>
                    </a:lnTo>
                    <a:lnTo>
                      <a:pt x="1431" y="1636"/>
                    </a:lnTo>
                    <a:lnTo>
                      <a:pt x="1439" y="1682"/>
                    </a:lnTo>
                    <a:lnTo>
                      <a:pt x="1446" y="1721"/>
                    </a:lnTo>
                    <a:lnTo>
                      <a:pt x="1451" y="1749"/>
                    </a:lnTo>
                    <a:lnTo>
                      <a:pt x="1454" y="1767"/>
                    </a:lnTo>
                    <a:lnTo>
                      <a:pt x="1455" y="1775"/>
                    </a:lnTo>
                    <a:lnTo>
                      <a:pt x="1455" y="1780"/>
                    </a:lnTo>
                    <a:lnTo>
                      <a:pt x="1451" y="1785"/>
                    </a:lnTo>
                    <a:lnTo>
                      <a:pt x="1448" y="1788"/>
                    </a:lnTo>
                    <a:lnTo>
                      <a:pt x="1443" y="1790"/>
                    </a:lnTo>
                    <a:lnTo>
                      <a:pt x="1442" y="1790"/>
                    </a:lnTo>
                    <a:lnTo>
                      <a:pt x="1441" y="1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17"/>
              <p:cNvSpPr>
                <a:spLocks/>
              </p:cNvSpPr>
              <p:nvPr userDrawn="1"/>
            </p:nvSpPr>
            <p:spPr bwMode="auto">
              <a:xfrm>
                <a:off x="304" y="3051"/>
                <a:ext cx="1534" cy="1269"/>
              </a:xfrm>
              <a:custGeom>
                <a:avLst/>
                <a:gdLst>
                  <a:gd name="T0" fmla="*/ 122 w 4604"/>
                  <a:gd name="T1" fmla="*/ 3655 h 3808"/>
                  <a:gd name="T2" fmla="*/ 401 w 4604"/>
                  <a:gd name="T3" fmla="*/ 3293 h 3808"/>
                  <a:gd name="T4" fmla="*/ 748 w 4604"/>
                  <a:gd name="T5" fmla="*/ 2821 h 3808"/>
                  <a:gd name="T6" fmla="*/ 930 w 4604"/>
                  <a:gd name="T7" fmla="*/ 2562 h 3808"/>
                  <a:gd name="T8" fmla="*/ 1109 w 4604"/>
                  <a:gd name="T9" fmla="*/ 2297 h 3808"/>
                  <a:gd name="T10" fmla="*/ 1278 w 4604"/>
                  <a:gd name="T11" fmla="*/ 2032 h 3808"/>
                  <a:gd name="T12" fmla="*/ 1431 w 4604"/>
                  <a:gd name="T13" fmla="*/ 1774 h 3808"/>
                  <a:gd name="T14" fmla="*/ 1562 w 4604"/>
                  <a:gd name="T15" fmla="*/ 1530 h 3808"/>
                  <a:gd name="T16" fmla="*/ 1701 w 4604"/>
                  <a:gd name="T17" fmla="*/ 1249 h 3808"/>
                  <a:gd name="T18" fmla="*/ 1860 w 4604"/>
                  <a:gd name="T19" fmla="*/ 984 h 3808"/>
                  <a:gd name="T20" fmla="*/ 2021 w 4604"/>
                  <a:gd name="T21" fmla="*/ 767 h 3808"/>
                  <a:gd name="T22" fmla="*/ 2183 w 4604"/>
                  <a:gd name="T23" fmla="*/ 591 h 3808"/>
                  <a:gd name="T24" fmla="*/ 2340 w 4604"/>
                  <a:gd name="T25" fmla="*/ 453 h 3808"/>
                  <a:gd name="T26" fmla="*/ 2491 w 4604"/>
                  <a:gd name="T27" fmla="*/ 348 h 3808"/>
                  <a:gd name="T28" fmla="*/ 2633 w 4604"/>
                  <a:gd name="T29" fmla="*/ 272 h 3808"/>
                  <a:gd name="T30" fmla="*/ 2761 w 4604"/>
                  <a:gd name="T31" fmla="*/ 219 h 3808"/>
                  <a:gd name="T32" fmla="*/ 2873 w 4604"/>
                  <a:gd name="T33" fmla="*/ 186 h 3808"/>
                  <a:gd name="T34" fmla="*/ 2964 w 4604"/>
                  <a:gd name="T35" fmla="*/ 169 h 3808"/>
                  <a:gd name="T36" fmla="*/ 3034 w 4604"/>
                  <a:gd name="T37" fmla="*/ 162 h 3808"/>
                  <a:gd name="T38" fmla="*/ 3324 w 4604"/>
                  <a:gd name="T39" fmla="*/ 139 h 3808"/>
                  <a:gd name="T40" fmla="*/ 3698 w 4604"/>
                  <a:gd name="T41" fmla="*/ 101 h 3808"/>
                  <a:gd name="T42" fmla="*/ 4080 w 4604"/>
                  <a:gd name="T43" fmla="*/ 59 h 3808"/>
                  <a:gd name="T44" fmla="*/ 4396 w 4604"/>
                  <a:gd name="T45" fmla="*/ 22 h 3808"/>
                  <a:gd name="T46" fmla="*/ 4573 w 4604"/>
                  <a:gd name="T47" fmla="*/ 1 h 3808"/>
                  <a:gd name="T48" fmla="*/ 4598 w 4604"/>
                  <a:gd name="T49" fmla="*/ 2 h 3808"/>
                  <a:gd name="T50" fmla="*/ 4603 w 4604"/>
                  <a:gd name="T51" fmla="*/ 17 h 3808"/>
                  <a:gd name="T52" fmla="*/ 4592 w 4604"/>
                  <a:gd name="T53" fmla="*/ 27 h 3808"/>
                  <a:gd name="T54" fmla="*/ 4478 w 4604"/>
                  <a:gd name="T55" fmla="*/ 40 h 3808"/>
                  <a:gd name="T56" fmla="*/ 4199 w 4604"/>
                  <a:gd name="T57" fmla="*/ 72 h 3808"/>
                  <a:gd name="T58" fmla="*/ 3830 w 4604"/>
                  <a:gd name="T59" fmla="*/ 114 h 3808"/>
                  <a:gd name="T60" fmla="*/ 3445 w 4604"/>
                  <a:gd name="T61" fmla="*/ 154 h 3808"/>
                  <a:gd name="T62" fmla="*/ 3119 w 4604"/>
                  <a:gd name="T63" fmla="*/ 183 h 3808"/>
                  <a:gd name="T64" fmla="*/ 2957 w 4604"/>
                  <a:gd name="T65" fmla="*/ 197 h 3808"/>
                  <a:gd name="T66" fmla="*/ 2834 w 4604"/>
                  <a:gd name="T67" fmla="*/ 224 h 3808"/>
                  <a:gd name="T68" fmla="*/ 2703 w 4604"/>
                  <a:gd name="T69" fmla="*/ 271 h 3808"/>
                  <a:gd name="T70" fmla="*/ 2567 w 4604"/>
                  <a:gd name="T71" fmla="*/ 337 h 3808"/>
                  <a:gd name="T72" fmla="*/ 2429 w 4604"/>
                  <a:gd name="T73" fmla="*/ 425 h 3808"/>
                  <a:gd name="T74" fmla="*/ 2288 w 4604"/>
                  <a:gd name="T75" fmla="*/ 535 h 3808"/>
                  <a:gd name="T76" fmla="*/ 2148 w 4604"/>
                  <a:gd name="T77" fmla="*/ 669 h 3808"/>
                  <a:gd name="T78" fmla="*/ 2010 w 4604"/>
                  <a:gd name="T79" fmla="*/ 828 h 3808"/>
                  <a:gd name="T80" fmla="*/ 1875 w 4604"/>
                  <a:gd name="T81" fmla="*/ 1013 h 3808"/>
                  <a:gd name="T82" fmla="*/ 1745 w 4604"/>
                  <a:gd name="T83" fmla="*/ 1225 h 3808"/>
                  <a:gd name="T84" fmla="*/ 1623 w 4604"/>
                  <a:gd name="T85" fmla="*/ 1464 h 3808"/>
                  <a:gd name="T86" fmla="*/ 1505 w 4604"/>
                  <a:gd name="T87" fmla="*/ 1699 h 3808"/>
                  <a:gd name="T88" fmla="*/ 1361 w 4604"/>
                  <a:gd name="T89" fmla="*/ 1948 h 3808"/>
                  <a:gd name="T90" fmla="*/ 1199 w 4604"/>
                  <a:gd name="T91" fmla="*/ 2207 h 3808"/>
                  <a:gd name="T92" fmla="*/ 1026 w 4604"/>
                  <a:gd name="T93" fmla="*/ 2469 h 3808"/>
                  <a:gd name="T94" fmla="*/ 847 w 4604"/>
                  <a:gd name="T95" fmla="*/ 2729 h 3808"/>
                  <a:gd name="T96" fmla="*/ 554 w 4604"/>
                  <a:gd name="T97" fmla="*/ 3133 h 3808"/>
                  <a:gd name="T98" fmla="*/ 247 w 4604"/>
                  <a:gd name="T99" fmla="*/ 3539 h 3808"/>
                  <a:gd name="T100" fmla="*/ 35 w 4604"/>
                  <a:gd name="T101" fmla="*/ 3808 h 3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04" h="3808">
                    <a:moveTo>
                      <a:pt x="0" y="3808"/>
                    </a:moveTo>
                    <a:lnTo>
                      <a:pt x="53" y="3741"/>
                    </a:lnTo>
                    <a:lnTo>
                      <a:pt x="122" y="3655"/>
                    </a:lnTo>
                    <a:lnTo>
                      <a:pt x="204" y="3549"/>
                    </a:lnTo>
                    <a:lnTo>
                      <a:pt x="297" y="3428"/>
                    </a:lnTo>
                    <a:lnTo>
                      <a:pt x="401" y="3293"/>
                    </a:lnTo>
                    <a:lnTo>
                      <a:pt x="511" y="3145"/>
                    </a:lnTo>
                    <a:lnTo>
                      <a:pt x="628" y="2988"/>
                    </a:lnTo>
                    <a:lnTo>
                      <a:pt x="748" y="2821"/>
                    </a:lnTo>
                    <a:lnTo>
                      <a:pt x="808" y="2736"/>
                    </a:lnTo>
                    <a:lnTo>
                      <a:pt x="869" y="2650"/>
                    </a:lnTo>
                    <a:lnTo>
                      <a:pt x="930" y="2562"/>
                    </a:lnTo>
                    <a:lnTo>
                      <a:pt x="991" y="2475"/>
                    </a:lnTo>
                    <a:lnTo>
                      <a:pt x="1050" y="2386"/>
                    </a:lnTo>
                    <a:lnTo>
                      <a:pt x="1109" y="2297"/>
                    </a:lnTo>
                    <a:lnTo>
                      <a:pt x="1167" y="2208"/>
                    </a:lnTo>
                    <a:lnTo>
                      <a:pt x="1223" y="2120"/>
                    </a:lnTo>
                    <a:lnTo>
                      <a:pt x="1278" y="2032"/>
                    </a:lnTo>
                    <a:lnTo>
                      <a:pt x="1332" y="1945"/>
                    </a:lnTo>
                    <a:lnTo>
                      <a:pt x="1383" y="1858"/>
                    </a:lnTo>
                    <a:lnTo>
                      <a:pt x="1431" y="1774"/>
                    </a:lnTo>
                    <a:lnTo>
                      <a:pt x="1478" y="1691"/>
                    </a:lnTo>
                    <a:lnTo>
                      <a:pt x="1521" y="1609"/>
                    </a:lnTo>
                    <a:lnTo>
                      <a:pt x="1562" y="1530"/>
                    </a:lnTo>
                    <a:lnTo>
                      <a:pt x="1598" y="1453"/>
                    </a:lnTo>
                    <a:lnTo>
                      <a:pt x="1649" y="1348"/>
                    </a:lnTo>
                    <a:lnTo>
                      <a:pt x="1701" y="1249"/>
                    </a:lnTo>
                    <a:lnTo>
                      <a:pt x="1753" y="1156"/>
                    </a:lnTo>
                    <a:lnTo>
                      <a:pt x="1806" y="1067"/>
                    </a:lnTo>
                    <a:lnTo>
                      <a:pt x="1860" y="984"/>
                    </a:lnTo>
                    <a:lnTo>
                      <a:pt x="1913" y="907"/>
                    </a:lnTo>
                    <a:lnTo>
                      <a:pt x="1967" y="834"/>
                    </a:lnTo>
                    <a:lnTo>
                      <a:pt x="2021" y="767"/>
                    </a:lnTo>
                    <a:lnTo>
                      <a:pt x="2075" y="703"/>
                    </a:lnTo>
                    <a:lnTo>
                      <a:pt x="2129" y="645"/>
                    </a:lnTo>
                    <a:lnTo>
                      <a:pt x="2183" y="591"/>
                    </a:lnTo>
                    <a:lnTo>
                      <a:pt x="2236" y="541"/>
                    </a:lnTo>
                    <a:lnTo>
                      <a:pt x="2288" y="495"/>
                    </a:lnTo>
                    <a:lnTo>
                      <a:pt x="2340" y="453"/>
                    </a:lnTo>
                    <a:lnTo>
                      <a:pt x="2392" y="414"/>
                    </a:lnTo>
                    <a:lnTo>
                      <a:pt x="2442" y="380"/>
                    </a:lnTo>
                    <a:lnTo>
                      <a:pt x="2491" y="348"/>
                    </a:lnTo>
                    <a:lnTo>
                      <a:pt x="2540" y="319"/>
                    </a:lnTo>
                    <a:lnTo>
                      <a:pt x="2588" y="294"/>
                    </a:lnTo>
                    <a:lnTo>
                      <a:pt x="2633" y="272"/>
                    </a:lnTo>
                    <a:lnTo>
                      <a:pt x="2677" y="252"/>
                    </a:lnTo>
                    <a:lnTo>
                      <a:pt x="2720" y="234"/>
                    </a:lnTo>
                    <a:lnTo>
                      <a:pt x="2761" y="219"/>
                    </a:lnTo>
                    <a:lnTo>
                      <a:pt x="2800" y="207"/>
                    </a:lnTo>
                    <a:lnTo>
                      <a:pt x="2838" y="195"/>
                    </a:lnTo>
                    <a:lnTo>
                      <a:pt x="2873" y="186"/>
                    </a:lnTo>
                    <a:lnTo>
                      <a:pt x="2906" y="179"/>
                    </a:lnTo>
                    <a:lnTo>
                      <a:pt x="2936" y="173"/>
                    </a:lnTo>
                    <a:lnTo>
                      <a:pt x="2964" y="169"/>
                    </a:lnTo>
                    <a:lnTo>
                      <a:pt x="2990" y="166"/>
                    </a:lnTo>
                    <a:lnTo>
                      <a:pt x="3014" y="164"/>
                    </a:lnTo>
                    <a:lnTo>
                      <a:pt x="3034" y="162"/>
                    </a:lnTo>
                    <a:lnTo>
                      <a:pt x="3117" y="156"/>
                    </a:lnTo>
                    <a:lnTo>
                      <a:pt x="3214" y="149"/>
                    </a:lnTo>
                    <a:lnTo>
                      <a:pt x="3324" y="139"/>
                    </a:lnTo>
                    <a:lnTo>
                      <a:pt x="3443" y="127"/>
                    </a:lnTo>
                    <a:lnTo>
                      <a:pt x="3568" y="114"/>
                    </a:lnTo>
                    <a:lnTo>
                      <a:pt x="3698" y="101"/>
                    </a:lnTo>
                    <a:lnTo>
                      <a:pt x="3827" y="87"/>
                    </a:lnTo>
                    <a:lnTo>
                      <a:pt x="3956" y="73"/>
                    </a:lnTo>
                    <a:lnTo>
                      <a:pt x="4080" y="59"/>
                    </a:lnTo>
                    <a:lnTo>
                      <a:pt x="4197" y="45"/>
                    </a:lnTo>
                    <a:lnTo>
                      <a:pt x="4302" y="33"/>
                    </a:lnTo>
                    <a:lnTo>
                      <a:pt x="4396" y="22"/>
                    </a:lnTo>
                    <a:lnTo>
                      <a:pt x="4475" y="13"/>
                    </a:lnTo>
                    <a:lnTo>
                      <a:pt x="4534" y="6"/>
                    </a:lnTo>
                    <a:lnTo>
                      <a:pt x="4573" y="1"/>
                    </a:lnTo>
                    <a:lnTo>
                      <a:pt x="4588" y="0"/>
                    </a:lnTo>
                    <a:lnTo>
                      <a:pt x="4594" y="0"/>
                    </a:lnTo>
                    <a:lnTo>
                      <a:pt x="4598" y="2"/>
                    </a:lnTo>
                    <a:lnTo>
                      <a:pt x="4601" y="6"/>
                    </a:lnTo>
                    <a:lnTo>
                      <a:pt x="4604" y="11"/>
                    </a:lnTo>
                    <a:lnTo>
                      <a:pt x="4603" y="17"/>
                    </a:lnTo>
                    <a:lnTo>
                      <a:pt x="4600" y="21"/>
                    </a:lnTo>
                    <a:lnTo>
                      <a:pt x="4597" y="24"/>
                    </a:lnTo>
                    <a:lnTo>
                      <a:pt x="4592" y="27"/>
                    </a:lnTo>
                    <a:lnTo>
                      <a:pt x="4577" y="28"/>
                    </a:lnTo>
                    <a:lnTo>
                      <a:pt x="4538" y="33"/>
                    </a:lnTo>
                    <a:lnTo>
                      <a:pt x="4478" y="40"/>
                    </a:lnTo>
                    <a:lnTo>
                      <a:pt x="4400" y="49"/>
                    </a:lnTo>
                    <a:lnTo>
                      <a:pt x="4306" y="60"/>
                    </a:lnTo>
                    <a:lnTo>
                      <a:pt x="4199" y="72"/>
                    </a:lnTo>
                    <a:lnTo>
                      <a:pt x="4082" y="86"/>
                    </a:lnTo>
                    <a:lnTo>
                      <a:pt x="3959" y="99"/>
                    </a:lnTo>
                    <a:lnTo>
                      <a:pt x="3830" y="114"/>
                    </a:lnTo>
                    <a:lnTo>
                      <a:pt x="3700" y="128"/>
                    </a:lnTo>
                    <a:lnTo>
                      <a:pt x="3570" y="141"/>
                    </a:lnTo>
                    <a:lnTo>
                      <a:pt x="3445" y="154"/>
                    </a:lnTo>
                    <a:lnTo>
                      <a:pt x="3326" y="166"/>
                    </a:lnTo>
                    <a:lnTo>
                      <a:pt x="3216" y="176"/>
                    </a:lnTo>
                    <a:lnTo>
                      <a:pt x="3119" y="183"/>
                    </a:lnTo>
                    <a:lnTo>
                      <a:pt x="3036" y="189"/>
                    </a:lnTo>
                    <a:lnTo>
                      <a:pt x="2997" y="192"/>
                    </a:lnTo>
                    <a:lnTo>
                      <a:pt x="2957" y="197"/>
                    </a:lnTo>
                    <a:lnTo>
                      <a:pt x="2917" y="204"/>
                    </a:lnTo>
                    <a:lnTo>
                      <a:pt x="2876" y="213"/>
                    </a:lnTo>
                    <a:lnTo>
                      <a:pt x="2834" y="224"/>
                    </a:lnTo>
                    <a:lnTo>
                      <a:pt x="2791" y="237"/>
                    </a:lnTo>
                    <a:lnTo>
                      <a:pt x="2746" y="253"/>
                    </a:lnTo>
                    <a:lnTo>
                      <a:pt x="2703" y="271"/>
                    </a:lnTo>
                    <a:lnTo>
                      <a:pt x="2658" y="291"/>
                    </a:lnTo>
                    <a:lnTo>
                      <a:pt x="2612" y="313"/>
                    </a:lnTo>
                    <a:lnTo>
                      <a:pt x="2567" y="337"/>
                    </a:lnTo>
                    <a:lnTo>
                      <a:pt x="2522" y="364"/>
                    </a:lnTo>
                    <a:lnTo>
                      <a:pt x="2475" y="394"/>
                    </a:lnTo>
                    <a:lnTo>
                      <a:pt x="2429" y="425"/>
                    </a:lnTo>
                    <a:lnTo>
                      <a:pt x="2381" y="459"/>
                    </a:lnTo>
                    <a:lnTo>
                      <a:pt x="2335" y="496"/>
                    </a:lnTo>
                    <a:lnTo>
                      <a:pt x="2288" y="535"/>
                    </a:lnTo>
                    <a:lnTo>
                      <a:pt x="2241" y="577"/>
                    </a:lnTo>
                    <a:lnTo>
                      <a:pt x="2195" y="622"/>
                    </a:lnTo>
                    <a:lnTo>
                      <a:pt x="2148" y="669"/>
                    </a:lnTo>
                    <a:lnTo>
                      <a:pt x="2102" y="720"/>
                    </a:lnTo>
                    <a:lnTo>
                      <a:pt x="2055" y="773"/>
                    </a:lnTo>
                    <a:lnTo>
                      <a:pt x="2010" y="828"/>
                    </a:lnTo>
                    <a:lnTo>
                      <a:pt x="1965" y="887"/>
                    </a:lnTo>
                    <a:lnTo>
                      <a:pt x="1919" y="948"/>
                    </a:lnTo>
                    <a:lnTo>
                      <a:pt x="1875" y="1013"/>
                    </a:lnTo>
                    <a:lnTo>
                      <a:pt x="1831" y="1080"/>
                    </a:lnTo>
                    <a:lnTo>
                      <a:pt x="1787" y="1150"/>
                    </a:lnTo>
                    <a:lnTo>
                      <a:pt x="1745" y="1225"/>
                    </a:lnTo>
                    <a:lnTo>
                      <a:pt x="1703" y="1301"/>
                    </a:lnTo>
                    <a:lnTo>
                      <a:pt x="1663" y="1381"/>
                    </a:lnTo>
                    <a:lnTo>
                      <a:pt x="1623" y="1464"/>
                    </a:lnTo>
                    <a:lnTo>
                      <a:pt x="1587" y="1540"/>
                    </a:lnTo>
                    <a:lnTo>
                      <a:pt x="1547" y="1619"/>
                    </a:lnTo>
                    <a:lnTo>
                      <a:pt x="1505" y="1699"/>
                    </a:lnTo>
                    <a:lnTo>
                      <a:pt x="1459" y="1781"/>
                    </a:lnTo>
                    <a:lnTo>
                      <a:pt x="1411" y="1864"/>
                    </a:lnTo>
                    <a:lnTo>
                      <a:pt x="1361" y="1948"/>
                    </a:lnTo>
                    <a:lnTo>
                      <a:pt x="1309" y="2034"/>
                    </a:lnTo>
                    <a:lnTo>
                      <a:pt x="1255" y="2121"/>
                    </a:lnTo>
                    <a:lnTo>
                      <a:pt x="1199" y="2207"/>
                    </a:lnTo>
                    <a:lnTo>
                      <a:pt x="1143" y="2295"/>
                    </a:lnTo>
                    <a:lnTo>
                      <a:pt x="1084" y="2382"/>
                    </a:lnTo>
                    <a:lnTo>
                      <a:pt x="1026" y="2469"/>
                    </a:lnTo>
                    <a:lnTo>
                      <a:pt x="967" y="2557"/>
                    </a:lnTo>
                    <a:lnTo>
                      <a:pt x="907" y="2643"/>
                    </a:lnTo>
                    <a:lnTo>
                      <a:pt x="847" y="2729"/>
                    </a:lnTo>
                    <a:lnTo>
                      <a:pt x="788" y="2813"/>
                    </a:lnTo>
                    <a:lnTo>
                      <a:pt x="669" y="2977"/>
                    </a:lnTo>
                    <a:lnTo>
                      <a:pt x="554" y="3133"/>
                    </a:lnTo>
                    <a:lnTo>
                      <a:pt x="444" y="3280"/>
                    </a:lnTo>
                    <a:lnTo>
                      <a:pt x="341" y="3416"/>
                    </a:lnTo>
                    <a:lnTo>
                      <a:pt x="247" y="3539"/>
                    </a:lnTo>
                    <a:lnTo>
                      <a:pt x="162" y="3646"/>
                    </a:lnTo>
                    <a:lnTo>
                      <a:pt x="92" y="3737"/>
                    </a:lnTo>
                    <a:lnTo>
                      <a:pt x="35" y="3808"/>
                    </a:lnTo>
                    <a:lnTo>
                      <a:pt x="0" y="3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18"/>
              <p:cNvSpPr>
                <a:spLocks/>
              </p:cNvSpPr>
              <p:nvPr userDrawn="1"/>
            </p:nvSpPr>
            <p:spPr bwMode="auto">
              <a:xfrm>
                <a:off x="440" y="3474"/>
                <a:ext cx="670" cy="846"/>
              </a:xfrm>
              <a:custGeom>
                <a:avLst/>
                <a:gdLst>
                  <a:gd name="T0" fmla="*/ 76 w 2008"/>
                  <a:gd name="T1" fmla="*/ 2453 h 2538"/>
                  <a:gd name="T2" fmla="*/ 300 w 2008"/>
                  <a:gd name="T3" fmla="*/ 2203 h 2538"/>
                  <a:gd name="T4" fmla="*/ 589 w 2008"/>
                  <a:gd name="T5" fmla="*/ 1873 h 2538"/>
                  <a:gd name="T6" fmla="*/ 914 w 2008"/>
                  <a:gd name="T7" fmla="*/ 1494 h 2538"/>
                  <a:gd name="T8" fmla="*/ 1161 w 2008"/>
                  <a:gd name="T9" fmla="*/ 1197 h 2538"/>
                  <a:gd name="T10" fmla="*/ 1322 w 2008"/>
                  <a:gd name="T11" fmla="*/ 999 h 2538"/>
                  <a:gd name="T12" fmla="*/ 1474 w 2008"/>
                  <a:gd name="T13" fmla="*/ 807 h 2538"/>
                  <a:gd name="T14" fmla="*/ 1613 w 2008"/>
                  <a:gd name="T15" fmla="*/ 623 h 2538"/>
                  <a:gd name="T16" fmla="*/ 1736 w 2008"/>
                  <a:gd name="T17" fmla="*/ 451 h 2538"/>
                  <a:gd name="T18" fmla="*/ 1839 w 2008"/>
                  <a:gd name="T19" fmla="*/ 297 h 2538"/>
                  <a:gd name="T20" fmla="*/ 1917 w 2008"/>
                  <a:gd name="T21" fmla="*/ 163 h 2538"/>
                  <a:gd name="T22" fmla="*/ 1968 w 2008"/>
                  <a:gd name="T23" fmla="*/ 54 h 2538"/>
                  <a:gd name="T24" fmla="*/ 1984 w 2008"/>
                  <a:gd name="T25" fmla="*/ 4 h 2538"/>
                  <a:gd name="T26" fmla="*/ 1993 w 2008"/>
                  <a:gd name="T27" fmla="*/ 0 h 2538"/>
                  <a:gd name="T28" fmla="*/ 2004 w 2008"/>
                  <a:gd name="T29" fmla="*/ 2 h 2538"/>
                  <a:gd name="T30" fmla="*/ 2008 w 2008"/>
                  <a:gd name="T31" fmla="*/ 11 h 2538"/>
                  <a:gd name="T32" fmla="*/ 2002 w 2008"/>
                  <a:gd name="T33" fmla="*/ 41 h 2538"/>
                  <a:gd name="T34" fmla="*/ 1979 w 2008"/>
                  <a:gd name="T35" fmla="*/ 98 h 2538"/>
                  <a:gd name="T36" fmla="*/ 1947 w 2008"/>
                  <a:gd name="T37" fmla="*/ 165 h 2538"/>
                  <a:gd name="T38" fmla="*/ 1904 w 2008"/>
                  <a:gd name="T39" fmla="*/ 240 h 2538"/>
                  <a:gd name="T40" fmla="*/ 1854 w 2008"/>
                  <a:gd name="T41" fmla="*/ 322 h 2538"/>
                  <a:gd name="T42" fmla="*/ 1795 w 2008"/>
                  <a:gd name="T43" fmla="*/ 410 h 2538"/>
                  <a:gd name="T44" fmla="*/ 1695 w 2008"/>
                  <a:gd name="T45" fmla="*/ 553 h 2538"/>
                  <a:gd name="T46" fmla="*/ 1544 w 2008"/>
                  <a:gd name="T47" fmla="*/ 758 h 2538"/>
                  <a:gd name="T48" fmla="*/ 1376 w 2008"/>
                  <a:gd name="T49" fmla="*/ 973 h 2538"/>
                  <a:gd name="T50" fmla="*/ 1203 w 2008"/>
                  <a:gd name="T51" fmla="*/ 1190 h 2538"/>
                  <a:gd name="T52" fmla="*/ 1027 w 2008"/>
                  <a:gd name="T53" fmla="*/ 1403 h 2538"/>
                  <a:gd name="T54" fmla="*/ 879 w 2008"/>
                  <a:gd name="T55" fmla="*/ 1578 h 2538"/>
                  <a:gd name="T56" fmla="*/ 752 w 2008"/>
                  <a:gd name="T57" fmla="*/ 1727 h 2538"/>
                  <a:gd name="T58" fmla="*/ 623 w 2008"/>
                  <a:gd name="T59" fmla="*/ 1876 h 2538"/>
                  <a:gd name="T60" fmla="*/ 496 w 2008"/>
                  <a:gd name="T61" fmla="*/ 2023 h 2538"/>
                  <a:gd name="T62" fmla="*/ 374 w 2008"/>
                  <a:gd name="T63" fmla="*/ 2162 h 2538"/>
                  <a:gd name="T64" fmla="*/ 261 w 2008"/>
                  <a:gd name="T65" fmla="*/ 2290 h 2538"/>
                  <a:gd name="T66" fmla="*/ 159 w 2008"/>
                  <a:gd name="T67" fmla="*/ 2403 h 2538"/>
                  <a:gd name="T68" fmla="*/ 73 w 2008"/>
                  <a:gd name="T69" fmla="*/ 2499 h 2538"/>
                  <a:gd name="T70" fmla="*/ 0 w 2008"/>
                  <a:gd name="T71" fmla="*/ 2538 h 2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8" h="2538">
                    <a:moveTo>
                      <a:pt x="0" y="2538"/>
                    </a:moveTo>
                    <a:lnTo>
                      <a:pt x="76" y="2453"/>
                    </a:lnTo>
                    <a:lnTo>
                      <a:pt x="178" y="2339"/>
                    </a:lnTo>
                    <a:lnTo>
                      <a:pt x="300" y="2203"/>
                    </a:lnTo>
                    <a:lnTo>
                      <a:pt x="438" y="2047"/>
                    </a:lnTo>
                    <a:lnTo>
                      <a:pt x="589" y="1873"/>
                    </a:lnTo>
                    <a:lnTo>
                      <a:pt x="749" y="1688"/>
                    </a:lnTo>
                    <a:lnTo>
                      <a:pt x="914" y="1494"/>
                    </a:lnTo>
                    <a:lnTo>
                      <a:pt x="1079" y="1297"/>
                    </a:lnTo>
                    <a:lnTo>
                      <a:pt x="1161" y="1197"/>
                    </a:lnTo>
                    <a:lnTo>
                      <a:pt x="1242" y="1098"/>
                    </a:lnTo>
                    <a:lnTo>
                      <a:pt x="1322" y="999"/>
                    </a:lnTo>
                    <a:lnTo>
                      <a:pt x="1399" y="902"/>
                    </a:lnTo>
                    <a:lnTo>
                      <a:pt x="1474" y="807"/>
                    </a:lnTo>
                    <a:lnTo>
                      <a:pt x="1545" y="714"/>
                    </a:lnTo>
                    <a:lnTo>
                      <a:pt x="1613" y="623"/>
                    </a:lnTo>
                    <a:lnTo>
                      <a:pt x="1677" y="536"/>
                    </a:lnTo>
                    <a:lnTo>
                      <a:pt x="1736" y="451"/>
                    </a:lnTo>
                    <a:lnTo>
                      <a:pt x="1790" y="373"/>
                    </a:lnTo>
                    <a:lnTo>
                      <a:pt x="1839" y="297"/>
                    </a:lnTo>
                    <a:lnTo>
                      <a:pt x="1882" y="228"/>
                    </a:lnTo>
                    <a:lnTo>
                      <a:pt x="1917" y="163"/>
                    </a:lnTo>
                    <a:lnTo>
                      <a:pt x="1947" y="106"/>
                    </a:lnTo>
                    <a:lnTo>
                      <a:pt x="1968" y="54"/>
                    </a:lnTo>
                    <a:lnTo>
                      <a:pt x="1982" y="10"/>
                    </a:lnTo>
                    <a:lnTo>
                      <a:pt x="1984" y="4"/>
                    </a:lnTo>
                    <a:lnTo>
                      <a:pt x="1989" y="1"/>
                    </a:lnTo>
                    <a:lnTo>
                      <a:pt x="1993" y="0"/>
                    </a:lnTo>
                    <a:lnTo>
                      <a:pt x="1998" y="0"/>
                    </a:lnTo>
                    <a:lnTo>
                      <a:pt x="2004" y="2"/>
                    </a:lnTo>
                    <a:lnTo>
                      <a:pt x="2007" y="6"/>
                    </a:lnTo>
                    <a:lnTo>
                      <a:pt x="2008" y="11"/>
                    </a:lnTo>
                    <a:lnTo>
                      <a:pt x="2008" y="16"/>
                    </a:lnTo>
                    <a:lnTo>
                      <a:pt x="2002" y="41"/>
                    </a:lnTo>
                    <a:lnTo>
                      <a:pt x="1992" y="69"/>
                    </a:lnTo>
                    <a:lnTo>
                      <a:pt x="1979" y="98"/>
                    </a:lnTo>
                    <a:lnTo>
                      <a:pt x="1964" y="131"/>
                    </a:lnTo>
                    <a:lnTo>
                      <a:pt x="1947" y="165"/>
                    </a:lnTo>
                    <a:lnTo>
                      <a:pt x="1926" y="202"/>
                    </a:lnTo>
                    <a:lnTo>
                      <a:pt x="1904" y="240"/>
                    </a:lnTo>
                    <a:lnTo>
                      <a:pt x="1880" y="280"/>
                    </a:lnTo>
                    <a:lnTo>
                      <a:pt x="1854" y="322"/>
                    </a:lnTo>
                    <a:lnTo>
                      <a:pt x="1826" y="365"/>
                    </a:lnTo>
                    <a:lnTo>
                      <a:pt x="1795" y="410"/>
                    </a:lnTo>
                    <a:lnTo>
                      <a:pt x="1764" y="457"/>
                    </a:lnTo>
                    <a:lnTo>
                      <a:pt x="1695" y="553"/>
                    </a:lnTo>
                    <a:lnTo>
                      <a:pt x="1621" y="654"/>
                    </a:lnTo>
                    <a:lnTo>
                      <a:pt x="1544" y="758"/>
                    </a:lnTo>
                    <a:lnTo>
                      <a:pt x="1462" y="865"/>
                    </a:lnTo>
                    <a:lnTo>
                      <a:pt x="1376" y="973"/>
                    </a:lnTo>
                    <a:lnTo>
                      <a:pt x="1290" y="1081"/>
                    </a:lnTo>
                    <a:lnTo>
                      <a:pt x="1203" y="1190"/>
                    </a:lnTo>
                    <a:lnTo>
                      <a:pt x="1114" y="1298"/>
                    </a:lnTo>
                    <a:lnTo>
                      <a:pt x="1027" y="1403"/>
                    </a:lnTo>
                    <a:lnTo>
                      <a:pt x="940" y="1506"/>
                    </a:lnTo>
                    <a:lnTo>
                      <a:pt x="879" y="1578"/>
                    </a:lnTo>
                    <a:lnTo>
                      <a:pt x="816" y="1653"/>
                    </a:lnTo>
                    <a:lnTo>
                      <a:pt x="752" y="1727"/>
                    </a:lnTo>
                    <a:lnTo>
                      <a:pt x="687" y="1802"/>
                    </a:lnTo>
                    <a:lnTo>
                      <a:pt x="623" y="1876"/>
                    </a:lnTo>
                    <a:lnTo>
                      <a:pt x="559" y="1951"/>
                    </a:lnTo>
                    <a:lnTo>
                      <a:pt x="496" y="2023"/>
                    </a:lnTo>
                    <a:lnTo>
                      <a:pt x="434" y="2093"/>
                    </a:lnTo>
                    <a:lnTo>
                      <a:pt x="374" y="2162"/>
                    </a:lnTo>
                    <a:lnTo>
                      <a:pt x="316" y="2227"/>
                    </a:lnTo>
                    <a:lnTo>
                      <a:pt x="261" y="2290"/>
                    </a:lnTo>
                    <a:lnTo>
                      <a:pt x="208" y="2349"/>
                    </a:lnTo>
                    <a:lnTo>
                      <a:pt x="159" y="2403"/>
                    </a:lnTo>
                    <a:lnTo>
                      <a:pt x="114" y="2454"/>
                    </a:lnTo>
                    <a:lnTo>
                      <a:pt x="73" y="2499"/>
                    </a:lnTo>
                    <a:lnTo>
                      <a:pt x="36" y="2538"/>
                    </a:lnTo>
                    <a:lnTo>
                      <a:pt x="0" y="2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19"/>
              <p:cNvSpPr>
                <a:spLocks/>
              </p:cNvSpPr>
              <p:nvPr userDrawn="1"/>
            </p:nvSpPr>
            <p:spPr bwMode="auto">
              <a:xfrm>
                <a:off x="338" y="3040"/>
                <a:ext cx="1023" cy="1243"/>
              </a:xfrm>
              <a:custGeom>
                <a:avLst/>
                <a:gdLst>
                  <a:gd name="T0" fmla="*/ 11 w 3069"/>
                  <a:gd name="T1" fmla="*/ 3729 h 3729"/>
                  <a:gd name="T2" fmla="*/ 3 w 3069"/>
                  <a:gd name="T3" fmla="*/ 3724 h 3729"/>
                  <a:gd name="T4" fmla="*/ 0 w 3069"/>
                  <a:gd name="T5" fmla="*/ 3715 h 3729"/>
                  <a:gd name="T6" fmla="*/ 14 w 3069"/>
                  <a:gd name="T7" fmla="*/ 3682 h 3729"/>
                  <a:gd name="T8" fmla="*/ 98 w 3069"/>
                  <a:gd name="T9" fmla="*/ 3501 h 3729"/>
                  <a:gd name="T10" fmla="*/ 245 w 3069"/>
                  <a:gd name="T11" fmla="*/ 3188 h 3729"/>
                  <a:gd name="T12" fmla="*/ 435 w 3069"/>
                  <a:gd name="T13" fmla="*/ 2783 h 3729"/>
                  <a:gd name="T14" fmla="*/ 649 w 3069"/>
                  <a:gd name="T15" fmla="*/ 2330 h 3729"/>
                  <a:gd name="T16" fmla="*/ 867 w 3069"/>
                  <a:gd name="T17" fmla="*/ 1870 h 3729"/>
                  <a:gd name="T18" fmla="*/ 1069 w 3069"/>
                  <a:gd name="T19" fmla="*/ 1446 h 3729"/>
                  <a:gd name="T20" fmla="*/ 1237 w 3069"/>
                  <a:gd name="T21" fmla="*/ 1099 h 3729"/>
                  <a:gd name="T22" fmla="*/ 1334 w 3069"/>
                  <a:gd name="T23" fmla="*/ 910 h 3729"/>
                  <a:gd name="T24" fmla="*/ 1414 w 3069"/>
                  <a:gd name="T25" fmla="*/ 801 h 3729"/>
                  <a:gd name="T26" fmla="*/ 1516 w 3069"/>
                  <a:gd name="T27" fmla="*/ 699 h 3729"/>
                  <a:gd name="T28" fmla="*/ 1634 w 3069"/>
                  <a:gd name="T29" fmla="*/ 602 h 3729"/>
                  <a:gd name="T30" fmla="*/ 1763 w 3069"/>
                  <a:gd name="T31" fmla="*/ 512 h 3729"/>
                  <a:gd name="T32" fmla="*/ 1904 w 3069"/>
                  <a:gd name="T33" fmla="*/ 430 h 3729"/>
                  <a:gd name="T34" fmla="*/ 2049 w 3069"/>
                  <a:gd name="T35" fmla="*/ 353 h 3729"/>
                  <a:gd name="T36" fmla="*/ 2197 w 3069"/>
                  <a:gd name="T37" fmla="*/ 284 h 3729"/>
                  <a:gd name="T38" fmla="*/ 2344 w 3069"/>
                  <a:gd name="T39" fmla="*/ 223 h 3729"/>
                  <a:gd name="T40" fmla="*/ 2486 w 3069"/>
                  <a:gd name="T41" fmla="*/ 169 h 3729"/>
                  <a:gd name="T42" fmla="*/ 2620 w 3069"/>
                  <a:gd name="T43" fmla="*/ 121 h 3729"/>
                  <a:gd name="T44" fmla="*/ 2743 w 3069"/>
                  <a:gd name="T45" fmla="*/ 81 h 3729"/>
                  <a:gd name="T46" fmla="*/ 2850 w 3069"/>
                  <a:gd name="T47" fmla="*/ 50 h 3729"/>
                  <a:gd name="T48" fmla="*/ 2938 w 3069"/>
                  <a:gd name="T49" fmla="*/ 25 h 3729"/>
                  <a:gd name="T50" fmla="*/ 3005 w 3069"/>
                  <a:gd name="T51" fmla="*/ 9 h 3729"/>
                  <a:gd name="T52" fmla="*/ 3046 w 3069"/>
                  <a:gd name="T53" fmla="*/ 1 h 3729"/>
                  <a:gd name="T54" fmla="*/ 3061 w 3069"/>
                  <a:gd name="T55" fmla="*/ 1 h 3729"/>
                  <a:gd name="T56" fmla="*/ 3068 w 3069"/>
                  <a:gd name="T57" fmla="*/ 9 h 3729"/>
                  <a:gd name="T58" fmla="*/ 3068 w 3069"/>
                  <a:gd name="T59" fmla="*/ 19 h 3729"/>
                  <a:gd name="T60" fmla="*/ 3061 w 3069"/>
                  <a:gd name="T61" fmla="*/ 26 h 3729"/>
                  <a:gd name="T62" fmla="*/ 3045 w 3069"/>
                  <a:gd name="T63" fmla="*/ 28 h 3729"/>
                  <a:gd name="T64" fmla="*/ 3002 w 3069"/>
                  <a:gd name="T65" fmla="*/ 37 h 3729"/>
                  <a:gd name="T66" fmla="*/ 2893 w 3069"/>
                  <a:gd name="T67" fmla="*/ 65 h 3729"/>
                  <a:gd name="T68" fmla="*/ 2739 w 3069"/>
                  <a:gd name="T69" fmla="*/ 110 h 3729"/>
                  <a:gd name="T70" fmla="*/ 2618 w 3069"/>
                  <a:gd name="T71" fmla="*/ 150 h 3729"/>
                  <a:gd name="T72" fmla="*/ 2486 w 3069"/>
                  <a:gd name="T73" fmla="*/ 197 h 3729"/>
                  <a:gd name="T74" fmla="*/ 2345 w 3069"/>
                  <a:gd name="T75" fmla="*/ 251 h 3729"/>
                  <a:gd name="T76" fmla="*/ 2202 w 3069"/>
                  <a:gd name="T77" fmla="*/ 311 h 3729"/>
                  <a:gd name="T78" fmla="*/ 2056 w 3069"/>
                  <a:gd name="T79" fmla="*/ 379 h 3729"/>
                  <a:gd name="T80" fmla="*/ 1913 w 3069"/>
                  <a:gd name="T81" fmla="*/ 454 h 3729"/>
                  <a:gd name="T82" fmla="*/ 1777 w 3069"/>
                  <a:gd name="T83" fmla="*/ 536 h 3729"/>
                  <a:gd name="T84" fmla="*/ 1650 w 3069"/>
                  <a:gd name="T85" fmla="*/ 623 h 3729"/>
                  <a:gd name="T86" fmla="*/ 1534 w 3069"/>
                  <a:gd name="T87" fmla="*/ 717 h 3729"/>
                  <a:gd name="T88" fmla="*/ 1436 w 3069"/>
                  <a:gd name="T89" fmla="*/ 817 h 3729"/>
                  <a:gd name="T90" fmla="*/ 1357 w 3069"/>
                  <a:gd name="T91" fmla="*/ 924 h 3729"/>
                  <a:gd name="T92" fmla="*/ 1261 w 3069"/>
                  <a:gd name="T93" fmla="*/ 1111 h 3729"/>
                  <a:gd name="T94" fmla="*/ 1094 w 3069"/>
                  <a:gd name="T95" fmla="*/ 1458 h 3729"/>
                  <a:gd name="T96" fmla="*/ 891 w 3069"/>
                  <a:gd name="T97" fmla="*/ 1882 h 3729"/>
                  <a:gd name="T98" fmla="*/ 674 w 3069"/>
                  <a:gd name="T99" fmla="*/ 2342 h 3729"/>
                  <a:gd name="T100" fmla="*/ 460 w 3069"/>
                  <a:gd name="T101" fmla="*/ 2795 h 3729"/>
                  <a:gd name="T102" fmla="*/ 270 w 3069"/>
                  <a:gd name="T103" fmla="*/ 3199 h 3729"/>
                  <a:gd name="T104" fmla="*/ 123 w 3069"/>
                  <a:gd name="T105" fmla="*/ 3513 h 3729"/>
                  <a:gd name="T106" fmla="*/ 39 w 3069"/>
                  <a:gd name="T107" fmla="*/ 3694 h 3729"/>
                  <a:gd name="T108" fmla="*/ 24 w 3069"/>
                  <a:gd name="T109" fmla="*/ 3724 h 3729"/>
                  <a:gd name="T110" fmla="*/ 17 w 3069"/>
                  <a:gd name="T111" fmla="*/ 3729 h 3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9" h="3729">
                    <a:moveTo>
                      <a:pt x="13" y="3729"/>
                    </a:moveTo>
                    <a:lnTo>
                      <a:pt x="11" y="3729"/>
                    </a:lnTo>
                    <a:lnTo>
                      <a:pt x="8" y="3728"/>
                    </a:lnTo>
                    <a:lnTo>
                      <a:pt x="3" y="3724"/>
                    </a:lnTo>
                    <a:lnTo>
                      <a:pt x="1" y="3720"/>
                    </a:lnTo>
                    <a:lnTo>
                      <a:pt x="0" y="3715"/>
                    </a:lnTo>
                    <a:lnTo>
                      <a:pt x="1" y="3710"/>
                    </a:lnTo>
                    <a:lnTo>
                      <a:pt x="14" y="3682"/>
                    </a:lnTo>
                    <a:lnTo>
                      <a:pt x="47" y="3611"/>
                    </a:lnTo>
                    <a:lnTo>
                      <a:pt x="98" y="3501"/>
                    </a:lnTo>
                    <a:lnTo>
                      <a:pt x="165" y="3359"/>
                    </a:lnTo>
                    <a:lnTo>
                      <a:pt x="245" y="3188"/>
                    </a:lnTo>
                    <a:lnTo>
                      <a:pt x="337" y="2995"/>
                    </a:lnTo>
                    <a:lnTo>
                      <a:pt x="435" y="2783"/>
                    </a:lnTo>
                    <a:lnTo>
                      <a:pt x="541" y="2560"/>
                    </a:lnTo>
                    <a:lnTo>
                      <a:pt x="649" y="2330"/>
                    </a:lnTo>
                    <a:lnTo>
                      <a:pt x="758" y="2099"/>
                    </a:lnTo>
                    <a:lnTo>
                      <a:pt x="867" y="1870"/>
                    </a:lnTo>
                    <a:lnTo>
                      <a:pt x="971" y="1651"/>
                    </a:lnTo>
                    <a:lnTo>
                      <a:pt x="1069" y="1446"/>
                    </a:lnTo>
                    <a:lnTo>
                      <a:pt x="1159" y="1260"/>
                    </a:lnTo>
                    <a:lnTo>
                      <a:pt x="1237" y="1099"/>
                    </a:lnTo>
                    <a:lnTo>
                      <a:pt x="1302" y="968"/>
                    </a:lnTo>
                    <a:lnTo>
                      <a:pt x="1334" y="910"/>
                    </a:lnTo>
                    <a:lnTo>
                      <a:pt x="1371" y="855"/>
                    </a:lnTo>
                    <a:lnTo>
                      <a:pt x="1414" y="801"/>
                    </a:lnTo>
                    <a:lnTo>
                      <a:pt x="1463" y="748"/>
                    </a:lnTo>
                    <a:lnTo>
                      <a:pt x="1516" y="699"/>
                    </a:lnTo>
                    <a:lnTo>
                      <a:pt x="1573" y="649"/>
                    </a:lnTo>
                    <a:lnTo>
                      <a:pt x="1634" y="602"/>
                    </a:lnTo>
                    <a:lnTo>
                      <a:pt x="1697" y="556"/>
                    </a:lnTo>
                    <a:lnTo>
                      <a:pt x="1763" y="512"/>
                    </a:lnTo>
                    <a:lnTo>
                      <a:pt x="1832" y="470"/>
                    </a:lnTo>
                    <a:lnTo>
                      <a:pt x="1904" y="430"/>
                    </a:lnTo>
                    <a:lnTo>
                      <a:pt x="1976" y="391"/>
                    </a:lnTo>
                    <a:lnTo>
                      <a:pt x="2049" y="353"/>
                    </a:lnTo>
                    <a:lnTo>
                      <a:pt x="2123" y="318"/>
                    </a:lnTo>
                    <a:lnTo>
                      <a:pt x="2197" y="284"/>
                    </a:lnTo>
                    <a:lnTo>
                      <a:pt x="2271" y="253"/>
                    </a:lnTo>
                    <a:lnTo>
                      <a:pt x="2344" y="223"/>
                    </a:lnTo>
                    <a:lnTo>
                      <a:pt x="2415" y="195"/>
                    </a:lnTo>
                    <a:lnTo>
                      <a:pt x="2486" y="169"/>
                    </a:lnTo>
                    <a:lnTo>
                      <a:pt x="2555" y="144"/>
                    </a:lnTo>
                    <a:lnTo>
                      <a:pt x="2620" y="121"/>
                    </a:lnTo>
                    <a:lnTo>
                      <a:pt x="2683" y="101"/>
                    </a:lnTo>
                    <a:lnTo>
                      <a:pt x="2743" y="81"/>
                    </a:lnTo>
                    <a:lnTo>
                      <a:pt x="2799" y="65"/>
                    </a:lnTo>
                    <a:lnTo>
                      <a:pt x="2850" y="50"/>
                    </a:lnTo>
                    <a:lnTo>
                      <a:pt x="2897" y="37"/>
                    </a:lnTo>
                    <a:lnTo>
                      <a:pt x="2938" y="25"/>
                    </a:lnTo>
                    <a:lnTo>
                      <a:pt x="2975" y="16"/>
                    </a:lnTo>
                    <a:lnTo>
                      <a:pt x="3005" y="9"/>
                    </a:lnTo>
                    <a:lnTo>
                      <a:pt x="3029" y="5"/>
                    </a:lnTo>
                    <a:lnTo>
                      <a:pt x="3046" y="1"/>
                    </a:lnTo>
                    <a:lnTo>
                      <a:pt x="3056" y="0"/>
                    </a:lnTo>
                    <a:lnTo>
                      <a:pt x="3061" y="1"/>
                    </a:lnTo>
                    <a:lnTo>
                      <a:pt x="3066" y="5"/>
                    </a:lnTo>
                    <a:lnTo>
                      <a:pt x="3068" y="9"/>
                    </a:lnTo>
                    <a:lnTo>
                      <a:pt x="3069" y="13"/>
                    </a:lnTo>
                    <a:lnTo>
                      <a:pt x="3068" y="19"/>
                    </a:lnTo>
                    <a:lnTo>
                      <a:pt x="3066" y="23"/>
                    </a:lnTo>
                    <a:lnTo>
                      <a:pt x="3061" y="26"/>
                    </a:lnTo>
                    <a:lnTo>
                      <a:pt x="3056" y="27"/>
                    </a:lnTo>
                    <a:lnTo>
                      <a:pt x="3045" y="28"/>
                    </a:lnTo>
                    <a:lnTo>
                      <a:pt x="3027" y="32"/>
                    </a:lnTo>
                    <a:lnTo>
                      <a:pt x="3002" y="37"/>
                    </a:lnTo>
                    <a:lnTo>
                      <a:pt x="2972" y="45"/>
                    </a:lnTo>
                    <a:lnTo>
                      <a:pt x="2893" y="65"/>
                    </a:lnTo>
                    <a:lnTo>
                      <a:pt x="2794" y="93"/>
                    </a:lnTo>
                    <a:lnTo>
                      <a:pt x="2739" y="110"/>
                    </a:lnTo>
                    <a:lnTo>
                      <a:pt x="2680" y="130"/>
                    </a:lnTo>
                    <a:lnTo>
                      <a:pt x="2618" y="150"/>
                    </a:lnTo>
                    <a:lnTo>
                      <a:pt x="2553" y="172"/>
                    </a:lnTo>
                    <a:lnTo>
                      <a:pt x="2486" y="197"/>
                    </a:lnTo>
                    <a:lnTo>
                      <a:pt x="2417" y="223"/>
                    </a:lnTo>
                    <a:lnTo>
                      <a:pt x="2345" y="251"/>
                    </a:lnTo>
                    <a:lnTo>
                      <a:pt x="2274" y="280"/>
                    </a:lnTo>
                    <a:lnTo>
                      <a:pt x="2202" y="311"/>
                    </a:lnTo>
                    <a:lnTo>
                      <a:pt x="2129" y="345"/>
                    </a:lnTo>
                    <a:lnTo>
                      <a:pt x="2056" y="379"/>
                    </a:lnTo>
                    <a:lnTo>
                      <a:pt x="1985" y="416"/>
                    </a:lnTo>
                    <a:lnTo>
                      <a:pt x="1913" y="454"/>
                    </a:lnTo>
                    <a:lnTo>
                      <a:pt x="1844" y="494"/>
                    </a:lnTo>
                    <a:lnTo>
                      <a:pt x="1777" y="536"/>
                    </a:lnTo>
                    <a:lnTo>
                      <a:pt x="1711" y="578"/>
                    </a:lnTo>
                    <a:lnTo>
                      <a:pt x="1650" y="623"/>
                    </a:lnTo>
                    <a:lnTo>
                      <a:pt x="1591" y="670"/>
                    </a:lnTo>
                    <a:lnTo>
                      <a:pt x="1534" y="717"/>
                    </a:lnTo>
                    <a:lnTo>
                      <a:pt x="1484" y="767"/>
                    </a:lnTo>
                    <a:lnTo>
                      <a:pt x="1436" y="817"/>
                    </a:lnTo>
                    <a:lnTo>
                      <a:pt x="1394" y="870"/>
                    </a:lnTo>
                    <a:lnTo>
                      <a:pt x="1357" y="924"/>
                    </a:lnTo>
                    <a:lnTo>
                      <a:pt x="1326" y="979"/>
                    </a:lnTo>
                    <a:lnTo>
                      <a:pt x="1261" y="1111"/>
                    </a:lnTo>
                    <a:lnTo>
                      <a:pt x="1182" y="1272"/>
                    </a:lnTo>
                    <a:lnTo>
                      <a:pt x="1094" y="1458"/>
                    </a:lnTo>
                    <a:lnTo>
                      <a:pt x="996" y="1663"/>
                    </a:lnTo>
                    <a:lnTo>
                      <a:pt x="891" y="1882"/>
                    </a:lnTo>
                    <a:lnTo>
                      <a:pt x="783" y="2111"/>
                    </a:lnTo>
                    <a:lnTo>
                      <a:pt x="674" y="2342"/>
                    </a:lnTo>
                    <a:lnTo>
                      <a:pt x="565" y="2572"/>
                    </a:lnTo>
                    <a:lnTo>
                      <a:pt x="460" y="2795"/>
                    </a:lnTo>
                    <a:lnTo>
                      <a:pt x="361" y="3006"/>
                    </a:lnTo>
                    <a:lnTo>
                      <a:pt x="270" y="3199"/>
                    </a:lnTo>
                    <a:lnTo>
                      <a:pt x="190" y="3370"/>
                    </a:lnTo>
                    <a:lnTo>
                      <a:pt x="123" y="3513"/>
                    </a:lnTo>
                    <a:lnTo>
                      <a:pt x="72" y="3623"/>
                    </a:lnTo>
                    <a:lnTo>
                      <a:pt x="39" y="3694"/>
                    </a:lnTo>
                    <a:lnTo>
                      <a:pt x="26" y="3721"/>
                    </a:lnTo>
                    <a:lnTo>
                      <a:pt x="24" y="3724"/>
                    </a:lnTo>
                    <a:lnTo>
                      <a:pt x="20" y="3728"/>
                    </a:lnTo>
                    <a:lnTo>
                      <a:pt x="17" y="3729"/>
                    </a:lnTo>
                    <a:lnTo>
                      <a:pt x="13" y="37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20"/>
              <p:cNvSpPr>
                <a:spLocks/>
              </p:cNvSpPr>
              <p:nvPr userDrawn="1"/>
            </p:nvSpPr>
            <p:spPr bwMode="auto">
              <a:xfrm>
                <a:off x="1208" y="3525"/>
                <a:ext cx="1705" cy="409"/>
              </a:xfrm>
              <a:custGeom>
                <a:avLst/>
                <a:gdLst>
                  <a:gd name="T0" fmla="*/ 2896 w 5115"/>
                  <a:gd name="T1" fmla="*/ 1220 h 1227"/>
                  <a:gd name="T2" fmla="*/ 2666 w 5115"/>
                  <a:gd name="T3" fmla="*/ 1191 h 1227"/>
                  <a:gd name="T4" fmla="*/ 2431 w 5115"/>
                  <a:gd name="T5" fmla="*/ 1134 h 1227"/>
                  <a:gd name="T6" fmla="*/ 2192 w 5115"/>
                  <a:gd name="T7" fmla="*/ 1044 h 1227"/>
                  <a:gd name="T8" fmla="*/ 1890 w 5115"/>
                  <a:gd name="T9" fmla="*/ 896 h 1227"/>
                  <a:gd name="T10" fmla="*/ 1616 w 5115"/>
                  <a:gd name="T11" fmla="*/ 742 h 1227"/>
                  <a:gd name="T12" fmla="*/ 1387 w 5115"/>
                  <a:gd name="T13" fmla="*/ 597 h 1227"/>
                  <a:gd name="T14" fmla="*/ 1193 w 5115"/>
                  <a:gd name="T15" fmla="*/ 466 h 1227"/>
                  <a:gd name="T16" fmla="*/ 951 w 5115"/>
                  <a:gd name="T17" fmla="*/ 301 h 1227"/>
                  <a:gd name="T18" fmla="*/ 799 w 5115"/>
                  <a:gd name="T19" fmla="*/ 207 h 1227"/>
                  <a:gd name="T20" fmla="*/ 675 w 5115"/>
                  <a:gd name="T21" fmla="*/ 145 h 1227"/>
                  <a:gd name="T22" fmla="*/ 545 w 5115"/>
                  <a:gd name="T23" fmla="*/ 95 h 1227"/>
                  <a:gd name="T24" fmla="*/ 404 w 5115"/>
                  <a:gd name="T25" fmla="*/ 59 h 1227"/>
                  <a:gd name="T26" fmla="*/ 245 w 5115"/>
                  <a:gd name="T27" fmla="*/ 36 h 1227"/>
                  <a:gd name="T28" fmla="*/ 64 w 5115"/>
                  <a:gd name="T29" fmla="*/ 27 h 1227"/>
                  <a:gd name="T30" fmla="*/ 1 w 5115"/>
                  <a:gd name="T31" fmla="*/ 20 h 1227"/>
                  <a:gd name="T32" fmla="*/ 8 w 5115"/>
                  <a:gd name="T33" fmla="*/ 2 h 1227"/>
                  <a:gd name="T34" fmla="*/ 160 w 5115"/>
                  <a:gd name="T35" fmla="*/ 4 h 1227"/>
                  <a:gd name="T36" fmla="*/ 332 w 5115"/>
                  <a:gd name="T37" fmla="*/ 20 h 1227"/>
                  <a:gd name="T38" fmla="*/ 487 w 5115"/>
                  <a:gd name="T39" fmla="*/ 51 h 1227"/>
                  <a:gd name="T40" fmla="*/ 625 w 5115"/>
                  <a:gd name="T41" fmla="*/ 95 h 1227"/>
                  <a:gd name="T42" fmla="*/ 754 w 5115"/>
                  <a:gd name="T43" fmla="*/ 153 h 1227"/>
                  <a:gd name="T44" fmla="*/ 877 w 5115"/>
                  <a:gd name="T45" fmla="*/ 222 h 1227"/>
                  <a:gd name="T46" fmla="*/ 1097 w 5115"/>
                  <a:gd name="T47" fmla="*/ 366 h 1227"/>
                  <a:gd name="T48" fmla="*/ 1301 w 5115"/>
                  <a:gd name="T49" fmla="*/ 507 h 1227"/>
                  <a:gd name="T50" fmla="*/ 1511 w 5115"/>
                  <a:gd name="T51" fmla="*/ 645 h 1227"/>
                  <a:gd name="T52" fmla="*/ 1760 w 5115"/>
                  <a:gd name="T53" fmla="*/ 794 h 1227"/>
                  <a:gd name="T54" fmla="*/ 2059 w 5115"/>
                  <a:gd name="T55" fmla="*/ 953 h 1227"/>
                  <a:gd name="T56" fmla="*/ 2358 w 5115"/>
                  <a:gd name="T57" fmla="*/ 1081 h 1227"/>
                  <a:gd name="T58" fmla="*/ 2638 w 5115"/>
                  <a:gd name="T59" fmla="*/ 1158 h 1227"/>
                  <a:gd name="T60" fmla="*/ 2912 w 5115"/>
                  <a:gd name="T61" fmla="*/ 1194 h 1227"/>
                  <a:gd name="T62" fmla="*/ 3180 w 5115"/>
                  <a:gd name="T63" fmla="*/ 1196 h 1227"/>
                  <a:gd name="T64" fmla="*/ 3441 w 5115"/>
                  <a:gd name="T65" fmla="*/ 1172 h 1227"/>
                  <a:gd name="T66" fmla="*/ 3695 w 5115"/>
                  <a:gd name="T67" fmla="*/ 1127 h 1227"/>
                  <a:gd name="T68" fmla="*/ 3941 w 5115"/>
                  <a:gd name="T69" fmla="*/ 1069 h 1227"/>
                  <a:gd name="T70" fmla="*/ 4296 w 5115"/>
                  <a:gd name="T71" fmla="*/ 972 h 1227"/>
                  <a:gd name="T72" fmla="*/ 4526 w 5115"/>
                  <a:gd name="T73" fmla="*/ 910 h 1227"/>
                  <a:gd name="T74" fmla="*/ 4746 w 5115"/>
                  <a:gd name="T75" fmla="*/ 861 h 1227"/>
                  <a:gd name="T76" fmla="*/ 4955 w 5115"/>
                  <a:gd name="T77" fmla="*/ 832 h 1227"/>
                  <a:gd name="T78" fmla="*/ 5107 w 5115"/>
                  <a:gd name="T79" fmla="*/ 829 h 1227"/>
                  <a:gd name="T80" fmla="*/ 5114 w 5115"/>
                  <a:gd name="T81" fmla="*/ 848 h 1227"/>
                  <a:gd name="T82" fmla="*/ 5053 w 5115"/>
                  <a:gd name="T83" fmla="*/ 854 h 1227"/>
                  <a:gd name="T84" fmla="*/ 4854 w 5115"/>
                  <a:gd name="T85" fmla="*/ 870 h 1227"/>
                  <a:gd name="T86" fmla="*/ 4642 w 5115"/>
                  <a:gd name="T87" fmla="*/ 910 h 1227"/>
                  <a:gd name="T88" fmla="*/ 4418 w 5115"/>
                  <a:gd name="T89" fmla="*/ 967 h 1227"/>
                  <a:gd name="T90" fmla="*/ 4177 w 5115"/>
                  <a:gd name="T91" fmla="*/ 1033 h 1227"/>
                  <a:gd name="T92" fmla="*/ 3894 w 5115"/>
                  <a:gd name="T93" fmla="*/ 1109 h 1227"/>
                  <a:gd name="T94" fmla="*/ 3601 w 5115"/>
                  <a:gd name="T95" fmla="*/ 1173 h 1227"/>
                  <a:gd name="T96" fmla="*/ 3299 w 5115"/>
                  <a:gd name="T97" fmla="*/ 1216 h 1227"/>
                  <a:gd name="T98" fmla="*/ 3104 w 5115"/>
                  <a:gd name="T99" fmla="*/ 1226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15" h="1227">
                    <a:moveTo>
                      <a:pt x="3064" y="1227"/>
                    </a:moveTo>
                    <a:lnTo>
                      <a:pt x="3008" y="1226"/>
                    </a:lnTo>
                    <a:lnTo>
                      <a:pt x="2952" y="1223"/>
                    </a:lnTo>
                    <a:lnTo>
                      <a:pt x="2896" y="1220"/>
                    </a:lnTo>
                    <a:lnTo>
                      <a:pt x="2839" y="1215"/>
                    </a:lnTo>
                    <a:lnTo>
                      <a:pt x="2781" y="1208"/>
                    </a:lnTo>
                    <a:lnTo>
                      <a:pt x="2723" y="1201"/>
                    </a:lnTo>
                    <a:lnTo>
                      <a:pt x="2666" y="1191"/>
                    </a:lnTo>
                    <a:lnTo>
                      <a:pt x="2608" y="1179"/>
                    </a:lnTo>
                    <a:lnTo>
                      <a:pt x="2549" y="1166"/>
                    </a:lnTo>
                    <a:lnTo>
                      <a:pt x="2490" y="1151"/>
                    </a:lnTo>
                    <a:lnTo>
                      <a:pt x="2431" y="1134"/>
                    </a:lnTo>
                    <a:lnTo>
                      <a:pt x="2371" y="1114"/>
                    </a:lnTo>
                    <a:lnTo>
                      <a:pt x="2312" y="1094"/>
                    </a:lnTo>
                    <a:lnTo>
                      <a:pt x="2252" y="1070"/>
                    </a:lnTo>
                    <a:lnTo>
                      <a:pt x="2192" y="1044"/>
                    </a:lnTo>
                    <a:lnTo>
                      <a:pt x="2131" y="1017"/>
                    </a:lnTo>
                    <a:lnTo>
                      <a:pt x="2047" y="976"/>
                    </a:lnTo>
                    <a:lnTo>
                      <a:pt x="1967" y="936"/>
                    </a:lnTo>
                    <a:lnTo>
                      <a:pt x="1890" y="896"/>
                    </a:lnTo>
                    <a:lnTo>
                      <a:pt x="1817" y="856"/>
                    </a:lnTo>
                    <a:lnTo>
                      <a:pt x="1747" y="818"/>
                    </a:lnTo>
                    <a:lnTo>
                      <a:pt x="1680" y="780"/>
                    </a:lnTo>
                    <a:lnTo>
                      <a:pt x="1616" y="742"/>
                    </a:lnTo>
                    <a:lnTo>
                      <a:pt x="1555" y="704"/>
                    </a:lnTo>
                    <a:lnTo>
                      <a:pt x="1496" y="669"/>
                    </a:lnTo>
                    <a:lnTo>
                      <a:pt x="1440" y="633"/>
                    </a:lnTo>
                    <a:lnTo>
                      <a:pt x="1387" y="597"/>
                    </a:lnTo>
                    <a:lnTo>
                      <a:pt x="1336" y="563"/>
                    </a:lnTo>
                    <a:lnTo>
                      <a:pt x="1286" y="529"/>
                    </a:lnTo>
                    <a:lnTo>
                      <a:pt x="1238" y="497"/>
                    </a:lnTo>
                    <a:lnTo>
                      <a:pt x="1193" y="466"/>
                    </a:lnTo>
                    <a:lnTo>
                      <a:pt x="1148" y="434"/>
                    </a:lnTo>
                    <a:lnTo>
                      <a:pt x="1080" y="387"/>
                    </a:lnTo>
                    <a:lnTo>
                      <a:pt x="1015" y="343"/>
                    </a:lnTo>
                    <a:lnTo>
                      <a:pt x="951" y="301"/>
                    </a:lnTo>
                    <a:lnTo>
                      <a:pt x="890" y="261"/>
                    </a:lnTo>
                    <a:lnTo>
                      <a:pt x="859" y="242"/>
                    </a:lnTo>
                    <a:lnTo>
                      <a:pt x="829" y="224"/>
                    </a:lnTo>
                    <a:lnTo>
                      <a:pt x="799" y="207"/>
                    </a:lnTo>
                    <a:lnTo>
                      <a:pt x="768" y="190"/>
                    </a:lnTo>
                    <a:lnTo>
                      <a:pt x="737" y="174"/>
                    </a:lnTo>
                    <a:lnTo>
                      <a:pt x="706" y="159"/>
                    </a:lnTo>
                    <a:lnTo>
                      <a:pt x="675" y="145"/>
                    </a:lnTo>
                    <a:lnTo>
                      <a:pt x="643" y="131"/>
                    </a:lnTo>
                    <a:lnTo>
                      <a:pt x="611" y="118"/>
                    </a:lnTo>
                    <a:lnTo>
                      <a:pt x="579" y="106"/>
                    </a:lnTo>
                    <a:lnTo>
                      <a:pt x="545" y="95"/>
                    </a:lnTo>
                    <a:lnTo>
                      <a:pt x="512" y="85"/>
                    </a:lnTo>
                    <a:lnTo>
                      <a:pt x="476" y="75"/>
                    </a:lnTo>
                    <a:lnTo>
                      <a:pt x="440" y="66"/>
                    </a:lnTo>
                    <a:lnTo>
                      <a:pt x="404" y="59"/>
                    </a:lnTo>
                    <a:lnTo>
                      <a:pt x="366" y="51"/>
                    </a:lnTo>
                    <a:lnTo>
                      <a:pt x="327" y="46"/>
                    </a:lnTo>
                    <a:lnTo>
                      <a:pt x="286" y="40"/>
                    </a:lnTo>
                    <a:lnTo>
                      <a:pt x="245" y="36"/>
                    </a:lnTo>
                    <a:lnTo>
                      <a:pt x="202" y="33"/>
                    </a:lnTo>
                    <a:lnTo>
                      <a:pt x="158" y="30"/>
                    </a:lnTo>
                    <a:lnTo>
                      <a:pt x="111" y="28"/>
                    </a:lnTo>
                    <a:lnTo>
                      <a:pt x="64" y="27"/>
                    </a:lnTo>
                    <a:lnTo>
                      <a:pt x="14" y="27"/>
                    </a:lnTo>
                    <a:lnTo>
                      <a:pt x="8" y="26"/>
                    </a:lnTo>
                    <a:lnTo>
                      <a:pt x="4" y="24"/>
                    </a:lnTo>
                    <a:lnTo>
                      <a:pt x="1" y="20"/>
                    </a:lnTo>
                    <a:lnTo>
                      <a:pt x="0" y="14"/>
                    </a:lnTo>
                    <a:lnTo>
                      <a:pt x="1" y="9"/>
                    </a:lnTo>
                    <a:lnTo>
                      <a:pt x="4" y="5"/>
                    </a:lnTo>
                    <a:lnTo>
                      <a:pt x="8" y="2"/>
                    </a:lnTo>
                    <a:lnTo>
                      <a:pt x="14" y="0"/>
                    </a:lnTo>
                    <a:lnTo>
                      <a:pt x="64" y="0"/>
                    </a:lnTo>
                    <a:lnTo>
                      <a:pt x="112" y="2"/>
                    </a:lnTo>
                    <a:lnTo>
                      <a:pt x="160" y="4"/>
                    </a:lnTo>
                    <a:lnTo>
                      <a:pt x="205" y="6"/>
                    </a:lnTo>
                    <a:lnTo>
                      <a:pt x="249" y="10"/>
                    </a:lnTo>
                    <a:lnTo>
                      <a:pt x="291" y="14"/>
                    </a:lnTo>
                    <a:lnTo>
                      <a:pt x="332" y="20"/>
                    </a:lnTo>
                    <a:lnTo>
                      <a:pt x="373" y="26"/>
                    </a:lnTo>
                    <a:lnTo>
                      <a:pt x="412" y="34"/>
                    </a:lnTo>
                    <a:lnTo>
                      <a:pt x="449" y="41"/>
                    </a:lnTo>
                    <a:lnTo>
                      <a:pt x="487" y="51"/>
                    </a:lnTo>
                    <a:lnTo>
                      <a:pt x="522" y="61"/>
                    </a:lnTo>
                    <a:lnTo>
                      <a:pt x="557" y="72"/>
                    </a:lnTo>
                    <a:lnTo>
                      <a:pt x="592" y="84"/>
                    </a:lnTo>
                    <a:lnTo>
                      <a:pt x="625" y="95"/>
                    </a:lnTo>
                    <a:lnTo>
                      <a:pt x="657" y="108"/>
                    </a:lnTo>
                    <a:lnTo>
                      <a:pt x="690" y="122"/>
                    </a:lnTo>
                    <a:lnTo>
                      <a:pt x="722" y="138"/>
                    </a:lnTo>
                    <a:lnTo>
                      <a:pt x="754" y="153"/>
                    </a:lnTo>
                    <a:lnTo>
                      <a:pt x="785" y="169"/>
                    </a:lnTo>
                    <a:lnTo>
                      <a:pt x="815" y="186"/>
                    </a:lnTo>
                    <a:lnTo>
                      <a:pt x="846" y="203"/>
                    </a:lnTo>
                    <a:lnTo>
                      <a:pt x="877" y="222"/>
                    </a:lnTo>
                    <a:lnTo>
                      <a:pt x="908" y="240"/>
                    </a:lnTo>
                    <a:lnTo>
                      <a:pt x="970" y="280"/>
                    </a:lnTo>
                    <a:lnTo>
                      <a:pt x="1032" y="322"/>
                    </a:lnTo>
                    <a:lnTo>
                      <a:pt x="1097" y="366"/>
                    </a:lnTo>
                    <a:lnTo>
                      <a:pt x="1164" y="412"/>
                    </a:lnTo>
                    <a:lnTo>
                      <a:pt x="1208" y="443"/>
                    </a:lnTo>
                    <a:lnTo>
                      <a:pt x="1254" y="474"/>
                    </a:lnTo>
                    <a:lnTo>
                      <a:pt x="1301" y="507"/>
                    </a:lnTo>
                    <a:lnTo>
                      <a:pt x="1351" y="540"/>
                    </a:lnTo>
                    <a:lnTo>
                      <a:pt x="1401" y="575"/>
                    </a:lnTo>
                    <a:lnTo>
                      <a:pt x="1455" y="609"/>
                    </a:lnTo>
                    <a:lnTo>
                      <a:pt x="1511" y="645"/>
                    </a:lnTo>
                    <a:lnTo>
                      <a:pt x="1569" y="682"/>
                    </a:lnTo>
                    <a:lnTo>
                      <a:pt x="1629" y="718"/>
                    </a:lnTo>
                    <a:lnTo>
                      <a:pt x="1693" y="756"/>
                    </a:lnTo>
                    <a:lnTo>
                      <a:pt x="1760" y="794"/>
                    </a:lnTo>
                    <a:lnTo>
                      <a:pt x="1830" y="833"/>
                    </a:lnTo>
                    <a:lnTo>
                      <a:pt x="1902" y="873"/>
                    </a:lnTo>
                    <a:lnTo>
                      <a:pt x="1979" y="912"/>
                    </a:lnTo>
                    <a:lnTo>
                      <a:pt x="2059" y="953"/>
                    </a:lnTo>
                    <a:lnTo>
                      <a:pt x="2143" y="992"/>
                    </a:lnTo>
                    <a:lnTo>
                      <a:pt x="2215" y="1025"/>
                    </a:lnTo>
                    <a:lnTo>
                      <a:pt x="2287" y="1055"/>
                    </a:lnTo>
                    <a:lnTo>
                      <a:pt x="2358" y="1081"/>
                    </a:lnTo>
                    <a:lnTo>
                      <a:pt x="2428" y="1105"/>
                    </a:lnTo>
                    <a:lnTo>
                      <a:pt x="2499" y="1125"/>
                    </a:lnTo>
                    <a:lnTo>
                      <a:pt x="2569" y="1143"/>
                    </a:lnTo>
                    <a:lnTo>
                      <a:pt x="2638" y="1158"/>
                    </a:lnTo>
                    <a:lnTo>
                      <a:pt x="2708" y="1171"/>
                    </a:lnTo>
                    <a:lnTo>
                      <a:pt x="2776" y="1180"/>
                    </a:lnTo>
                    <a:lnTo>
                      <a:pt x="2845" y="1189"/>
                    </a:lnTo>
                    <a:lnTo>
                      <a:pt x="2912" y="1194"/>
                    </a:lnTo>
                    <a:lnTo>
                      <a:pt x="2980" y="1198"/>
                    </a:lnTo>
                    <a:lnTo>
                      <a:pt x="3047" y="1199"/>
                    </a:lnTo>
                    <a:lnTo>
                      <a:pt x="3114" y="1199"/>
                    </a:lnTo>
                    <a:lnTo>
                      <a:pt x="3180" y="1196"/>
                    </a:lnTo>
                    <a:lnTo>
                      <a:pt x="3246" y="1192"/>
                    </a:lnTo>
                    <a:lnTo>
                      <a:pt x="3312" y="1187"/>
                    </a:lnTo>
                    <a:lnTo>
                      <a:pt x="3376" y="1180"/>
                    </a:lnTo>
                    <a:lnTo>
                      <a:pt x="3441" y="1172"/>
                    </a:lnTo>
                    <a:lnTo>
                      <a:pt x="3505" y="1162"/>
                    </a:lnTo>
                    <a:lnTo>
                      <a:pt x="3569" y="1151"/>
                    </a:lnTo>
                    <a:lnTo>
                      <a:pt x="3632" y="1139"/>
                    </a:lnTo>
                    <a:lnTo>
                      <a:pt x="3695" y="1127"/>
                    </a:lnTo>
                    <a:lnTo>
                      <a:pt x="3757" y="1113"/>
                    </a:lnTo>
                    <a:lnTo>
                      <a:pt x="3819" y="1099"/>
                    </a:lnTo>
                    <a:lnTo>
                      <a:pt x="3880" y="1084"/>
                    </a:lnTo>
                    <a:lnTo>
                      <a:pt x="3941" y="1069"/>
                    </a:lnTo>
                    <a:lnTo>
                      <a:pt x="4002" y="1053"/>
                    </a:lnTo>
                    <a:lnTo>
                      <a:pt x="4120" y="1021"/>
                    </a:lnTo>
                    <a:lnTo>
                      <a:pt x="4238" y="988"/>
                    </a:lnTo>
                    <a:lnTo>
                      <a:pt x="4296" y="972"/>
                    </a:lnTo>
                    <a:lnTo>
                      <a:pt x="4355" y="956"/>
                    </a:lnTo>
                    <a:lnTo>
                      <a:pt x="4412" y="940"/>
                    </a:lnTo>
                    <a:lnTo>
                      <a:pt x="4469" y="924"/>
                    </a:lnTo>
                    <a:lnTo>
                      <a:pt x="4526" y="910"/>
                    </a:lnTo>
                    <a:lnTo>
                      <a:pt x="4581" y="896"/>
                    </a:lnTo>
                    <a:lnTo>
                      <a:pt x="4638" y="883"/>
                    </a:lnTo>
                    <a:lnTo>
                      <a:pt x="4692" y="872"/>
                    </a:lnTo>
                    <a:lnTo>
                      <a:pt x="4746" y="861"/>
                    </a:lnTo>
                    <a:lnTo>
                      <a:pt x="4800" y="851"/>
                    </a:lnTo>
                    <a:lnTo>
                      <a:pt x="4851" y="844"/>
                    </a:lnTo>
                    <a:lnTo>
                      <a:pt x="4903" y="837"/>
                    </a:lnTo>
                    <a:lnTo>
                      <a:pt x="4955" y="832"/>
                    </a:lnTo>
                    <a:lnTo>
                      <a:pt x="5005" y="828"/>
                    </a:lnTo>
                    <a:lnTo>
                      <a:pt x="5054" y="827"/>
                    </a:lnTo>
                    <a:lnTo>
                      <a:pt x="5102" y="828"/>
                    </a:lnTo>
                    <a:lnTo>
                      <a:pt x="5107" y="829"/>
                    </a:lnTo>
                    <a:lnTo>
                      <a:pt x="5112" y="833"/>
                    </a:lnTo>
                    <a:lnTo>
                      <a:pt x="5115" y="837"/>
                    </a:lnTo>
                    <a:lnTo>
                      <a:pt x="5115" y="842"/>
                    </a:lnTo>
                    <a:lnTo>
                      <a:pt x="5114" y="848"/>
                    </a:lnTo>
                    <a:lnTo>
                      <a:pt x="5112" y="852"/>
                    </a:lnTo>
                    <a:lnTo>
                      <a:pt x="5106" y="854"/>
                    </a:lnTo>
                    <a:lnTo>
                      <a:pt x="5101" y="855"/>
                    </a:lnTo>
                    <a:lnTo>
                      <a:pt x="5053" y="854"/>
                    </a:lnTo>
                    <a:lnTo>
                      <a:pt x="5005" y="855"/>
                    </a:lnTo>
                    <a:lnTo>
                      <a:pt x="4956" y="859"/>
                    </a:lnTo>
                    <a:lnTo>
                      <a:pt x="4905" y="864"/>
                    </a:lnTo>
                    <a:lnTo>
                      <a:pt x="4854" y="870"/>
                    </a:lnTo>
                    <a:lnTo>
                      <a:pt x="4802" y="878"/>
                    </a:lnTo>
                    <a:lnTo>
                      <a:pt x="4749" y="888"/>
                    </a:lnTo>
                    <a:lnTo>
                      <a:pt x="4696" y="899"/>
                    </a:lnTo>
                    <a:lnTo>
                      <a:pt x="4642" y="910"/>
                    </a:lnTo>
                    <a:lnTo>
                      <a:pt x="4587" y="923"/>
                    </a:lnTo>
                    <a:lnTo>
                      <a:pt x="4531" y="936"/>
                    </a:lnTo>
                    <a:lnTo>
                      <a:pt x="4475" y="951"/>
                    </a:lnTo>
                    <a:lnTo>
                      <a:pt x="4418" y="967"/>
                    </a:lnTo>
                    <a:lnTo>
                      <a:pt x="4361" y="982"/>
                    </a:lnTo>
                    <a:lnTo>
                      <a:pt x="4304" y="998"/>
                    </a:lnTo>
                    <a:lnTo>
                      <a:pt x="4246" y="1014"/>
                    </a:lnTo>
                    <a:lnTo>
                      <a:pt x="4177" y="1033"/>
                    </a:lnTo>
                    <a:lnTo>
                      <a:pt x="4107" y="1053"/>
                    </a:lnTo>
                    <a:lnTo>
                      <a:pt x="4036" y="1071"/>
                    </a:lnTo>
                    <a:lnTo>
                      <a:pt x="3966" y="1091"/>
                    </a:lnTo>
                    <a:lnTo>
                      <a:pt x="3894" y="1109"/>
                    </a:lnTo>
                    <a:lnTo>
                      <a:pt x="3821" y="1126"/>
                    </a:lnTo>
                    <a:lnTo>
                      <a:pt x="3749" y="1143"/>
                    </a:lnTo>
                    <a:lnTo>
                      <a:pt x="3676" y="1159"/>
                    </a:lnTo>
                    <a:lnTo>
                      <a:pt x="3601" y="1173"/>
                    </a:lnTo>
                    <a:lnTo>
                      <a:pt x="3527" y="1186"/>
                    </a:lnTo>
                    <a:lnTo>
                      <a:pt x="3451" y="1198"/>
                    </a:lnTo>
                    <a:lnTo>
                      <a:pt x="3375" y="1207"/>
                    </a:lnTo>
                    <a:lnTo>
                      <a:pt x="3299" y="1216"/>
                    </a:lnTo>
                    <a:lnTo>
                      <a:pt x="3221" y="1221"/>
                    </a:lnTo>
                    <a:lnTo>
                      <a:pt x="3182" y="1223"/>
                    </a:lnTo>
                    <a:lnTo>
                      <a:pt x="3143" y="1226"/>
                    </a:lnTo>
                    <a:lnTo>
                      <a:pt x="3104" y="1226"/>
                    </a:lnTo>
                    <a:lnTo>
                      <a:pt x="3064" y="1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21"/>
              <p:cNvSpPr>
                <a:spLocks/>
              </p:cNvSpPr>
              <p:nvPr userDrawn="1"/>
            </p:nvSpPr>
            <p:spPr bwMode="auto">
              <a:xfrm>
                <a:off x="1211" y="3469"/>
                <a:ext cx="1667" cy="302"/>
              </a:xfrm>
              <a:custGeom>
                <a:avLst/>
                <a:gdLst>
                  <a:gd name="T0" fmla="*/ 2665 w 5002"/>
                  <a:gd name="T1" fmla="*/ 901 h 906"/>
                  <a:gd name="T2" fmla="*/ 2470 w 5002"/>
                  <a:gd name="T3" fmla="*/ 879 h 906"/>
                  <a:gd name="T4" fmla="*/ 2270 w 5002"/>
                  <a:gd name="T5" fmla="*/ 838 h 906"/>
                  <a:gd name="T6" fmla="*/ 2079 w 5002"/>
                  <a:gd name="T7" fmla="*/ 785 h 906"/>
                  <a:gd name="T8" fmla="*/ 1898 w 5002"/>
                  <a:gd name="T9" fmla="*/ 720 h 906"/>
                  <a:gd name="T10" fmla="*/ 1725 w 5002"/>
                  <a:gd name="T11" fmla="*/ 648 h 906"/>
                  <a:gd name="T12" fmla="*/ 1439 w 5002"/>
                  <a:gd name="T13" fmla="*/ 508 h 906"/>
                  <a:gd name="T14" fmla="*/ 1129 w 5002"/>
                  <a:gd name="T15" fmla="*/ 343 h 906"/>
                  <a:gd name="T16" fmla="*/ 823 w 5002"/>
                  <a:gd name="T17" fmla="*/ 188 h 906"/>
                  <a:gd name="T18" fmla="*/ 638 w 5002"/>
                  <a:gd name="T19" fmla="*/ 110 h 906"/>
                  <a:gd name="T20" fmla="*/ 492 w 5002"/>
                  <a:gd name="T21" fmla="*/ 64 h 906"/>
                  <a:gd name="T22" fmla="*/ 347 w 5002"/>
                  <a:gd name="T23" fmla="*/ 35 h 906"/>
                  <a:gd name="T24" fmla="*/ 201 w 5002"/>
                  <a:gd name="T25" fmla="*/ 27 h 906"/>
                  <a:gd name="T26" fmla="*/ 53 w 5002"/>
                  <a:gd name="T27" fmla="*/ 42 h 906"/>
                  <a:gd name="T28" fmla="*/ 3 w 5002"/>
                  <a:gd name="T29" fmla="*/ 44 h 906"/>
                  <a:gd name="T30" fmla="*/ 6 w 5002"/>
                  <a:gd name="T31" fmla="*/ 26 h 906"/>
                  <a:gd name="T32" fmla="*/ 124 w 5002"/>
                  <a:gd name="T33" fmla="*/ 4 h 906"/>
                  <a:gd name="T34" fmla="*/ 274 w 5002"/>
                  <a:gd name="T35" fmla="*/ 1 h 906"/>
                  <a:gd name="T36" fmla="*/ 422 w 5002"/>
                  <a:gd name="T37" fmla="*/ 19 h 906"/>
                  <a:gd name="T38" fmla="*/ 570 w 5002"/>
                  <a:gd name="T39" fmla="*/ 58 h 906"/>
                  <a:gd name="T40" fmla="*/ 719 w 5002"/>
                  <a:gd name="T41" fmla="*/ 112 h 906"/>
                  <a:gd name="T42" fmla="*/ 984 w 5002"/>
                  <a:gd name="T43" fmla="*/ 236 h 906"/>
                  <a:gd name="T44" fmla="*/ 1296 w 5002"/>
                  <a:gd name="T45" fmla="*/ 403 h 906"/>
                  <a:gd name="T46" fmla="*/ 1610 w 5002"/>
                  <a:gd name="T47" fmla="*/ 565 h 906"/>
                  <a:gd name="T48" fmla="*/ 1820 w 5002"/>
                  <a:gd name="T49" fmla="*/ 660 h 906"/>
                  <a:gd name="T50" fmla="*/ 1996 w 5002"/>
                  <a:gd name="T51" fmla="*/ 728 h 906"/>
                  <a:gd name="T52" fmla="*/ 2180 w 5002"/>
                  <a:gd name="T53" fmla="*/ 787 h 906"/>
                  <a:gd name="T54" fmla="*/ 2374 w 5002"/>
                  <a:gd name="T55" fmla="*/ 833 h 906"/>
                  <a:gd name="T56" fmla="*/ 2577 w 5002"/>
                  <a:gd name="T57" fmla="*/ 866 h 906"/>
                  <a:gd name="T58" fmla="*/ 2721 w 5002"/>
                  <a:gd name="T59" fmla="*/ 877 h 906"/>
                  <a:gd name="T60" fmla="*/ 2930 w 5002"/>
                  <a:gd name="T61" fmla="*/ 872 h 906"/>
                  <a:gd name="T62" fmla="*/ 3165 w 5002"/>
                  <a:gd name="T63" fmla="*/ 842 h 906"/>
                  <a:gd name="T64" fmla="*/ 3398 w 5002"/>
                  <a:gd name="T65" fmla="*/ 795 h 906"/>
                  <a:gd name="T66" fmla="*/ 3655 w 5002"/>
                  <a:gd name="T67" fmla="*/ 734 h 906"/>
                  <a:gd name="T68" fmla="*/ 3956 w 5002"/>
                  <a:gd name="T69" fmla="*/ 669 h 906"/>
                  <a:gd name="T70" fmla="*/ 4130 w 5002"/>
                  <a:gd name="T71" fmla="*/ 644 h 906"/>
                  <a:gd name="T72" fmla="*/ 4307 w 5002"/>
                  <a:gd name="T73" fmla="*/ 632 h 906"/>
                  <a:gd name="T74" fmla="*/ 4486 w 5002"/>
                  <a:gd name="T75" fmla="*/ 636 h 906"/>
                  <a:gd name="T76" fmla="*/ 4669 w 5002"/>
                  <a:gd name="T77" fmla="*/ 662 h 906"/>
                  <a:gd name="T78" fmla="*/ 4853 w 5002"/>
                  <a:gd name="T79" fmla="*/ 714 h 906"/>
                  <a:gd name="T80" fmla="*/ 4999 w 5002"/>
                  <a:gd name="T81" fmla="*/ 774 h 906"/>
                  <a:gd name="T82" fmla="*/ 4998 w 5002"/>
                  <a:gd name="T83" fmla="*/ 793 h 906"/>
                  <a:gd name="T84" fmla="*/ 4936 w 5002"/>
                  <a:gd name="T85" fmla="*/ 775 h 906"/>
                  <a:gd name="T86" fmla="*/ 4753 w 5002"/>
                  <a:gd name="T87" fmla="*/ 710 h 906"/>
                  <a:gd name="T88" fmla="*/ 4571 w 5002"/>
                  <a:gd name="T89" fmla="*/ 673 h 906"/>
                  <a:gd name="T90" fmla="*/ 4393 w 5002"/>
                  <a:gd name="T91" fmla="*/ 659 h 906"/>
                  <a:gd name="T92" fmla="*/ 4217 w 5002"/>
                  <a:gd name="T93" fmla="*/ 663 h 906"/>
                  <a:gd name="T94" fmla="*/ 4044 w 5002"/>
                  <a:gd name="T95" fmla="*/ 682 h 906"/>
                  <a:gd name="T96" fmla="*/ 3830 w 5002"/>
                  <a:gd name="T97" fmla="*/ 722 h 906"/>
                  <a:gd name="T98" fmla="*/ 3527 w 5002"/>
                  <a:gd name="T99" fmla="*/ 792 h 906"/>
                  <a:gd name="T100" fmla="*/ 3333 w 5002"/>
                  <a:gd name="T101" fmla="*/ 837 h 906"/>
                  <a:gd name="T102" fmla="*/ 3134 w 5002"/>
                  <a:gd name="T103" fmla="*/ 874 h 906"/>
                  <a:gd name="T104" fmla="*/ 2933 w 5002"/>
                  <a:gd name="T105" fmla="*/ 899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02" h="906">
                    <a:moveTo>
                      <a:pt x="2781" y="906"/>
                    </a:moveTo>
                    <a:lnTo>
                      <a:pt x="2742" y="905"/>
                    </a:lnTo>
                    <a:lnTo>
                      <a:pt x="2704" y="904"/>
                    </a:lnTo>
                    <a:lnTo>
                      <a:pt x="2665" y="901"/>
                    </a:lnTo>
                    <a:lnTo>
                      <a:pt x="2628" y="898"/>
                    </a:lnTo>
                    <a:lnTo>
                      <a:pt x="2574" y="893"/>
                    </a:lnTo>
                    <a:lnTo>
                      <a:pt x="2522" y="886"/>
                    </a:lnTo>
                    <a:lnTo>
                      <a:pt x="2470" y="879"/>
                    </a:lnTo>
                    <a:lnTo>
                      <a:pt x="2419" y="870"/>
                    </a:lnTo>
                    <a:lnTo>
                      <a:pt x="2369" y="860"/>
                    </a:lnTo>
                    <a:lnTo>
                      <a:pt x="2319" y="850"/>
                    </a:lnTo>
                    <a:lnTo>
                      <a:pt x="2270" y="838"/>
                    </a:lnTo>
                    <a:lnTo>
                      <a:pt x="2222" y="826"/>
                    </a:lnTo>
                    <a:lnTo>
                      <a:pt x="2173" y="813"/>
                    </a:lnTo>
                    <a:lnTo>
                      <a:pt x="2127" y="799"/>
                    </a:lnTo>
                    <a:lnTo>
                      <a:pt x="2079" y="785"/>
                    </a:lnTo>
                    <a:lnTo>
                      <a:pt x="2034" y="770"/>
                    </a:lnTo>
                    <a:lnTo>
                      <a:pt x="1987" y="754"/>
                    </a:lnTo>
                    <a:lnTo>
                      <a:pt x="1942" y="737"/>
                    </a:lnTo>
                    <a:lnTo>
                      <a:pt x="1898" y="720"/>
                    </a:lnTo>
                    <a:lnTo>
                      <a:pt x="1853" y="703"/>
                    </a:lnTo>
                    <a:lnTo>
                      <a:pt x="1810" y="684"/>
                    </a:lnTo>
                    <a:lnTo>
                      <a:pt x="1767" y="666"/>
                    </a:lnTo>
                    <a:lnTo>
                      <a:pt x="1725" y="648"/>
                    </a:lnTo>
                    <a:lnTo>
                      <a:pt x="1683" y="628"/>
                    </a:lnTo>
                    <a:lnTo>
                      <a:pt x="1600" y="589"/>
                    </a:lnTo>
                    <a:lnTo>
                      <a:pt x="1519" y="549"/>
                    </a:lnTo>
                    <a:lnTo>
                      <a:pt x="1439" y="508"/>
                    </a:lnTo>
                    <a:lnTo>
                      <a:pt x="1361" y="467"/>
                    </a:lnTo>
                    <a:lnTo>
                      <a:pt x="1284" y="426"/>
                    </a:lnTo>
                    <a:lnTo>
                      <a:pt x="1209" y="386"/>
                    </a:lnTo>
                    <a:lnTo>
                      <a:pt x="1129" y="343"/>
                    </a:lnTo>
                    <a:lnTo>
                      <a:pt x="1051" y="302"/>
                    </a:lnTo>
                    <a:lnTo>
                      <a:pt x="974" y="261"/>
                    </a:lnTo>
                    <a:lnTo>
                      <a:pt x="898" y="223"/>
                    </a:lnTo>
                    <a:lnTo>
                      <a:pt x="823" y="188"/>
                    </a:lnTo>
                    <a:lnTo>
                      <a:pt x="749" y="154"/>
                    </a:lnTo>
                    <a:lnTo>
                      <a:pt x="712" y="138"/>
                    </a:lnTo>
                    <a:lnTo>
                      <a:pt x="675" y="124"/>
                    </a:lnTo>
                    <a:lnTo>
                      <a:pt x="638" y="110"/>
                    </a:lnTo>
                    <a:lnTo>
                      <a:pt x="602" y="97"/>
                    </a:lnTo>
                    <a:lnTo>
                      <a:pt x="565" y="85"/>
                    </a:lnTo>
                    <a:lnTo>
                      <a:pt x="529" y="73"/>
                    </a:lnTo>
                    <a:lnTo>
                      <a:pt x="492" y="64"/>
                    </a:lnTo>
                    <a:lnTo>
                      <a:pt x="456" y="55"/>
                    </a:lnTo>
                    <a:lnTo>
                      <a:pt x="419" y="46"/>
                    </a:lnTo>
                    <a:lnTo>
                      <a:pt x="383" y="40"/>
                    </a:lnTo>
                    <a:lnTo>
                      <a:pt x="347" y="35"/>
                    </a:lnTo>
                    <a:lnTo>
                      <a:pt x="310" y="31"/>
                    </a:lnTo>
                    <a:lnTo>
                      <a:pt x="274" y="28"/>
                    </a:lnTo>
                    <a:lnTo>
                      <a:pt x="237" y="27"/>
                    </a:lnTo>
                    <a:lnTo>
                      <a:pt x="201" y="27"/>
                    </a:lnTo>
                    <a:lnTo>
                      <a:pt x="165" y="28"/>
                    </a:lnTo>
                    <a:lnTo>
                      <a:pt x="128" y="31"/>
                    </a:lnTo>
                    <a:lnTo>
                      <a:pt x="91" y="36"/>
                    </a:lnTo>
                    <a:lnTo>
                      <a:pt x="53" y="42"/>
                    </a:lnTo>
                    <a:lnTo>
                      <a:pt x="17" y="50"/>
                    </a:lnTo>
                    <a:lnTo>
                      <a:pt x="11" y="50"/>
                    </a:lnTo>
                    <a:lnTo>
                      <a:pt x="6" y="48"/>
                    </a:lnTo>
                    <a:lnTo>
                      <a:pt x="3" y="44"/>
                    </a:lnTo>
                    <a:lnTo>
                      <a:pt x="0" y="40"/>
                    </a:lnTo>
                    <a:lnTo>
                      <a:pt x="0" y="35"/>
                    </a:lnTo>
                    <a:lnTo>
                      <a:pt x="2" y="29"/>
                    </a:lnTo>
                    <a:lnTo>
                      <a:pt x="6" y="26"/>
                    </a:lnTo>
                    <a:lnTo>
                      <a:pt x="10" y="24"/>
                    </a:lnTo>
                    <a:lnTo>
                      <a:pt x="48" y="15"/>
                    </a:lnTo>
                    <a:lnTo>
                      <a:pt x="87" y="9"/>
                    </a:lnTo>
                    <a:lnTo>
                      <a:pt x="124" y="4"/>
                    </a:lnTo>
                    <a:lnTo>
                      <a:pt x="161" y="1"/>
                    </a:lnTo>
                    <a:lnTo>
                      <a:pt x="199" y="0"/>
                    </a:lnTo>
                    <a:lnTo>
                      <a:pt x="236" y="0"/>
                    </a:lnTo>
                    <a:lnTo>
                      <a:pt x="274" y="1"/>
                    </a:lnTo>
                    <a:lnTo>
                      <a:pt x="310" y="3"/>
                    </a:lnTo>
                    <a:lnTo>
                      <a:pt x="348" y="8"/>
                    </a:lnTo>
                    <a:lnTo>
                      <a:pt x="385" y="13"/>
                    </a:lnTo>
                    <a:lnTo>
                      <a:pt x="422" y="19"/>
                    </a:lnTo>
                    <a:lnTo>
                      <a:pt x="458" y="28"/>
                    </a:lnTo>
                    <a:lnTo>
                      <a:pt x="496" y="37"/>
                    </a:lnTo>
                    <a:lnTo>
                      <a:pt x="533" y="46"/>
                    </a:lnTo>
                    <a:lnTo>
                      <a:pt x="570" y="58"/>
                    </a:lnTo>
                    <a:lnTo>
                      <a:pt x="606" y="70"/>
                    </a:lnTo>
                    <a:lnTo>
                      <a:pt x="644" y="83"/>
                    </a:lnTo>
                    <a:lnTo>
                      <a:pt x="681" y="97"/>
                    </a:lnTo>
                    <a:lnTo>
                      <a:pt x="719" y="112"/>
                    </a:lnTo>
                    <a:lnTo>
                      <a:pt x="756" y="127"/>
                    </a:lnTo>
                    <a:lnTo>
                      <a:pt x="831" y="162"/>
                    </a:lnTo>
                    <a:lnTo>
                      <a:pt x="908" y="198"/>
                    </a:lnTo>
                    <a:lnTo>
                      <a:pt x="984" y="236"/>
                    </a:lnTo>
                    <a:lnTo>
                      <a:pt x="1062" y="277"/>
                    </a:lnTo>
                    <a:lnTo>
                      <a:pt x="1141" y="320"/>
                    </a:lnTo>
                    <a:lnTo>
                      <a:pt x="1222" y="363"/>
                    </a:lnTo>
                    <a:lnTo>
                      <a:pt x="1296" y="403"/>
                    </a:lnTo>
                    <a:lnTo>
                      <a:pt x="1373" y="444"/>
                    </a:lnTo>
                    <a:lnTo>
                      <a:pt x="1451" y="485"/>
                    </a:lnTo>
                    <a:lnTo>
                      <a:pt x="1530" y="525"/>
                    </a:lnTo>
                    <a:lnTo>
                      <a:pt x="1610" y="565"/>
                    </a:lnTo>
                    <a:lnTo>
                      <a:pt x="1693" y="603"/>
                    </a:lnTo>
                    <a:lnTo>
                      <a:pt x="1735" y="623"/>
                    </a:lnTo>
                    <a:lnTo>
                      <a:pt x="1777" y="641"/>
                    </a:lnTo>
                    <a:lnTo>
                      <a:pt x="1820" y="660"/>
                    </a:lnTo>
                    <a:lnTo>
                      <a:pt x="1863" y="677"/>
                    </a:lnTo>
                    <a:lnTo>
                      <a:pt x="1906" y="694"/>
                    </a:lnTo>
                    <a:lnTo>
                      <a:pt x="1951" y="711"/>
                    </a:lnTo>
                    <a:lnTo>
                      <a:pt x="1996" y="728"/>
                    </a:lnTo>
                    <a:lnTo>
                      <a:pt x="2041" y="744"/>
                    </a:lnTo>
                    <a:lnTo>
                      <a:pt x="2087" y="759"/>
                    </a:lnTo>
                    <a:lnTo>
                      <a:pt x="2133" y="773"/>
                    </a:lnTo>
                    <a:lnTo>
                      <a:pt x="2180" y="787"/>
                    </a:lnTo>
                    <a:lnTo>
                      <a:pt x="2227" y="800"/>
                    </a:lnTo>
                    <a:lnTo>
                      <a:pt x="2276" y="812"/>
                    </a:lnTo>
                    <a:lnTo>
                      <a:pt x="2324" y="823"/>
                    </a:lnTo>
                    <a:lnTo>
                      <a:pt x="2374" y="833"/>
                    </a:lnTo>
                    <a:lnTo>
                      <a:pt x="2424" y="843"/>
                    </a:lnTo>
                    <a:lnTo>
                      <a:pt x="2474" y="852"/>
                    </a:lnTo>
                    <a:lnTo>
                      <a:pt x="2525" y="859"/>
                    </a:lnTo>
                    <a:lnTo>
                      <a:pt x="2577" y="866"/>
                    </a:lnTo>
                    <a:lnTo>
                      <a:pt x="2630" y="871"/>
                    </a:lnTo>
                    <a:lnTo>
                      <a:pt x="2660" y="873"/>
                    </a:lnTo>
                    <a:lnTo>
                      <a:pt x="2690" y="875"/>
                    </a:lnTo>
                    <a:lnTo>
                      <a:pt x="2721" y="877"/>
                    </a:lnTo>
                    <a:lnTo>
                      <a:pt x="2751" y="878"/>
                    </a:lnTo>
                    <a:lnTo>
                      <a:pt x="2810" y="878"/>
                    </a:lnTo>
                    <a:lnTo>
                      <a:pt x="2871" y="875"/>
                    </a:lnTo>
                    <a:lnTo>
                      <a:pt x="2930" y="872"/>
                    </a:lnTo>
                    <a:lnTo>
                      <a:pt x="2989" y="867"/>
                    </a:lnTo>
                    <a:lnTo>
                      <a:pt x="3048" y="859"/>
                    </a:lnTo>
                    <a:lnTo>
                      <a:pt x="3107" y="852"/>
                    </a:lnTo>
                    <a:lnTo>
                      <a:pt x="3165" y="842"/>
                    </a:lnTo>
                    <a:lnTo>
                      <a:pt x="3224" y="831"/>
                    </a:lnTo>
                    <a:lnTo>
                      <a:pt x="3282" y="819"/>
                    </a:lnTo>
                    <a:lnTo>
                      <a:pt x="3340" y="807"/>
                    </a:lnTo>
                    <a:lnTo>
                      <a:pt x="3398" y="795"/>
                    </a:lnTo>
                    <a:lnTo>
                      <a:pt x="3456" y="782"/>
                    </a:lnTo>
                    <a:lnTo>
                      <a:pt x="3513" y="768"/>
                    </a:lnTo>
                    <a:lnTo>
                      <a:pt x="3569" y="755"/>
                    </a:lnTo>
                    <a:lnTo>
                      <a:pt x="3655" y="734"/>
                    </a:lnTo>
                    <a:lnTo>
                      <a:pt x="3740" y="714"/>
                    </a:lnTo>
                    <a:lnTo>
                      <a:pt x="3826" y="695"/>
                    </a:lnTo>
                    <a:lnTo>
                      <a:pt x="3913" y="678"/>
                    </a:lnTo>
                    <a:lnTo>
                      <a:pt x="3956" y="669"/>
                    </a:lnTo>
                    <a:lnTo>
                      <a:pt x="3999" y="663"/>
                    </a:lnTo>
                    <a:lnTo>
                      <a:pt x="4042" y="655"/>
                    </a:lnTo>
                    <a:lnTo>
                      <a:pt x="4086" y="650"/>
                    </a:lnTo>
                    <a:lnTo>
                      <a:pt x="4130" y="644"/>
                    </a:lnTo>
                    <a:lnTo>
                      <a:pt x="4174" y="639"/>
                    </a:lnTo>
                    <a:lnTo>
                      <a:pt x="4218" y="636"/>
                    </a:lnTo>
                    <a:lnTo>
                      <a:pt x="4263" y="634"/>
                    </a:lnTo>
                    <a:lnTo>
                      <a:pt x="4307" y="632"/>
                    </a:lnTo>
                    <a:lnTo>
                      <a:pt x="4351" y="630"/>
                    </a:lnTo>
                    <a:lnTo>
                      <a:pt x="4396" y="632"/>
                    </a:lnTo>
                    <a:lnTo>
                      <a:pt x="4441" y="633"/>
                    </a:lnTo>
                    <a:lnTo>
                      <a:pt x="4486" y="636"/>
                    </a:lnTo>
                    <a:lnTo>
                      <a:pt x="4531" y="640"/>
                    </a:lnTo>
                    <a:lnTo>
                      <a:pt x="4577" y="647"/>
                    </a:lnTo>
                    <a:lnTo>
                      <a:pt x="4622" y="653"/>
                    </a:lnTo>
                    <a:lnTo>
                      <a:pt x="4669" y="662"/>
                    </a:lnTo>
                    <a:lnTo>
                      <a:pt x="4714" y="673"/>
                    </a:lnTo>
                    <a:lnTo>
                      <a:pt x="4760" y="684"/>
                    </a:lnTo>
                    <a:lnTo>
                      <a:pt x="4807" y="698"/>
                    </a:lnTo>
                    <a:lnTo>
                      <a:pt x="4853" y="714"/>
                    </a:lnTo>
                    <a:lnTo>
                      <a:pt x="4900" y="731"/>
                    </a:lnTo>
                    <a:lnTo>
                      <a:pt x="4947" y="750"/>
                    </a:lnTo>
                    <a:lnTo>
                      <a:pt x="4995" y="772"/>
                    </a:lnTo>
                    <a:lnTo>
                      <a:pt x="4999" y="774"/>
                    </a:lnTo>
                    <a:lnTo>
                      <a:pt x="5001" y="779"/>
                    </a:lnTo>
                    <a:lnTo>
                      <a:pt x="5002" y="784"/>
                    </a:lnTo>
                    <a:lnTo>
                      <a:pt x="5001" y="789"/>
                    </a:lnTo>
                    <a:lnTo>
                      <a:pt x="4998" y="793"/>
                    </a:lnTo>
                    <a:lnTo>
                      <a:pt x="4992" y="797"/>
                    </a:lnTo>
                    <a:lnTo>
                      <a:pt x="4988" y="797"/>
                    </a:lnTo>
                    <a:lnTo>
                      <a:pt x="4983" y="796"/>
                    </a:lnTo>
                    <a:lnTo>
                      <a:pt x="4936" y="775"/>
                    </a:lnTo>
                    <a:lnTo>
                      <a:pt x="4890" y="756"/>
                    </a:lnTo>
                    <a:lnTo>
                      <a:pt x="4845" y="739"/>
                    </a:lnTo>
                    <a:lnTo>
                      <a:pt x="4798" y="723"/>
                    </a:lnTo>
                    <a:lnTo>
                      <a:pt x="4753" y="710"/>
                    </a:lnTo>
                    <a:lnTo>
                      <a:pt x="4707" y="698"/>
                    </a:lnTo>
                    <a:lnTo>
                      <a:pt x="4662" y="689"/>
                    </a:lnTo>
                    <a:lnTo>
                      <a:pt x="4617" y="680"/>
                    </a:lnTo>
                    <a:lnTo>
                      <a:pt x="4571" y="673"/>
                    </a:lnTo>
                    <a:lnTo>
                      <a:pt x="4527" y="667"/>
                    </a:lnTo>
                    <a:lnTo>
                      <a:pt x="4483" y="663"/>
                    </a:lnTo>
                    <a:lnTo>
                      <a:pt x="4437" y="661"/>
                    </a:lnTo>
                    <a:lnTo>
                      <a:pt x="4393" y="659"/>
                    </a:lnTo>
                    <a:lnTo>
                      <a:pt x="4349" y="659"/>
                    </a:lnTo>
                    <a:lnTo>
                      <a:pt x="4306" y="659"/>
                    </a:lnTo>
                    <a:lnTo>
                      <a:pt x="4261" y="661"/>
                    </a:lnTo>
                    <a:lnTo>
                      <a:pt x="4217" y="663"/>
                    </a:lnTo>
                    <a:lnTo>
                      <a:pt x="4174" y="667"/>
                    </a:lnTo>
                    <a:lnTo>
                      <a:pt x="4131" y="671"/>
                    </a:lnTo>
                    <a:lnTo>
                      <a:pt x="4088" y="677"/>
                    </a:lnTo>
                    <a:lnTo>
                      <a:pt x="4044" y="682"/>
                    </a:lnTo>
                    <a:lnTo>
                      <a:pt x="4001" y="690"/>
                    </a:lnTo>
                    <a:lnTo>
                      <a:pt x="3958" y="697"/>
                    </a:lnTo>
                    <a:lnTo>
                      <a:pt x="3915" y="705"/>
                    </a:lnTo>
                    <a:lnTo>
                      <a:pt x="3830" y="722"/>
                    </a:lnTo>
                    <a:lnTo>
                      <a:pt x="3744" y="741"/>
                    </a:lnTo>
                    <a:lnTo>
                      <a:pt x="3660" y="760"/>
                    </a:lnTo>
                    <a:lnTo>
                      <a:pt x="3576" y="780"/>
                    </a:lnTo>
                    <a:lnTo>
                      <a:pt x="3527" y="792"/>
                    </a:lnTo>
                    <a:lnTo>
                      <a:pt x="3479" y="803"/>
                    </a:lnTo>
                    <a:lnTo>
                      <a:pt x="3430" y="815"/>
                    </a:lnTo>
                    <a:lnTo>
                      <a:pt x="3381" y="826"/>
                    </a:lnTo>
                    <a:lnTo>
                      <a:pt x="3333" y="837"/>
                    </a:lnTo>
                    <a:lnTo>
                      <a:pt x="3283" y="847"/>
                    </a:lnTo>
                    <a:lnTo>
                      <a:pt x="3233" y="857"/>
                    </a:lnTo>
                    <a:lnTo>
                      <a:pt x="3184" y="866"/>
                    </a:lnTo>
                    <a:lnTo>
                      <a:pt x="3134" y="874"/>
                    </a:lnTo>
                    <a:lnTo>
                      <a:pt x="3084" y="882"/>
                    </a:lnTo>
                    <a:lnTo>
                      <a:pt x="3035" y="888"/>
                    </a:lnTo>
                    <a:lnTo>
                      <a:pt x="2984" y="894"/>
                    </a:lnTo>
                    <a:lnTo>
                      <a:pt x="2933" y="899"/>
                    </a:lnTo>
                    <a:lnTo>
                      <a:pt x="2883" y="902"/>
                    </a:lnTo>
                    <a:lnTo>
                      <a:pt x="2832" y="905"/>
                    </a:lnTo>
                    <a:lnTo>
                      <a:pt x="2781"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22"/>
              <p:cNvSpPr>
                <a:spLocks/>
              </p:cNvSpPr>
              <p:nvPr userDrawn="1"/>
            </p:nvSpPr>
            <p:spPr bwMode="auto">
              <a:xfrm>
                <a:off x="1186" y="3418"/>
                <a:ext cx="1625" cy="198"/>
              </a:xfrm>
              <a:custGeom>
                <a:avLst/>
                <a:gdLst>
                  <a:gd name="T0" fmla="*/ 2528 w 4876"/>
                  <a:gd name="T1" fmla="*/ 588 h 592"/>
                  <a:gd name="T2" fmla="*/ 2361 w 4876"/>
                  <a:gd name="T3" fmla="*/ 572 h 592"/>
                  <a:gd name="T4" fmla="*/ 2201 w 4876"/>
                  <a:gd name="T5" fmla="*/ 545 h 592"/>
                  <a:gd name="T6" fmla="*/ 1928 w 4876"/>
                  <a:gd name="T7" fmla="*/ 477 h 592"/>
                  <a:gd name="T8" fmla="*/ 1628 w 4876"/>
                  <a:gd name="T9" fmla="*/ 379 h 592"/>
                  <a:gd name="T10" fmla="*/ 1324 w 4876"/>
                  <a:gd name="T11" fmla="*/ 265 h 592"/>
                  <a:gd name="T12" fmla="*/ 984 w 4876"/>
                  <a:gd name="T13" fmla="*/ 147 h 592"/>
                  <a:gd name="T14" fmla="*/ 771 w 4876"/>
                  <a:gd name="T15" fmla="*/ 87 h 592"/>
                  <a:gd name="T16" fmla="*/ 599 w 4876"/>
                  <a:gd name="T17" fmla="*/ 52 h 592"/>
                  <a:gd name="T18" fmla="*/ 425 w 4876"/>
                  <a:gd name="T19" fmla="*/ 31 h 592"/>
                  <a:gd name="T20" fmla="*/ 246 w 4876"/>
                  <a:gd name="T21" fmla="*/ 28 h 592"/>
                  <a:gd name="T22" fmla="*/ 63 w 4876"/>
                  <a:gd name="T23" fmla="*/ 45 h 592"/>
                  <a:gd name="T24" fmla="*/ 2 w 4876"/>
                  <a:gd name="T25" fmla="*/ 47 h 592"/>
                  <a:gd name="T26" fmla="*/ 6 w 4876"/>
                  <a:gd name="T27" fmla="*/ 28 h 592"/>
                  <a:gd name="T28" fmla="*/ 152 w 4876"/>
                  <a:gd name="T29" fmla="*/ 7 h 592"/>
                  <a:gd name="T30" fmla="*/ 336 w 4876"/>
                  <a:gd name="T31" fmla="*/ 1 h 592"/>
                  <a:gd name="T32" fmla="*/ 514 w 4876"/>
                  <a:gd name="T33" fmla="*/ 13 h 592"/>
                  <a:gd name="T34" fmla="*/ 689 w 4876"/>
                  <a:gd name="T35" fmla="*/ 41 h 592"/>
                  <a:gd name="T36" fmla="*/ 862 w 4876"/>
                  <a:gd name="T37" fmla="*/ 82 h 592"/>
                  <a:gd name="T38" fmla="*/ 1161 w 4876"/>
                  <a:gd name="T39" fmla="*/ 177 h 592"/>
                  <a:gd name="T40" fmla="*/ 1499 w 4876"/>
                  <a:gd name="T41" fmla="*/ 302 h 592"/>
                  <a:gd name="T42" fmla="*/ 1823 w 4876"/>
                  <a:gd name="T43" fmla="*/ 417 h 592"/>
                  <a:gd name="T44" fmla="*/ 2032 w 4876"/>
                  <a:gd name="T45" fmla="*/ 478 h 592"/>
                  <a:gd name="T46" fmla="*/ 2204 w 4876"/>
                  <a:gd name="T47" fmla="*/ 518 h 592"/>
                  <a:gd name="T48" fmla="*/ 2381 w 4876"/>
                  <a:gd name="T49" fmla="*/ 547 h 592"/>
                  <a:gd name="T50" fmla="*/ 2562 w 4876"/>
                  <a:gd name="T51" fmla="*/ 563 h 592"/>
                  <a:gd name="T52" fmla="*/ 2751 w 4876"/>
                  <a:gd name="T53" fmla="*/ 562 h 592"/>
                  <a:gd name="T54" fmla="*/ 2928 w 4876"/>
                  <a:gd name="T55" fmla="*/ 547 h 592"/>
                  <a:gd name="T56" fmla="*/ 3244 w 4876"/>
                  <a:gd name="T57" fmla="*/ 493 h 592"/>
                  <a:gd name="T58" fmla="*/ 3619 w 4876"/>
                  <a:gd name="T59" fmla="*/ 411 h 592"/>
                  <a:gd name="T60" fmla="*/ 3961 w 4876"/>
                  <a:gd name="T61" fmla="*/ 342 h 592"/>
                  <a:gd name="T62" fmla="*/ 4149 w 4876"/>
                  <a:gd name="T63" fmla="*/ 315 h 592"/>
                  <a:gd name="T64" fmla="*/ 4329 w 4876"/>
                  <a:gd name="T65" fmla="*/ 302 h 592"/>
                  <a:gd name="T66" fmla="*/ 4497 w 4876"/>
                  <a:gd name="T67" fmla="*/ 309 h 592"/>
                  <a:gd name="T68" fmla="*/ 4650 w 4876"/>
                  <a:gd name="T69" fmla="*/ 339 h 592"/>
                  <a:gd name="T70" fmla="*/ 4785 w 4876"/>
                  <a:gd name="T71" fmla="*/ 396 h 592"/>
                  <a:gd name="T72" fmla="*/ 4875 w 4876"/>
                  <a:gd name="T73" fmla="*/ 466 h 592"/>
                  <a:gd name="T74" fmla="*/ 4869 w 4876"/>
                  <a:gd name="T75" fmla="*/ 483 h 592"/>
                  <a:gd name="T76" fmla="*/ 4827 w 4876"/>
                  <a:gd name="T77" fmla="*/ 459 h 592"/>
                  <a:gd name="T78" fmla="*/ 4706 w 4876"/>
                  <a:gd name="T79" fmla="*/ 387 h 592"/>
                  <a:gd name="T80" fmla="*/ 4565 w 4876"/>
                  <a:gd name="T81" fmla="*/ 346 h 592"/>
                  <a:gd name="T82" fmla="*/ 4408 w 4876"/>
                  <a:gd name="T83" fmla="*/ 330 h 592"/>
                  <a:gd name="T84" fmla="*/ 4236 w 4876"/>
                  <a:gd name="T85" fmla="*/ 334 h 592"/>
                  <a:gd name="T86" fmla="*/ 4055 w 4876"/>
                  <a:gd name="T87" fmla="*/ 355 h 592"/>
                  <a:gd name="T88" fmla="*/ 3817 w 4876"/>
                  <a:gd name="T89" fmla="*/ 397 h 592"/>
                  <a:gd name="T90" fmla="*/ 3435 w 4876"/>
                  <a:gd name="T91" fmla="*/ 480 h 592"/>
                  <a:gd name="T92" fmla="*/ 3065 w 4876"/>
                  <a:gd name="T93" fmla="*/ 555 h 592"/>
                  <a:gd name="T94" fmla="*/ 2844 w 4876"/>
                  <a:gd name="T95" fmla="*/ 584 h 592"/>
                  <a:gd name="T96" fmla="*/ 2691 w 4876"/>
                  <a:gd name="T97" fmla="*/ 591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76" h="592">
                    <a:moveTo>
                      <a:pt x="2655" y="592"/>
                    </a:moveTo>
                    <a:lnTo>
                      <a:pt x="2612" y="591"/>
                    </a:lnTo>
                    <a:lnTo>
                      <a:pt x="2570" y="590"/>
                    </a:lnTo>
                    <a:lnTo>
                      <a:pt x="2528" y="588"/>
                    </a:lnTo>
                    <a:lnTo>
                      <a:pt x="2486" y="585"/>
                    </a:lnTo>
                    <a:lnTo>
                      <a:pt x="2444" y="582"/>
                    </a:lnTo>
                    <a:lnTo>
                      <a:pt x="2402" y="577"/>
                    </a:lnTo>
                    <a:lnTo>
                      <a:pt x="2361" y="572"/>
                    </a:lnTo>
                    <a:lnTo>
                      <a:pt x="2320" y="567"/>
                    </a:lnTo>
                    <a:lnTo>
                      <a:pt x="2280" y="560"/>
                    </a:lnTo>
                    <a:lnTo>
                      <a:pt x="2241" y="553"/>
                    </a:lnTo>
                    <a:lnTo>
                      <a:pt x="2201" y="545"/>
                    </a:lnTo>
                    <a:lnTo>
                      <a:pt x="2161" y="537"/>
                    </a:lnTo>
                    <a:lnTo>
                      <a:pt x="2082" y="519"/>
                    </a:lnTo>
                    <a:lnTo>
                      <a:pt x="2005" y="499"/>
                    </a:lnTo>
                    <a:lnTo>
                      <a:pt x="1928" y="477"/>
                    </a:lnTo>
                    <a:lnTo>
                      <a:pt x="1852" y="454"/>
                    </a:lnTo>
                    <a:lnTo>
                      <a:pt x="1777" y="429"/>
                    </a:lnTo>
                    <a:lnTo>
                      <a:pt x="1703" y="405"/>
                    </a:lnTo>
                    <a:lnTo>
                      <a:pt x="1628" y="379"/>
                    </a:lnTo>
                    <a:lnTo>
                      <a:pt x="1555" y="352"/>
                    </a:lnTo>
                    <a:lnTo>
                      <a:pt x="1481" y="325"/>
                    </a:lnTo>
                    <a:lnTo>
                      <a:pt x="1409" y="298"/>
                    </a:lnTo>
                    <a:lnTo>
                      <a:pt x="1324" y="265"/>
                    </a:lnTo>
                    <a:lnTo>
                      <a:pt x="1238" y="234"/>
                    </a:lnTo>
                    <a:lnTo>
                      <a:pt x="1153" y="203"/>
                    </a:lnTo>
                    <a:lnTo>
                      <a:pt x="1069" y="174"/>
                    </a:lnTo>
                    <a:lnTo>
                      <a:pt x="984" y="147"/>
                    </a:lnTo>
                    <a:lnTo>
                      <a:pt x="899" y="121"/>
                    </a:lnTo>
                    <a:lnTo>
                      <a:pt x="856" y="109"/>
                    </a:lnTo>
                    <a:lnTo>
                      <a:pt x="814" y="98"/>
                    </a:lnTo>
                    <a:lnTo>
                      <a:pt x="771" y="87"/>
                    </a:lnTo>
                    <a:lnTo>
                      <a:pt x="729" y="76"/>
                    </a:lnTo>
                    <a:lnTo>
                      <a:pt x="686" y="68"/>
                    </a:lnTo>
                    <a:lnTo>
                      <a:pt x="642" y="59"/>
                    </a:lnTo>
                    <a:lnTo>
                      <a:pt x="599" y="52"/>
                    </a:lnTo>
                    <a:lnTo>
                      <a:pt x="556" y="45"/>
                    </a:lnTo>
                    <a:lnTo>
                      <a:pt x="513" y="40"/>
                    </a:lnTo>
                    <a:lnTo>
                      <a:pt x="469" y="35"/>
                    </a:lnTo>
                    <a:lnTo>
                      <a:pt x="425" y="31"/>
                    </a:lnTo>
                    <a:lnTo>
                      <a:pt x="381" y="29"/>
                    </a:lnTo>
                    <a:lnTo>
                      <a:pt x="337" y="28"/>
                    </a:lnTo>
                    <a:lnTo>
                      <a:pt x="291" y="27"/>
                    </a:lnTo>
                    <a:lnTo>
                      <a:pt x="246" y="28"/>
                    </a:lnTo>
                    <a:lnTo>
                      <a:pt x="201" y="30"/>
                    </a:lnTo>
                    <a:lnTo>
                      <a:pt x="155" y="34"/>
                    </a:lnTo>
                    <a:lnTo>
                      <a:pt x="109" y="39"/>
                    </a:lnTo>
                    <a:lnTo>
                      <a:pt x="63" y="45"/>
                    </a:lnTo>
                    <a:lnTo>
                      <a:pt x="16" y="53"/>
                    </a:lnTo>
                    <a:lnTo>
                      <a:pt x="11" y="53"/>
                    </a:lnTo>
                    <a:lnTo>
                      <a:pt x="6" y="51"/>
                    </a:lnTo>
                    <a:lnTo>
                      <a:pt x="2" y="47"/>
                    </a:lnTo>
                    <a:lnTo>
                      <a:pt x="0" y="42"/>
                    </a:lnTo>
                    <a:lnTo>
                      <a:pt x="0" y="37"/>
                    </a:lnTo>
                    <a:lnTo>
                      <a:pt x="2" y="32"/>
                    </a:lnTo>
                    <a:lnTo>
                      <a:pt x="6" y="28"/>
                    </a:lnTo>
                    <a:lnTo>
                      <a:pt x="11" y="26"/>
                    </a:lnTo>
                    <a:lnTo>
                      <a:pt x="58" y="18"/>
                    </a:lnTo>
                    <a:lnTo>
                      <a:pt x="106" y="12"/>
                    </a:lnTo>
                    <a:lnTo>
                      <a:pt x="152" y="7"/>
                    </a:lnTo>
                    <a:lnTo>
                      <a:pt x="199" y="3"/>
                    </a:lnTo>
                    <a:lnTo>
                      <a:pt x="245" y="1"/>
                    </a:lnTo>
                    <a:lnTo>
                      <a:pt x="290" y="0"/>
                    </a:lnTo>
                    <a:lnTo>
                      <a:pt x="336" y="1"/>
                    </a:lnTo>
                    <a:lnTo>
                      <a:pt x="381" y="2"/>
                    </a:lnTo>
                    <a:lnTo>
                      <a:pt x="425" y="4"/>
                    </a:lnTo>
                    <a:lnTo>
                      <a:pt x="470" y="8"/>
                    </a:lnTo>
                    <a:lnTo>
                      <a:pt x="514" y="13"/>
                    </a:lnTo>
                    <a:lnTo>
                      <a:pt x="558" y="18"/>
                    </a:lnTo>
                    <a:lnTo>
                      <a:pt x="602" y="25"/>
                    </a:lnTo>
                    <a:lnTo>
                      <a:pt x="646" y="32"/>
                    </a:lnTo>
                    <a:lnTo>
                      <a:pt x="689" y="41"/>
                    </a:lnTo>
                    <a:lnTo>
                      <a:pt x="732" y="51"/>
                    </a:lnTo>
                    <a:lnTo>
                      <a:pt x="775" y="60"/>
                    </a:lnTo>
                    <a:lnTo>
                      <a:pt x="818" y="71"/>
                    </a:lnTo>
                    <a:lnTo>
                      <a:pt x="862" y="82"/>
                    </a:lnTo>
                    <a:lnTo>
                      <a:pt x="905" y="94"/>
                    </a:lnTo>
                    <a:lnTo>
                      <a:pt x="990" y="120"/>
                    </a:lnTo>
                    <a:lnTo>
                      <a:pt x="1075" y="148"/>
                    </a:lnTo>
                    <a:lnTo>
                      <a:pt x="1161" y="177"/>
                    </a:lnTo>
                    <a:lnTo>
                      <a:pt x="1246" y="208"/>
                    </a:lnTo>
                    <a:lnTo>
                      <a:pt x="1332" y="239"/>
                    </a:lnTo>
                    <a:lnTo>
                      <a:pt x="1419" y="272"/>
                    </a:lnTo>
                    <a:lnTo>
                      <a:pt x="1499" y="302"/>
                    </a:lnTo>
                    <a:lnTo>
                      <a:pt x="1579" y="331"/>
                    </a:lnTo>
                    <a:lnTo>
                      <a:pt x="1660" y="360"/>
                    </a:lnTo>
                    <a:lnTo>
                      <a:pt x="1741" y="390"/>
                    </a:lnTo>
                    <a:lnTo>
                      <a:pt x="1823" y="417"/>
                    </a:lnTo>
                    <a:lnTo>
                      <a:pt x="1906" y="442"/>
                    </a:lnTo>
                    <a:lnTo>
                      <a:pt x="1948" y="455"/>
                    </a:lnTo>
                    <a:lnTo>
                      <a:pt x="1990" y="467"/>
                    </a:lnTo>
                    <a:lnTo>
                      <a:pt x="2032" y="478"/>
                    </a:lnTo>
                    <a:lnTo>
                      <a:pt x="2074" y="489"/>
                    </a:lnTo>
                    <a:lnTo>
                      <a:pt x="2117" y="500"/>
                    </a:lnTo>
                    <a:lnTo>
                      <a:pt x="2161" y="509"/>
                    </a:lnTo>
                    <a:lnTo>
                      <a:pt x="2204" y="518"/>
                    </a:lnTo>
                    <a:lnTo>
                      <a:pt x="2247" y="527"/>
                    </a:lnTo>
                    <a:lnTo>
                      <a:pt x="2291" y="534"/>
                    </a:lnTo>
                    <a:lnTo>
                      <a:pt x="2336" y="541"/>
                    </a:lnTo>
                    <a:lnTo>
                      <a:pt x="2381" y="547"/>
                    </a:lnTo>
                    <a:lnTo>
                      <a:pt x="2425" y="553"/>
                    </a:lnTo>
                    <a:lnTo>
                      <a:pt x="2471" y="557"/>
                    </a:lnTo>
                    <a:lnTo>
                      <a:pt x="2517" y="560"/>
                    </a:lnTo>
                    <a:lnTo>
                      <a:pt x="2562" y="563"/>
                    </a:lnTo>
                    <a:lnTo>
                      <a:pt x="2610" y="564"/>
                    </a:lnTo>
                    <a:lnTo>
                      <a:pt x="2656" y="564"/>
                    </a:lnTo>
                    <a:lnTo>
                      <a:pt x="2704" y="564"/>
                    </a:lnTo>
                    <a:lnTo>
                      <a:pt x="2751" y="562"/>
                    </a:lnTo>
                    <a:lnTo>
                      <a:pt x="2800" y="560"/>
                    </a:lnTo>
                    <a:lnTo>
                      <a:pt x="2842" y="557"/>
                    </a:lnTo>
                    <a:lnTo>
                      <a:pt x="2885" y="553"/>
                    </a:lnTo>
                    <a:lnTo>
                      <a:pt x="2928" y="547"/>
                    </a:lnTo>
                    <a:lnTo>
                      <a:pt x="2972" y="542"/>
                    </a:lnTo>
                    <a:lnTo>
                      <a:pt x="3061" y="528"/>
                    </a:lnTo>
                    <a:lnTo>
                      <a:pt x="3152" y="512"/>
                    </a:lnTo>
                    <a:lnTo>
                      <a:pt x="3244" y="493"/>
                    </a:lnTo>
                    <a:lnTo>
                      <a:pt x="3337" y="474"/>
                    </a:lnTo>
                    <a:lnTo>
                      <a:pt x="3429" y="453"/>
                    </a:lnTo>
                    <a:lnTo>
                      <a:pt x="3521" y="433"/>
                    </a:lnTo>
                    <a:lnTo>
                      <a:pt x="3619" y="411"/>
                    </a:lnTo>
                    <a:lnTo>
                      <a:pt x="3718" y="390"/>
                    </a:lnTo>
                    <a:lnTo>
                      <a:pt x="3816" y="370"/>
                    </a:lnTo>
                    <a:lnTo>
                      <a:pt x="3912" y="351"/>
                    </a:lnTo>
                    <a:lnTo>
                      <a:pt x="3961" y="342"/>
                    </a:lnTo>
                    <a:lnTo>
                      <a:pt x="4008" y="334"/>
                    </a:lnTo>
                    <a:lnTo>
                      <a:pt x="4056" y="327"/>
                    </a:lnTo>
                    <a:lnTo>
                      <a:pt x="4102" y="320"/>
                    </a:lnTo>
                    <a:lnTo>
                      <a:pt x="4149" y="315"/>
                    </a:lnTo>
                    <a:lnTo>
                      <a:pt x="4195" y="311"/>
                    </a:lnTo>
                    <a:lnTo>
                      <a:pt x="4240" y="306"/>
                    </a:lnTo>
                    <a:lnTo>
                      <a:pt x="4285" y="304"/>
                    </a:lnTo>
                    <a:lnTo>
                      <a:pt x="4329" y="302"/>
                    </a:lnTo>
                    <a:lnTo>
                      <a:pt x="4372" y="302"/>
                    </a:lnTo>
                    <a:lnTo>
                      <a:pt x="4414" y="303"/>
                    </a:lnTo>
                    <a:lnTo>
                      <a:pt x="4456" y="305"/>
                    </a:lnTo>
                    <a:lnTo>
                      <a:pt x="4497" y="309"/>
                    </a:lnTo>
                    <a:lnTo>
                      <a:pt x="4536" y="314"/>
                    </a:lnTo>
                    <a:lnTo>
                      <a:pt x="4575" y="320"/>
                    </a:lnTo>
                    <a:lnTo>
                      <a:pt x="4613" y="329"/>
                    </a:lnTo>
                    <a:lnTo>
                      <a:pt x="4650" y="339"/>
                    </a:lnTo>
                    <a:lnTo>
                      <a:pt x="4685" y="351"/>
                    </a:lnTo>
                    <a:lnTo>
                      <a:pt x="4720" y="364"/>
                    </a:lnTo>
                    <a:lnTo>
                      <a:pt x="4753" y="379"/>
                    </a:lnTo>
                    <a:lnTo>
                      <a:pt x="4785" y="396"/>
                    </a:lnTo>
                    <a:lnTo>
                      <a:pt x="4815" y="417"/>
                    </a:lnTo>
                    <a:lnTo>
                      <a:pt x="4844" y="437"/>
                    </a:lnTo>
                    <a:lnTo>
                      <a:pt x="4872" y="462"/>
                    </a:lnTo>
                    <a:lnTo>
                      <a:pt x="4875" y="466"/>
                    </a:lnTo>
                    <a:lnTo>
                      <a:pt x="4876" y="470"/>
                    </a:lnTo>
                    <a:lnTo>
                      <a:pt x="4875" y="476"/>
                    </a:lnTo>
                    <a:lnTo>
                      <a:pt x="4873" y="480"/>
                    </a:lnTo>
                    <a:lnTo>
                      <a:pt x="4869" y="483"/>
                    </a:lnTo>
                    <a:lnTo>
                      <a:pt x="4863" y="485"/>
                    </a:lnTo>
                    <a:lnTo>
                      <a:pt x="4858" y="483"/>
                    </a:lnTo>
                    <a:lnTo>
                      <a:pt x="4854" y="481"/>
                    </a:lnTo>
                    <a:lnTo>
                      <a:pt x="4827" y="459"/>
                    </a:lnTo>
                    <a:lnTo>
                      <a:pt x="4799" y="437"/>
                    </a:lnTo>
                    <a:lnTo>
                      <a:pt x="4769" y="419"/>
                    </a:lnTo>
                    <a:lnTo>
                      <a:pt x="4738" y="402"/>
                    </a:lnTo>
                    <a:lnTo>
                      <a:pt x="4706" y="387"/>
                    </a:lnTo>
                    <a:lnTo>
                      <a:pt x="4672" y="374"/>
                    </a:lnTo>
                    <a:lnTo>
                      <a:pt x="4638" y="364"/>
                    </a:lnTo>
                    <a:lnTo>
                      <a:pt x="4602" y="354"/>
                    </a:lnTo>
                    <a:lnTo>
                      <a:pt x="4565" y="346"/>
                    </a:lnTo>
                    <a:lnTo>
                      <a:pt x="4528" y="340"/>
                    </a:lnTo>
                    <a:lnTo>
                      <a:pt x="4489" y="334"/>
                    </a:lnTo>
                    <a:lnTo>
                      <a:pt x="4449" y="331"/>
                    </a:lnTo>
                    <a:lnTo>
                      <a:pt x="4408" y="330"/>
                    </a:lnTo>
                    <a:lnTo>
                      <a:pt x="4366" y="329"/>
                    </a:lnTo>
                    <a:lnTo>
                      <a:pt x="4323" y="329"/>
                    </a:lnTo>
                    <a:lnTo>
                      <a:pt x="4280" y="331"/>
                    </a:lnTo>
                    <a:lnTo>
                      <a:pt x="4236" y="334"/>
                    </a:lnTo>
                    <a:lnTo>
                      <a:pt x="4192" y="338"/>
                    </a:lnTo>
                    <a:lnTo>
                      <a:pt x="4146" y="343"/>
                    </a:lnTo>
                    <a:lnTo>
                      <a:pt x="4101" y="348"/>
                    </a:lnTo>
                    <a:lnTo>
                      <a:pt x="4055" y="355"/>
                    </a:lnTo>
                    <a:lnTo>
                      <a:pt x="4008" y="363"/>
                    </a:lnTo>
                    <a:lnTo>
                      <a:pt x="3961" y="370"/>
                    </a:lnTo>
                    <a:lnTo>
                      <a:pt x="3913" y="379"/>
                    </a:lnTo>
                    <a:lnTo>
                      <a:pt x="3817" y="397"/>
                    </a:lnTo>
                    <a:lnTo>
                      <a:pt x="3721" y="417"/>
                    </a:lnTo>
                    <a:lnTo>
                      <a:pt x="3624" y="438"/>
                    </a:lnTo>
                    <a:lnTo>
                      <a:pt x="3528" y="460"/>
                    </a:lnTo>
                    <a:lnTo>
                      <a:pt x="3435" y="480"/>
                    </a:lnTo>
                    <a:lnTo>
                      <a:pt x="3342" y="501"/>
                    </a:lnTo>
                    <a:lnTo>
                      <a:pt x="3249" y="520"/>
                    </a:lnTo>
                    <a:lnTo>
                      <a:pt x="3156" y="537"/>
                    </a:lnTo>
                    <a:lnTo>
                      <a:pt x="3065" y="555"/>
                    </a:lnTo>
                    <a:lnTo>
                      <a:pt x="2975" y="568"/>
                    </a:lnTo>
                    <a:lnTo>
                      <a:pt x="2931" y="574"/>
                    </a:lnTo>
                    <a:lnTo>
                      <a:pt x="2887" y="580"/>
                    </a:lnTo>
                    <a:lnTo>
                      <a:pt x="2844" y="584"/>
                    </a:lnTo>
                    <a:lnTo>
                      <a:pt x="2802" y="587"/>
                    </a:lnTo>
                    <a:lnTo>
                      <a:pt x="2764" y="589"/>
                    </a:lnTo>
                    <a:lnTo>
                      <a:pt x="2728" y="590"/>
                    </a:lnTo>
                    <a:lnTo>
                      <a:pt x="2691" y="591"/>
                    </a:lnTo>
                    <a:lnTo>
                      <a:pt x="2655"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23"/>
              <p:cNvSpPr>
                <a:spLocks/>
              </p:cNvSpPr>
              <p:nvPr userDrawn="1"/>
            </p:nvSpPr>
            <p:spPr bwMode="auto">
              <a:xfrm>
                <a:off x="1198" y="3347"/>
                <a:ext cx="1557" cy="152"/>
              </a:xfrm>
              <a:custGeom>
                <a:avLst/>
                <a:gdLst>
                  <a:gd name="T0" fmla="*/ 4651 w 4672"/>
                  <a:gd name="T1" fmla="*/ 456 h 458"/>
                  <a:gd name="T2" fmla="*/ 4636 w 4672"/>
                  <a:gd name="T3" fmla="*/ 426 h 458"/>
                  <a:gd name="T4" fmla="*/ 4577 w 4672"/>
                  <a:gd name="T5" fmla="*/ 367 h 458"/>
                  <a:gd name="T6" fmla="*/ 4476 w 4672"/>
                  <a:gd name="T7" fmla="*/ 321 h 458"/>
                  <a:gd name="T8" fmla="*/ 4337 w 4672"/>
                  <a:gd name="T9" fmla="*/ 286 h 458"/>
                  <a:gd name="T10" fmla="*/ 4161 w 4672"/>
                  <a:gd name="T11" fmla="*/ 261 h 458"/>
                  <a:gd name="T12" fmla="*/ 3952 w 4672"/>
                  <a:gd name="T13" fmla="*/ 245 h 458"/>
                  <a:gd name="T14" fmla="*/ 3712 w 4672"/>
                  <a:gd name="T15" fmla="*/ 236 h 458"/>
                  <a:gd name="T16" fmla="*/ 3445 w 4672"/>
                  <a:gd name="T17" fmla="*/ 235 h 458"/>
                  <a:gd name="T18" fmla="*/ 3052 w 4672"/>
                  <a:gd name="T19" fmla="*/ 242 h 458"/>
                  <a:gd name="T20" fmla="*/ 2395 w 4672"/>
                  <a:gd name="T21" fmla="*/ 263 h 458"/>
                  <a:gd name="T22" fmla="*/ 2257 w 4672"/>
                  <a:gd name="T23" fmla="*/ 266 h 458"/>
                  <a:gd name="T24" fmla="*/ 2034 w 4672"/>
                  <a:gd name="T25" fmla="*/ 260 h 458"/>
                  <a:gd name="T26" fmla="*/ 1774 w 4672"/>
                  <a:gd name="T27" fmla="*/ 239 h 458"/>
                  <a:gd name="T28" fmla="*/ 1523 w 4672"/>
                  <a:gd name="T29" fmla="*/ 207 h 458"/>
                  <a:gd name="T30" fmla="*/ 1283 w 4672"/>
                  <a:gd name="T31" fmla="*/ 168 h 458"/>
                  <a:gd name="T32" fmla="*/ 1053 w 4672"/>
                  <a:gd name="T33" fmla="*/ 126 h 458"/>
                  <a:gd name="T34" fmla="*/ 830 w 4672"/>
                  <a:gd name="T35" fmla="*/ 86 h 458"/>
                  <a:gd name="T36" fmla="*/ 618 w 4672"/>
                  <a:gd name="T37" fmla="*/ 53 h 458"/>
                  <a:gd name="T38" fmla="*/ 421 w 4672"/>
                  <a:gd name="T39" fmla="*/ 32 h 458"/>
                  <a:gd name="T40" fmla="*/ 296 w 4672"/>
                  <a:gd name="T41" fmla="*/ 27 h 458"/>
                  <a:gd name="T42" fmla="*/ 208 w 4672"/>
                  <a:gd name="T43" fmla="*/ 29 h 458"/>
                  <a:gd name="T44" fmla="*/ 123 w 4672"/>
                  <a:gd name="T45" fmla="*/ 37 h 458"/>
                  <a:gd name="T46" fmla="*/ 42 w 4672"/>
                  <a:gd name="T47" fmla="*/ 50 h 458"/>
                  <a:gd name="T48" fmla="*/ 5 w 4672"/>
                  <a:gd name="T49" fmla="*/ 55 h 458"/>
                  <a:gd name="T50" fmla="*/ 0 w 4672"/>
                  <a:gd name="T51" fmla="*/ 41 h 458"/>
                  <a:gd name="T52" fmla="*/ 9 w 4672"/>
                  <a:gd name="T53" fmla="*/ 30 h 458"/>
                  <a:gd name="T54" fmla="*/ 90 w 4672"/>
                  <a:gd name="T55" fmla="*/ 14 h 458"/>
                  <a:gd name="T56" fmla="*/ 176 w 4672"/>
                  <a:gd name="T57" fmla="*/ 4 h 458"/>
                  <a:gd name="T58" fmla="*/ 264 w 4672"/>
                  <a:gd name="T59" fmla="*/ 0 h 458"/>
                  <a:gd name="T60" fmla="*/ 356 w 4672"/>
                  <a:gd name="T61" fmla="*/ 1 h 458"/>
                  <a:gd name="T62" fmla="*/ 551 w 4672"/>
                  <a:gd name="T63" fmla="*/ 17 h 458"/>
                  <a:gd name="T64" fmla="*/ 761 w 4672"/>
                  <a:gd name="T65" fmla="*/ 48 h 458"/>
                  <a:gd name="T66" fmla="*/ 982 w 4672"/>
                  <a:gd name="T67" fmla="*/ 86 h 458"/>
                  <a:gd name="T68" fmla="*/ 1210 w 4672"/>
                  <a:gd name="T69" fmla="*/ 127 h 458"/>
                  <a:gd name="T70" fmla="*/ 1445 w 4672"/>
                  <a:gd name="T71" fmla="*/ 167 h 458"/>
                  <a:gd name="T72" fmla="*/ 1692 w 4672"/>
                  <a:gd name="T73" fmla="*/ 202 h 458"/>
                  <a:gd name="T74" fmla="*/ 1948 w 4672"/>
                  <a:gd name="T75" fmla="*/ 228 h 458"/>
                  <a:gd name="T76" fmla="*/ 2212 w 4672"/>
                  <a:gd name="T77" fmla="*/ 239 h 458"/>
                  <a:gd name="T78" fmla="*/ 2348 w 4672"/>
                  <a:gd name="T79" fmla="*/ 237 h 458"/>
                  <a:gd name="T80" fmla="*/ 2856 w 4672"/>
                  <a:gd name="T81" fmla="*/ 220 h 458"/>
                  <a:gd name="T82" fmla="*/ 3377 w 4672"/>
                  <a:gd name="T83" fmla="*/ 208 h 458"/>
                  <a:gd name="T84" fmla="*/ 3656 w 4672"/>
                  <a:gd name="T85" fmla="*/ 208 h 458"/>
                  <a:gd name="T86" fmla="*/ 3905 w 4672"/>
                  <a:gd name="T87" fmla="*/ 216 h 458"/>
                  <a:gd name="T88" fmla="*/ 4124 w 4672"/>
                  <a:gd name="T89" fmla="*/ 230 h 458"/>
                  <a:gd name="T90" fmla="*/ 4310 w 4672"/>
                  <a:gd name="T91" fmla="*/ 255 h 458"/>
                  <a:gd name="T92" fmla="*/ 4461 w 4672"/>
                  <a:gd name="T93" fmla="*/ 288 h 458"/>
                  <a:gd name="T94" fmla="*/ 4574 w 4672"/>
                  <a:gd name="T95" fmla="*/ 335 h 458"/>
                  <a:gd name="T96" fmla="*/ 4647 w 4672"/>
                  <a:gd name="T97" fmla="*/ 394 h 458"/>
                  <a:gd name="T98" fmla="*/ 4672 w 4672"/>
                  <a:gd name="T99" fmla="*/ 446 h 458"/>
                  <a:gd name="T100" fmla="*/ 4663 w 4672"/>
                  <a:gd name="T101"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2" h="458">
                    <a:moveTo>
                      <a:pt x="4659" y="458"/>
                    </a:moveTo>
                    <a:lnTo>
                      <a:pt x="4655" y="458"/>
                    </a:lnTo>
                    <a:lnTo>
                      <a:pt x="4651" y="456"/>
                    </a:lnTo>
                    <a:lnTo>
                      <a:pt x="4648" y="452"/>
                    </a:lnTo>
                    <a:lnTo>
                      <a:pt x="4646" y="449"/>
                    </a:lnTo>
                    <a:lnTo>
                      <a:pt x="4636" y="426"/>
                    </a:lnTo>
                    <a:lnTo>
                      <a:pt x="4621" y="405"/>
                    </a:lnTo>
                    <a:lnTo>
                      <a:pt x="4602" y="385"/>
                    </a:lnTo>
                    <a:lnTo>
                      <a:pt x="4577" y="367"/>
                    </a:lnTo>
                    <a:lnTo>
                      <a:pt x="4549" y="351"/>
                    </a:lnTo>
                    <a:lnTo>
                      <a:pt x="4514" y="335"/>
                    </a:lnTo>
                    <a:lnTo>
                      <a:pt x="4476" y="321"/>
                    </a:lnTo>
                    <a:lnTo>
                      <a:pt x="4434" y="308"/>
                    </a:lnTo>
                    <a:lnTo>
                      <a:pt x="4388" y="296"/>
                    </a:lnTo>
                    <a:lnTo>
                      <a:pt x="4337" y="286"/>
                    </a:lnTo>
                    <a:lnTo>
                      <a:pt x="4282" y="276"/>
                    </a:lnTo>
                    <a:lnTo>
                      <a:pt x="4224" y="268"/>
                    </a:lnTo>
                    <a:lnTo>
                      <a:pt x="4161" y="261"/>
                    </a:lnTo>
                    <a:lnTo>
                      <a:pt x="4095" y="255"/>
                    </a:lnTo>
                    <a:lnTo>
                      <a:pt x="4025" y="249"/>
                    </a:lnTo>
                    <a:lnTo>
                      <a:pt x="3952" y="245"/>
                    </a:lnTo>
                    <a:lnTo>
                      <a:pt x="3875" y="242"/>
                    </a:lnTo>
                    <a:lnTo>
                      <a:pt x="3795" y="239"/>
                    </a:lnTo>
                    <a:lnTo>
                      <a:pt x="3712" y="236"/>
                    </a:lnTo>
                    <a:lnTo>
                      <a:pt x="3627" y="235"/>
                    </a:lnTo>
                    <a:lnTo>
                      <a:pt x="3537" y="235"/>
                    </a:lnTo>
                    <a:lnTo>
                      <a:pt x="3445" y="235"/>
                    </a:lnTo>
                    <a:lnTo>
                      <a:pt x="3351" y="236"/>
                    </a:lnTo>
                    <a:lnTo>
                      <a:pt x="3254" y="237"/>
                    </a:lnTo>
                    <a:lnTo>
                      <a:pt x="3052" y="242"/>
                    </a:lnTo>
                    <a:lnTo>
                      <a:pt x="2841" y="247"/>
                    </a:lnTo>
                    <a:lnTo>
                      <a:pt x="2621" y="255"/>
                    </a:lnTo>
                    <a:lnTo>
                      <a:pt x="2395" y="263"/>
                    </a:lnTo>
                    <a:lnTo>
                      <a:pt x="2349" y="264"/>
                    </a:lnTo>
                    <a:lnTo>
                      <a:pt x="2303" y="266"/>
                    </a:lnTo>
                    <a:lnTo>
                      <a:pt x="2257" y="266"/>
                    </a:lnTo>
                    <a:lnTo>
                      <a:pt x="2212" y="266"/>
                    </a:lnTo>
                    <a:lnTo>
                      <a:pt x="2122" y="263"/>
                    </a:lnTo>
                    <a:lnTo>
                      <a:pt x="2034" y="260"/>
                    </a:lnTo>
                    <a:lnTo>
                      <a:pt x="1946" y="255"/>
                    </a:lnTo>
                    <a:lnTo>
                      <a:pt x="1860" y="247"/>
                    </a:lnTo>
                    <a:lnTo>
                      <a:pt x="1774" y="239"/>
                    </a:lnTo>
                    <a:lnTo>
                      <a:pt x="1689" y="229"/>
                    </a:lnTo>
                    <a:lnTo>
                      <a:pt x="1606" y="218"/>
                    </a:lnTo>
                    <a:lnTo>
                      <a:pt x="1523" y="207"/>
                    </a:lnTo>
                    <a:lnTo>
                      <a:pt x="1442" y="194"/>
                    </a:lnTo>
                    <a:lnTo>
                      <a:pt x="1362" y="181"/>
                    </a:lnTo>
                    <a:lnTo>
                      <a:pt x="1283" y="168"/>
                    </a:lnTo>
                    <a:lnTo>
                      <a:pt x="1206" y="154"/>
                    </a:lnTo>
                    <a:lnTo>
                      <a:pt x="1129" y="140"/>
                    </a:lnTo>
                    <a:lnTo>
                      <a:pt x="1053" y="126"/>
                    </a:lnTo>
                    <a:lnTo>
                      <a:pt x="978" y="113"/>
                    </a:lnTo>
                    <a:lnTo>
                      <a:pt x="903" y="99"/>
                    </a:lnTo>
                    <a:lnTo>
                      <a:pt x="830" y="86"/>
                    </a:lnTo>
                    <a:lnTo>
                      <a:pt x="758" y="74"/>
                    </a:lnTo>
                    <a:lnTo>
                      <a:pt x="687" y="64"/>
                    </a:lnTo>
                    <a:lnTo>
                      <a:pt x="618" y="53"/>
                    </a:lnTo>
                    <a:lnTo>
                      <a:pt x="550" y="44"/>
                    </a:lnTo>
                    <a:lnTo>
                      <a:pt x="484" y="38"/>
                    </a:lnTo>
                    <a:lnTo>
                      <a:pt x="421" y="32"/>
                    </a:lnTo>
                    <a:lnTo>
                      <a:pt x="357" y="28"/>
                    </a:lnTo>
                    <a:lnTo>
                      <a:pt x="327" y="27"/>
                    </a:lnTo>
                    <a:lnTo>
                      <a:pt x="296" y="27"/>
                    </a:lnTo>
                    <a:lnTo>
                      <a:pt x="266" y="27"/>
                    </a:lnTo>
                    <a:lnTo>
                      <a:pt x="237" y="28"/>
                    </a:lnTo>
                    <a:lnTo>
                      <a:pt x="208" y="29"/>
                    </a:lnTo>
                    <a:lnTo>
                      <a:pt x="179" y="30"/>
                    </a:lnTo>
                    <a:lnTo>
                      <a:pt x="151" y="33"/>
                    </a:lnTo>
                    <a:lnTo>
                      <a:pt x="123" y="37"/>
                    </a:lnTo>
                    <a:lnTo>
                      <a:pt x="96" y="40"/>
                    </a:lnTo>
                    <a:lnTo>
                      <a:pt x="69" y="44"/>
                    </a:lnTo>
                    <a:lnTo>
                      <a:pt x="42" y="50"/>
                    </a:lnTo>
                    <a:lnTo>
                      <a:pt x="16" y="56"/>
                    </a:lnTo>
                    <a:lnTo>
                      <a:pt x="10" y="56"/>
                    </a:lnTo>
                    <a:lnTo>
                      <a:pt x="5" y="55"/>
                    </a:lnTo>
                    <a:lnTo>
                      <a:pt x="2" y="51"/>
                    </a:lnTo>
                    <a:lnTo>
                      <a:pt x="0" y="46"/>
                    </a:lnTo>
                    <a:lnTo>
                      <a:pt x="0" y="41"/>
                    </a:lnTo>
                    <a:lnTo>
                      <a:pt x="1" y="36"/>
                    </a:lnTo>
                    <a:lnTo>
                      <a:pt x="4" y="32"/>
                    </a:lnTo>
                    <a:lnTo>
                      <a:pt x="9" y="30"/>
                    </a:lnTo>
                    <a:lnTo>
                      <a:pt x="36" y="24"/>
                    </a:lnTo>
                    <a:lnTo>
                      <a:pt x="63" y="18"/>
                    </a:lnTo>
                    <a:lnTo>
                      <a:pt x="90" y="14"/>
                    </a:lnTo>
                    <a:lnTo>
                      <a:pt x="118" y="10"/>
                    </a:lnTo>
                    <a:lnTo>
                      <a:pt x="146" y="6"/>
                    </a:lnTo>
                    <a:lnTo>
                      <a:pt x="176" y="4"/>
                    </a:lnTo>
                    <a:lnTo>
                      <a:pt x="205" y="2"/>
                    </a:lnTo>
                    <a:lnTo>
                      <a:pt x="234" y="1"/>
                    </a:lnTo>
                    <a:lnTo>
                      <a:pt x="264" y="0"/>
                    </a:lnTo>
                    <a:lnTo>
                      <a:pt x="294" y="0"/>
                    </a:lnTo>
                    <a:lnTo>
                      <a:pt x="325" y="0"/>
                    </a:lnTo>
                    <a:lnTo>
                      <a:pt x="356" y="1"/>
                    </a:lnTo>
                    <a:lnTo>
                      <a:pt x="420" y="5"/>
                    </a:lnTo>
                    <a:lnTo>
                      <a:pt x="484" y="11"/>
                    </a:lnTo>
                    <a:lnTo>
                      <a:pt x="551" y="17"/>
                    </a:lnTo>
                    <a:lnTo>
                      <a:pt x="619" y="26"/>
                    </a:lnTo>
                    <a:lnTo>
                      <a:pt x="690" y="37"/>
                    </a:lnTo>
                    <a:lnTo>
                      <a:pt x="761" y="48"/>
                    </a:lnTo>
                    <a:lnTo>
                      <a:pt x="833" y="59"/>
                    </a:lnTo>
                    <a:lnTo>
                      <a:pt x="907" y="72"/>
                    </a:lnTo>
                    <a:lnTo>
                      <a:pt x="982" y="86"/>
                    </a:lnTo>
                    <a:lnTo>
                      <a:pt x="1059" y="100"/>
                    </a:lnTo>
                    <a:lnTo>
                      <a:pt x="1133" y="113"/>
                    </a:lnTo>
                    <a:lnTo>
                      <a:pt x="1210" y="127"/>
                    </a:lnTo>
                    <a:lnTo>
                      <a:pt x="1288" y="141"/>
                    </a:lnTo>
                    <a:lnTo>
                      <a:pt x="1365" y="154"/>
                    </a:lnTo>
                    <a:lnTo>
                      <a:pt x="1445" y="167"/>
                    </a:lnTo>
                    <a:lnTo>
                      <a:pt x="1526" y="180"/>
                    </a:lnTo>
                    <a:lnTo>
                      <a:pt x="1608" y="192"/>
                    </a:lnTo>
                    <a:lnTo>
                      <a:pt x="1692" y="202"/>
                    </a:lnTo>
                    <a:lnTo>
                      <a:pt x="1776" y="212"/>
                    </a:lnTo>
                    <a:lnTo>
                      <a:pt x="1861" y="220"/>
                    </a:lnTo>
                    <a:lnTo>
                      <a:pt x="1948" y="228"/>
                    </a:lnTo>
                    <a:lnTo>
                      <a:pt x="2035" y="233"/>
                    </a:lnTo>
                    <a:lnTo>
                      <a:pt x="2124" y="236"/>
                    </a:lnTo>
                    <a:lnTo>
                      <a:pt x="2212" y="239"/>
                    </a:lnTo>
                    <a:lnTo>
                      <a:pt x="2257" y="239"/>
                    </a:lnTo>
                    <a:lnTo>
                      <a:pt x="2303" y="239"/>
                    </a:lnTo>
                    <a:lnTo>
                      <a:pt x="2348" y="237"/>
                    </a:lnTo>
                    <a:lnTo>
                      <a:pt x="2393" y="236"/>
                    </a:lnTo>
                    <a:lnTo>
                      <a:pt x="2630" y="228"/>
                    </a:lnTo>
                    <a:lnTo>
                      <a:pt x="2856" y="220"/>
                    </a:lnTo>
                    <a:lnTo>
                      <a:pt x="3073" y="214"/>
                    </a:lnTo>
                    <a:lnTo>
                      <a:pt x="3279" y="209"/>
                    </a:lnTo>
                    <a:lnTo>
                      <a:pt x="3377" y="208"/>
                    </a:lnTo>
                    <a:lnTo>
                      <a:pt x="3473" y="208"/>
                    </a:lnTo>
                    <a:lnTo>
                      <a:pt x="3566" y="208"/>
                    </a:lnTo>
                    <a:lnTo>
                      <a:pt x="3656" y="208"/>
                    </a:lnTo>
                    <a:lnTo>
                      <a:pt x="3742" y="211"/>
                    </a:lnTo>
                    <a:lnTo>
                      <a:pt x="3825" y="213"/>
                    </a:lnTo>
                    <a:lnTo>
                      <a:pt x="3905" y="216"/>
                    </a:lnTo>
                    <a:lnTo>
                      <a:pt x="3982" y="219"/>
                    </a:lnTo>
                    <a:lnTo>
                      <a:pt x="4055" y="225"/>
                    </a:lnTo>
                    <a:lnTo>
                      <a:pt x="4124" y="230"/>
                    </a:lnTo>
                    <a:lnTo>
                      <a:pt x="4190" y="237"/>
                    </a:lnTo>
                    <a:lnTo>
                      <a:pt x="4252" y="245"/>
                    </a:lnTo>
                    <a:lnTo>
                      <a:pt x="4310" y="255"/>
                    </a:lnTo>
                    <a:lnTo>
                      <a:pt x="4364" y="264"/>
                    </a:lnTo>
                    <a:lnTo>
                      <a:pt x="4415" y="276"/>
                    </a:lnTo>
                    <a:lnTo>
                      <a:pt x="4461" y="288"/>
                    </a:lnTo>
                    <a:lnTo>
                      <a:pt x="4502" y="302"/>
                    </a:lnTo>
                    <a:lnTo>
                      <a:pt x="4540" y="318"/>
                    </a:lnTo>
                    <a:lnTo>
                      <a:pt x="4574" y="335"/>
                    </a:lnTo>
                    <a:lnTo>
                      <a:pt x="4603" y="353"/>
                    </a:lnTo>
                    <a:lnTo>
                      <a:pt x="4627" y="372"/>
                    </a:lnTo>
                    <a:lnTo>
                      <a:pt x="4647" y="394"/>
                    </a:lnTo>
                    <a:lnTo>
                      <a:pt x="4661" y="417"/>
                    </a:lnTo>
                    <a:lnTo>
                      <a:pt x="4672" y="440"/>
                    </a:lnTo>
                    <a:lnTo>
                      <a:pt x="4672" y="446"/>
                    </a:lnTo>
                    <a:lnTo>
                      <a:pt x="4671" y="451"/>
                    </a:lnTo>
                    <a:lnTo>
                      <a:pt x="4668" y="454"/>
                    </a:lnTo>
                    <a:lnTo>
                      <a:pt x="4663" y="458"/>
                    </a:lnTo>
                    <a:lnTo>
                      <a:pt x="4661" y="458"/>
                    </a:lnTo>
                    <a:lnTo>
                      <a:pt x="4659" y="4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24"/>
              <p:cNvSpPr>
                <a:spLocks/>
              </p:cNvSpPr>
              <p:nvPr userDrawn="1"/>
            </p:nvSpPr>
            <p:spPr bwMode="auto">
              <a:xfrm>
                <a:off x="3205" y="3855"/>
                <a:ext cx="494" cy="465"/>
              </a:xfrm>
              <a:custGeom>
                <a:avLst/>
                <a:gdLst>
                  <a:gd name="T0" fmla="*/ 1416 w 1481"/>
                  <a:gd name="T1" fmla="*/ 1339 h 1394"/>
                  <a:gd name="T2" fmla="*/ 1345 w 1481"/>
                  <a:gd name="T3" fmla="*/ 1229 h 1394"/>
                  <a:gd name="T4" fmla="*/ 1267 w 1481"/>
                  <a:gd name="T5" fmla="*/ 1118 h 1394"/>
                  <a:gd name="T6" fmla="*/ 1186 w 1481"/>
                  <a:gd name="T7" fmla="*/ 1006 h 1394"/>
                  <a:gd name="T8" fmla="*/ 1101 w 1481"/>
                  <a:gd name="T9" fmla="*/ 897 h 1394"/>
                  <a:gd name="T10" fmla="*/ 1015 w 1481"/>
                  <a:gd name="T11" fmla="*/ 789 h 1394"/>
                  <a:gd name="T12" fmla="*/ 884 w 1481"/>
                  <a:gd name="T13" fmla="*/ 634 h 1394"/>
                  <a:gd name="T14" fmla="*/ 716 w 1481"/>
                  <a:gd name="T15" fmla="*/ 444 h 1394"/>
                  <a:gd name="T16" fmla="*/ 563 w 1481"/>
                  <a:gd name="T17" fmla="*/ 281 h 1394"/>
                  <a:gd name="T18" fmla="*/ 439 w 1481"/>
                  <a:gd name="T19" fmla="*/ 150 h 1394"/>
                  <a:gd name="T20" fmla="*/ 352 w 1481"/>
                  <a:gd name="T21" fmla="*/ 63 h 1394"/>
                  <a:gd name="T22" fmla="*/ 27 w 1481"/>
                  <a:gd name="T23" fmla="*/ 705 h 1394"/>
                  <a:gd name="T24" fmla="*/ 34 w 1481"/>
                  <a:gd name="T25" fmla="*/ 779 h 1394"/>
                  <a:gd name="T26" fmla="*/ 53 w 1481"/>
                  <a:gd name="T27" fmla="*/ 932 h 1394"/>
                  <a:gd name="T28" fmla="*/ 80 w 1481"/>
                  <a:gd name="T29" fmla="*/ 1144 h 1394"/>
                  <a:gd name="T30" fmla="*/ 116 w 1481"/>
                  <a:gd name="T31" fmla="*/ 1394 h 1394"/>
                  <a:gd name="T32" fmla="*/ 69 w 1481"/>
                  <a:gd name="T33" fmla="*/ 1258 h 1394"/>
                  <a:gd name="T34" fmla="*/ 35 w 1481"/>
                  <a:gd name="T35" fmla="*/ 1014 h 1394"/>
                  <a:gd name="T36" fmla="*/ 13 w 1481"/>
                  <a:gd name="T37" fmla="*/ 826 h 1394"/>
                  <a:gd name="T38" fmla="*/ 1 w 1481"/>
                  <a:gd name="T39" fmla="*/ 719 h 1394"/>
                  <a:gd name="T40" fmla="*/ 0 w 1481"/>
                  <a:gd name="T41" fmla="*/ 701 h 1394"/>
                  <a:gd name="T42" fmla="*/ 308 w 1481"/>
                  <a:gd name="T43" fmla="*/ 8 h 1394"/>
                  <a:gd name="T44" fmla="*/ 313 w 1481"/>
                  <a:gd name="T45" fmla="*/ 4 h 1394"/>
                  <a:gd name="T46" fmla="*/ 318 w 1481"/>
                  <a:gd name="T47" fmla="*/ 0 h 1394"/>
                  <a:gd name="T48" fmla="*/ 325 w 1481"/>
                  <a:gd name="T49" fmla="*/ 1 h 1394"/>
                  <a:gd name="T50" fmla="*/ 331 w 1481"/>
                  <a:gd name="T51" fmla="*/ 5 h 1394"/>
                  <a:gd name="T52" fmla="*/ 368 w 1481"/>
                  <a:gd name="T53" fmla="*/ 40 h 1394"/>
                  <a:gd name="T54" fmla="*/ 462 w 1481"/>
                  <a:gd name="T55" fmla="*/ 135 h 1394"/>
                  <a:gd name="T56" fmla="*/ 601 w 1481"/>
                  <a:gd name="T57" fmla="*/ 280 h 1394"/>
                  <a:gd name="T58" fmla="*/ 771 w 1481"/>
                  <a:gd name="T59" fmla="*/ 465 h 1394"/>
                  <a:gd name="T60" fmla="*/ 956 w 1481"/>
                  <a:gd name="T61" fmla="*/ 678 h 1394"/>
                  <a:gd name="T62" fmla="*/ 1051 w 1481"/>
                  <a:gd name="T63" fmla="*/ 793 h 1394"/>
                  <a:gd name="T64" fmla="*/ 1146 w 1481"/>
                  <a:gd name="T65" fmla="*/ 910 h 1394"/>
                  <a:gd name="T66" fmla="*/ 1238 w 1481"/>
                  <a:gd name="T67" fmla="*/ 1031 h 1394"/>
                  <a:gd name="T68" fmla="*/ 1326 w 1481"/>
                  <a:gd name="T69" fmla="*/ 1152 h 1394"/>
                  <a:gd name="T70" fmla="*/ 1408 w 1481"/>
                  <a:gd name="T71" fmla="*/ 1274 h 1394"/>
                  <a:gd name="T72" fmla="*/ 1481 w 1481"/>
                  <a:gd name="T7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1" h="1394">
                    <a:moveTo>
                      <a:pt x="1450" y="1394"/>
                    </a:moveTo>
                    <a:lnTo>
                      <a:pt x="1416" y="1339"/>
                    </a:lnTo>
                    <a:lnTo>
                      <a:pt x="1382" y="1284"/>
                    </a:lnTo>
                    <a:lnTo>
                      <a:pt x="1345" y="1229"/>
                    </a:lnTo>
                    <a:lnTo>
                      <a:pt x="1307" y="1174"/>
                    </a:lnTo>
                    <a:lnTo>
                      <a:pt x="1267" y="1118"/>
                    </a:lnTo>
                    <a:lnTo>
                      <a:pt x="1227" y="1062"/>
                    </a:lnTo>
                    <a:lnTo>
                      <a:pt x="1186" y="1006"/>
                    </a:lnTo>
                    <a:lnTo>
                      <a:pt x="1144" y="951"/>
                    </a:lnTo>
                    <a:lnTo>
                      <a:pt x="1101" y="897"/>
                    </a:lnTo>
                    <a:lnTo>
                      <a:pt x="1058" y="842"/>
                    </a:lnTo>
                    <a:lnTo>
                      <a:pt x="1015" y="789"/>
                    </a:lnTo>
                    <a:lnTo>
                      <a:pt x="970" y="737"/>
                    </a:lnTo>
                    <a:lnTo>
                      <a:pt x="884" y="634"/>
                    </a:lnTo>
                    <a:lnTo>
                      <a:pt x="799" y="537"/>
                    </a:lnTo>
                    <a:lnTo>
                      <a:pt x="716" y="444"/>
                    </a:lnTo>
                    <a:lnTo>
                      <a:pt x="637" y="359"/>
                    </a:lnTo>
                    <a:lnTo>
                      <a:pt x="563" y="281"/>
                    </a:lnTo>
                    <a:lnTo>
                      <a:pt x="497" y="211"/>
                    </a:lnTo>
                    <a:lnTo>
                      <a:pt x="439" y="150"/>
                    </a:lnTo>
                    <a:lnTo>
                      <a:pt x="391" y="101"/>
                    </a:lnTo>
                    <a:lnTo>
                      <a:pt x="352" y="63"/>
                    </a:lnTo>
                    <a:lnTo>
                      <a:pt x="326" y="37"/>
                    </a:lnTo>
                    <a:lnTo>
                      <a:pt x="27" y="705"/>
                    </a:lnTo>
                    <a:lnTo>
                      <a:pt x="29" y="731"/>
                    </a:lnTo>
                    <a:lnTo>
                      <a:pt x="34" y="779"/>
                    </a:lnTo>
                    <a:lnTo>
                      <a:pt x="42" y="847"/>
                    </a:lnTo>
                    <a:lnTo>
                      <a:pt x="53" y="932"/>
                    </a:lnTo>
                    <a:lnTo>
                      <a:pt x="64" y="1031"/>
                    </a:lnTo>
                    <a:lnTo>
                      <a:pt x="80" y="1144"/>
                    </a:lnTo>
                    <a:lnTo>
                      <a:pt x="97" y="1266"/>
                    </a:lnTo>
                    <a:lnTo>
                      <a:pt x="116" y="1394"/>
                    </a:lnTo>
                    <a:lnTo>
                      <a:pt x="88" y="1394"/>
                    </a:lnTo>
                    <a:lnTo>
                      <a:pt x="69" y="1258"/>
                    </a:lnTo>
                    <a:lnTo>
                      <a:pt x="50" y="1131"/>
                    </a:lnTo>
                    <a:lnTo>
                      <a:pt x="35" y="1014"/>
                    </a:lnTo>
                    <a:lnTo>
                      <a:pt x="22" y="911"/>
                    </a:lnTo>
                    <a:lnTo>
                      <a:pt x="13" y="826"/>
                    </a:lnTo>
                    <a:lnTo>
                      <a:pt x="5" y="761"/>
                    </a:lnTo>
                    <a:lnTo>
                      <a:pt x="1" y="719"/>
                    </a:lnTo>
                    <a:lnTo>
                      <a:pt x="0" y="704"/>
                    </a:lnTo>
                    <a:lnTo>
                      <a:pt x="0" y="701"/>
                    </a:lnTo>
                    <a:lnTo>
                      <a:pt x="1" y="698"/>
                    </a:lnTo>
                    <a:lnTo>
                      <a:pt x="308" y="8"/>
                    </a:lnTo>
                    <a:lnTo>
                      <a:pt x="311" y="6"/>
                    </a:lnTo>
                    <a:lnTo>
                      <a:pt x="313" y="4"/>
                    </a:lnTo>
                    <a:lnTo>
                      <a:pt x="316" y="1"/>
                    </a:lnTo>
                    <a:lnTo>
                      <a:pt x="318" y="0"/>
                    </a:lnTo>
                    <a:lnTo>
                      <a:pt x="321" y="0"/>
                    </a:lnTo>
                    <a:lnTo>
                      <a:pt x="325" y="1"/>
                    </a:lnTo>
                    <a:lnTo>
                      <a:pt x="328" y="3"/>
                    </a:lnTo>
                    <a:lnTo>
                      <a:pt x="331" y="5"/>
                    </a:lnTo>
                    <a:lnTo>
                      <a:pt x="341" y="14"/>
                    </a:lnTo>
                    <a:lnTo>
                      <a:pt x="368" y="40"/>
                    </a:lnTo>
                    <a:lnTo>
                      <a:pt x="408" y="81"/>
                    </a:lnTo>
                    <a:lnTo>
                      <a:pt x="462" y="135"/>
                    </a:lnTo>
                    <a:lnTo>
                      <a:pt x="527" y="202"/>
                    </a:lnTo>
                    <a:lnTo>
                      <a:pt x="601" y="280"/>
                    </a:lnTo>
                    <a:lnTo>
                      <a:pt x="682" y="368"/>
                    </a:lnTo>
                    <a:lnTo>
                      <a:pt x="771" y="465"/>
                    </a:lnTo>
                    <a:lnTo>
                      <a:pt x="862" y="568"/>
                    </a:lnTo>
                    <a:lnTo>
                      <a:pt x="956" y="678"/>
                    </a:lnTo>
                    <a:lnTo>
                      <a:pt x="1004" y="734"/>
                    </a:lnTo>
                    <a:lnTo>
                      <a:pt x="1051" y="793"/>
                    </a:lnTo>
                    <a:lnTo>
                      <a:pt x="1099" y="851"/>
                    </a:lnTo>
                    <a:lnTo>
                      <a:pt x="1146" y="910"/>
                    </a:lnTo>
                    <a:lnTo>
                      <a:pt x="1193" y="971"/>
                    </a:lnTo>
                    <a:lnTo>
                      <a:pt x="1238" y="1031"/>
                    </a:lnTo>
                    <a:lnTo>
                      <a:pt x="1282" y="1092"/>
                    </a:lnTo>
                    <a:lnTo>
                      <a:pt x="1326" y="1152"/>
                    </a:lnTo>
                    <a:lnTo>
                      <a:pt x="1368" y="1214"/>
                    </a:lnTo>
                    <a:lnTo>
                      <a:pt x="1408" y="1274"/>
                    </a:lnTo>
                    <a:lnTo>
                      <a:pt x="1446" y="1335"/>
                    </a:lnTo>
                    <a:lnTo>
                      <a:pt x="1481" y="1394"/>
                    </a:lnTo>
                    <a:lnTo>
                      <a:pt x="1450" y="1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25"/>
              <p:cNvSpPr>
                <a:spLocks/>
              </p:cNvSpPr>
              <p:nvPr userDrawn="1"/>
            </p:nvSpPr>
            <p:spPr bwMode="auto">
              <a:xfrm>
                <a:off x="2457" y="3165"/>
                <a:ext cx="626" cy="233"/>
              </a:xfrm>
              <a:custGeom>
                <a:avLst/>
                <a:gdLst>
                  <a:gd name="T0" fmla="*/ 1860 w 1879"/>
                  <a:gd name="T1" fmla="*/ 699 h 700"/>
                  <a:gd name="T2" fmla="*/ 1796 w 1879"/>
                  <a:gd name="T3" fmla="*/ 647 h 700"/>
                  <a:gd name="T4" fmla="*/ 1681 w 1879"/>
                  <a:gd name="T5" fmla="*/ 558 h 700"/>
                  <a:gd name="T6" fmla="*/ 1575 w 1879"/>
                  <a:gd name="T7" fmla="*/ 476 h 700"/>
                  <a:gd name="T8" fmla="*/ 1476 w 1879"/>
                  <a:gd name="T9" fmla="*/ 404 h 700"/>
                  <a:gd name="T10" fmla="*/ 1382 w 1879"/>
                  <a:gd name="T11" fmla="*/ 340 h 700"/>
                  <a:gd name="T12" fmla="*/ 1296 w 1879"/>
                  <a:gd name="T13" fmla="*/ 284 h 700"/>
                  <a:gd name="T14" fmla="*/ 1214 w 1879"/>
                  <a:gd name="T15" fmla="*/ 235 h 700"/>
                  <a:gd name="T16" fmla="*/ 1136 w 1879"/>
                  <a:gd name="T17" fmla="*/ 192 h 700"/>
                  <a:gd name="T18" fmla="*/ 1061 w 1879"/>
                  <a:gd name="T19" fmla="*/ 156 h 700"/>
                  <a:gd name="T20" fmla="*/ 990 w 1879"/>
                  <a:gd name="T21" fmla="*/ 126 h 700"/>
                  <a:gd name="T22" fmla="*/ 921 w 1879"/>
                  <a:gd name="T23" fmla="*/ 101 h 700"/>
                  <a:gd name="T24" fmla="*/ 854 w 1879"/>
                  <a:gd name="T25" fmla="*/ 81 h 700"/>
                  <a:gd name="T26" fmla="*/ 788 w 1879"/>
                  <a:gd name="T27" fmla="*/ 65 h 700"/>
                  <a:gd name="T28" fmla="*/ 722 w 1879"/>
                  <a:gd name="T29" fmla="*/ 52 h 700"/>
                  <a:gd name="T30" fmla="*/ 655 w 1879"/>
                  <a:gd name="T31" fmla="*/ 42 h 700"/>
                  <a:gd name="T32" fmla="*/ 587 w 1879"/>
                  <a:gd name="T33" fmla="*/ 35 h 700"/>
                  <a:gd name="T34" fmla="*/ 482 w 1879"/>
                  <a:gd name="T35" fmla="*/ 29 h 700"/>
                  <a:gd name="T36" fmla="*/ 311 w 1879"/>
                  <a:gd name="T37" fmla="*/ 27 h 700"/>
                  <a:gd name="T38" fmla="*/ 142 w 1879"/>
                  <a:gd name="T39" fmla="*/ 28 h 700"/>
                  <a:gd name="T40" fmla="*/ 31 w 1879"/>
                  <a:gd name="T41" fmla="*/ 30 h 700"/>
                  <a:gd name="T42" fmla="*/ 8 w 1879"/>
                  <a:gd name="T43" fmla="*/ 30 h 700"/>
                  <a:gd name="T44" fmla="*/ 1 w 1879"/>
                  <a:gd name="T45" fmla="*/ 22 h 700"/>
                  <a:gd name="T46" fmla="*/ 1 w 1879"/>
                  <a:gd name="T47" fmla="*/ 13 h 700"/>
                  <a:gd name="T48" fmla="*/ 7 w 1879"/>
                  <a:gd name="T49" fmla="*/ 5 h 700"/>
                  <a:gd name="T50" fmla="*/ 30 w 1879"/>
                  <a:gd name="T51" fmla="*/ 3 h 700"/>
                  <a:gd name="T52" fmla="*/ 142 w 1879"/>
                  <a:gd name="T53" fmla="*/ 1 h 700"/>
                  <a:gd name="T54" fmla="*/ 311 w 1879"/>
                  <a:gd name="T55" fmla="*/ 0 h 700"/>
                  <a:gd name="T56" fmla="*/ 484 w 1879"/>
                  <a:gd name="T57" fmla="*/ 2 h 700"/>
                  <a:gd name="T58" fmla="*/ 590 w 1879"/>
                  <a:gd name="T59" fmla="*/ 8 h 700"/>
                  <a:gd name="T60" fmla="*/ 658 w 1879"/>
                  <a:gd name="T61" fmla="*/ 15 h 700"/>
                  <a:gd name="T62" fmla="*/ 727 w 1879"/>
                  <a:gd name="T63" fmla="*/ 25 h 700"/>
                  <a:gd name="T64" fmla="*/ 793 w 1879"/>
                  <a:gd name="T65" fmla="*/ 38 h 700"/>
                  <a:gd name="T66" fmla="*/ 860 w 1879"/>
                  <a:gd name="T67" fmla="*/ 54 h 700"/>
                  <a:gd name="T68" fmla="*/ 928 w 1879"/>
                  <a:gd name="T69" fmla="*/ 75 h 700"/>
                  <a:gd name="T70" fmla="*/ 999 w 1879"/>
                  <a:gd name="T71" fmla="*/ 100 h 700"/>
                  <a:gd name="T72" fmla="*/ 1071 w 1879"/>
                  <a:gd name="T73" fmla="*/ 130 h 700"/>
                  <a:gd name="T74" fmla="*/ 1145 w 1879"/>
                  <a:gd name="T75" fmla="*/ 167 h 700"/>
                  <a:gd name="T76" fmla="*/ 1224 w 1879"/>
                  <a:gd name="T77" fmla="*/ 209 h 700"/>
                  <a:gd name="T78" fmla="*/ 1307 w 1879"/>
                  <a:gd name="T79" fmla="*/ 259 h 700"/>
                  <a:gd name="T80" fmla="*/ 1395 w 1879"/>
                  <a:gd name="T81" fmla="*/ 316 h 700"/>
                  <a:gd name="T82" fmla="*/ 1489 w 1879"/>
                  <a:gd name="T83" fmla="*/ 381 h 700"/>
                  <a:gd name="T84" fmla="*/ 1589 w 1879"/>
                  <a:gd name="T85" fmla="*/ 453 h 700"/>
                  <a:gd name="T86" fmla="*/ 1697 w 1879"/>
                  <a:gd name="T87" fmla="*/ 535 h 700"/>
                  <a:gd name="T88" fmla="*/ 1813 w 1879"/>
                  <a:gd name="T89" fmla="*/ 627 h 700"/>
                  <a:gd name="T90" fmla="*/ 1877 w 1879"/>
                  <a:gd name="T91" fmla="*/ 680 h 700"/>
                  <a:gd name="T92" fmla="*/ 1878 w 1879"/>
                  <a:gd name="T93" fmla="*/ 691 h 700"/>
                  <a:gd name="T94" fmla="*/ 1873 w 1879"/>
                  <a:gd name="T95" fmla="*/ 697 h 700"/>
                  <a:gd name="T96" fmla="*/ 1868 w 1879"/>
                  <a:gd name="T97" fmla="*/ 699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79" h="700">
                    <a:moveTo>
                      <a:pt x="1865" y="700"/>
                    </a:moveTo>
                    <a:lnTo>
                      <a:pt x="1860" y="699"/>
                    </a:lnTo>
                    <a:lnTo>
                      <a:pt x="1856" y="697"/>
                    </a:lnTo>
                    <a:lnTo>
                      <a:pt x="1796" y="647"/>
                    </a:lnTo>
                    <a:lnTo>
                      <a:pt x="1737" y="601"/>
                    </a:lnTo>
                    <a:lnTo>
                      <a:pt x="1681" y="558"/>
                    </a:lnTo>
                    <a:lnTo>
                      <a:pt x="1627" y="516"/>
                    </a:lnTo>
                    <a:lnTo>
                      <a:pt x="1575" y="476"/>
                    </a:lnTo>
                    <a:lnTo>
                      <a:pt x="1524" y="439"/>
                    </a:lnTo>
                    <a:lnTo>
                      <a:pt x="1476" y="404"/>
                    </a:lnTo>
                    <a:lnTo>
                      <a:pt x="1428" y="371"/>
                    </a:lnTo>
                    <a:lnTo>
                      <a:pt x="1382" y="340"/>
                    </a:lnTo>
                    <a:lnTo>
                      <a:pt x="1338" y="311"/>
                    </a:lnTo>
                    <a:lnTo>
                      <a:pt x="1296" y="284"/>
                    </a:lnTo>
                    <a:lnTo>
                      <a:pt x="1253" y="258"/>
                    </a:lnTo>
                    <a:lnTo>
                      <a:pt x="1214" y="235"/>
                    </a:lnTo>
                    <a:lnTo>
                      <a:pt x="1174" y="212"/>
                    </a:lnTo>
                    <a:lnTo>
                      <a:pt x="1136" y="192"/>
                    </a:lnTo>
                    <a:lnTo>
                      <a:pt x="1098" y="174"/>
                    </a:lnTo>
                    <a:lnTo>
                      <a:pt x="1061" y="156"/>
                    </a:lnTo>
                    <a:lnTo>
                      <a:pt x="1026" y="140"/>
                    </a:lnTo>
                    <a:lnTo>
                      <a:pt x="990" y="126"/>
                    </a:lnTo>
                    <a:lnTo>
                      <a:pt x="955" y="113"/>
                    </a:lnTo>
                    <a:lnTo>
                      <a:pt x="921" y="101"/>
                    </a:lnTo>
                    <a:lnTo>
                      <a:pt x="887" y="90"/>
                    </a:lnTo>
                    <a:lnTo>
                      <a:pt x="854" y="81"/>
                    </a:lnTo>
                    <a:lnTo>
                      <a:pt x="822" y="72"/>
                    </a:lnTo>
                    <a:lnTo>
                      <a:pt x="788" y="65"/>
                    </a:lnTo>
                    <a:lnTo>
                      <a:pt x="755" y="58"/>
                    </a:lnTo>
                    <a:lnTo>
                      <a:pt x="722" y="52"/>
                    </a:lnTo>
                    <a:lnTo>
                      <a:pt x="689" y="46"/>
                    </a:lnTo>
                    <a:lnTo>
                      <a:pt x="655" y="42"/>
                    </a:lnTo>
                    <a:lnTo>
                      <a:pt x="622" y="39"/>
                    </a:lnTo>
                    <a:lnTo>
                      <a:pt x="587" y="35"/>
                    </a:lnTo>
                    <a:lnTo>
                      <a:pt x="553" y="32"/>
                    </a:lnTo>
                    <a:lnTo>
                      <a:pt x="482" y="29"/>
                    </a:lnTo>
                    <a:lnTo>
                      <a:pt x="399" y="27"/>
                    </a:lnTo>
                    <a:lnTo>
                      <a:pt x="311" y="27"/>
                    </a:lnTo>
                    <a:lnTo>
                      <a:pt x="222" y="27"/>
                    </a:lnTo>
                    <a:lnTo>
                      <a:pt x="142" y="28"/>
                    </a:lnTo>
                    <a:lnTo>
                      <a:pt x="76" y="29"/>
                    </a:lnTo>
                    <a:lnTo>
                      <a:pt x="31" y="30"/>
                    </a:lnTo>
                    <a:lnTo>
                      <a:pt x="14" y="31"/>
                    </a:lnTo>
                    <a:lnTo>
                      <a:pt x="8" y="30"/>
                    </a:lnTo>
                    <a:lnTo>
                      <a:pt x="4" y="27"/>
                    </a:lnTo>
                    <a:lnTo>
                      <a:pt x="1" y="22"/>
                    </a:lnTo>
                    <a:lnTo>
                      <a:pt x="0" y="18"/>
                    </a:lnTo>
                    <a:lnTo>
                      <a:pt x="1" y="13"/>
                    </a:lnTo>
                    <a:lnTo>
                      <a:pt x="3" y="8"/>
                    </a:lnTo>
                    <a:lnTo>
                      <a:pt x="7" y="5"/>
                    </a:lnTo>
                    <a:lnTo>
                      <a:pt x="13" y="4"/>
                    </a:lnTo>
                    <a:lnTo>
                      <a:pt x="30" y="3"/>
                    </a:lnTo>
                    <a:lnTo>
                      <a:pt x="75" y="2"/>
                    </a:lnTo>
                    <a:lnTo>
                      <a:pt x="142" y="1"/>
                    </a:lnTo>
                    <a:lnTo>
                      <a:pt x="222" y="0"/>
                    </a:lnTo>
                    <a:lnTo>
                      <a:pt x="311" y="0"/>
                    </a:lnTo>
                    <a:lnTo>
                      <a:pt x="400" y="0"/>
                    </a:lnTo>
                    <a:lnTo>
                      <a:pt x="484" y="2"/>
                    </a:lnTo>
                    <a:lnTo>
                      <a:pt x="555" y="5"/>
                    </a:lnTo>
                    <a:lnTo>
                      <a:pt x="590" y="8"/>
                    </a:lnTo>
                    <a:lnTo>
                      <a:pt x="625" y="12"/>
                    </a:lnTo>
                    <a:lnTo>
                      <a:pt x="658" y="15"/>
                    </a:lnTo>
                    <a:lnTo>
                      <a:pt x="693" y="20"/>
                    </a:lnTo>
                    <a:lnTo>
                      <a:pt x="727" y="25"/>
                    </a:lnTo>
                    <a:lnTo>
                      <a:pt x="760" y="31"/>
                    </a:lnTo>
                    <a:lnTo>
                      <a:pt x="793" y="38"/>
                    </a:lnTo>
                    <a:lnTo>
                      <a:pt x="827" y="45"/>
                    </a:lnTo>
                    <a:lnTo>
                      <a:pt x="860" y="54"/>
                    </a:lnTo>
                    <a:lnTo>
                      <a:pt x="895" y="65"/>
                    </a:lnTo>
                    <a:lnTo>
                      <a:pt x="928" y="75"/>
                    </a:lnTo>
                    <a:lnTo>
                      <a:pt x="963" y="87"/>
                    </a:lnTo>
                    <a:lnTo>
                      <a:pt x="999" y="100"/>
                    </a:lnTo>
                    <a:lnTo>
                      <a:pt x="1034" y="115"/>
                    </a:lnTo>
                    <a:lnTo>
                      <a:pt x="1071" y="130"/>
                    </a:lnTo>
                    <a:lnTo>
                      <a:pt x="1108" y="148"/>
                    </a:lnTo>
                    <a:lnTo>
                      <a:pt x="1145" y="167"/>
                    </a:lnTo>
                    <a:lnTo>
                      <a:pt x="1184" y="188"/>
                    </a:lnTo>
                    <a:lnTo>
                      <a:pt x="1224" y="209"/>
                    </a:lnTo>
                    <a:lnTo>
                      <a:pt x="1265" y="233"/>
                    </a:lnTo>
                    <a:lnTo>
                      <a:pt x="1307" y="259"/>
                    </a:lnTo>
                    <a:lnTo>
                      <a:pt x="1351" y="287"/>
                    </a:lnTo>
                    <a:lnTo>
                      <a:pt x="1395" y="316"/>
                    </a:lnTo>
                    <a:lnTo>
                      <a:pt x="1441" y="347"/>
                    </a:lnTo>
                    <a:lnTo>
                      <a:pt x="1489" y="381"/>
                    </a:lnTo>
                    <a:lnTo>
                      <a:pt x="1539" y="415"/>
                    </a:lnTo>
                    <a:lnTo>
                      <a:pt x="1589" y="453"/>
                    </a:lnTo>
                    <a:lnTo>
                      <a:pt x="1642" y="493"/>
                    </a:lnTo>
                    <a:lnTo>
                      <a:pt x="1697" y="535"/>
                    </a:lnTo>
                    <a:lnTo>
                      <a:pt x="1753" y="579"/>
                    </a:lnTo>
                    <a:lnTo>
                      <a:pt x="1813" y="627"/>
                    </a:lnTo>
                    <a:lnTo>
                      <a:pt x="1873" y="676"/>
                    </a:lnTo>
                    <a:lnTo>
                      <a:pt x="1877" y="680"/>
                    </a:lnTo>
                    <a:lnTo>
                      <a:pt x="1879" y="685"/>
                    </a:lnTo>
                    <a:lnTo>
                      <a:pt x="1878" y="691"/>
                    </a:lnTo>
                    <a:lnTo>
                      <a:pt x="1875" y="695"/>
                    </a:lnTo>
                    <a:lnTo>
                      <a:pt x="1873" y="697"/>
                    </a:lnTo>
                    <a:lnTo>
                      <a:pt x="1870" y="699"/>
                    </a:lnTo>
                    <a:lnTo>
                      <a:pt x="1868" y="699"/>
                    </a:lnTo>
                    <a:lnTo>
                      <a:pt x="1865" y="7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26"/>
              <p:cNvSpPr>
                <a:spLocks/>
              </p:cNvSpPr>
              <p:nvPr userDrawn="1"/>
            </p:nvSpPr>
            <p:spPr bwMode="auto">
              <a:xfrm>
                <a:off x="3074" y="3389"/>
                <a:ext cx="280" cy="931"/>
              </a:xfrm>
              <a:custGeom>
                <a:avLst/>
                <a:gdLst>
                  <a:gd name="T0" fmla="*/ 775 w 839"/>
                  <a:gd name="T1" fmla="*/ 2740 h 2793"/>
                  <a:gd name="T2" fmla="*/ 762 w 839"/>
                  <a:gd name="T3" fmla="*/ 2667 h 2793"/>
                  <a:gd name="T4" fmla="*/ 750 w 839"/>
                  <a:gd name="T5" fmla="*/ 2599 h 2793"/>
                  <a:gd name="T6" fmla="*/ 727 w 839"/>
                  <a:gd name="T7" fmla="*/ 2470 h 2793"/>
                  <a:gd name="T8" fmla="*/ 713 w 839"/>
                  <a:gd name="T9" fmla="*/ 2372 h 2793"/>
                  <a:gd name="T10" fmla="*/ 712 w 839"/>
                  <a:gd name="T11" fmla="*/ 2308 h 2793"/>
                  <a:gd name="T12" fmla="*/ 721 w 839"/>
                  <a:gd name="T13" fmla="*/ 2258 h 2793"/>
                  <a:gd name="T14" fmla="*/ 757 w 839"/>
                  <a:gd name="T15" fmla="*/ 2137 h 2793"/>
                  <a:gd name="T16" fmla="*/ 783 w 839"/>
                  <a:gd name="T17" fmla="*/ 2040 h 2793"/>
                  <a:gd name="T18" fmla="*/ 799 w 839"/>
                  <a:gd name="T19" fmla="*/ 1953 h 2793"/>
                  <a:gd name="T20" fmla="*/ 810 w 839"/>
                  <a:gd name="T21" fmla="*/ 1853 h 2793"/>
                  <a:gd name="T22" fmla="*/ 812 w 839"/>
                  <a:gd name="T23" fmla="*/ 1738 h 2793"/>
                  <a:gd name="T24" fmla="*/ 803 w 839"/>
                  <a:gd name="T25" fmla="*/ 1606 h 2793"/>
                  <a:gd name="T26" fmla="*/ 780 w 839"/>
                  <a:gd name="T27" fmla="*/ 1454 h 2793"/>
                  <a:gd name="T28" fmla="*/ 740 w 839"/>
                  <a:gd name="T29" fmla="*/ 1283 h 2793"/>
                  <a:gd name="T30" fmla="*/ 682 w 839"/>
                  <a:gd name="T31" fmla="*/ 1087 h 2793"/>
                  <a:gd name="T32" fmla="*/ 602 w 839"/>
                  <a:gd name="T33" fmla="*/ 867 h 2793"/>
                  <a:gd name="T34" fmla="*/ 514 w 839"/>
                  <a:gd name="T35" fmla="*/ 658 h 2793"/>
                  <a:gd name="T36" fmla="*/ 439 w 839"/>
                  <a:gd name="T37" fmla="*/ 520 h 2793"/>
                  <a:gd name="T38" fmla="*/ 351 w 839"/>
                  <a:gd name="T39" fmla="*/ 386 h 2793"/>
                  <a:gd name="T40" fmla="*/ 249 w 839"/>
                  <a:gd name="T41" fmla="*/ 259 h 2793"/>
                  <a:gd name="T42" fmla="*/ 134 w 839"/>
                  <a:gd name="T43" fmla="*/ 139 h 2793"/>
                  <a:gd name="T44" fmla="*/ 4 w 839"/>
                  <a:gd name="T45" fmla="*/ 24 h 2793"/>
                  <a:gd name="T46" fmla="*/ 0 w 839"/>
                  <a:gd name="T47" fmla="*/ 10 h 2793"/>
                  <a:gd name="T48" fmla="*/ 12 w 839"/>
                  <a:gd name="T49" fmla="*/ 0 h 2793"/>
                  <a:gd name="T50" fmla="*/ 67 w 839"/>
                  <a:gd name="T51" fmla="*/ 41 h 2793"/>
                  <a:gd name="T52" fmla="*/ 193 w 839"/>
                  <a:gd name="T53" fmla="*/ 159 h 2793"/>
                  <a:gd name="T54" fmla="*/ 305 w 839"/>
                  <a:gd name="T55" fmla="*/ 283 h 2793"/>
                  <a:gd name="T56" fmla="*/ 405 w 839"/>
                  <a:gd name="T57" fmla="*/ 415 h 2793"/>
                  <a:gd name="T58" fmla="*/ 489 w 839"/>
                  <a:gd name="T59" fmla="*/ 552 h 2793"/>
                  <a:gd name="T60" fmla="*/ 560 w 839"/>
                  <a:gd name="T61" fmla="*/ 694 h 2793"/>
                  <a:gd name="T62" fmla="*/ 657 w 839"/>
                  <a:gd name="T63" fmla="*/ 935 h 2793"/>
                  <a:gd name="T64" fmla="*/ 731 w 839"/>
                  <a:gd name="T65" fmla="*/ 1149 h 2793"/>
                  <a:gd name="T66" fmla="*/ 783 w 839"/>
                  <a:gd name="T67" fmla="*/ 1339 h 2793"/>
                  <a:gd name="T68" fmla="*/ 816 w 839"/>
                  <a:gd name="T69" fmla="*/ 1506 h 2793"/>
                  <a:gd name="T70" fmla="*/ 834 w 839"/>
                  <a:gd name="T71" fmla="*/ 1652 h 2793"/>
                  <a:gd name="T72" fmla="*/ 839 w 839"/>
                  <a:gd name="T73" fmla="*/ 1780 h 2793"/>
                  <a:gd name="T74" fmla="*/ 833 w 839"/>
                  <a:gd name="T75" fmla="*/ 1892 h 2793"/>
                  <a:gd name="T76" fmla="*/ 820 w 839"/>
                  <a:gd name="T77" fmla="*/ 1988 h 2793"/>
                  <a:gd name="T78" fmla="*/ 803 w 839"/>
                  <a:gd name="T79" fmla="*/ 2071 h 2793"/>
                  <a:gd name="T80" fmla="*/ 770 w 839"/>
                  <a:gd name="T81" fmla="*/ 2186 h 2793"/>
                  <a:gd name="T82" fmla="*/ 744 w 839"/>
                  <a:gd name="T83" fmla="*/ 2278 h 2793"/>
                  <a:gd name="T84" fmla="*/ 738 w 839"/>
                  <a:gd name="T85" fmla="*/ 2325 h 2793"/>
                  <a:gd name="T86" fmla="*/ 744 w 839"/>
                  <a:gd name="T87" fmla="*/ 2399 h 2793"/>
                  <a:gd name="T88" fmla="*/ 761 w 839"/>
                  <a:gd name="T89" fmla="*/ 2506 h 2793"/>
                  <a:gd name="T90" fmla="*/ 780 w 839"/>
                  <a:gd name="T91" fmla="*/ 2617 h 2793"/>
                  <a:gd name="T92" fmla="*/ 793 w 839"/>
                  <a:gd name="T93" fmla="*/ 2688 h 2793"/>
                  <a:gd name="T94" fmla="*/ 806 w 839"/>
                  <a:gd name="T95" fmla="*/ 2766 h 2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39" h="2793">
                    <a:moveTo>
                      <a:pt x="784" y="2793"/>
                    </a:moveTo>
                    <a:lnTo>
                      <a:pt x="779" y="2766"/>
                    </a:lnTo>
                    <a:lnTo>
                      <a:pt x="775" y="2740"/>
                    </a:lnTo>
                    <a:lnTo>
                      <a:pt x="771" y="2715"/>
                    </a:lnTo>
                    <a:lnTo>
                      <a:pt x="766" y="2690"/>
                    </a:lnTo>
                    <a:lnTo>
                      <a:pt x="762" y="2667"/>
                    </a:lnTo>
                    <a:lnTo>
                      <a:pt x="758" y="2644"/>
                    </a:lnTo>
                    <a:lnTo>
                      <a:pt x="754" y="2621"/>
                    </a:lnTo>
                    <a:lnTo>
                      <a:pt x="750" y="2599"/>
                    </a:lnTo>
                    <a:lnTo>
                      <a:pt x="742" y="2552"/>
                    </a:lnTo>
                    <a:lnTo>
                      <a:pt x="734" y="2509"/>
                    </a:lnTo>
                    <a:lnTo>
                      <a:pt x="727" y="2470"/>
                    </a:lnTo>
                    <a:lnTo>
                      <a:pt x="722" y="2434"/>
                    </a:lnTo>
                    <a:lnTo>
                      <a:pt x="717" y="2401"/>
                    </a:lnTo>
                    <a:lnTo>
                      <a:pt x="713" y="2372"/>
                    </a:lnTo>
                    <a:lnTo>
                      <a:pt x="711" y="2346"/>
                    </a:lnTo>
                    <a:lnTo>
                      <a:pt x="711" y="2325"/>
                    </a:lnTo>
                    <a:lnTo>
                      <a:pt x="712" y="2308"/>
                    </a:lnTo>
                    <a:lnTo>
                      <a:pt x="713" y="2292"/>
                    </a:lnTo>
                    <a:lnTo>
                      <a:pt x="717" y="2275"/>
                    </a:lnTo>
                    <a:lnTo>
                      <a:pt x="721" y="2258"/>
                    </a:lnTo>
                    <a:lnTo>
                      <a:pt x="731" y="2220"/>
                    </a:lnTo>
                    <a:lnTo>
                      <a:pt x="744" y="2179"/>
                    </a:lnTo>
                    <a:lnTo>
                      <a:pt x="757" y="2137"/>
                    </a:lnTo>
                    <a:lnTo>
                      <a:pt x="770" y="2090"/>
                    </a:lnTo>
                    <a:lnTo>
                      <a:pt x="776" y="2065"/>
                    </a:lnTo>
                    <a:lnTo>
                      <a:pt x="783" y="2040"/>
                    </a:lnTo>
                    <a:lnTo>
                      <a:pt x="788" y="2011"/>
                    </a:lnTo>
                    <a:lnTo>
                      <a:pt x="793" y="1983"/>
                    </a:lnTo>
                    <a:lnTo>
                      <a:pt x="799" y="1953"/>
                    </a:lnTo>
                    <a:lnTo>
                      <a:pt x="803" y="1921"/>
                    </a:lnTo>
                    <a:lnTo>
                      <a:pt x="806" y="1888"/>
                    </a:lnTo>
                    <a:lnTo>
                      <a:pt x="810" y="1853"/>
                    </a:lnTo>
                    <a:lnTo>
                      <a:pt x="812" y="1817"/>
                    </a:lnTo>
                    <a:lnTo>
                      <a:pt x="812" y="1778"/>
                    </a:lnTo>
                    <a:lnTo>
                      <a:pt x="812" y="1738"/>
                    </a:lnTo>
                    <a:lnTo>
                      <a:pt x="811" y="1696"/>
                    </a:lnTo>
                    <a:lnTo>
                      <a:pt x="807" y="1652"/>
                    </a:lnTo>
                    <a:lnTo>
                      <a:pt x="803" y="1606"/>
                    </a:lnTo>
                    <a:lnTo>
                      <a:pt x="797" y="1558"/>
                    </a:lnTo>
                    <a:lnTo>
                      <a:pt x="789" y="1507"/>
                    </a:lnTo>
                    <a:lnTo>
                      <a:pt x="780" y="1454"/>
                    </a:lnTo>
                    <a:lnTo>
                      <a:pt x="769" y="1399"/>
                    </a:lnTo>
                    <a:lnTo>
                      <a:pt x="756" y="1342"/>
                    </a:lnTo>
                    <a:lnTo>
                      <a:pt x="740" y="1283"/>
                    </a:lnTo>
                    <a:lnTo>
                      <a:pt x="723" y="1220"/>
                    </a:lnTo>
                    <a:lnTo>
                      <a:pt x="704" y="1155"/>
                    </a:lnTo>
                    <a:lnTo>
                      <a:pt x="682" y="1087"/>
                    </a:lnTo>
                    <a:lnTo>
                      <a:pt x="658" y="1016"/>
                    </a:lnTo>
                    <a:lnTo>
                      <a:pt x="631" y="944"/>
                    </a:lnTo>
                    <a:lnTo>
                      <a:pt x="602" y="867"/>
                    </a:lnTo>
                    <a:lnTo>
                      <a:pt x="570" y="788"/>
                    </a:lnTo>
                    <a:lnTo>
                      <a:pt x="535" y="705"/>
                    </a:lnTo>
                    <a:lnTo>
                      <a:pt x="514" y="658"/>
                    </a:lnTo>
                    <a:lnTo>
                      <a:pt x="490" y="611"/>
                    </a:lnTo>
                    <a:lnTo>
                      <a:pt x="465" y="565"/>
                    </a:lnTo>
                    <a:lnTo>
                      <a:pt x="439" y="520"/>
                    </a:lnTo>
                    <a:lnTo>
                      <a:pt x="411" y="474"/>
                    </a:lnTo>
                    <a:lnTo>
                      <a:pt x="382" y="430"/>
                    </a:lnTo>
                    <a:lnTo>
                      <a:pt x="351" y="386"/>
                    </a:lnTo>
                    <a:lnTo>
                      <a:pt x="318" y="343"/>
                    </a:lnTo>
                    <a:lnTo>
                      <a:pt x="285" y="300"/>
                    </a:lnTo>
                    <a:lnTo>
                      <a:pt x="249" y="259"/>
                    </a:lnTo>
                    <a:lnTo>
                      <a:pt x="212" y="218"/>
                    </a:lnTo>
                    <a:lnTo>
                      <a:pt x="174" y="177"/>
                    </a:lnTo>
                    <a:lnTo>
                      <a:pt x="134" y="139"/>
                    </a:lnTo>
                    <a:lnTo>
                      <a:pt x="91" y="100"/>
                    </a:lnTo>
                    <a:lnTo>
                      <a:pt x="48" y="61"/>
                    </a:lnTo>
                    <a:lnTo>
                      <a:pt x="4" y="24"/>
                    </a:lnTo>
                    <a:lnTo>
                      <a:pt x="1" y="20"/>
                    </a:lnTo>
                    <a:lnTo>
                      <a:pt x="0" y="14"/>
                    </a:lnTo>
                    <a:lnTo>
                      <a:pt x="0" y="10"/>
                    </a:lnTo>
                    <a:lnTo>
                      <a:pt x="2" y="5"/>
                    </a:lnTo>
                    <a:lnTo>
                      <a:pt x="6" y="1"/>
                    </a:lnTo>
                    <a:lnTo>
                      <a:pt x="12" y="0"/>
                    </a:lnTo>
                    <a:lnTo>
                      <a:pt x="17" y="0"/>
                    </a:lnTo>
                    <a:lnTo>
                      <a:pt x="21" y="3"/>
                    </a:lnTo>
                    <a:lnTo>
                      <a:pt x="67" y="41"/>
                    </a:lnTo>
                    <a:lnTo>
                      <a:pt x="110" y="79"/>
                    </a:lnTo>
                    <a:lnTo>
                      <a:pt x="152" y="119"/>
                    </a:lnTo>
                    <a:lnTo>
                      <a:pt x="193" y="159"/>
                    </a:lnTo>
                    <a:lnTo>
                      <a:pt x="232" y="200"/>
                    </a:lnTo>
                    <a:lnTo>
                      <a:pt x="270" y="241"/>
                    </a:lnTo>
                    <a:lnTo>
                      <a:pt x="305" y="283"/>
                    </a:lnTo>
                    <a:lnTo>
                      <a:pt x="340" y="326"/>
                    </a:lnTo>
                    <a:lnTo>
                      <a:pt x="373" y="371"/>
                    </a:lnTo>
                    <a:lnTo>
                      <a:pt x="405" y="415"/>
                    </a:lnTo>
                    <a:lnTo>
                      <a:pt x="434" y="460"/>
                    </a:lnTo>
                    <a:lnTo>
                      <a:pt x="463" y="506"/>
                    </a:lnTo>
                    <a:lnTo>
                      <a:pt x="489" y="552"/>
                    </a:lnTo>
                    <a:lnTo>
                      <a:pt x="515" y="598"/>
                    </a:lnTo>
                    <a:lnTo>
                      <a:pt x="537" y="647"/>
                    </a:lnTo>
                    <a:lnTo>
                      <a:pt x="560" y="694"/>
                    </a:lnTo>
                    <a:lnTo>
                      <a:pt x="595" y="778"/>
                    </a:lnTo>
                    <a:lnTo>
                      <a:pt x="627" y="857"/>
                    </a:lnTo>
                    <a:lnTo>
                      <a:pt x="657" y="935"/>
                    </a:lnTo>
                    <a:lnTo>
                      <a:pt x="684" y="1010"/>
                    </a:lnTo>
                    <a:lnTo>
                      <a:pt x="709" y="1081"/>
                    </a:lnTo>
                    <a:lnTo>
                      <a:pt x="731" y="1149"/>
                    </a:lnTo>
                    <a:lnTo>
                      <a:pt x="750" y="1215"/>
                    </a:lnTo>
                    <a:lnTo>
                      <a:pt x="767" y="1278"/>
                    </a:lnTo>
                    <a:lnTo>
                      <a:pt x="783" y="1339"/>
                    </a:lnTo>
                    <a:lnTo>
                      <a:pt x="797" y="1397"/>
                    </a:lnTo>
                    <a:lnTo>
                      <a:pt x="807" y="1452"/>
                    </a:lnTo>
                    <a:lnTo>
                      <a:pt x="816" y="1506"/>
                    </a:lnTo>
                    <a:lnTo>
                      <a:pt x="825" y="1557"/>
                    </a:lnTo>
                    <a:lnTo>
                      <a:pt x="830" y="1606"/>
                    </a:lnTo>
                    <a:lnTo>
                      <a:pt x="834" y="1652"/>
                    </a:lnTo>
                    <a:lnTo>
                      <a:pt x="838" y="1697"/>
                    </a:lnTo>
                    <a:lnTo>
                      <a:pt x="839" y="1739"/>
                    </a:lnTo>
                    <a:lnTo>
                      <a:pt x="839" y="1780"/>
                    </a:lnTo>
                    <a:lnTo>
                      <a:pt x="839" y="1819"/>
                    </a:lnTo>
                    <a:lnTo>
                      <a:pt x="837" y="1856"/>
                    </a:lnTo>
                    <a:lnTo>
                      <a:pt x="833" y="1892"/>
                    </a:lnTo>
                    <a:lnTo>
                      <a:pt x="830" y="1925"/>
                    </a:lnTo>
                    <a:lnTo>
                      <a:pt x="826" y="1957"/>
                    </a:lnTo>
                    <a:lnTo>
                      <a:pt x="820" y="1988"/>
                    </a:lnTo>
                    <a:lnTo>
                      <a:pt x="815" y="2017"/>
                    </a:lnTo>
                    <a:lnTo>
                      <a:pt x="808" y="2045"/>
                    </a:lnTo>
                    <a:lnTo>
                      <a:pt x="803" y="2071"/>
                    </a:lnTo>
                    <a:lnTo>
                      <a:pt x="796" y="2097"/>
                    </a:lnTo>
                    <a:lnTo>
                      <a:pt x="783" y="2144"/>
                    </a:lnTo>
                    <a:lnTo>
                      <a:pt x="770" y="2186"/>
                    </a:lnTo>
                    <a:lnTo>
                      <a:pt x="757" y="2226"/>
                    </a:lnTo>
                    <a:lnTo>
                      <a:pt x="747" y="2262"/>
                    </a:lnTo>
                    <a:lnTo>
                      <a:pt x="744" y="2278"/>
                    </a:lnTo>
                    <a:lnTo>
                      <a:pt x="740" y="2294"/>
                    </a:lnTo>
                    <a:lnTo>
                      <a:pt x="738" y="2309"/>
                    </a:lnTo>
                    <a:lnTo>
                      <a:pt x="738" y="2325"/>
                    </a:lnTo>
                    <a:lnTo>
                      <a:pt x="738" y="2345"/>
                    </a:lnTo>
                    <a:lnTo>
                      <a:pt x="740" y="2370"/>
                    </a:lnTo>
                    <a:lnTo>
                      <a:pt x="744" y="2399"/>
                    </a:lnTo>
                    <a:lnTo>
                      <a:pt x="749" y="2431"/>
                    </a:lnTo>
                    <a:lnTo>
                      <a:pt x="754" y="2467"/>
                    </a:lnTo>
                    <a:lnTo>
                      <a:pt x="761" y="2506"/>
                    </a:lnTo>
                    <a:lnTo>
                      <a:pt x="769" y="2548"/>
                    </a:lnTo>
                    <a:lnTo>
                      <a:pt x="777" y="2594"/>
                    </a:lnTo>
                    <a:lnTo>
                      <a:pt x="780" y="2617"/>
                    </a:lnTo>
                    <a:lnTo>
                      <a:pt x="785" y="2640"/>
                    </a:lnTo>
                    <a:lnTo>
                      <a:pt x="789" y="2663"/>
                    </a:lnTo>
                    <a:lnTo>
                      <a:pt x="793" y="2688"/>
                    </a:lnTo>
                    <a:lnTo>
                      <a:pt x="798" y="2713"/>
                    </a:lnTo>
                    <a:lnTo>
                      <a:pt x="802" y="2739"/>
                    </a:lnTo>
                    <a:lnTo>
                      <a:pt x="806" y="2766"/>
                    </a:lnTo>
                    <a:lnTo>
                      <a:pt x="811" y="2793"/>
                    </a:lnTo>
                    <a:lnTo>
                      <a:pt x="784" y="27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27"/>
              <p:cNvSpPr>
                <a:spLocks/>
              </p:cNvSpPr>
              <p:nvPr userDrawn="1"/>
            </p:nvSpPr>
            <p:spPr bwMode="auto">
              <a:xfrm>
                <a:off x="1147" y="3938"/>
                <a:ext cx="188" cy="382"/>
              </a:xfrm>
              <a:custGeom>
                <a:avLst/>
                <a:gdLst>
                  <a:gd name="T0" fmla="*/ 533 w 563"/>
                  <a:gd name="T1" fmla="*/ 1147 h 1147"/>
                  <a:gd name="T2" fmla="*/ 521 w 563"/>
                  <a:gd name="T3" fmla="*/ 1123 h 1147"/>
                  <a:gd name="T4" fmla="*/ 510 w 563"/>
                  <a:gd name="T5" fmla="*/ 1100 h 1147"/>
                  <a:gd name="T6" fmla="*/ 498 w 563"/>
                  <a:gd name="T7" fmla="*/ 1077 h 1147"/>
                  <a:gd name="T8" fmla="*/ 487 w 563"/>
                  <a:gd name="T9" fmla="*/ 1054 h 1147"/>
                  <a:gd name="T10" fmla="*/ 477 w 563"/>
                  <a:gd name="T11" fmla="*/ 1033 h 1147"/>
                  <a:gd name="T12" fmla="*/ 466 w 563"/>
                  <a:gd name="T13" fmla="*/ 1011 h 1147"/>
                  <a:gd name="T14" fmla="*/ 456 w 563"/>
                  <a:gd name="T15" fmla="*/ 990 h 1147"/>
                  <a:gd name="T16" fmla="*/ 446 w 563"/>
                  <a:gd name="T17" fmla="*/ 970 h 1147"/>
                  <a:gd name="T18" fmla="*/ 432 w 563"/>
                  <a:gd name="T19" fmla="*/ 943 h 1147"/>
                  <a:gd name="T20" fmla="*/ 414 w 563"/>
                  <a:gd name="T21" fmla="*/ 904 h 1147"/>
                  <a:gd name="T22" fmla="*/ 393 w 563"/>
                  <a:gd name="T23" fmla="*/ 863 h 1147"/>
                  <a:gd name="T24" fmla="*/ 372 w 563"/>
                  <a:gd name="T25" fmla="*/ 818 h 1147"/>
                  <a:gd name="T26" fmla="*/ 348 w 563"/>
                  <a:gd name="T27" fmla="*/ 769 h 1147"/>
                  <a:gd name="T28" fmla="*/ 323 w 563"/>
                  <a:gd name="T29" fmla="*/ 718 h 1147"/>
                  <a:gd name="T30" fmla="*/ 296 w 563"/>
                  <a:gd name="T31" fmla="*/ 663 h 1147"/>
                  <a:gd name="T32" fmla="*/ 269 w 563"/>
                  <a:gd name="T33" fmla="*/ 607 h 1147"/>
                  <a:gd name="T34" fmla="*/ 241 w 563"/>
                  <a:gd name="T35" fmla="*/ 548 h 1147"/>
                  <a:gd name="T36" fmla="*/ 213 w 563"/>
                  <a:gd name="T37" fmla="*/ 486 h 1147"/>
                  <a:gd name="T38" fmla="*/ 183 w 563"/>
                  <a:gd name="T39" fmla="*/ 424 h 1147"/>
                  <a:gd name="T40" fmla="*/ 154 w 563"/>
                  <a:gd name="T41" fmla="*/ 359 h 1147"/>
                  <a:gd name="T42" fmla="*/ 123 w 563"/>
                  <a:gd name="T43" fmla="*/ 293 h 1147"/>
                  <a:gd name="T44" fmla="*/ 92 w 563"/>
                  <a:gd name="T45" fmla="*/ 225 h 1147"/>
                  <a:gd name="T46" fmla="*/ 62 w 563"/>
                  <a:gd name="T47" fmla="*/ 157 h 1147"/>
                  <a:gd name="T48" fmla="*/ 32 w 563"/>
                  <a:gd name="T49" fmla="*/ 88 h 1147"/>
                  <a:gd name="T50" fmla="*/ 1 w 563"/>
                  <a:gd name="T51" fmla="*/ 18 h 1147"/>
                  <a:gd name="T52" fmla="*/ 0 w 563"/>
                  <a:gd name="T53" fmla="*/ 12 h 1147"/>
                  <a:gd name="T54" fmla="*/ 1 w 563"/>
                  <a:gd name="T55" fmla="*/ 8 h 1147"/>
                  <a:gd name="T56" fmla="*/ 4 w 563"/>
                  <a:gd name="T57" fmla="*/ 4 h 1147"/>
                  <a:gd name="T58" fmla="*/ 8 w 563"/>
                  <a:gd name="T59" fmla="*/ 1 h 1147"/>
                  <a:gd name="T60" fmla="*/ 13 w 563"/>
                  <a:gd name="T61" fmla="*/ 0 h 1147"/>
                  <a:gd name="T62" fmla="*/ 19 w 563"/>
                  <a:gd name="T63" fmla="*/ 1 h 1147"/>
                  <a:gd name="T64" fmla="*/ 23 w 563"/>
                  <a:gd name="T65" fmla="*/ 3 h 1147"/>
                  <a:gd name="T66" fmla="*/ 26 w 563"/>
                  <a:gd name="T67" fmla="*/ 7 h 1147"/>
                  <a:gd name="T68" fmla="*/ 57 w 563"/>
                  <a:gd name="T69" fmla="*/ 77 h 1147"/>
                  <a:gd name="T70" fmla="*/ 87 w 563"/>
                  <a:gd name="T71" fmla="*/ 146 h 1147"/>
                  <a:gd name="T72" fmla="*/ 117 w 563"/>
                  <a:gd name="T73" fmla="*/ 214 h 1147"/>
                  <a:gd name="T74" fmla="*/ 147 w 563"/>
                  <a:gd name="T75" fmla="*/ 282 h 1147"/>
                  <a:gd name="T76" fmla="*/ 177 w 563"/>
                  <a:gd name="T77" fmla="*/ 348 h 1147"/>
                  <a:gd name="T78" fmla="*/ 208 w 563"/>
                  <a:gd name="T79" fmla="*/ 413 h 1147"/>
                  <a:gd name="T80" fmla="*/ 237 w 563"/>
                  <a:gd name="T81" fmla="*/ 476 h 1147"/>
                  <a:gd name="T82" fmla="*/ 266 w 563"/>
                  <a:gd name="T83" fmla="*/ 537 h 1147"/>
                  <a:gd name="T84" fmla="*/ 294 w 563"/>
                  <a:gd name="T85" fmla="*/ 595 h 1147"/>
                  <a:gd name="T86" fmla="*/ 321 w 563"/>
                  <a:gd name="T87" fmla="*/ 653 h 1147"/>
                  <a:gd name="T88" fmla="*/ 347 w 563"/>
                  <a:gd name="T89" fmla="*/ 707 h 1147"/>
                  <a:gd name="T90" fmla="*/ 372 w 563"/>
                  <a:gd name="T91" fmla="*/ 757 h 1147"/>
                  <a:gd name="T92" fmla="*/ 396 w 563"/>
                  <a:gd name="T93" fmla="*/ 806 h 1147"/>
                  <a:gd name="T94" fmla="*/ 417 w 563"/>
                  <a:gd name="T95" fmla="*/ 851 h 1147"/>
                  <a:gd name="T96" fmla="*/ 438 w 563"/>
                  <a:gd name="T97" fmla="*/ 892 h 1147"/>
                  <a:gd name="T98" fmla="*/ 457 w 563"/>
                  <a:gd name="T99" fmla="*/ 931 h 1147"/>
                  <a:gd name="T100" fmla="*/ 470 w 563"/>
                  <a:gd name="T101" fmla="*/ 958 h 1147"/>
                  <a:gd name="T102" fmla="*/ 481 w 563"/>
                  <a:gd name="T103" fmla="*/ 980 h 1147"/>
                  <a:gd name="T104" fmla="*/ 491 w 563"/>
                  <a:gd name="T105" fmla="*/ 1000 h 1147"/>
                  <a:gd name="T106" fmla="*/ 502 w 563"/>
                  <a:gd name="T107" fmla="*/ 1023 h 1147"/>
                  <a:gd name="T108" fmla="*/ 513 w 563"/>
                  <a:gd name="T109" fmla="*/ 1046 h 1147"/>
                  <a:gd name="T110" fmla="*/ 524 w 563"/>
                  <a:gd name="T111" fmla="*/ 1068 h 1147"/>
                  <a:gd name="T112" fmla="*/ 536 w 563"/>
                  <a:gd name="T113" fmla="*/ 1092 h 1147"/>
                  <a:gd name="T114" fmla="*/ 548 w 563"/>
                  <a:gd name="T115" fmla="*/ 1117 h 1147"/>
                  <a:gd name="T116" fmla="*/ 561 w 563"/>
                  <a:gd name="T117" fmla="*/ 1142 h 1147"/>
                  <a:gd name="T118" fmla="*/ 563 w 563"/>
                  <a:gd name="T119" fmla="*/ 1147 h 1147"/>
                  <a:gd name="T120" fmla="*/ 533 w 563"/>
                  <a:gd name="T121" fmla="*/ 114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3" h="1147">
                    <a:moveTo>
                      <a:pt x="533" y="1147"/>
                    </a:moveTo>
                    <a:lnTo>
                      <a:pt x="521" y="1123"/>
                    </a:lnTo>
                    <a:lnTo>
                      <a:pt x="510" y="1100"/>
                    </a:lnTo>
                    <a:lnTo>
                      <a:pt x="498" y="1077"/>
                    </a:lnTo>
                    <a:lnTo>
                      <a:pt x="487" y="1054"/>
                    </a:lnTo>
                    <a:lnTo>
                      <a:pt x="477" y="1033"/>
                    </a:lnTo>
                    <a:lnTo>
                      <a:pt x="466" y="1011"/>
                    </a:lnTo>
                    <a:lnTo>
                      <a:pt x="456" y="990"/>
                    </a:lnTo>
                    <a:lnTo>
                      <a:pt x="446" y="970"/>
                    </a:lnTo>
                    <a:lnTo>
                      <a:pt x="432" y="943"/>
                    </a:lnTo>
                    <a:lnTo>
                      <a:pt x="414" y="904"/>
                    </a:lnTo>
                    <a:lnTo>
                      <a:pt x="393" y="863"/>
                    </a:lnTo>
                    <a:lnTo>
                      <a:pt x="372" y="818"/>
                    </a:lnTo>
                    <a:lnTo>
                      <a:pt x="348" y="769"/>
                    </a:lnTo>
                    <a:lnTo>
                      <a:pt x="323" y="718"/>
                    </a:lnTo>
                    <a:lnTo>
                      <a:pt x="296" y="663"/>
                    </a:lnTo>
                    <a:lnTo>
                      <a:pt x="269" y="607"/>
                    </a:lnTo>
                    <a:lnTo>
                      <a:pt x="241" y="548"/>
                    </a:lnTo>
                    <a:lnTo>
                      <a:pt x="213" y="486"/>
                    </a:lnTo>
                    <a:lnTo>
                      <a:pt x="183" y="424"/>
                    </a:lnTo>
                    <a:lnTo>
                      <a:pt x="154" y="359"/>
                    </a:lnTo>
                    <a:lnTo>
                      <a:pt x="123" y="293"/>
                    </a:lnTo>
                    <a:lnTo>
                      <a:pt x="92" y="225"/>
                    </a:lnTo>
                    <a:lnTo>
                      <a:pt x="62" y="157"/>
                    </a:lnTo>
                    <a:lnTo>
                      <a:pt x="32" y="88"/>
                    </a:lnTo>
                    <a:lnTo>
                      <a:pt x="1" y="18"/>
                    </a:lnTo>
                    <a:lnTo>
                      <a:pt x="0" y="12"/>
                    </a:lnTo>
                    <a:lnTo>
                      <a:pt x="1" y="8"/>
                    </a:lnTo>
                    <a:lnTo>
                      <a:pt x="4" y="4"/>
                    </a:lnTo>
                    <a:lnTo>
                      <a:pt x="8" y="1"/>
                    </a:lnTo>
                    <a:lnTo>
                      <a:pt x="13" y="0"/>
                    </a:lnTo>
                    <a:lnTo>
                      <a:pt x="19" y="1"/>
                    </a:lnTo>
                    <a:lnTo>
                      <a:pt x="23" y="3"/>
                    </a:lnTo>
                    <a:lnTo>
                      <a:pt x="26" y="7"/>
                    </a:lnTo>
                    <a:lnTo>
                      <a:pt x="57" y="77"/>
                    </a:lnTo>
                    <a:lnTo>
                      <a:pt x="87" y="146"/>
                    </a:lnTo>
                    <a:lnTo>
                      <a:pt x="117" y="214"/>
                    </a:lnTo>
                    <a:lnTo>
                      <a:pt x="147" y="282"/>
                    </a:lnTo>
                    <a:lnTo>
                      <a:pt x="177" y="348"/>
                    </a:lnTo>
                    <a:lnTo>
                      <a:pt x="208" y="413"/>
                    </a:lnTo>
                    <a:lnTo>
                      <a:pt x="237" y="476"/>
                    </a:lnTo>
                    <a:lnTo>
                      <a:pt x="266" y="537"/>
                    </a:lnTo>
                    <a:lnTo>
                      <a:pt x="294" y="595"/>
                    </a:lnTo>
                    <a:lnTo>
                      <a:pt x="321" y="653"/>
                    </a:lnTo>
                    <a:lnTo>
                      <a:pt x="347" y="707"/>
                    </a:lnTo>
                    <a:lnTo>
                      <a:pt x="372" y="757"/>
                    </a:lnTo>
                    <a:lnTo>
                      <a:pt x="396" y="806"/>
                    </a:lnTo>
                    <a:lnTo>
                      <a:pt x="417" y="851"/>
                    </a:lnTo>
                    <a:lnTo>
                      <a:pt x="438" y="892"/>
                    </a:lnTo>
                    <a:lnTo>
                      <a:pt x="457" y="931"/>
                    </a:lnTo>
                    <a:lnTo>
                      <a:pt x="470" y="958"/>
                    </a:lnTo>
                    <a:lnTo>
                      <a:pt x="481" y="980"/>
                    </a:lnTo>
                    <a:lnTo>
                      <a:pt x="491" y="1000"/>
                    </a:lnTo>
                    <a:lnTo>
                      <a:pt x="502" y="1023"/>
                    </a:lnTo>
                    <a:lnTo>
                      <a:pt x="513" y="1046"/>
                    </a:lnTo>
                    <a:lnTo>
                      <a:pt x="524" y="1068"/>
                    </a:lnTo>
                    <a:lnTo>
                      <a:pt x="536" y="1092"/>
                    </a:lnTo>
                    <a:lnTo>
                      <a:pt x="548" y="1117"/>
                    </a:lnTo>
                    <a:lnTo>
                      <a:pt x="561" y="1142"/>
                    </a:lnTo>
                    <a:lnTo>
                      <a:pt x="563" y="1147"/>
                    </a:lnTo>
                    <a:lnTo>
                      <a:pt x="533"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28"/>
              <p:cNvSpPr>
                <a:spLocks/>
              </p:cNvSpPr>
              <p:nvPr userDrawn="1"/>
            </p:nvSpPr>
            <p:spPr bwMode="auto">
              <a:xfrm>
                <a:off x="181" y="2934"/>
                <a:ext cx="3185" cy="1386"/>
              </a:xfrm>
              <a:custGeom>
                <a:avLst/>
                <a:gdLst>
                  <a:gd name="T0" fmla="*/ 186 w 9555"/>
                  <a:gd name="T1" fmla="*/ 3803 h 4158"/>
                  <a:gd name="T2" fmla="*/ 919 w 9555"/>
                  <a:gd name="T3" fmla="*/ 2705 h 4158"/>
                  <a:gd name="T4" fmla="*/ 1241 w 9555"/>
                  <a:gd name="T5" fmla="*/ 1919 h 4158"/>
                  <a:gd name="T6" fmla="*/ 1637 w 9555"/>
                  <a:gd name="T7" fmla="*/ 942 h 4158"/>
                  <a:gd name="T8" fmla="*/ 2090 w 9555"/>
                  <a:gd name="T9" fmla="*/ 377 h 4158"/>
                  <a:gd name="T10" fmla="*/ 3132 w 9555"/>
                  <a:gd name="T11" fmla="*/ 11 h 4158"/>
                  <a:gd name="T12" fmla="*/ 3924 w 9555"/>
                  <a:gd name="T13" fmla="*/ 59 h 4158"/>
                  <a:gd name="T14" fmla="*/ 4418 w 9555"/>
                  <a:gd name="T15" fmla="*/ 241 h 4158"/>
                  <a:gd name="T16" fmla="*/ 5038 w 9555"/>
                  <a:gd name="T17" fmla="*/ 369 h 4158"/>
                  <a:gd name="T18" fmla="*/ 6060 w 9555"/>
                  <a:gd name="T19" fmla="*/ 406 h 4158"/>
                  <a:gd name="T20" fmla="*/ 6522 w 9555"/>
                  <a:gd name="T21" fmla="*/ 539 h 4158"/>
                  <a:gd name="T22" fmla="*/ 6975 w 9555"/>
                  <a:gd name="T23" fmla="*/ 573 h 4158"/>
                  <a:gd name="T24" fmla="*/ 7497 w 9555"/>
                  <a:gd name="T25" fmla="*/ 597 h 4158"/>
                  <a:gd name="T26" fmla="*/ 8408 w 9555"/>
                  <a:gd name="T27" fmla="*/ 1001 h 4158"/>
                  <a:gd name="T28" fmla="*/ 9128 w 9555"/>
                  <a:gd name="T29" fmla="*/ 1824 h 4158"/>
                  <a:gd name="T30" fmla="*/ 9510 w 9555"/>
                  <a:gd name="T31" fmla="*/ 2731 h 4158"/>
                  <a:gd name="T32" fmla="*/ 9540 w 9555"/>
                  <a:gd name="T33" fmla="*/ 3280 h 4158"/>
                  <a:gd name="T34" fmla="*/ 9416 w 9555"/>
                  <a:gd name="T35" fmla="*/ 3624 h 4158"/>
                  <a:gd name="T36" fmla="*/ 8855 w 9555"/>
                  <a:gd name="T37" fmla="*/ 3270 h 4158"/>
                  <a:gd name="T38" fmla="*/ 8362 w 9555"/>
                  <a:gd name="T39" fmla="*/ 2921 h 4158"/>
                  <a:gd name="T40" fmla="*/ 8038 w 9555"/>
                  <a:gd name="T41" fmla="*/ 2926 h 4158"/>
                  <a:gd name="T42" fmla="*/ 7438 w 9555"/>
                  <a:gd name="T43" fmla="*/ 3118 h 4158"/>
                  <a:gd name="T44" fmla="*/ 6557 w 9555"/>
                  <a:gd name="T45" fmla="*/ 3225 h 4158"/>
                  <a:gd name="T46" fmla="*/ 5623 w 9555"/>
                  <a:gd name="T47" fmla="*/ 3161 h 4158"/>
                  <a:gd name="T48" fmla="*/ 4918 w 9555"/>
                  <a:gd name="T49" fmla="*/ 2871 h 4158"/>
                  <a:gd name="T50" fmla="*/ 3923 w 9555"/>
                  <a:gd name="T51" fmla="*/ 2257 h 4158"/>
                  <a:gd name="T52" fmla="*/ 3510 w 9555"/>
                  <a:gd name="T53" fmla="*/ 2107 h 4158"/>
                  <a:gd name="T54" fmla="*/ 3299 w 9555"/>
                  <a:gd name="T55" fmla="*/ 2220 h 4158"/>
                  <a:gd name="T56" fmla="*/ 2956 w 9555"/>
                  <a:gd name="T57" fmla="*/ 2977 h 4158"/>
                  <a:gd name="T58" fmla="*/ 2495 w 9555"/>
                  <a:gd name="T59" fmla="*/ 4063 h 4158"/>
                  <a:gd name="T60" fmla="*/ 2535 w 9555"/>
                  <a:gd name="T61" fmla="*/ 3931 h 4158"/>
                  <a:gd name="T62" fmla="*/ 3024 w 9555"/>
                  <a:gd name="T63" fmla="*/ 2683 h 4158"/>
                  <a:gd name="T64" fmla="*/ 3268 w 9555"/>
                  <a:gd name="T65" fmla="*/ 2216 h 4158"/>
                  <a:gd name="T66" fmla="*/ 3492 w 9555"/>
                  <a:gd name="T67" fmla="*/ 2081 h 4158"/>
                  <a:gd name="T68" fmla="*/ 3878 w 9555"/>
                  <a:gd name="T69" fmla="*/ 2202 h 4158"/>
                  <a:gd name="T70" fmla="*/ 4848 w 9555"/>
                  <a:gd name="T71" fmla="*/ 2798 h 4158"/>
                  <a:gd name="T72" fmla="*/ 5576 w 9555"/>
                  <a:gd name="T73" fmla="*/ 3122 h 4158"/>
                  <a:gd name="T74" fmla="*/ 6449 w 9555"/>
                  <a:gd name="T75" fmla="*/ 3201 h 4158"/>
                  <a:gd name="T76" fmla="*/ 7384 w 9555"/>
                  <a:gd name="T77" fmla="*/ 3106 h 4158"/>
                  <a:gd name="T78" fmla="*/ 7994 w 9555"/>
                  <a:gd name="T79" fmla="*/ 2909 h 4158"/>
                  <a:gd name="T80" fmla="*/ 8348 w 9555"/>
                  <a:gd name="T81" fmla="*/ 2889 h 4158"/>
                  <a:gd name="T82" fmla="*/ 8801 w 9555"/>
                  <a:gd name="T83" fmla="*/ 3183 h 4158"/>
                  <a:gd name="T84" fmla="*/ 9437 w 9555"/>
                  <a:gd name="T85" fmla="*/ 3542 h 4158"/>
                  <a:gd name="T86" fmla="*/ 9528 w 9555"/>
                  <a:gd name="T87" fmla="*/ 3046 h 4158"/>
                  <a:gd name="T88" fmla="*/ 9391 w 9555"/>
                  <a:gd name="T89" fmla="*/ 2446 h 4158"/>
                  <a:gd name="T90" fmla="*/ 8888 w 9555"/>
                  <a:gd name="T91" fmla="*/ 1517 h 4158"/>
                  <a:gd name="T92" fmla="*/ 8060 w 9555"/>
                  <a:gd name="T93" fmla="*/ 823 h 4158"/>
                  <a:gd name="T94" fmla="*/ 7237 w 9555"/>
                  <a:gd name="T95" fmla="*/ 588 h 4158"/>
                  <a:gd name="T96" fmla="*/ 6868 w 9555"/>
                  <a:gd name="T97" fmla="*/ 635 h 4158"/>
                  <a:gd name="T98" fmla="*/ 6477 w 9555"/>
                  <a:gd name="T99" fmla="*/ 550 h 4158"/>
                  <a:gd name="T100" fmla="*/ 6014 w 9555"/>
                  <a:gd name="T101" fmla="*/ 426 h 4158"/>
                  <a:gd name="T102" fmla="*/ 5003 w 9555"/>
                  <a:gd name="T103" fmla="*/ 395 h 4158"/>
                  <a:gd name="T104" fmla="*/ 4349 w 9555"/>
                  <a:gd name="T105" fmla="*/ 246 h 4158"/>
                  <a:gd name="T106" fmla="*/ 3884 w 9555"/>
                  <a:gd name="T107" fmla="*/ 76 h 4158"/>
                  <a:gd name="T108" fmla="*/ 3060 w 9555"/>
                  <a:gd name="T109" fmla="*/ 44 h 4158"/>
                  <a:gd name="T110" fmla="*/ 2044 w 9555"/>
                  <a:gd name="T111" fmla="*/ 450 h 4158"/>
                  <a:gd name="T112" fmla="*/ 1631 w 9555"/>
                  <a:gd name="T113" fmla="*/ 1007 h 4158"/>
                  <a:gd name="T114" fmla="*/ 1243 w 9555"/>
                  <a:gd name="T115" fmla="*/ 2018 h 4158"/>
                  <a:gd name="T116" fmla="*/ 895 w 9555"/>
                  <a:gd name="T117" fmla="*/ 2796 h 4158"/>
                  <a:gd name="T118" fmla="*/ 168 w 9555"/>
                  <a:gd name="T119" fmla="*/ 3884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55" h="4158">
                    <a:moveTo>
                      <a:pt x="0" y="4158"/>
                    </a:moveTo>
                    <a:lnTo>
                      <a:pt x="9" y="4140"/>
                    </a:lnTo>
                    <a:lnTo>
                      <a:pt x="18" y="4122"/>
                    </a:lnTo>
                    <a:lnTo>
                      <a:pt x="25" y="4103"/>
                    </a:lnTo>
                    <a:lnTo>
                      <a:pt x="34" y="4085"/>
                    </a:lnTo>
                    <a:lnTo>
                      <a:pt x="44" y="4062"/>
                    </a:lnTo>
                    <a:lnTo>
                      <a:pt x="54" y="4038"/>
                    </a:lnTo>
                    <a:lnTo>
                      <a:pt x="66" y="4013"/>
                    </a:lnTo>
                    <a:lnTo>
                      <a:pt x="79" y="3987"/>
                    </a:lnTo>
                    <a:lnTo>
                      <a:pt x="92" y="3960"/>
                    </a:lnTo>
                    <a:lnTo>
                      <a:pt x="108" y="3932"/>
                    </a:lnTo>
                    <a:lnTo>
                      <a:pt x="125" y="3902"/>
                    </a:lnTo>
                    <a:lnTo>
                      <a:pt x="144" y="3871"/>
                    </a:lnTo>
                    <a:lnTo>
                      <a:pt x="186" y="3803"/>
                    </a:lnTo>
                    <a:lnTo>
                      <a:pt x="233" y="3729"/>
                    </a:lnTo>
                    <a:lnTo>
                      <a:pt x="285" y="3651"/>
                    </a:lnTo>
                    <a:lnTo>
                      <a:pt x="341" y="3569"/>
                    </a:lnTo>
                    <a:lnTo>
                      <a:pt x="402" y="3481"/>
                    </a:lnTo>
                    <a:lnTo>
                      <a:pt x="465" y="3392"/>
                    </a:lnTo>
                    <a:lnTo>
                      <a:pt x="514" y="3319"/>
                    </a:lnTo>
                    <a:lnTo>
                      <a:pt x="565" y="3246"/>
                    </a:lnTo>
                    <a:lnTo>
                      <a:pt x="616" y="3170"/>
                    </a:lnTo>
                    <a:lnTo>
                      <a:pt x="669" y="3094"/>
                    </a:lnTo>
                    <a:lnTo>
                      <a:pt x="720" y="3017"/>
                    </a:lnTo>
                    <a:lnTo>
                      <a:pt x="771" y="2938"/>
                    </a:lnTo>
                    <a:lnTo>
                      <a:pt x="822" y="2860"/>
                    </a:lnTo>
                    <a:lnTo>
                      <a:pt x="872" y="2783"/>
                    </a:lnTo>
                    <a:lnTo>
                      <a:pt x="919" y="2705"/>
                    </a:lnTo>
                    <a:lnTo>
                      <a:pt x="966" y="2628"/>
                    </a:lnTo>
                    <a:lnTo>
                      <a:pt x="1009" y="2552"/>
                    </a:lnTo>
                    <a:lnTo>
                      <a:pt x="1050" y="2477"/>
                    </a:lnTo>
                    <a:lnTo>
                      <a:pt x="1068" y="2442"/>
                    </a:lnTo>
                    <a:lnTo>
                      <a:pt x="1087" y="2405"/>
                    </a:lnTo>
                    <a:lnTo>
                      <a:pt x="1105" y="2369"/>
                    </a:lnTo>
                    <a:lnTo>
                      <a:pt x="1121" y="2335"/>
                    </a:lnTo>
                    <a:lnTo>
                      <a:pt x="1136" y="2300"/>
                    </a:lnTo>
                    <a:lnTo>
                      <a:pt x="1151" y="2266"/>
                    </a:lnTo>
                    <a:lnTo>
                      <a:pt x="1164" y="2233"/>
                    </a:lnTo>
                    <a:lnTo>
                      <a:pt x="1177" y="2201"/>
                    </a:lnTo>
                    <a:lnTo>
                      <a:pt x="1197" y="2104"/>
                    </a:lnTo>
                    <a:lnTo>
                      <a:pt x="1218" y="2011"/>
                    </a:lnTo>
                    <a:lnTo>
                      <a:pt x="1241" y="1919"/>
                    </a:lnTo>
                    <a:lnTo>
                      <a:pt x="1265" y="1832"/>
                    </a:lnTo>
                    <a:lnTo>
                      <a:pt x="1290" y="1746"/>
                    </a:lnTo>
                    <a:lnTo>
                      <a:pt x="1317" y="1663"/>
                    </a:lnTo>
                    <a:lnTo>
                      <a:pt x="1344" y="1583"/>
                    </a:lnTo>
                    <a:lnTo>
                      <a:pt x="1372" y="1507"/>
                    </a:lnTo>
                    <a:lnTo>
                      <a:pt x="1401" y="1432"/>
                    </a:lnTo>
                    <a:lnTo>
                      <a:pt x="1430" y="1361"/>
                    </a:lnTo>
                    <a:lnTo>
                      <a:pt x="1460" y="1292"/>
                    </a:lnTo>
                    <a:lnTo>
                      <a:pt x="1489" y="1226"/>
                    </a:lnTo>
                    <a:lnTo>
                      <a:pt x="1520" y="1164"/>
                    </a:lnTo>
                    <a:lnTo>
                      <a:pt x="1550" y="1104"/>
                    </a:lnTo>
                    <a:lnTo>
                      <a:pt x="1579" y="1047"/>
                    </a:lnTo>
                    <a:lnTo>
                      <a:pt x="1608" y="993"/>
                    </a:lnTo>
                    <a:lnTo>
                      <a:pt x="1637" y="942"/>
                    </a:lnTo>
                    <a:lnTo>
                      <a:pt x="1665" y="894"/>
                    </a:lnTo>
                    <a:lnTo>
                      <a:pt x="1692" y="849"/>
                    </a:lnTo>
                    <a:lnTo>
                      <a:pt x="1718" y="807"/>
                    </a:lnTo>
                    <a:lnTo>
                      <a:pt x="1744" y="768"/>
                    </a:lnTo>
                    <a:lnTo>
                      <a:pt x="1768" y="733"/>
                    </a:lnTo>
                    <a:lnTo>
                      <a:pt x="1791" y="700"/>
                    </a:lnTo>
                    <a:lnTo>
                      <a:pt x="1811" y="670"/>
                    </a:lnTo>
                    <a:lnTo>
                      <a:pt x="1848" y="621"/>
                    </a:lnTo>
                    <a:lnTo>
                      <a:pt x="1877" y="584"/>
                    </a:lnTo>
                    <a:lnTo>
                      <a:pt x="1896" y="560"/>
                    </a:lnTo>
                    <a:lnTo>
                      <a:pt x="1906" y="548"/>
                    </a:lnTo>
                    <a:lnTo>
                      <a:pt x="1964" y="487"/>
                    </a:lnTo>
                    <a:lnTo>
                      <a:pt x="2026" y="429"/>
                    </a:lnTo>
                    <a:lnTo>
                      <a:pt x="2090" y="377"/>
                    </a:lnTo>
                    <a:lnTo>
                      <a:pt x="2157" y="328"/>
                    </a:lnTo>
                    <a:lnTo>
                      <a:pt x="2226" y="284"/>
                    </a:lnTo>
                    <a:lnTo>
                      <a:pt x="2297" y="244"/>
                    </a:lnTo>
                    <a:lnTo>
                      <a:pt x="2369" y="206"/>
                    </a:lnTo>
                    <a:lnTo>
                      <a:pt x="2444" y="173"/>
                    </a:lnTo>
                    <a:lnTo>
                      <a:pt x="2519" y="143"/>
                    </a:lnTo>
                    <a:lnTo>
                      <a:pt x="2595" y="116"/>
                    </a:lnTo>
                    <a:lnTo>
                      <a:pt x="2672" y="94"/>
                    </a:lnTo>
                    <a:lnTo>
                      <a:pt x="2749" y="73"/>
                    </a:lnTo>
                    <a:lnTo>
                      <a:pt x="2827" y="55"/>
                    </a:lnTo>
                    <a:lnTo>
                      <a:pt x="2904" y="41"/>
                    </a:lnTo>
                    <a:lnTo>
                      <a:pt x="2981" y="28"/>
                    </a:lnTo>
                    <a:lnTo>
                      <a:pt x="3057" y="18"/>
                    </a:lnTo>
                    <a:lnTo>
                      <a:pt x="3132" y="11"/>
                    </a:lnTo>
                    <a:lnTo>
                      <a:pt x="3205" y="5"/>
                    </a:lnTo>
                    <a:lnTo>
                      <a:pt x="3277" y="2"/>
                    </a:lnTo>
                    <a:lnTo>
                      <a:pt x="3349" y="0"/>
                    </a:lnTo>
                    <a:lnTo>
                      <a:pt x="3417" y="0"/>
                    </a:lnTo>
                    <a:lnTo>
                      <a:pt x="3483" y="2"/>
                    </a:lnTo>
                    <a:lnTo>
                      <a:pt x="3545" y="4"/>
                    </a:lnTo>
                    <a:lnTo>
                      <a:pt x="3606" y="8"/>
                    </a:lnTo>
                    <a:lnTo>
                      <a:pt x="3663" y="14"/>
                    </a:lnTo>
                    <a:lnTo>
                      <a:pt x="3717" y="19"/>
                    </a:lnTo>
                    <a:lnTo>
                      <a:pt x="3767" y="27"/>
                    </a:lnTo>
                    <a:lnTo>
                      <a:pt x="3813" y="34"/>
                    </a:lnTo>
                    <a:lnTo>
                      <a:pt x="3855" y="42"/>
                    </a:lnTo>
                    <a:lnTo>
                      <a:pt x="3892" y="51"/>
                    </a:lnTo>
                    <a:lnTo>
                      <a:pt x="3924" y="59"/>
                    </a:lnTo>
                    <a:lnTo>
                      <a:pt x="3951" y="68"/>
                    </a:lnTo>
                    <a:lnTo>
                      <a:pt x="3972" y="74"/>
                    </a:lnTo>
                    <a:lnTo>
                      <a:pt x="3993" y="82"/>
                    </a:lnTo>
                    <a:lnTo>
                      <a:pt x="4015" y="91"/>
                    </a:lnTo>
                    <a:lnTo>
                      <a:pt x="4038" y="99"/>
                    </a:lnTo>
                    <a:lnTo>
                      <a:pt x="4061" y="108"/>
                    </a:lnTo>
                    <a:lnTo>
                      <a:pt x="4085" y="116"/>
                    </a:lnTo>
                    <a:lnTo>
                      <a:pt x="4109" y="126"/>
                    </a:lnTo>
                    <a:lnTo>
                      <a:pt x="4134" y="136"/>
                    </a:lnTo>
                    <a:lnTo>
                      <a:pt x="4186" y="156"/>
                    </a:lnTo>
                    <a:lnTo>
                      <a:pt x="4241" y="177"/>
                    </a:lnTo>
                    <a:lnTo>
                      <a:pt x="4298" y="198"/>
                    </a:lnTo>
                    <a:lnTo>
                      <a:pt x="4357" y="220"/>
                    </a:lnTo>
                    <a:lnTo>
                      <a:pt x="4418" y="241"/>
                    </a:lnTo>
                    <a:lnTo>
                      <a:pt x="4479" y="262"/>
                    </a:lnTo>
                    <a:lnTo>
                      <a:pt x="4542" y="282"/>
                    </a:lnTo>
                    <a:lnTo>
                      <a:pt x="4607" y="300"/>
                    </a:lnTo>
                    <a:lnTo>
                      <a:pt x="4671" y="316"/>
                    </a:lnTo>
                    <a:lnTo>
                      <a:pt x="4737" y="331"/>
                    </a:lnTo>
                    <a:lnTo>
                      <a:pt x="4771" y="339"/>
                    </a:lnTo>
                    <a:lnTo>
                      <a:pt x="4804" y="344"/>
                    </a:lnTo>
                    <a:lnTo>
                      <a:pt x="4837" y="351"/>
                    </a:lnTo>
                    <a:lnTo>
                      <a:pt x="4870" y="355"/>
                    </a:lnTo>
                    <a:lnTo>
                      <a:pt x="4904" y="359"/>
                    </a:lnTo>
                    <a:lnTo>
                      <a:pt x="4937" y="363"/>
                    </a:lnTo>
                    <a:lnTo>
                      <a:pt x="4971" y="366"/>
                    </a:lnTo>
                    <a:lnTo>
                      <a:pt x="5004" y="368"/>
                    </a:lnTo>
                    <a:lnTo>
                      <a:pt x="5038" y="369"/>
                    </a:lnTo>
                    <a:lnTo>
                      <a:pt x="5070" y="369"/>
                    </a:lnTo>
                    <a:lnTo>
                      <a:pt x="5103" y="368"/>
                    </a:lnTo>
                    <a:lnTo>
                      <a:pt x="5137" y="367"/>
                    </a:lnTo>
                    <a:lnTo>
                      <a:pt x="5218" y="363"/>
                    </a:lnTo>
                    <a:lnTo>
                      <a:pt x="5304" y="360"/>
                    </a:lnTo>
                    <a:lnTo>
                      <a:pt x="5392" y="359"/>
                    </a:lnTo>
                    <a:lnTo>
                      <a:pt x="5482" y="360"/>
                    </a:lnTo>
                    <a:lnTo>
                      <a:pt x="5574" y="363"/>
                    </a:lnTo>
                    <a:lnTo>
                      <a:pt x="5666" y="367"/>
                    </a:lnTo>
                    <a:lnTo>
                      <a:pt x="5757" y="372"/>
                    </a:lnTo>
                    <a:lnTo>
                      <a:pt x="5847" y="380"/>
                    </a:lnTo>
                    <a:lnTo>
                      <a:pt x="5935" y="390"/>
                    </a:lnTo>
                    <a:lnTo>
                      <a:pt x="6020" y="399"/>
                    </a:lnTo>
                    <a:lnTo>
                      <a:pt x="6060" y="406"/>
                    </a:lnTo>
                    <a:lnTo>
                      <a:pt x="6100" y="412"/>
                    </a:lnTo>
                    <a:lnTo>
                      <a:pt x="6139" y="419"/>
                    </a:lnTo>
                    <a:lnTo>
                      <a:pt x="6177" y="425"/>
                    </a:lnTo>
                    <a:lnTo>
                      <a:pt x="6212" y="433"/>
                    </a:lnTo>
                    <a:lnTo>
                      <a:pt x="6248" y="441"/>
                    </a:lnTo>
                    <a:lnTo>
                      <a:pt x="6280" y="449"/>
                    </a:lnTo>
                    <a:lnTo>
                      <a:pt x="6312" y="458"/>
                    </a:lnTo>
                    <a:lnTo>
                      <a:pt x="6342" y="467"/>
                    </a:lnTo>
                    <a:lnTo>
                      <a:pt x="6369" y="476"/>
                    </a:lnTo>
                    <a:lnTo>
                      <a:pt x="6395" y="486"/>
                    </a:lnTo>
                    <a:lnTo>
                      <a:pt x="6419" y="496"/>
                    </a:lnTo>
                    <a:lnTo>
                      <a:pt x="6452" y="512"/>
                    </a:lnTo>
                    <a:lnTo>
                      <a:pt x="6488" y="526"/>
                    </a:lnTo>
                    <a:lnTo>
                      <a:pt x="6522" y="539"/>
                    </a:lnTo>
                    <a:lnTo>
                      <a:pt x="6559" y="550"/>
                    </a:lnTo>
                    <a:lnTo>
                      <a:pt x="6596" y="561"/>
                    </a:lnTo>
                    <a:lnTo>
                      <a:pt x="6634" y="572"/>
                    </a:lnTo>
                    <a:lnTo>
                      <a:pt x="6671" y="581"/>
                    </a:lnTo>
                    <a:lnTo>
                      <a:pt x="6710" y="589"/>
                    </a:lnTo>
                    <a:lnTo>
                      <a:pt x="6764" y="598"/>
                    </a:lnTo>
                    <a:lnTo>
                      <a:pt x="6808" y="604"/>
                    </a:lnTo>
                    <a:lnTo>
                      <a:pt x="6841" y="608"/>
                    </a:lnTo>
                    <a:lnTo>
                      <a:pt x="6859" y="609"/>
                    </a:lnTo>
                    <a:lnTo>
                      <a:pt x="6871" y="603"/>
                    </a:lnTo>
                    <a:lnTo>
                      <a:pt x="6891" y="596"/>
                    </a:lnTo>
                    <a:lnTo>
                      <a:pt x="6919" y="587"/>
                    </a:lnTo>
                    <a:lnTo>
                      <a:pt x="6954" y="577"/>
                    </a:lnTo>
                    <a:lnTo>
                      <a:pt x="6975" y="573"/>
                    </a:lnTo>
                    <a:lnTo>
                      <a:pt x="6998" y="569"/>
                    </a:lnTo>
                    <a:lnTo>
                      <a:pt x="7023" y="565"/>
                    </a:lnTo>
                    <a:lnTo>
                      <a:pt x="7050" y="562"/>
                    </a:lnTo>
                    <a:lnTo>
                      <a:pt x="7081" y="559"/>
                    </a:lnTo>
                    <a:lnTo>
                      <a:pt x="7112" y="558"/>
                    </a:lnTo>
                    <a:lnTo>
                      <a:pt x="7145" y="557"/>
                    </a:lnTo>
                    <a:lnTo>
                      <a:pt x="7182" y="557"/>
                    </a:lnTo>
                    <a:lnTo>
                      <a:pt x="7220" y="558"/>
                    </a:lnTo>
                    <a:lnTo>
                      <a:pt x="7261" y="561"/>
                    </a:lnTo>
                    <a:lnTo>
                      <a:pt x="7303" y="564"/>
                    </a:lnTo>
                    <a:lnTo>
                      <a:pt x="7348" y="570"/>
                    </a:lnTo>
                    <a:lnTo>
                      <a:pt x="7396" y="577"/>
                    </a:lnTo>
                    <a:lnTo>
                      <a:pt x="7446" y="586"/>
                    </a:lnTo>
                    <a:lnTo>
                      <a:pt x="7497" y="597"/>
                    </a:lnTo>
                    <a:lnTo>
                      <a:pt x="7551" y="610"/>
                    </a:lnTo>
                    <a:lnTo>
                      <a:pt x="7608" y="625"/>
                    </a:lnTo>
                    <a:lnTo>
                      <a:pt x="7667" y="642"/>
                    </a:lnTo>
                    <a:lnTo>
                      <a:pt x="7728" y="662"/>
                    </a:lnTo>
                    <a:lnTo>
                      <a:pt x="7792" y="683"/>
                    </a:lnTo>
                    <a:lnTo>
                      <a:pt x="7858" y="708"/>
                    </a:lnTo>
                    <a:lnTo>
                      <a:pt x="7926" y="735"/>
                    </a:lnTo>
                    <a:lnTo>
                      <a:pt x="7997" y="765"/>
                    </a:lnTo>
                    <a:lnTo>
                      <a:pt x="8071" y="799"/>
                    </a:lnTo>
                    <a:lnTo>
                      <a:pt x="8142" y="834"/>
                    </a:lnTo>
                    <a:lnTo>
                      <a:pt x="8211" y="871"/>
                    </a:lnTo>
                    <a:lnTo>
                      <a:pt x="8278" y="912"/>
                    </a:lnTo>
                    <a:lnTo>
                      <a:pt x="8344" y="955"/>
                    </a:lnTo>
                    <a:lnTo>
                      <a:pt x="8408" y="1001"/>
                    </a:lnTo>
                    <a:lnTo>
                      <a:pt x="8470" y="1048"/>
                    </a:lnTo>
                    <a:lnTo>
                      <a:pt x="8531" y="1098"/>
                    </a:lnTo>
                    <a:lnTo>
                      <a:pt x="8590" y="1149"/>
                    </a:lnTo>
                    <a:lnTo>
                      <a:pt x="8647" y="1203"/>
                    </a:lnTo>
                    <a:lnTo>
                      <a:pt x="8702" y="1260"/>
                    </a:lnTo>
                    <a:lnTo>
                      <a:pt x="8756" y="1317"/>
                    </a:lnTo>
                    <a:lnTo>
                      <a:pt x="8809" y="1376"/>
                    </a:lnTo>
                    <a:lnTo>
                      <a:pt x="8859" y="1437"/>
                    </a:lnTo>
                    <a:lnTo>
                      <a:pt x="8909" y="1498"/>
                    </a:lnTo>
                    <a:lnTo>
                      <a:pt x="8955" y="1562"/>
                    </a:lnTo>
                    <a:lnTo>
                      <a:pt x="9002" y="1626"/>
                    </a:lnTo>
                    <a:lnTo>
                      <a:pt x="9045" y="1691"/>
                    </a:lnTo>
                    <a:lnTo>
                      <a:pt x="9087" y="1757"/>
                    </a:lnTo>
                    <a:lnTo>
                      <a:pt x="9128" y="1824"/>
                    </a:lnTo>
                    <a:lnTo>
                      <a:pt x="9167" y="1891"/>
                    </a:lnTo>
                    <a:lnTo>
                      <a:pt x="9203" y="1959"/>
                    </a:lnTo>
                    <a:lnTo>
                      <a:pt x="9239" y="2027"/>
                    </a:lnTo>
                    <a:lnTo>
                      <a:pt x="9273" y="2095"/>
                    </a:lnTo>
                    <a:lnTo>
                      <a:pt x="9305" y="2164"/>
                    </a:lnTo>
                    <a:lnTo>
                      <a:pt x="9335" y="2232"/>
                    </a:lnTo>
                    <a:lnTo>
                      <a:pt x="9364" y="2300"/>
                    </a:lnTo>
                    <a:lnTo>
                      <a:pt x="9391" y="2368"/>
                    </a:lnTo>
                    <a:lnTo>
                      <a:pt x="9416" y="2436"/>
                    </a:lnTo>
                    <a:lnTo>
                      <a:pt x="9440" y="2503"/>
                    </a:lnTo>
                    <a:lnTo>
                      <a:pt x="9463" y="2570"/>
                    </a:lnTo>
                    <a:lnTo>
                      <a:pt x="9482" y="2635"/>
                    </a:lnTo>
                    <a:lnTo>
                      <a:pt x="9501" y="2701"/>
                    </a:lnTo>
                    <a:lnTo>
                      <a:pt x="9510" y="2731"/>
                    </a:lnTo>
                    <a:lnTo>
                      <a:pt x="9518" y="2762"/>
                    </a:lnTo>
                    <a:lnTo>
                      <a:pt x="9524" y="2792"/>
                    </a:lnTo>
                    <a:lnTo>
                      <a:pt x="9531" y="2823"/>
                    </a:lnTo>
                    <a:lnTo>
                      <a:pt x="9536" y="2852"/>
                    </a:lnTo>
                    <a:lnTo>
                      <a:pt x="9540" y="2881"/>
                    </a:lnTo>
                    <a:lnTo>
                      <a:pt x="9545" y="2910"/>
                    </a:lnTo>
                    <a:lnTo>
                      <a:pt x="9548" y="2938"/>
                    </a:lnTo>
                    <a:lnTo>
                      <a:pt x="9552" y="2993"/>
                    </a:lnTo>
                    <a:lnTo>
                      <a:pt x="9555" y="3046"/>
                    </a:lnTo>
                    <a:lnTo>
                      <a:pt x="9555" y="3097"/>
                    </a:lnTo>
                    <a:lnTo>
                      <a:pt x="9554" y="3145"/>
                    </a:lnTo>
                    <a:lnTo>
                      <a:pt x="9551" y="3193"/>
                    </a:lnTo>
                    <a:lnTo>
                      <a:pt x="9547" y="3237"/>
                    </a:lnTo>
                    <a:lnTo>
                      <a:pt x="9540" y="3280"/>
                    </a:lnTo>
                    <a:lnTo>
                      <a:pt x="9534" y="3320"/>
                    </a:lnTo>
                    <a:lnTo>
                      <a:pt x="9525" y="3359"/>
                    </a:lnTo>
                    <a:lnTo>
                      <a:pt x="9517" y="3395"/>
                    </a:lnTo>
                    <a:lnTo>
                      <a:pt x="9507" y="3429"/>
                    </a:lnTo>
                    <a:lnTo>
                      <a:pt x="9497" y="3461"/>
                    </a:lnTo>
                    <a:lnTo>
                      <a:pt x="9485" y="3496"/>
                    </a:lnTo>
                    <a:lnTo>
                      <a:pt x="9472" y="3527"/>
                    </a:lnTo>
                    <a:lnTo>
                      <a:pt x="9462" y="3553"/>
                    </a:lnTo>
                    <a:lnTo>
                      <a:pt x="9451" y="3575"/>
                    </a:lnTo>
                    <a:lnTo>
                      <a:pt x="9435" y="3605"/>
                    </a:lnTo>
                    <a:lnTo>
                      <a:pt x="9428" y="3617"/>
                    </a:lnTo>
                    <a:lnTo>
                      <a:pt x="9425" y="3620"/>
                    </a:lnTo>
                    <a:lnTo>
                      <a:pt x="9421" y="3623"/>
                    </a:lnTo>
                    <a:lnTo>
                      <a:pt x="9416" y="3624"/>
                    </a:lnTo>
                    <a:lnTo>
                      <a:pt x="9411" y="3623"/>
                    </a:lnTo>
                    <a:lnTo>
                      <a:pt x="9170" y="3514"/>
                    </a:lnTo>
                    <a:lnTo>
                      <a:pt x="9153" y="3505"/>
                    </a:lnTo>
                    <a:lnTo>
                      <a:pt x="9134" y="3495"/>
                    </a:lnTo>
                    <a:lnTo>
                      <a:pt x="9116" y="3484"/>
                    </a:lnTo>
                    <a:lnTo>
                      <a:pt x="9098" y="3473"/>
                    </a:lnTo>
                    <a:lnTo>
                      <a:pt x="9079" y="3460"/>
                    </a:lnTo>
                    <a:lnTo>
                      <a:pt x="9060" y="3446"/>
                    </a:lnTo>
                    <a:lnTo>
                      <a:pt x="9040" y="3430"/>
                    </a:lnTo>
                    <a:lnTo>
                      <a:pt x="9021" y="3415"/>
                    </a:lnTo>
                    <a:lnTo>
                      <a:pt x="8980" y="3382"/>
                    </a:lnTo>
                    <a:lnTo>
                      <a:pt x="8939" y="3346"/>
                    </a:lnTo>
                    <a:lnTo>
                      <a:pt x="8898" y="3308"/>
                    </a:lnTo>
                    <a:lnTo>
                      <a:pt x="8855" y="3270"/>
                    </a:lnTo>
                    <a:lnTo>
                      <a:pt x="8783" y="3205"/>
                    </a:lnTo>
                    <a:lnTo>
                      <a:pt x="8710" y="3140"/>
                    </a:lnTo>
                    <a:lnTo>
                      <a:pt x="8672" y="3109"/>
                    </a:lnTo>
                    <a:lnTo>
                      <a:pt x="8634" y="3079"/>
                    </a:lnTo>
                    <a:lnTo>
                      <a:pt x="8597" y="3049"/>
                    </a:lnTo>
                    <a:lnTo>
                      <a:pt x="8558" y="3022"/>
                    </a:lnTo>
                    <a:lnTo>
                      <a:pt x="8519" y="2996"/>
                    </a:lnTo>
                    <a:lnTo>
                      <a:pt x="8480" y="2974"/>
                    </a:lnTo>
                    <a:lnTo>
                      <a:pt x="8461" y="2963"/>
                    </a:lnTo>
                    <a:lnTo>
                      <a:pt x="8441" y="2953"/>
                    </a:lnTo>
                    <a:lnTo>
                      <a:pt x="8422" y="2944"/>
                    </a:lnTo>
                    <a:lnTo>
                      <a:pt x="8402" y="2935"/>
                    </a:lnTo>
                    <a:lnTo>
                      <a:pt x="8383" y="2927"/>
                    </a:lnTo>
                    <a:lnTo>
                      <a:pt x="8362" y="2921"/>
                    </a:lnTo>
                    <a:lnTo>
                      <a:pt x="8343" y="2914"/>
                    </a:lnTo>
                    <a:lnTo>
                      <a:pt x="8323" y="2910"/>
                    </a:lnTo>
                    <a:lnTo>
                      <a:pt x="8304" y="2906"/>
                    </a:lnTo>
                    <a:lnTo>
                      <a:pt x="8285" y="2903"/>
                    </a:lnTo>
                    <a:lnTo>
                      <a:pt x="8264" y="2900"/>
                    </a:lnTo>
                    <a:lnTo>
                      <a:pt x="8245" y="2900"/>
                    </a:lnTo>
                    <a:lnTo>
                      <a:pt x="8222" y="2900"/>
                    </a:lnTo>
                    <a:lnTo>
                      <a:pt x="8198" y="2900"/>
                    </a:lnTo>
                    <a:lnTo>
                      <a:pt x="8173" y="2903"/>
                    </a:lnTo>
                    <a:lnTo>
                      <a:pt x="8148" y="2906"/>
                    </a:lnTo>
                    <a:lnTo>
                      <a:pt x="8123" y="2909"/>
                    </a:lnTo>
                    <a:lnTo>
                      <a:pt x="8096" y="2913"/>
                    </a:lnTo>
                    <a:lnTo>
                      <a:pt x="8068" y="2920"/>
                    </a:lnTo>
                    <a:lnTo>
                      <a:pt x="8038" y="2926"/>
                    </a:lnTo>
                    <a:lnTo>
                      <a:pt x="8001" y="2936"/>
                    </a:lnTo>
                    <a:lnTo>
                      <a:pt x="7961" y="2946"/>
                    </a:lnTo>
                    <a:lnTo>
                      <a:pt x="7921" y="2958"/>
                    </a:lnTo>
                    <a:lnTo>
                      <a:pt x="7881" y="2971"/>
                    </a:lnTo>
                    <a:lnTo>
                      <a:pt x="7840" y="2985"/>
                    </a:lnTo>
                    <a:lnTo>
                      <a:pt x="7798" y="2999"/>
                    </a:lnTo>
                    <a:lnTo>
                      <a:pt x="7755" y="3013"/>
                    </a:lnTo>
                    <a:lnTo>
                      <a:pt x="7712" y="3028"/>
                    </a:lnTo>
                    <a:lnTo>
                      <a:pt x="7668" y="3043"/>
                    </a:lnTo>
                    <a:lnTo>
                      <a:pt x="7624" y="3058"/>
                    </a:lnTo>
                    <a:lnTo>
                      <a:pt x="7578" y="3073"/>
                    </a:lnTo>
                    <a:lnTo>
                      <a:pt x="7532" y="3088"/>
                    </a:lnTo>
                    <a:lnTo>
                      <a:pt x="7485" y="3103"/>
                    </a:lnTo>
                    <a:lnTo>
                      <a:pt x="7438" y="3118"/>
                    </a:lnTo>
                    <a:lnTo>
                      <a:pt x="7389" y="3132"/>
                    </a:lnTo>
                    <a:lnTo>
                      <a:pt x="7341" y="3145"/>
                    </a:lnTo>
                    <a:lnTo>
                      <a:pt x="7291" y="3157"/>
                    </a:lnTo>
                    <a:lnTo>
                      <a:pt x="7240" y="3169"/>
                    </a:lnTo>
                    <a:lnTo>
                      <a:pt x="7189" y="3180"/>
                    </a:lnTo>
                    <a:lnTo>
                      <a:pt x="7137" y="3189"/>
                    </a:lnTo>
                    <a:lnTo>
                      <a:pt x="7084" y="3197"/>
                    </a:lnTo>
                    <a:lnTo>
                      <a:pt x="7030" y="3204"/>
                    </a:lnTo>
                    <a:lnTo>
                      <a:pt x="6975" y="3209"/>
                    </a:lnTo>
                    <a:lnTo>
                      <a:pt x="6920" y="3212"/>
                    </a:lnTo>
                    <a:lnTo>
                      <a:pt x="6876" y="3213"/>
                    </a:lnTo>
                    <a:lnTo>
                      <a:pt x="6772" y="3218"/>
                    </a:lnTo>
                    <a:lnTo>
                      <a:pt x="6665" y="3222"/>
                    </a:lnTo>
                    <a:lnTo>
                      <a:pt x="6557" y="3225"/>
                    </a:lnTo>
                    <a:lnTo>
                      <a:pt x="6448" y="3227"/>
                    </a:lnTo>
                    <a:lnTo>
                      <a:pt x="6338" y="3229"/>
                    </a:lnTo>
                    <a:lnTo>
                      <a:pt x="6228" y="3226"/>
                    </a:lnTo>
                    <a:lnTo>
                      <a:pt x="6172" y="3225"/>
                    </a:lnTo>
                    <a:lnTo>
                      <a:pt x="6117" y="3222"/>
                    </a:lnTo>
                    <a:lnTo>
                      <a:pt x="6062" y="3219"/>
                    </a:lnTo>
                    <a:lnTo>
                      <a:pt x="6006" y="3216"/>
                    </a:lnTo>
                    <a:lnTo>
                      <a:pt x="5951" y="3210"/>
                    </a:lnTo>
                    <a:lnTo>
                      <a:pt x="5896" y="3205"/>
                    </a:lnTo>
                    <a:lnTo>
                      <a:pt x="5841" y="3198"/>
                    </a:lnTo>
                    <a:lnTo>
                      <a:pt x="5786" y="3190"/>
                    </a:lnTo>
                    <a:lnTo>
                      <a:pt x="5732" y="3181"/>
                    </a:lnTo>
                    <a:lnTo>
                      <a:pt x="5677" y="3171"/>
                    </a:lnTo>
                    <a:lnTo>
                      <a:pt x="5623" y="3161"/>
                    </a:lnTo>
                    <a:lnTo>
                      <a:pt x="5569" y="3148"/>
                    </a:lnTo>
                    <a:lnTo>
                      <a:pt x="5515" y="3135"/>
                    </a:lnTo>
                    <a:lnTo>
                      <a:pt x="5462" y="3120"/>
                    </a:lnTo>
                    <a:lnTo>
                      <a:pt x="5408" y="3103"/>
                    </a:lnTo>
                    <a:lnTo>
                      <a:pt x="5356" y="3085"/>
                    </a:lnTo>
                    <a:lnTo>
                      <a:pt x="5303" y="3066"/>
                    </a:lnTo>
                    <a:lnTo>
                      <a:pt x="5251" y="3045"/>
                    </a:lnTo>
                    <a:lnTo>
                      <a:pt x="5200" y="3022"/>
                    </a:lnTo>
                    <a:lnTo>
                      <a:pt x="5149" y="2999"/>
                    </a:lnTo>
                    <a:lnTo>
                      <a:pt x="5113" y="2980"/>
                    </a:lnTo>
                    <a:lnTo>
                      <a:pt x="5076" y="2961"/>
                    </a:lnTo>
                    <a:lnTo>
                      <a:pt x="5039" y="2940"/>
                    </a:lnTo>
                    <a:lnTo>
                      <a:pt x="5000" y="2919"/>
                    </a:lnTo>
                    <a:lnTo>
                      <a:pt x="4918" y="2871"/>
                    </a:lnTo>
                    <a:lnTo>
                      <a:pt x="4833" y="2821"/>
                    </a:lnTo>
                    <a:lnTo>
                      <a:pt x="4747" y="2768"/>
                    </a:lnTo>
                    <a:lnTo>
                      <a:pt x="4659" y="2713"/>
                    </a:lnTo>
                    <a:lnTo>
                      <a:pt x="4570" y="2655"/>
                    </a:lnTo>
                    <a:lnTo>
                      <a:pt x="4480" y="2599"/>
                    </a:lnTo>
                    <a:lnTo>
                      <a:pt x="4417" y="2558"/>
                    </a:lnTo>
                    <a:lnTo>
                      <a:pt x="4352" y="2517"/>
                    </a:lnTo>
                    <a:lnTo>
                      <a:pt x="4288" y="2476"/>
                    </a:lnTo>
                    <a:lnTo>
                      <a:pt x="4224" y="2436"/>
                    </a:lnTo>
                    <a:lnTo>
                      <a:pt x="4161" y="2397"/>
                    </a:lnTo>
                    <a:lnTo>
                      <a:pt x="4099" y="2360"/>
                    </a:lnTo>
                    <a:lnTo>
                      <a:pt x="4039" y="2324"/>
                    </a:lnTo>
                    <a:lnTo>
                      <a:pt x="3980" y="2289"/>
                    </a:lnTo>
                    <a:lnTo>
                      <a:pt x="3923" y="2257"/>
                    </a:lnTo>
                    <a:lnTo>
                      <a:pt x="3868" y="2228"/>
                    </a:lnTo>
                    <a:lnTo>
                      <a:pt x="3815" y="2201"/>
                    </a:lnTo>
                    <a:lnTo>
                      <a:pt x="3766" y="2176"/>
                    </a:lnTo>
                    <a:lnTo>
                      <a:pt x="3718" y="2156"/>
                    </a:lnTo>
                    <a:lnTo>
                      <a:pt x="3674" y="2138"/>
                    </a:lnTo>
                    <a:lnTo>
                      <a:pt x="3653" y="2131"/>
                    </a:lnTo>
                    <a:lnTo>
                      <a:pt x="3634" y="2124"/>
                    </a:lnTo>
                    <a:lnTo>
                      <a:pt x="3614" y="2120"/>
                    </a:lnTo>
                    <a:lnTo>
                      <a:pt x="3597" y="2116"/>
                    </a:lnTo>
                    <a:lnTo>
                      <a:pt x="3579" y="2112"/>
                    </a:lnTo>
                    <a:lnTo>
                      <a:pt x="3560" y="2109"/>
                    </a:lnTo>
                    <a:lnTo>
                      <a:pt x="3543" y="2108"/>
                    </a:lnTo>
                    <a:lnTo>
                      <a:pt x="3527" y="2107"/>
                    </a:lnTo>
                    <a:lnTo>
                      <a:pt x="3510" y="2107"/>
                    </a:lnTo>
                    <a:lnTo>
                      <a:pt x="3493" y="2108"/>
                    </a:lnTo>
                    <a:lnTo>
                      <a:pt x="3478" y="2110"/>
                    </a:lnTo>
                    <a:lnTo>
                      <a:pt x="3462" y="2113"/>
                    </a:lnTo>
                    <a:lnTo>
                      <a:pt x="3447" y="2117"/>
                    </a:lnTo>
                    <a:lnTo>
                      <a:pt x="3432" y="2122"/>
                    </a:lnTo>
                    <a:lnTo>
                      <a:pt x="3417" y="2129"/>
                    </a:lnTo>
                    <a:lnTo>
                      <a:pt x="3402" y="2136"/>
                    </a:lnTo>
                    <a:lnTo>
                      <a:pt x="3387" y="2144"/>
                    </a:lnTo>
                    <a:lnTo>
                      <a:pt x="3372" y="2153"/>
                    </a:lnTo>
                    <a:lnTo>
                      <a:pt x="3357" y="2164"/>
                    </a:lnTo>
                    <a:lnTo>
                      <a:pt x="3343" y="2176"/>
                    </a:lnTo>
                    <a:lnTo>
                      <a:pt x="3328" y="2190"/>
                    </a:lnTo>
                    <a:lnTo>
                      <a:pt x="3314" y="2204"/>
                    </a:lnTo>
                    <a:lnTo>
                      <a:pt x="3299" y="2220"/>
                    </a:lnTo>
                    <a:lnTo>
                      <a:pt x="3284" y="2237"/>
                    </a:lnTo>
                    <a:lnTo>
                      <a:pt x="3270" y="2255"/>
                    </a:lnTo>
                    <a:lnTo>
                      <a:pt x="3255" y="2275"/>
                    </a:lnTo>
                    <a:lnTo>
                      <a:pt x="3240" y="2296"/>
                    </a:lnTo>
                    <a:lnTo>
                      <a:pt x="3223" y="2319"/>
                    </a:lnTo>
                    <a:lnTo>
                      <a:pt x="3192" y="2368"/>
                    </a:lnTo>
                    <a:lnTo>
                      <a:pt x="3159" y="2424"/>
                    </a:lnTo>
                    <a:lnTo>
                      <a:pt x="3125" y="2486"/>
                    </a:lnTo>
                    <a:lnTo>
                      <a:pt x="3088" y="2554"/>
                    </a:lnTo>
                    <a:lnTo>
                      <a:pt x="3072" y="2618"/>
                    </a:lnTo>
                    <a:lnTo>
                      <a:pt x="3050" y="2693"/>
                    </a:lnTo>
                    <a:lnTo>
                      <a:pt x="3023" y="2780"/>
                    </a:lnTo>
                    <a:lnTo>
                      <a:pt x="2991" y="2875"/>
                    </a:lnTo>
                    <a:lnTo>
                      <a:pt x="2956" y="2977"/>
                    </a:lnTo>
                    <a:lnTo>
                      <a:pt x="2917" y="3085"/>
                    </a:lnTo>
                    <a:lnTo>
                      <a:pt x="2876" y="3197"/>
                    </a:lnTo>
                    <a:lnTo>
                      <a:pt x="2833" y="3312"/>
                    </a:lnTo>
                    <a:lnTo>
                      <a:pt x="2787" y="3426"/>
                    </a:lnTo>
                    <a:lnTo>
                      <a:pt x="2741" y="3539"/>
                    </a:lnTo>
                    <a:lnTo>
                      <a:pt x="2694" y="3650"/>
                    </a:lnTo>
                    <a:lnTo>
                      <a:pt x="2648" y="3755"/>
                    </a:lnTo>
                    <a:lnTo>
                      <a:pt x="2625" y="3805"/>
                    </a:lnTo>
                    <a:lnTo>
                      <a:pt x="2603" y="3855"/>
                    </a:lnTo>
                    <a:lnTo>
                      <a:pt x="2580" y="3901"/>
                    </a:lnTo>
                    <a:lnTo>
                      <a:pt x="2558" y="3945"/>
                    </a:lnTo>
                    <a:lnTo>
                      <a:pt x="2536" y="3987"/>
                    </a:lnTo>
                    <a:lnTo>
                      <a:pt x="2515" y="4026"/>
                    </a:lnTo>
                    <a:lnTo>
                      <a:pt x="2495" y="4063"/>
                    </a:lnTo>
                    <a:lnTo>
                      <a:pt x="2474" y="4096"/>
                    </a:lnTo>
                    <a:lnTo>
                      <a:pt x="2464" y="4112"/>
                    </a:lnTo>
                    <a:lnTo>
                      <a:pt x="2455" y="4127"/>
                    </a:lnTo>
                    <a:lnTo>
                      <a:pt x="2444" y="4142"/>
                    </a:lnTo>
                    <a:lnTo>
                      <a:pt x="2432" y="4158"/>
                    </a:lnTo>
                    <a:lnTo>
                      <a:pt x="2398" y="4158"/>
                    </a:lnTo>
                    <a:lnTo>
                      <a:pt x="2414" y="4139"/>
                    </a:lnTo>
                    <a:lnTo>
                      <a:pt x="2428" y="4119"/>
                    </a:lnTo>
                    <a:lnTo>
                      <a:pt x="2440" y="4101"/>
                    </a:lnTo>
                    <a:lnTo>
                      <a:pt x="2451" y="4082"/>
                    </a:lnTo>
                    <a:lnTo>
                      <a:pt x="2471" y="4049"/>
                    </a:lnTo>
                    <a:lnTo>
                      <a:pt x="2491" y="4012"/>
                    </a:lnTo>
                    <a:lnTo>
                      <a:pt x="2513" y="3973"/>
                    </a:lnTo>
                    <a:lnTo>
                      <a:pt x="2535" y="3931"/>
                    </a:lnTo>
                    <a:lnTo>
                      <a:pt x="2556" y="3887"/>
                    </a:lnTo>
                    <a:lnTo>
                      <a:pt x="2579" y="3841"/>
                    </a:lnTo>
                    <a:lnTo>
                      <a:pt x="2601" y="3792"/>
                    </a:lnTo>
                    <a:lnTo>
                      <a:pt x="2624" y="3742"/>
                    </a:lnTo>
                    <a:lnTo>
                      <a:pt x="2671" y="3637"/>
                    </a:lnTo>
                    <a:lnTo>
                      <a:pt x="2717" y="3527"/>
                    </a:lnTo>
                    <a:lnTo>
                      <a:pt x="2763" y="3414"/>
                    </a:lnTo>
                    <a:lnTo>
                      <a:pt x="2808" y="3300"/>
                    </a:lnTo>
                    <a:lnTo>
                      <a:pt x="2851" y="3185"/>
                    </a:lnTo>
                    <a:lnTo>
                      <a:pt x="2892" y="3074"/>
                    </a:lnTo>
                    <a:lnTo>
                      <a:pt x="2931" y="2966"/>
                    </a:lnTo>
                    <a:lnTo>
                      <a:pt x="2965" y="2865"/>
                    </a:lnTo>
                    <a:lnTo>
                      <a:pt x="2997" y="2770"/>
                    </a:lnTo>
                    <a:lnTo>
                      <a:pt x="3024" y="2683"/>
                    </a:lnTo>
                    <a:lnTo>
                      <a:pt x="3046" y="2609"/>
                    </a:lnTo>
                    <a:lnTo>
                      <a:pt x="3063" y="2545"/>
                    </a:lnTo>
                    <a:lnTo>
                      <a:pt x="3064" y="2544"/>
                    </a:lnTo>
                    <a:lnTo>
                      <a:pt x="3064" y="2543"/>
                    </a:lnTo>
                    <a:lnTo>
                      <a:pt x="3101" y="2473"/>
                    </a:lnTo>
                    <a:lnTo>
                      <a:pt x="3137" y="2409"/>
                    </a:lnTo>
                    <a:lnTo>
                      <a:pt x="3154" y="2380"/>
                    </a:lnTo>
                    <a:lnTo>
                      <a:pt x="3171" y="2352"/>
                    </a:lnTo>
                    <a:lnTo>
                      <a:pt x="3188" y="2325"/>
                    </a:lnTo>
                    <a:lnTo>
                      <a:pt x="3204" y="2300"/>
                    </a:lnTo>
                    <a:lnTo>
                      <a:pt x="3220" y="2278"/>
                    </a:lnTo>
                    <a:lnTo>
                      <a:pt x="3236" y="2255"/>
                    </a:lnTo>
                    <a:lnTo>
                      <a:pt x="3253" y="2234"/>
                    </a:lnTo>
                    <a:lnTo>
                      <a:pt x="3268" y="2216"/>
                    </a:lnTo>
                    <a:lnTo>
                      <a:pt x="3284" y="2198"/>
                    </a:lnTo>
                    <a:lnTo>
                      <a:pt x="3299" y="2181"/>
                    </a:lnTo>
                    <a:lnTo>
                      <a:pt x="3315" y="2166"/>
                    </a:lnTo>
                    <a:lnTo>
                      <a:pt x="3330" y="2152"/>
                    </a:lnTo>
                    <a:lnTo>
                      <a:pt x="3345" y="2140"/>
                    </a:lnTo>
                    <a:lnTo>
                      <a:pt x="3362" y="2129"/>
                    </a:lnTo>
                    <a:lnTo>
                      <a:pt x="3377" y="2119"/>
                    </a:lnTo>
                    <a:lnTo>
                      <a:pt x="3393" y="2110"/>
                    </a:lnTo>
                    <a:lnTo>
                      <a:pt x="3409" y="2103"/>
                    </a:lnTo>
                    <a:lnTo>
                      <a:pt x="3425" y="2096"/>
                    </a:lnTo>
                    <a:lnTo>
                      <a:pt x="3442" y="2091"/>
                    </a:lnTo>
                    <a:lnTo>
                      <a:pt x="3458" y="2086"/>
                    </a:lnTo>
                    <a:lnTo>
                      <a:pt x="3475" y="2083"/>
                    </a:lnTo>
                    <a:lnTo>
                      <a:pt x="3492" y="2081"/>
                    </a:lnTo>
                    <a:lnTo>
                      <a:pt x="3510" y="2080"/>
                    </a:lnTo>
                    <a:lnTo>
                      <a:pt x="3527" y="2080"/>
                    </a:lnTo>
                    <a:lnTo>
                      <a:pt x="3545" y="2081"/>
                    </a:lnTo>
                    <a:lnTo>
                      <a:pt x="3564" y="2082"/>
                    </a:lnTo>
                    <a:lnTo>
                      <a:pt x="3583" y="2085"/>
                    </a:lnTo>
                    <a:lnTo>
                      <a:pt x="3602" y="2089"/>
                    </a:lnTo>
                    <a:lnTo>
                      <a:pt x="3621" y="2093"/>
                    </a:lnTo>
                    <a:lnTo>
                      <a:pt x="3640" y="2098"/>
                    </a:lnTo>
                    <a:lnTo>
                      <a:pt x="3660" y="2105"/>
                    </a:lnTo>
                    <a:lnTo>
                      <a:pt x="3681" y="2112"/>
                    </a:lnTo>
                    <a:lnTo>
                      <a:pt x="3726" y="2130"/>
                    </a:lnTo>
                    <a:lnTo>
                      <a:pt x="3774" y="2151"/>
                    </a:lnTo>
                    <a:lnTo>
                      <a:pt x="3825" y="2175"/>
                    </a:lnTo>
                    <a:lnTo>
                      <a:pt x="3878" y="2202"/>
                    </a:lnTo>
                    <a:lnTo>
                      <a:pt x="3933" y="2232"/>
                    </a:lnTo>
                    <a:lnTo>
                      <a:pt x="3991" y="2265"/>
                    </a:lnTo>
                    <a:lnTo>
                      <a:pt x="4051" y="2299"/>
                    </a:lnTo>
                    <a:lnTo>
                      <a:pt x="4111" y="2336"/>
                    </a:lnTo>
                    <a:lnTo>
                      <a:pt x="4174" y="2374"/>
                    </a:lnTo>
                    <a:lnTo>
                      <a:pt x="4237" y="2412"/>
                    </a:lnTo>
                    <a:lnTo>
                      <a:pt x="4301" y="2452"/>
                    </a:lnTo>
                    <a:lnTo>
                      <a:pt x="4366" y="2493"/>
                    </a:lnTo>
                    <a:lnTo>
                      <a:pt x="4431" y="2534"/>
                    </a:lnTo>
                    <a:lnTo>
                      <a:pt x="4495" y="2577"/>
                    </a:lnTo>
                    <a:lnTo>
                      <a:pt x="4584" y="2633"/>
                    </a:lnTo>
                    <a:lnTo>
                      <a:pt x="4673" y="2689"/>
                    </a:lnTo>
                    <a:lnTo>
                      <a:pt x="4761" y="2744"/>
                    </a:lnTo>
                    <a:lnTo>
                      <a:pt x="4848" y="2798"/>
                    </a:lnTo>
                    <a:lnTo>
                      <a:pt x="4932" y="2848"/>
                    </a:lnTo>
                    <a:lnTo>
                      <a:pt x="5013" y="2895"/>
                    </a:lnTo>
                    <a:lnTo>
                      <a:pt x="5052" y="2917"/>
                    </a:lnTo>
                    <a:lnTo>
                      <a:pt x="5089" y="2937"/>
                    </a:lnTo>
                    <a:lnTo>
                      <a:pt x="5126" y="2957"/>
                    </a:lnTo>
                    <a:lnTo>
                      <a:pt x="5161" y="2974"/>
                    </a:lnTo>
                    <a:lnTo>
                      <a:pt x="5211" y="2998"/>
                    </a:lnTo>
                    <a:lnTo>
                      <a:pt x="5262" y="3020"/>
                    </a:lnTo>
                    <a:lnTo>
                      <a:pt x="5314" y="3041"/>
                    </a:lnTo>
                    <a:lnTo>
                      <a:pt x="5366" y="3060"/>
                    </a:lnTo>
                    <a:lnTo>
                      <a:pt x="5418" y="3077"/>
                    </a:lnTo>
                    <a:lnTo>
                      <a:pt x="5471" y="3094"/>
                    </a:lnTo>
                    <a:lnTo>
                      <a:pt x="5523" y="3109"/>
                    </a:lnTo>
                    <a:lnTo>
                      <a:pt x="5576" y="3122"/>
                    </a:lnTo>
                    <a:lnTo>
                      <a:pt x="5630" y="3135"/>
                    </a:lnTo>
                    <a:lnTo>
                      <a:pt x="5683" y="3145"/>
                    </a:lnTo>
                    <a:lnTo>
                      <a:pt x="5738" y="3155"/>
                    </a:lnTo>
                    <a:lnTo>
                      <a:pt x="5792" y="3164"/>
                    </a:lnTo>
                    <a:lnTo>
                      <a:pt x="5846" y="3171"/>
                    </a:lnTo>
                    <a:lnTo>
                      <a:pt x="5901" y="3178"/>
                    </a:lnTo>
                    <a:lnTo>
                      <a:pt x="5956" y="3183"/>
                    </a:lnTo>
                    <a:lnTo>
                      <a:pt x="6010" y="3189"/>
                    </a:lnTo>
                    <a:lnTo>
                      <a:pt x="6066" y="3192"/>
                    </a:lnTo>
                    <a:lnTo>
                      <a:pt x="6121" y="3195"/>
                    </a:lnTo>
                    <a:lnTo>
                      <a:pt x="6176" y="3198"/>
                    </a:lnTo>
                    <a:lnTo>
                      <a:pt x="6231" y="3199"/>
                    </a:lnTo>
                    <a:lnTo>
                      <a:pt x="6340" y="3202"/>
                    </a:lnTo>
                    <a:lnTo>
                      <a:pt x="6449" y="3201"/>
                    </a:lnTo>
                    <a:lnTo>
                      <a:pt x="6558" y="3198"/>
                    </a:lnTo>
                    <a:lnTo>
                      <a:pt x="6665" y="3195"/>
                    </a:lnTo>
                    <a:lnTo>
                      <a:pt x="6771" y="3191"/>
                    </a:lnTo>
                    <a:lnTo>
                      <a:pt x="6875" y="3186"/>
                    </a:lnTo>
                    <a:lnTo>
                      <a:pt x="6919" y="3185"/>
                    </a:lnTo>
                    <a:lnTo>
                      <a:pt x="6974" y="3182"/>
                    </a:lnTo>
                    <a:lnTo>
                      <a:pt x="7028" y="3177"/>
                    </a:lnTo>
                    <a:lnTo>
                      <a:pt x="7081" y="3170"/>
                    </a:lnTo>
                    <a:lnTo>
                      <a:pt x="7132" y="3163"/>
                    </a:lnTo>
                    <a:lnTo>
                      <a:pt x="7184" y="3153"/>
                    </a:lnTo>
                    <a:lnTo>
                      <a:pt x="7235" y="3142"/>
                    </a:lnTo>
                    <a:lnTo>
                      <a:pt x="7286" y="3131"/>
                    </a:lnTo>
                    <a:lnTo>
                      <a:pt x="7335" y="3118"/>
                    </a:lnTo>
                    <a:lnTo>
                      <a:pt x="7384" y="3106"/>
                    </a:lnTo>
                    <a:lnTo>
                      <a:pt x="7431" y="3091"/>
                    </a:lnTo>
                    <a:lnTo>
                      <a:pt x="7479" y="3077"/>
                    </a:lnTo>
                    <a:lnTo>
                      <a:pt x="7524" y="3062"/>
                    </a:lnTo>
                    <a:lnTo>
                      <a:pt x="7571" y="3047"/>
                    </a:lnTo>
                    <a:lnTo>
                      <a:pt x="7615" y="3032"/>
                    </a:lnTo>
                    <a:lnTo>
                      <a:pt x="7659" y="3017"/>
                    </a:lnTo>
                    <a:lnTo>
                      <a:pt x="7703" y="3002"/>
                    </a:lnTo>
                    <a:lnTo>
                      <a:pt x="7747" y="2988"/>
                    </a:lnTo>
                    <a:lnTo>
                      <a:pt x="7789" y="2973"/>
                    </a:lnTo>
                    <a:lnTo>
                      <a:pt x="7831" y="2959"/>
                    </a:lnTo>
                    <a:lnTo>
                      <a:pt x="7873" y="2945"/>
                    </a:lnTo>
                    <a:lnTo>
                      <a:pt x="7914" y="2932"/>
                    </a:lnTo>
                    <a:lnTo>
                      <a:pt x="7954" y="2920"/>
                    </a:lnTo>
                    <a:lnTo>
                      <a:pt x="7994" y="2909"/>
                    </a:lnTo>
                    <a:lnTo>
                      <a:pt x="8033" y="2899"/>
                    </a:lnTo>
                    <a:lnTo>
                      <a:pt x="8062" y="2893"/>
                    </a:lnTo>
                    <a:lnTo>
                      <a:pt x="8090" y="2887"/>
                    </a:lnTo>
                    <a:lnTo>
                      <a:pt x="8118" y="2882"/>
                    </a:lnTo>
                    <a:lnTo>
                      <a:pt x="8145" y="2879"/>
                    </a:lnTo>
                    <a:lnTo>
                      <a:pt x="8171" y="2876"/>
                    </a:lnTo>
                    <a:lnTo>
                      <a:pt x="8196" y="2873"/>
                    </a:lnTo>
                    <a:lnTo>
                      <a:pt x="8221" y="2873"/>
                    </a:lnTo>
                    <a:lnTo>
                      <a:pt x="8246" y="2873"/>
                    </a:lnTo>
                    <a:lnTo>
                      <a:pt x="8266" y="2873"/>
                    </a:lnTo>
                    <a:lnTo>
                      <a:pt x="8287" y="2876"/>
                    </a:lnTo>
                    <a:lnTo>
                      <a:pt x="8307" y="2879"/>
                    </a:lnTo>
                    <a:lnTo>
                      <a:pt x="8328" y="2883"/>
                    </a:lnTo>
                    <a:lnTo>
                      <a:pt x="8348" y="2889"/>
                    </a:lnTo>
                    <a:lnTo>
                      <a:pt x="8369" y="2894"/>
                    </a:lnTo>
                    <a:lnTo>
                      <a:pt x="8388" y="2901"/>
                    </a:lnTo>
                    <a:lnTo>
                      <a:pt x="8409" y="2909"/>
                    </a:lnTo>
                    <a:lnTo>
                      <a:pt x="8429" y="2918"/>
                    </a:lnTo>
                    <a:lnTo>
                      <a:pt x="8450" y="2927"/>
                    </a:lnTo>
                    <a:lnTo>
                      <a:pt x="8470" y="2937"/>
                    </a:lnTo>
                    <a:lnTo>
                      <a:pt x="8490" y="2948"/>
                    </a:lnTo>
                    <a:lnTo>
                      <a:pt x="8530" y="2972"/>
                    </a:lnTo>
                    <a:lnTo>
                      <a:pt x="8570" y="2998"/>
                    </a:lnTo>
                    <a:lnTo>
                      <a:pt x="8610" y="3026"/>
                    </a:lnTo>
                    <a:lnTo>
                      <a:pt x="8648" y="3055"/>
                    </a:lnTo>
                    <a:lnTo>
                      <a:pt x="8687" y="3086"/>
                    </a:lnTo>
                    <a:lnTo>
                      <a:pt x="8725" y="3117"/>
                    </a:lnTo>
                    <a:lnTo>
                      <a:pt x="8801" y="3183"/>
                    </a:lnTo>
                    <a:lnTo>
                      <a:pt x="8873" y="3249"/>
                    </a:lnTo>
                    <a:lnTo>
                      <a:pt x="8915" y="3288"/>
                    </a:lnTo>
                    <a:lnTo>
                      <a:pt x="8956" y="3325"/>
                    </a:lnTo>
                    <a:lnTo>
                      <a:pt x="8997" y="3360"/>
                    </a:lnTo>
                    <a:lnTo>
                      <a:pt x="9036" y="3393"/>
                    </a:lnTo>
                    <a:lnTo>
                      <a:pt x="9074" y="3423"/>
                    </a:lnTo>
                    <a:lnTo>
                      <a:pt x="9112" y="3449"/>
                    </a:lnTo>
                    <a:lnTo>
                      <a:pt x="9129" y="3461"/>
                    </a:lnTo>
                    <a:lnTo>
                      <a:pt x="9147" y="3471"/>
                    </a:lnTo>
                    <a:lnTo>
                      <a:pt x="9165" y="3481"/>
                    </a:lnTo>
                    <a:lnTo>
                      <a:pt x="9181" y="3489"/>
                    </a:lnTo>
                    <a:lnTo>
                      <a:pt x="9411" y="3592"/>
                    </a:lnTo>
                    <a:lnTo>
                      <a:pt x="9422" y="3573"/>
                    </a:lnTo>
                    <a:lnTo>
                      <a:pt x="9437" y="3542"/>
                    </a:lnTo>
                    <a:lnTo>
                      <a:pt x="9445" y="3523"/>
                    </a:lnTo>
                    <a:lnTo>
                      <a:pt x="9454" y="3502"/>
                    </a:lnTo>
                    <a:lnTo>
                      <a:pt x="9463" y="3478"/>
                    </a:lnTo>
                    <a:lnTo>
                      <a:pt x="9471" y="3452"/>
                    </a:lnTo>
                    <a:lnTo>
                      <a:pt x="9481" y="3421"/>
                    </a:lnTo>
                    <a:lnTo>
                      <a:pt x="9491" y="3388"/>
                    </a:lnTo>
                    <a:lnTo>
                      <a:pt x="9499" y="3353"/>
                    </a:lnTo>
                    <a:lnTo>
                      <a:pt x="9507" y="3315"/>
                    </a:lnTo>
                    <a:lnTo>
                      <a:pt x="9514" y="3276"/>
                    </a:lnTo>
                    <a:lnTo>
                      <a:pt x="9520" y="3234"/>
                    </a:lnTo>
                    <a:lnTo>
                      <a:pt x="9524" y="3190"/>
                    </a:lnTo>
                    <a:lnTo>
                      <a:pt x="9527" y="3144"/>
                    </a:lnTo>
                    <a:lnTo>
                      <a:pt x="9528" y="3096"/>
                    </a:lnTo>
                    <a:lnTo>
                      <a:pt x="9528" y="3046"/>
                    </a:lnTo>
                    <a:lnTo>
                      <a:pt x="9525" y="2994"/>
                    </a:lnTo>
                    <a:lnTo>
                      <a:pt x="9521" y="2940"/>
                    </a:lnTo>
                    <a:lnTo>
                      <a:pt x="9518" y="2913"/>
                    </a:lnTo>
                    <a:lnTo>
                      <a:pt x="9513" y="2885"/>
                    </a:lnTo>
                    <a:lnTo>
                      <a:pt x="9509" y="2856"/>
                    </a:lnTo>
                    <a:lnTo>
                      <a:pt x="9504" y="2827"/>
                    </a:lnTo>
                    <a:lnTo>
                      <a:pt x="9497" y="2798"/>
                    </a:lnTo>
                    <a:lnTo>
                      <a:pt x="9491" y="2769"/>
                    </a:lnTo>
                    <a:lnTo>
                      <a:pt x="9483" y="2738"/>
                    </a:lnTo>
                    <a:lnTo>
                      <a:pt x="9476" y="2707"/>
                    </a:lnTo>
                    <a:lnTo>
                      <a:pt x="9456" y="2643"/>
                    </a:lnTo>
                    <a:lnTo>
                      <a:pt x="9437" y="2578"/>
                    </a:lnTo>
                    <a:lnTo>
                      <a:pt x="9415" y="2512"/>
                    </a:lnTo>
                    <a:lnTo>
                      <a:pt x="9391" y="2446"/>
                    </a:lnTo>
                    <a:lnTo>
                      <a:pt x="9365" y="2379"/>
                    </a:lnTo>
                    <a:lnTo>
                      <a:pt x="9340" y="2311"/>
                    </a:lnTo>
                    <a:lnTo>
                      <a:pt x="9310" y="2244"/>
                    </a:lnTo>
                    <a:lnTo>
                      <a:pt x="9280" y="2176"/>
                    </a:lnTo>
                    <a:lnTo>
                      <a:pt x="9249" y="2108"/>
                    </a:lnTo>
                    <a:lnTo>
                      <a:pt x="9215" y="2040"/>
                    </a:lnTo>
                    <a:lnTo>
                      <a:pt x="9180" y="1972"/>
                    </a:lnTo>
                    <a:lnTo>
                      <a:pt x="9143" y="1905"/>
                    </a:lnTo>
                    <a:lnTo>
                      <a:pt x="9105" y="1838"/>
                    </a:lnTo>
                    <a:lnTo>
                      <a:pt x="9065" y="1772"/>
                    </a:lnTo>
                    <a:lnTo>
                      <a:pt x="9023" y="1708"/>
                    </a:lnTo>
                    <a:lnTo>
                      <a:pt x="8980" y="1643"/>
                    </a:lnTo>
                    <a:lnTo>
                      <a:pt x="8935" y="1579"/>
                    </a:lnTo>
                    <a:lnTo>
                      <a:pt x="8888" y="1517"/>
                    </a:lnTo>
                    <a:lnTo>
                      <a:pt x="8840" y="1455"/>
                    </a:lnTo>
                    <a:lnTo>
                      <a:pt x="8790" y="1395"/>
                    </a:lnTo>
                    <a:lnTo>
                      <a:pt x="8738" y="1336"/>
                    </a:lnTo>
                    <a:lnTo>
                      <a:pt x="8684" y="1279"/>
                    </a:lnTo>
                    <a:lnTo>
                      <a:pt x="8630" y="1224"/>
                    </a:lnTo>
                    <a:lnTo>
                      <a:pt x="8573" y="1171"/>
                    </a:lnTo>
                    <a:lnTo>
                      <a:pt x="8515" y="1119"/>
                    </a:lnTo>
                    <a:lnTo>
                      <a:pt x="8454" y="1070"/>
                    </a:lnTo>
                    <a:lnTo>
                      <a:pt x="8393" y="1022"/>
                    </a:lnTo>
                    <a:lnTo>
                      <a:pt x="8330" y="978"/>
                    </a:lnTo>
                    <a:lnTo>
                      <a:pt x="8264" y="935"/>
                    </a:lnTo>
                    <a:lnTo>
                      <a:pt x="8198" y="895"/>
                    </a:lnTo>
                    <a:lnTo>
                      <a:pt x="8129" y="858"/>
                    </a:lnTo>
                    <a:lnTo>
                      <a:pt x="8060" y="823"/>
                    </a:lnTo>
                    <a:lnTo>
                      <a:pt x="7984" y="789"/>
                    </a:lnTo>
                    <a:lnTo>
                      <a:pt x="7912" y="759"/>
                    </a:lnTo>
                    <a:lnTo>
                      <a:pt x="7842" y="731"/>
                    </a:lnTo>
                    <a:lnTo>
                      <a:pt x="7774" y="706"/>
                    </a:lnTo>
                    <a:lnTo>
                      <a:pt x="7709" y="684"/>
                    </a:lnTo>
                    <a:lnTo>
                      <a:pt x="7647" y="665"/>
                    </a:lnTo>
                    <a:lnTo>
                      <a:pt x="7587" y="648"/>
                    </a:lnTo>
                    <a:lnTo>
                      <a:pt x="7530" y="634"/>
                    </a:lnTo>
                    <a:lnTo>
                      <a:pt x="7475" y="621"/>
                    </a:lnTo>
                    <a:lnTo>
                      <a:pt x="7423" y="611"/>
                    </a:lnTo>
                    <a:lnTo>
                      <a:pt x="7372" y="602"/>
                    </a:lnTo>
                    <a:lnTo>
                      <a:pt x="7325" y="596"/>
                    </a:lnTo>
                    <a:lnTo>
                      <a:pt x="7280" y="591"/>
                    </a:lnTo>
                    <a:lnTo>
                      <a:pt x="7237" y="588"/>
                    </a:lnTo>
                    <a:lnTo>
                      <a:pt x="7197" y="586"/>
                    </a:lnTo>
                    <a:lnTo>
                      <a:pt x="7159" y="586"/>
                    </a:lnTo>
                    <a:lnTo>
                      <a:pt x="7124" y="586"/>
                    </a:lnTo>
                    <a:lnTo>
                      <a:pt x="7091" y="588"/>
                    </a:lnTo>
                    <a:lnTo>
                      <a:pt x="7060" y="590"/>
                    </a:lnTo>
                    <a:lnTo>
                      <a:pt x="7032" y="594"/>
                    </a:lnTo>
                    <a:lnTo>
                      <a:pt x="7006" y="597"/>
                    </a:lnTo>
                    <a:lnTo>
                      <a:pt x="6982" y="601"/>
                    </a:lnTo>
                    <a:lnTo>
                      <a:pt x="6961" y="605"/>
                    </a:lnTo>
                    <a:lnTo>
                      <a:pt x="6941" y="610"/>
                    </a:lnTo>
                    <a:lnTo>
                      <a:pt x="6910" y="618"/>
                    </a:lnTo>
                    <a:lnTo>
                      <a:pt x="6887" y="627"/>
                    </a:lnTo>
                    <a:lnTo>
                      <a:pt x="6873" y="632"/>
                    </a:lnTo>
                    <a:lnTo>
                      <a:pt x="6868" y="635"/>
                    </a:lnTo>
                    <a:lnTo>
                      <a:pt x="6865" y="636"/>
                    </a:lnTo>
                    <a:lnTo>
                      <a:pt x="6861" y="636"/>
                    </a:lnTo>
                    <a:lnTo>
                      <a:pt x="6849" y="636"/>
                    </a:lnTo>
                    <a:lnTo>
                      <a:pt x="6817" y="632"/>
                    </a:lnTo>
                    <a:lnTo>
                      <a:pt x="6794" y="630"/>
                    </a:lnTo>
                    <a:lnTo>
                      <a:pt x="6768" y="626"/>
                    </a:lnTo>
                    <a:lnTo>
                      <a:pt x="6738" y="622"/>
                    </a:lnTo>
                    <a:lnTo>
                      <a:pt x="6705" y="615"/>
                    </a:lnTo>
                    <a:lnTo>
                      <a:pt x="6666" y="608"/>
                    </a:lnTo>
                    <a:lnTo>
                      <a:pt x="6627" y="598"/>
                    </a:lnTo>
                    <a:lnTo>
                      <a:pt x="6588" y="587"/>
                    </a:lnTo>
                    <a:lnTo>
                      <a:pt x="6550" y="576"/>
                    </a:lnTo>
                    <a:lnTo>
                      <a:pt x="6514" y="563"/>
                    </a:lnTo>
                    <a:lnTo>
                      <a:pt x="6477" y="550"/>
                    </a:lnTo>
                    <a:lnTo>
                      <a:pt x="6442" y="536"/>
                    </a:lnTo>
                    <a:lnTo>
                      <a:pt x="6407" y="520"/>
                    </a:lnTo>
                    <a:lnTo>
                      <a:pt x="6384" y="510"/>
                    </a:lnTo>
                    <a:lnTo>
                      <a:pt x="6358" y="501"/>
                    </a:lnTo>
                    <a:lnTo>
                      <a:pt x="6331" y="492"/>
                    </a:lnTo>
                    <a:lnTo>
                      <a:pt x="6302" y="483"/>
                    </a:lnTo>
                    <a:lnTo>
                      <a:pt x="6271" y="475"/>
                    </a:lnTo>
                    <a:lnTo>
                      <a:pt x="6238" y="466"/>
                    </a:lnTo>
                    <a:lnTo>
                      <a:pt x="6205" y="459"/>
                    </a:lnTo>
                    <a:lnTo>
                      <a:pt x="6168" y="451"/>
                    </a:lnTo>
                    <a:lnTo>
                      <a:pt x="6131" y="445"/>
                    </a:lnTo>
                    <a:lnTo>
                      <a:pt x="6094" y="438"/>
                    </a:lnTo>
                    <a:lnTo>
                      <a:pt x="6054" y="432"/>
                    </a:lnTo>
                    <a:lnTo>
                      <a:pt x="6014" y="426"/>
                    </a:lnTo>
                    <a:lnTo>
                      <a:pt x="5929" y="415"/>
                    </a:lnTo>
                    <a:lnTo>
                      <a:pt x="5842" y="407"/>
                    </a:lnTo>
                    <a:lnTo>
                      <a:pt x="5753" y="399"/>
                    </a:lnTo>
                    <a:lnTo>
                      <a:pt x="5663" y="394"/>
                    </a:lnTo>
                    <a:lnTo>
                      <a:pt x="5572" y="390"/>
                    </a:lnTo>
                    <a:lnTo>
                      <a:pt x="5481" y="387"/>
                    </a:lnTo>
                    <a:lnTo>
                      <a:pt x="5392" y="386"/>
                    </a:lnTo>
                    <a:lnTo>
                      <a:pt x="5304" y="387"/>
                    </a:lnTo>
                    <a:lnTo>
                      <a:pt x="5219" y="390"/>
                    </a:lnTo>
                    <a:lnTo>
                      <a:pt x="5138" y="394"/>
                    </a:lnTo>
                    <a:lnTo>
                      <a:pt x="5104" y="395"/>
                    </a:lnTo>
                    <a:lnTo>
                      <a:pt x="5071" y="396"/>
                    </a:lnTo>
                    <a:lnTo>
                      <a:pt x="5038" y="396"/>
                    </a:lnTo>
                    <a:lnTo>
                      <a:pt x="5003" y="395"/>
                    </a:lnTo>
                    <a:lnTo>
                      <a:pt x="4970" y="393"/>
                    </a:lnTo>
                    <a:lnTo>
                      <a:pt x="4936" y="390"/>
                    </a:lnTo>
                    <a:lnTo>
                      <a:pt x="4901" y="386"/>
                    </a:lnTo>
                    <a:lnTo>
                      <a:pt x="4868" y="382"/>
                    </a:lnTo>
                    <a:lnTo>
                      <a:pt x="4835" y="377"/>
                    </a:lnTo>
                    <a:lnTo>
                      <a:pt x="4801" y="371"/>
                    </a:lnTo>
                    <a:lnTo>
                      <a:pt x="4767" y="365"/>
                    </a:lnTo>
                    <a:lnTo>
                      <a:pt x="4733" y="358"/>
                    </a:lnTo>
                    <a:lnTo>
                      <a:pt x="4667" y="343"/>
                    </a:lnTo>
                    <a:lnTo>
                      <a:pt x="4601" y="326"/>
                    </a:lnTo>
                    <a:lnTo>
                      <a:pt x="4537" y="308"/>
                    </a:lnTo>
                    <a:lnTo>
                      <a:pt x="4473" y="288"/>
                    </a:lnTo>
                    <a:lnTo>
                      <a:pt x="4410" y="268"/>
                    </a:lnTo>
                    <a:lnTo>
                      <a:pt x="4349" y="246"/>
                    </a:lnTo>
                    <a:lnTo>
                      <a:pt x="4289" y="224"/>
                    </a:lnTo>
                    <a:lnTo>
                      <a:pt x="4232" y="203"/>
                    </a:lnTo>
                    <a:lnTo>
                      <a:pt x="4177" y="181"/>
                    </a:lnTo>
                    <a:lnTo>
                      <a:pt x="4124" y="161"/>
                    </a:lnTo>
                    <a:lnTo>
                      <a:pt x="4099" y="151"/>
                    </a:lnTo>
                    <a:lnTo>
                      <a:pt x="4075" y="142"/>
                    </a:lnTo>
                    <a:lnTo>
                      <a:pt x="4052" y="133"/>
                    </a:lnTo>
                    <a:lnTo>
                      <a:pt x="4028" y="124"/>
                    </a:lnTo>
                    <a:lnTo>
                      <a:pt x="4006" y="115"/>
                    </a:lnTo>
                    <a:lnTo>
                      <a:pt x="3984" y="108"/>
                    </a:lnTo>
                    <a:lnTo>
                      <a:pt x="3963" y="100"/>
                    </a:lnTo>
                    <a:lnTo>
                      <a:pt x="3943" y="93"/>
                    </a:lnTo>
                    <a:lnTo>
                      <a:pt x="3916" y="84"/>
                    </a:lnTo>
                    <a:lnTo>
                      <a:pt x="3884" y="76"/>
                    </a:lnTo>
                    <a:lnTo>
                      <a:pt x="3848" y="68"/>
                    </a:lnTo>
                    <a:lnTo>
                      <a:pt x="3807" y="60"/>
                    </a:lnTo>
                    <a:lnTo>
                      <a:pt x="3761" y="53"/>
                    </a:lnTo>
                    <a:lnTo>
                      <a:pt x="3712" y="46"/>
                    </a:lnTo>
                    <a:lnTo>
                      <a:pt x="3659" y="40"/>
                    </a:lnTo>
                    <a:lnTo>
                      <a:pt x="3602" y="34"/>
                    </a:lnTo>
                    <a:lnTo>
                      <a:pt x="3543" y="31"/>
                    </a:lnTo>
                    <a:lnTo>
                      <a:pt x="3480" y="28"/>
                    </a:lnTo>
                    <a:lnTo>
                      <a:pt x="3416" y="27"/>
                    </a:lnTo>
                    <a:lnTo>
                      <a:pt x="3348" y="27"/>
                    </a:lnTo>
                    <a:lnTo>
                      <a:pt x="3279" y="28"/>
                    </a:lnTo>
                    <a:lnTo>
                      <a:pt x="3207" y="31"/>
                    </a:lnTo>
                    <a:lnTo>
                      <a:pt x="3135" y="37"/>
                    </a:lnTo>
                    <a:lnTo>
                      <a:pt x="3060" y="44"/>
                    </a:lnTo>
                    <a:lnTo>
                      <a:pt x="2986" y="54"/>
                    </a:lnTo>
                    <a:lnTo>
                      <a:pt x="2910" y="66"/>
                    </a:lnTo>
                    <a:lnTo>
                      <a:pt x="2834" y="81"/>
                    </a:lnTo>
                    <a:lnTo>
                      <a:pt x="2758" y="98"/>
                    </a:lnTo>
                    <a:lnTo>
                      <a:pt x="2681" y="119"/>
                    </a:lnTo>
                    <a:lnTo>
                      <a:pt x="2606" y="141"/>
                    </a:lnTo>
                    <a:lnTo>
                      <a:pt x="2530" y="167"/>
                    </a:lnTo>
                    <a:lnTo>
                      <a:pt x="2456" y="196"/>
                    </a:lnTo>
                    <a:lnTo>
                      <a:pt x="2383" y="230"/>
                    </a:lnTo>
                    <a:lnTo>
                      <a:pt x="2311" y="265"/>
                    </a:lnTo>
                    <a:lnTo>
                      <a:pt x="2241" y="305"/>
                    </a:lnTo>
                    <a:lnTo>
                      <a:pt x="2173" y="350"/>
                    </a:lnTo>
                    <a:lnTo>
                      <a:pt x="2108" y="397"/>
                    </a:lnTo>
                    <a:lnTo>
                      <a:pt x="2044" y="450"/>
                    </a:lnTo>
                    <a:lnTo>
                      <a:pt x="1984" y="506"/>
                    </a:lnTo>
                    <a:lnTo>
                      <a:pt x="1927" y="567"/>
                    </a:lnTo>
                    <a:lnTo>
                      <a:pt x="1917" y="577"/>
                    </a:lnTo>
                    <a:lnTo>
                      <a:pt x="1897" y="601"/>
                    </a:lnTo>
                    <a:lnTo>
                      <a:pt x="1869" y="638"/>
                    </a:lnTo>
                    <a:lnTo>
                      <a:pt x="1833" y="687"/>
                    </a:lnTo>
                    <a:lnTo>
                      <a:pt x="1811" y="717"/>
                    </a:lnTo>
                    <a:lnTo>
                      <a:pt x="1789" y="749"/>
                    </a:lnTo>
                    <a:lnTo>
                      <a:pt x="1766" y="785"/>
                    </a:lnTo>
                    <a:lnTo>
                      <a:pt x="1741" y="823"/>
                    </a:lnTo>
                    <a:lnTo>
                      <a:pt x="1715" y="865"/>
                    </a:lnTo>
                    <a:lnTo>
                      <a:pt x="1688" y="909"/>
                    </a:lnTo>
                    <a:lnTo>
                      <a:pt x="1660" y="956"/>
                    </a:lnTo>
                    <a:lnTo>
                      <a:pt x="1631" y="1007"/>
                    </a:lnTo>
                    <a:lnTo>
                      <a:pt x="1602" y="1061"/>
                    </a:lnTo>
                    <a:lnTo>
                      <a:pt x="1572" y="1117"/>
                    </a:lnTo>
                    <a:lnTo>
                      <a:pt x="1543" y="1176"/>
                    </a:lnTo>
                    <a:lnTo>
                      <a:pt x="1513" y="1239"/>
                    </a:lnTo>
                    <a:lnTo>
                      <a:pt x="1484" y="1304"/>
                    </a:lnTo>
                    <a:lnTo>
                      <a:pt x="1455" y="1373"/>
                    </a:lnTo>
                    <a:lnTo>
                      <a:pt x="1426" y="1443"/>
                    </a:lnTo>
                    <a:lnTo>
                      <a:pt x="1396" y="1518"/>
                    </a:lnTo>
                    <a:lnTo>
                      <a:pt x="1368" y="1594"/>
                    </a:lnTo>
                    <a:lnTo>
                      <a:pt x="1341" y="1673"/>
                    </a:lnTo>
                    <a:lnTo>
                      <a:pt x="1315" y="1755"/>
                    </a:lnTo>
                    <a:lnTo>
                      <a:pt x="1291" y="1840"/>
                    </a:lnTo>
                    <a:lnTo>
                      <a:pt x="1266" y="1928"/>
                    </a:lnTo>
                    <a:lnTo>
                      <a:pt x="1243" y="2018"/>
                    </a:lnTo>
                    <a:lnTo>
                      <a:pt x="1223" y="2111"/>
                    </a:lnTo>
                    <a:lnTo>
                      <a:pt x="1203" y="2207"/>
                    </a:lnTo>
                    <a:lnTo>
                      <a:pt x="1190" y="2241"/>
                    </a:lnTo>
                    <a:lnTo>
                      <a:pt x="1177" y="2274"/>
                    </a:lnTo>
                    <a:lnTo>
                      <a:pt x="1162" y="2309"/>
                    </a:lnTo>
                    <a:lnTo>
                      <a:pt x="1146" y="2343"/>
                    </a:lnTo>
                    <a:lnTo>
                      <a:pt x="1130" y="2379"/>
                    </a:lnTo>
                    <a:lnTo>
                      <a:pt x="1112" y="2415"/>
                    </a:lnTo>
                    <a:lnTo>
                      <a:pt x="1093" y="2451"/>
                    </a:lnTo>
                    <a:lnTo>
                      <a:pt x="1075" y="2488"/>
                    </a:lnTo>
                    <a:lnTo>
                      <a:pt x="1034" y="2564"/>
                    </a:lnTo>
                    <a:lnTo>
                      <a:pt x="989" y="2640"/>
                    </a:lnTo>
                    <a:lnTo>
                      <a:pt x="943" y="2717"/>
                    </a:lnTo>
                    <a:lnTo>
                      <a:pt x="895" y="2796"/>
                    </a:lnTo>
                    <a:lnTo>
                      <a:pt x="846" y="2873"/>
                    </a:lnTo>
                    <a:lnTo>
                      <a:pt x="795" y="2952"/>
                    </a:lnTo>
                    <a:lnTo>
                      <a:pt x="743" y="3031"/>
                    </a:lnTo>
                    <a:lnTo>
                      <a:pt x="691" y="3108"/>
                    </a:lnTo>
                    <a:lnTo>
                      <a:pt x="639" y="3185"/>
                    </a:lnTo>
                    <a:lnTo>
                      <a:pt x="588" y="3261"/>
                    </a:lnTo>
                    <a:lnTo>
                      <a:pt x="536" y="3334"/>
                    </a:lnTo>
                    <a:lnTo>
                      <a:pt x="486" y="3407"/>
                    </a:lnTo>
                    <a:lnTo>
                      <a:pt x="424" y="3496"/>
                    </a:lnTo>
                    <a:lnTo>
                      <a:pt x="364" y="3583"/>
                    </a:lnTo>
                    <a:lnTo>
                      <a:pt x="308" y="3666"/>
                    </a:lnTo>
                    <a:lnTo>
                      <a:pt x="256" y="3743"/>
                    </a:lnTo>
                    <a:lnTo>
                      <a:pt x="210" y="3816"/>
                    </a:lnTo>
                    <a:lnTo>
                      <a:pt x="168" y="3884"/>
                    </a:lnTo>
                    <a:lnTo>
                      <a:pt x="149" y="3915"/>
                    </a:lnTo>
                    <a:lnTo>
                      <a:pt x="132" y="3945"/>
                    </a:lnTo>
                    <a:lnTo>
                      <a:pt x="117" y="3973"/>
                    </a:lnTo>
                    <a:lnTo>
                      <a:pt x="103" y="3999"/>
                    </a:lnTo>
                    <a:lnTo>
                      <a:pt x="91" y="4025"/>
                    </a:lnTo>
                    <a:lnTo>
                      <a:pt x="79" y="4049"/>
                    </a:lnTo>
                    <a:lnTo>
                      <a:pt x="68" y="4073"/>
                    </a:lnTo>
                    <a:lnTo>
                      <a:pt x="59" y="4095"/>
                    </a:lnTo>
                    <a:lnTo>
                      <a:pt x="51" y="4112"/>
                    </a:lnTo>
                    <a:lnTo>
                      <a:pt x="44" y="4127"/>
                    </a:lnTo>
                    <a:lnTo>
                      <a:pt x="37" y="4143"/>
                    </a:lnTo>
                    <a:lnTo>
                      <a:pt x="30" y="4158"/>
                    </a:lnTo>
                    <a:lnTo>
                      <a:pt x="0" y="4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29"/>
              <p:cNvSpPr>
                <a:spLocks noEditPoints="1"/>
              </p:cNvSpPr>
              <p:nvPr userDrawn="1"/>
            </p:nvSpPr>
            <p:spPr bwMode="auto">
              <a:xfrm>
                <a:off x="2413" y="3120"/>
                <a:ext cx="953" cy="1022"/>
              </a:xfrm>
              <a:custGeom>
                <a:avLst/>
                <a:gdLst>
                  <a:gd name="T0" fmla="*/ 2436 w 2861"/>
                  <a:gd name="T1" fmla="*/ 2936 h 3066"/>
                  <a:gd name="T2" fmla="*/ 2211 w 2861"/>
                  <a:gd name="T3" fmla="*/ 2781 h 3066"/>
                  <a:gd name="T4" fmla="*/ 1905 w 2861"/>
                  <a:gd name="T5" fmla="*/ 2542 h 3066"/>
                  <a:gd name="T6" fmla="*/ 1689 w 2861"/>
                  <a:gd name="T7" fmla="*/ 2403 h 3066"/>
                  <a:gd name="T8" fmla="*/ 1540 w 2861"/>
                  <a:gd name="T9" fmla="*/ 2337 h 3066"/>
                  <a:gd name="T10" fmla="*/ 1491 w 2861"/>
                  <a:gd name="T11" fmla="*/ 2227 h 3066"/>
                  <a:gd name="T12" fmla="*/ 1332 w 2861"/>
                  <a:gd name="T13" fmla="*/ 1761 h 3066"/>
                  <a:gd name="T14" fmla="*/ 1152 w 2861"/>
                  <a:gd name="T15" fmla="*/ 1318 h 3066"/>
                  <a:gd name="T16" fmla="*/ 904 w 2861"/>
                  <a:gd name="T17" fmla="*/ 856 h 3066"/>
                  <a:gd name="T18" fmla="*/ 579 w 2861"/>
                  <a:gd name="T19" fmla="*/ 437 h 3066"/>
                  <a:gd name="T20" fmla="*/ 167 w 2861"/>
                  <a:gd name="T21" fmla="*/ 126 h 3066"/>
                  <a:gd name="T22" fmla="*/ 1 w 2861"/>
                  <a:gd name="T23" fmla="*/ 41 h 3066"/>
                  <a:gd name="T24" fmla="*/ 114 w 2861"/>
                  <a:gd name="T25" fmla="*/ 46 h 3066"/>
                  <a:gd name="T26" fmla="*/ 254 w 2861"/>
                  <a:gd name="T27" fmla="*/ 22 h 3066"/>
                  <a:gd name="T28" fmla="*/ 401 w 2861"/>
                  <a:gd name="T29" fmla="*/ 1 h 3066"/>
                  <a:gd name="T30" fmla="*/ 669 w 2861"/>
                  <a:gd name="T31" fmla="*/ 15 h 3066"/>
                  <a:gd name="T32" fmla="*/ 1006 w 2861"/>
                  <a:gd name="T33" fmla="*/ 94 h 3066"/>
                  <a:gd name="T34" fmla="*/ 1377 w 2861"/>
                  <a:gd name="T35" fmla="*/ 241 h 3066"/>
                  <a:gd name="T36" fmla="*/ 1776 w 2861"/>
                  <a:gd name="T37" fmla="*/ 490 h 3066"/>
                  <a:gd name="T38" fmla="*/ 2115 w 2861"/>
                  <a:gd name="T39" fmla="*/ 818 h 3066"/>
                  <a:gd name="T40" fmla="*/ 2393 w 2861"/>
                  <a:gd name="T41" fmla="*/ 1199 h 3066"/>
                  <a:gd name="T42" fmla="*/ 2611 w 2861"/>
                  <a:gd name="T43" fmla="*/ 1606 h 3066"/>
                  <a:gd name="T44" fmla="*/ 2769 w 2861"/>
                  <a:gd name="T45" fmla="*/ 2012 h 3066"/>
                  <a:gd name="T46" fmla="*/ 2837 w 2861"/>
                  <a:gd name="T47" fmla="*/ 2265 h 3066"/>
                  <a:gd name="T48" fmla="*/ 2861 w 2861"/>
                  <a:gd name="T49" fmla="*/ 2488 h 3066"/>
                  <a:gd name="T50" fmla="*/ 2840 w 2861"/>
                  <a:gd name="T51" fmla="*/ 2762 h 3066"/>
                  <a:gd name="T52" fmla="*/ 2778 w 2861"/>
                  <a:gd name="T53" fmla="*/ 2969 h 3066"/>
                  <a:gd name="T54" fmla="*/ 2729 w 2861"/>
                  <a:gd name="T55" fmla="*/ 3063 h 3066"/>
                  <a:gd name="T56" fmla="*/ 271 w 2861"/>
                  <a:gd name="T57" fmla="*/ 153 h 3066"/>
                  <a:gd name="T58" fmla="*/ 655 w 2861"/>
                  <a:gd name="T59" fmla="*/ 479 h 3066"/>
                  <a:gd name="T60" fmla="*/ 960 w 2861"/>
                  <a:gd name="T61" fmla="*/ 894 h 3066"/>
                  <a:gd name="T62" fmla="*/ 1192 w 2861"/>
                  <a:gd name="T63" fmla="*/ 1342 h 3066"/>
                  <a:gd name="T64" fmla="*/ 1364 w 2861"/>
                  <a:gd name="T65" fmla="*/ 1766 h 3066"/>
                  <a:gd name="T66" fmla="*/ 1505 w 2861"/>
                  <a:gd name="T67" fmla="*/ 2185 h 3066"/>
                  <a:gd name="T68" fmla="*/ 1557 w 2861"/>
                  <a:gd name="T69" fmla="*/ 2317 h 3066"/>
                  <a:gd name="T70" fmla="*/ 1774 w 2861"/>
                  <a:gd name="T71" fmla="*/ 2421 h 3066"/>
                  <a:gd name="T72" fmla="*/ 1991 w 2861"/>
                  <a:gd name="T73" fmla="*/ 2573 h 3066"/>
                  <a:gd name="T74" fmla="*/ 2321 w 2861"/>
                  <a:gd name="T75" fmla="*/ 2829 h 3066"/>
                  <a:gd name="T76" fmla="*/ 2487 w 2861"/>
                  <a:gd name="T77" fmla="*/ 2931 h 3066"/>
                  <a:gd name="T78" fmla="*/ 2769 w 2861"/>
                  <a:gd name="T79" fmla="*/ 2920 h 3066"/>
                  <a:gd name="T80" fmla="*/ 2820 w 2861"/>
                  <a:gd name="T81" fmla="*/ 2718 h 3066"/>
                  <a:gd name="T82" fmla="*/ 2831 w 2861"/>
                  <a:gd name="T83" fmla="*/ 2436 h 3066"/>
                  <a:gd name="T84" fmla="*/ 2803 w 2861"/>
                  <a:gd name="T85" fmla="*/ 2240 h 3066"/>
                  <a:gd name="T86" fmla="*/ 2721 w 2861"/>
                  <a:gd name="T87" fmla="*/ 1954 h 3066"/>
                  <a:gd name="T88" fmla="*/ 2555 w 2861"/>
                  <a:gd name="T89" fmla="*/ 1550 h 3066"/>
                  <a:gd name="T90" fmla="*/ 2329 w 2861"/>
                  <a:gd name="T91" fmla="*/ 1150 h 3066"/>
                  <a:gd name="T92" fmla="*/ 2044 w 2861"/>
                  <a:gd name="T93" fmla="*/ 778 h 3066"/>
                  <a:gd name="T94" fmla="*/ 1699 w 2861"/>
                  <a:gd name="T95" fmla="*/ 464 h 3066"/>
                  <a:gd name="T96" fmla="*/ 1287 w 2861"/>
                  <a:gd name="T97" fmla="*/ 230 h 3066"/>
                  <a:gd name="T98" fmla="*/ 881 w 2861"/>
                  <a:gd name="T99" fmla="*/ 86 h 3066"/>
                  <a:gd name="T100" fmla="*/ 578 w 2861"/>
                  <a:gd name="T101" fmla="*/ 32 h 3066"/>
                  <a:gd name="T102" fmla="*/ 366 w 2861"/>
                  <a:gd name="T103" fmla="*/ 31 h 3066"/>
                  <a:gd name="T104" fmla="*/ 215 w 2861"/>
                  <a:gd name="T105" fmla="*/ 60 h 3066"/>
                  <a:gd name="T106" fmla="*/ 164 w 2861"/>
                  <a:gd name="T107" fmla="*/ 78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1" h="3066">
                    <a:moveTo>
                      <a:pt x="2722" y="3066"/>
                    </a:moveTo>
                    <a:lnTo>
                      <a:pt x="2720" y="3065"/>
                    </a:lnTo>
                    <a:lnTo>
                      <a:pt x="2717" y="3065"/>
                    </a:lnTo>
                    <a:lnTo>
                      <a:pt x="2476" y="2956"/>
                    </a:lnTo>
                    <a:lnTo>
                      <a:pt x="2457" y="2946"/>
                    </a:lnTo>
                    <a:lnTo>
                      <a:pt x="2436" y="2936"/>
                    </a:lnTo>
                    <a:lnTo>
                      <a:pt x="2416" y="2924"/>
                    </a:lnTo>
                    <a:lnTo>
                      <a:pt x="2394" y="2911"/>
                    </a:lnTo>
                    <a:lnTo>
                      <a:pt x="2351" y="2883"/>
                    </a:lnTo>
                    <a:lnTo>
                      <a:pt x="2306" y="2852"/>
                    </a:lnTo>
                    <a:lnTo>
                      <a:pt x="2260" y="2817"/>
                    </a:lnTo>
                    <a:lnTo>
                      <a:pt x="2211" y="2781"/>
                    </a:lnTo>
                    <a:lnTo>
                      <a:pt x="2163" y="2743"/>
                    </a:lnTo>
                    <a:lnTo>
                      <a:pt x="2114" y="2703"/>
                    </a:lnTo>
                    <a:lnTo>
                      <a:pt x="2046" y="2650"/>
                    </a:lnTo>
                    <a:lnTo>
                      <a:pt x="1976" y="2595"/>
                    </a:lnTo>
                    <a:lnTo>
                      <a:pt x="1940" y="2569"/>
                    </a:lnTo>
                    <a:lnTo>
                      <a:pt x="1905" y="2542"/>
                    </a:lnTo>
                    <a:lnTo>
                      <a:pt x="1869" y="2516"/>
                    </a:lnTo>
                    <a:lnTo>
                      <a:pt x="1834" y="2491"/>
                    </a:lnTo>
                    <a:lnTo>
                      <a:pt x="1798" y="2468"/>
                    </a:lnTo>
                    <a:lnTo>
                      <a:pt x="1761" y="2445"/>
                    </a:lnTo>
                    <a:lnTo>
                      <a:pt x="1726" y="2423"/>
                    </a:lnTo>
                    <a:lnTo>
                      <a:pt x="1689" y="2403"/>
                    </a:lnTo>
                    <a:lnTo>
                      <a:pt x="1653" y="2385"/>
                    </a:lnTo>
                    <a:lnTo>
                      <a:pt x="1618" y="2368"/>
                    </a:lnTo>
                    <a:lnTo>
                      <a:pt x="1582" y="2353"/>
                    </a:lnTo>
                    <a:lnTo>
                      <a:pt x="1547" y="2341"/>
                    </a:lnTo>
                    <a:lnTo>
                      <a:pt x="1543" y="2340"/>
                    </a:lnTo>
                    <a:lnTo>
                      <a:pt x="1540" y="2337"/>
                    </a:lnTo>
                    <a:lnTo>
                      <a:pt x="1537" y="2334"/>
                    </a:lnTo>
                    <a:lnTo>
                      <a:pt x="1533" y="2328"/>
                    </a:lnTo>
                    <a:lnTo>
                      <a:pt x="1525" y="2315"/>
                    </a:lnTo>
                    <a:lnTo>
                      <a:pt x="1516" y="2294"/>
                    </a:lnTo>
                    <a:lnTo>
                      <a:pt x="1505" y="2266"/>
                    </a:lnTo>
                    <a:lnTo>
                      <a:pt x="1491" y="2227"/>
                    </a:lnTo>
                    <a:lnTo>
                      <a:pt x="1475" y="2178"/>
                    </a:lnTo>
                    <a:lnTo>
                      <a:pt x="1454" y="2118"/>
                    </a:lnTo>
                    <a:lnTo>
                      <a:pt x="1420" y="2012"/>
                    </a:lnTo>
                    <a:lnTo>
                      <a:pt x="1379" y="1891"/>
                    </a:lnTo>
                    <a:lnTo>
                      <a:pt x="1356" y="1827"/>
                    </a:lnTo>
                    <a:lnTo>
                      <a:pt x="1332" y="1761"/>
                    </a:lnTo>
                    <a:lnTo>
                      <a:pt x="1307" y="1690"/>
                    </a:lnTo>
                    <a:lnTo>
                      <a:pt x="1280" y="1619"/>
                    </a:lnTo>
                    <a:lnTo>
                      <a:pt x="1250" y="1546"/>
                    </a:lnTo>
                    <a:lnTo>
                      <a:pt x="1219" y="1471"/>
                    </a:lnTo>
                    <a:lnTo>
                      <a:pt x="1187" y="1396"/>
                    </a:lnTo>
                    <a:lnTo>
                      <a:pt x="1152" y="1318"/>
                    </a:lnTo>
                    <a:lnTo>
                      <a:pt x="1115" y="1241"/>
                    </a:lnTo>
                    <a:lnTo>
                      <a:pt x="1078" y="1164"/>
                    </a:lnTo>
                    <a:lnTo>
                      <a:pt x="1038" y="1086"/>
                    </a:lnTo>
                    <a:lnTo>
                      <a:pt x="994" y="1009"/>
                    </a:lnTo>
                    <a:lnTo>
                      <a:pt x="950" y="933"/>
                    </a:lnTo>
                    <a:lnTo>
                      <a:pt x="904" y="856"/>
                    </a:lnTo>
                    <a:lnTo>
                      <a:pt x="855" y="781"/>
                    </a:lnTo>
                    <a:lnTo>
                      <a:pt x="804" y="709"/>
                    </a:lnTo>
                    <a:lnTo>
                      <a:pt x="752" y="638"/>
                    </a:lnTo>
                    <a:lnTo>
                      <a:pt x="696" y="569"/>
                    </a:lnTo>
                    <a:lnTo>
                      <a:pt x="639" y="502"/>
                    </a:lnTo>
                    <a:lnTo>
                      <a:pt x="579" y="437"/>
                    </a:lnTo>
                    <a:lnTo>
                      <a:pt x="517" y="377"/>
                    </a:lnTo>
                    <a:lnTo>
                      <a:pt x="452" y="318"/>
                    </a:lnTo>
                    <a:lnTo>
                      <a:pt x="384" y="264"/>
                    </a:lnTo>
                    <a:lnTo>
                      <a:pt x="315" y="214"/>
                    </a:lnTo>
                    <a:lnTo>
                      <a:pt x="243" y="167"/>
                    </a:lnTo>
                    <a:lnTo>
                      <a:pt x="167" y="126"/>
                    </a:lnTo>
                    <a:lnTo>
                      <a:pt x="90" y="88"/>
                    </a:lnTo>
                    <a:lnTo>
                      <a:pt x="10" y="57"/>
                    </a:lnTo>
                    <a:lnTo>
                      <a:pt x="5" y="54"/>
                    </a:lnTo>
                    <a:lnTo>
                      <a:pt x="2" y="51"/>
                    </a:lnTo>
                    <a:lnTo>
                      <a:pt x="0" y="45"/>
                    </a:lnTo>
                    <a:lnTo>
                      <a:pt x="1" y="41"/>
                    </a:lnTo>
                    <a:lnTo>
                      <a:pt x="3" y="36"/>
                    </a:lnTo>
                    <a:lnTo>
                      <a:pt x="6" y="32"/>
                    </a:lnTo>
                    <a:lnTo>
                      <a:pt x="12" y="31"/>
                    </a:lnTo>
                    <a:lnTo>
                      <a:pt x="16" y="31"/>
                    </a:lnTo>
                    <a:lnTo>
                      <a:pt x="71" y="41"/>
                    </a:lnTo>
                    <a:lnTo>
                      <a:pt x="114" y="46"/>
                    </a:lnTo>
                    <a:lnTo>
                      <a:pt x="147" y="50"/>
                    </a:lnTo>
                    <a:lnTo>
                      <a:pt x="165" y="51"/>
                    </a:lnTo>
                    <a:lnTo>
                      <a:pt x="176" y="46"/>
                    </a:lnTo>
                    <a:lnTo>
                      <a:pt x="194" y="39"/>
                    </a:lnTo>
                    <a:lnTo>
                      <a:pt x="220" y="30"/>
                    </a:lnTo>
                    <a:lnTo>
                      <a:pt x="254" y="22"/>
                    </a:lnTo>
                    <a:lnTo>
                      <a:pt x="273" y="17"/>
                    </a:lnTo>
                    <a:lnTo>
                      <a:pt x="295" y="14"/>
                    </a:lnTo>
                    <a:lnTo>
                      <a:pt x="319" y="10"/>
                    </a:lnTo>
                    <a:lnTo>
                      <a:pt x="343" y="6"/>
                    </a:lnTo>
                    <a:lnTo>
                      <a:pt x="371" y="3"/>
                    </a:lnTo>
                    <a:lnTo>
                      <a:pt x="401" y="1"/>
                    </a:lnTo>
                    <a:lnTo>
                      <a:pt x="432" y="0"/>
                    </a:lnTo>
                    <a:lnTo>
                      <a:pt x="465" y="0"/>
                    </a:lnTo>
                    <a:lnTo>
                      <a:pt x="515" y="1"/>
                    </a:lnTo>
                    <a:lnTo>
                      <a:pt x="566" y="3"/>
                    </a:lnTo>
                    <a:lnTo>
                      <a:pt x="618" y="9"/>
                    </a:lnTo>
                    <a:lnTo>
                      <a:pt x="669" y="15"/>
                    </a:lnTo>
                    <a:lnTo>
                      <a:pt x="723" y="24"/>
                    </a:lnTo>
                    <a:lnTo>
                      <a:pt x="779" y="33"/>
                    </a:lnTo>
                    <a:lnTo>
                      <a:pt x="834" y="46"/>
                    </a:lnTo>
                    <a:lnTo>
                      <a:pt x="891" y="60"/>
                    </a:lnTo>
                    <a:lnTo>
                      <a:pt x="948" y="77"/>
                    </a:lnTo>
                    <a:lnTo>
                      <a:pt x="1006" y="94"/>
                    </a:lnTo>
                    <a:lnTo>
                      <a:pt x="1066" y="114"/>
                    </a:lnTo>
                    <a:lnTo>
                      <a:pt x="1126" y="136"/>
                    </a:lnTo>
                    <a:lnTo>
                      <a:pt x="1188" y="160"/>
                    </a:lnTo>
                    <a:lnTo>
                      <a:pt x="1250" y="185"/>
                    </a:lnTo>
                    <a:lnTo>
                      <a:pt x="1313" y="212"/>
                    </a:lnTo>
                    <a:lnTo>
                      <a:pt x="1377" y="241"/>
                    </a:lnTo>
                    <a:lnTo>
                      <a:pt x="1448" y="276"/>
                    </a:lnTo>
                    <a:lnTo>
                      <a:pt x="1517" y="313"/>
                    </a:lnTo>
                    <a:lnTo>
                      <a:pt x="1584" y="354"/>
                    </a:lnTo>
                    <a:lnTo>
                      <a:pt x="1650" y="397"/>
                    </a:lnTo>
                    <a:lnTo>
                      <a:pt x="1714" y="443"/>
                    </a:lnTo>
                    <a:lnTo>
                      <a:pt x="1776" y="490"/>
                    </a:lnTo>
                    <a:lnTo>
                      <a:pt x="1837" y="540"/>
                    </a:lnTo>
                    <a:lnTo>
                      <a:pt x="1896" y="591"/>
                    </a:lnTo>
                    <a:lnTo>
                      <a:pt x="1953" y="645"/>
                    </a:lnTo>
                    <a:lnTo>
                      <a:pt x="2008" y="702"/>
                    </a:lnTo>
                    <a:lnTo>
                      <a:pt x="2062" y="759"/>
                    </a:lnTo>
                    <a:lnTo>
                      <a:pt x="2115" y="818"/>
                    </a:lnTo>
                    <a:lnTo>
                      <a:pt x="2165" y="879"/>
                    </a:lnTo>
                    <a:lnTo>
                      <a:pt x="2215" y="940"/>
                    </a:lnTo>
                    <a:lnTo>
                      <a:pt x="2261" y="1004"/>
                    </a:lnTo>
                    <a:lnTo>
                      <a:pt x="2308" y="1068"/>
                    </a:lnTo>
                    <a:lnTo>
                      <a:pt x="2351" y="1133"/>
                    </a:lnTo>
                    <a:lnTo>
                      <a:pt x="2393" y="1199"/>
                    </a:lnTo>
                    <a:lnTo>
                      <a:pt x="2434" y="1266"/>
                    </a:lnTo>
                    <a:lnTo>
                      <a:pt x="2473" y="1333"/>
                    </a:lnTo>
                    <a:lnTo>
                      <a:pt x="2509" y="1401"/>
                    </a:lnTo>
                    <a:lnTo>
                      <a:pt x="2545" y="1469"/>
                    </a:lnTo>
                    <a:lnTo>
                      <a:pt x="2579" y="1537"/>
                    </a:lnTo>
                    <a:lnTo>
                      <a:pt x="2611" y="1606"/>
                    </a:lnTo>
                    <a:lnTo>
                      <a:pt x="2641" y="1674"/>
                    </a:lnTo>
                    <a:lnTo>
                      <a:pt x="2670" y="1742"/>
                    </a:lnTo>
                    <a:lnTo>
                      <a:pt x="2697" y="1810"/>
                    </a:lnTo>
                    <a:lnTo>
                      <a:pt x="2722" y="1878"/>
                    </a:lnTo>
                    <a:lnTo>
                      <a:pt x="2746" y="1945"/>
                    </a:lnTo>
                    <a:lnTo>
                      <a:pt x="2769" y="2012"/>
                    </a:lnTo>
                    <a:lnTo>
                      <a:pt x="2788" y="2077"/>
                    </a:lnTo>
                    <a:lnTo>
                      <a:pt x="2807" y="2143"/>
                    </a:lnTo>
                    <a:lnTo>
                      <a:pt x="2816" y="2173"/>
                    </a:lnTo>
                    <a:lnTo>
                      <a:pt x="2824" y="2204"/>
                    </a:lnTo>
                    <a:lnTo>
                      <a:pt x="2830" y="2234"/>
                    </a:lnTo>
                    <a:lnTo>
                      <a:pt x="2837" y="2265"/>
                    </a:lnTo>
                    <a:lnTo>
                      <a:pt x="2842" y="2294"/>
                    </a:lnTo>
                    <a:lnTo>
                      <a:pt x="2846" y="2323"/>
                    </a:lnTo>
                    <a:lnTo>
                      <a:pt x="2851" y="2352"/>
                    </a:lnTo>
                    <a:lnTo>
                      <a:pt x="2854" y="2380"/>
                    </a:lnTo>
                    <a:lnTo>
                      <a:pt x="2858" y="2435"/>
                    </a:lnTo>
                    <a:lnTo>
                      <a:pt x="2861" y="2488"/>
                    </a:lnTo>
                    <a:lnTo>
                      <a:pt x="2861" y="2539"/>
                    </a:lnTo>
                    <a:lnTo>
                      <a:pt x="2860" y="2587"/>
                    </a:lnTo>
                    <a:lnTo>
                      <a:pt x="2857" y="2635"/>
                    </a:lnTo>
                    <a:lnTo>
                      <a:pt x="2853" y="2679"/>
                    </a:lnTo>
                    <a:lnTo>
                      <a:pt x="2846" y="2722"/>
                    </a:lnTo>
                    <a:lnTo>
                      <a:pt x="2840" y="2762"/>
                    </a:lnTo>
                    <a:lnTo>
                      <a:pt x="2831" y="2801"/>
                    </a:lnTo>
                    <a:lnTo>
                      <a:pt x="2823" y="2837"/>
                    </a:lnTo>
                    <a:lnTo>
                      <a:pt x="2813" y="2871"/>
                    </a:lnTo>
                    <a:lnTo>
                      <a:pt x="2803" y="2903"/>
                    </a:lnTo>
                    <a:lnTo>
                      <a:pt x="2791" y="2938"/>
                    </a:lnTo>
                    <a:lnTo>
                      <a:pt x="2778" y="2969"/>
                    </a:lnTo>
                    <a:lnTo>
                      <a:pt x="2768" y="2995"/>
                    </a:lnTo>
                    <a:lnTo>
                      <a:pt x="2757" y="3017"/>
                    </a:lnTo>
                    <a:lnTo>
                      <a:pt x="2741" y="3047"/>
                    </a:lnTo>
                    <a:lnTo>
                      <a:pt x="2734" y="3059"/>
                    </a:lnTo>
                    <a:lnTo>
                      <a:pt x="2732" y="3061"/>
                    </a:lnTo>
                    <a:lnTo>
                      <a:pt x="2729" y="3063"/>
                    </a:lnTo>
                    <a:lnTo>
                      <a:pt x="2727" y="3065"/>
                    </a:lnTo>
                    <a:lnTo>
                      <a:pt x="2722" y="3066"/>
                    </a:lnTo>
                    <a:close/>
                    <a:moveTo>
                      <a:pt x="124" y="74"/>
                    </a:moveTo>
                    <a:lnTo>
                      <a:pt x="124" y="74"/>
                    </a:lnTo>
                    <a:lnTo>
                      <a:pt x="199" y="112"/>
                    </a:lnTo>
                    <a:lnTo>
                      <a:pt x="271" y="153"/>
                    </a:lnTo>
                    <a:lnTo>
                      <a:pt x="341" y="200"/>
                    </a:lnTo>
                    <a:lnTo>
                      <a:pt x="408" y="248"/>
                    </a:lnTo>
                    <a:lnTo>
                      <a:pt x="474" y="302"/>
                    </a:lnTo>
                    <a:lnTo>
                      <a:pt x="537" y="358"/>
                    </a:lnTo>
                    <a:lnTo>
                      <a:pt x="597" y="418"/>
                    </a:lnTo>
                    <a:lnTo>
                      <a:pt x="655" y="479"/>
                    </a:lnTo>
                    <a:lnTo>
                      <a:pt x="712" y="544"/>
                    </a:lnTo>
                    <a:lnTo>
                      <a:pt x="766" y="611"/>
                    </a:lnTo>
                    <a:lnTo>
                      <a:pt x="816" y="679"/>
                    </a:lnTo>
                    <a:lnTo>
                      <a:pt x="866" y="749"/>
                    </a:lnTo>
                    <a:lnTo>
                      <a:pt x="914" y="821"/>
                    </a:lnTo>
                    <a:lnTo>
                      <a:pt x="960" y="894"/>
                    </a:lnTo>
                    <a:lnTo>
                      <a:pt x="1003" y="968"/>
                    </a:lnTo>
                    <a:lnTo>
                      <a:pt x="1044" y="1043"/>
                    </a:lnTo>
                    <a:lnTo>
                      <a:pt x="1084" y="1117"/>
                    </a:lnTo>
                    <a:lnTo>
                      <a:pt x="1122" y="1193"/>
                    </a:lnTo>
                    <a:lnTo>
                      <a:pt x="1159" y="1267"/>
                    </a:lnTo>
                    <a:lnTo>
                      <a:pt x="1192" y="1342"/>
                    </a:lnTo>
                    <a:lnTo>
                      <a:pt x="1226" y="1416"/>
                    </a:lnTo>
                    <a:lnTo>
                      <a:pt x="1256" y="1489"/>
                    </a:lnTo>
                    <a:lnTo>
                      <a:pt x="1285" y="1561"/>
                    </a:lnTo>
                    <a:lnTo>
                      <a:pt x="1313" y="1631"/>
                    </a:lnTo>
                    <a:lnTo>
                      <a:pt x="1339" y="1699"/>
                    </a:lnTo>
                    <a:lnTo>
                      <a:pt x="1364" y="1766"/>
                    </a:lnTo>
                    <a:lnTo>
                      <a:pt x="1386" y="1830"/>
                    </a:lnTo>
                    <a:lnTo>
                      <a:pt x="1408" y="1892"/>
                    </a:lnTo>
                    <a:lnTo>
                      <a:pt x="1447" y="2007"/>
                    </a:lnTo>
                    <a:lnTo>
                      <a:pt x="1480" y="2109"/>
                    </a:lnTo>
                    <a:lnTo>
                      <a:pt x="1493" y="2148"/>
                    </a:lnTo>
                    <a:lnTo>
                      <a:pt x="1505" y="2185"/>
                    </a:lnTo>
                    <a:lnTo>
                      <a:pt x="1517" y="2218"/>
                    </a:lnTo>
                    <a:lnTo>
                      <a:pt x="1528" y="2248"/>
                    </a:lnTo>
                    <a:lnTo>
                      <a:pt x="1537" y="2274"/>
                    </a:lnTo>
                    <a:lnTo>
                      <a:pt x="1545" y="2295"/>
                    </a:lnTo>
                    <a:lnTo>
                      <a:pt x="1552" y="2309"/>
                    </a:lnTo>
                    <a:lnTo>
                      <a:pt x="1557" y="2317"/>
                    </a:lnTo>
                    <a:lnTo>
                      <a:pt x="1593" y="2329"/>
                    </a:lnTo>
                    <a:lnTo>
                      <a:pt x="1628" y="2343"/>
                    </a:lnTo>
                    <a:lnTo>
                      <a:pt x="1665" y="2361"/>
                    </a:lnTo>
                    <a:lnTo>
                      <a:pt x="1702" y="2379"/>
                    </a:lnTo>
                    <a:lnTo>
                      <a:pt x="1737" y="2400"/>
                    </a:lnTo>
                    <a:lnTo>
                      <a:pt x="1774" y="2421"/>
                    </a:lnTo>
                    <a:lnTo>
                      <a:pt x="1811" y="2444"/>
                    </a:lnTo>
                    <a:lnTo>
                      <a:pt x="1848" y="2469"/>
                    </a:lnTo>
                    <a:lnTo>
                      <a:pt x="1883" y="2494"/>
                    </a:lnTo>
                    <a:lnTo>
                      <a:pt x="1920" y="2519"/>
                    </a:lnTo>
                    <a:lnTo>
                      <a:pt x="1956" y="2546"/>
                    </a:lnTo>
                    <a:lnTo>
                      <a:pt x="1991" y="2573"/>
                    </a:lnTo>
                    <a:lnTo>
                      <a:pt x="2062" y="2627"/>
                    </a:lnTo>
                    <a:lnTo>
                      <a:pt x="2130" y="2682"/>
                    </a:lnTo>
                    <a:lnTo>
                      <a:pt x="2180" y="2721"/>
                    </a:lnTo>
                    <a:lnTo>
                      <a:pt x="2228" y="2759"/>
                    </a:lnTo>
                    <a:lnTo>
                      <a:pt x="2275" y="2795"/>
                    </a:lnTo>
                    <a:lnTo>
                      <a:pt x="2321" y="2829"/>
                    </a:lnTo>
                    <a:lnTo>
                      <a:pt x="2365" y="2861"/>
                    </a:lnTo>
                    <a:lnTo>
                      <a:pt x="2408" y="2888"/>
                    </a:lnTo>
                    <a:lnTo>
                      <a:pt x="2428" y="2900"/>
                    </a:lnTo>
                    <a:lnTo>
                      <a:pt x="2448" y="2911"/>
                    </a:lnTo>
                    <a:lnTo>
                      <a:pt x="2468" y="2922"/>
                    </a:lnTo>
                    <a:lnTo>
                      <a:pt x="2487" y="2931"/>
                    </a:lnTo>
                    <a:lnTo>
                      <a:pt x="2717" y="3034"/>
                    </a:lnTo>
                    <a:lnTo>
                      <a:pt x="2728" y="3015"/>
                    </a:lnTo>
                    <a:lnTo>
                      <a:pt x="2743" y="2984"/>
                    </a:lnTo>
                    <a:lnTo>
                      <a:pt x="2751" y="2965"/>
                    </a:lnTo>
                    <a:lnTo>
                      <a:pt x="2760" y="2944"/>
                    </a:lnTo>
                    <a:lnTo>
                      <a:pt x="2769" y="2920"/>
                    </a:lnTo>
                    <a:lnTo>
                      <a:pt x="2777" y="2894"/>
                    </a:lnTo>
                    <a:lnTo>
                      <a:pt x="2787" y="2863"/>
                    </a:lnTo>
                    <a:lnTo>
                      <a:pt x="2797" y="2830"/>
                    </a:lnTo>
                    <a:lnTo>
                      <a:pt x="2805" y="2795"/>
                    </a:lnTo>
                    <a:lnTo>
                      <a:pt x="2813" y="2757"/>
                    </a:lnTo>
                    <a:lnTo>
                      <a:pt x="2820" y="2718"/>
                    </a:lnTo>
                    <a:lnTo>
                      <a:pt x="2826" y="2676"/>
                    </a:lnTo>
                    <a:lnTo>
                      <a:pt x="2830" y="2632"/>
                    </a:lnTo>
                    <a:lnTo>
                      <a:pt x="2833" y="2586"/>
                    </a:lnTo>
                    <a:lnTo>
                      <a:pt x="2834" y="2538"/>
                    </a:lnTo>
                    <a:lnTo>
                      <a:pt x="2834" y="2488"/>
                    </a:lnTo>
                    <a:lnTo>
                      <a:pt x="2831" y="2436"/>
                    </a:lnTo>
                    <a:lnTo>
                      <a:pt x="2827" y="2382"/>
                    </a:lnTo>
                    <a:lnTo>
                      <a:pt x="2824" y="2355"/>
                    </a:lnTo>
                    <a:lnTo>
                      <a:pt x="2819" y="2327"/>
                    </a:lnTo>
                    <a:lnTo>
                      <a:pt x="2815" y="2298"/>
                    </a:lnTo>
                    <a:lnTo>
                      <a:pt x="2810" y="2269"/>
                    </a:lnTo>
                    <a:lnTo>
                      <a:pt x="2803" y="2240"/>
                    </a:lnTo>
                    <a:lnTo>
                      <a:pt x="2797" y="2211"/>
                    </a:lnTo>
                    <a:lnTo>
                      <a:pt x="2789" y="2180"/>
                    </a:lnTo>
                    <a:lnTo>
                      <a:pt x="2782" y="2149"/>
                    </a:lnTo>
                    <a:lnTo>
                      <a:pt x="2762" y="2085"/>
                    </a:lnTo>
                    <a:lnTo>
                      <a:pt x="2743" y="2020"/>
                    </a:lnTo>
                    <a:lnTo>
                      <a:pt x="2721" y="1954"/>
                    </a:lnTo>
                    <a:lnTo>
                      <a:pt x="2697" y="1888"/>
                    </a:lnTo>
                    <a:lnTo>
                      <a:pt x="2671" y="1821"/>
                    </a:lnTo>
                    <a:lnTo>
                      <a:pt x="2646" y="1753"/>
                    </a:lnTo>
                    <a:lnTo>
                      <a:pt x="2616" y="1686"/>
                    </a:lnTo>
                    <a:lnTo>
                      <a:pt x="2586" y="1618"/>
                    </a:lnTo>
                    <a:lnTo>
                      <a:pt x="2555" y="1550"/>
                    </a:lnTo>
                    <a:lnTo>
                      <a:pt x="2521" y="1482"/>
                    </a:lnTo>
                    <a:lnTo>
                      <a:pt x="2486" y="1414"/>
                    </a:lnTo>
                    <a:lnTo>
                      <a:pt x="2449" y="1347"/>
                    </a:lnTo>
                    <a:lnTo>
                      <a:pt x="2411" y="1280"/>
                    </a:lnTo>
                    <a:lnTo>
                      <a:pt x="2371" y="1214"/>
                    </a:lnTo>
                    <a:lnTo>
                      <a:pt x="2329" y="1150"/>
                    </a:lnTo>
                    <a:lnTo>
                      <a:pt x="2286" y="1085"/>
                    </a:lnTo>
                    <a:lnTo>
                      <a:pt x="2241" y="1021"/>
                    </a:lnTo>
                    <a:lnTo>
                      <a:pt x="2194" y="959"/>
                    </a:lnTo>
                    <a:lnTo>
                      <a:pt x="2146" y="897"/>
                    </a:lnTo>
                    <a:lnTo>
                      <a:pt x="2096" y="837"/>
                    </a:lnTo>
                    <a:lnTo>
                      <a:pt x="2044" y="778"/>
                    </a:lnTo>
                    <a:lnTo>
                      <a:pt x="1990" y="721"/>
                    </a:lnTo>
                    <a:lnTo>
                      <a:pt x="1936" y="666"/>
                    </a:lnTo>
                    <a:lnTo>
                      <a:pt x="1879" y="613"/>
                    </a:lnTo>
                    <a:lnTo>
                      <a:pt x="1821" y="561"/>
                    </a:lnTo>
                    <a:lnTo>
                      <a:pt x="1760" y="512"/>
                    </a:lnTo>
                    <a:lnTo>
                      <a:pt x="1699" y="464"/>
                    </a:lnTo>
                    <a:lnTo>
                      <a:pt x="1636" y="420"/>
                    </a:lnTo>
                    <a:lnTo>
                      <a:pt x="1570" y="377"/>
                    </a:lnTo>
                    <a:lnTo>
                      <a:pt x="1504" y="337"/>
                    </a:lnTo>
                    <a:lnTo>
                      <a:pt x="1435" y="300"/>
                    </a:lnTo>
                    <a:lnTo>
                      <a:pt x="1366" y="265"/>
                    </a:lnTo>
                    <a:lnTo>
                      <a:pt x="1287" y="230"/>
                    </a:lnTo>
                    <a:lnTo>
                      <a:pt x="1213" y="199"/>
                    </a:lnTo>
                    <a:lnTo>
                      <a:pt x="1140" y="170"/>
                    </a:lnTo>
                    <a:lnTo>
                      <a:pt x="1071" y="145"/>
                    </a:lnTo>
                    <a:lnTo>
                      <a:pt x="1005" y="123"/>
                    </a:lnTo>
                    <a:lnTo>
                      <a:pt x="942" y="104"/>
                    </a:lnTo>
                    <a:lnTo>
                      <a:pt x="881" y="86"/>
                    </a:lnTo>
                    <a:lnTo>
                      <a:pt x="823" y="72"/>
                    </a:lnTo>
                    <a:lnTo>
                      <a:pt x="769" y="60"/>
                    </a:lnTo>
                    <a:lnTo>
                      <a:pt x="717" y="51"/>
                    </a:lnTo>
                    <a:lnTo>
                      <a:pt x="667" y="42"/>
                    </a:lnTo>
                    <a:lnTo>
                      <a:pt x="621" y="37"/>
                    </a:lnTo>
                    <a:lnTo>
                      <a:pt x="578" y="32"/>
                    </a:lnTo>
                    <a:lnTo>
                      <a:pt x="538" y="29"/>
                    </a:lnTo>
                    <a:lnTo>
                      <a:pt x="500" y="27"/>
                    </a:lnTo>
                    <a:lnTo>
                      <a:pt x="465" y="27"/>
                    </a:lnTo>
                    <a:lnTo>
                      <a:pt x="430" y="27"/>
                    </a:lnTo>
                    <a:lnTo>
                      <a:pt x="397" y="29"/>
                    </a:lnTo>
                    <a:lnTo>
                      <a:pt x="366" y="31"/>
                    </a:lnTo>
                    <a:lnTo>
                      <a:pt x="338" y="34"/>
                    </a:lnTo>
                    <a:lnTo>
                      <a:pt x="311" y="38"/>
                    </a:lnTo>
                    <a:lnTo>
                      <a:pt x="287" y="42"/>
                    </a:lnTo>
                    <a:lnTo>
                      <a:pt x="266" y="46"/>
                    </a:lnTo>
                    <a:lnTo>
                      <a:pt x="247" y="52"/>
                    </a:lnTo>
                    <a:lnTo>
                      <a:pt x="215" y="60"/>
                    </a:lnTo>
                    <a:lnTo>
                      <a:pt x="192" y="69"/>
                    </a:lnTo>
                    <a:lnTo>
                      <a:pt x="179" y="74"/>
                    </a:lnTo>
                    <a:lnTo>
                      <a:pt x="174" y="77"/>
                    </a:lnTo>
                    <a:lnTo>
                      <a:pt x="171" y="78"/>
                    </a:lnTo>
                    <a:lnTo>
                      <a:pt x="167" y="78"/>
                    </a:lnTo>
                    <a:lnTo>
                      <a:pt x="164" y="78"/>
                    </a:lnTo>
                    <a:lnTo>
                      <a:pt x="155" y="78"/>
                    </a:lnTo>
                    <a:lnTo>
                      <a:pt x="141" y="77"/>
                    </a:lnTo>
                    <a:lnTo>
                      <a:pt x="12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30"/>
              <p:cNvSpPr>
                <a:spLocks/>
              </p:cNvSpPr>
              <p:nvPr userDrawn="1"/>
            </p:nvSpPr>
            <p:spPr bwMode="auto">
              <a:xfrm>
                <a:off x="760" y="3190"/>
                <a:ext cx="391" cy="723"/>
              </a:xfrm>
              <a:custGeom>
                <a:avLst/>
                <a:gdLst>
                  <a:gd name="T0" fmla="*/ 1154 w 1172"/>
                  <a:gd name="T1" fmla="*/ 2167 h 2168"/>
                  <a:gd name="T2" fmla="*/ 1146 w 1172"/>
                  <a:gd name="T3" fmla="*/ 2160 h 2168"/>
                  <a:gd name="T4" fmla="*/ 1145 w 1172"/>
                  <a:gd name="T5" fmla="*/ 2146 h 2168"/>
                  <a:gd name="T6" fmla="*/ 1144 w 1172"/>
                  <a:gd name="T7" fmla="*/ 2087 h 2168"/>
                  <a:gd name="T8" fmla="*/ 1140 w 1172"/>
                  <a:gd name="T9" fmla="*/ 1978 h 2168"/>
                  <a:gd name="T10" fmla="*/ 1130 w 1172"/>
                  <a:gd name="T11" fmla="*/ 1828 h 2168"/>
                  <a:gd name="T12" fmla="*/ 1113 w 1172"/>
                  <a:gd name="T13" fmla="*/ 1646 h 2168"/>
                  <a:gd name="T14" fmla="*/ 1093 w 1172"/>
                  <a:gd name="T15" fmla="*/ 1492 h 2168"/>
                  <a:gd name="T16" fmla="*/ 1078 w 1172"/>
                  <a:gd name="T17" fmla="*/ 1384 h 2168"/>
                  <a:gd name="T18" fmla="*/ 1059 w 1172"/>
                  <a:gd name="T19" fmla="*/ 1272 h 2168"/>
                  <a:gd name="T20" fmla="*/ 1036 w 1172"/>
                  <a:gd name="T21" fmla="*/ 1159 h 2168"/>
                  <a:gd name="T22" fmla="*/ 1011 w 1172"/>
                  <a:gd name="T23" fmla="*/ 1043 h 2168"/>
                  <a:gd name="T24" fmla="*/ 982 w 1172"/>
                  <a:gd name="T25" fmla="*/ 927 h 2168"/>
                  <a:gd name="T26" fmla="*/ 948 w 1172"/>
                  <a:gd name="T27" fmla="*/ 812 h 2168"/>
                  <a:gd name="T28" fmla="*/ 901 w 1172"/>
                  <a:gd name="T29" fmla="*/ 706 h 2168"/>
                  <a:gd name="T30" fmla="*/ 844 w 1172"/>
                  <a:gd name="T31" fmla="*/ 609 h 2168"/>
                  <a:gd name="T32" fmla="*/ 778 w 1172"/>
                  <a:gd name="T33" fmla="*/ 521 h 2168"/>
                  <a:gd name="T34" fmla="*/ 706 w 1172"/>
                  <a:gd name="T35" fmla="*/ 441 h 2168"/>
                  <a:gd name="T36" fmla="*/ 628 w 1172"/>
                  <a:gd name="T37" fmla="*/ 367 h 2168"/>
                  <a:gd name="T38" fmla="*/ 547 w 1172"/>
                  <a:gd name="T39" fmla="*/ 303 h 2168"/>
                  <a:gd name="T40" fmla="*/ 465 w 1172"/>
                  <a:gd name="T41" fmla="*/ 245 h 2168"/>
                  <a:gd name="T42" fmla="*/ 384 w 1172"/>
                  <a:gd name="T43" fmla="*/ 196 h 2168"/>
                  <a:gd name="T44" fmla="*/ 306 w 1172"/>
                  <a:gd name="T45" fmla="*/ 153 h 2168"/>
                  <a:gd name="T46" fmla="*/ 233 w 1172"/>
                  <a:gd name="T47" fmla="*/ 116 h 2168"/>
                  <a:gd name="T48" fmla="*/ 167 w 1172"/>
                  <a:gd name="T49" fmla="*/ 86 h 2168"/>
                  <a:gd name="T50" fmla="*/ 86 w 1172"/>
                  <a:gd name="T51" fmla="*/ 53 h 2168"/>
                  <a:gd name="T52" fmla="*/ 20 w 1172"/>
                  <a:gd name="T53" fmla="*/ 31 h 2168"/>
                  <a:gd name="T54" fmla="*/ 5 w 1172"/>
                  <a:gd name="T55" fmla="*/ 25 h 2168"/>
                  <a:gd name="T56" fmla="*/ 0 w 1172"/>
                  <a:gd name="T57" fmla="*/ 16 h 2168"/>
                  <a:gd name="T58" fmla="*/ 3 w 1172"/>
                  <a:gd name="T59" fmla="*/ 6 h 2168"/>
                  <a:gd name="T60" fmla="*/ 11 w 1172"/>
                  <a:gd name="T61" fmla="*/ 0 h 2168"/>
                  <a:gd name="T62" fmla="*/ 28 w 1172"/>
                  <a:gd name="T63" fmla="*/ 5 h 2168"/>
                  <a:gd name="T64" fmla="*/ 95 w 1172"/>
                  <a:gd name="T65" fmla="*/ 27 h 2168"/>
                  <a:gd name="T66" fmla="*/ 178 w 1172"/>
                  <a:gd name="T67" fmla="*/ 61 h 2168"/>
                  <a:gd name="T68" fmla="*/ 245 w 1172"/>
                  <a:gd name="T69" fmla="*/ 92 h 2168"/>
                  <a:gd name="T70" fmla="*/ 319 w 1172"/>
                  <a:gd name="T71" fmla="*/ 129 h 2168"/>
                  <a:gd name="T72" fmla="*/ 399 w 1172"/>
                  <a:gd name="T73" fmla="*/ 173 h 2168"/>
                  <a:gd name="T74" fmla="*/ 481 w 1172"/>
                  <a:gd name="T75" fmla="*/ 224 h 2168"/>
                  <a:gd name="T76" fmla="*/ 564 w 1172"/>
                  <a:gd name="T77" fmla="*/ 282 h 2168"/>
                  <a:gd name="T78" fmla="*/ 646 w 1172"/>
                  <a:gd name="T79" fmla="*/ 349 h 2168"/>
                  <a:gd name="T80" fmla="*/ 726 w 1172"/>
                  <a:gd name="T81" fmla="*/ 424 h 2168"/>
                  <a:gd name="T82" fmla="*/ 801 w 1172"/>
                  <a:gd name="T83" fmla="*/ 506 h 2168"/>
                  <a:gd name="T84" fmla="*/ 868 w 1172"/>
                  <a:gd name="T85" fmla="*/ 596 h 2168"/>
                  <a:gd name="T86" fmla="*/ 926 w 1172"/>
                  <a:gd name="T87" fmla="*/ 696 h 2168"/>
                  <a:gd name="T88" fmla="*/ 972 w 1172"/>
                  <a:gd name="T89" fmla="*/ 804 h 2168"/>
                  <a:gd name="T90" fmla="*/ 1008 w 1172"/>
                  <a:gd name="T91" fmla="*/ 919 h 2168"/>
                  <a:gd name="T92" fmla="*/ 1037 w 1172"/>
                  <a:gd name="T93" fmla="*/ 1037 h 2168"/>
                  <a:gd name="T94" fmla="*/ 1063 w 1172"/>
                  <a:gd name="T95" fmla="*/ 1152 h 2168"/>
                  <a:gd name="T96" fmla="*/ 1086 w 1172"/>
                  <a:gd name="T97" fmla="*/ 1268 h 2168"/>
                  <a:gd name="T98" fmla="*/ 1104 w 1172"/>
                  <a:gd name="T99" fmla="*/ 1380 h 2168"/>
                  <a:gd name="T100" fmla="*/ 1120 w 1172"/>
                  <a:gd name="T101" fmla="*/ 1489 h 2168"/>
                  <a:gd name="T102" fmla="*/ 1140 w 1172"/>
                  <a:gd name="T103" fmla="*/ 1642 h 2168"/>
                  <a:gd name="T104" fmla="*/ 1157 w 1172"/>
                  <a:gd name="T105" fmla="*/ 1826 h 2168"/>
                  <a:gd name="T106" fmla="*/ 1167 w 1172"/>
                  <a:gd name="T107" fmla="*/ 1977 h 2168"/>
                  <a:gd name="T108" fmla="*/ 1171 w 1172"/>
                  <a:gd name="T109" fmla="*/ 2086 h 2168"/>
                  <a:gd name="T110" fmla="*/ 1172 w 1172"/>
                  <a:gd name="T111" fmla="*/ 2146 h 2168"/>
                  <a:gd name="T112" fmla="*/ 1171 w 1172"/>
                  <a:gd name="T113" fmla="*/ 2160 h 2168"/>
                  <a:gd name="T114" fmla="*/ 1165 w 1172"/>
                  <a:gd name="T115" fmla="*/ 2167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2" h="2168">
                    <a:moveTo>
                      <a:pt x="1159" y="2168"/>
                    </a:moveTo>
                    <a:lnTo>
                      <a:pt x="1154" y="2167"/>
                    </a:lnTo>
                    <a:lnTo>
                      <a:pt x="1150" y="2165"/>
                    </a:lnTo>
                    <a:lnTo>
                      <a:pt x="1146" y="2160"/>
                    </a:lnTo>
                    <a:lnTo>
                      <a:pt x="1145" y="2155"/>
                    </a:lnTo>
                    <a:lnTo>
                      <a:pt x="1145" y="2146"/>
                    </a:lnTo>
                    <a:lnTo>
                      <a:pt x="1145" y="2123"/>
                    </a:lnTo>
                    <a:lnTo>
                      <a:pt x="1144" y="2087"/>
                    </a:lnTo>
                    <a:lnTo>
                      <a:pt x="1142" y="2037"/>
                    </a:lnTo>
                    <a:lnTo>
                      <a:pt x="1140" y="1978"/>
                    </a:lnTo>
                    <a:lnTo>
                      <a:pt x="1136" y="1908"/>
                    </a:lnTo>
                    <a:lnTo>
                      <a:pt x="1130" y="1828"/>
                    </a:lnTo>
                    <a:lnTo>
                      <a:pt x="1123" y="1741"/>
                    </a:lnTo>
                    <a:lnTo>
                      <a:pt x="1113" y="1646"/>
                    </a:lnTo>
                    <a:lnTo>
                      <a:pt x="1101" y="1545"/>
                    </a:lnTo>
                    <a:lnTo>
                      <a:pt x="1093" y="1492"/>
                    </a:lnTo>
                    <a:lnTo>
                      <a:pt x="1086" y="1438"/>
                    </a:lnTo>
                    <a:lnTo>
                      <a:pt x="1078" y="1384"/>
                    </a:lnTo>
                    <a:lnTo>
                      <a:pt x="1069" y="1329"/>
                    </a:lnTo>
                    <a:lnTo>
                      <a:pt x="1059" y="1272"/>
                    </a:lnTo>
                    <a:lnTo>
                      <a:pt x="1048" y="1216"/>
                    </a:lnTo>
                    <a:lnTo>
                      <a:pt x="1036" y="1159"/>
                    </a:lnTo>
                    <a:lnTo>
                      <a:pt x="1024" y="1100"/>
                    </a:lnTo>
                    <a:lnTo>
                      <a:pt x="1011" y="1043"/>
                    </a:lnTo>
                    <a:lnTo>
                      <a:pt x="997" y="985"/>
                    </a:lnTo>
                    <a:lnTo>
                      <a:pt x="982" y="927"/>
                    </a:lnTo>
                    <a:lnTo>
                      <a:pt x="966" y="868"/>
                    </a:lnTo>
                    <a:lnTo>
                      <a:pt x="948" y="812"/>
                    </a:lnTo>
                    <a:lnTo>
                      <a:pt x="926" y="758"/>
                    </a:lnTo>
                    <a:lnTo>
                      <a:pt x="901" y="706"/>
                    </a:lnTo>
                    <a:lnTo>
                      <a:pt x="874" y="657"/>
                    </a:lnTo>
                    <a:lnTo>
                      <a:pt x="844" y="609"/>
                    </a:lnTo>
                    <a:lnTo>
                      <a:pt x="813" y="564"/>
                    </a:lnTo>
                    <a:lnTo>
                      <a:pt x="778" y="521"/>
                    </a:lnTo>
                    <a:lnTo>
                      <a:pt x="742" y="480"/>
                    </a:lnTo>
                    <a:lnTo>
                      <a:pt x="706" y="441"/>
                    </a:lnTo>
                    <a:lnTo>
                      <a:pt x="667" y="403"/>
                    </a:lnTo>
                    <a:lnTo>
                      <a:pt x="628" y="367"/>
                    </a:lnTo>
                    <a:lnTo>
                      <a:pt x="588" y="334"/>
                    </a:lnTo>
                    <a:lnTo>
                      <a:pt x="547" y="303"/>
                    </a:lnTo>
                    <a:lnTo>
                      <a:pt x="506" y="274"/>
                    </a:lnTo>
                    <a:lnTo>
                      <a:pt x="465" y="245"/>
                    </a:lnTo>
                    <a:lnTo>
                      <a:pt x="424" y="220"/>
                    </a:lnTo>
                    <a:lnTo>
                      <a:pt x="384" y="196"/>
                    </a:lnTo>
                    <a:lnTo>
                      <a:pt x="345" y="173"/>
                    </a:lnTo>
                    <a:lnTo>
                      <a:pt x="306" y="153"/>
                    </a:lnTo>
                    <a:lnTo>
                      <a:pt x="270" y="133"/>
                    </a:lnTo>
                    <a:lnTo>
                      <a:pt x="233" y="116"/>
                    </a:lnTo>
                    <a:lnTo>
                      <a:pt x="199" y="100"/>
                    </a:lnTo>
                    <a:lnTo>
                      <a:pt x="167" y="86"/>
                    </a:lnTo>
                    <a:lnTo>
                      <a:pt x="138" y="74"/>
                    </a:lnTo>
                    <a:lnTo>
                      <a:pt x="86" y="53"/>
                    </a:lnTo>
                    <a:lnTo>
                      <a:pt x="46" y="39"/>
                    </a:lnTo>
                    <a:lnTo>
                      <a:pt x="20" y="31"/>
                    </a:lnTo>
                    <a:lnTo>
                      <a:pt x="9" y="27"/>
                    </a:lnTo>
                    <a:lnTo>
                      <a:pt x="5" y="25"/>
                    </a:lnTo>
                    <a:lnTo>
                      <a:pt x="2" y="21"/>
                    </a:lnTo>
                    <a:lnTo>
                      <a:pt x="0" y="16"/>
                    </a:lnTo>
                    <a:lnTo>
                      <a:pt x="1" y="10"/>
                    </a:lnTo>
                    <a:lnTo>
                      <a:pt x="3" y="6"/>
                    </a:lnTo>
                    <a:lnTo>
                      <a:pt x="7" y="3"/>
                    </a:lnTo>
                    <a:lnTo>
                      <a:pt x="11" y="0"/>
                    </a:lnTo>
                    <a:lnTo>
                      <a:pt x="17" y="2"/>
                    </a:lnTo>
                    <a:lnTo>
                      <a:pt x="28" y="5"/>
                    </a:lnTo>
                    <a:lnTo>
                      <a:pt x="54" y="13"/>
                    </a:lnTo>
                    <a:lnTo>
                      <a:pt x="95" y="27"/>
                    </a:lnTo>
                    <a:lnTo>
                      <a:pt x="147" y="49"/>
                    </a:lnTo>
                    <a:lnTo>
                      <a:pt x="178" y="61"/>
                    </a:lnTo>
                    <a:lnTo>
                      <a:pt x="210" y="76"/>
                    </a:lnTo>
                    <a:lnTo>
                      <a:pt x="245" y="92"/>
                    </a:lnTo>
                    <a:lnTo>
                      <a:pt x="281" y="109"/>
                    </a:lnTo>
                    <a:lnTo>
                      <a:pt x="319" y="129"/>
                    </a:lnTo>
                    <a:lnTo>
                      <a:pt x="358" y="150"/>
                    </a:lnTo>
                    <a:lnTo>
                      <a:pt x="399" y="173"/>
                    </a:lnTo>
                    <a:lnTo>
                      <a:pt x="439" y="198"/>
                    </a:lnTo>
                    <a:lnTo>
                      <a:pt x="481" y="224"/>
                    </a:lnTo>
                    <a:lnTo>
                      <a:pt x="523" y="252"/>
                    </a:lnTo>
                    <a:lnTo>
                      <a:pt x="564" y="282"/>
                    </a:lnTo>
                    <a:lnTo>
                      <a:pt x="606" y="315"/>
                    </a:lnTo>
                    <a:lnTo>
                      <a:pt x="646" y="349"/>
                    </a:lnTo>
                    <a:lnTo>
                      <a:pt x="687" y="385"/>
                    </a:lnTo>
                    <a:lnTo>
                      <a:pt x="726" y="424"/>
                    </a:lnTo>
                    <a:lnTo>
                      <a:pt x="764" y="464"/>
                    </a:lnTo>
                    <a:lnTo>
                      <a:pt x="801" y="506"/>
                    </a:lnTo>
                    <a:lnTo>
                      <a:pt x="835" y="550"/>
                    </a:lnTo>
                    <a:lnTo>
                      <a:pt x="868" y="596"/>
                    </a:lnTo>
                    <a:lnTo>
                      <a:pt x="898" y="645"/>
                    </a:lnTo>
                    <a:lnTo>
                      <a:pt x="926" y="696"/>
                    </a:lnTo>
                    <a:lnTo>
                      <a:pt x="951" y="749"/>
                    </a:lnTo>
                    <a:lnTo>
                      <a:pt x="972" y="804"/>
                    </a:lnTo>
                    <a:lnTo>
                      <a:pt x="992" y="861"/>
                    </a:lnTo>
                    <a:lnTo>
                      <a:pt x="1008" y="919"/>
                    </a:lnTo>
                    <a:lnTo>
                      <a:pt x="1023" y="977"/>
                    </a:lnTo>
                    <a:lnTo>
                      <a:pt x="1037" y="1037"/>
                    </a:lnTo>
                    <a:lnTo>
                      <a:pt x="1050" y="1095"/>
                    </a:lnTo>
                    <a:lnTo>
                      <a:pt x="1063" y="1152"/>
                    </a:lnTo>
                    <a:lnTo>
                      <a:pt x="1075" y="1211"/>
                    </a:lnTo>
                    <a:lnTo>
                      <a:pt x="1086" y="1268"/>
                    </a:lnTo>
                    <a:lnTo>
                      <a:pt x="1096" y="1324"/>
                    </a:lnTo>
                    <a:lnTo>
                      <a:pt x="1104" y="1380"/>
                    </a:lnTo>
                    <a:lnTo>
                      <a:pt x="1113" y="1435"/>
                    </a:lnTo>
                    <a:lnTo>
                      <a:pt x="1120" y="1489"/>
                    </a:lnTo>
                    <a:lnTo>
                      <a:pt x="1128" y="1541"/>
                    </a:lnTo>
                    <a:lnTo>
                      <a:pt x="1140" y="1642"/>
                    </a:lnTo>
                    <a:lnTo>
                      <a:pt x="1150" y="1738"/>
                    </a:lnTo>
                    <a:lnTo>
                      <a:pt x="1157" y="1826"/>
                    </a:lnTo>
                    <a:lnTo>
                      <a:pt x="1163" y="1906"/>
                    </a:lnTo>
                    <a:lnTo>
                      <a:pt x="1167" y="1977"/>
                    </a:lnTo>
                    <a:lnTo>
                      <a:pt x="1169" y="2037"/>
                    </a:lnTo>
                    <a:lnTo>
                      <a:pt x="1171" y="2086"/>
                    </a:lnTo>
                    <a:lnTo>
                      <a:pt x="1172" y="2123"/>
                    </a:lnTo>
                    <a:lnTo>
                      <a:pt x="1172" y="2146"/>
                    </a:lnTo>
                    <a:lnTo>
                      <a:pt x="1172" y="2155"/>
                    </a:lnTo>
                    <a:lnTo>
                      <a:pt x="1171" y="2160"/>
                    </a:lnTo>
                    <a:lnTo>
                      <a:pt x="1169" y="2165"/>
                    </a:lnTo>
                    <a:lnTo>
                      <a:pt x="1165" y="2167"/>
                    </a:lnTo>
                    <a:lnTo>
                      <a:pt x="1159" y="2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31"/>
              <p:cNvSpPr>
                <a:spLocks/>
              </p:cNvSpPr>
              <p:nvPr userDrawn="1"/>
            </p:nvSpPr>
            <p:spPr bwMode="auto">
              <a:xfrm>
                <a:off x="892" y="3028"/>
                <a:ext cx="339" cy="779"/>
              </a:xfrm>
              <a:custGeom>
                <a:avLst/>
                <a:gdLst>
                  <a:gd name="T0" fmla="*/ 935 w 1018"/>
                  <a:gd name="T1" fmla="*/ 2336 h 2338"/>
                  <a:gd name="T2" fmla="*/ 896 w 1018"/>
                  <a:gd name="T3" fmla="*/ 2286 h 2338"/>
                  <a:gd name="T4" fmla="*/ 831 w 1018"/>
                  <a:gd name="T5" fmla="*/ 2179 h 2338"/>
                  <a:gd name="T6" fmla="*/ 776 w 1018"/>
                  <a:gd name="T7" fmla="*/ 2055 h 2338"/>
                  <a:gd name="T8" fmla="*/ 733 w 1018"/>
                  <a:gd name="T9" fmla="*/ 1899 h 2338"/>
                  <a:gd name="T10" fmla="*/ 713 w 1018"/>
                  <a:gd name="T11" fmla="*/ 1714 h 2338"/>
                  <a:gd name="T12" fmla="*/ 731 w 1018"/>
                  <a:gd name="T13" fmla="*/ 1502 h 2338"/>
                  <a:gd name="T14" fmla="*/ 800 w 1018"/>
                  <a:gd name="T15" fmla="*/ 1267 h 2338"/>
                  <a:gd name="T16" fmla="*/ 884 w 1018"/>
                  <a:gd name="T17" fmla="*/ 1069 h 2338"/>
                  <a:gd name="T18" fmla="*/ 941 w 1018"/>
                  <a:gd name="T19" fmla="*/ 900 h 2338"/>
                  <a:gd name="T20" fmla="*/ 977 w 1018"/>
                  <a:gd name="T21" fmla="*/ 744 h 2338"/>
                  <a:gd name="T22" fmla="*/ 991 w 1018"/>
                  <a:gd name="T23" fmla="*/ 602 h 2338"/>
                  <a:gd name="T24" fmla="*/ 982 w 1018"/>
                  <a:gd name="T25" fmla="*/ 475 h 2338"/>
                  <a:gd name="T26" fmla="*/ 952 w 1018"/>
                  <a:gd name="T27" fmla="*/ 361 h 2338"/>
                  <a:gd name="T28" fmla="*/ 901 w 1018"/>
                  <a:gd name="T29" fmla="*/ 264 h 2338"/>
                  <a:gd name="T30" fmla="*/ 828 w 1018"/>
                  <a:gd name="T31" fmla="*/ 182 h 2338"/>
                  <a:gd name="T32" fmla="*/ 729 w 1018"/>
                  <a:gd name="T33" fmla="*/ 114 h 2338"/>
                  <a:gd name="T34" fmla="*/ 613 w 1018"/>
                  <a:gd name="T35" fmla="*/ 68 h 2338"/>
                  <a:gd name="T36" fmla="*/ 492 w 1018"/>
                  <a:gd name="T37" fmla="*/ 40 h 2338"/>
                  <a:gd name="T38" fmla="*/ 372 w 1018"/>
                  <a:gd name="T39" fmla="*/ 28 h 2338"/>
                  <a:gd name="T40" fmla="*/ 258 w 1018"/>
                  <a:gd name="T41" fmla="*/ 29 h 2338"/>
                  <a:gd name="T42" fmla="*/ 158 w 1018"/>
                  <a:gd name="T43" fmla="*/ 40 h 2338"/>
                  <a:gd name="T44" fmla="*/ 80 w 1018"/>
                  <a:gd name="T45" fmla="*/ 57 h 2338"/>
                  <a:gd name="T46" fmla="*/ 29 w 1018"/>
                  <a:gd name="T47" fmla="*/ 77 h 2338"/>
                  <a:gd name="T48" fmla="*/ 6 w 1018"/>
                  <a:gd name="T49" fmla="*/ 84 h 2338"/>
                  <a:gd name="T50" fmla="*/ 1 w 1018"/>
                  <a:gd name="T51" fmla="*/ 65 h 2338"/>
                  <a:gd name="T52" fmla="*/ 37 w 1018"/>
                  <a:gd name="T53" fmla="*/ 44 h 2338"/>
                  <a:gd name="T54" fmla="*/ 108 w 1018"/>
                  <a:gd name="T55" fmla="*/ 22 h 2338"/>
                  <a:gd name="T56" fmla="*/ 202 w 1018"/>
                  <a:gd name="T57" fmla="*/ 6 h 2338"/>
                  <a:gd name="T58" fmla="*/ 314 w 1018"/>
                  <a:gd name="T59" fmla="*/ 0 h 2338"/>
                  <a:gd name="T60" fmla="*/ 436 w 1018"/>
                  <a:gd name="T61" fmla="*/ 5 h 2338"/>
                  <a:gd name="T62" fmla="*/ 561 w 1018"/>
                  <a:gd name="T63" fmla="*/ 26 h 2338"/>
                  <a:gd name="T64" fmla="*/ 684 w 1018"/>
                  <a:gd name="T65" fmla="*/ 64 h 2338"/>
                  <a:gd name="T66" fmla="*/ 797 w 1018"/>
                  <a:gd name="T67" fmla="*/ 124 h 2338"/>
                  <a:gd name="T68" fmla="*/ 870 w 1018"/>
                  <a:gd name="T69" fmla="*/ 185 h 2338"/>
                  <a:gd name="T70" fmla="*/ 928 w 1018"/>
                  <a:gd name="T71" fmla="*/ 257 h 2338"/>
                  <a:gd name="T72" fmla="*/ 976 w 1018"/>
                  <a:gd name="T73" fmla="*/ 347 h 2338"/>
                  <a:gd name="T74" fmla="*/ 1007 w 1018"/>
                  <a:gd name="T75" fmla="*/ 458 h 2338"/>
                  <a:gd name="T76" fmla="*/ 1018 w 1018"/>
                  <a:gd name="T77" fmla="*/ 593 h 2338"/>
                  <a:gd name="T78" fmla="*/ 1003 w 1018"/>
                  <a:gd name="T79" fmla="*/ 753 h 2338"/>
                  <a:gd name="T80" fmla="*/ 957 w 1018"/>
                  <a:gd name="T81" fmla="*/ 940 h 2338"/>
                  <a:gd name="T82" fmla="*/ 878 w 1018"/>
                  <a:gd name="T83" fmla="*/ 1157 h 2338"/>
                  <a:gd name="T84" fmla="*/ 785 w 1018"/>
                  <a:gd name="T85" fmla="*/ 1394 h 2338"/>
                  <a:gd name="T86" fmla="*/ 744 w 1018"/>
                  <a:gd name="T87" fmla="*/ 1612 h 2338"/>
                  <a:gd name="T88" fmla="*/ 746 w 1018"/>
                  <a:gd name="T89" fmla="*/ 1806 h 2338"/>
                  <a:gd name="T90" fmla="*/ 777 w 1018"/>
                  <a:gd name="T91" fmla="*/ 1972 h 2338"/>
                  <a:gd name="T92" fmla="*/ 827 w 1018"/>
                  <a:gd name="T93" fmla="*/ 2109 h 2338"/>
                  <a:gd name="T94" fmla="*/ 881 w 1018"/>
                  <a:gd name="T95" fmla="*/ 2214 h 2338"/>
                  <a:gd name="T96" fmla="*/ 948 w 1018"/>
                  <a:gd name="T97" fmla="*/ 2310 h 2338"/>
                  <a:gd name="T98" fmla="*/ 955 w 1018"/>
                  <a:gd name="T99" fmla="*/ 2330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8" h="2338">
                    <a:moveTo>
                      <a:pt x="943" y="2338"/>
                    </a:moveTo>
                    <a:lnTo>
                      <a:pt x="940" y="2338"/>
                    </a:lnTo>
                    <a:lnTo>
                      <a:pt x="938" y="2337"/>
                    </a:lnTo>
                    <a:lnTo>
                      <a:pt x="935" y="2336"/>
                    </a:lnTo>
                    <a:lnTo>
                      <a:pt x="933" y="2333"/>
                    </a:lnTo>
                    <a:lnTo>
                      <a:pt x="928" y="2328"/>
                    </a:lnTo>
                    <a:lnTo>
                      <a:pt x="914" y="2312"/>
                    </a:lnTo>
                    <a:lnTo>
                      <a:pt x="896" y="2286"/>
                    </a:lnTo>
                    <a:lnTo>
                      <a:pt x="872" y="2250"/>
                    </a:lnTo>
                    <a:lnTo>
                      <a:pt x="858" y="2229"/>
                    </a:lnTo>
                    <a:lnTo>
                      <a:pt x="845" y="2205"/>
                    </a:lnTo>
                    <a:lnTo>
                      <a:pt x="831" y="2179"/>
                    </a:lnTo>
                    <a:lnTo>
                      <a:pt x="817" y="2151"/>
                    </a:lnTo>
                    <a:lnTo>
                      <a:pt x="803" y="2122"/>
                    </a:lnTo>
                    <a:lnTo>
                      <a:pt x="789" y="2089"/>
                    </a:lnTo>
                    <a:lnTo>
                      <a:pt x="776" y="2055"/>
                    </a:lnTo>
                    <a:lnTo>
                      <a:pt x="763" y="2019"/>
                    </a:lnTo>
                    <a:lnTo>
                      <a:pt x="752" y="1982"/>
                    </a:lnTo>
                    <a:lnTo>
                      <a:pt x="742" y="1942"/>
                    </a:lnTo>
                    <a:lnTo>
                      <a:pt x="733" y="1899"/>
                    </a:lnTo>
                    <a:lnTo>
                      <a:pt x="724" y="1855"/>
                    </a:lnTo>
                    <a:lnTo>
                      <a:pt x="719" y="1810"/>
                    </a:lnTo>
                    <a:lnTo>
                      <a:pt x="715" y="1763"/>
                    </a:lnTo>
                    <a:lnTo>
                      <a:pt x="713" y="1714"/>
                    </a:lnTo>
                    <a:lnTo>
                      <a:pt x="713" y="1663"/>
                    </a:lnTo>
                    <a:lnTo>
                      <a:pt x="717" y="1611"/>
                    </a:lnTo>
                    <a:lnTo>
                      <a:pt x="722" y="1557"/>
                    </a:lnTo>
                    <a:lnTo>
                      <a:pt x="731" y="1502"/>
                    </a:lnTo>
                    <a:lnTo>
                      <a:pt x="743" y="1446"/>
                    </a:lnTo>
                    <a:lnTo>
                      <a:pt x="759" y="1388"/>
                    </a:lnTo>
                    <a:lnTo>
                      <a:pt x="777" y="1328"/>
                    </a:lnTo>
                    <a:lnTo>
                      <a:pt x="800" y="1267"/>
                    </a:lnTo>
                    <a:lnTo>
                      <a:pt x="827" y="1205"/>
                    </a:lnTo>
                    <a:lnTo>
                      <a:pt x="847" y="1159"/>
                    </a:lnTo>
                    <a:lnTo>
                      <a:pt x="866" y="1114"/>
                    </a:lnTo>
                    <a:lnTo>
                      <a:pt x="884" y="1069"/>
                    </a:lnTo>
                    <a:lnTo>
                      <a:pt x="900" y="1026"/>
                    </a:lnTo>
                    <a:lnTo>
                      <a:pt x="915" y="983"/>
                    </a:lnTo>
                    <a:lnTo>
                      <a:pt x="929" y="941"/>
                    </a:lnTo>
                    <a:lnTo>
                      <a:pt x="941" y="900"/>
                    </a:lnTo>
                    <a:lnTo>
                      <a:pt x="952" y="860"/>
                    </a:lnTo>
                    <a:lnTo>
                      <a:pt x="962" y="820"/>
                    </a:lnTo>
                    <a:lnTo>
                      <a:pt x="970" y="781"/>
                    </a:lnTo>
                    <a:lnTo>
                      <a:pt x="977" y="744"/>
                    </a:lnTo>
                    <a:lnTo>
                      <a:pt x="982" y="707"/>
                    </a:lnTo>
                    <a:lnTo>
                      <a:pt x="987" y="671"/>
                    </a:lnTo>
                    <a:lnTo>
                      <a:pt x="989" y="636"/>
                    </a:lnTo>
                    <a:lnTo>
                      <a:pt x="991" y="602"/>
                    </a:lnTo>
                    <a:lnTo>
                      <a:pt x="991" y="568"/>
                    </a:lnTo>
                    <a:lnTo>
                      <a:pt x="989" y="536"/>
                    </a:lnTo>
                    <a:lnTo>
                      <a:pt x="987" y="505"/>
                    </a:lnTo>
                    <a:lnTo>
                      <a:pt x="982" y="475"/>
                    </a:lnTo>
                    <a:lnTo>
                      <a:pt x="977" y="444"/>
                    </a:lnTo>
                    <a:lnTo>
                      <a:pt x="970" y="416"/>
                    </a:lnTo>
                    <a:lnTo>
                      <a:pt x="962" y="388"/>
                    </a:lnTo>
                    <a:lnTo>
                      <a:pt x="952" y="361"/>
                    </a:lnTo>
                    <a:lnTo>
                      <a:pt x="941" y="335"/>
                    </a:lnTo>
                    <a:lnTo>
                      <a:pt x="929" y="310"/>
                    </a:lnTo>
                    <a:lnTo>
                      <a:pt x="915" y="287"/>
                    </a:lnTo>
                    <a:lnTo>
                      <a:pt x="901" y="264"/>
                    </a:lnTo>
                    <a:lnTo>
                      <a:pt x="884" y="242"/>
                    </a:lnTo>
                    <a:lnTo>
                      <a:pt x="867" y="221"/>
                    </a:lnTo>
                    <a:lnTo>
                      <a:pt x="847" y="201"/>
                    </a:lnTo>
                    <a:lnTo>
                      <a:pt x="828" y="182"/>
                    </a:lnTo>
                    <a:lnTo>
                      <a:pt x="805" y="165"/>
                    </a:lnTo>
                    <a:lnTo>
                      <a:pt x="780" y="146"/>
                    </a:lnTo>
                    <a:lnTo>
                      <a:pt x="754" y="130"/>
                    </a:lnTo>
                    <a:lnTo>
                      <a:pt x="729" y="114"/>
                    </a:lnTo>
                    <a:lnTo>
                      <a:pt x="700" y="101"/>
                    </a:lnTo>
                    <a:lnTo>
                      <a:pt x="672" y="88"/>
                    </a:lnTo>
                    <a:lnTo>
                      <a:pt x="643" y="77"/>
                    </a:lnTo>
                    <a:lnTo>
                      <a:pt x="613" y="68"/>
                    </a:lnTo>
                    <a:lnTo>
                      <a:pt x="584" y="59"/>
                    </a:lnTo>
                    <a:lnTo>
                      <a:pt x="554" y="51"/>
                    </a:lnTo>
                    <a:lnTo>
                      <a:pt x="523" y="45"/>
                    </a:lnTo>
                    <a:lnTo>
                      <a:pt x="492" y="40"/>
                    </a:lnTo>
                    <a:lnTo>
                      <a:pt x="462" y="35"/>
                    </a:lnTo>
                    <a:lnTo>
                      <a:pt x="432" y="32"/>
                    </a:lnTo>
                    <a:lnTo>
                      <a:pt x="401" y="30"/>
                    </a:lnTo>
                    <a:lnTo>
                      <a:pt x="372" y="28"/>
                    </a:lnTo>
                    <a:lnTo>
                      <a:pt x="342" y="27"/>
                    </a:lnTo>
                    <a:lnTo>
                      <a:pt x="314" y="27"/>
                    </a:lnTo>
                    <a:lnTo>
                      <a:pt x="286" y="28"/>
                    </a:lnTo>
                    <a:lnTo>
                      <a:pt x="258" y="29"/>
                    </a:lnTo>
                    <a:lnTo>
                      <a:pt x="232" y="31"/>
                    </a:lnTo>
                    <a:lnTo>
                      <a:pt x="206" y="33"/>
                    </a:lnTo>
                    <a:lnTo>
                      <a:pt x="182" y="36"/>
                    </a:lnTo>
                    <a:lnTo>
                      <a:pt x="158" y="40"/>
                    </a:lnTo>
                    <a:lnTo>
                      <a:pt x="137" y="44"/>
                    </a:lnTo>
                    <a:lnTo>
                      <a:pt x="116" y="48"/>
                    </a:lnTo>
                    <a:lnTo>
                      <a:pt x="97" y="52"/>
                    </a:lnTo>
                    <a:lnTo>
                      <a:pt x="80" y="57"/>
                    </a:lnTo>
                    <a:lnTo>
                      <a:pt x="64" y="62"/>
                    </a:lnTo>
                    <a:lnTo>
                      <a:pt x="50" y="67"/>
                    </a:lnTo>
                    <a:lnTo>
                      <a:pt x="39" y="72"/>
                    </a:lnTo>
                    <a:lnTo>
                      <a:pt x="29" y="77"/>
                    </a:lnTo>
                    <a:lnTo>
                      <a:pt x="21" y="83"/>
                    </a:lnTo>
                    <a:lnTo>
                      <a:pt x="17" y="85"/>
                    </a:lnTo>
                    <a:lnTo>
                      <a:pt x="12" y="86"/>
                    </a:lnTo>
                    <a:lnTo>
                      <a:pt x="6" y="84"/>
                    </a:lnTo>
                    <a:lnTo>
                      <a:pt x="2" y="81"/>
                    </a:lnTo>
                    <a:lnTo>
                      <a:pt x="0" y="76"/>
                    </a:lnTo>
                    <a:lnTo>
                      <a:pt x="0" y="71"/>
                    </a:lnTo>
                    <a:lnTo>
                      <a:pt x="1" y="65"/>
                    </a:lnTo>
                    <a:lnTo>
                      <a:pt x="4" y="61"/>
                    </a:lnTo>
                    <a:lnTo>
                      <a:pt x="13" y="56"/>
                    </a:lnTo>
                    <a:lnTo>
                      <a:pt x="25" y="49"/>
                    </a:lnTo>
                    <a:lnTo>
                      <a:pt x="37" y="44"/>
                    </a:lnTo>
                    <a:lnTo>
                      <a:pt x="52" y="37"/>
                    </a:lnTo>
                    <a:lnTo>
                      <a:pt x="69" y="32"/>
                    </a:lnTo>
                    <a:lnTo>
                      <a:pt x="87" y="27"/>
                    </a:lnTo>
                    <a:lnTo>
                      <a:pt x="108" y="22"/>
                    </a:lnTo>
                    <a:lnTo>
                      <a:pt x="129" y="17"/>
                    </a:lnTo>
                    <a:lnTo>
                      <a:pt x="152" y="13"/>
                    </a:lnTo>
                    <a:lnTo>
                      <a:pt x="176" y="9"/>
                    </a:lnTo>
                    <a:lnTo>
                      <a:pt x="202" y="6"/>
                    </a:lnTo>
                    <a:lnTo>
                      <a:pt x="229" y="4"/>
                    </a:lnTo>
                    <a:lnTo>
                      <a:pt x="256" y="2"/>
                    </a:lnTo>
                    <a:lnTo>
                      <a:pt x="285" y="0"/>
                    </a:lnTo>
                    <a:lnTo>
                      <a:pt x="314" y="0"/>
                    </a:lnTo>
                    <a:lnTo>
                      <a:pt x="343" y="0"/>
                    </a:lnTo>
                    <a:lnTo>
                      <a:pt x="373" y="1"/>
                    </a:lnTo>
                    <a:lnTo>
                      <a:pt x="405" y="2"/>
                    </a:lnTo>
                    <a:lnTo>
                      <a:pt x="436" y="5"/>
                    </a:lnTo>
                    <a:lnTo>
                      <a:pt x="467" y="8"/>
                    </a:lnTo>
                    <a:lnTo>
                      <a:pt x="499" y="13"/>
                    </a:lnTo>
                    <a:lnTo>
                      <a:pt x="530" y="18"/>
                    </a:lnTo>
                    <a:lnTo>
                      <a:pt x="561" y="26"/>
                    </a:lnTo>
                    <a:lnTo>
                      <a:pt x="593" y="33"/>
                    </a:lnTo>
                    <a:lnTo>
                      <a:pt x="624" y="42"/>
                    </a:lnTo>
                    <a:lnTo>
                      <a:pt x="654" y="52"/>
                    </a:lnTo>
                    <a:lnTo>
                      <a:pt x="684" y="64"/>
                    </a:lnTo>
                    <a:lnTo>
                      <a:pt x="713" y="77"/>
                    </a:lnTo>
                    <a:lnTo>
                      <a:pt x="742" y="91"/>
                    </a:lnTo>
                    <a:lnTo>
                      <a:pt x="770" y="108"/>
                    </a:lnTo>
                    <a:lnTo>
                      <a:pt x="797" y="124"/>
                    </a:lnTo>
                    <a:lnTo>
                      <a:pt x="823" y="143"/>
                    </a:lnTo>
                    <a:lnTo>
                      <a:pt x="839" y="156"/>
                    </a:lnTo>
                    <a:lnTo>
                      <a:pt x="855" y="170"/>
                    </a:lnTo>
                    <a:lnTo>
                      <a:pt x="870" y="185"/>
                    </a:lnTo>
                    <a:lnTo>
                      <a:pt x="885" y="201"/>
                    </a:lnTo>
                    <a:lnTo>
                      <a:pt x="900" y="219"/>
                    </a:lnTo>
                    <a:lnTo>
                      <a:pt x="915" y="237"/>
                    </a:lnTo>
                    <a:lnTo>
                      <a:pt x="928" y="257"/>
                    </a:lnTo>
                    <a:lnTo>
                      <a:pt x="941" y="278"/>
                    </a:lnTo>
                    <a:lnTo>
                      <a:pt x="954" y="300"/>
                    </a:lnTo>
                    <a:lnTo>
                      <a:pt x="965" y="322"/>
                    </a:lnTo>
                    <a:lnTo>
                      <a:pt x="976" y="347"/>
                    </a:lnTo>
                    <a:lnTo>
                      <a:pt x="986" y="373"/>
                    </a:lnTo>
                    <a:lnTo>
                      <a:pt x="994" y="400"/>
                    </a:lnTo>
                    <a:lnTo>
                      <a:pt x="1001" y="428"/>
                    </a:lnTo>
                    <a:lnTo>
                      <a:pt x="1007" y="458"/>
                    </a:lnTo>
                    <a:lnTo>
                      <a:pt x="1011" y="490"/>
                    </a:lnTo>
                    <a:lnTo>
                      <a:pt x="1016" y="523"/>
                    </a:lnTo>
                    <a:lnTo>
                      <a:pt x="1017" y="557"/>
                    </a:lnTo>
                    <a:lnTo>
                      <a:pt x="1018" y="593"/>
                    </a:lnTo>
                    <a:lnTo>
                      <a:pt x="1017" y="630"/>
                    </a:lnTo>
                    <a:lnTo>
                      <a:pt x="1014" y="670"/>
                    </a:lnTo>
                    <a:lnTo>
                      <a:pt x="1009" y="710"/>
                    </a:lnTo>
                    <a:lnTo>
                      <a:pt x="1003" y="753"/>
                    </a:lnTo>
                    <a:lnTo>
                      <a:pt x="994" y="797"/>
                    </a:lnTo>
                    <a:lnTo>
                      <a:pt x="984" y="843"/>
                    </a:lnTo>
                    <a:lnTo>
                      <a:pt x="972" y="890"/>
                    </a:lnTo>
                    <a:lnTo>
                      <a:pt x="957" y="940"/>
                    </a:lnTo>
                    <a:lnTo>
                      <a:pt x="941" y="992"/>
                    </a:lnTo>
                    <a:lnTo>
                      <a:pt x="922" y="1045"/>
                    </a:lnTo>
                    <a:lnTo>
                      <a:pt x="901" y="1100"/>
                    </a:lnTo>
                    <a:lnTo>
                      <a:pt x="878" y="1157"/>
                    </a:lnTo>
                    <a:lnTo>
                      <a:pt x="851" y="1216"/>
                    </a:lnTo>
                    <a:lnTo>
                      <a:pt x="825" y="1277"/>
                    </a:lnTo>
                    <a:lnTo>
                      <a:pt x="803" y="1336"/>
                    </a:lnTo>
                    <a:lnTo>
                      <a:pt x="785" y="1394"/>
                    </a:lnTo>
                    <a:lnTo>
                      <a:pt x="770" y="1450"/>
                    </a:lnTo>
                    <a:lnTo>
                      <a:pt x="758" y="1507"/>
                    </a:lnTo>
                    <a:lnTo>
                      <a:pt x="749" y="1559"/>
                    </a:lnTo>
                    <a:lnTo>
                      <a:pt x="744" y="1612"/>
                    </a:lnTo>
                    <a:lnTo>
                      <a:pt x="740" y="1663"/>
                    </a:lnTo>
                    <a:lnTo>
                      <a:pt x="740" y="1713"/>
                    </a:lnTo>
                    <a:lnTo>
                      <a:pt x="742" y="1760"/>
                    </a:lnTo>
                    <a:lnTo>
                      <a:pt x="746" y="1806"/>
                    </a:lnTo>
                    <a:lnTo>
                      <a:pt x="751" y="1850"/>
                    </a:lnTo>
                    <a:lnTo>
                      <a:pt x="759" y="1893"/>
                    </a:lnTo>
                    <a:lnTo>
                      <a:pt x="767" y="1933"/>
                    </a:lnTo>
                    <a:lnTo>
                      <a:pt x="777" y="1972"/>
                    </a:lnTo>
                    <a:lnTo>
                      <a:pt x="789" y="2010"/>
                    </a:lnTo>
                    <a:lnTo>
                      <a:pt x="801" y="2044"/>
                    </a:lnTo>
                    <a:lnTo>
                      <a:pt x="814" y="2078"/>
                    </a:lnTo>
                    <a:lnTo>
                      <a:pt x="827" y="2109"/>
                    </a:lnTo>
                    <a:lnTo>
                      <a:pt x="841" y="2138"/>
                    </a:lnTo>
                    <a:lnTo>
                      <a:pt x="854" y="2165"/>
                    </a:lnTo>
                    <a:lnTo>
                      <a:pt x="868" y="2190"/>
                    </a:lnTo>
                    <a:lnTo>
                      <a:pt x="881" y="2214"/>
                    </a:lnTo>
                    <a:lnTo>
                      <a:pt x="894" y="2234"/>
                    </a:lnTo>
                    <a:lnTo>
                      <a:pt x="916" y="2269"/>
                    </a:lnTo>
                    <a:lnTo>
                      <a:pt x="935" y="2293"/>
                    </a:lnTo>
                    <a:lnTo>
                      <a:pt x="948" y="2310"/>
                    </a:lnTo>
                    <a:lnTo>
                      <a:pt x="953" y="2315"/>
                    </a:lnTo>
                    <a:lnTo>
                      <a:pt x="955" y="2320"/>
                    </a:lnTo>
                    <a:lnTo>
                      <a:pt x="956" y="2325"/>
                    </a:lnTo>
                    <a:lnTo>
                      <a:pt x="955" y="2330"/>
                    </a:lnTo>
                    <a:lnTo>
                      <a:pt x="952" y="2335"/>
                    </a:lnTo>
                    <a:lnTo>
                      <a:pt x="948" y="2338"/>
                    </a:lnTo>
                    <a:lnTo>
                      <a:pt x="943" y="2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32"/>
              <p:cNvSpPr>
                <a:spLocks/>
              </p:cNvSpPr>
              <p:nvPr userDrawn="1"/>
            </p:nvSpPr>
            <p:spPr bwMode="auto">
              <a:xfrm>
                <a:off x="1044" y="2979"/>
                <a:ext cx="1628" cy="416"/>
              </a:xfrm>
              <a:custGeom>
                <a:avLst/>
                <a:gdLst>
                  <a:gd name="T0" fmla="*/ 4864 w 4884"/>
                  <a:gd name="T1" fmla="*/ 1245 h 1249"/>
                  <a:gd name="T2" fmla="*/ 4842 w 4884"/>
                  <a:gd name="T3" fmla="*/ 1214 h 1249"/>
                  <a:gd name="T4" fmla="*/ 4711 w 4884"/>
                  <a:gd name="T5" fmla="*/ 1147 h 1249"/>
                  <a:gd name="T6" fmla="*/ 4472 w 4884"/>
                  <a:gd name="T7" fmla="*/ 1091 h 1249"/>
                  <a:gd name="T8" fmla="*/ 4150 w 4884"/>
                  <a:gd name="T9" fmla="*/ 1044 h 1249"/>
                  <a:gd name="T10" fmla="*/ 3766 w 4884"/>
                  <a:gd name="T11" fmla="*/ 1005 h 1249"/>
                  <a:gd name="T12" fmla="*/ 3340 w 4884"/>
                  <a:gd name="T13" fmla="*/ 973 h 1249"/>
                  <a:gd name="T14" fmla="*/ 2898 w 4884"/>
                  <a:gd name="T15" fmla="*/ 951 h 1249"/>
                  <a:gd name="T16" fmla="*/ 2457 w 4884"/>
                  <a:gd name="T17" fmla="*/ 935 h 1249"/>
                  <a:gd name="T18" fmla="*/ 1915 w 4884"/>
                  <a:gd name="T19" fmla="*/ 923 h 1249"/>
                  <a:gd name="T20" fmla="*/ 1469 w 4884"/>
                  <a:gd name="T21" fmla="*/ 922 h 1249"/>
                  <a:gd name="T22" fmla="*/ 1290 w 4884"/>
                  <a:gd name="T23" fmla="*/ 924 h 1249"/>
                  <a:gd name="T24" fmla="*/ 1164 w 4884"/>
                  <a:gd name="T25" fmla="*/ 916 h 1249"/>
                  <a:gd name="T26" fmla="*/ 993 w 4884"/>
                  <a:gd name="T27" fmla="*/ 878 h 1249"/>
                  <a:gd name="T28" fmla="*/ 827 w 4884"/>
                  <a:gd name="T29" fmla="*/ 814 h 1249"/>
                  <a:gd name="T30" fmla="*/ 668 w 4884"/>
                  <a:gd name="T31" fmla="*/ 728 h 1249"/>
                  <a:gd name="T32" fmla="*/ 520 w 4884"/>
                  <a:gd name="T33" fmla="*/ 627 h 1249"/>
                  <a:gd name="T34" fmla="*/ 385 w 4884"/>
                  <a:gd name="T35" fmla="*/ 517 h 1249"/>
                  <a:gd name="T36" fmla="*/ 266 w 4884"/>
                  <a:gd name="T37" fmla="*/ 401 h 1249"/>
                  <a:gd name="T38" fmla="*/ 166 w 4884"/>
                  <a:gd name="T39" fmla="*/ 289 h 1249"/>
                  <a:gd name="T40" fmla="*/ 86 w 4884"/>
                  <a:gd name="T41" fmla="*/ 183 h 1249"/>
                  <a:gd name="T42" fmla="*/ 30 w 4884"/>
                  <a:gd name="T43" fmla="*/ 90 h 1249"/>
                  <a:gd name="T44" fmla="*/ 0 w 4884"/>
                  <a:gd name="T45" fmla="*/ 17 h 1249"/>
                  <a:gd name="T46" fmla="*/ 6 w 4884"/>
                  <a:gd name="T47" fmla="*/ 3 h 1249"/>
                  <a:gd name="T48" fmla="*/ 21 w 4884"/>
                  <a:gd name="T49" fmla="*/ 2 h 1249"/>
                  <a:gd name="T50" fmla="*/ 33 w 4884"/>
                  <a:gd name="T51" fmla="*/ 31 h 1249"/>
                  <a:gd name="T52" fmla="*/ 72 w 4884"/>
                  <a:gd name="T53" fmla="*/ 109 h 1249"/>
                  <a:gd name="T54" fmla="*/ 134 w 4884"/>
                  <a:gd name="T55" fmla="*/ 204 h 1249"/>
                  <a:gd name="T56" fmla="*/ 221 w 4884"/>
                  <a:gd name="T57" fmla="*/ 310 h 1249"/>
                  <a:gd name="T58" fmla="*/ 327 w 4884"/>
                  <a:gd name="T59" fmla="*/ 421 h 1249"/>
                  <a:gd name="T60" fmla="*/ 450 w 4884"/>
                  <a:gd name="T61" fmla="*/ 533 h 1249"/>
                  <a:gd name="T62" fmla="*/ 587 w 4884"/>
                  <a:gd name="T63" fmla="*/ 639 h 1249"/>
                  <a:gd name="T64" fmla="*/ 737 w 4884"/>
                  <a:gd name="T65" fmla="*/ 734 h 1249"/>
                  <a:gd name="T66" fmla="*/ 895 w 4884"/>
                  <a:gd name="T67" fmla="*/ 811 h 1249"/>
                  <a:gd name="T68" fmla="*/ 1058 w 4884"/>
                  <a:gd name="T69" fmla="*/ 868 h 1249"/>
                  <a:gd name="T70" fmla="*/ 1225 w 4884"/>
                  <a:gd name="T71" fmla="*/ 895 h 1249"/>
                  <a:gd name="T72" fmla="*/ 1298 w 4884"/>
                  <a:gd name="T73" fmla="*/ 897 h 1249"/>
                  <a:gd name="T74" fmla="*/ 1770 w 4884"/>
                  <a:gd name="T75" fmla="*/ 897 h 1249"/>
                  <a:gd name="T76" fmla="*/ 2287 w 4884"/>
                  <a:gd name="T77" fmla="*/ 905 h 1249"/>
                  <a:gd name="T78" fmla="*/ 2733 w 4884"/>
                  <a:gd name="T79" fmla="*/ 918 h 1249"/>
                  <a:gd name="T80" fmla="*/ 3200 w 4884"/>
                  <a:gd name="T81" fmla="*/ 939 h 1249"/>
                  <a:gd name="T82" fmla="*/ 3659 w 4884"/>
                  <a:gd name="T83" fmla="*/ 968 h 1249"/>
                  <a:gd name="T84" fmla="*/ 4083 w 4884"/>
                  <a:gd name="T85" fmla="*/ 1008 h 1249"/>
                  <a:gd name="T86" fmla="*/ 4444 w 4884"/>
                  <a:gd name="T87" fmla="*/ 1059 h 1249"/>
                  <a:gd name="T88" fmla="*/ 4713 w 4884"/>
                  <a:gd name="T89" fmla="*/ 1122 h 1249"/>
                  <a:gd name="T90" fmla="*/ 4865 w 4884"/>
                  <a:gd name="T91" fmla="*/ 1201 h 1249"/>
                  <a:gd name="T92" fmla="*/ 4883 w 4884"/>
                  <a:gd name="T93" fmla="*/ 1240 h 1249"/>
                  <a:gd name="T94" fmla="*/ 4874 w 4884"/>
                  <a:gd name="T95" fmla="*/ 1248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84" h="1249">
                    <a:moveTo>
                      <a:pt x="4871" y="1249"/>
                    </a:moveTo>
                    <a:lnTo>
                      <a:pt x="4867" y="1248"/>
                    </a:lnTo>
                    <a:lnTo>
                      <a:pt x="4864" y="1245"/>
                    </a:lnTo>
                    <a:lnTo>
                      <a:pt x="4861" y="1243"/>
                    </a:lnTo>
                    <a:lnTo>
                      <a:pt x="4859" y="1239"/>
                    </a:lnTo>
                    <a:lnTo>
                      <a:pt x="4842" y="1214"/>
                    </a:lnTo>
                    <a:lnTo>
                      <a:pt x="4811" y="1191"/>
                    </a:lnTo>
                    <a:lnTo>
                      <a:pt x="4767" y="1169"/>
                    </a:lnTo>
                    <a:lnTo>
                      <a:pt x="4711" y="1147"/>
                    </a:lnTo>
                    <a:lnTo>
                      <a:pt x="4641" y="1128"/>
                    </a:lnTo>
                    <a:lnTo>
                      <a:pt x="4563" y="1108"/>
                    </a:lnTo>
                    <a:lnTo>
                      <a:pt x="4472" y="1091"/>
                    </a:lnTo>
                    <a:lnTo>
                      <a:pt x="4374" y="1074"/>
                    </a:lnTo>
                    <a:lnTo>
                      <a:pt x="4266" y="1058"/>
                    </a:lnTo>
                    <a:lnTo>
                      <a:pt x="4150" y="1044"/>
                    </a:lnTo>
                    <a:lnTo>
                      <a:pt x="4028" y="1030"/>
                    </a:lnTo>
                    <a:lnTo>
                      <a:pt x="3900" y="1017"/>
                    </a:lnTo>
                    <a:lnTo>
                      <a:pt x="3766" y="1005"/>
                    </a:lnTo>
                    <a:lnTo>
                      <a:pt x="3628" y="994"/>
                    </a:lnTo>
                    <a:lnTo>
                      <a:pt x="3485" y="983"/>
                    </a:lnTo>
                    <a:lnTo>
                      <a:pt x="3340" y="973"/>
                    </a:lnTo>
                    <a:lnTo>
                      <a:pt x="3193" y="966"/>
                    </a:lnTo>
                    <a:lnTo>
                      <a:pt x="3046" y="957"/>
                    </a:lnTo>
                    <a:lnTo>
                      <a:pt x="2898" y="951"/>
                    </a:lnTo>
                    <a:lnTo>
                      <a:pt x="2750" y="944"/>
                    </a:lnTo>
                    <a:lnTo>
                      <a:pt x="2603" y="940"/>
                    </a:lnTo>
                    <a:lnTo>
                      <a:pt x="2457" y="935"/>
                    </a:lnTo>
                    <a:lnTo>
                      <a:pt x="2316" y="931"/>
                    </a:lnTo>
                    <a:lnTo>
                      <a:pt x="2177" y="928"/>
                    </a:lnTo>
                    <a:lnTo>
                      <a:pt x="1915" y="923"/>
                    </a:lnTo>
                    <a:lnTo>
                      <a:pt x="1676" y="922"/>
                    </a:lnTo>
                    <a:lnTo>
                      <a:pt x="1568" y="920"/>
                    </a:lnTo>
                    <a:lnTo>
                      <a:pt x="1469" y="922"/>
                    </a:lnTo>
                    <a:lnTo>
                      <a:pt x="1379" y="923"/>
                    </a:lnTo>
                    <a:lnTo>
                      <a:pt x="1298" y="924"/>
                    </a:lnTo>
                    <a:lnTo>
                      <a:pt x="1290" y="924"/>
                    </a:lnTo>
                    <a:lnTo>
                      <a:pt x="1280" y="924"/>
                    </a:lnTo>
                    <a:lnTo>
                      <a:pt x="1223" y="922"/>
                    </a:lnTo>
                    <a:lnTo>
                      <a:pt x="1164" y="916"/>
                    </a:lnTo>
                    <a:lnTo>
                      <a:pt x="1107" y="906"/>
                    </a:lnTo>
                    <a:lnTo>
                      <a:pt x="1050" y="894"/>
                    </a:lnTo>
                    <a:lnTo>
                      <a:pt x="993" y="878"/>
                    </a:lnTo>
                    <a:lnTo>
                      <a:pt x="937" y="859"/>
                    </a:lnTo>
                    <a:lnTo>
                      <a:pt x="882" y="837"/>
                    </a:lnTo>
                    <a:lnTo>
                      <a:pt x="827" y="814"/>
                    </a:lnTo>
                    <a:lnTo>
                      <a:pt x="773" y="787"/>
                    </a:lnTo>
                    <a:lnTo>
                      <a:pt x="720" y="759"/>
                    </a:lnTo>
                    <a:lnTo>
                      <a:pt x="668" y="728"/>
                    </a:lnTo>
                    <a:lnTo>
                      <a:pt x="617" y="696"/>
                    </a:lnTo>
                    <a:lnTo>
                      <a:pt x="568" y="661"/>
                    </a:lnTo>
                    <a:lnTo>
                      <a:pt x="520" y="627"/>
                    </a:lnTo>
                    <a:lnTo>
                      <a:pt x="473" y="591"/>
                    </a:lnTo>
                    <a:lnTo>
                      <a:pt x="428" y="553"/>
                    </a:lnTo>
                    <a:lnTo>
                      <a:pt x="385" y="517"/>
                    </a:lnTo>
                    <a:lnTo>
                      <a:pt x="344" y="478"/>
                    </a:lnTo>
                    <a:lnTo>
                      <a:pt x="304" y="440"/>
                    </a:lnTo>
                    <a:lnTo>
                      <a:pt x="266" y="401"/>
                    </a:lnTo>
                    <a:lnTo>
                      <a:pt x="230" y="363"/>
                    </a:lnTo>
                    <a:lnTo>
                      <a:pt x="197" y="326"/>
                    </a:lnTo>
                    <a:lnTo>
                      <a:pt x="166" y="289"/>
                    </a:lnTo>
                    <a:lnTo>
                      <a:pt x="137" y="252"/>
                    </a:lnTo>
                    <a:lnTo>
                      <a:pt x="110" y="217"/>
                    </a:lnTo>
                    <a:lnTo>
                      <a:pt x="86" y="183"/>
                    </a:lnTo>
                    <a:lnTo>
                      <a:pt x="64" y="151"/>
                    </a:lnTo>
                    <a:lnTo>
                      <a:pt x="46" y="120"/>
                    </a:lnTo>
                    <a:lnTo>
                      <a:pt x="30" y="90"/>
                    </a:lnTo>
                    <a:lnTo>
                      <a:pt x="18" y="63"/>
                    </a:lnTo>
                    <a:lnTo>
                      <a:pt x="7" y="39"/>
                    </a:lnTo>
                    <a:lnTo>
                      <a:pt x="0" y="17"/>
                    </a:lnTo>
                    <a:lnTo>
                      <a:pt x="0" y="12"/>
                    </a:lnTo>
                    <a:lnTo>
                      <a:pt x="3" y="6"/>
                    </a:lnTo>
                    <a:lnTo>
                      <a:pt x="6" y="3"/>
                    </a:lnTo>
                    <a:lnTo>
                      <a:pt x="10" y="1"/>
                    </a:lnTo>
                    <a:lnTo>
                      <a:pt x="16" y="0"/>
                    </a:lnTo>
                    <a:lnTo>
                      <a:pt x="21" y="2"/>
                    </a:lnTo>
                    <a:lnTo>
                      <a:pt x="24" y="5"/>
                    </a:lnTo>
                    <a:lnTo>
                      <a:pt x="27" y="10"/>
                    </a:lnTo>
                    <a:lnTo>
                      <a:pt x="33" y="31"/>
                    </a:lnTo>
                    <a:lnTo>
                      <a:pt x="43" y="55"/>
                    </a:lnTo>
                    <a:lnTo>
                      <a:pt x="56" y="81"/>
                    </a:lnTo>
                    <a:lnTo>
                      <a:pt x="72" y="109"/>
                    </a:lnTo>
                    <a:lnTo>
                      <a:pt x="90" y="139"/>
                    </a:lnTo>
                    <a:lnTo>
                      <a:pt x="111" y="170"/>
                    </a:lnTo>
                    <a:lnTo>
                      <a:pt x="134" y="204"/>
                    </a:lnTo>
                    <a:lnTo>
                      <a:pt x="161" y="238"/>
                    </a:lnTo>
                    <a:lnTo>
                      <a:pt x="189" y="273"/>
                    </a:lnTo>
                    <a:lnTo>
                      <a:pt x="221" y="310"/>
                    </a:lnTo>
                    <a:lnTo>
                      <a:pt x="254" y="346"/>
                    </a:lnTo>
                    <a:lnTo>
                      <a:pt x="289" y="384"/>
                    </a:lnTo>
                    <a:lnTo>
                      <a:pt x="327" y="421"/>
                    </a:lnTo>
                    <a:lnTo>
                      <a:pt x="365" y="458"/>
                    </a:lnTo>
                    <a:lnTo>
                      <a:pt x="406" y="496"/>
                    </a:lnTo>
                    <a:lnTo>
                      <a:pt x="450" y="533"/>
                    </a:lnTo>
                    <a:lnTo>
                      <a:pt x="494" y="569"/>
                    </a:lnTo>
                    <a:lnTo>
                      <a:pt x="540" y="604"/>
                    </a:lnTo>
                    <a:lnTo>
                      <a:pt x="587" y="639"/>
                    </a:lnTo>
                    <a:lnTo>
                      <a:pt x="635" y="672"/>
                    </a:lnTo>
                    <a:lnTo>
                      <a:pt x="686" y="704"/>
                    </a:lnTo>
                    <a:lnTo>
                      <a:pt x="737" y="734"/>
                    </a:lnTo>
                    <a:lnTo>
                      <a:pt x="789" y="762"/>
                    </a:lnTo>
                    <a:lnTo>
                      <a:pt x="841" y="788"/>
                    </a:lnTo>
                    <a:lnTo>
                      <a:pt x="895" y="811"/>
                    </a:lnTo>
                    <a:lnTo>
                      <a:pt x="949" y="833"/>
                    </a:lnTo>
                    <a:lnTo>
                      <a:pt x="1003" y="851"/>
                    </a:lnTo>
                    <a:lnTo>
                      <a:pt x="1058" y="868"/>
                    </a:lnTo>
                    <a:lnTo>
                      <a:pt x="1114" y="879"/>
                    </a:lnTo>
                    <a:lnTo>
                      <a:pt x="1169" y="889"/>
                    </a:lnTo>
                    <a:lnTo>
                      <a:pt x="1225" y="895"/>
                    </a:lnTo>
                    <a:lnTo>
                      <a:pt x="1281" y="897"/>
                    </a:lnTo>
                    <a:lnTo>
                      <a:pt x="1290" y="897"/>
                    </a:lnTo>
                    <a:lnTo>
                      <a:pt x="1298" y="897"/>
                    </a:lnTo>
                    <a:lnTo>
                      <a:pt x="1404" y="896"/>
                    </a:lnTo>
                    <a:lnTo>
                      <a:pt x="1565" y="895"/>
                    </a:lnTo>
                    <a:lnTo>
                      <a:pt x="1770" y="897"/>
                    </a:lnTo>
                    <a:lnTo>
                      <a:pt x="2014" y="900"/>
                    </a:lnTo>
                    <a:lnTo>
                      <a:pt x="2148" y="902"/>
                    </a:lnTo>
                    <a:lnTo>
                      <a:pt x="2287" y="905"/>
                    </a:lnTo>
                    <a:lnTo>
                      <a:pt x="2432" y="909"/>
                    </a:lnTo>
                    <a:lnTo>
                      <a:pt x="2581" y="913"/>
                    </a:lnTo>
                    <a:lnTo>
                      <a:pt x="2733" y="918"/>
                    </a:lnTo>
                    <a:lnTo>
                      <a:pt x="2889" y="924"/>
                    </a:lnTo>
                    <a:lnTo>
                      <a:pt x="3044" y="931"/>
                    </a:lnTo>
                    <a:lnTo>
                      <a:pt x="3200" y="939"/>
                    </a:lnTo>
                    <a:lnTo>
                      <a:pt x="3355" y="947"/>
                    </a:lnTo>
                    <a:lnTo>
                      <a:pt x="3509" y="957"/>
                    </a:lnTo>
                    <a:lnTo>
                      <a:pt x="3659" y="968"/>
                    </a:lnTo>
                    <a:lnTo>
                      <a:pt x="3806" y="980"/>
                    </a:lnTo>
                    <a:lnTo>
                      <a:pt x="3947" y="994"/>
                    </a:lnTo>
                    <a:lnTo>
                      <a:pt x="4083" y="1008"/>
                    </a:lnTo>
                    <a:lnTo>
                      <a:pt x="4212" y="1023"/>
                    </a:lnTo>
                    <a:lnTo>
                      <a:pt x="4332" y="1040"/>
                    </a:lnTo>
                    <a:lnTo>
                      <a:pt x="4444" y="1059"/>
                    </a:lnTo>
                    <a:lnTo>
                      <a:pt x="4544" y="1079"/>
                    </a:lnTo>
                    <a:lnTo>
                      <a:pt x="4635" y="1100"/>
                    </a:lnTo>
                    <a:lnTo>
                      <a:pt x="4713" y="1122"/>
                    </a:lnTo>
                    <a:lnTo>
                      <a:pt x="4779" y="1147"/>
                    </a:lnTo>
                    <a:lnTo>
                      <a:pt x="4829" y="1173"/>
                    </a:lnTo>
                    <a:lnTo>
                      <a:pt x="4865" y="1201"/>
                    </a:lnTo>
                    <a:lnTo>
                      <a:pt x="4884" y="1230"/>
                    </a:lnTo>
                    <a:lnTo>
                      <a:pt x="4884" y="1236"/>
                    </a:lnTo>
                    <a:lnTo>
                      <a:pt x="4883" y="1240"/>
                    </a:lnTo>
                    <a:lnTo>
                      <a:pt x="4880" y="1244"/>
                    </a:lnTo>
                    <a:lnTo>
                      <a:pt x="4876" y="1248"/>
                    </a:lnTo>
                    <a:lnTo>
                      <a:pt x="4874" y="1248"/>
                    </a:lnTo>
                    <a:lnTo>
                      <a:pt x="4871" y="1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33"/>
              <p:cNvSpPr>
                <a:spLocks/>
              </p:cNvSpPr>
              <p:nvPr userDrawn="1"/>
            </p:nvSpPr>
            <p:spPr bwMode="auto">
              <a:xfrm>
                <a:off x="654" y="3389"/>
                <a:ext cx="484" cy="596"/>
              </a:xfrm>
              <a:custGeom>
                <a:avLst/>
                <a:gdLst>
                  <a:gd name="T0" fmla="*/ 1435 w 1453"/>
                  <a:gd name="T1" fmla="*/ 1789 h 1790"/>
                  <a:gd name="T2" fmla="*/ 1429 w 1453"/>
                  <a:gd name="T3" fmla="*/ 1783 h 1790"/>
                  <a:gd name="T4" fmla="*/ 1426 w 1453"/>
                  <a:gd name="T5" fmla="*/ 1772 h 1790"/>
                  <a:gd name="T6" fmla="*/ 1419 w 1453"/>
                  <a:gd name="T7" fmla="*/ 1724 h 1790"/>
                  <a:gd name="T8" fmla="*/ 1404 w 1453"/>
                  <a:gd name="T9" fmla="*/ 1640 h 1790"/>
                  <a:gd name="T10" fmla="*/ 1380 w 1453"/>
                  <a:gd name="T11" fmla="*/ 1525 h 1790"/>
                  <a:gd name="T12" fmla="*/ 1345 w 1453"/>
                  <a:gd name="T13" fmla="*/ 1386 h 1790"/>
                  <a:gd name="T14" fmla="*/ 1313 w 1453"/>
                  <a:gd name="T15" fmla="*/ 1272 h 1790"/>
                  <a:gd name="T16" fmla="*/ 1288 w 1453"/>
                  <a:gd name="T17" fmla="*/ 1192 h 1790"/>
                  <a:gd name="T18" fmla="*/ 1259 w 1453"/>
                  <a:gd name="T19" fmla="*/ 1111 h 1790"/>
                  <a:gd name="T20" fmla="*/ 1228 w 1453"/>
                  <a:gd name="T21" fmla="*/ 1028 h 1790"/>
                  <a:gd name="T22" fmla="*/ 1193 w 1453"/>
                  <a:gd name="T23" fmla="*/ 946 h 1790"/>
                  <a:gd name="T24" fmla="*/ 1155 w 1453"/>
                  <a:gd name="T25" fmla="*/ 865 h 1790"/>
                  <a:gd name="T26" fmla="*/ 1086 w 1453"/>
                  <a:gd name="T27" fmla="*/ 737 h 1790"/>
                  <a:gd name="T28" fmla="*/ 989 w 1453"/>
                  <a:gd name="T29" fmla="*/ 579 h 1790"/>
                  <a:gd name="T30" fmla="*/ 891 w 1453"/>
                  <a:gd name="T31" fmla="*/ 447 h 1790"/>
                  <a:gd name="T32" fmla="*/ 793 w 1453"/>
                  <a:gd name="T33" fmla="*/ 337 h 1790"/>
                  <a:gd name="T34" fmla="*/ 696 w 1453"/>
                  <a:gd name="T35" fmla="*/ 248 h 1790"/>
                  <a:gd name="T36" fmla="*/ 602 w 1453"/>
                  <a:gd name="T37" fmla="*/ 176 h 1790"/>
                  <a:gd name="T38" fmla="*/ 513 w 1453"/>
                  <a:gd name="T39" fmla="*/ 121 h 1790"/>
                  <a:gd name="T40" fmla="*/ 426 w 1453"/>
                  <a:gd name="T41" fmla="*/ 81 h 1790"/>
                  <a:gd name="T42" fmla="*/ 347 w 1453"/>
                  <a:gd name="T43" fmla="*/ 54 h 1790"/>
                  <a:gd name="T44" fmla="*/ 272 w 1453"/>
                  <a:gd name="T45" fmla="*/ 37 h 1790"/>
                  <a:gd name="T46" fmla="*/ 206 w 1453"/>
                  <a:gd name="T47" fmla="*/ 28 h 1790"/>
                  <a:gd name="T48" fmla="*/ 148 w 1453"/>
                  <a:gd name="T49" fmla="*/ 26 h 1790"/>
                  <a:gd name="T50" fmla="*/ 99 w 1453"/>
                  <a:gd name="T51" fmla="*/ 29 h 1790"/>
                  <a:gd name="T52" fmla="*/ 61 w 1453"/>
                  <a:gd name="T53" fmla="*/ 34 h 1790"/>
                  <a:gd name="T54" fmla="*/ 26 w 1453"/>
                  <a:gd name="T55" fmla="*/ 41 h 1790"/>
                  <a:gd name="T56" fmla="*/ 12 w 1453"/>
                  <a:gd name="T57" fmla="*/ 45 h 1790"/>
                  <a:gd name="T58" fmla="*/ 3 w 1453"/>
                  <a:gd name="T59" fmla="*/ 40 h 1790"/>
                  <a:gd name="T60" fmla="*/ 0 w 1453"/>
                  <a:gd name="T61" fmla="*/ 31 h 1790"/>
                  <a:gd name="T62" fmla="*/ 4 w 1453"/>
                  <a:gd name="T63" fmla="*/ 21 h 1790"/>
                  <a:gd name="T64" fmla="*/ 17 w 1453"/>
                  <a:gd name="T65" fmla="*/ 17 h 1790"/>
                  <a:gd name="T66" fmla="*/ 54 w 1453"/>
                  <a:gd name="T67" fmla="*/ 8 h 1790"/>
                  <a:gd name="T68" fmla="*/ 94 w 1453"/>
                  <a:gd name="T69" fmla="*/ 2 h 1790"/>
                  <a:gd name="T70" fmla="*/ 144 w 1453"/>
                  <a:gd name="T71" fmla="*/ 0 h 1790"/>
                  <a:gd name="T72" fmla="*/ 204 w 1453"/>
                  <a:gd name="T73" fmla="*/ 1 h 1790"/>
                  <a:gd name="T74" fmla="*/ 272 w 1453"/>
                  <a:gd name="T75" fmla="*/ 10 h 1790"/>
                  <a:gd name="T76" fmla="*/ 349 w 1453"/>
                  <a:gd name="T77" fmla="*/ 27 h 1790"/>
                  <a:gd name="T78" fmla="*/ 432 w 1453"/>
                  <a:gd name="T79" fmla="*/ 55 h 1790"/>
                  <a:gd name="T80" fmla="*/ 520 w 1453"/>
                  <a:gd name="T81" fmla="*/ 95 h 1790"/>
                  <a:gd name="T82" fmla="*/ 613 w 1453"/>
                  <a:gd name="T83" fmla="*/ 150 h 1790"/>
                  <a:gd name="T84" fmla="*/ 709 w 1453"/>
                  <a:gd name="T85" fmla="*/ 223 h 1790"/>
                  <a:gd name="T86" fmla="*/ 809 w 1453"/>
                  <a:gd name="T87" fmla="*/ 314 h 1790"/>
                  <a:gd name="T88" fmla="*/ 909 w 1453"/>
                  <a:gd name="T89" fmla="*/ 427 h 1790"/>
                  <a:gd name="T90" fmla="*/ 1010 w 1453"/>
                  <a:gd name="T91" fmla="*/ 562 h 1790"/>
                  <a:gd name="T92" fmla="*/ 1109 w 1453"/>
                  <a:gd name="T93" fmla="*/ 722 h 1790"/>
                  <a:gd name="T94" fmla="*/ 1179 w 1453"/>
                  <a:gd name="T95" fmla="*/ 853 h 1790"/>
                  <a:gd name="T96" fmla="*/ 1218 w 1453"/>
                  <a:gd name="T97" fmla="*/ 935 h 1790"/>
                  <a:gd name="T98" fmla="*/ 1253 w 1453"/>
                  <a:gd name="T99" fmla="*/ 1018 h 1790"/>
                  <a:gd name="T100" fmla="*/ 1285 w 1453"/>
                  <a:gd name="T101" fmla="*/ 1101 h 1790"/>
                  <a:gd name="T102" fmla="*/ 1313 w 1453"/>
                  <a:gd name="T103" fmla="*/ 1183 h 1790"/>
                  <a:gd name="T104" fmla="*/ 1339 w 1453"/>
                  <a:gd name="T105" fmla="*/ 1264 h 1790"/>
                  <a:gd name="T106" fmla="*/ 1371 w 1453"/>
                  <a:gd name="T107" fmla="*/ 1380 h 1790"/>
                  <a:gd name="T108" fmla="*/ 1406 w 1453"/>
                  <a:gd name="T109" fmla="*/ 1519 h 1790"/>
                  <a:gd name="T110" fmla="*/ 1431 w 1453"/>
                  <a:gd name="T111" fmla="*/ 1636 h 1790"/>
                  <a:gd name="T112" fmla="*/ 1446 w 1453"/>
                  <a:gd name="T113" fmla="*/ 1721 h 1790"/>
                  <a:gd name="T114" fmla="*/ 1452 w 1453"/>
                  <a:gd name="T115" fmla="*/ 1767 h 1790"/>
                  <a:gd name="T116" fmla="*/ 1453 w 1453"/>
                  <a:gd name="T117" fmla="*/ 1780 h 1790"/>
                  <a:gd name="T118" fmla="*/ 1447 w 1453"/>
                  <a:gd name="T119" fmla="*/ 1788 h 1790"/>
                  <a:gd name="T120" fmla="*/ 1441 w 1453"/>
                  <a:gd name="T121" fmla="*/ 179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3" h="1790">
                    <a:moveTo>
                      <a:pt x="1440" y="1790"/>
                    </a:moveTo>
                    <a:lnTo>
                      <a:pt x="1435" y="1789"/>
                    </a:lnTo>
                    <a:lnTo>
                      <a:pt x="1432" y="1787"/>
                    </a:lnTo>
                    <a:lnTo>
                      <a:pt x="1429" y="1783"/>
                    </a:lnTo>
                    <a:lnTo>
                      <a:pt x="1427" y="1778"/>
                    </a:lnTo>
                    <a:lnTo>
                      <a:pt x="1426" y="1772"/>
                    </a:lnTo>
                    <a:lnTo>
                      <a:pt x="1423" y="1753"/>
                    </a:lnTo>
                    <a:lnTo>
                      <a:pt x="1419" y="1724"/>
                    </a:lnTo>
                    <a:lnTo>
                      <a:pt x="1412" y="1686"/>
                    </a:lnTo>
                    <a:lnTo>
                      <a:pt x="1404" y="1640"/>
                    </a:lnTo>
                    <a:lnTo>
                      <a:pt x="1393" y="1586"/>
                    </a:lnTo>
                    <a:lnTo>
                      <a:pt x="1380" y="1525"/>
                    </a:lnTo>
                    <a:lnTo>
                      <a:pt x="1364" y="1459"/>
                    </a:lnTo>
                    <a:lnTo>
                      <a:pt x="1345" y="1386"/>
                    </a:lnTo>
                    <a:lnTo>
                      <a:pt x="1325" y="1311"/>
                    </a:lnTo>
                    <a:lnTo>
                      <a:pt x="1313" y="1272"/>
                    </a:lnTo>
                    <a:lnTo>
                      <a:pt x="1301" y="1232"/>
                    </a:lnTo>
                    <a:lnTo>
                      <a:pt x="1288" y="1192"/>
                    </a:lnTo>
                    <a:lnTo>
                      <a:pt x="1274" y="1151"/>
                    </a:lnTo>
                    <a:lnTo>
                      <a:pt x="1259" y="1111"/>
                    </a:lnTo>
                    <a:lnTo>
                      <a:pt x="1244" y="1069"/>
                    </a:lnTo>
                    <a:lnTo>
                      <a:pt x="1228" y="1028"/>
                    </a:lnTo>
                    <a:lnTo>
                      <a:pt x="1211" y="987"/>
                    </a:lnTo>
                    <a:lnTo>
                      <a:pt x="1193" y="946"/>
                    </a:lnTo>
                    <a:lnTo>
                      <a:pt x="1175" y="905"/>
                    </a:lnTo>
                    <a:lnTo>
                      <a:pt x="1155" y="865"/>
                    </a:lnTo>
                    <a:lnTo>
                      <a:pt x="1135" y="825"/>
                    </a:lnTo>
                    <a:lnTo>
                      <a:pt x="1086" y="737"/>
                    </a:lnTo>
                    <a:lnTo>
                      <a:pt x="1038" y="654"/>
                    </a:lnTo>
                    <a:lnTo>
                      <a:pt x="989" y="579"/>
                    </a:lnTo>
                    <a:lnTo>
                      <a:pt x="939" y="510"/>
                    </a:lnTo>
                    <a:lnTo>
                      <a:pt x="891" y="447"/>
                    </a:lnTo>
                    <a:lnTo>
                      <a:pt x="841" y="389"/>
                    </a:lnTo>
                    <a:lnTo>
                      <a:pt x="793" y="337"/>
                    </a:lnTo>
                    <a:lnTo>
                      <a:pt x="744" y="290"/>
                    </a:lnTo>
                    <a:lnTo>
                      <a:pt x="696" y="248"/>
                    </a:lnTo>
                    <a:lnTo>
                      <a:pt x="649" y="210"/>
                    </a:lnTo>
                    <a:lnTo>
                      <a:pt x="602" y="176"/>
                    </a:lnTo>
                    <a:lnTo>
                      <a:pt x="557" y="147"/>
                    </a:lnTo>
                    <a:lnTo>
                      <a:pt x="513" y="121"/>
                    </a:lnTo>
                    <a:lnTo>
                      <a:pt x="469" y="100"/>
                    </a:lnTo>
                    <a:lnTo>
                      <a:pt x="426" y="81"/>
                    </a:lnTo>
                    <a:lnTo>
                      <a:pt x="385" y="66"/>
                    </a:lnTo>
                    <a:lnTo>
                      <a:pt x="347" y="54"/>
                    </a:lnTo>
                    <a:lnTo>
                      <a:pt x="309" y="45"/>
                    </a:lnTo>
                    <a:lnTo>
                      <a:pt x="272" y="37"/>
                    </a:lnTo>
                    <a:lnTo>
                      <a:pt x="239" y="32"/>
                    </a:lnTo>
                    <a:lnTo>
                      <a:pt x="206" y="28"/>
                    </a:lnTo>
                    <a:lnTo>
                      <a:pt x="176" y="27"/>
                    </a:lnTo>
                    <a:lnTo>
                      <a:pt x="148" y="26"/>
                    </a:lnTo>
                    <a:lnTo>
                      <a:pt x="122" y="27"/>
                    </a:lnTo>
                    <a:lnTo>
                      <a:pt x="99" y="29"/>
                    </a:lnTo>
                    <a:lnTo>
                      <a:pt x="79" y="32"/>
                    </a:lnTo>
                    <a:lnTo>
                      <a:pt x="61" y="34"/>
                    </a:lnTo>
                    <a:lnTo>
                      <a:pt x="46" y="37"/>
                    </a:lnTo>
                    <a:lnTo>
                      <a:pt x="26" y="41"/>
                    </a:lnTo>
                    <a:lnTo>
                      <a:pt x="17" y="45"/>
                    </a:lnTo>
                    <a:lnTo>
                      <a:pt x="12" y="45"/>
                    </a:lnTo>
                    <a:lnTo>
                      <a:pt x="7" y="43"/>
                    </a:lnTo>
                    <a:lnTo>
                      <a:pt x="3" y="40"/>
                    </a:lnTo>
                    <a:lnTo>
                      <a:pt x="0" y="36"/>
                    </a:lnTo>
                    <a:lnTo>
                      <a:pt x="0" y="31"/>
                    </a:lnTo>
                    <a:lnTo>
                      <a:pt x="1" y="25"/>
                    </a:lnTo>
                    <a:lnTo>
                      <a:pt x="4" y="21"/>
                    </a:lnTo>
                    <a:lnTo>
                      <a:pt x="9" y="19"/>
                    </a:lnTo>
                    <a:lnTo>
                      <a:pt x="17" y="17"/>
                    </a:lnTo>
                    <a:lnTo>
                      <a:pt x="39" y="11"/>
                    </a:lnTo>
                    <a:lnTo>
                      <a:pt x="54" y="8"/>
                    </a:lnTo>
                    <a:lnTo>
                      <a:pt x="72" y="6"/>
                    </a:lnTo>
                    <a:lnTo>
                      <a:pt x="94" y="2"/>
                    </a:lnTo>
                    <a:lnTo>
                      <a:pt x="118" y="1"/>
                    </a:lnTo>
                    <a:lnTo>
                      <a:pt x="144" y="0"/>
                    </a:lnTo>
                    <a:lnTo>
                      <a:pt x="173" y="0"/>
                    </a:lnTo>
                    <a:lnTo>
                      <a:pt x="204" y="1"/>
                    </a:lnTo>
                    <a:lnTo>
                      <a:pt x="237" y="5"/>
                    </a:lnTo>
                    <a:lnTo>
                      <a:pt x="272" y="10"/>
                    </a:lnTo>
                    <a:lnTo>
                      <a:pt x="310" y="18"/>
                    </a:lnTo>
                    <a:lnTo>
                      <a:pt x="349" y="27"/>
                    </a:lnTo>
                    <a:lnTo>
                      <a:pt x="390" y="39"/>
                    </a:lnTo>
                    <a:lnTo>
                      <a:pt x="432" y="55"/>
                    </a:lnTo>
                    <a:lnTo>
                      <a:pt x="475" y="74"/>
                    </a:lnTo>
                    <a:lnTo>
                      <a:pt x="520" y="95"/>
                    </a:lnTo>
                    <a:lnTo>
                      <a:pt x="566" y="121"/>
                    </a:lnTo>
                    <a:lnTo>
                      <a:pt x="613" y="150"/>
                    </a:lnTo>
                    <a:lnTo>
                      <a:pt x="661" y="185"/>
                    </a:lnTo>
                    <a:lnTo>
                      <a:pt x="709" y="223"/>
                    </a:lnTo>
                    <a:lnTo>
                      <a:pt x="759" y="266"/>
                    </a:lnTo>
                    <a:lnTo>
                      <a:pt x="809" y="314"/>
                    </a:lnTo>
                    <a:lnTo>
                      <a:pt x="858" y="367"/>
                    </a:lnTo>
                    <a:lnTo>
                      <a:pt x="909" y="427"/>
                    </a:lnTo>
                    <a:lnTo>
                      <a:pt x="959" y="491"/>
                    </a:lnTo>
                    <a:lnTo>
                      <a:pt x="1010" y="562"/>
                    </a:lnTo>
                    <a:lnTo>
                      <a:pt x="1059" y="638"/>
                    </a:lnTo>
                    <a:lnTo>
                      <a:pt x="1109" y="722"/>
                    </a:lnTo>
                    <a:lnTo>
                      <a:pt x="1159" y="812"/>
                    </a:lnTo>
                    <a:lnTo>
                      <a:pt x="1179" y="853"/>
                    </a:lnTo>
                    <a:lnTo>
                      <a:pt x="1199" y="894"/>
                    </a:lnTo>
                    <a:lnTo>
                      <a:pt x="1218" y="935"/>
                    </a:lnTo>
                    <a:lnTo>
                      <a:pt x="1236" y="976"/>
                    </a:lnTo>
                    <a:lnTo>
                      <a:pt x="1253" y="1018"/>
                    </a:lnTo>
                    <a:lnTo>
                      <a:pt x="1269" y="1059"/>
                    </a:lnTo>
                    <a:lnTo>
                      <a:pt x="1285" y="1101"/>
                    </a:lnTo>
                    <a:lnTo>
                      <a:pt x="1299" y="1142"/>
                    </a:lnTo>
                    <a:lnTo>
                      <a:pt x="1313" y="1183"/>
                    </a:lnTo>
                    <a:lnTo>
                      <a:pt x="1326" y="1223"/>
                    </a:lnTo>
                    <a:lnTo>
                      <a:pt x="1339" y="1264"/>
                    </a:lnTo>
                    <a:lnTo>
                      <a:pt x="1351" y="1303"/>
                    </a:lnTo>
                    <a:lnTo>
                      <a:pt x="1371" y="1380"/>
                    </a:lnTo>
                    <a:lnTo>
                      <a:pt x="1390" y="1452"/>
                    </a:lnTo>
                    <a:lnTo>
                      <a:pt x="1406" y="1519"/>
                    </a:lnTo>
                    <a:lnTo>
                      <a:pt x="1419" y="1581"/>
                    </a:lnTo>
                    <a:lnTo>
                      <a:pt x="1431" y="1636"/>
                    </a:lnTo>
                    <a:lnTo>
                      <a:pt x="1439" y="1682"/>
                    </a:lnTo>
                    <a:lnTo>
                      <a:pt x="1446" y="1721"/>
                    </a:lnTo>
                    <a:lnTo>
                      <a:pt x="1450" y="1749"/>
                    </a:lnTo>
                    <a:lnTo>
                      <a:pt x="1452" y="1767"/>
                    </a:lnTo>
                    <a:lnTo>
                      <a:pt x="1453" y="1775"/>
                    </a:lnTo>
                    <a:lnTo>
                      <a:pt x="1453" y="1780"/>
                    </a:lnTo>
                    <a:lnTo>
                      <a:pt x="1451" y="1785"/>
                    </a:lnTo>
                    <a:lnTo>
                      <a:pt x="1447" y="1788"/>
                    </a:lnTo>
                    <a:lnTo>
                      <a:pt x="1443" y="1790"/>
                    </a:lnTo>
                    <a:lnTo>
                      <a:pt x="1441" y="1790"/>
                    </a:lnTo>
                    <a:lnTo>
                      <a:pt x="1440" y="1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34"/>
              <p:cNvSpPr>
                <a:spLocks/>
              </p:cNvSpPr>
              <p:nvPr userDrawn="1"/>
            </p:nvSpPr>
            <p:spPr bwMode="auto">
              <a:xfrm>
                <a:off x="285" y="3049"/>
                <a:ext cx="1555" cy="1271"/>
              </a:xfrm>
              <a:custGeom>
                <a:avLst/>
                <a:gdLst>
                  <a:gd name="T0" fmla="*/ 121 w 4664"/>
                  <a:gd name="T1" fmla="*/ 3659 h 3812"/>
                  <a:gd name="T2" fmla="*/ 400 w 4664"/>
                  <a:gd name="T3" fmla="*/ 3297 h 3812"/>
                  <a:gd name="T4" fmla="*/ 746 w 4664"/>
                  <a:gd name="T5" fmla="*/ 2825 h 3812"/>
                  <a:gd name="T6" fmla="*/ 929 w 4664"/>
                  <a:gd name="T7" fmla="*/ 2566 h 3812"/>
                  <a:gd name="T8" fmla="*/ 1108 w 4664"/>
                  <a:gd name="T9" fmla="*/ 2301 h 3812"/>
                  <a:gd name="T10" fmla="*/ 1278 w 4664"/>
                  <a:gd name="T11" fmla="*/ 2036 h 3812"/>
                  <a:gd name="T12" fmla="*/ 1431 w 4664"/>
                  <a:gd name="T13" fmla="*/ 1778 h 3812"/>
                  <a:gd name="T14" fmla="*/ 1561 w 4664"/>
                  <a:gd name="T15" fmla="*/ 1534 h 3812"/>
                  <a:gd name="T16" fmla="*/ 1700 w 4664"/>
                  <a:gd name="T17" fmla="*/ 1253 h 3812"/>
                  <a:gd name="T18" fmla="*/ 1859 w 4664"/>
                  <a:gd name="T19" fmla="*/ 988 h 3812"/>
                  <a:gd name="T20" fmla="*/ 2021 w 4664"/>
                  <a:gd name="T21" fmla="*/ 771 h 3812"/>
                  <a:gd name="T22" fmla="*/ 2181 w 4664"/>
                  <a:gd name="T23" fmla="*/ 595 h 3812"/>
                  <a:gd name="T24" fmla="*/ 2340 w 4664"/>
                  <a:gd name="T25" fmla="*/ 457 h 3812"/>
                  <a:gd name="T26" fmla="*/ 2491 w 4664"/>
                  <a:gd name="T27" fmla="*/ 352 h 3812"/>
                  <a:gd name="T28" fmla="*/ 2633 w 4664"/>
                  <a:gd name="T29" fmla="*/ 276 h 3812"/>
                  <a:gd name="T30" fmla="*/ 2760 w 4664"/>
                  <a:gd name="T31" fmla="*/ 223 h 3812"/>
                  <a:gd name="T32" fmla="*/ 2873 w 4664"/>
                  <a:gd name="T33" fmla="*/ 190 h 3812"/>
                  <a:gd name="T34" fmla="*/ 2964 w 4664"/>
                  <a:gd name="T35" fmla="*/ 173 h 3812"/>
                  <a:gd name="T36" fmla="*/ 3033 w 4664"/>
                  <a:gd name="T37" fmla="*/ 166 h 3812"/>
                  <a:gd name="T38" fmla="*/ 3329 w 4664"/>
                  <a:gd name="T39" fmla="*/ 142 h 3812"/>
                  <a:gd name="T40" fmla="*/ 3716 w 4664"/>
                  <a:gd name="T41" fmla="*/ 104 h 3812"/>
                  <a:gd name="T42" fmla="*/ 4115 w 4664"/>
                  <a:gd name="T43" fmla="*/ 61 h 3812"/>
                  <a:gd name="T44" fmla="*/ 4447 w 4664"/>
                  <a:gd name="T45" fmla="*/ 24 h 3812"/>
                  <a:gd name="T46" fmla="*/ 4634 w 4664"/>
                  <a:gd name="T47" fmla="*/ 3 h 3812"/>
                  <a:gd name="T48" fmla="*/ 4660 w 4664"/>
                  <a:gd name="T49" fmla="*/ 4 h 3812"/>
                  <a:gd name="T50" fmla="*/ 4664 w 4664"/>
                  <a:gd name="T51" fmla="*/ 18 h 3812"/>
                  <a:gd name="T52" fmla="*/ 4652 w 4664"/>
                  <a:gd name="T53" fmla="*/ 27 h 3812"/>
                  <a:gd name="T54" fmla="*/ 4532 w 4664"/>
                  <a:gd name="T55" fmla="*/ 41 h 3812"/>
                  <a:gd name="T56" fmla="*/ 4241 w 4664"/>
                  <a:gd name="T57" fmla="*/ 74 h 3812"/>
                  <a:gd name="T58" fmla="*/ 3854 w 4664"/>
                  <a:gd name="T59" fmla="*/ 116 h 3812"/>
                  <a:gd name="T60" fmla="*/ 3453 w 4664"/>
                  <a:gd name="T61" fmla="*/ 157 h 3812"/>
                  <a:gd name="T62" fmla="*/ 3119 w 4664"/>
                  <a:gd name="T63" fmla="*/ 187 h 3812"/>
                  <a:gd name="T64" fmla="*/ 2957 w 4664"/>
                  <a:gd name="T65" fmla="*/ 201 h 3812"/>
                  <a:gd name="T66" fmla="*/ 2833 w 4664"/>
                  <a:gd name="T67" fmla="*/ 228 h 3812"/>
                  <a:gd name="T68" fmla="*/ 2702 w 4664"/>
                  <a:gd name="T69" fmla="*/ 275 h 3812"/>
                  <a:gd name="T70" fmla="*/ 2567 w 4664"/>
                  <a:gd name="T71" fmla="*/ 341 h 3812"/>
                  <a:gd name="T72" fmla="*/ 2428 w 4664"/>
                  <a:gd name="T73" fmla="*/ 429 h 3812"/>
                  <a:gd name="T74" fmla="*/ 2287 w 4664"/>
                  <a:gd name="T75" fmla="*/ 539 h 3812"/>
                  <a:gd name="T76" fmla="*/ 2147 w 4664"/>
                  <a:gd name="T77" fmla="*/ 673 h 3812"/>
                  <a:gd name="T78" fmla="*/ 2009 w 4664"/>
                  <a:gd name="T79" fmla="*/ 832 h 3812"/>
                  <a:gd name="T80" fmla="*/ 1875 w 4664"/>
                  <a:gd name="T81" fmla="*/ 1017 h 3812"/>
                  <a:gd name="T82" fmla="*/ 1745 w 4664"/>
                  <a:gd name="T83" fmla="*/ 1229 h 3812"/>
                  <a:gd name="T84" fmla="*/ 1622 w 4664"/>
                  <a:gd name="T85" fmla="*/ 1468 h 3812"/>
                  <a:gd name="T86" fmla="*/ 1503 w 4664"/>
                  <a:gd name="T87" fmla="*/ 1703 h 3812"/>
                  <a:gd name="T88" fmla="*/ 1360 w 4664"/>
                  <a:gd name="T89" fmla="*/ 1952 h 3812"/>
                  <a:gd name="T90" fmla="*/ 1199 w 4664"/>
                  <a:gd name="T91" fmla="*/ 2211 h 3812"/>
                  <a:gd name="T92" fmla="*/ 1025 w 4664"/>
                  <a:gd name="T93" fmla="*/ 2473 h 3812"/>
                  <a:gd name="T94" fmla="*/ 847 w 4664"/>
                  <a:gd name="T95" fmla="*/ 2733 h 3812"/>
                  <a:gd name="T96" fmla="*/ 553 w 4664"/>
                  <a:gd name="T97" fmla="*/ 3137 h 3812"/>
                  <a:gd name="T98" fmla="*/ 245 w 4664"/>
                  <a:gd name="T99" fmla="*/ 3543 h 3812"/>
                  <a:gd name="T100" fmla="*/ 35 w 4664"/>
                  <a:gd name="T101" fmla="*/ 3812 h 3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64" h="3812">
                    <a:moveTo>
                      <a:pt x="0" y="3812"/>
                    </a:moveTo>
                    <a:lnTo>
                      <a:pt x="53" y="3745"/>
                    </a:lnTo>
                    <a:lnTo>
                      <a:pt x="121" y="3659"/>
                    </a:lnTo>
                    <a:lnTo>
                      <a:pt x="203" y="3553"/>
                    </a:lnTo>
                    <a:lnTo>
                      <a:pt x="297" y="3432"/>
                    </a:lnTo>
                    <a:lnTo>
                      <a:pt x="400" y="3297"/>
                    </a:lnTo>
                    <a:lnTo>
                      <a:pt x="511" y="3149"/>
                    </a:lnTo>
                    <a:lnTo>
                      <a:pt x="627" y="2992"/>
                    </a:lnTo>
                    <a:lnTo>
                      <a:pt x="746" y="2825"/>
                    </a:lnTo>
                    <a:lnTo>
                      <a:pt x="807" y="2740"/>
                    </a:lnTo>
                    <a:lnTo>
                      <a:pt x="868" y="2654"/>
                    </a:lnTo>
                    <a:lnTo>
                      <a:pt x="929" y="2566"/>
                    </a:lnTo>
                    <a:lnTo>
                      <a:pt x="989" y="2479"/>
                    </a:lnTo>
                    <a:lnTo>
                      <a:pt x="1049" y="2390"/>
                    </a:lnTo>
                    <a:lnTo>
                      <a:pt x="1108" y="2301"/>
                    </a:lnTo>
                    <a:lnTo>
                      <a:pt x="1166" y="2212"/>
                    </a:lnTo>
                    <a:lnTo>
                      <a:pt x="1223" y="2124"/>
                    </a:lnTo>
                    <a:lnTo>
                      <a:pt x="1278" y="2036"/>
                    </a:lnTo>
                    <a:lnTo>
                      <a:pt x="1331" y="1949"/>
                    </a:lnTo>
                    <a:lnTo>
                      <a:pt x="1381" y="1862"/>
                    </a:lnTo>
                    <a:lnTo>
                      <a:pt x="1431" y="1778"/>
                    </a:lnTo>
                    <a:lnTo>
                      <a:pt x="1476" y="1695"/>
                    </a:lnTo>
                    <a:lnTo>
                      <a:pt x="1521" y="1613"/>
                    </a:lnTo>
                    <a:lnTo>
                      <a:pt x="1561" y="1534"/>
                    </a:lnTo>
                    <a:lnTo>
                      <a:pt x="1597" y="1457"/>
                    </a:lnTo>
                    <a:lnTo>
                      <a:pt x="1648" y="1352"/>
                    </a:lnTo>
                    <a:lnTo>
                      <a:pt x="1700" y="1253"/>
                    </a:lnTo>
                    <a:lnTo>
                      <a:pt x="1753" y="1160"/>
                    </a:lnTo>
                    <a:lnTo>
                      <a:pt x="1806" y="1071"/>
                    </a:lnTo>
                    <a:lnTo>
                      <a:pt x="1859" y="988"/>
                    </a:lnTo>
                    <a:lnTo>
                      <a:pt x="1913" y="911"/>
                    </a:lnTo>
                    <a:lnTo>
                      <a:pt x="1967" y="838"/>
                    </a:lnTo>
                    <a:lnTo>
                      <a:pt x="2021" y="771"/>
                    </a:lnTo>
                    <a:lnTo>
                      <a:pt x="2075" y="707"/>
                    </a:lnTo>
                    <a:lnTo>
                      <a:pt x="2129" y="649"/>
                    </a:lnTo>
                    <a:lnTo>
                      <a:pt x="2181" y="595"/>
                    </a:lnTo>
                    <a:lnTo>
                      <a:pt x="2235" y="545"/>
                    </a:lnTo>
                    <a:lnTo>
                      <a:pt x="2287" y="499"/>
                    </a:lnTo>
                    <a:lnTo>
                      <a:pt x="2340" y="457"/>
                    </a:lnTo>
                    <a:lnTo>
                      <a:pt x="2391" y="418"/>
                    </a:lnTo>
                    <a:lnTo>
                      <a:pt x="2442" y="384"/>
                    </a:lnTo>
                    <a:lnTo>
                      <a:pt x="2491" y="352"/>
                    </a:lnTo>
                    <a:lnTo>
                      <a:pt x="2539" y="323"/>
                    </a:lnTo>
                    <a:lnTo>
                      <a:pt x="2586" y="298"/>
                    </a:lnTo>
                    <a:lnTo>
                      <a:pt x="2633" y="276"/>
                    </a:lnTo>
                    <a:lnTo>
                      <a:pt x="2677" y="256"/>
                    </a:lnTo>
                    <a:lnTo>
                      <a:pt x="2719" y="238"/>
                    </a:lnTo>
                    <a:lnTo>
                      <a:pt x="2760" y="223"/>
                    </a:lnTo>
                    <a:lnTo>
                      <a:pt x="2800" y="211"/>
                    </a:lnTo>
                    <a:lnTo>
                      <a:pt x="2837" y="199"/>
                    </a:lnTo>
                    <a:lnTo>
                      <a:pt x="2873" y="190"/>
                    </a:lnTo>
                    <a:lnTo>
                      <a:pt x="2905" y="183"/>
                    </a:lnTo>
                    <a:lnTo>
                      <a:pt x="2936" y="177"/>
                    </a:lnTo>
                    <a:lnTo>
                      <a:pt x="2964" y="173"/>
                    </a:lnTo>
                    <a:lnTo>
                      <a:pt x="2990" y="170"/>
                    </a:lnTo>
                    <a:lnTo>
                      <a:pt x="3013" y="168"/>
                    </a:lnTo>
                    <a:lnTo>
                      <a:pt x="3033" y="166"/>
                    </a:lnTo>
                    <a:lnTo>
                      <a:pt x="3117" y="160"/>
                    </a:lnTo>
                    <a:lnTo>
                      <a:pt x="3216" y="153"/>
                    </a:lnTo>
                    <a:lnTo>
                      <a:pt x="3329" y="142"/>
                    </a:lnTo>
                    <a:lnTo>
                      <a:pt x="3451" y="131"/>
                    </a:lnTo>
                    <a:lnTo>
                      <a:pt x="3582" y="118"/>
                    </a:lnTo>
                    <a:lnTo>
                      <a:pt x="3716" y="104"/>
                    </a:lnTo>
                    <a:lnTo>
                      <a:pt x="3852" y="90"/>
                    </a:lnTo>
                    <a:lnTo>
                      <a:pt x="3986" y="75"/>
                    </a:lnTo>
                    <a:lnTo>
                      <a:pt x="4115" y="61"/>
                    </a:lnTo>
                    <a:lnTo>
                      <a:pt x="4237" y="47"/>
                    </a:lnTo>
                    <a:lnTo>
                      <a:pt x="4349" y="35"/>
                    </a:lnTo>
                    <a:lnTo>
                      <a:pt x="4447" y="24"/>
                    </a:lnTo>
                    <a:lnTo>
                      <a:pt x="4530" y="14"/>
                    </a:lnTo>
                    <a:lnTo>
                      <a:pt x="4593" y="7"/>
                    </a:lnTo>
                    <a:lnTo>
                      <a:pt x="4634" y="3"/>
                    </a:lnTo>
                    <a:lnTo>
                      <a:pt x="4649" y="0"/>
                    </a:lnTo>
                    <a:lnTo>
                      <a:pt x="4654" y="0"/>
                    </a:lnTo>
                    <a:lnTo>
                      <a:pt x="4660" y="4"/>
                    </a:lnTo>
                    <a:lnTo>
                      <a:pt x="4663" y="7"/>
                    </a:lnTo>
                    <a:lnTo>
                      <a:pt x="4664" y="12"/>
                    </a:lnTo>
                    <a:lnTo>
                      <a:pt x="4664" y="18"/>
                    </a:lnTo>
                    <a:lnTo>
                      <a:pt x="4662" y="22"/>
                    </a:lnTo>
                    <a:lnTo>
                      <a:pt x="4657" y="25"/>
                    </a:lnTo>
                    <a:lnTo>
                      <a:pt x="4652" y="27"/>
                    </a:lnTo>
                    <a:lnTo>
                      <a:pt x="4637" y="30"/>
                    </a:lnTo>
                    <a:lnTo>
                      <a:pt x="4596" y="34"/>
                    </a:lnTo>
                    <a:lnTo>
                      <a:pt x="4532" y="41"/>
                    </a:lnTo>
                    <a:lnTo>
                      <a:pt x="4450" y="50"/>
                    </a:lnTo>
                    <a:lnTo>
                      <a:pt x="4352" y="62"/>
                    </a:lnTo>
                    <a:lnTo>
                      <a:pt x="4241" y="74"/>
                    </a:lnTo>
                    <a:lnTo>
                      <a:pt x="4118" y="88"/>
                    </a:lnTo>
                    <a:lnTo>
                      <a:pt x="3988" y="102"/>
                    </a:lnTo>
                    <a:lnTo>
                      <a:pt x="3854" y="116"/>
                    </a:lnTo>
                    <a:lnTo>
                      <a:pt x="3718" y="131"/>
                    </a:lnTo>
                    <a:lnTo>
                      <a:pt x="3584" y="144"/>
                    </a:lnTo>
                    <a:lnTo>
                      <a:pt x="3453" y="157"/>
                    </a:lnTo>
                    <a:lnTo>
                      <a:pt x="3330" y="169"/>
                    </a:lnTo>
                    <a:lnTo>
                      <a:pt x="3218" y="180"/>
                    </a:lnTo>
                    <a:lnTo>
                      <a:pt x="3119" y="187"/>
                    </a:lnTo>
                    <a:lnTo>
                      <a:pt x="3034" y="193"/>
                    </a:lnTo>
                    <a:lnTo>
                      <a:pt x="2997" y="196"/>
                    </a:lnTo>
                    <a:lnTo>
                      <a:pt x="2957" y="201"/>
                    </a:lnTo>
                    <a:lnTo>
                      <a:pt x="2916" y="208"/>
                    </a:lnTo>
                    <a:lnTo>
                      <a:pt x="2875" y="217"/>
                    </a:lnTo>
                    <a:lnTo>
                      <a:pt x="2833" y="228"/>
                    </a:lnTo>
                    <a:lnTo>
                      <a:pt x="2789" y="241"/>
                    </a:lnTo>
                    <a:lnTo>
                      <a:pt x="2746" y="257"/>
                    </a:lnTo>
                    <a:lnTo>
                      <a:pt x="2702" y="275"/>
                    </a:lnTo>
                    <a:lnTo>
                      <a:pt x="2658" y="295"/>
                    </a:lnTo>
                    <a:lnTo>
                      <a:pt x="2612" y="317"/>
                    </a:lnTo>
                    <a:lnTo>
                      <a:pt x="2567" y="341"/>
                    </a:lnTo>
                    <a:lnTo>
                      <a:pt x="2520" y="368"/>
                    </a:lnTo>
                    <a:lnTo>
                      <a:pt x="2474" y="398"/>
                    </a:lnTo>
                    <a:lnTo>
                      <a:pt x="2428" y="429"/>
                    </a:lnTo>
                    <a:lnTo>
                      <a:pt x="2381" y="463"/>
                    </a:lnTo>
                    <a:lnTo>
                      <a:pt x="2335" y="500"/>
                    </a:lnTo>
                    <a:lnTo>
                      <a:pt x="2287" y="539"/>
                    </a:lnTo>
                    <a:lnTo>
                      <a:pt x="2241" y="581"/>
                    </a:lnTo>
                    <a:lnTo>
                      <a:pt x="2194" y="626"/>
                    </a:lnTo>
                    <a:lnTo>
                      <a:pt x="2147" y="673"/>
                    </a:lnTo>
                    <a:lnTo>
                      <a:pt x="2100" y="724"/>
                    </a:lnTo>
                    <a:lnTo>
                      <a:pt x="2055" y="777"/>
                    </a:lnTo>
                    <a:lnTo>
                      <a:pt x="2009" y="832"/>
                    </a:lnTo>
                    <a:lnTo>
                      <a:pt x="1963" y="891"/>
                    </a:lnTo>
                    <a:lnTo>
                      <a:pt x="1919" y="952"/>
                    </a:lnTo>
                    <a:lnTo>
                      <a:pt x="1875" y="1017"/>
                    </a:lnTo>
                    <a:lnTo>
                      <a:pt x="1830" y="1084"/>
                    </a:lnTo>
                    <a:lnTo>
                      <a:pt x="1787" y="1154"/>
                    </a:lnTo>
                    <a:lnTo>
                      <a:pt x="1745" y="1229"/>
                    </a:lnTo>
                    <a:lnTo>
                      <a:pt x="1703" y="1305"/>
                    </a:lnTo>
                    <a:lnTo>
                      <a:pt x="1662" y="1385"/>
                    </a:lnTo>
                    <a:lnTo>
                      <a:pt x="1622" y="1468"/>
                    </a:lnTo>
                    <a:lnTo>
                      <a:pt x="1585" y="1544"/>
                    </a:lnTo>
                    <a:lnTo>
                      <a:pt x="1545" y="1623"/>
                    </a:lnTo>
                    <a:lnTo>
                      <a:pt x="1503" y="1703"/>
                    </a:lnTo>
                    <a:lnTo>
                      <a:pt x="1458" y="1785"/>
                    </a:lnTo>
                    <a:lnTo>
                      <a:pt x="1410" y="1868"/>
                    </a:lnTo>
                    <a:lnTo>
                      <a:pt x="1360" y="1952"/>
                    </a:lnTo>
                    <a:lnTo>
                      <a:pt x="1308" y="2038"/>
                    </a:lnTo>
                    <a:lnTo>
                      <a:pt x="1254" y="2125"/>
                    </a:lnTo>
                    <a:lnTo>
                      <a:pt x="1199" y="2211"/>
                    </a:lnTo>
                    <a:lnTo>
                      <a:pt x="1142" y="2299"/>
                    </a:lnTo>
                    <a:lnTo>
                      <a:pt x="1084" y="2386"/>
                    </a:lnTo>
                    <a:lnTo>
                      <a:pt x="1025" y="2473"/>
                    </a:lnTo>
                    <a:lnTo>
                      <a:pt x="966" y="2561"/>
                    </a:lnTo>
                    <a:lnTo>
                      <a:pt x="906" y="2647"/>
                    </a:lnTo>
                    <a:lnTo>
                      <a:pt x="847" y="2733"/>
                    </a:lnTo>
                    <a:lnTo>
                      <a:pt x="786" y="2817"/>
                    </a:lnTo>
                    <a:lnTo>
                      <a:pt x="669" y="2981"/>
                    </a:lnTo>
                    <a:lnTo>
                      <a:pt x="553" y="3137"/>
                    </a:lnTo>
                    <a:lnTo>
                      <a:pt x="443" y="3284"/>
                    </a:lnTo>
                    <a:lnTo>
                      <a:pt x="340" y="3420"/>
                    </a:lnTo>
                    <a:lnTo>
                      <a:pt x="245" y="3543"/>
                    </a:lnTo>
                    <a:lnTo>
                      <a:pt x="162" y="3650"/>
                    </a:lnTo>
                    <a:lnTo>
                      <a:pt x="91" y="3741"/>
                    </a:lnTo>
                    <a:lnTo>
                      <a:pt x="35" y="3812"/>
                    </a:lnTo>
                    <a:lnTo>
                      <a:pt x="0" y="38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35"/>
              <p:cNvSpPr>
                <a:spLocks/>
              </p:cNvSpPr>
              <p:nvPr userDrawn="1"/>
            </p:nvSpPr>
            <p:spPr bwMode="auto">
              <a:xfrm>
                <a:off x="421" y="3474"/>
                <a:ext cx="670" cy="846"/>
              </a:xfrm>
              <a:custGeom>
                <a:avLst/>
                <a:gdLst>
                  <a:gd name="T0" fmla="*/ 78 w 2010"/>
                  <a:gd name="T1" fmla="*/ 2453 h 2538"/>
                  <a:gd name="T2" fmla="*/ 301 w 2010"/>
                  <a:gd name="T3" fmla="*/ 2203 h 2538"/>
                  <a:gd name="T4" fmla="*/ 590 w 2010"/>
                  <a:gd name="T5" fmla="*/ 1873 h 2538"/>
                  <a:gd name="T6" fmla="*/ 915 w 2010"/>
                  <a:gd name="T7" fmla="*/ 1494 h 2538"/>
                  <a:gd name="T8" fmla="*/ 1163 w 2010"/>
                  <a:gd name="T9" fmla="*/ 1197 h 2538"/>
                  <a:gd name="T10" fmla="*/ 1323 w 2010"/>
                  <a:gd name="T11" fmla="*/ 999 h 2538"/>
                  <a:gd name="T12" fmla="*/ 1475 w 2010"/>
                  <a:gd name="T13" fmla="*/ 807 h 2538"/>
                  <a:gd name="T14" fmla="*/ 1614 w 2010"/>
                  <a:gd name="T15" fmla="*/ 623 h 2538"/>
                  <a:gd name="T16" fmla="*/ 1737 w 2010"/>
                  <a:gd name="T17" fmla="*/ 451 h 2538"/>
                  <a:gd name="T18" fmla="*/ 1839 w 2010"/>
                  <a:gd name="T19" fmla="*/ 297 h 2538"/>
                  <a:gd name="T20" fmla="*/ 1918 w 2010"/>
                  <a:gd name="T21" fmla="*/ 163 h 2538"/>
                  <a:gd name="T22" fmla="*/ 1970 w 2010"/>
                  <a:gd name="T23" fmla="*/ 54 h 2538"/>
                  <a:gd name="T24" fmla="*/ 1985 w 2010"/>
                  <a:gd name="T25" fmla="*/ 4 h 2538"/>
                  <a:gd name="T26" fmla="*/ 1995 w 2010"/>
                  <a:gd name="T27" fmla="*/ 0 h 2538"/>
                  <a:gd name="T28" fmla="*/ 2005 w 2010"/>
                  <a:gd name="T29" fmla="*/ 2 h 2538"/>
                  <a:gd name="T30" fmla="*/ 2010 w 2010"/>
                  <a:gd name="T31" fmla="*/ 11 h 2538"/>
                  <a:gd name="T32" fmla="*/ 2002 w 2010"/>
                  <a:gd name="T33" fmla="*/ 41 h 2538"/>
                  <a:gd name="T34" fmla="*/ 1980 w 2010"/>
                  <a:gd name="T35" fmla="*/ 98 h 2538"/>
                  <a:gd name="T36" fmla="*/ 1947 w 2010"/>
                  <a:gd name="T37" fmla="*/ 165 h 2538"/>
                  <a:gd name="T38" fmla="*/ 1905 w 2010"/>
                  <a:gd name="T39" fmla="*/ 240 h 2538"/>
                  <a:gd name="T40" fmla="*/ 1854 w 2010"/>
                  <a:gd name="T41" fmla="*/ 322 h 2538"/>
                  <a:gd name="T42" fmla="*/ 1796 w 2010"/>
                  <a:gd name="T43" fmla="*/ 410 h 2538"/>
                  <a:gd name="T44" fmla="*/ 1697 w 2010"/>
                  <a:gd name="T45" fmla="*/ 553 h 2538"/>
                  <a:gd name="T46" fmla="*/ 1545 w 2010"/>
                  <a:gd name="T47" fmla="*/ 758 h 2538"/>
                  <a:gd name="T48" fmla="*/ 1378 w 2010"/>
                  <a:gd name="T49" fmla="*/ 973 h 2538"/>
                  <a:gd name="T50" fmla="*/ 1203 w 2010"/>
                  <a:gd name="T51" fmla="*/ 1190 h 2538"/>
                  <a:gd name="T52" fmla="*/ 1027 w 2010"/>
                  <a:gd name="T53" fmla="*/ 1403 h 2538"/>
                  <a:gd name="T54" fmla="*/ 879 w 2010"/>
                  <a:gd name="T55" fmla="*/ 1578 h 2538"/>
                  <a:gd name="T56" fmla="*/ 753 w 2010"/>
                  <a:gd name="T57" fmla="*/ 1727 h 2538"/>
                  <a:gd name="T58" fmla="*/ 625 w 2010"/>
                  <a:gd name="T59" fmla="*/ 1876 h 2538"/>
                  <a:gd name="T60" fmla="*/ 497 w 2010"/>
                  <a:gd name="T61" fmla="*/ 2023 h 2538"/>
                  <a:gd name="T62" fmla="*/ 375 w 2010"/>
                  <a:gd name="T63" fmla="*/ 2162 h 2538"/>
                  <a:gd name="T64" fmla="*/ 262 w 2010"/>
                  <a:gd name="T65" fmla="*/ 2290 h 2538"/>
                  <a:gd name="T66" fmla="*/ 160 w 2010"/>
                  <a:gd name="T67" fmla="*/ 2403 h 2538"/>
                  <a:gd name="T68" fmla="*/ 74 w 2010"/>
                  <a:gd name="T69" fmla="*/ 2499 h 2538"/>
                  <a:gd name="T70" fmla="*/ 0 w 2010"/>
                  <a:gd name="T71" fmla="*/ 2538 h 2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10" h="2538">
                    <a:moveTo>
                      <a:pt x="0" y="2538"/>
                    </a:moveTo>
                    <a:lnTo>
                      <a:pt x="78" y="2453"/>
                    </a:lnTo>
                    <a:lnTo>
                      <a:pt x="180" y="2339"/>
                    </a:lnTo>
                    <a:lnTo>
                      <a:pt x="301" y="2203"/>
                    </a:lnTo>
                    <a:lnTo>
                      <a:pt x="440" y="2047"/>
                    </a:lnTo>
                    <a:lnTo>
                      <a:pt x="590" y="1873"/>
                    </a:lnTo>
                    <a:lnTo>
                      <a:pt x="750" y="1688"/>
                    </a:lnTo>
                    <a:lnTo>
                      <a:pt x="915" y="1494"/>
                    </a:lnTo>
                    <a:lnTo>
                      <a:pt x="1081" y="1297"/>
                    </a:lnTo>
                    <a:lnTo>
                      <a:pt x="1163" y="1197"/>
                    </a:lnTo>
                    <a:lnTo>
                      <a:pt x="1244" y="1098"/>
                    </a:lnTo>
                    <a:lnTo>
                      <a:pt x="1323" y="999"/>
                    </a:lnTo>
                    <a:lnTo>
                      <a:pt x="1401" y="902"/>
                    </a:lnTo>
                    <a:lnTo>
                      <a:pt x="1475" y="807"/>
                    </a:lnTo>
                    <a:lnTo>
                      <a:pt x="1547" y="714"/>
                    </a:lnTo>
                    <a:lnTo>
                      <a:pt x="1614" y="623"/>
                    </a:lnTo>
                    <a:lnTo>
                      <a:pt x="1677" y="536"/>
                    </a:lnTo>
                    <a:lnTo>
                      <a:pt x="1737" y="451"/>
                    </a:lnTo>
                    <a:lnTo>
                      <a:pt x="1791" y="373"/>
                    </a:lnTo>
                    <a:lnTo>
                      <a:pt x="1839" y="297"/>
                    </a:lnTo>
                    <a:lnTo>
                      <a:pt x="1882" y="228"/>
                    </a:lnTo>
                    <a:lnTo>
                      <a:pt x="1918" y="163"/>
                    </a:lnTo>
                    <a:lnTo>
                      <a:pt x="1947" y="106"/>
                    </a:lnTo>
                    <a:lnTo>
                      <a:pt x="1970" y="54"/>
                    </a:lnTo>
                    <a:lnTo>
                      <a:pt x="1983" y="10"/>
                    </a:lnTo>
                    <a:lnTo>
                      <a:pt x="1985" y="4"/>
                    </a:lnTo>
                    <a:lnTo>
                      <a:pt x="1989" y="1"/>
                    </a:lnTo>
                    <a:lnTo>
                      <a:pt x="1995" y="0"/>
                    </a:lnTo>
                    <a:lnTo>
                      <a:pt x="1999" y="0"/>
                    </a:lnTo>
                    <a:lnTo>
                      <a:pt x="2005" y="2"/>
                    </a:lnTo>
                    <a:lnTo>
                      <a:pt x="2008" y="6"/>
                    </a:lnTo>
                    <a:lnTo>
                      <a:pt x="2010" y="11"/>
                    </a:lnTo>
                    <a:lnTo>
                      <a:pt x="2010" y="16"/>
                    </a:lnTo>
                    <a:lnTo>
                      <a:pt x="2002" y="41"/>
                    </a:lnTo>
                    <a:lnTo>
                      <a:pt x="1993" y="69"/>
                    </a:lnTo>
                    <a:lnTo>
                      <a:pt x="1980" y="98"/>
                    </a:lnTo>
                    <a:lnTo>
                      <a:pt x="1965" y="131"/>
                    </a:lnTo>
                    <a:lnTo>
                      <a:pt x="1947" y="165"/>
                    </a:lnTo>
                    <a:lnTo>
                      <a:pt x="1928" y="202"/>
                    </a:lnTo>
                    <a:lnTo>
                      <a:pt x="1905" y="240"/>
                    </a:lnTo>
                    <a:lnTo>
                      <a:pt x="1881" y="280"/>
                    </a:lnTo>
                    <a:lnTo>
                      <a:pt x="1854" y="322"/>
                    </a:lnTo>
                    <a:lnTo>
                      <a:pt x="1826" y="365"/>
                    </a:lnTo>
                    <a:lnTo>
                      <a:pt x="1796" y="410"/>
                    </a:lnTo>
                    <a:lnTo>
                      <a:pt x="1765" y="457"/>
                    </a:lnTo>
                    <a:lnTo>
                      <a:pt x="1697" y="553"/>
                    </a:lnTo>
                    <a:lnTo>
                      <a:pt x="1623" y="654"/>
                    </a:lnTo>
                    <a:lnTo>
                      <a:pt x="1545" y="758"/>
                    </a:lnTo>
                    <a:lnTo>
                      <a:pt x="1462" y="865"/>
                    </a:lnTo>
                    <a:lnTo>
                      <a:pt x="1378" y="973"/>
                    </a:lnTo>
                    <a:lnTo>
                      <a:pt x="1291" y="1081"/>
                    </a:lnTo>
                    <a:lnTo>
                      <a:pt x="1203" y="1190"/>
                    </a:lnTo>
                    <a:lnTo>
                      <a:pt x="1115" y="1298"/>
                    </a:lnTo>
                    <a:lnTo>
                      <a:pt x="1027" y="1403"/>
                    </a:lnTo>
                    <a:lnTo>
                      <a:pt x="941" y="1506"/>
                    </a:lnTo>
                    <a:lnTo>
                      <a:pt x="879" y="1578"/>
                    </a:lnTo>
                    <a:lnTo>
                      <a:pt x="817" y="1653"/>
                    </a:lnTo>
                    <a:lnTo>
                      <a:pt x="753" y="1727"/>
                    </a:lnTo>
                    <a:lnTo>
                      <a:pt x="688" y="1802"/>
                    </a:lnTo>
                    <a:lnTo>
                      <a:pt x="625" y="1876"/>
                    </a:lnTo>
                    <a:lnTo>
                      <a:pt x="561" y="1951"/>
                    </a:lnTo>
                    <a:lnTo>
                      <a:pt x="497" y="2023"/>
                    </a:lnTo>
                    <a:lnTo>
                      <a:pt x="436" y="2093"/>
                    </a:lnTo>
                    <a:lnTo>
                      <a:pt x="375" y="2162"/>
                    </a:lnTo>
                    <a:lnTo>
                      <a:pt x="317" y="2227"/>
                    </a:lnTo>
                    <a:lnTo>
                      <a:pt x="262" y="2290"/>
                    </a:lnTo>
                    <a:lnTo>
                      <a:pt x="209" y="2349"/>
                    </a:lnTo>
                    <a:lnTo>
                      <a:pt x="160" y="2403"/>
                    </a:lnTo>
                    <a:lnTo>
                      <a:pt x="115" y="2454"/>
                    </a:lnTo>
                    <a:lnTo>
                      <a:pt x="74" y="2499"/>
                    </a:lnTo>
                    <a:lnTo>
                      <a:pt x="38" y="2538"/>
                    </a:lnTo>
                    <a:lnTo>
                      <a:pt x="0" y="2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36"/>
              <p:cNvSpPr>
                <a:spLocks/>
              </p:cNvSpPr>
              <p:nvPr userDrawn="1"/>
            </p:nvSpPr>
            <p:spPr bwMode="auto">
              <a:xfrm>
                <a:off x="319" y="3021"/>
                <a:ext cx="1116" cy="1262"/>
              </a:xfrm>
              <a:custGeom>
                <a:avLst/>
                <a:gdLst>
                  <a:gd name="T0" fmla="*/ 11 w 3349"/>
                  <a:gd name="T1" fmla="*/ 3786 h 3786"/>
                  <a:gd name="T2" fmla="*/ 4 w 3349"/>
                  <a:gd name="T3" fmla="*/ 3781 h 3786"/>
                  <a:gd name="T4" fmla="*/ 0 w 3349"/>
                  <a:gd name="T5" fmla="*/ 3772 h 3786"/>
                  <a:gd name="T6" fmla="*/ 15 w 3349"/>
                  <a:gd name="T7" fmla="*/ 3739 h 3786"/>
                  <a:gd name="T8" fmla="*/ 99 w 3349"/>
                  <a:gd name="T9" fmla="*/ 3558 h 3786"/>
                  <a:gd name="T10" fmla="*/ 246 w 3349"/>
                  <a:gd name="T11" fmla="*/ 3245 h 3786"/>
                  <a:gd name="T12" fmla="*/ 436 w 3349"/>
                  <a:gd name="T13" fmla="*/ 2840 h 3786"/>
                  <a:gd name="T14" fmla="*/ 649 w 3349"/>
                  <a:gd name="T15" fmla="*/ 2387 h 3786"/>
                  <a:gd name="T16" fmla="*/ 867 w 3349"/>
                  <a:gd name="T17" fmla="*/ 1927 h 3786"/>
                  <a:gd name="T18" fmla="*/ 1070 w 3349"/>
                  <a:gd name="T19" fmla="*/ 1503 h 3786"/>
                  <a:gd name="T20" fmla="*/ 1237 w 3349"/>
                  <a:gd name="T21" fmla="*/ 1156 h 3786"/>
                  <a:gd name="T22" fmla="*/ 1337 w 3349"/>
                  <a:gd name="T23" fmla="*/ 965 h 3786"/>
                  <a:gd name="T24" fmla="*/ 1426 w 3349"/>
                  <a:gd name="T25" fmla="*/ 851 h 3786"/>
                  <a:gd name="T26" fmla="*/ 1542 w 3349"/>
                  <a:gd name="T27" fmla="*/ 743 h 3786"/>
                  <a:gd name="T28" fmla="*/ 1678 w 3349"/>
                  <a:gd name="T29" fmla="*/ 642 h 3786"/>
                  <a:gd name="T30" fmla="*/ 1831 w 3349"/>
                  <a:gd name="T31" fmla="*/ 547 h 3786"/>
                  <a:gd name="T32" fmla="*/ 1996 w 3349"/>
                  <a:gd name="T33" fmla="*/ 460 h 3786"/>
                  <a:gd name="T34" fmla="*/ 2169 w 3349"/>
                  <a:gd name="T35" fmla="*/ 379 h 3786"/>
                  <a:gd name="T36" fmla="*/ 2345 w 3349"/>
                  <a:gd name="T37" fmla="*/ 306 h 3786"/>
                  <a:gd name="T38" fmla="*/ 2520 w 3349"/>
                  <a:gd name="T39" fmla="*/ 240 h 3786"/>
                  <a:gd name="T40" fmla="*/ 2688 w 3349"/>
                  <a:gd name="T41" fmla="*/ 181 h 3786"/>
                  <a:gd name="T42" fmla="*/ 2847 w 3349"/>
                  <a:gd name="T43" fmla="*/ 131 h 3786"/>
                  <a:gd name="T44" fmla="*/ 2991 w 3349"/>
                  <a:gd name="T45" fmla="*/ 89 h 3786"/>
                  <a:gd name="T46" fmla="*/ 3169 w 3349"/>
                  <a:gd name="T47" fmla="*/ 40 h 3786"/>
                  <a:gd name="T48" fmla="*/ 3314 w 3349"/>
                  <a:gd name="T49" fmla="*/ 4 h 3786"/>
                  <a:gd name="T50" fmla="*/ 3341 w 3349"/>
                  <a:gd name="T51" fmla="*/ 1 h 3786"/>
                  <a:gd name="T52" fmla="*/ 3348 w 3349"/>
                  <a:gd name="T53" fmla="*/ 9 h 3786"/>
                  <a:gd name="T54" fmla="*/ 3348 w 3349"/>
                  <a:gd name="T55" fmla="*/ 20 h 3786"/>
                  <a:gd name="T56" fmla="*/ 3341 w 3349"/>
                  <a:gd name="T57" fmla="*/ 26 h 3786"/>
                  <a:gd name="T58" fmla="*/ 3323 w 3349"/>
                  <a:gd name="T59" fmla="*/ 29 h 3786"/>
                  <a:gd name="T60" fmla="*/ 3274 w 3349"/>
                  <a:gd name="T61" fmla="*/ 39 h 3786"/>
                  <a:gd name="T62" fmla="*/ 3145 w 3349"/>
                  <a:gd name="T63" fmla="*/ 71 h 3786"/>
                  <a:gd name="T64" fmla="*/ 2964 w 3349"/>
                  <a:gd name="T65" fmla="*/ 122 h 3786"/>
                  <a:gd name="T66" fmla="*/ 2820 w 3349"/>
                  <a:gd name="T67" fmla="*/ 166 h 3786"/>
                  <a:gd name="T68" fmla="*/ 2663 w 3349"/>
                  <a:gd name="T69" fmla="*/ 219 h 3786"/>
                  <a:gd name="T70" fmla="*/ 2497 w 3349"/>
                  <a:gd name="T71" fmla="*/ 279 h 3786"/>
                  <a:gd name="T72" fmla="*/ 2327 w 3349"/>
                  <a:gd name="T73" fmla="*/ 344 h 3786"/>
                  <a:gd name="T74" fmla="*/ 2156 w 3349"/>
                  <a:gd name="T75" fmla="*/ 418 h 3786"/>
                  <a:gd name="T76" fmla="*/ 1989 w 3349"/>
                  <a:gd name="T77" fmla="*/ 498 h 3786"/>
                  <a:gd name="T78" fmla="*/ 1830 w 3349"/>
                  <a:gd name="T79" fmla="*/ 583 h 3786"/>
                  <a:gd name="T80" fmla="*/ 1683 w 3349"/>
                  <a:gd name="T81" fmla="*/ 675 h 3786"/>
                  <a:gd name="T82" fmla="*/ 1552 w 3349"/>
                  <a:gd name="T83" fmla="*/ 772 h 3786"/>
                  <a:gd name="T84" fmla="*/ 1443 w 3349"/>
                  <a:gd name="T85" fmla="*/ 874 h 3786"/>
                  <a:gd name="T86" fmla="*/ 1358 w 3349"/>
                  <a:gd name="T87" fmla="*/ 981 h 3786"/>
                  <a:gd name="T88" fmla="*/ 1261 w 3349"/>
                  <a:gd name="T89" fmla="*/ 1168 h 3786"/>
                  <a:gd name="T90" fmla="*/ 1094 w 3349"/>
                  <a:gd name="T91" fmla="*/ 1515 h 3786"/>
                  <a:gd name="T92" fmla="*/ 892 w 3349"/>
                  <a:gd name="T93" fmla="*/ 1939 h 3786"/>
                  <a:gd name="T94" fmla="*/ 674 w 3349"/>
                  <a:gd name="T95" fmla="*/ 2399 h 3786"/>
                  <a:gd name="T96" fmla="*/ 460 w 3349"/>
                  <a:gd name="T97" fmla="*/ 2852 h 3786"/>
                  <a:gd name="T98" fmla="*/ 271 w 3349"/>
                  <a:gd name="T99" fmla="*/ 3256 h 3786"/>
                  <a:gd name="T100" fmla="*/ 124 w 3349"/>
                  <a:gd name="T101" fmla="*/ 3570 h 3786"/>
                  <a:gd name="T102" fmla="*/ 39 w 3349"/>
                  <a:gd name="T103" fmla="*/ 3751 h 3786"/>
                  <a:gd name="T104" fmla="*/ 23 w 3349"/>
                  <a:gd name="T105" fmla="*/ 3781 h 3786"/>
                  <a:gd name="T106" fmla="*/ 17 w 3349"/>
                  <a:gd name="T107" fmla="*/ 3786 h 3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49" h="3786">
                    <a:moveTo>
                      <a:pt x="14" y="3786"/>
                    </a:moveTo>
                    <a:lnTo>
                      <a:pt x="11" y="3786"/>
                    </a:lnTo>
                    <a:lnTo>
                      <a:pt x="8" y="3785"/>
                    </a:lnTo>
                    <a:lnTo>
                      <a:pt x="4" y="3781"/>
                    </a:lnTo>
                    <a:lnTo>
                      <a:pt x="1" y="3777"/>
                    </a:lnTo>
                    <a:lnTo>
                      <a:pt x="0" y="3772"/>
                    </a:lnTo>
                    <a:lnTo>
                      <a:pt x="2" y="3767"/>
                    </a:lnTo>
                    <a:lnTo>
                      <a:pt x="15" y="3739"/>
                    </a:lnTo>
                    <a:lnTo>
                      <a:pt x="47" y="3668"/>
                    </a:lnTo>
                    <a:lnTo>
                      <a:pt x="99" y="3558"/>
                    </a:lnTo>
                    <a:lnTo>
                      <a:pt x="166" y="3416"/>
                    </a:lnTo>
                    <a:lnTo>
                      <a:pt x="246" y="3245"/>
                    </a:lnTo>
                    <a:lnTo>
                      <a:pt x="337" y="3052"/>
                    </a:lnTo>
                    <a:lnTo>
                      <a:pt x="436" y="2840"/>
                    </a:lnTo>
                    <a:lnTo>
                      <a:pt x="541" y="2617"/>
                    </a:lnTo>
                    <a:lnTo>
                      <a:pt x="649" y="2387"/>
                    </a:lnTo>
                    <a:lnTo>
                      <a:pt x="759" y="2156"/>
                    </a:lnTo>
                    <a:lnTo>
                      <a:pt x="867" y="1927"/>
                    </a:lnTo>
                    <a:lnTo>
                      <a:pt x="972" y="1708"/>
                    </a:lnTo>
                    <a:lnTo>
                      <a:pt x="1070" y="1503"/>
                    </a:lnTo>
                    <a:lnTo>
                      <a:pt x="1158" y="1317"/>
                    </a:lnTo>
                    <a:lnTo>
                      <a:pt x="1237" y="1156"/>
                    </a:lnTo>
                    <a:lnTo>
                      <a:pt x="1302" y="1025"/>
                    </a:lnTo>
                    <a:lnTo>
                      <a:pt x="1337" y="965"/>
                    </a:lnTo>
                    <a:lnTo>
                      <a:pt x="1378" y="907"/>
                    </a:lnTo>
                    <a:lnTo>
                      <a:pt x="1426" y="851"/>
                    </a:lnTo>
                    <a:lnTo>
                      <a:pt x="1481" y="797"/>
                    </a:lnTo>
                    <a:lnTo>
                      <a:pt x="1542" y="743"/>
                    </a:lnTo>
                    <a:lnTo>
                      <a:pt x="1608" y="692"/>
                    </a:lnTo>
                    <a:lnTo>
                      <a:pt x="1678" y="642"/>
                    </a:lnTo>
                    <a:lnTo>
                      <a:pt x="1753" y="594"/>
                    </a:lnTo>
                    <a:lnTo>
                      <a:pt x="1831" y="547"/>
                    </a:lnTo>
                    <a:lnTo>
                      <a:pt x="1913" y="503"/>
                    </a:lnTo>
                    <a:lnTo>
                      <a:pt x="1996" y="460"/>
                    </a:lnTo>
                    <a:lnTo>
                      <a:pt x="2083" y="419"/>
                    </a:lnTo>
                    <a:lnTo>
                      <a:pt x="2169" y="379"/>
                    </a:lnTo>
                    <a:lnTo>
                      <a:pt x="2258" y="341"/>
                    </a:lnTo>
                    <a:lnTo>
                      <a:pt x="2345" y="306"/>
                    </a:lnTo>
                    <a:lnTo>
                      <a:pt x="2434" y="272"/>
                    </a:lnTo>
                    <a:lnTo>
                      <a:pt x="2520" y="240"/>
                    </a:lnTo>
                    <a:lnTo>
                      <a:pt x="2605" y="210"/>
                    </a:lnTo>
                    <a:lnTo>
                      <a:pt x="2688" y="181"/>
                    </a:lnTo>
                    <a:lnTo>
                      <a:pt x="2769" y="156"/>
                    </a:lnTo>
                    <a:lnTo>
                      <a:pt x="2847" y="131"/>
                    </a:lnTo>
                    <a:lnTo>
                      <a:pt x="2922" y="109"/>
                    </a:lnTo>
                    <a:lnTo>
                      <a:pt x="2991" y="89"/>
                    </a:lnTo>
                    <a:lnTo>
                      <a:pt x="3057" y="70"/>
                    </a:lnTo>
                    <a:lnTo>
                      <a:pt x="3169" y="40"/>
                    </a:lnTo>
                    <a:lnTo>
                      <a:pt x="3256" y="18"/>
                    </a:lnTo>
                    <a:lnTo>
                      <a:pt x="3314" y="4"/>
                    </a:lnTo>
                    <a:lnTo>
                      <a:pt x="3335" y="0"/>
                    </a:lnTo>
                    <a:lnTo>
                      <a:pt x="3341" y="1"/>
                    </a:lnTo>
                    <a:lnTo>
                      <a:pt x="3345" y="4"/>
                    </a:lnTo>
                    <a:lnTo>
                      <a:pt x="3348" y="9"/>
                    </a:lnTo>
                    <a:lnTo>
                      <a:pt x="3349" y="14"/>
                    </a:lnTo>
                    <a:lnTo>
                      <a:pt x="3348" y="20"/>
                    </a:lnTo>
                    <a:lnTo>
                      <a:pt x="3345" y="23"/>
                    </a:lnTo>
                    <a:lnTo>
                      <a:pt x="3341" y="26"/>
                    </a:lnTo>
                    <a:lnTo>
                      <a:pt x="3335" y="27"/>
                    </a:lnTo>
                    <a:lnTo>
                      <a:pt x="3323" y="29"/>
                    </a:lnTo>
                    <a:lnTo>
                      <a:pt x="3303" y="32"/>
                    </a:lnTo>
                    <a:lnTo>
                      <a:pt x="3274" y="39"/>
                    </a:lnTo>
                    <a:lnTo>
                      <a:pt x="3238" y="48"/>
                    </a:lnTo>
                    <a:lnTo>
                      <a:pt x="3145" y="71"/>
                    </a:lnTo>
                    <a:lnTo>
                      <a:pt x="3030" y="104"/>
                    </a:lnTo>
                    <a:lnTo>
                      <a:pt x="2964" y="122"/>
                    </a:lnTo>
                    <a:lnTo>
                      <a:pt x="2894" y="144"/>
                    </a:lnTo>
                    <a:lnTo>
                      <a:pt x="2820" y="166"/>
                    </a:lnTo>
                    <a:lnTo>
                      <a:pt x="2742" y="192"/>
                    </a:lnTo>
                    <a:lnTo>
                      <a:pt x="2663" y="219"/>
                    </a:lnTo>
                    <a:lnTo>
                      <a:pt x="2580" y="247"/>
                    </a:lnTo>
                    <a:lnTo>
                      <a:pt x="2497" y="279"/>
                    </a:lnTo>
                    <a:lnTo>
                      <a:pt x="2412" y="310"/>
                    </a:lnTo>
                    <a:lnTo>
                      <a:pt x="2327" y="344"/>
                    </a:lnTo>
                    <a:lnTo>
                      <a:pt x="2241" y="380"/>
                    </a:lnTo>
                    <a:lnTo>
                      <a:pt x="2156" y="418"/>
                    </a:lnTo>
                    <a:lnTo>
                      <a:pt x="2072" y="457"/>
                    </a:lnTo>
                    <a:lnTo>
                      <a:pt x="1989" y="498"/>
                    </a:lnTo>
                    <a:lnTo>
                      <a:pt x="1908" y="540"/>
                    </a:lnTo>
                    <a:lnTo>
                      <a:pt x="1830" y="583"/>
                    </a:lnTo>
                    <a:lnTo>
                      <a:pt x="1754" y="628"/>
                    </a:lnTo>
                    <a:lnTo>
                      <a:pt x="1683" y="675"/>
                    </a:lnTo>
                    <a:lnTo>
                      <a:pt x="1615" y="722"/>
                    </a:lnTo>
                    <a:lnTo>
                      <a:pt x="1552" y="772"/>
                    </a:lnTo>
                    <a:lnTo>
                      <a:pt x="1495" y="823"/>
                    </a:lnTo>
                    <a:lnTo>
                      <a:pt x="1443" y="874"/>
                    </a:lnTo>
                    <a:lnTo>
                      <a:pt x="1397" y="927"/>
                    </a:lnTo>
                    <a:lnTo>
                      <a:pt x="1358" y="981"/>
                    </a:lnTo>
                    <a:lnTo>
                      <a:pt x="1327" y="1036"/>
                    </a:lnTo>
                    <a:lnTo>
                      <a:pt x="1261" y="1168"/>
                    </a:lnTo>
                    <a:lnTo>
                      <a:pt x="1183" y="1329"/>
                    </a:lnTo>
                    <a:lnTo>
                      <a:pt x="1094" y="1515"/>
                    </a:lnTo>
                    <a:lnTo>
                      <a:pt x="995" y="1720"/>
                    </a:lnTo>
                    <a:lnTo>
                      <a:pt x="892" y="1939"/>
                    </a:lnTo>
                    <a:lnTo>
                      <a:pt x="783" y="2168"/>
                    </a:lnTo>
                    <a:lnTo>
                      <a:pt x="674" y="2399"/>
                    </a:lnTo>
                    <a:lnTo>
                      <a:pt x="566" y="2629"/>
                    </a:lnTo>
                    <a:lnTo>
                      <a:pt x="460" y="2852"/>
                    </a:lnTo>
                    <a:lnTo>
                      <a:pt x="361" y="3063"/>
                    </a:lnTo>
                    <a:lnTo>
                      <a:pt x="271" y="3256"/>
                    </a:lnTo>
                    <a:lnTo>
                      <a:pt x="190" y="3427"/>
                    </a:lnTo>
                    <a:lnTo>
                      <a:pt x="124" y="3570"/>
                    </a:lnTo>
                    <a:lnTo>
                      <a:pt x="72" y="3680"/>
                    </a:lnTo>
                    <a:lnTo>
                      <a:pt x="39" y="3751"/>
                    </a:lnTo>
                    <a:lnTo>
                      <a:pt x="26" y="3778"/>
                    </a:lnTo>
                    <a:lnTo>
                      <a:pt x="23" y="3781"/>
                    </a:lnTo>
                    <a:lnTo>
                      <a:pt x="21" y="3785"/>
                    </a:lnTo>
                    <a:lnTo>
                      <a:pt x="17" y="3786"/>
                    </a:lnTo>
                    <a:lnTo>
                      <a:pt x="14" y="3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37"/>
              <p:cNvSpPr>
                <a:spLocks/>
              </p:cNvSpPr>
              <p:nvPr userDrawn="1"/>
            </p:nvSpPr>
            <p:spPr bwMode="auto">
              <a:xfrm>
                <a:off x="1189" y="3525"/>
                <a:ext cx="1705" cy="408"/>
              </a:xfrm>
              <a:custGeom>
                <a:avLst/>
                <a:gdLst>
                  <a:gd name="T0" fmla="*/ 2861 w 5115"/>
                  <a:gd name="T1" fmla="*/ 1217 h 1223"/>
                  <a:gd name="T2" fmla="*/ 2645 w 5115"/>
                  <a:gd name="T3" fmla="*/ 1188 h 1223"/>
                  <a:gd name="T4" fmla="*/ 2422 w 5115"/>
                  <a:gd name="T5" fmla="*/ 1132 h 1223"/>
                  <a:gd name="T6" fmla="*/ 2190 w 5115"/>
                  <a:gd name="T7" fmla="*/ 1044 h 1223"/>
                  <a:gd name="T8" fmla="*/ 1889 w 5115"/>
                  <a:gd name="T9" fmla="*/ 896 h 1223"/>
                  <a:gd name="T10" fmla="*/ 1615 w 5115"/>
                  <a:gd name="T11" fmla="*/ 742 h 1223"/>
                  <a:gd name="T12" fmla="*/ 1386 w 5115"/>
                  <a:gd name="T13" fmla="*/ 597 h 1223"/>
                  <a:gd name="T14" fmla="*/ 1192 w 5115"/>
                  <a:gd name="T15" fmla="*/ 466 h 1223"/>
                  <a:gd name="T16" fmla="*/ 951 w 5115"/>
                  <a:gd name="T17" fmla="*/ 301 h 1223"/>
                  <a:gd name="T18" fmla="*/ 798 w 5115"/>
                  <a:gd name="T19" fmla="*/ 207 h 1223"/>
                  <a:gd name="T20" fmla="*/ 675 w 5115"/>
                  <a:gd name="T21" fmla="*/ 145 h 1223"/>
                  <a:gd name="T22" fmla="*/ 545 w 5115"/>
                  <a:gd name="T23" fmla="*/ 95 h 1223"/>
                  <a:gd name="T24" fmla="*/ 404 w 5115"/>
                  <a:gd name="T25" fmla="*/ 59 h 1223"/>
                  <a:gd name="T26" fmla="*/ 244 w 5115"/>
                  <a:gd name="T27" fmla="*/ 36 h 1223"/>
                  <a:gd name="T28" fmla="*/ 62 w 5115"/>
                  <a:gd name="T29" fmla="*/ 27 h 1223"/>
                  <a:gd name="T30" fmla="*/ 1 w 5115"/>
                  <a:gd name="T31" fmla="*/ 20 h 1223"/>
                  <a:gd name="T32" fmla="*/ 7 w 5115"/>
                  <a:gd name="T33" fmla="*/ 2 h 1223"/>
                  <a:gd name="T34" fmla="*/ 158 w 5115"/>
                  <a:gd name="T35" fmla="*/ 3 h 1223"/>
                  <a:gd name="T36" fmla="*/ 332 w 5115"/>
                  <a:gd name="T37" fmla="*/ 20 h 1223"/>
                  <a:gd name="T38" fmla="*/ 486 w 5115"/>
                  <a:gd name="T39" fmla="*/ 51 h 1223"/>
                  <a:gd name="T40" fmla="*/ 624 w 5115"/>
                  <a:gd name="T41" fmla="*/ 95 h 1223"/>
                  <a:gd name="T42" fmla="*/ 752 w 5115"/>
                  <a:gd name="T43" fmla="*/ 153 h 1223"/>
                  <a:gd name="T44" fmla="*/ 877 w 5115"/>
                  <a:gd name="T45" fmla="*/ 222 h 1223"/>
                  <a:gd name="T46" fmla="*/ 1096 w 5115"/>
                  <a:gd name="T47" fmla="*/ 366 h 1223"/>
                  <a:gd name="T48" fmla="*/ 1301 w 5115"/>
                  <a:gd name="T49" fmla="*/ 507 h 1223"/>
                  <a:gd name="T50" fmla="*/ 1510 w 5115"/>
                  <a:gd name="T51" fmla="*/ 645 h 1223"/>
                  <a:gd name="T52" fmla="*/ 1759 w 5115"/>
                  <a:gd name="T53" fmla="*/ 794 h 1223"/>
                  <a:gd name="T54" fmla="*/ 2059 w 5115"/>
                  <a:gd name="T55" fmla="*/ 953 h 1223"/>
                  <a:gd name="T56" fmla="*/ 2344 w 5115"/>
                  <a:gd name="T57" fmla="*/ 1077 h 1223"/>
                  <a:gd name="T58" fmla="*/ 2603 w 5115"/>
                  <a:gd name="T59" fmla="*/ 1152 h 1223"/>
                  <a:gd name="T60" fmla="*/ 2851 w 5115"/>
                  <a:gd name="T61" fmla="*/ 1189 h 1223"/>
                  <a:gd name="T62" fmla="*/ 3091 w 5115"/>
                  <a:gd name="T63" fmla="*/ 1194 h 1223"/>
                  <a:gd name="T64" fmla="*/ 3323 w 5115"/>
                  <a:gd name="T65" fmla="*/ 1175 h 1223"/>
                  <a:gd name="T66" fmla="*/ 3550 w 5115"/>
                  <a:gd name="T67" fmla="*/ 1135 h 1223"/>
                  <a:gd name="T68" fmla="*/ 3770 w 5115"/>
                  <a:gd name="T69" fmla="*/ 1083 h 1223"/>
                  <a:gd name="T70" fmla="*/ 4108 w 5115"/>
                  <a:gd name="T71" fmla="*/ 989 h 1223"/>
                  <a:gd name="T72" fmla="*/ 4372 w 5115"/>
                  <a:gd name="T73" fmla="*/ 918 h 1223"/>
                  <a:gd name="T74" fmla="*/ 4633 w 5115"/>
                  <a:gd name="T75" fmla="*/ 862 h 1223"/>
                  <a:gd name="T76" fmla="*/ 4864 w 5115"/>
                  <a:gd name="T77" fmla="*/ 833 h 1223"/>
                  <a:gd name="T78" fmla="*/ 4999 w 5115"/>
                  <a:gd name="T79" fmla="*/ 827 h 1223"/>
                  <a:gd name="T80" fmla="*/ 5107 w 5115"/>
                  <a:gd name="T81" fmla="*/ 829 h 1223"/>
                  <a:gd name="T82" fmla="*/ 5114 w 5115"/>
                  <a:gd name="T83" fmla="*/ 848 h 1223"/>
                  <a:gd name="T84" fmla="*/ 5104 w 5115"/>
                  <a:gd name="T85" fmla="*/ 855 h 1223"/>
                  <a:gd name="T86" fmla="*/ 4999 w 5115"/>
                  <a:gd name="T87" fmla="*/ 854 h 1223"/>
                  <a:gd name="T88" fmla="*/ 4866 w 5115"/>
                  <a:gd name="T89" fmla="*/ 860 h 1223"/>
                  <a:gd name="T90" fmla="*/ 4636 w 5115"/>
                  <a:gd name="T91" fmla="*/ 889 h 1223"/>
                  <a:gd name="T92" fmla="*/ 4377 w 5115"/>
                  <a:gd name="T93" fmla="*/ 945 h 1223"/>
                  <a:gd name="T94" fmla="*/ 4116 w 5115"/>
                  <a:gd name="T95" fmla="*/ 1015 h 1223"/>
                  <a:gd name="T96" fmla="*/ 3863 w 5115"/>
                  <a:gd name="T97" fmla="*/ 1086 h 1223"/>
                  <a:gd name="T98" fmla="*/ 3611 w 5115"/>
                  <a:gd name="T99" fmla="*/ 1150 h 1223"/>
                  <a:gd name="T100" fmla="*/ 3353 w 5115"/>
                  <a:gd name="T101" fmla="*/ 1199 h 1223"/>
                  <a:gd name="T102" fmla="*/ 3086 w 5115"/>
                  <a:gd name="T103" fmla="*/ 1222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15" h="1223">
                    <a:moveTo>
                      <a:pt x="3018" y="1223"/>
                    </a:moveTo>
                    <a:lnTo>
                      <a:pt x="2966" y="1222"/>
                    </a:lnTo>
                    <a:lnTo>
                      <a:pt x="2913" y="1220"/>
                    </a:lnTo>
                    <a:lnTo>
                      <a:pt x="2861" y="1217"/>
                    </a:lnTo>
                    <a:lnTo>
                      <a:pt x="2807" y="1213"/>
                    </a:lnTo>
                    <a:lnTo>
                      <a:pt x="2754" y="1206"/>
                    </a:lnTo>
                    <a:lnTo>
                      <a:pt x="2699" y="1198"/>
                    </a:lnTo>
                    <a:lnTo>
                      <a:pt x="2645" y="1188"/>
                    </a:lnTo>
                    <a:lnTo>
                      <a:pt x="2590" y="1177"/>
                    </a:lnTo>
                    <a:lnTo>
                      <a:pt x="2535" y="1164"/>
                    </a:lnTo>
                    <a:lnTo>
                      <a:pt x="2479" y="1149"/>
                    </a:lnTo>
                    <a:lnTo>
                      <a:pt x="2422" y="1132"/>
                    </a:lnTo>
                    <a:lnTo>
                      <a:pt x="2364" y="1113"/>
                    </a:lnTo>
                    <a:lnTo>
                      <a:pt x="2307" y="1093"/>
                    </a:lnTo>
                    <a:lnTo>
                      <a:pt x="2249" y="1069"/>
                    </a:lnTo>
                    <a:lnTo>
                      <a:pt x="2190" y="1044"/>
                    </a:lnTo>
                    <a:lnTo>
                      <a:pt x="2130" y="1017"/>
                    </a:lnTo>
                    <a:lnTo>
                      <a:pt x="2046" y="976"/>
                    </a:lnTo>
                    <a:lnTo>
                      <a:pt x="1966" y="936"/>
                    </a:lnTo>
                    <a:lnTo>
                      <a:pt x="1889" y="896"/>
                    </a:lnTo>
                    <a:lnTo>
                      <a:pt x="1816" y="856"/>
                    </a:lnTo>
                    <a:lnTo>
                      <a:pt x="1746" y="818"/>
                    </a:lnTo>
                    <a:lnTo>
                      <a:pt x="1679" y="780"/>
                    </a:lnTo>
                    <a:lnTo>
                      <a:pt x="1615" y="742"/>
                    </a:lnTo>
                    <a:lnTo>
                      <a:pt x="1555" y="704"/>
                    </a:lnTo>
                    <a:lnTo>
                      <a:pt x="1496" y="669"/>
                    </a:lnTo>
                    <a:lnTo>
                      <a:pt x="1440" y="633"/>
                    </a:lnTo>
                    <a:lnTo>
                      <a:pt x="1386" y="597"/>
                    </a:lnTo>
                    <a:lnTo>
                      <a:pt x="1334" y="563"/>
                    </a:lnTo>
                    <a:lnTo>
                      <a:pt x="1286" y="529"/>
                    </a:lnTo>
                    <a:lnTo>
                      <a:pt x="1238" y="497"/>
                    </a:lnTo>
                    <a:lnTo>
                      <a:pt x="1192" y="466"/>
                    </a:lnTo>
                    <a:lnTo>
                      <a:pt x="1148" y="434"/>
                    </a:lnTo>
                    <a:lnTo>
                      <a:pt x="1080" y="387"/>
                    </a:lnTo>
                    <a:lnTo>
                      <a:pt x="1014" y="343"/>
                    </a:lnTo>
                    <a:lnTo>
                      <a:pt x="951" y="301"/>
                    </a:lnTo>
                    <a:lnTo>
                      <a:pt x="889" y="261"/>
                    </a:lnTo>
                    <a:lnTo>
                      <a:pt x="858" y="242"/>
                    </a:lnTo>
                    <a:lnTo>
                      <a:pt x="828" y="224"/>
                    </a:lnTo>
                    <a:lnTo>
                      <a:pt x="798" y="207"/>
                    </a:lnTo>
                    <a:lnTo>
                      <a:pt x="767" y="190"/>
                    </a:lnTo>
                    <a:lnTo>
                      <a:pt x="736" y="174"/>
                    </a:lnTo>
                    <a:lnTo>
                      <a:pt x="706" y="159"/>
                    </a:lnTo>
                    <a:lnTo>
                      <a:pt x="675" y="145"/>
                    </a:lnTo>
                    <a:lnTo>
                      <a:pt x="643" y="131"/>
                    </a:lnTo>
                    <a:lnTo>
                      <a:pt x="611" y="118"/>
                    </a:lnTo>
                    <a:lnTo>
                      <a:pt x="578" y="106"/>
                    </a:lnTo>
                    <a:lnTo>
                      <a:pt x="545" y="95"/>
                    </a:lnTo>
                    <a:lnTo>
                      <a:pt x="510" y="85"/>
                    </a:lnTo>
                    <a:lnTo>
                      <a:pt x="476" y="75"/>
                    </a:lnTo>
                    <a:lnTo>
                      <a:pt x="440" y="66"/>
                    </a:lnTo>
                    <a:lnTo>
                      <a:pt x="404" y="59"/>
                    </a:lnTo>
                    <a:lnTo>
                      <a:pt x="366" y="51"/>
                    </a:lnTo>
                    <a:lnTo>
                      <a:pt x="326" y="46"/>
                    </a:lnTo>
                    <a:lnTo>
                      <a:pt x="286" y="40"/>
                    </a:lnTo>
                    <a:lnTo>
                      <a:pt x="244" y="36"/>
                    </a:lnTo>
                    <a:lnTo>
                      <a:pt x="202" y="33"/>
                    </a:lnTo>
                    <a:lnTo>
                      <a:pt x="156" y="30"/>
                    </a:lnTo>
                    <a:lnTo>
                      <a:pt x="111" y="28"/>
                    </a:lnTo>
                    <a:lnTo>
                      <a:pt x="62" y="27"/>
                    </a:lnTo>
                    <a:lnTo>
                      <a:pt x="13" y="27"/>
                    </a:lnTo>
                    <a:lnTo>
                      <a:pt x="7" y="26"/>
                    </a:lnTo>
                    <a:lnTo>
                      <a:pt x="3" y="24"/>
                    </a:lnTo>
                    <a:lnTo>
                      <a:pt x="1" y="20"/>
                    </a:lnTo>
                    <a:lnTo>
                      <a:pt x="0" y="14"/>
                    </a:lnTo>
                    <a:lnTo>
                      <a:pt x="1" y="9"/>
                    </a:lnTo>
                    <a:lnTo>
                      <a:pt x="3" y="5"/>
                    </a:lnTo>
                    <a:lnTo>
                      <a:pt x="7" y="2"/>
                    </a:lnTo>
                    <a:lnTo>
                      <a:pt x="13" y="0"/>
                    </a:lnTo>
                    <a:lnTo>
                      <a:pt x="63" y="0"/>
                    </a:lnTo>
                    <a:lnTo>
                      <a:pt x="112" y="2"/>
                    </a:lnTo>
                    <a:lnTo>
                      <a:pt x="158" y="3"/>
                    </a:lnTo>
                    <a:lnTo>
                      <a:pt x="204" y="6"/>
                    </a:lnTo>
                    <a:lnTo>
                      <a:pt x="248" y="9"/>
                    </a:lnTo>
                    <a:lnTo>
                      <a:pt x="290" y="14"/>
                    </a:lnTo>
                    <a:lnTo>
                      <a:pt x="332" y="20"/>
                    </a:lnTo>
                    <a:lnTo>
                      <a:pt x="372" y="26"/>
                    </a:lnTo>
                    <a:lnTo>
                      <a:pt x="411" y="34"/>
                    </a:lnTo>
                    <a:lnTo>
                      <a:pt x="449" y="41"/>
                    </a:lnTo>
                    <a:lnTo>
                      <a:pt x="486" y="51"/>
                    </a:lnTo>
                    <a:lnTo>
                      <a:pt x="521" y="61"/>
                    </a:lnTo>
                    <a:lnTo>
                      <a:pt x="556" y="72"/>
                    </a:lnTo>
                    <a:lnTo>
                      <a:pt x="590" y="84"/>
                    </a:lnTo>
                    <a:lnTo>
                      <a:pt x="624" y="95"/>
                    </a:lnTo>
                    <a:lnTo>
                      <a:pt x="656" y="108"/>
                    </a:lnTo>
                    <a:lnTo>
                      <a:pt x="689" y="122"/>
                    </a:lnTo>
                    <a:lnTo>
                      <a:pt x="721" y="138"/>
                    </a:lnTo>
                    <a:lnTo>
                      <a:pt x="752" y="153"/>
                    </a:lnTo>
                    <a:lnTo>
                      <a:pt x="784" y="169"/>
                    </a:lnTo>
                    <a:lnTo>
                      <a:pt x="815" y="186"/>
                    </a:lnTo>
                    <a:lnTo>
                      <a:pt x="845" y="203"/>
                    </a:lnTo>
                    <a:lnTo>
                      <a:pt x="877" y="222"/>
                    </a:lnTo>
                    <a:lnTo>
                      <a:pt x="907" y="240"/>
                    </a:lnTo>
                    <a:lnTo>
                      <a:pt x="968" y="280"/>
                    </a:lnTo>
                    <a:lnTo>
                      <a:pt x="1032" y="322"/>
                    </a:lnTo>
                    <a:lnTo>
                      <a:pt x="1096" y="366"/>
                    </a:lnTo>
                    <a:lnTo>
                      <a:pt x="1163" y="413"/>
                    </a:lnTo>
                    <a:lnTo>
                      <a:pt x="1207" y="443"/>
                    </a:lnTo>
                    <a:lnTo>
                      <a:pt x="1253" y="474"/>
                    </a:lnTo>
                    <a:lnTo>
                      <a:pt x="1301" y="507"/>
                    </a:lnTo>
                    <a:lnTo>
                      <a:pt x="1349" y="540"/>
                    </a:lnTo>
                    <a:lnTo>
                      <a:pt x="1401" y="575"/>
                    </a:lnTo>
                    <a:lnTo>
                      <a:pt x="1454" y="609"/>
                    </a:lnTo>
                    <a:lnTo>
                      <a:pt x="1510" y="645"/>
                    </a:lnTo>
                    <a:lnTo>
                      <a:pt x="1569" y="682"/>
                    </a:lnTo>
                    <a:lnTo>
                      <a:pt x="1629" y="718"/>
                    </a:lnTo>
                    <a:lnTo>
                      <a:pt x="1693" y="756"/>
                    </a:lnTo>
                    <a:lnTo>
                      <a:pt x="1759" y="794"/>
                    </a:lnTo>
                    <a:lnTo>
                      <a:pt x="1829" y="833"/>
                    </a:lnTo>
                    <a:lnTo>
                      <a:pt x="1902" y="873"/>
                    </a:lnTo>
                    <a:lnTo>
                      <a:pt x="1978" y="912"/>
                    </a:lnTo>
                    <a:lnTo>
                      <a:pt x="2059" y="953"/>
                    </a:lnTo>
                    <a:lnTo>
                      <a:pt x="2142" y="992"/>
                    </a:lnTo>
                    <a:lnTo>
                      <a:pt x="2210" y="1024"/>
                    </a:lnTo>
                    <a:lnTo>
                      <a:pt x="2278" y="1052"/>
                    </a:lnTo>
                    <a:lnTo>
                      <a:pt x="2344" y="1077"/>
                    </a:lnTo>
                    <a:lnTo>
                      <a:pt x="2410" y="1099"/>
                    </a:lnTo>
                    <a:lnTo>
                      <a:pt x="2475" y="1120"/>
                    </a:lnTo>
                    <a:lnTo>
                      <a:pt x="2539" y="1137"/>
                    </a:lnTo>
                    <a:lnTo>
                      <a:pt x="2603" y="1152"/>
                    </a:lnTo>
                    <a:lnTo>
                      <a:pt x="2666" y="1164"/>
                    </a:lnTo>
                    <a:lnTo>
                      <a:pt x="2728" y="1175"/>
                    </a:lnTo>
                    <a:lnTo>
                      <a:pt x="2791" y="1182"/>
                    </a:lnTo>
                    <a:lnTo>
                      <a:pt x="2851" y="1189"/>
                    </a:lnTo>
                    <a:lnTo>
                      <a:pt x="2913" y="1193"/>
                    </a:lnTo>
                    <a:lnTo>
                      <a:pt x="2972" y="1195"/>
                    </a:lnTo>
                    <a:lnTo>
                      <a:pt x="3033" y="1195"/>
                    </a:lnTo>
                    <a:lnTo>
                      <a:pt x="3091" y="1194"/>
                    </a:lnTo>
                    <a:lnTo>
                      <a:pt x="3151" y="1192"/>
                    </a:lnTo>
                    <a:lnTo>
                      <a:pt x="3209" y="1188"/>
                    </a:lnTo>
                    <a:lnTo>
                      <a:pt x="3266" y="1181"/>
                    </a:lnTo>
                    <a:lnTo>
                      <a:pt x="3323" y="1175"/>
                    </a:lnTo>
                    <a:lnTo>
                      <a:pt x="3381" y="1166"/>
                    </a:lnTo>
                    <a:lnTo>
                      <a:pt x="3438" y="1158"/>
                    </a:lnTo>
                    <a:lnTo>
                      <a:pt x="3494" y="1147"/>
                    </a:lnTo>
                    <a:lnTo>
                      <a:pt x="3550" y="1135"/>
                    </a:lnTo>
                    <a:lnTo>
                      <a:pt x="3605" y="1123"/>
                    </a:lnTo>
                    <a:lnTo>
                      <a:pt x="3660" y="1110"/>
                    </a:lnTo>
                    <a:lnTo>
                      <a:pt x="3715" y="1097"/>
                    </a:lnTo>
                    <a:lnTo>
                      <a:pt x="3770" y="1083"/>
                    </a:lnTo>
                    <a:lnTo>
                      <a:pt x="3825" y="1068"/>
                    </a:lnTo>
                    <a:lnTo>
                      <a:pt x="3935" y="1039"/>
                    </a:lnTo>
                    <a:lnTo>
                      <a:pt x="4043" y="1009"/>
                    </a:lnTo>
                    <a:lnTo>
                      <a:pt x="4108" y="989"/>
                    </a:lnTo>
                    <a:lnTo>
                      <a:pt x="4175" y="971"/>
                    </a:lnTo>
                    <a:lnTo>
                      <a:pt x="4241" y="953"/>
                    </a:lnTo>
                    <a:lnTo>
                      <a:pt x="4306" y="935"/>
                    </a:lnTo>
                    <a:lnTo>
                      <a:pt x="4372" y="918"/>
                    </a:lnTo>
                    <a:lnTo>
                      <a:pt x="4437" y="903"/>
                    </a:lnTo>
                    <a:lnTo>
                      <a:pt x="4503" y="888"/>
                    </a:lnTo>
                    <a:lnTo>
                      <a:pt x="4567" y="874"/>
                    </a:lnTo>
                    <a:lnTo>
                      <a:pt x="4633" y="862"/>
                    </a:lnTo>
                    <a:lnTo>
                      <a:pt x="4699" y="851"/>
                    </a:lnTo>
                    <a:lnTo>
                      <a:pt x="4765" y="842"/>
                    </a:lnTo>
                    <a:lnTo>
                      <a:pt x="4831" y="835"/>
                    </a:lnTo>
                    <a:lnTo>
                      <a:pt x="4864" y="833"/>
                    </a:lnTo>
                    <a:lnTo>
                      <a:pt x="4898" y="831"/>
                    </a:lnTo>
                    <a:lnTo>
                      <a:pt x="4931" y="828"/>
                    </a:lnTo>
                    <a:lnTo>
                      <a:pt x="4966" y="827"/>
                    </a:lnTo>
                    <a:lnTo>
                      <a:pt x="4999" y="827"/>
                    </a:lnTo>
                    <a:lnTo>
                      <a:pt x="5033" y="827"/>
                    </a:lnTo>
                    <a:lnTo>
                      <a:pt x="5067" y="827"/>
                    </a:lnTo>
                    <a:lnTo>
                      <a:pt x="5102" y="828"/>
                    </a:lnTo>
                    <a:lnTo>
                      <a:pt x="5107" y="829"/>
                    </a:lnTo>
                    <a:lnTo>
                      <a:pt x="5112" y="833"/>
                    </a:lnTo>
                    <a:lnTo>
                      <a:pt x="5114" y="837"/>
                    </a:lnTo>
                    <a:lnTo>
                      <a:pt x="5115" y="842"/>
                    </a:lnTo>
                    <a:lnTo>
                      <a:pt x="5114" y="848"/>
                    </a:lnTo>
                    <a:lnTo>
                      <a:pt x="5110" y="852"/>
                    </a:lnTo>
                    <a:lnTo>
                      <a:pt x="5108" y="854"/>
                    </a:lnTo>
                    <a:lnTo>
                      <a:pt x="5106" y="855"/>
                    </a:lnTo>
                    <a:lnTo>
                      <a:pt x="5104" y="855"/>
                    </a:lnTo>
                    <a:lnTo>
                      <a:pt x="5101" y="855"/>
                    </a:lnTo>
                    <a:lnTo>
                      <a:pt x="5066" y="854"/>
                    </a:lnTo>
                    <a:lnTo>
                      <a:pt x="5033" y="854"/>
                    </a:lnTo>
                    <a:lnTo>
                      <a:pt x="4999" y="854"/>
                    </a:lnTo>
                    <a:lnTo>
                      <a:pt x="4966" y="854"/>
                    </a:lnTo>
                    <a:lnTo>
                      <a:pt x="4932" y="855"/>
                    </a:lnTo>
                    <a:lnTo>
                      <a:pt x="4899" y="858"/>
                    </a:lnTo>
                    <a:lnTo>
                      <a:pt x="4866" y="860"/>
                    </a:lnTo>
                    <a:lnTo>
                      <a:pt x="4833" y="863"/>
                    </a:lnTo>
                    <a:lnTo>
                      <a:pt x="4767" y="869"/>
                    </a:lnTo>
                    <a:lnTo>
                      <a:pt x="4702" y="878"/>
                    </a:lnTo>
                    <a:lnTo>
                      <a:pt x="4636" y="889"/>
                    </a:lnTo>
                    <a:lnTo>
                      <a:pt x="4572" y="901"/>
                    </a:lnTo>
                    <a:lnTo>
                      <a:pt x="4507" y="915"/>
                    </a:lnTo>
                    <a:lnTo>
                      <a:pt x="4442" y="929"/>
                    </a:lnTo>
                    <a:lnTo>
                      <a:pt x="4377" y="945"/>
                    </a:lnTo>
                    <a:lnTo>
                      <a:pt x="4312" y="961"/>
                    </a:lnTo>
                    <a:lnTo>
                      <a:pt x="4247" y="980"/>
                    </a:lnTo>
                    <a:lnTo>
                      <a:pt x="4182" y="997"/>
                    </a:lnTo>
                    <a:lnTo>
                      <a:pt x="4116" y="1015"/>
                    </a:lnTo>
                    <a:lnTo>
                      <a:pt x="4049" y="1035"/>
                    </a:lnTo>
                    <a:lnTo>
                      <a:pt x="3987" y="1052"/>
                    </a:lnTo>
                    <a:lnTo>
                      <a:pt x="3925" y="1069"/>
                    </a:lnTo>
                    <a:lnTo>
                      <a:pt x="3863" y="1086"/>
                    </a:lnTo>
                    <a:lnTo>
                      <a:pt x="3801" y="1104"/>
                    </a:lnTo>
                    <a:lnTo>
                      <a:pt x="3737" y="1120"/>
                    </a:lnTo>
                    <a:lnTo>
                      <a:pt x="3674" y="1135"/>
                    </a:lnTo>
                    <a:lnTo>
                      <a:pt x="3611" y="1150"/>
                    </a:lnTo>
                    <a:lnTo>
                      <a:pt x="3547" y="1164"/>
                    </a:lnTo>
                    <a:lnTo>
                      <a:pt x="3482" y="1176"/>
                    </a:lnTo>
                    <a:lnTo>
                      <a:pt x="3417" y="1188"/>
                    </a:lnTo>
                    <a:lnTo>
                      <a:pt x="3353" y="1199"/>
                    </a:lnTo>
                    <a:lnTo>
                      <a:pt x="3287" y="1207"/>
                    </a:lnTo>
                    <a:lnTo>
                      <a:pt x="3221" y="1214"/>
                    </a:lnTo>
                    <a:lnTo>
                      <a:pt x="3154" y="1219"/>
                    </a:lnTo>
                    <a:lnTo>
                      <a:pt x="3086" y="1222"/>
                    </a:lnTo>
                    <a:lnTo>
                      <a:pt x="3018" y="1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38"/>
              <p:cNvSpPr>
                <a:spLocks/>
              </p:cNvSpPr>
              <p:nvPr userDrawn="1"/>
            </p:nvSpPr>
            <p:spPr bwMode="auto">
              <a:xfrm>
                <a:off x="1201" y="3493"/>
                <a:ext cx="1646" cy="276"/>
              </a:xfrm>
              <a:custGeom>
                <a:avLst/>
                <a:gdLst>
                  <a:gd name="T0" fmla="*/ 2382 w 4940"/>
                  <a:gd name="T1" fmla="*/ 820 h 826"/>
                  <a:gd name="T2" fmla="*/ 2179 w 4940"/>
                  <a:gd name="T3" fmla="*/ 794 h 826"/>
                  <a:gd name="T4" fmla="*/ 1987 w 4940"/>
                  <a:gd name="T5" fmla="*/ 750 h 826"/>
                  <a:gd name="T6" fmla="*/ 1805 w 4940"/>
                  <a:gd name="T7" fmla="*/ 692 h 826"/>
                  <a:gd name="T8" fmla="*/ 1631 w 4940"/>
                  <a:gd name="T9" fmla="*/ 623 h 826"/>
                  <a:gd name="T10" fmla="*/ 1346 w 4940"/>
                  <a:gd name="T11" fmla="*/ 485 h 826"/>
                  <a:gd name="T12" fmla="*/ 1043 w 4940"/>
                  <a:gd name="T13" fmla="*/ 322 h 826"/>
                  <a:gd name="T14" fmla="*/ 764 w 4940"/>
                  <a:gd name="T15" fmla="*/ 176 h 826"/>
                  <a:gd name="T16" fmla="*/ 593 w 4940"/>
                  <a:gd name="T17" fmla="*/ 105 h 826"/>
                  <a:gd name="T18" fmla="*/ 459 w 4940"/>
                  <a:gd name="T19" fmla="*/ 62 h 826"/>
                  <a:gd name="T20" fmla="*/ 324 w 4940"/>
                  <a:gd name="T21" fmla="*/ 35 h 826"/>
                  <a:gd name="T22" fmla="*/ 189 w 4940"/>
                  <a:gd name="T23" fmla="*/ 27 h 826"/>
                  <a:gd name="T24" fmla="*/ 52 w 4940"/>
                  <a:gd name="T25" fmla="*/ 41 h 826"/>
                  <a:gd name="T26" fmla="*/ 2 w 4940"/>
                  <a:gd name="T27" fmla="*/ 44 h 826"/>
                  <a:gd name="T28" fmla="*/ 6 w 4940"/>
                  <a:gd name="T29" fmla="*/ 25 h 826"/>
                  <a:gd name="T30" fmla="*/ 117 w 4940"/>
                  <a:gd name="T31" fmla="*/ 5 h 826"/>
                  <a:gd name="T32" fmla="*/ 256 w 4940"/>
                  <a:gd name="T33" fmla="*/ 2 h 826"/>
                  <a:gd name="T34" fmla="*/ 394 w 4940"/>
                  <a:gd name="T35" fmla="*/ 19 h 826"/>
                  <a:gd name="T36" fmla="*/ 532 w 4940"/>
                  <a:gd name="T37" fmla="*/ 54 h 826"/>
                  <a:gd name="T38" fmla="*/ 669 w 4940"/>
                  <a:gd name="T39" fmla="*/ 105 h 826"/>
                  <a:gd name="T40" fmla="*/ 913 w 4940"/>
                  <a:gd name="T41" fmla="*/ 221 h 826"/>
                  <a:gd name="T42" fmla="*/ 1206 w 4940"/>
                  <a:gd name="T43" fmla="*/ 380 h 826"/>
                  <a:gd name="T44" fmla="*/ 1488 w 4940"/>
                  <a:gd name="T45" fmla="*/ 527 h 826"/>
                  <a:gd name="T46" fmla="*/ 1659 w 4940"/>
                  <a:gd name="T47" fmla="*/ 606 h 826"/>
                  <a:gd name="T48" fmla="*/ 1838 w 4940"/>
                  <a:gd name="T49" fmla="*/ 675 h 826"/>
                  <a:gd name="T50" fmla="*/ 2026 w 4940"/>
                  <a:gd name="T51" fmla="*/ 732 h 826"/>
                  <a:gd name="T52" fmla="*/ 2226 w 4940"/>
                  <a:gd name="T53" fmla="*/ 774 h 826"/>
                  <a:gd name="T54" fmla="*/ 2435 w 4940"/>
                  <a:gd name="T55" fmla="*/ 796 h 826"/>
                  <a:gd name="T56" fmla="*/ 2633 w 4940"/>
                  <a:gd name="T57" fmla="*/ 797 h 826"/>
                  <a:gd name="T58" fmla="*/ 2786 w 4940"/>
                  <a:gd name="T59" fmla="*/ 783 h 826"/>
                  <a:gd name="T60" fmla="*/ 3027 w 4940"/>
                  <a:gd name="T61" fmla="*/ 737 h 826"/>
                  <a:gd name="T62" fmla="*/ 3262 w 4940"/>
                  <a:gd name="T63" fmla="*/ 671 h 826"/>
                  <a:gd name="T64" fmla="*/ 3493 w 4940"/>
                  <a:gd name="T65" fmla="*/ 593 h 826"/>
                  <a:gd name="T66" fmla="*/ 3825 w 4940"/>
                  <a:gd name="T67" fmla="*/ 482 h 826"/>
                  <a:gd name="T68" fmla="*/ 4048 w 4940"/>
                  <a:gd name="T69" fmla="*/ 420 h 826"/>
                  <a:gd name="T70" fmla="*/ 4224 w 4940"/>
                  <a:gd name="T71" fmla="*/ 389 h 826"/>
                  <a:gd name="T72" fmla="*/ 4397 w 4940"/>
                  <a:gd name="T73" fmla="*/ 379 h 826"/>
                  <a:gd name="T74" fmla="*/ 4567 w 4940"/>
                  <a:gd name="T75" fmla="*/ 398 h 826"/>
                  <a:gd name="T76" fmla="*/ 4733 w 4940"/>
                  <a:gd name="T77" fmla="*/ 450 h 826"/>
                  <a:gd name="T78" fmla="*/ 4895 w 4940"/>
                  <a:gd name="T79" fmla="*/ 540 h 826"/>
                  <a:gd name="T80" fmla="*/ 4940 w 4940"/>
                  <a:gd name="T81" fmla="*/ 583 h 826"/>
                  <a:gd name="T82" fmla="*/ 4923 w 4940"/>
                  <a:gd name="T83" fmla="*/ 593 h 826"/>
                  <a:gd name="T84" fmla="*/ 4801 w 4940"/>
                  <a:gd name="T85" fmla="*/ 513 h 826"/>
                  <a:gd name="T86" fmla="*/ 4640 w 4940"/>
                  <a:gd name="T87" fmla="*/ 445 h 826"/>
                  <a:gd name="T88" fmla="*/ 4476 w 4940"/>
                  <a:gd name="T89" fmla="*/ 412 h 826"/>
                  <a:gd name="T90" fmla="*/ 4308 w 4940"/>
                  <a:gd name="T91" fmla="*/ 408 h 826"/>
                  <a:gd name="T92" fmla="*/ 4137 w 4940"/>
                  <a:gd name="T93" fmla="*/ 430 h 826"/>
                  <a:gd name="T94" fmla="*/ 3962 w 4940"/>
                  <a:gd name="T95" fmla="*/ 470 h 826"/>
                  <a:gd name="T96" fmla="*/ 3650 w 4940"/>
                  <a:gd name="T97" fmla="*/ 568 h 826"/>
                  <a:gd name="T98" fmla="*/ 3387 w 4940"/>
                  <a:gd name="T99" fmla="*/ 659 h 826"/>
                  <a:gd name="T100" fmla="*/ 3151 w 4940"/>
                  <a:gd name="T101" fmla="*/ 732 h 826"/>
                  <a:gd name="T102" fmla="*/ 2911 w 4940"/>
                  <a:gd name="T103" fmla="*/ 790 h 826"/>
                  <a:gd name="T104" fmla="*/ 2695 w 4940"/>
                  <a:gd name="T105" fmla="*/ 820 h 826"/>
                  <a:gd name="T106" fmla="*/ 2586 w 4940"/>
                  <a:gd name="T107"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40" h="826">
                    <a:moveTo>
                      <a:pt x="2542" y="826"/>
                    </a:moveTo>
                    <a:lnTo>
                      <a:pt x="2488" y="825"/>
                    </a:lnTo>
                    <a:lnTo>
                      <a:pt x="2434" y="823"/>
                    </a:lnTo>
                    <a:lnTo>
                      <a:pt x="2382" y="820"/>
                    </a:lnTo>
                    <a:lnTo>
                      <a:pt x="2330" y="815"/>
                    </a:lnTo>
                    <a:lnTo>
                      <a:pt x="2279" y="809"/>
                    </a:lnTo>
                    <a:lnTo>
                      <a:pt x="2229" y="801"/>
                    </a:lnTo>
                    <a:lnTo>
                      <a:pt x="2179" y="794"/>
                    </a:lnTo>
                    <a:lnTo>
                      <a:pt x="2130" y="784"/>
                    </a:lnTo>
                    <a:lnTo>
                      <a:pt x="2082" y="773"/>
                    </a:lnTo>
                    <a:lnTo>
                      <a:pt x="2034" y="763"/>
                    </a:lnTo>
                    <a:lnTo>
                      <a:pt x="1987" y="750"/>
                    </a:lnTo>
                    <a:lnTo>
                      <a:pt x="1941" y="737"/>
                    </a:lnTo>
                    <a:lnTo>
                      <a:pt x="1894" y="723"/>
                    </a:lnTo>
                    <a:lnTo>
                      <a:pt x="1849" y="707"/>
                    </a:lnTo>
                    <a:lnTo>
                      <a:pt x="1805" y="692"/>
                    </a:lnTo>
                    <a:lnTo>
                      <a:pt x="1760" y="676"/>
                    </a:lnTo>
                    <a:lnTo>
                      <a:pt x="1717" y="659"/>
                    </a:lnTo>
                    <a:lnTo>
                      <a:pt x="1674" y="642"/>
                    </a:lnTo>
                    <a:lnTo>
                      <a:pt x="1631" y="623"/>
                    </a:lnTo>
                    <a:lnTo>
                      <a:pt x="1589" y="605"/>
                    </a:lnTo>
                    <a:lnTo>
                      <a:pt x="1507" y="566"/>
                    </a:lnTo>
                    <a:lnTo>
                      <a:pt x="1425" y="526"/>
                    </a:lnTo>
                    <a:lnTo>
                      <a:pt x="1346" y="485"/>
                    </a:lnTo>
                    <a:lnTo>
                      <a:pt x="1268" y="444"/>
                    </a:lnTo>
                    <a:lnTo>
                      <a:pt x="1191" y="403"/>
                    </a:lnTo>
                    <a:lnTo>
                      <a:pt x="1117" y="362"/>
                    </a:lnTo>
                    <a:lnTo>
                      <a:pt x="1043" y="322"/>
                    </a:lnTo>
                    <a:lnTo>
                      <a:pt x="972" y="283"/>
                    </a:lnTo>
                    <a:lnTo>
                      <a:pt x="902" y="245"/>
                    </a:lnTo>
                    <a:lnTo>
                      <a:pt x="833" y="210"/>
                    </a:lnTo>
                    <a:lnTo>
                      <a:pt x="764" y="176"/>
                    </a:lnTo>
                    <a:lnTo>
                      <a:pt x="696" y="146"/>
                    </a:lnTo>
                    <a:lnTo>
                      <a:pt x="661" y="131"/>
                    </a:lnTo>
                    <a:lnTo>
                      <a:pt x="628" y="118"/>
                    </a:lnTo>
                    <a:lnTo>
                      <a:pt x="593" y="105"/>
                    </a:lnTo>
                    <a:lnTo>
                      <a:pt x="560" y="92"/>
                    </a:lnTo>
                    <a:lnTo>
                      <a:pt x="526" y="81"/>
                    </a:lnTo>
                    <a:lnTo>
                      <a:pt x="493" y="71"/>
                    </a:lnTo>
                    <a:lnTo>
                      <a:pt x="459" y="62"/>
                    </a:lnTo>
                    <a:lnTo>
                      <a:pt x="426" y="53"/>
                    </a:lnTo>
                    <a:lnTo>
                      <a:pt x="392" y="46"/>
                    </a:lnTo>
                    <a:lnTo>
                      <a:pt x="358" y="40"/>
                    </a:lnTo>
                    <a:lnTo>
                      <a:pt x="324" y="35"/>
                    </a:lnTo>
                    <a:lnTo>
                      <a:pt x="291" y="32"/>
                    </a:lnTo>
                    <a:lnTo>
                      <a:pt x="257" y="29"/>
                    </a:lnTo>
                    <a:lnTo>
                      <a:pt x="223" y="27"/>
                    </a:lnTo>
                    <a:lnTo>
                      <a:pt x="189" y="27"/>
                    </a:lnTo>
                    <a:lnTo>
                      <a:pt x="155" y="29"/>
                    </a:lnTo>
                    <a:lnTo>
                      <a:pt x="120" y="32"/>
                    </a:lnTo>
                    <a:lnTo>
                      <a:pt x="87" y="36"/>
                    </a:lnTo>
                    <a:lnTo>
                      <a:pt x="52" y="41"/>
                    </a:lnTo>
                    <a:lnTo>
                      <a:pt x="16" y="49"/>
                    </a:lnTo>
                    <a:lnTo>
                      <a:pt x="11" y="49"/>
                    </a:lnTo>
                    <a:lnTo>
                      <a:pt x="7" y="48"/>
                    </a:lnTo>
                    <a:lnTo>
                      <a:pt x="2" y="44"/>
                    </a:lnTo>
                    <a:lnTo>
                      <a:pt x="0" y="39"/>
                    </a:lnTo>
                    <a:lnTo>
                      <a:pt x="0" y="34"/>
                    </a:lnTo>
                    <a:lnTo>
                      <a:pt x="2" y="29"/>
                    </a:lnTo>
                    <a:lnTo>
                      <a:pt x="6" y="25"/>
                    </a:lnTo>
                    <a:lnTo>
                      <a:pt x="11" y="23"/>
                    </a:lnTo>
                    <a:lnTo>
                      <a:pt x="47" y="16"/>
                    </a:lnTo>
                    <a:lnTo>
                      <a:pt x="82" y="9"/>
                    </a:lnTo>
                    <a:lnTo>
                      <a:pt x="117" y="5"/>
                    </a:lnTo>
                    <a:lnTo>
                      <a:pt x="153" y="2"/>
                    </a:lnTo>
                    <a:lnTo>
                      <a:pt x="187" y="0"/>
                    </a:lnTo>
                    <a:lnTo>
                      <a:pt x="222" y="0"/>
                    </a:lnTo>
                    <a:lnTo>
                      <a:pt x="256" y="2"/>
                    </a:lnTo>
                    <a:lnTo>
                      <a:pt x="291" y="4"/>
                    </a:lnTo>
                    <a:lnTo>
                      <a:pt x="325" y="8"/>
                    </a:lnTo>
                    <a:lnTo>
                      <a:pt x="360" y="12"/>
                    </a:lnTo>
                    <a:lnTo>
                      <a:pt x="394" y="19"/>
                    </a:lnTo>
                    <a:lnTo>
                      <a:pt x="429" y="26"/>
                    </a:lnTo>
                    <a:lnTo>
                      <a:pt x="462" y="35"/>
                    </a:lnTo>
                    <a:lnTo>
                      <a:pt x="497" y="44"/>
                    </a:lnTo>
                    <a:lnTo>
                      <a:pt x="532" y="54"/>
                    </a:lnTo>
                    <a:lnTo>
                      <a:pt x="565" y="65"/>
                    </a:lnTo>
                    <a:lnTo>
                      <a:pt x="600" y="78"/>
                    </a:lnTo>
                    <a:lnTo>
                      <a:pt x="634" y="91"/>
                    </a:lnTo>
                    <a:lnTo>
                      <a:pt x="669" y="105"/>
                    </a:lnTo>
                    <a:lnTo>
                      <a:pt x="702" y="119"/>
                    </a:lnTo>
                    <a:lnTo>
                      <a:pt x="772" y="150"/>
                    </a:lnTo>
                    <a:lnTo>
                      <a:pt x="841" y="185"/>
                    </a:lnTo>
                    <a:lnTo>
                      <a:pt x="913" y="221"/>
                    </a:lnTo>
                    <a:lnTo>
                      <a:pt x="984" y="258"/>
                    </a:lnTo>
                    <a:lnTo>
                      <a:pt x="1056" y="298"/>
                    </a:lnTo>
                    <a:lnTo>
                      <a:pt x="1130" y="338"/>
                    </a:lnTo>
                    <a:lnTo>
                      <a:pt x="1206" y="380"/>
                    </a:lnTo>
                    <a:lnTo>
                      <a:pt x="1285" y="423"/>
                    </a:lnTo>
                    <a:lnTo>
                      <a:pt x="1365" y="466"/>
                    </a:lnTo>
                    <a:lnTo>
                      <a:pt x="1447" y="507"/>
                    </a:lnTo>
                    <a:lnTo>
                      <a:pt x="1488" y="527"/>
                    </a:lnTo>
                    <a:lnTo>
                      <a:pt x="1530" y="548"/>
                    </a:lnTo>
                    <a:lnTo>
                      <a:pt x="1572" y="567"/>
                    </a:lnTo>
                    <a:lnTo>
                      <a:pt x="1616" y="587"/>
                    </a:lnTo>
                    <a:lnTo>
                      <a:pt x="1659" y="606"/>
                    </a:lnTo>
                    <a:lnTo>
                      <a:pt x="1703" y="624"/>
                    </a:lnTo>
                    <a:lnTo>
                      <a:pt x="1747" y="642"/>
                    </a:lnTo>
                    <a:lnTo>
                      <a:pt x="1793" y="659"/>
                    </a:lnTo>
                    <a:lnTo>
                      <a:pt x="1838" y="675"/>
                    </a:lnTo>
                    <a:lnTo>
                      <a:pt x="1885" y="690"/>
                    </a:lnTo>
                    <a:lnTo>
                      <a:pt x="1931" y="705"/>
                    </a:lnTo>
                    <a:lnTo>
                      <a:pt x="1978" y="719"/>
                    </a:lnTo>
                    <a:lnTo>
                      <a:pt x="2026" y="732"/>
                    </a:lnTo>
                    <a:lnTo>
                      <a:pt x="2076" y="744"/>
                    </a:lnTo>
                    <a:lnTo>
                      <a:pt x="2124" y="755"/>
                    </a:lnTo>
                    <a:lnTo>
                      <a:pt x="2175" y="765"/>
                    </a:lnTo>
                    <a:lnTo>
                      <a:pt x="2226" y="774"/>
                    </a:lnTo>
                    <a:lnTo>
                      <a:pt x="2276" y="781"/>
                    </a:lnTo>
                    <a:lnTo>
                      <a:pt x="2329" y="787"/>
                    </a:lnTo>
                    <a:lnTo>
                      <a:pt x="2382" y="793"/>
                    </a:lnTo>
                    <a:lnTo>
                      <a:pt x="2435" y="796"/>
                    </a:lnTo>
                    <a:lnTo>
                      <a:pt x="2490" y="798"/>
                    </a:lnTo>
                    <a:lnTo>
                      <a:pt x="2545" y="799"/>
                    </a:lnTo>
                    <a:lnTo>
                      <a:pt x="2602" y="798"/>
                    </a:lnTo>
                    <a:lnTo>
                      <a:pt x="2633" y="797"/>
                    </a:lnTo>
                    <a:lnTo>
                      <a:pt x="2663" y="795"/>
                    </a:lnTo>
                    <a:lnTo>
                      <a:pt x="2694" y="793"/>
                    </a:lnTo>
                    <a:lnTo>
                      <a:pt x="2725" y="790"/>
                    </a:lnTo>
                    <a:lnTo>
                      <a:pt x="2786" y="783"/>
                    </a:lnTo>
                    <a:lnTo>
                      <a:pt x="2847" y="773"/>
                    </a:lnTo>
                    <a:lnTo>
                      <a:pt x="2907" y="763"/>
                    </a:lnTo>
                    <a:lnTo>
                      <a:pt x="2968" y="751"/>
                    </a:lnTo>
                    <a:lnTo>
                      <a:pt x="3027" y="737"/>
                    </a:lnTo>
                    <a:lnTo>
                      <a:pt x="3086" y="722"/>
                    </a:lnTo>
                    <a:lnTo>
                      <a:pt x="3146" y="705"/>
                    </a:lnTo>
                    <a:lnTo>
                      <a:pt x="3204" y="688"/>
                    </a:lnTo>
                    <a:lnTo>
                      <a:pt x="3262" y="671"/>
                    </a:lnTo>
                    <a:lnTo>
                      <a:pt x="3321" y="652"/>
                    </a:lnTo>
                    <a:lnTo>
                      <a:pt x="3378" y="633"/>
                    </a:lnTo>
                    <a:lnTo>
                      <a:pt x="3436" y="614"/>
                    </a:lnTo>
                    <a:lnTo>
                      <a:pt x="3493" y="593"/>
                    </a:lnTo>
                    <a:lnTo>
                      <a:pt x="3551" y="574"/>
                    </a:lnTo>
                    <a:lnTo>
                      <a:pt x="3642" y="542"/>
                    </a:lnTo>
                    <a:lnTo>
                      <a:pt x="3734" y="511"/>
                    </a:lnTo>
                    <a:lnTo>
                      <a:pt x="3825" y="482"/>
                    </a:lnTo>
                    <a:lnTo>
                      <a:pt x="3915" y="455"/>
                    </a:lnTo>
                    <a:lnTo>
                      <a:pt x="3960" y="442"/>
                    </a:lnTo>
                    <a:lnTo>
                      <a:pt x="4004" y="431"/>
                    </a:lnTo>
                    <a:lnTo>
                      <a:pt x="4048" y="420"/>
                    </a:lnTo>
                    <a:lnTo>
                      <a:pt x="4093" y="411"/>
                    </a:lnTo>
                    <a:lnTo>
                      <a:pt x="4137" y="402"/>
                    </a:lnTo>
                    <a:lnTo>
                      <a:pt x="4180" y="394"/>
                    </a:lnTo>
                    <a:lnTo>
                      <a:pt x="4224" y="389"/>
                    </a:lnTo>
                    <a:lnTo>
                      <a:pt x="4268" y="384"/>
                    </a:lnTo>
                    <a:lnTo>
                      <a:pt x="4311" y="380"/>
                    </a:lnTo>
                    <a:lnTo>
                      <a:pt x="4354" y="379"/>
                    </a:lnTo>
                    <a:lnTo>
                      <a:pt x="4397" y="379"/>
                    </a:lnTo>
                    <a:lnTo>
                      <a:pt x="4439" y="381"/>
                    </a:lnTo>
                    <a:lnTo>
                      <a:pt x="4483" y="385"/>
                    </a:lnTo>
                    <a:lnTo>
                      <a:pt x="4525" y="390"/>
                    </a:lnTo>
                    <a:lnTo>
                      <a:pt x="4567" y="398"/>
                    </a:lnTo>
                    <a:lnTo>
                      <a:pt x="4608" y="407"/>
                    </a:lnTo>
                    <a:lnTo>
                      <a:pt x="4650" y="419"/>
                    </a:lnTo>
                    <a:lnTo>
                      <a:pt x="4691" y="433"/>
                    </a:lnTo>
                    <a:lnTo>
                      <a:pt x="4733" y="450"/>
                    </a:lnTo>
                    <a:lnTo>
                      <a:pt x="4773" y="468"/>
                    </a:lnTo>
                    <a:lnTo>
                      <a:pt x="4814" y="489"/>
                    </a:lnTo>
                    <a:lnTo>
                      <a:pt x="4855" y="513"/>
                    </a:lnTo>
                    <a:lnTo>
                      <a:pt x="4895" y="540"/>
                    </a:lnTo>
                    <a:lnTo>
                      <a:pt x="4935" y="569"/>
                    </a:lnTo>
                    <a:lnTo>
                      <a:pt x="4938" y="574"/>
                    </a:lnTo>
                    <a:lnTo>
                      <a:pt x="4940" y="579"/>
                    </a:lnTo>
                    <a:lnTo>
                      <a:pt x="4940" y="583"/>
                    </a:lnTo>
                    <a:lnTo>
                      <a:pt x="4937" y="589"/>
                    </a:lnTo>
                    <a:lnTo>
                      <a:pt x="4934" y="592"/>
                    </a:lnTo>
                    <a:lnTo>
                      <a:pt x="4929" y="594"/>
                    </a:lnTo>
                    <a:lnTo>
                      <a:pt x="4923" y="593"/>
                    </a:lnTo>
                    <a:lnTo>
                      <a:pt x="4919" y="591"/>
                    </a:lnTo>
                    <a:lnTo>
                      <a:pt x="4880" y="563"/>
                    </a:lnTo>
                    <a:lnTo>
                      <a:pt x="4840" y="537"/>
                    </a:lnTo>
                    <a:lnTo>
                      <a:pt x="4801" y="513"/>
                    </a:lnTo>
                    <a:lnTo>
                      <a:pt x="4761" y="493"/>
                    </a:lnTo>
                    <a:lnTo>
                      <a:pt x="4721" y="474"/>
                    </a:lnTo>
                    <a:lnTo>
                      <a:pt x="4681" y="458"/>
                    </a:lnTo>
                    <a:lnTo>
                      <a:pt x="4640" y="445"/>
                    </a:lnTo>
                    <a:lnTo>
                      <a:pt x="4599" y="433"/>
                    </a:lnTo>
                    <a:lnTo>
                      <a:pt x="4558" y="425"/>
                    </a:lnTo>
                    <a:lnTo>
                      <a:pt x="4517" y="417"/>
                    </a:lnTo>
                    <a:lnTo>
                      <a:pt x="4476" y="412"/>
                    </a:lnTo>
                    <a:lnTo>
                      <a:pt x="4434" y="408"/>
                    </a:lnTo>
                    <a:lnTo>
                      <a:pt x="4393" y="406"/>
                    </a:lnTo>
                    <a:lnTo>
                      <a:pt x="4351" y="407"/>
                    </a:lnTo>
                    <a:lnTo>
                      <a:pt x="4308" y="408"/>
                    </a:lnTo>
                    <a:lnTo>
                      <a:pt x="4266" y="412"/>
                    </a:lnTo>
                    <a:lnTo>
                      <a:pt x="4222" y="416"/>
                    </a:lnTo>
                    <a:lnTo>
                      <a:pt x="4180" y="423"/>
                    </a:lnTo>
                    <a:lnTo>
                      <a:pt x="4137" y="430"/>
                    </a:lnTo>
                    <a:lnTo>
                      <a:pt x="4094" y="438"/>
                    </a:lnTo>
                    <a:lnTo>
                      <a:pt x="4050" y="447"/>
                    </a:lnTo>
                    <a:lnTo>
                      <a:pt x="4006" y="458"/>
                    </a:lnTo>
                    <a:lnTo>
                      <a:pt x="3962" y="470"/>
                    </a:lnTo>
                    <a:lnTo>
                      <a:pt x="3918" y="482"/>
                    </a:lnTo>
                    <a:lnTo>
                      <a:pt x="3829" y="509"/>
                    </a:lnTo>
                    <a:lnTo>
                      <a:pt x="3740" y="537"/>
                    </a:lnTo>
                    <a:lnTo>
                      <a:pt x="3650" y="568"/>
                    </a:lnTo>
                    <a:lnTo>
                      <a:pt x="3559" y="600"/>
                    </a:lnTo>
                    <a:lnTo>
                      <a:pt x="3502" y="619"/>
                    </a:lnTo>
                    <a:lnTo>
                      <a:pt x="3444" y="639"/>
                    </a:lnTo>
                    <a:lnTo>
                      <a:pt x="3387" y="659"/>
                    </a:lnTo>
                    <a:lnTo>
                      <a:pt x="3328" y="678"/>
                    </a:lnTo>
                    <a:lnTo>
                      <a:pt x="3270" y="697"/>
                    </a:lnTo>
                    <a:lnTo>
                      <a:pt x="3211" y="715"/>
                    </a:lnTo>
                    <a:lnTo>
                      <a:pt x="3151" y="732"/>
                    </a:lnTo>
                    <a:lnTo>
                      <a:pt x="3092" y="749"/>
                    </a:lnTo>
                    <a:lnTo>
                      <a:pt x="3032" y="764"/>
                    </a:lnTo>
                    <a:lnTo>
                      <a:pt x="2972" y="778"/>
                    </a:lnTo>
                    <a:lnTo>
                      <a:pt x="2911" y="790"/>
                    </a:lnTo>
                    <a:lnTo>
                      <a:pt x="2850" y="800"/>
                    </a:lnTo>
                    <a:lnTo>
                      <a:pt x="2789" y="810"/>
                    </a:lnTo>
                    <a:lnTo>
                      <a:pt x="2727" y="817"/>
                    </a:lnTo>
                    <a:lnTo>
                      <a:pt x="2695" y="820"/>
                    </a:lnTo>
                    <a:lnTo>
                      <a:pt x="2665" y="822"/>
                    </a:lnTo>
                    <a:lnTo>
                      <a:pt x="2634" y="824"/>
                    </a:lnTo>
                    <a:lnTo>
                      <a:pt x="2602" y="825"/>
                    </a:lnTo>
                    <a:lnTo>
                      <a:pt x="2586" y="825"/>
                    </a:lnTo>
                    <a:lnTo>
                      <a:pt x="2571" y="826"/>
                    </a:lnTo>
                    <a:lnTo>
                      <a:pt x="2556" y="826"/>
                    </a:lnTo>
                    <a:lnTo>
                      <a:pt x="2542" y="8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39"/>
              <p:cNvSpPr>
                <a:spLocks/>
              </p:cNvSpPr>
              <p:nvPr userDrawn="1"/>
            </p:nvSpPr>
            <p:spPr bwMode="auto">
              <a:xfrm>
                <a:off x="1167" y="3420"/>
                <a:ext cx="1625" cy="219"/>
              </a:xfrm>
              <a:custGeom>
                <a:avLst/>
                <a:gdLst>
                  <a:gd name="T0" fmla="*/ 2300 w 4876"/>
                  <a:gd name="T1" fmla="*/ 652 h 657"/>
                  <a:gd name="T2" fmla="*/ 2156 w 4876"/>
                  <a:gd name="T3" fmla="*/ 635 h 657"/>
                  <a:gd name="T4" fmla="*/ 2016 w 4876"/>
                  <a:gd name="T5" fmla="*/ 606 h 657"/>
                  <a:gd name="T6" fmla="*/ 1775 w 4876"/>
                  <a:gd name="T7" fmla="*/ 532 h 657"/>
                  <a:gd name="T8" fmla="*/ 1505 w 4876"/>
                  <a:gd name="T9" fmla="*/ 426 h 657"/>
                  <a:gd name="T10" fmla="*/ 1230 w 4876"/>
                  <a:gd name="T11" fmla="*/ 304 h 657"/>
                  <a:gd name="T12" fmla="*/ 918 w 4876"/>
                  <a:gd name="T13" fmla="*/ 173 h 657"/>
                  <a:gd name="T14" fmla="*/ 718 w 4876"/>
                  <a:gd name="T15" fmla="*/ 105 h 657"/>
                  <a:gd name="T16" fmla="*/ 557 w 4876"/>
                  <a:gd name="T17" fmla="*/ 63 h 657"/>
                  <a:gd name="T18" fmla="*/ 393 w 4876"/>
                  <a:gd name="T19" fmla="*/ 36 h 657"/>
                  <a:gd name="T20" fmla="*/ 227 w 4876"/>
                  <a:gd name="T21" fmla="*/ 27 h 657"/>
                  <a:gd name="T22" fmla="*/ 58 w 4876"/>
                  <a:gd name="T23" fmla="*/ 40 h 657"/>
                  <a:gd name="T24" fmla="*/ 2 w 4876"/>
                  <a:gd name="T25" fmla="*/ 41 h 657"/>
                  <a:gd name="T26" fmla="*/ 5 w 4876"/>
                  <a:gd name="T27" fmla="*/ 22 h 657"/>
                  <a:gd name="T28" fmla="*/ 140 w 4876"/>
                  <a:gd name="T29" fmla="*/ 4 h 657"/>
                  <a:gd name="T30" fmla="*/ 311 w 4876"/>
                  <a:gd name="T31" fmla="*/ 2 h 657"/>
                  <a:gd name="T32" fmla="*/ 478 w 4876"/>
                  <a:gd name="T33" fmla="*/ 21 h 657"/>
                  <a:gd name="T34" fmla="*/ 642 w 4876"/>
                  <a:gd name="T35" fmla="*/ 55 h 657"/>
                  <a:gd name="T36" fmla="*/ 804 w 4876"/>
                  <a:gd name="T37" fmla="*/ 104 h 657"/>
                  <a:gd name="T38" fmla="*/ 1083 w 4876"/>
                  <a:gd name="T39" fmla="*/ 211 h 657"/>
                  <a:gd name="T40" fmla="*/ 1406 w 4876"/>
                  <a:gd name="T41" fmla="*/ 352 h 657"/>
                  <a:gd name="T42" fmla="*/ 1716 w 4876"/>
                  <a:gd name="T43" fmla="*/ 482 h 657"/>
                  <a:gd name="T44" fmla="*/ 1896 w 4876"/>
                  <a:gd name="T45" fmla="*/ 544 h 657"/>
                  <a:gd name="T46" fmla="*/ 2079 w 4876"/>
                  <a:gd name="T47" fmla="*/ 593 h 657"/>
                  <a:gd name="T48" fmla="*/ 2267 w 4876"/>
                  <a:gd name="T49" fmla="*/ 622 h 657"/>
                  <a:gd name="T50" fmla="*/ 2458 w 4876"/>
                  <a:gd name="T51" fmla="*/ 629 h 657"/>
                  <a:gd name="T52" fmla="*/ 2655 w 4876"/>
                  <a:gd name="T53" fmla="*/ 607 h 657"/>
                  <a:gd name="T54" fmla="*/ 2904 w 4876"/>
                  <a:gd name="T55" fmla="*/ 539 h 657"/>
                  <a:gd name="T56" fmla="*/ 3287 w 4876"/>
                  <a:gd name="T57" fmla="*/ 441 h 657"/>
                  <a:gd name="T58" fmla="*/ 3642 w 4876"/>
                  <a:gd name="T59" fmla="*/ 375 h 657"/>
                  <a:gd name="T60" fmla="*/ 3963 w 4876"/>
                  <a:gd name="T61" fmla="*/ 336 h 657"/>
                  <a:gd name="T62" fmla="*/ 4244 w 4876"/>
                  <a:gd name="T63" fmla="*/ 321 h 657"/>
                  <a:gd name="T64" fmla="*/ 4482 w 4876"/>
                  <a:gd name="T65" fmla="*/ 326 h 657"/>
                  <a:gd name="T66" fmla="*/ 4668 w 4876"/>
                  <a:gd name="T67" fmla="*/ 349 h 657"/>
                  <a:gd name="T68" fmla="*/ 4797 w 4876"/>
                  <a:gd name="T69" fmla="*/ 384 h 657"/>
                  <a:gd name="T70" fmla="*/ 4861 w 4876"/>
                  <a:gd name="T71" fmla="*/ 423 h 657"/>
                  <a:gd name="T72" fmla="*/ 4875 w 4876"/>
                  <a:gd name="T73" fmla="*/ 450 h 657"/>
                  <a:gd name="T74" fmla="*/ 4873 w 4876"/>
                  <a:gd name="T75" fmla="*/ 473 h 657"/>
                  <a:gd name="T76" fmla="*/ 4855 w 4876"/>
                  <a:gd name="T77" fmla="*/ 476 h 657"/>
                  <a:gd name="T78" fmla="*/ 4849 w 4876"/>
                  <a:gd name="T79" fmla="*/ 459 h 657"/>
                  <a:gd name="T80" fmla="*/ 4841 w 4876"/>
                  <a:gd name="T81" fmla="*/ 441 h 657"/>
                  <a:gd name="T82" fmla="*/ 4784 w 4876"/>
                  <a:gd name="T83" fmla="*/ 407 h 657"/>
                  <a:gd name="T84" fmla="*/ 4662 w 4876"/>
                  <a:gd name="T85" fmla="*/ 376 h 657"/>
                  <a:gd name="T86" fmla="*/ 4482 w 4876"/>
                  <a:gd name="T87" fmla="*/ 355 h 657"/>
                  <a:gd name="T88" fmla="*/ 4250 w 4876"/>
                  <a:gd name="T89" fmla="*/ 349 h 657"/>
                  <a:gd name="T90" fmla="*/ 3972 w 4876"/>
                  <a:gd name="T91" fmla="*/ 363 h 657"/>
                  <a:gd name="T92" fmla="*/ 3653 w 4876"/>
                  <a:gd name="T93" fmla="*/ 401 h 657"/>
                  <a:gd name="T94" fmla="*/ 3299 w 4876"/>
                  <a:gd name="T95" fmla="*/ 467 h 657"/>
                  <a:gd name="T96" fmla="*/ 2913 w 4876"/>
                  <a:gd name="T97" fmla="*/ 565 h 657"/>
                  <a:gd name="T98" fmla="*/ 2658 w 4876"/>
                  <a:gd name="T99" fmla="*/ 633 h 657"/>
                  <a:gd name="T100" fmla="*/ 2457 w 4876"/>
                  <a:gd name="T101"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76" h="657">
                    <a:moveTo>
                      <a:pt x="2408" y="657"/>
                    </a:moveTo>
                    <a:lnTo>
                      <a:pt x="2371" y="656"/>
                    </a:lnTo>
                    <a:lnTo>
                      <a:pt x="2335" y="654"/>
                    </a:lnTo>
                    <a:lnTo>
                      <a:pt x="2300" y="652"/>
                    </a:lnTo>
                    <a:lnTo>
                      <a:pt x="2263" y="649"/>
                    </a:lnTo>
                    <a:lnTo>
                      <a:pt x="2227" y="645"/>
                    </a:lnTo>
                    <a:lnTo>
                      <a:pt x="2192" y="640"/>
                    </a:lnTo>
                    <a:lnTo>
                      <a:pt x="2156" y="635"/>
                    </a:lnTo>
                    <a:lnTo>
                      <a:pt x="2122" y="629"/>
                    </a:lnTo>
                    <a:lnTo>
                      <a:pt x="2086" y="622"/>
                    </a:lnTo>
                    <a:lnTo>
                      <a:pt x="2051" y="615"/>
                    </a:lnTo>
                    <a:lnTo>
                      <a:pt x="2016" y="606"/>
                    </a:lnTo>
                    <a:lnTo>
                      <a:pt x="1981" y="597"/>
                    </a:lnTo>
                    <a:lnTo>
                      <a:pt x="1912" y="578"/>
                    </a:lnTo>
                    <a:lnTo>
                      <a:pt x="1843" y="556"/>
                    </a:lnTo>
                    <a:lnTo>
                      <a:pt x="1775" y="532"/>
                    </a:lnTo>
                    <a:lnTo>
                      <a:pt x="1707" y="508"/>
                    </a:lnTo>
                    <a:lnTo>
                      <a:pt x="1640" y="482"/>
                    </a:lnTo>
                    <a:lnTo>
                      <a:pt x="1572" y="455"/>
                    </a:lnTo>
                    <a:lnTo>
                      <a:pt x="1505" y="426"/>
                    </a:lnTo>
                    <a:lnTo>
                      <a:pt x="1439" y="398"/>
                    </a:lnTo>
                    <a:lnTo>
                      <a:pt x="1373" y="367"/>
                    </a:lnTo>
                    <a:lnTo>
                      <a:pt x="1306" y="338"/>
                    </a:lnTo>
                    <a:lnTo>
                      <a:pt x="1230" y="304"/>
                    </a:lnTo>
                    <a:lnTo>
                      <a:pt x="1152" y="270"/>
                    </a:lnTo>
                    <a:lnTo>
                      <a:pt x="1074" y="237"/>
                    </a:lnTo>
                    <a:lnTo>
                      <a:pt x="995" y="204"/>
                    </a:lnTo>
                    <a:lnTo>
                      <a:pt x="918" y="173"/>
                    </a:lnTo>
                    <a:lnTo>
                      <a:pt x="838" y="144"/>
                    </a:lnTo>
                    <a:lnTo>
                      <a:pt x="798" y="130"/>
                    </a:lnTo>
                    <a:lnTo>
                      <a:pt x="758" y="117"/>
                    </a:lnTo>
                    <a:lnTo>
                      <a:pt x="718" y="105"/>
                    </a:lnTo>
                    <a:lnTo>
                      <a:pt x="678" y="93"/>
                    </a:lnTo>
                    <a:lnTo>
                      <a:pt x="638" y="82"/>
                    </a:lnTo>
                    <a:lnTo>
                      <a:pt x="597" y="73"/>
                    </a:lnTo>
                    <a:lnTo>
                      <a:pt x="557" y="63"/>
                    </a:lnTo>
                    <a:lnTo>
                      <a:pt x="516" y="55"/>
                    </a:lnTo>
                    <a:lnTo>
                      <a:pt x="475" y="48"/>
                    </a:lnTo>
                    <a:lnTo>
                      <a:pt x="434" y="41"/>
                    </a:lnTo>
                    <a:lnTo>
                      <a:pt x="393" y="36"/>
                    </a:lnTo>
                    <a:lnTo>
                      <a:pt x="352" y="33"/>
                    </a:lnTo>
                    <a:lnTo>
                      <a:pt x="311" y="29"/>
                    </a:lnTo>
                    <a:lnTo>
                      <a:pt x="269" y="27"/>
                    </a:lnTo>
                    <a:lnTo>
                      <a:pt x="227" y="27"/>
                    </a:lnTo>
                    <a:lnTo>
                      <a:pt x="184" y="28"/>
                    </a:lnTo>
                    <a:lnTo>
                      <a:pt x="142" y="31"/>
                    </a:lnTo>
                    <a:lnTo>
                      <a:pt x="100" y="35"/>
                    </a:lnTo>
                    <a:lnTo>
                      <a:pt x="58" y="40"/>
                    </a:lnTo>
                    <a:lnTo>
                      <a:pt x="15" y="47"/>
                    </a:lnTo>
                    <a:lnTo>
                      <a:pt x="9" y="47"/>
                    </a:lnTo>
                    <a:lnTo>
                      <a:pt x="5" y="45"/>
                    </a:lnTo>
                    <a:lnTo>
                      <a:pt x="2" y="41"/>
                    </a:lnTo>
                    <a:lnTo>
                      <a:pt x="0" y="36"/>
                    </a:lnTo>
                    <a:lnTo>
                      <a:pt x="0" y="31"/>
                    </a:lnTo>
                    <a:lnTo>
                      <a:pt x="2" y="26"/>
                    </a:lnTo>
                    <a:lnTo>
                      <a:pt x="5" y="22"/>
                    </a:lnTo>
                    <a:lnTo>
                      <a:pt x="11" y="20"/>
                    </a:lnTo>
                    <a:lnTo>
                      <a:pt x="54" y="13"/>
                    </a:lnTo>
                    <a:lnTo>
                      <a:pt x="97" y="8"/>
                    </a:lnTo>
                    <a:lnTo>
                      <a:pt x="140" y="4"/>
                    </a:lnTo>
                    <a:lnTo>
                      <a:pt x="183" y="1"/>
                    </a:lnTo>
                    <a:lnTo>
                      <a:pt x="225" y="0"/>
                    </a:lnTo>
                    <a:lnTo>
                      <a:pt x="268" y="0"/>
                    </a:lnTo>
                    <a:lnTo>
                      <a:pt x="311" y="2"/>
                    </a:lnTo>
                    <a:lnTo>
                      <a:pt x="353" y="5"/>
                    </a:lnTo>
                    <a:lnTo>
                      <a:pt x="394" y="9"/>
                    </a:lnTo>
                    <a:lnTo>
                      <a:pt x="436" y="14"/>
                    </a:lnTo>
                    <a:lnTo>
                      <a:pt x="478" y="21"/>
                    </a:lnTo>
                    <a:lnTo>
                      <a:pt x="519" y="27"/>
                    </a:lnTo>
                    <a:lnTo>
                      <a:pt x="560" y="36"/>
                    </a:lnTo>
                    <a:lnTo>
                      <a:pt x="601" y="46"/>
                    </a:lnTo>
                    <a:lnTo>
                      <a:pt x="642" y="55"/>
                    </a:lnTo>
                    <a:lnTo>
                      <a:pt x="683" y="66"/>
                    </a:lnTo>
                    <a:lnTo>
                      <a:pt x="723" y="78"/>
                    </a:lnTo>
                    <a:lnTo>
                      <a:pt x="764" y="91"/>
                    </a:lnTo>
                    <a:lnTo>
                      <a:pt x="804" y="104"/>
                    </a:lnTo>
                    <a:lnTo>
                      <a:pt x="844" y="118"/>
                    </a:lnTo>
                    <a:lnTo>
                      <a:pt x="924" y="147"/>
                    </a:lnTo>
                    <a:lnTo>
                      <a:pt x="1004" y="178"/>
                    </a:lnTo>
                    <a:lnTo>
                      <a:pt x="1083" y="211"/>
                    </a:lnTo>
                    <a:lnTo>
                      <a:pt x="1162" y="244"/>
                    </a:lnTo>
                    <a:lnTo>
                      <a:pt x="1239" y="279"/>
                    </a:lnTo>
                    <a:lnTo>
                      <a:pt x="1318" y="313"/>
                    </a:lnTo>
                    <a:lnTo>
                      <a:pt x="1406" y="352"/>
                    </a:lnTo>
                    <a:lnTo>
                      <a:pt x="1493" y="391"/>
                    </a:lnTo>
                    <a:lnTo>
                      <a:pt x="1582" y="429"/>
                    </a:lnTo>
                    <a:lnTo>
                      <a:pt x="1670" y="464"/>
                    </a:lnTo>
                    <a:lnTo>
                      <a:pt x="1716" y="482"/>
                    </a:lnTo>
                    <a:lnTo>
                      <a:pt x="1760" y="499"/>
                    </a:lnTo>
                    <a:lnTo>
                      <a:pt x="1805" y="515"/>
                    </a:lnTo>
                    <a:lnTo>
                      <a:pt x="1851" y="530"/>
                    </a:lnTo>
                    <a:lnTo>
                      <a:pt x="1896" y="544"/>
                    </a:lnTo>
                    <a:lnTo>
                      <a:pt x="1941" y="558"/>
                    </a:lnTo>
                    <a:lnTo>
                      <a:pt x="1988" y="570"/>
                    </a:lnTo>
                    <a:lnTo>
                      <a:pt x="2033" y="582"/>
                    </a:lnTo>
                    <a:lnTo>
                      <a:pt x="2079" y="593"/>
                    </a:lnTo>
                    <a:lnTo>
                      <a:pt x="2126" y="602"/>
                    </a:lnTo>
                    <a:lnTo>
                      <a:pt x="2173" y="610"/>
                    </a:lnTo>
                    <a:lnTo>
                      <a:pt x="2220" y="617"/>
                    </a:lnTo>
                    <a:lnTo>
                      <a:pt x="2267" y="622"/>
                    </a:lnTo>
                    <a:lnTo>
                      <a:pt x="2315" y="626"/>
                    </a:lnTo>
                    <a:lnTo>
                      <a:pt x="2362" y="629"/>
                    </a:lnTo>
                    <a:lnTo>
                      <a:pt x="2410" y="630"/>
                    </a:lnTo>
                    <a:lnTo>
                      <a:pt x="2458" y="629"/>
                    </a:lnTo>
                    <a:lnTo>
                      <a:pt x="2507" y="625"/>
                    </a:lnTo>
                    <a:lnTo>
                      <a:pt x="2556" y="621"/>
                    </a:lnTo>
                    <a:lnTo>
                      <a:pt x="2605" y="615"/>
                    </a:lnTo>
                    <a:lnTo>
                      <a:pt x="2655" y="607"/>
                    </a:lnTo>
                    <a:lnTo>
                      <a:pt x="2705" y="596"/>
                    </a:lnTo>
                    <a:lnTo>
                      <a:pt x="2754" y="583"/>
                    </a:lnTo>
                    <a:lnTo>
                      <a:pt x="2805" y="569"/>
                    </a:lnTo>
                    <a:lnTo>
                      <a:pt x="2904" y="539"/>
                    </a:lnTo>
                    <a:lnTo>
                      <a:pt x="3003" y="512"/>
                    </a:lnTo>
                    <a:lnTo>
                      <a:pt x="3099" y="486"/>
                    </a:lnTo>
                    <a:lnTo>
                      <a:pt x="3194" y="462"/>
                    </a:lnTo>
                    <a:lnTo>
                      <a:pt x="3287" y="441"/>
                    </a:lnTo>
                    <a:lnTo>
                      <a:pt x="3378" y="421"/>
                    </a:lnTo>
                    <a:lnTo>
                      <a:pt x="3468" y="404"/>
                    </a:lnTo>
                    <a:lnTo>
                      <a:pt x="3556" y="388"/>
                    </a:lnTo>
                    <a:lnTo>
                      <a:pt x="3642" y="375"/>
                    </a:lnTo>
                    <a:lnTo>
                      <a:pt x="3725" y="362"/>
                    </a:lnTo>
                    <a:lnTo>
                      <a:pt x="3807" y="352"/>
                    </a:lnTo>
                    <a:lnTo>
                      <a:pt x="3886" y="342"/>
                    </a:lnTo>
                    <a:lnTo>
                      <a:pt x="3963" y="336"/>
                    </a:lnTo>
                    <a:lnTo>
                      <a:pt x="4037" y="330"/>
                    </a:lnTo>
                    <a:lnTo>
                      <a:pt x="4110" y="325"/>
                    </a:lnTo>
                    <a:lnTo>
                      <a:pt x="4179" y="323"/>
                    </a:lnTo>
                    <a:lnTo>
                      <a:pt x="4244" y="321"/>
                    </a:lnTo>
                    <a:lnTo>
                      <a:pt x="4308" y="321"/>
                    </a:lnTo>
                    <a:lnTo>
                      <a:pt x="4369" y="321"/>
                    </a:lnTo>
                    <a:lnTo>
                      <a:pt x="4427" y="323"/>
                    </a:lnTo>
                    <a:lnTo>
                      <a:pt x="4482" y="326"/>
                    </a:lnTo>
                    <a:lnTo>
                      <a:pt x="4533" y="331"/>
                    </a:lnTo>
                    <a:lnTo>
                      <a:pt x="4581" y="336"/>
                    </a:lnTo>
                    <a:lnTo>
                      <a:pt x="4626" y="341"/>
                    </a:lnTo>
                    <a:lnTo>
                      <a:pt x="4668" y="349"/>
                    </a:lnTo>
                    <a:lnTo>
                      <a:pt x="4706" y="357"/>
                    </a:lnTo>
                    <a:lnTo>
                      <a:pt x="4740" y="364"/>
                    </a:lnTo>
                    <a:lnTo>
                      <a:pt x="4770" y="374"/>
                    </a:lnTo>
                    <a:lnTo>
                      <a:pt x="4797" y="384"/>
                    </a:lnTo>
                    <a:lnTo>
                      <a:pt x="4820" y="393"/>
                    </a:lnTo>
                    <a:lnTo>
                      <a:pt x="4838" y="404"/>
                    </a:lnTo>
                    <a:lnTo>
                      <a:pt x="4854" y="416"/>
                    </a:lnTo>
                    <a:lnTo>
                      <a:pt x="4861" y="423"/>
                    </a:lnTo>
                    <a:lnTo>
                      <a:pt x="4866" y="430"/>
                    </a:lnTo>
                    <a:lnTo>
                      <a:pt x="4871" y="437"/>
                    </a:lnTo>
                    <a:lnTo>
                      <a:pt x="4874" y="444"/>
                    </a:lnTo>
                    <a:lnTo>
                      <a:pt x="4875" y="450"/>
                    </a:lnTo>
                    <a:lnTo>
                      <a:pt x="4876" y="457"/>
                    </a:lnTo>
                    <a:lnTo>
                      <a:pt x="4876" y="462"/>
                    </a:lnTo>
                    <a:lnTo>
                      <a:pt x="4875" y="468"/>
                    </a:lnTo>
                    <a:lnTo>
                      <a:pt x="4873" y="473"/>
                    </a:lnTo>
                    <a:lnTo>
                      <a:pt x="4870" y="476"/>
                    </a:lnTo>
                    <a:lnTo>
                      <a:pt x="4864" y="479"/>
                    </a:lnTo>
                    <a:lnTo>
                      <a:pt x="4860" y="479"/>
                    </a:lnTo>
                    <a:lnTo>
                      <a:pt x="4855" y="476"/>
                    </a:lnTo>
                    <a:lnTo>
                      <a:pt x="4851" y="473"/>
                    </a:lnTo>
                    <a:lnTo>
                      <a:pt x="4849" y="468"/>
                    </a:lnTo>
                    <a:lnTo>
                      <a:pt x="4849" y="462"/>
                    </a:lnTo>
                    <a:lnTo>
                      <a:pt x="4849" y="459"/>
                    </a:lnTo>
                    <a:lnTo>
                      <a:pt x="4848" y="454"/>
                    </a:lnTo>
                    <a:lnTo>
                      <a:pt x="4847" y="449"/>
                    </a:lnTo>
                    <a:lnTo>
                      <a:pt x="4845" y="445"/>
                    </a:lnTo>
                    <a:lnTo>
                      <a:pt x="4841" y="441"/>
                    </a:lnTo>
                    <a:lnTo>
                      <a:pt x="4835" y="435"/>
                    </a:lnTo>
                    <a:lnTo>
                      <a:pt x="4822" y="426"/>
                    </a:lnTo>
                    <a:lnTo>
                      <a:pt x="4806" y="417"/>
                    </a:lnTo>
                    <a:lnTo>
                      <a:pt x="4784" y="407"/>
                    </a:lnTo>
                    <a:lnTo>
                      <a:pt x="4760" y="399"/>
                    </a:lnTo>
                    <a:lnTo>
                      <a:pt x="4730" y="391"/>
                    </a:lnTo>
                    <a:lnTo>
                      <a:pt x="4698" y="384"/>
                    </a:lnTo>
                    <a:lnTo>
                      <a:pt x="4662" y="376"/>
                    </a:lnTo>
                    <a:lnTo>
                      <a:pt x="4622" y="369"/>
                    </a:lnTo>
                    <a:lnTo>
                      <a:pt x="4579" y="364"/>
                    </a:lnTo>
                    <a:lnTo>
                      <a:pt x="4532" y="359"/>
                    </a:lnTo>
                    <a:lnTo>
                      <a:pt x="4482" y="355"/>
                    </a:lnTo>
                    <a:lnTo>
                      <a:pt x="4429" y="352"/>
                    </a:lnTo>
                    <a:lnTo>
                      <a:pt x="4372" y="350"/>
                    </a:lnTo>
                    <a:lnTo>
                      <a:pt x="4313" y="349"/>
                    </a:lnTo>
                    <a:lnTo>
                      <a:pt x="4250" y="349"/>
                    </a:lnTo>
                    <a:lnTo>
                      <a:pt x="4185" y="351"/>
                    </a:lnTo>
                    <a:lnTo>
                      <a:pt x="4117" y="353"/>
                    </a:lnTo>
                    <a:lnTo>
                      <a:pt x="4046" y="358"/>
                    </a:lnTo>
                    <a:lnTo>
                      <a:pt x="3972" y="363"/>
                    </a:lnTo>
                    <a:lnTo>
                      <a:pt x="3896" y="371"/>
                    </a:lnTo>
                    <a:lnTo>
                      <a:pt x="3817" y="378"/>
                    </a:lnTo>
                    <a:lnTo>
                      <a:pt x="3736" y="389"/>
                    </a:lnTo>
                    <a:lnTo>
                      <a:pt x="3653" y="401"/>
                    </a:lnTo>
                    <a:lnTo>
                      <a:pt x="3567" y="414"/>
                    </a:lnTo>
                    <a:lnTo>
                      <a:pt x="3480" y="430"/>
                    </a:lnTo>
                    <a:lnTo>
                      <a:pt x="3390" y="447"/>
                    </a:lnTo>
                    <a:lnTo>
                      <a:pt x="3299" y="467"/>
                    </a:lnTo>
                    <a:lnTo>
                      <a:pt x="3205" y="488"/>
                    </a:lnTo>
                    <a:lnTo>
                      <a:pt x="3110" y="511"/>
                    </a:lnTo>
                    <a:lnTo>
                      <a:pt x="3012" y="537"/>
                    </a:lnTo>
                    <a:lnTo>
                      <a:pt x="2913" y="565"/>
                    </a:lnTo>
                    <a:lnTo>
                      <a:pt x="2813" y="595"/>
                    </a:lnTo>
                    <a:lnTo>
                      <a:pt x="2761" y="610"/>
                    </a:lnTo>
                    <a:lnTo>
                      <a:pt x="2710" y="623"/>
                    </a:lnTo>
                    <a:lnTo>
                      <a:pt x="2658" y="633"/>
                    </a:lnTo>
                    <a:lnTo>
                      <a:pt x="2607" y="642"/>
                    </a:lnTo>
                    <a:lnTo>
                      <a:pt x="2557" y="648"/>
                    </a:lnTo>
                    <a:lnTo>
                      <a:pt x="2507" y="652"/>
                    </a:lnTo>
                    <a:lnTo>
                      <a:pt x="2457" y="656"/>
                    </a:lnTo>
                    <a:lnTo>
                      <a:pt x="2408" y="6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40"/>
              <p:cNvSpPr>
                <a:spLocks/>
              </p:cNvSpPr>
              <p:nvPr userDrawn="1"/>
            </p:nvSpPr>
            <p:spPr bwMode="auto">
              <a:xfrm>
                <a:off x="1184" y="3394"/>
                <a:ext cx="2013" cy="139"/>
              </a:xfrm>
              <a:custGeom>
                <a:avLst/>
                <a:gdLst>
                  <a:gd name="T0" fmla="*/ 6024 w 6038"/>
                  <a:gd name="T1" fmla="*/ 416 h 416"/>
                  <a:gd name="T2" fmla="*/ 4683 w 6038"/>
                  <a:gd name="T3" fmla="*/ 349 h 416"/>
                  <a:gd name="T4" fmla="*/ 4677 w 6038"/>
                  <a:gd name="T5" fmla="*/ 323 h 416"/>
                  <a:gd name="T6" fmla="*/ 4660 w 6038"/>
                  <a:gd name="T7" fmla="*/ 275 h 416"/>
                  <a:gd name="T8" fmla="*/ 4624 w 6038"/>
                  <a:gd name="T9" fmla="*/ 231 h 416"/>
                  <a:gd name="T10" fmla="*/ 4545 w 6038"/>
                  <a:gd name="T11" fmla="*/ 174 h 416"/>
                  <a:gd name="T12" fmla="*/ 4415 w 6038"/>
                  <a:gd name="T13" fmla="*/ 121 h 416"/>
                  <a:gd name="T14" fmla="*/ 4251 w 6038"/>
                  <a:gd name="T15" fmla="*/ 82 h 416"/>
                  <a:gd name="T16" fmla="*/ 4058 w 6038"/>
                  <a:gd name="T17" fmla="*/ 52 h 416"/>
                  <a:gd name="T18" fmla="*/ 3840 w 6038"/>
                  <a:gd name="T19" fmla="*/ 34 h 416"/>
                  <a:gd name="T20" fmla="*/ 3605 w 6038"/>
                  <a:gd name="T21" fmla="*/ 25 h 416"/>
                  <a:gd name="T22" fmla="*/ 3356 w 6038"/>
                  <a:gd name="T23" fmla="*/ 28 h 416"/>
                  <a:gd name="T24" fmla="*/ 3099 w 6038"/>
                  <a:gd name="T25" fmla="*/ 38 h 416"/>
                  <a:gd name="T26" fmla="*/ 2838 w 6038"/>
                  <a:gd name="T27" fmla="*/ 59 h 416"/>
                  <a:gd name="T28" fmla="*/ 2580 w 6038"/>
                  <a:gd name="T29" fmla="*/ 87 h 416"/>
                  <a:gd name="T30" fmla="*/ 2331 w 6038"/>
                  <a:gd name="T31" fmla="*/ 123 h 416"/>
                  <a:gd name="T32" fmla="*/ 2183 w 6038"/>
                  <a:gd name="T33" fmla="*/ 143 h 416"/>
                  <a:gd name="T34" fmla="*/ 2037 w 6038"/>
                  <a:gd name="T35" fmla="*/ 157 h 416"/>
                  <a:gd name="T36" fmla="*/ 1896 w 6038"/>
                  <a:gd name="T37" fmla="*/ 165 h 416"/>
                  <a:gd name="T38" fmla="*/ 1758 w 6038"/>
                  <a:gd name="T39" fmla="*/ 167 h 416"/>
                  <a:gd name="T40" fmla="*/ 1491 w 6038"/>
                  <a:gd name="T41" fmla="*/ 159 h 416"/>
                  <a:gd name="T42" fmla="*/ 1236 w 6038"/>
                  <a:gd name="T43" fmla="*/ 140 h 416"/>
                  <a:gd name="T44" fmla="*/ 993 w 6038"/>
                  <a:gd name="T45" fmla="*/ 113 h 416"/>
                  <a:gd name="T46" fmla="*/ 787 w 6038"/>
                  <a:gd name="T47" fmla="*/ 89 h 416"/>
                  <a:gd name="T48" fmla="*/ 603 w 6038"/>
                  <a:gd name="T49" fmla="*/ 70 h 416"/>
                  <a:gd name="T50" fmla="*/ 429 w 6038"/>
                  <a:gd name="T51" fmla="*/ 58 h 416"/>
                  <a:gd name="T52" fmla="*/ 265 w 6038"/>
                  <a:gd name="T53" fmla="*/ 57 h 416"/>
                  <a:gd name="T54" fmla="*/ 113 w 6038"/>
                  <a:gd name="T55" fmla="*/ 71 h 416"/>
                  <a:gd name="T56" fmla="*/ 40 w 6038"/>
                  <a:gd name="T57" fmla="*/ 84 h 416"/>
                  <a:gd name="T58" fmla="*/ 6 w 6038"/>
                  <a:gd name="T59" fmla="*/ 88 h 416"/>
                  <a:gd name="T60" fmla="*/ 0 w 6038"/>
                  <a:gd name="T61" fmla="*/ 74 h 416"/>
                  <a:gd name="T62" fmla="*/ 10 w 6038"/>
                  <a:gd name="T63" fmla="*/ 63 h 416"/>
                  <a:gd name="T64" fmla="*/ 83 w 6038"/>
                  <a:gd name="T65" fmla="*/ 48 h 416"/>
                  <a:gd name="T66" fmla="*/ 210 w 6038"/>
                  <a:gd name="T67" fmla="*/ 33 h 416"/>
                  <a:gd name="T68" fmla="*/ 372 w 6038"/>
                  <a:gd name="T69" fmla="*/ 29 h 416"/>
                  <a:gd name="T70" fmla="*/ 544 w 6038"/>
                  <a:gd name="T71" fmla="*/ 37 h 416"/>
                  <a:gd name="T72" fmla="*/ 726 w 6038"/>
                  <a:gd name="T73" fmla="*/ 55 h 416"/>
                  <a:gd name="T74" fmla="*/ 919 w 6038"/>
                  <a:gd name="T75" fmla="*/ 77 h 416"/>
                  <a:gd name="T76" fmla="*/ 1156 w 6038"/>
                  <a:gd name="T77" fmla="*/ 104 h 416"/>
                  <a:gd name="T78" fmla="*/ 1405 w 6038"/>
                  <a:gd name="T79" fmla="*/ 127 h 416"/>
                  <a:gd name="T80" fmla="*/ 1667 w 6038"/>
                  <a:gd name="T81" fmla="*/ 140 h 416"/>
                  <a:gd name="T82" fmla="*/ 1848 w 6038"/>
                  <a:gd name="T83" fmla="*/ 139 h 416"/>
                  <a:gd name="T84" fmla="*/ 1988 w 6038"/>
                  <a:gd name="T85" fmla="*/ 133 h 416"/>
                  <a:gd name="T86" fmla="*/ 2131 w 6038"/>
                  <a:gd name="T87" fmla="*/ 121 h 416"/>
                  <a:gd name="T88" fmla="*/ 2277 w 6038"/>
                  <a:gd name="T89" fmla="*/ 103 h 416"/>
                  <a:gd name="T90" fmla="*/ 2493 w 6038"/>
                  <a:gd name="T91" fmla="*/ 71 h 416"/>
                  <a:gd name="T92" fmla="*/ 2751 w 6038"/>
                  <a:gd name="T93" fmla="*/ 41 h 416"/>
                  <a:gd name="T94" fmla="*/ 3012 w 6038"/>
                  <a:gd name="T95" fmla="*/ 18 h 416"/>
                  <a:gd name="T96" fmla="*/ 3274 w 6038"/>
                  <a:gd name="T97" fmla="*/ 4 h 416"/>
                  <a:gd name="T98" fmla="*/ 3528 w 6038"/>
                  <a:gd name="T99" fmla="*/ 0 h 416"/>
                  <a:gd name="T100" fmla="*/ 3771 w 6038"/>
                  <a:gd name="T101" fmla="*/ 4 h 416"/>
                  <a:gd name="T102" fmla="*/ 3997 w 6038"/>
                  <a:gd name="T103" fmla="*/ 20 h 416"/>
                  <a:gd name="T104" fmla="*/ 4201 w 6038"/>
                  <a:gd name="T105" fmla="*/ 46 h 416"/>
                  <a:gd name="T106" fmla="*/ 4377 w 6038"/>
                  <a:gd name="T107" fmla="*/ 84 h 416"/>
                  <a:gd name="T108" fmla="*/ 4521 w 6038"/>
                  <a:gd name="T109" fmla="*/ 133 h 416"/>
                  <a:gd name="T110" fmla="*/ 4625 w 6038"/>
                  <a:gd name="T111" fmla="*/ 195 h 416"/>
                  <a:gd name="T112" fmla="*/ 4670 w 6038"/>
                  <a:gd name="T113" fmla="*/ 241 h 416"/>
                  <a:gd name="T114" fmla="*/ 4697 w 6038"/>
                  <a:gd name="T115" fmla="*/ 291 h 416"/>
                  <a:gd name="T116" fmla="*/ 6025 w 6038"/>
                  <a:gd name="T117" fmla="*/ 389 h 416"/>
                  <a:gd name="T118" fmla="*/ 6037 w 6038"/>
                  <a:gd name="T119" fmla="*/ 398 h 416"/>
                  <a:gd name="T120" fmla="*/ 6034 w 6038"/>
                  <a:gd name="T121" fmla="*/ 41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38" h="416">
                    <a:moveTo>
                      <a:pt x="6024" y="416"/>
                    </a:moveTo>
                    <a:lnTo>
                      <a:pt x="6024" y="416"/>
                    </a:lnTo>
                    <a:lnTo>
                      <a:pt x="6024" y="416"/>
                    </a:lnTo>
                    <a:lnTo>
                      <a:pt x="4691" y="354"/>
                    </a:lnTo>
                    <a:lnTo>
                      <a:pt x="4687" y="352"/>
                    </a:lnTo>
                    <a:lnTo>
                      <a:pt x="4683" y="349"/>
                    </a:lnTo>
                    <a:lnTo>
                      <a:pt x="4679" y="345"/>
                    </a:lnTo>
                    <a:lnTo>
                      <a:pt x="4678" y="341"/>
                    </a:lnTo>
                    <a:lnTo>
                      <a:pt x="4677" y="323"/>
                    </a:lnTo>
                    <a:lnTo>
                      <a:pt x="4673" y="307"/>
                    </a:lnTo>
                    <a:lnTo>
                      <a:pt x="4668" y="291"/>
                    </a:lnTo>
                    <a:lnTo>
                      <a:pt x="4660" y="275"/>
                    </a:lnTo>
                    <a:lnTo>
                      <a:pt x="4649" y="260"/>
                    </a:lnTo>
                    <a:lnTo>
                      <a:pt x="4637" y="245"/>
                    </a:lnTo>
                    <a:lnTo>
                      <a:pt x="4624" y="231"/>
                    </a:lnTo>
                    <a:lnTo>
                      <a:pt x="4608" y="216"/>
                    </a:lnTo>
                    <a:lnTo>
                      <a:pt x="4578" y="195"/>
                    </a:lnTo>
                    <a:lnTo>
                      <a:pt x="4545" y="174"/>
                    </a:lnTo>
                    <a:lnTo>
                      <a:pt x="4506" y="156"/>
                    </a:lnTo>
                    <a:lnTo>
                      <a:pt x="4462" y="138"/>
                    </a:lnTo>
                    <a:lnTo>
                      <a:pt x="4415" y="121"/>
                    </a:lnTo>
                    <a:lnTo>
                      <a:pt x="4364" y="107"/>
                    </a:lnTo>
                    <a:lnTo>
                      <a:pt x="4309" y="93"/>
                    </a:lnTo>
                    <a:lnTo>
                      <a:pt x="4251" y="82"/>
                    </a:lnTo>
                    <a:lnTo>
                      <a:pt x="4189" y="71"/>
                    </a:lnTo>
                    <a:lnTo>
                      <a:pt x="4126" y="61"/>
                    </a:lnTo>
                    <a:lnTo>
                      <a:pt x="4058" y="52"/>
                    </a:lnTo>
                    <a:lnTo>
                      <a:pt x="3988" y="45"/>
                    </a:lnTo>
                    <a:lnTo>
                      <a:pt x="3916" y="38"/>
                    </a:lnTo>
                    <a:lnTo>
                      <a:pt x="3840" y="34"/>
                    </a:lnTo>
                    <a:lnTo>
                      <a:pt x="3764" y="30"/>
                    </a:lnTo>
                    <a:lnTo>
                      <a:pt x="3685" y="28"/>
                    </a:lnTo>
                    <a:lnTo>
                      <a:pt x="3605" y="25"/>
                    </a:lnTo>
                    <a:lnTo>
                      <a:pt x="3523" y="25"/>
                    </a:lnTo>
                    <a:lnTo>
                      <a:pt x="3440" y="25"/>
                    </a:lnTo>
                    <a:lnTo>
                      <a:pt x="3356" y="28"/>
                    </a:lnTo>
                    <a:lnTo>
                      <a:pt x="3270" y="31"/>
                    </a:lnTo>
                    <a:lnTo>
                      <a:pt x="3185" y="34"/>
                    </a:lnTo>
                    <a:lnTo>
                      <a:pt x="3099" y="38"/>
                    </a:lnTo>
                    <a:lnTo>
                      <a:pt x="3011" y="45"/>
                    </a:lnTo>
                    <a:lnTo>
                      <a:pt x="2925" y="51"/>
                    </a:lnTo>
                    <a:lnTo>
                      <a:pt x="2838" y="59"/>
                    </a:lnTo>
                    <a:lnTo>
                      <a:pt x="2752" y="66"/>
                    </a:lnTo>
                    <a:lnTo>
                      <a:pt x="2666" y="76"/>
                    </a:lnTo>
                    <a:lnTo>
                      <a:pt x="2580" y="87"/>
                    </a:lnTo>
                    <a:lnTo>
                      <a:pt x="2496" y="98"/>
                    </a:lnTo>
                    <a:lnTo>
                      <a:pt x="2413" y="110"/>
                    </a:lnTo>
                    <a:lnTo>
                      <a:pt x="2331" y="123"/>
                    </a:lnTo>
                    <a:lnTo>
                      <a:pt x="2281" y="130"/>
                    </a:lnTo>
                    <a:lnTo>
                      <a:pt x="2232" y="137"/>
                    </a:lnTo>
                    <a:lnTo>
                      <a:pt x="2183" y="143"/>
                    </a:lnTo>
                    <a:lnTo>
                      <a:pt x="2134" y="148"/>
                    </a:lnTo>
                    <a:lnTo>
                      <a:pt x="2086" y="153"/>
                    </a:lnTo>
                    <a:lnTo>
                      <a:pt x="2037" y="157"/>
                    </a:lnTo>
                    <a:lnTo>
                      <a:pt x="1990" y="160"/>
                    </a:lnTo>
                    <a:lnTo>
                      <a:pt x="1943" y="163"/>
                    </a:lnTo>
                    <a:lnTo>
                      <a:pt x="1896" y="165"/>
                    </a:lnTo>
                    <a:lnTo>
                      <a:pt x="1849" y="166"/>
                    </a:lnTo>
                    <a:lnTo>
                      <a:pt x="1804" y="167"/>
                    </a:lnTo>
                    <a:lnTo>
                      <a:pt x="1758" y="167"/>
                    </a:lnTo>
                    <a:lnTo>
                      <a:pt x="1667" y="167"/>
                    </a:lnTo>
                    <a:lnTo>
                      <a:pt x="1578" y="164"/>
                    </a:lnTo>
                    <a:lnTo>
                      <a:pt x="1491" y="159"/>
                    </a:lnTo>
                    <a:lnTo>
                      <a:pt x="1404" y="154"/>
                    </a:lnTo>
                    <a:lnTo>
                      <a:pt x="1319" y="147"/>
                    </a:lnTo>
                    <a:lnTo>
                      <a:pt x="1236" y="140"/>
                    </a:lnTo>
                    <a:lnTo>
                      <a:pt x="1154" y="131"/>
                    </a:lnTo>
                    <a:lnTo>
                      <a:pt x="1073" y="123"/>
                    </a:lnTo>
                    <a:lnTo>
                      <a:pt x="993" y="113"/>
                    </a:lnTo>
                    <a:lnTo>
                      <a:pt x="915" y="104"/>
                    </a:lnTo>
                    <a:lnTo>
                      <a:pt x="850" y="97"/>
                    </a:lnTo>
                    <a:lnTo>
                      <a:pt x="787" y="89"/>
                    </a:lnTo>
                    <a:lnTo>
                      <a:pt x="724" y="82"/>
                    </a:lnTo>
                    <a:lnTo>
                      <a:pt x="663" y="75"/>
                    </a:lnTo>
                    <a:lnTo>
                      <a:pt x="603" y="70"/>
                    </a:lnTo>
                    <a:lnTo>
                      <a:pt x="544" y="64"/>
                    </a:lnTo>
                    <a:lnTo>
                      <a:pt x="485" y="61"/>
                    </a:lnTo>
                    <a:lnTo>
                      <a:pt x="429" y="58"/>
                    </a:lnTo>
                    <a:lnTo>
                      <a:pt x="373" y="56"/>
                    </a:lnTo>
                    <a:lnTo>
                      <a:pt x="319" y="56"/>
                    </a:lnTo>
                    <a:lnTo>
                      <a:pt x="265" y="57"/>
                    </a:lnTo>
                    <a:lnTo>
                      <a:pt x="213" y="60"/>
                    </a:lnTo>
                    <a:lnTo>
                      <a:pt x="163" y="64"/>
                    </a:lnTo>
                    <a:lnTo>
                      <a:pt x="113" y="71"/>
                    </a:lnTo>
                    <a:lnTo>
                      <a:pt x="88" y="74"/>
                    </a:lnTo>
                    <a:lnTo>
                      <a:pt x="64" y="78"/>
                    </a:lnTo>
                    <a:lnTo>
                      <a:pt x="40" y="84"/>
                    </a:lnTo>
                    <a:lnTo>
                      <a:pt x="17" y="89"/>
                    </a:lnTo>
                    <a:lnTo>
                      <a:pt x="11" y="89"/>
                    </a:lnTo>
                    <a:lnTo>
                      <a:pt x="6" y="88"/>
                    </a:lnTo>
                    <a:lnTo>
                      <a:pt x="3" y="85"/>
                    </a:lnTo>
                    <a:lnTo>
                      <a:pt x="0" y="79"/>
                    </a:lnTo>
                    <a:lnTo>
                      <a:pt x="0" y="74"/>
                    </a:lnTo>
                    <a:lnTo>
                      <a:pt x="2" y="70"/>
                    </a:lnTo>
                    <a:lnTo>
                      <a:pt x="5" y="65"/>
                    </a:lnTo>
                    <a:lnTo>
                      <a:pt x="10" y="63"/>
                    </a:lnTo>
                    <a:lnTo>
                      <a:pt x="34" y="58"/>
                    </a:lnTo>
                    <a:lnTo>
                      <a:pt x="58" y="52"/>
                    </a:lnTo>
                    <a:lnTo>
                      <a:pt x="83" y="48"/>
                    </a:lnTo>
                    <a:lnTo>
                      <a:pt x="108" y="44"/>
                    </a:lnTo>
                    <a:lnTo>
                      <a:pt x="158" y="37"/>
                    </a:lnTo>
                    <a:lnTo>
                      <a:pt x="210" y="33"/>
                    </a:lnTo>
                    <a:lnTo>
                      <a:pt x="263" y="30"/>
                    </a:lnTo>
                    <a:lnTo>
                      <a:pt x="317" y="29"/>
                    </a:lnTo>
                    <a:lnTo>
                      <a:pt x="372" y="29"/>
                    </a:lnTo>
                    <a:lnTo>
                      <a:pt x="428" y="31"/>
                    </a:lnTo>
                    <a:lnTo>
                      <a:pt x="485" y="34"/>
                    </a:lnTo>
                    <a:lnTo>
                      <a:pt x="544" y="37"/>
                    </a:lnTo>
                    <a:lnTo>
                      <a:pt x="603" y="43"/>
                    </a:lnTo>
                    <a:lnTo>
                      <a:pt x="665" y="48"/>
                    </a:lnTo>
                    <a:lnTo>
                      <a:pt x="726" y="55"/>
                    </a:lnTo>
                    <a:lnTo>
                      <a:pt x="789" y="62"/>
                    </a:lnTo>
                    <a:lnTo>
                      <a:pt x="854" y="70"/>
                    </a:lnTo>
                    <a:lnTo>
                      <a:pt x="919" y="77"/>
                    </a:lnTo>
                    <a:lnTo>
                      <a:pt x="996" y="86"/>
                    </a:lnTo>
                    <a:lnTo>
                      <a:pt x="1075" y="96"/>
                    </a:lnTo>
                    <a:lnTo>
                      <a:pt x="1156" y="104"/>
                    </a:lnTo>
                    <a:lnTo>
                      <a:pt x="1238" y="113"/>
                    </a:lnTo>
                    <a:lnTo>
                      <a:pt x="1321" y="120"/>
                    </a:lnTo>
                    <a:lnTo>
                      <a:pt x="1405" y="127"/>
                    </a:lnTo>
                    <a:lnTo>
                      <a:pt x="1491" y="132"/>
                    </a:lnTo>
                    <a:lnTo>
                      <a:pt x="1578" y="137"/>
                    </a:lnTo>
                    <a:lnTo>
                      <a:pt x="1667" y="140"/>
                    </a:lnTo>
                    <a:lnTo>
                      <a:pt x="1758" y="140"/>
                    </a:lnTo>
                    <a:lnTo>
                      <a:pt x="1803" y="140"/>
                    </a:lnTo>
                    <a:lnTo>
                      <a:pt x="1848" y="139"/>
                    </a:lnTo>
                    <a:lnTo>
                      <a:pt x="1895" y="138"/>
                    </a:lnTo>
                    <a:lnTo>
                      <a:pt x="1941" y="136"/>
                    </a:lnTo>
                    <a:lnTo>
                      <a:pt x="1988" y="133"/>
                    </a:lnTo>
                    <a:lnTo>
                      <a:pt x="2035" y="130"/>
                    </a:lnTo>
                    <a:lnTo>
                      <a:pt x="2083" y="126"/>
                    </a:lnTo>
                    <a:lnTo>
                      <a:pt x="2131" y="121"/>
                    </a:lnTo>
                    <a:lnTo>
                      <a:pt x="2180" y="116"/>
                    </a:lnTo>
                    <a:lnTo>
                      <a:pt x="2228" y="110"/>
                    </a:lnTo>
                    <a:lnTo>
                      <a:pt x="2277" y="103"/>
                    </a:lnTo>
                    <a:lnTo>
                      <a:pt x="2327" y="96"/>
                    </a:lnTo>
                    <a:lnTo>
                      <a:pt x="2409" y="83"/>
                    </a:lnTo>
                    <a:lnTo>
                      <a:pt x="2493" y="71"/>
                    </a:lnTo>
                    <a:lnTo>
                      <a:pt x="2578" y="60"/>
                    </a:lnTo>
                    <a:lnTo>
                      <a:pt x="2663" y="49"/>
                    </a:lnTo>
                    <a:lnTo>
                      <a:pt x="2751" y="41"/>
                    </a:lnTo>
                    <a:lnTo>
                      <a:pt x="2837" y="32"/>
                    </a:lnTo>
                    <a:lnTo>
                      <a:pt x="2925" y="24"/>
                    </a:lnTo>
                    <a:lnTo>
                      <a:pt x="3012" y="18"/>
                    </a:lnTo>
                    <a:lnTo>
                      <a:pt x="3100" y="11"/>
                    </a:lnTo>
                    <a:lnTo>
                      <a:pt x="3187" y="7"/>
                    </a:lnTo>
                    <a:lnTo>
                      <a:pt x="3274" y="4"/>
                    </a:lnTo>
                    <a:lnTo>
                      <a:pt x="3359" y="1"/>
                    </a:lnTo>
                    <a:lnTo>
                      <a:pt x="3444" y="0"/>
                    </a:lnTo>
                    <a:lnTo>
                      <a:pt x="3528" y="0"/>
                    </a:lnTo>
                    <a:lnTo>
                      <a:pt x="3610" y="0"/>
                    </a:lnTo>
                    <a:lnTo>
                      <a:pt x="3691" y="2"/>
                    </a:lnTo>
                    <a:lnTo>
                      <a:pt x="3771" y="4"/>
                    </a:lnTo>
                    <a:lnTo>
                      <a:pt x="3849" y="8"/>
                    </a:lnTo>
                    <a:lnTo>
                      <a:pt x="3924" y="14"/>
                    </a:lnTo>
                    <a:lnTo>
                      <a:pt x="3997" y="20"/>
                    </a:lnTo>
                    <a:lnTo>
                      <a:pt x="4068" y="28"/>
                    </a:lnTo>
                    <a:lnTo>
                      <a:pt x="4136" y="36"/>
                    </a:lnTo>
                    <a:lnTo>
                      <a:pt x="4201" y="46"/>
                    </a:lnTo>
                    <a:lnTo>
                      <a:pt x="4264" y="58"/>
                    </a:lnTo>
                    <a:lnTo>
                      <a:pt x="4322" y="70"/>
                    </a:lnTo>
                    <a:lnTo>
                      <a:pt x="4377" y="84"/>
                    </a:lnTo>
                    <a:lnTo>
                      <a:pt x="4429" y="99"/>
                    </a:lnTo>
                    <a:lnTo>
                      <a:pt x="4476" y="115"/>
                    </a:lnTo>
                    <a:lnTo>
                      <a:pt x="4521" y="133"/>
                    </a:lnTo>
                    <a:lnTo>
                      <a:pt x="4560" y="153"/>
                    </a:lnTo>
                    <a:lnTo>
                      <a:pt x="4595" y="173"/>
                    </a:lnTo>
                    <a:lnTo>
                      <a:pt x="4625" y="195"/>
                    </a:lnTo>
                    <a:lnTo>
                      <a:pt x="4642" y="210"/>
                    </a:lnTo>
                    <a:lnTo>
                      <a:pt x="4657" y="225"/>
                    </a:lnTo>
                    <a:lnTo>
                      <a:pt x="4670" y="241"/>
                    </a:lnTo>
                    <a:lnTo>
                      <a:pt x="4681" y="257"/>
                    </a:lnTo>
                    <a:lnTo>
                      <a:pt x="4689" y="274"/>
                    </a:lnTo>
                    <a:lnTo>
                      <a:pt x="4697" y="291"/>
                    </a:lnTo>
                    <a:lnTo>
                      <a:pt x="4702" y="309"/>
                    </a:lnTo>
                    <a:lnTo>
                      <a:pt x="4705" y="327"/>
                    </a:lnTo>
                    <a:lnTo>
                      <a:pt x="6025" y="389"/>
                    </a:lnTo>
                    <a:lnTo>
                      <a:pt x="6030" y="390"/>
                    </a:lnTo>
                    <a:lnTo>
                      <a:pt x="6035" y="394"/>
                    </a:lnTo>
                    <a:lnTo>
                      <a:pt x="6037" y="398"/>
                    </a:lnTo>
                    <a:lnTo>
                      <a:pt x="6038" y="403"/>
                    </a:lnTo>
                    <a:lnTo>
                      <a:pt x="6037" y="408"/>
                    </a:lnTo>
                    <a:lnTo>
                      <a:pt x="6034" y="412"/>
                    </a:lnTo>
                    <a:lnTo>
                      <a:pt x="6029" y="415"/>
                    </a:lnTo>
                    <a:lnTo>
                      <a:pt x="6024" y="4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41"/>
              <p:cNvSpPr>
                <a:spLocks/>
              </p:cNvSpPr>
              <p:nvPr userDrawn="1"/>
            </p:nvSpPr>
            <p:spPr bwMode="auto">
              <a:xfrm>
                <a:off x="1420" y="1496"/>
                <a:ext cx="1222" cy="1836"/>
              </a:xfrm>
              <a:custGeom>
                <a:avLst/>
                <a:gdLst>
                  <a:gd name="T0" fmla="*/ 3399 w 3665"/>
                  <a:gd name="T1" fmla="*/ 5381 h 5510"/>
                  <a:gd name="T2" fmla="*/ 2643 w 3665"/>
                  <a:gd name="T3" fmla="*/ 5233 h 5510"/>
                  <a:gd name="T4" fmla="*/ 1703 w 3665"/>
                  <a:gd name="T5" fmla="*/ 5161 h 5510"/>
                  <a:gd name="T6" fmla="*/ 852 w 3665"/>
                  <a:gd name="T7" fmla="*/ 5143 h 5510"/>
                  <a:gd name="T8" fmla="*/ 366 w 3665"/>
                  <a:gd name="T9" fmla="*/ 5157 h 5510"/>
                  <a:gd name="T10" fmla="*/ 207 w 3665"/>
                  <a:gd name="T11" fmla="*/ 5122 h 5510"/>
                  <a:gd name="T12" fmla="*/ 106 w 3665"/>
                  <a:gd name="T13" fmla="*/ 4999 h 5510"/>
                  <a:gd name="T14" fmla="*/ 45 w 3665"/>
                  <a:gd name="T15" fmla="*/ 4824 h 5510"/>
                  <a:gd name="T16" fmla="*/ 0 w 3665"/>
                  <a:gd name="T17" fmla="*/ 4529 h 5510"/>
                  <a:gd name="T18" fmla="*/ 20 w 3665"/>
                  <a:gd name="T19" fmla="*/ 4485 h 5510"/>
                  <a:gd name="T20" fmla="*/ 121 w 3665"/>
                  <a:gd name="T21" fmla="*/ 4445 h 5510"/>
                  <a:gd name="T22" fmla="*/ 324 w 3665"/>
                  <a:gd name="T23" fmla="*/ 4388 h 5510"/>
                  <a:gd name="T24" fmla="*/ 679 w 3665"/>
                  <a:gd name="T25" fmla="*/ 4282 h 5510"/>
                  <a:gd name="T26" fmla="*/ 961 w 3665"/>
                  <a:gd name="T27" fmla="*/ 4146 h 5510"/>
                  <a:gd name="T28" fmla="*/ 1106 w 3665"/>
                  <a:gd name="T29" fmla="*/ 4026 h 5510"/>
                  <a:gd name="T30" fmla="*/ 1206 w 3665"/>
                  <a:gd name="T31" fmla="*/ 3801 h 5510"/>
                  <a:gd name="T32" fmla="*/ 1221 w 3665"/>
                  <a:gd name="T33" fmla="*/ 3515 h 5510"/>
                  <a:gd name="T34" fmla="*/ 1159 w 3665"/>
                  <a:gd name="T35" fmla="*/ 3348 h 5510"/>
                  <a:gd name="T36" fmla="*/ 927 w 3665"/>
                  <a:gd name="T37" fmla="*/ 3044 h 5510"/>
                  <a:gd name="T38" fmla="*/ 682 w 3665"/>
                  <a:gd name="T39" fmla="*/ 2714 h 5510"/>
                  <a:gd name="T40" fmla="*/ 552 w 3665"/>
                  <a:gd name="T41" fmla="*/ 2476 h 5510"/>
                  <a:gd name="T42" fmla="*/ 487 w 3665"/>
                  <a:gd name="T43" fmla="*/ 2282 h 5510"/>
                  <a:gd name="T44" fmla="*/ 408 w 3665"/>
                  <a:gd name="T45" fmla="*/ 1946 h 5510"/>
                  <a:gd name="T46" fmla="*/ 334 w 3665"/>
                  <a:gd name="T47" fmla="*/ 1532 h 5510"/>
                  <a:gd name="T48" fmla="*/ 330 w 3665"/>
                  <a:gd name="T49" fmla="*/ 1121 h 5510"/>
                  <a:gd name="T50" fmla="*/ 424 w 3665"/>
                  <a:gd name="T51" fmla="*/ 786 h 5510"/>
                  <a:gd name="T52" fmla="*/ 602 w 3665"/>
                  <a:gd name="T53" fmla="*/ 487 h 5510"/>
                  <a:gd name="T54" fmla="*/ 850 w 3665"/>
                  <a:gd name="T55" fmla="*/ 238 h 5510"/>
                  <a:gd name="T56" fmla="*/ 1156 w 3665"/>
                  <a:gd name="T57" fmla="*/ 55 h 5510"/>
                  <a:gd name="T58" fmla="*/ 1318 w 3665"/>
                  <a:gd name="T59" fmla="*/ 10 h 5510"/>
                  <a:gd name="T60" fmla="*/ 1167 w 3665"/>
                  <a:gd name="T61" fmla="*/ 80 h 5510"/>
                  <a:gd name="T62" fmla="*/ 867 w 3665"/>
                  <a:gd name="T63" fmla="*/ 259 h 5510"/>
                  <a:gd name="T64" fmla="*/ 624 w 3665"/>
                  <a:gd name="T65" fmla="*/ 503 h 5510"/>
                  <a:gd name="T66" fmla="*/ 449 w 3665"/>
                  <a:gd name="T67" fmla="*/ 796 h 5510"/>
                  <a:gd name="T68" fmla="*/ 357 w 3665"/>
                  <a:gd name="T69" fmla="*/ 1124 h 5510"/>
                  <a:gd name="T70" fmla="*/ 361 w 3665"/>
                  <a:gd name="T71" fmla="*/ 1531 h 5510"/>
                  <a:gd name="T72" fmla="*/ 434 w 3665"/>
                  <a:gd name="T73" fmla="*/ 1942 h 5510"/>
                  <a:gd name="T74" fmla="*/ 513 w 3665"/>
                  <a:gd name="T75" fmla="*/ 2277 h 5510"/>
                  <a:gd name="T76" fmla="*/ 578 w 3665"/>
                  <a:gd name="T77" fmla="*/ 2467 h 5510"/>
                  <a:gd name="T78" fmla="*/ 706 w 3665"/>
                  <a:gd name="T79" fmla="*/ 2701 h 5510"/>
                  <a:gd name="T80" fmla="*/ 949 w 3665"/>
                  <a:gd name="T81" fmla="*/ 3027 h 5510"/>
                  <a:gd name="T82" fmla="*/ 1183 w 3665"/>
                  <a:gd name="T83" fmla="*/ 3336 h 5510"/>
                  <a:gd name="T84" fmla="*/ 1247 w 3665"/>
                  <a:gd name="T85" fmla="*/ 3513 h 5510"/>
                  <a:gd name="T86" fmla="*/ 1232 w 3665"/>
                  <a:gd name="T87" fmla="*/ 3809 h 5510"/>
                  <a:gd name="T88" fmla="*/ 1156 w 3665"/>
                  <a:gd name="T89" fmla="*/ 3997 h 5510"/>
                  <a:gd name="T90" fmla="*/ 1064 w 3665"/>
                  <a:gd name="T91" fmla="*/ 4107 h 5510"/>
                  <a:gd name="T92" fmla="*/ 909 w 3665"/>
                  <a:gd name="T93" fmla="*/ 4209 h 5510"/>
                  <a:gd name="T94" fmla="*/ 640 w 3665"/>
                  <a:gd name="T95" fmla="*/ 4325 h 5510"/>
                  <a:gd name="T96" fmla="*/ 302 w 3665"/>
                  <a:gd name="T97" fmla="*/ 4423 h 5510"/>
                  <a:gd name="T98" fmla="*/ 98 w 3665"/>
                  <a:gd name="T99" fmla="*/ 4481 h 5510"/>
                  <a:gd name="T100" fmla="*/ 42 w 3665"/>
                  <a:gd name="T101" fmla="*/ 4502 h 5510"/>
                  <a:gd name="T102" fmla="*/ 32 w 3665"/>
                  <a:gd name="T103" fmla="*/ 4574 h 5510"/>
                  <a:gd name="T104" fmla="*/ 90 w 3665"/>
                  <a:gd name="T105" fmla="*/ 4885 h 5510"/>
                  <a:gd name="T106" fmla="*/ 160 w 3665"/>
                  <a:gd name="T107" fmla="*/ 5036 h 5510"/>
                  <a:gd name="T108" fmla="*/ 273 w 3665"/>
                  <a:gd name="T109" fmla="*/ 5122 h 5510"/>
                  <a:gd name="T110" fmla="*/ 510 w 3665"/>
                  <a:gd name="T111" fmla="*/ 5121 h 5510"/>
                  <a:gd name="T112" fmla="*/ 1190 w 3665"/>
                  <a:gd name="T113" fmla="*/ 5119 h 5510"/>
                  <a:gd name="T114" fmla="*/ 2119 w 3665"/>
                  <a:gd name="T115" fmla="*/ 5160 h 5510"/>
                  <a:gd name="T116" fmla="*/ 3019 w 3665"/>
                  <a:gd name="T117" fmla="*/ 5264 h 5510"/>
                  <a:gd name="T118" fmla="*/ 3616 w 3665"/>
                  <a:gd name="T119" fmla="*/ 5452 h 5510"/>
                  <a:gd name="T120" fmla="*/ 3657 w 3665"/>
                  <a:gd name="T121" fmla="*/ 5509 h 5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5" h="5510">
                    <a:moveTo>
                      <a:pt x="3652" y="5510"/>
                    </a:moveTo>
                    <a:lnTo>
                      <a:pt x="3646" y="5509"/>
                    </a:lnTo>
                    <a:lnTo>
                      <a:pt x="3642" y="5507"/>
                    </a:lnTo>
                    <a:lnTo>
                      <a:pt x="3598" y="5472"/>
                    </a:lnTo>
                    <a:lnTo>
                      <a:pt x="3543" y="5440"/>
                    </a:lnTo>
                    <a:lnTo>
                      <a:pt x="3476" y="5409"/>
                    </a:lnTo>
                    <a:lnTo>
                      <a:pt x="3399" y="5381"/>
                    </a:lnTo>
                    <a:lnTo>
                      <a:pt x="3313" y="5354"/>
                    </a:lnTo>
                    <a:lnTo>
                      <a:pt x="3219" y="5330"/>
                    </a:lnTo>
                    <a:lnTo>
                      <a:pt x="3116" y="5308"/>
                    </a:lnTo>
                    <a:lnTo>
                      <a:pt x="3006" y="5286"/>
                    </a:lnTo>
                    <a:lnTo>
                      <a:pt x="2891" y="5267"/>
                    </a:lnTo>
                    <a:lnTo>
                      <a:pt x="2770" y="5250"/>
                    </a:lnTo>
                    <a:lnTo>
                      <a:pt x="2643" y="5233"/>
                    </a:lnTo>
                    <a:lnTo>
                      <a:pt x="2515" y="5219"/>
                    </a:lnTo>
                    <a:lnTo>
                      <a:pt x="2382" y="5206"/>
                    </a:lnTo>
                    <a:lnTo>
                      <a:pt x="2247" y="5195"/>
                    </a:lnTo>
                    <a:lnTo>
                      <a:pt x="2111" y="5185"/>
                    </a:lnTo>
                    <a:lnTo>
                      <a:pt x="1975" y="5176"/>
                    </a:lnTo>
                    <a:lnTo>
                      <a:pt x="1839" y="5168"/>
                    </a:lnTo>
                    <a:lnTo>
                      <a:pt x="1703" y="5161"/>
                    </a:lnTo>
                    <a:lnTo>
                      <a:pt x="1570" y="5156"/>
                    </a:lnTo>
                    <a:lnTo>
                      <a:pt x="1439" y="5151"/>
                    </a:lnTo>
                    <a:lnTo>
                      <a:pt x="1312" y="5148"/>
                    </a:lnTo>
                    <a:lnTo>
                      <a:pt x="1189" y="5145"/>
                    </a:lnTo>
                    <a:lnTo>
                      <a:pt x="1070" y="5144"/>
                    </a:lnTo>
                    <a:lnTo>
                      <a:pt x="958" y="5143"/>
                    </a:lnTo>
                    <a:lnTo>
                      <a:pt x="852" y="5143"/>
                    </a:lnTo>
                    <a:lnTo>
                      <a:pt x="754" y="5143"/>
                    </a:lnTo>
                    <a:lnTo>
                      <a:pt x="664" y="5144"/>
                    </a:lnTo>
                    <a:lnTo>
                      <a:pt x="583" y="5146"/>
                    </a:lnTo>
                    <a:lnTo>
                      <a:pt x="512" y="5148"/>
                    </a:lnTo>
                    <a:lnTo>
                      <a:pt x="451" y="5150"/>
                    </a:lnTo>
                    <a:lnTo>
                      <a:pt x="403" y="5154"/>
                    </a:lnTo>
                    <a:lnTo>
                      <a:pt x="366" y="5157"/>
                    </a:lnTo>
                    <a:lnTo>
                      <a:pt x="339" y="5158"/>
                    </a:lnTo>
                    <a:lnTo>
                      <a:pt x="314" y="5158"/>
                    </a:lnTo>
                    <a:lnTo>
                      <a:pt x="290" y="5155"/>
                    </a:lnTo>
                    <a:lnTo>
                      <a:pt x="268" y="5149"/>
                    </a:lnTo>
                    <a:lnTo>
                      <a:pt x="246" y="5142"/>
                    </a:lnTo>
                    <a:lnTo>
                      <a:pt x="227" y="5133"/>
                    </a:lnTo>
                    <a:lnTo>
                      <a:pt x="207" y="5122"/>
                    </a:lnTo>
                    <a:lnTo>
                      <a:pt x="190" y="5109"/>
                    </a:lnTo>
                    <a:lnTo>
                      <a:pt x="173" y="5094"/>
                    </a:lnTo>
                    <a:lnTo>
                      <a:pt x="158" y="5078"/>
                    </a:lnTo>
                    <a:lnTo>
                      <a:pt x="144" y="5060"/>
                    </a:lnTo>
                    <a:lnTo>
                      <a:pt x="130" y="5041"/>
                    </a:lnTo>
                    <a:lnTo>
                      <a:pt x="117" y="5021"/>
                    </a:lnTo>
                    <a:lnTo>
                      <a:pt x="106" y="4999"/>
                    </a:lnTo>
                    <a:lnTo>
                      <a:pt x="95" y="4977"/>
                    </a:lnTo>
                    <a:lnTo>
                      <a:pt x="84" y="4953"/>
                    </a:lnTo>
                    <a:lnTo>
                      <a:pt x="76" y="4928"/>
                    </a:lnTo>
                    <a:lnTo>
                      <a:pt x="67" y="4903"/>
                    </a:lnTo>
                    <a:lnTo>
                      <a:pt x="59" y="4877"/>
                    </a:lnTo>
                    <a:lnTo>
                      <a:pt x="52" y="4851"/>
                    </a:lnTo>
                    <a:lnTo>
                      <a:pt x="45" y="4824"/>
                    </a:lnTo>
                    <a:lnTo>
                      <a:pt x="39" y="4797"/>
                    </a:lnTo>
                    <a:lnTo>
                      <a:pt x="33" y="4769"/>
                    </a:lnTo>
                    <a:lnTo>
                      <a:pt x="29" y="4742"/>
                    </a:lnTo>
                    <a:lnTo>
                      <a:pt x="19" y="4686"/>
                    </a:lnTo>
                    <a:lnTo>
                      <a:pt x="13" y="4632"/>
                    </a:lnTo>
                    <a:lnTo>
                      <a:pt x="6" y="4579"/>
                    </a:lnTo>
                    <a:lnTo>
                      <a:pt x="0" y="4529"/>
                    </a:lnTo>
                    <a:lnTo>
                      <a:pt x="0" y="4523"/>
                    </a:lnTo>
                    <a:lnTo>
                      <a:pt x="0" y="4517"/>
                    </a:lnTo>
                    <a:lnTo>
                      <a:pt x="2" y="4509"/>
                    </a:lnTo>
                    <a:lnTo>
                      <a:pt x="5" y="4503"/>
                    </a:lnTo>
                    <a:lnTo>
                      <a:pt x="10" y="4497"/>
                    </a:lnTo>
                    <a:lnTo>
                      <a:pt x="15" y="4491"/>
                    </a:lnTo>
                    <a:lnTo>
                      <a:pt x="20" y="4485"/>
                    </a:lnTo>
                    <a:lnTo>
                      <a:pt x="27" y="4480"/>
                    </a:lnTo>
                    <a:lnTo>
                      <a:pt x="33" y="4475"/>
                    </a:lnTo>
                    <a:lnTo>
                      <a:pt x="49" y="4467"/>
                    </a:lnTo>
                    <a:lnTo>
                      <a:pt x="64" y="4461"/>
                    </a:lnTo>
                    <a:lnTo>
                      <a:pt x="79" y="4456"/>
                    </a:lnTo>
                    <a:lnTo>
                      <a:pt x="92" y="4454"/>
                    </a:lnTo>
                    <a:lnTo>
                      <a:pt x="121" y="4445"/>
                    </a:lnTo>
                    <a:lnTo>
                      <a:pt x="150" y="4437"/>
                    </a:lnTo>
                    <a:lnTo>
                      <a:pt x="179" y="4428"/>
                    </a:lnTo>
                    <a:lnTo>
                      <a:pt x="208" y="4421"/>
                    </a:lnTo>
                    <a:lnTo>
                      <a:pt x="237" y="4412"/>
                    </a:lnTo>
                    <a:lnTo>
                      <a:pt x="267" y="4404"/>
                    </a:lnTo>
                    <a:lnTo>
                      <a:pt x="296" y="4397"/>
                    </a:lnTo>
                    <a:lnTo>
                      <a:pt x="324" y="4388"/>
                    </a:lnTo>
                    <a:lnTo>
                      <a:pt x="376" y="4375"/>
                    </a:lnTo>
                    <a:lnTo>
                      <a:pt x="426" y="4361"/>
                    </a:lnTo>
                    <a:lnTo>
                      <a:pt x="477" y="4346"/>
                    </a:lnTo>
                    <a:lnTo>
                      <a:pt x="528" y="4332"/>
                    </a:lnTo>
                    <a:lnTo>
                      <a:pt x="579" y="4316"/>
                    </a:lnTo>
                    <a:lnTo>
                      <a:pt x="629" y="4300"/>
                    </a:lnTo>
                    <a:lnTo>
                      <a:pt x="679" y="4282"/>
                    </a:lnTo>
                    <a:lnTo>
                      <a:pt x="729" y="4263"/>
                    </a:lnTo>
                    <a:lnTo>
                      <a:pt x="776" y="4244"/>
                    </a:lnTo>
                    <a:lnTo>
                      <a:pt x="824" y="4222"/>
                    </a:lnTo>
                    <a:lnTo>
                      <a:pt x="871" y="4199"/>
                    </a:lnTo>
                    <a:lnTo>
                      <a:pt x="917" y="4173"/>
                    </a:lnTo>
                    <a:lnTo>
                      <a:pt x="938" y="4160"/>
                    </a:lnTo>
                    <a:lnTo>
                      <a:pt x="961" y="4146"/>
                    </a:lnTo>
                    <a:lnTo>
                      <a:pt x="983" y="4132"/>
                    </a:lnTo>
                    <a:lnTo>
                      <a:pt x="1004" y="4117"/>
                    </a:lnTo>
                    <a:lnTo>
                      <a:pt x="1025" y="4102"/>
                    </a:lnTo>
                    <a:lnTo>
                      <a:pt x="1045" y="4086"/>
                    </a:lnTo>
                    <a:lnTo>
                      <a:pt x="1066" y="4070"/>
                    </a:lnTo>
                    <a:lnTo>
                      <a:pt x="1085" y="4053"/>
                    </a:lnTo>
                    <a:lnTo>
                      <a:pt x="1106" y="4026"/>
                    </a:lnTo>
                    <a:lnTo>
                      <a:pt x="1125" y="3997"/>
                    </a:lnTo>
                    <a:lnTo>
                      <a:pt x="1143" y="3967"/>
                    </a:lnTo>
                    <a:lnTo>
                      <a:pt x="1160" y="3937"/>
                    </a:lnTo>
                    <a:lnTo>
                      <a:pt x="1174" y="3905"/>
                    </a:lnTo>
                    <a:lnTo>
                      <a:pt x="1186" y="3871"/>
                    </a:lnTo>
                    <a:lnTo>
                      <a:pt x="1196" y="3837"/>
                    </a:lnTo>
                    <a:lnTo>
                      <a:pt x="1206" y="3801"/>
                    </a:lnTo>
                    <a:lnTo>
                      <a:pt x="1214" y="3763"/>
                    </a:lnTo>
                    <a:lnTo>
                      <a:pt x="1219" y="3725"/>
                    </a:lnTo>
                    <a:lnTo>
                      <a:pt x="1222" y="3686"/>
                    </a:lnTo>
                    <a:lnTo>
                      <a:pt x="1224" y="3644"/>
                    </a:lnTo>
                    <a:lnTo>
                      <a:pt x="1226" y="3602"/>
                    </a:lnTo>
                    <a:lnTo>
                      <a:pt x="1223" y="3559"/>
                    </a:lnTo>
                    <a:lnTo>
                      <a:pt x="1221" y="3515"/>
                    </a:lnTo>
                    <a:lnTo>
                      <a:pt x="1216" y="3470"/>
                    </a:lnTo>
                    <a:lnTo>
                      <a:pt x="1210" y="3451"/>
                    </a:lnTo>
                    <a:lnTo>
                      <a:pt x="1204" y="3432"/>
                    </a:lnTo>
                    <a:lnTo>
                      <a:pt x="1195" y="3412"/>
                    </a:lnTo>
                    <a:lnTo>
                      <a:pt x="1184" y="3392"/>
                    </a:lnTo>
                    <a:lnTo>
                      <a:pt x="1173" y="3369"/>
                    </a:lnTo>
                    <a:lnTo>
                      <a:pt x="1159" y="3348"/>
                    </a:lnTo>
                    <a:lnTo>
                      <a:pt x="1145" y="3324"/>
                    </a:lnTo>
                    <a:lnTo>
                      <a:pt x="1127" y="3300"/>
                    </a:lnTo>
                    <a:lnTo>
                      <a:pt x="1092" y="3250"/>
                    </a:lnTo>
                    <a:lnTo>
                      <a:pt x="1052" y="3199"/>
                    </a:lnTo>
                    <a:lnTo>
                      <a:pt x="1008" y="3144"/>
                    </a:lnTo>
                    <a:lnTo>
                      <a:pt x="962" y="3086"/>
                    </a:lnTo>
                    <a:lnTo>
                      <a:pt x="927" y="3044"/>
                    </a:lnTo>
                    <a:lnTo>
                      <a:pt x="893" y="3000"/>
                    </a:lnTo>
                    <a:lnTo>
                      <a:pt x="857" y="2955"/>
                    </a:lnTo>
                    <a:lnTo>
                      <a:pt x="822" y="2909"/>
                    </a:lnTo>
                    <a:lnTo>
                      <a:pt x="786" y="2862"/>
                    </a:lnTo>
                    <a:lnTo>
                      <a:pt x="750" y="2813"/>
                    </a:lnTo>
                    <a:lnTo>
                      <a:pt x="716" y="2764"/>
                    </a:lnTo>
                    <a:lnTo>
                      <a:pt x="682" y="2714"/>
                    </a:lnTo>
                    <a:lnTo>
                      <a:pt x="650" y="2662"/>
                    </a:lnTo>
                    <a:lnTo>
                      <a:pt x="620" y="2610"/>
                    </a:lnTo>
                    <a:lnTo>
                      <a:pt x="605" y="2584"/>
                    </a:lnTo>
                    <a:lnTo>
                      <a:pt x="591" y="2557"/>
                    </a:lnTo>
                    <a:lnTo>
                      <a:pt x="578" y="2530"/>
                    </a:lnTo>
                    <a:lnTo>
                      <a:pt x="565" y="2503"/>
                    </a:lnTo>
                    <a:lnTo>
                      <a:pt x="552" y="2476"/>
                    </a:lnTo>
                    <a:lnTo>
                      <a:pt x="541" y="2450"/>
                    </a:lnTo>
                    <a:lnTo>
                      <a:pt x="530" y="2423"/>
                    </a:lnTo>
                    <a:lnTo>
                      <a:pt x="519" y="2394"/>
                    </a:lnTo>
                    <a:lnTo>
                      <a:pt x="510" y="2366"/>
                    </a:lnTo>
                    <a:lnTo>
                      <a:pt x="501" y="2338"/>
                    </a:lnTo>
                    <a:lnTo>
                      <a:pt x="493" y="2310"/>
                    </a:lnTo>
                    <a:lnTo>
                      <a:pt x="487" y="2282"/>
                    </a:lnTo>
                    <a:lnTo>
                      <a:pt x="477" y="2243"/>
                    </a:lnTo>
                    <a:lnTo>
                      <a:pt x="469" y="2204"/>
                    </a:lnTo>
                    <a:lnTo>
                      <a:pt x="459" y="2166"/>
                    </a:lnTo>
                    <a:lnTo>
                      <a:pt x="450" y="2127"/>
                    </a:lnTo>
                    <a:lnTo>
                      <a:pt x="435" y="2066"/>
                    </a:lnTo>
                    <a:lnTo>
                      <a:pt x="421" y="2007"/>
                    </a:lnTo>
                    <a:lnTo>
                      <a:pt x="408" y="1946"/>
                    </a:lnTo>
                    <a:lnTo>
                      <a:pt x="394" y="1887"/>
                    </a:lnTo>
                    <a:lnTo>
                      <a:pt x="382" y="1828"/>
                    </a:lnTo>
                    <a:lnTo>
                      <a:pt x="370" y="1769"/>
                    </a:lnTo>
                    <a:lnTo>
                      <a:pt x="360" y="1710"/>
                    </a:lnTo>
                    <a:lnTo>
                      <a:pt x="350" y="1651"/>
                    </a:lnTo>
                    <a:lnTo>
                      <a:pt x="341" y="1591"/>
                    </a:lnTo>
                    <a:lnTo>
                      <a:pt x="334" y="1532"/>
                    </a:lnTo>
                    <a:lnTo>
                      <a:pt x="327" y="1473"/>
                    </a:lnTo>
                    <a:lnTo>
                      <a:pt x="323" y="1413"/>
                    </a:lnTo>
                    <a:lnTo>
                      <a:pt x="321" y="1353"/>
                    </a:lnTo>
                    <a:lnTo>
                      <a:pt x="320" y="1293"/>
                    </a:lnTo>
                    <a:lnTo>
                      <a:pt x="321" y="1232"/>
                    </a:lnTo>
                    <a:lnTo>
                      <a:pt x="324" y="1171"/>
                    </a:lnTo>
                    <a:lnTo>
                      <a:pt x="330" y="1121"/>
                    </a:lnTo>
                    <a:lnTo>
                      <a:pt x="338" y="1072"/>
                    </a:lnTo>
                    <a:lnTo>
                      <a:pt x="348" y="1022"/>
                    </a:lnTo>
                    <a:lnTo>
                      <a:pt x="360" y="974"/>
                    </a:lnTo>
                    <a:lnTo>
                      <a:pt x="374" y="926"/>
                    </a:lnTo>
                    <a:lnTo>
                      <a:pt x="389" y="879"/>
                    </a:lnTo>
                    <a:lnTo>
                      <a:pt x="406" y="832"/>
                    </a:lnTo>
                    <a:lnTo>
                      <a:pt x="424" y="786"/>
                    </a:lnTo>
                    <a:lnTo>
                      <a:pt x="445" y="741"/>
                    </a:lnTo>
                    <a:lnTo>
                      <a:pt x="467" y="696"/>
                    </a:lnTo>
                    <a:lnTo>
                      <a:pt x="491" y="652"/>
                    </a:lnTo>
                    <a:lnTo>
                      <a:pt x="517" y="610"/>
                    </a:lnTo>
                    <a:lnTo>
                      <a:pt x="544" y="568"/>
                    </a:lnTo>
                    <a:lnTo>
                      <a:pt x="572" y="527"/>
                    </a:lnTo>
                    <a:lnTo>
                      <a:pt x="602" y="487"/>
                    </a:lnTo>
                    <a:lnTo>
                      <a:pt x="634" y="448"/>
                    </a:lnTo>
                    <a:lnTo>
                      <a:pt x="666" y="409"/>
                    </a:lnTo>
                    <a:lnTo>
                      <a:pt x="701" y="373"/>
                    </a:lnTo>
                    <a:lnTo>
                      <a:pt x="736" y="337"/>
                    </a:lnTo>
                    <a:lnTo>
                      <a:pt x="773" y="304"/>
                    </a:lnTo>
                    <a:lnTo>
                      <a:pt x="811" y="270"/>
                    </a:lnTo>
                    <a:lnTo>
                      <a:pt x="850" y="238"/>
                    </a:lnTo>
                    <a:lnTo>
                      <a:pt x="891" y="207"/>
                    </a:lnTo>
                    <a:lnTo>
                      <a:pt x="932" y="178"/>
                    </a:lnTo>
                    <a:lnTo>
                      <a:pt x="975" y="151"/>
                    </a:lnTo>
                    <a:lnTo>
                      <a:pt x="1018" y="124"/>
                    </a:lnTo>
                    <a:lnTo>
                      <a:pt x="1064" y="99"/>
                    </a:lnTo>
                    <a:lnTo>
                      <a:pt x="1109" y="77"/>
                    </a:lnTo>
                    <a:lnTo>
                      <a:pt x="1156" y="55"/>
                    </a:lnTo>
                    <a:lnTo>
                      <a:pt x="1204" y="36"/>
                    </a:lnTo>
                    <a:lnTo>
                      <a:pt x="1253" y="17"/>
                    </a:lnTo>
                    <a:lnTo>
                      <a:pt x="1301" y="1"/>
                    </a:lnTo>
                    <a:lnTo>
                      <a:pt x="1307" y="0"/>
                    </a:lnTo>
                    <a:lnTo>
                      <a:pt x="1312" y="1"/>
                    </a:lnTo>
                    <a:lnTo>
                      <a:pt x="1316" y="4"/>
                    </a:lnTo>
                    <a:lnTo>
                      <a:pt x="1318" y="10"/>
                    </a:lnTo>
                    <a:lnTo>
                      <a:pt x="1319" y="15"/>
                    </a:lnTo>
                    <a:lnTo>
                      <a:pt x="1317" y="20"/>
                    </a:lnTo>
                    <a:lnTo>
                      <a:pt x="1314" y="24"/>
                    </a:lnTo>
                    <a:lnTo>
                      <a:pt x="1310" y="27"/>
                    </a:lnTo>
                    <a:lnTo>
                      <a:pt x="1261" y="42"/>
                    </a:lnTo>
                    <a:lnTo>
                      <a:pt x="1214" y="61"/>
                    </a:lnTo>
                    <a:lnTo>
                      <a:pt x="1167" y="80"/>
                    </a:lnTo>
                    <a:lnTo>
                      <a:pt x="1121" y="102"/>
                    </a:lnTo>
                    <a:lnTo>
                      <a:pt x="1077" y="123"/>
                    </a:lnTo>
                    <a:lnTo>
                      <a:pt x="1032" y="148"/>
                    </a:lnTo>
                    <a:lnTo>
                      <a:pt x="989" y="174"/>
                    </a:lnTo>
                    <a:lnTo>
                      <a:pt x="947" y="201"/>
                    </a:lnTo>
                    <a:lnTo>
                      <a:pt x="907" y="229"/>
                    </a:lnTo>
                    <a:lnTo>
                      <a:pt x="867" y="259"/>
                    </a:lnTo>
                    <a:lnTo>
                      <a:pt x="828" y="291"/>
                    </a:lnTo>
                    <a:lnTo>
                      <a:pt x="791" y="323"/>
                    </a:lnTo>
                    <a:lnTo>
                      <a:pt x="755" y="356"/>
                    </a:lnTo>
                    <a:lnTo>
                      <a:pt x="720" y="392"/>
                    </a:lnTo>
                    <a:lnTo>
                      <a:pt x="687" y="428"/>
                    </a:lnTo>
                    <a:lnTo>
                      <a:pt x="654" y="464"/>
                    </a:lnTo>
                    <a:lnTo>
                      <a:pt x="624" y="503"/>
                    </a:lnTo>
                    <a:lnTo>
                      <a:pt x="594" y="542"/>
                    </a:lnTo>
                    <a:lnTo>
                      <a:pt x="567" y="582"/>
                    </a:lnTo>
                    <a:lnTo>
                      <a:pt x="540" y="623"/>
                    </a:lnTo>
                    <a:lnTo>
                      <a:pt x="515" y="665"/>
                    </a:lnTo>
                    <a:lnTo>
                      <a:pt x="491" y="708"/>
                    </a:lnTo>
                    <a:lnTo>
                      <a:pt x="470" y="751"/>
                    </a:lnTo>
                    <a:lnTo>
                      <a:pt x="449" y="796"/>
                    </a:lnTo>
                    <a:lnTo>
                      <a:pt x="431" y="841"/>
                    </a:lnTo>
                    <a:lnTo>
                      <a:pt x="415" y="888"/>
                    </a:lnTo>
                    <a:lnTo>
                      <a:pt x="399" y="934"/>
                    </a:lnTo>
                    <a:lnTo>
                      <a:pt x="385" y="980"/>
                    </a:lnTo>
                    <a:lnTo>
                      <a:pt x="375" y="1028"/>
                    </a:lnTo>
                    <a:lnTo>
                      <a:pt x="365" y="1076"/>
                    </a:lnTo>
                    <a:lnTo>
                      <a:pt x="357" y="1124"/>
                    </a:lnTo>
                    <a:lnTo>
                      <a:pt x="351" y="1174"/>
                    </a:lnTo>
                    <a:lnTo>
                      <a:pt x="348" y="1234"/>
                    </a:lnTo>
                    <a:lnTo>
                      <a:pt x="347" y="1293"/>
                    </a:lnTo>
                    <a:lnTo>
                      <a:pt x="348" y="1353"/>
                    </a:lnTo>
                    <a:lnTo>
                      <a:pt x="350" y="1412"/>
                    </a:lnTo>
                    <a:lnTo>
                      <a:pt x="354" y="1472"/>
                    </a:lnTo>
                    <a:lnTo>
                      <a:pt x="361" y="1531"/>
                    </a:lnTo>
                    <a:lnTo>
                      <a:pt x="368" y="1589"/>
                    </a:lnTo>
                    <a:lnTo>
                      <a:pt x="377" y="1647"/>
                    </a:lnTo>
                    <a:lnTo>
                      <a:pt x="387" y="1707"/>
                    </a:lnTo>
                    <a:lnTo>
                      <a:pt x="397" y="1765"/>
                    </a:lnTo>
                    <a:lnTo>
                      <a:pt x="409" y="1823"/>
                    </a:lnTo>
                    <a:lnTo>
                      <a:pt x="421" y="1883"/>
                    </a:lnTo>
                    <a:lnTo>
                      <a:pt x="434" y="1942"/>
                    </a:lnTo>
                    <a:lnTo>
                      <a:pt x="448" y="2002"/>
                    </a:lnTo>
                    <a:lnTo>
                      <a:pt x="462" y="2061"/>
                    </a:lnTo>
                    <a:lnTo>
                      <a:pt x="476" y="2121"/>
                    </a:lnTo>
                    <a:lnTo>
                      <a:pt x="486" y="2159"/>
                    </a:lnTo>
                    <a:lnTo>
                      <a:pt x="494" y="2198"/>
                    </a:lnTo>
                    <a:lnTo>
                      <a:pt x="504" y="2237"/>
                    </a:lnTo>
                    <a:lnTo>
                      <a:pt x="513" y="2277"/>
                    </a:lnTo>
                    <a:lnTo>
                      <a:pt x="519" y="2304"/>
                    </a:lnTo>
                    <a:lnTo>
                      <a:pt x="527" y="2332"/>
                    </a:lnTo>
                    <a:lnTo>
                      <a:pt x="536" y="2359"/>
                    </a:lnTo>
                    <a:lnTo>
                      <a:pt x="545" y="2386"/>
                    </a:lnTo>
                    <a:lnTo>
                      <a:pt x="555" y="2414"/>
                    </a:lnTo>
                    <a:lnTo>
                      <a:pt x="566" y="2441"/>
                    </a:lnTo>
                    <a:lnTo>
                      <a:pt x="578" y="2467"/>
                    </a:lnTo>
                    <a:lnTo>
                      <a:pt x="590" y="2494"/>
                    </a:lnTo>
                    <a:lnTo>
                      <a:pt x="602" y="2521"/>
                    </a:lnTo>
                    <a:lnTo>
                      <a:pt x="615" y="2547"/>
                    </a:lnTo>
                    <a:lnTo>
                      <a:pt x="629" y="2573"/>
                    </a:lnTo>
                    <a:lnTo>
                      <a:pt x="645" y="2598"/>
                    </a:lnTo>
                    <a:lnTo>
                      <a:pt x="675" y="2650"/>
                    </a:lnTo>
                    <a:lnTo>
                      <a:pt x="706" y="2701"/>
                    </a:lnTo>
                    <a:lnTo>
                      <a:pt x="740" y="2751"/>
                    </a:lnTo>
                    <a:lnTo>
                      <a:pt x="773" y="2799"/>
                    </a:lnTo>
                    <a:lnTo>
                      <a:pt x="809" y="2847"/>
                    </a:lnTo>
                    <a:lnTo>
                      <a:pt x="843" y="2894"/>
                    </a:lnTo>
                    <a:lnTo>
                      <a:pt x="879" y="2940"/>
                    </a:lnTo>
                    <a:lnTo>
                      <a:pt x="915" y="2984"/>
                    </a:lnTo>
                    <a:lnTo>
                      <a:pt x="949" y="3027"/>
                    </a:lnTo>
                    <a:lnTo>
                      <a:pt x="984" y="3070"/>
                    </a:lnTo>
                    <a:lnTo>
                      <a:pt x="1030" y="3127"/>
                    </a:lnTo>
                    <a:lnTo>
                      <a:pt x="1074" y="3184"/>
                    </a:lnTo>
                    <a:lnTo>
                      <a:pt x="1115" y="3236"/>
                    </a:lnTo>
                    <a:lnTo>
                      <a:pt x="1152" y="3287"/>
                    </a:lnTo>
                    <a:lnTo>
                      <a:pt x="1168" y="3312"/>
                    </a:lnTo>
                    <a:lnTo>
                      <a:pt x="1183" y="3336"/>
                    </a:lnTo>
                    <a:lnTo>
                      <a:pt x="1197" y="3360"/>
                    </a:lnTo>
                    <a:lnTo>
                      <a:pt x="1210" y="3382"/>
                    </a:lnTo>
                    <a:lnTo>
                      <a:pt x="1221" y="3404"/>
                    </a:lnTo>
                    <a:lnTo>
                      <a:pt x="1230" y="3425"/>
                    </a:lnTo>
                    <a:lnTo>
                      <a:pt x="1237" y="3446"/>
                    </a:lnTo>
                    <a:lnTo>
                      <a:pt x="1243" y="3465"/>
                    </a:lnTo>
                    <a:lnTo>
                      <a:pt x="1247" y="3513"/>
                    </a:lnTo>
                    <a:lnTo>
                      <a:pt x="1250" y="3558"/>
                    </a:lnTo>
                    <a:lnTo>
                      <a:pt x="1253" y="3603"/>
                    </a:lnTo>
                    <a:lnTo>
                      <a:pt x="1251" y="3647"/>
                    </a:lnTo>
                    <a:lnTo>
                      <a:pt x="1249" y="3689"/>
                    </a:lnTo>
                    <a:lnTo>
                      <a:pt x="1245" y="3730"/>
                    </a:lnTo>
                    <a:lnTo>
                      <a:pt x="1240" y="3770"/>
                    </a:lnTo>
                    <a:lnTo>
                      <a:pt x="1232" y="3809"/>
                    </a:lnTo>
                    <a:lnTo>
                      <a:pt x="1222" y="3845"/>
                    </a:lnTo>
                    <a:lnTo>
                      <a:pt x="1210" y="3882"/>
                    </a:lnTo>
                    <a:lnTo>
                      <a:pt x="1197" y="3917"/>
                    </a:lnTo>
                    <a:lnTo>
                      <a:pt x="1182" y="3950"/>
                    </a:lnTo>
                    <a:lnTo>
                      <a:pt x="1175" y="3966"/>
                    </a:lnTo>
                    <a:lnTo>
                      <a:pt x="1166" y="3982"/>
                    </a:lnTo>
                    <a:lnTo>
                      <a:pt x="1156" y="3997"/>
                    </a:lnTo>
                    <a:lnTo>
                      <a:pt x="1147" y="4013"/>
                    </a:lnTo>
                    <a:lnTo>
                      <a:pt x="1137" y="4028"/>
                    </a:lnTo>
                    <a:lnTo>
                      <a:pt x="1127" y="4043"/>
                    </a:lnTo>
                    <a:lnTo>
                      <a:pt x="1115" y="4057"/>
                    </a:lnTo>
                    <a:lnTo>
                      <a:pt x="1105" y="4071"/>
                    </a:lnTo>
                    <a:lnTo>
                      <a:pt x="1084" y="4089"/>
                    </a:lnTo>
                    <a:lnTo>
                      <a:pt x="1064" y="4107"/>
                    </a:lnTo>
                    <a:lnTo>
                      <a:pt x="1042" y="4123"/>
                    </a:lnTo>
                    <a:lnTo>
                      <a:pt x="1021" y="4139"/>
                    </a:lnTo>
                    <a:lnTo>
                      <a:pt x="999" y="4154"/>
                    </a:lnTo>
                    <a:lnTo>
                      <a:pt x="977" y="4168"/>
                    </a:lnTo>
                    <a:lnTo>
                      <a:pt x="954" y="4182"/>
                    </a:lnTo>
                    <a:lnTo>
                      <a:pt x="932" y="4196"/>
                    </a:lnTo>
                    <a:lnTo>
                      <a:pt x="909" y="4209"/>
                    </a:lnTo>
                    <a:lnTo>
                      <a:pt x="885" y="4222"/>
                    </a:lnTo>
                    <a:lnTo>
                      <a:pt x="862" y="4234"/>
                    </a:lnTo>
                    <a:lnTo>
                      <a:pt x="838" y="4246"/>
                    </a:lnTo>
                    <a:lnTo>
                      <a:pt x="789" y="4267"/>
                    </a:lnTo>
                    <a:lnTo>
                      <a:pt x="741" y="4288"/>
                    </a:lnTo>
                    <a:lnTo>
                      <a:pt x="691" y="4307"/>
                    </a:lnTo>
                    <a:lnTo>
                      <a:pt x="640" y="4325"/>
                    </a:lnTo>
                    <a:lnTo>
                      <a:pt x="590" y="4342"/>
                    </a:lnTo>
                    <a:lnTo>
                      <a:pt x="538" y="4357"/>
                    </a:lnTo>
                    <a:lnTo>
                      <a:pt x="486" y="4372"/>
                    </a:lnTo>
                    <a:lnTo>
                      <a:pt x="435" y="4387"/>
                    </a:lnTo>
                    <a:lnTo>
                      <a:pt x="383" y="4401"/>
                    </a:lnTo>
                    <a:lnTo>
                      <a:pt x="331" y="4415"/>
                    </a:lnTo>
                    <a:lnTo>
                      <a:pt x="302" y="4423"/>
                    </a:lnTo>
                    <a:lnTo>
                      <a:pt x="273" y="4430"/>
                    </a:lnTo>
                    <a:lnTo>
                      <a:pt x="244" y="4439"/>
                    </a:lnTo>
                    <a:lnTo>
                      <a:pt x="215" y="4447"/>
                    </a:lnTo>
                    <a:lnTo>
                      <a:pt x="186" y="4455"/>
                    </a:lnTo>
                    <a:lnTo>
                      <a:pt x="157" y="4463"/>
                    </a:lnTo>
                    <a:lnTo>
                      <a:pt x="127" y="4471"/>
                    </a:lnTo>
                    <a:lnTo>
                      <a:pt x="98" y="4481"/>
                    </a:lnTo>
                    <a:lnTo>
                      <a:pt x="96" y="4481"/>
                    </a:lnTo>
                    <a:lnTo>
                      <a:pt x="94" y="4481"/>
                    </a:lnTo>
                    <a:lnTo>
                      <a:pt x="85" y="4482"/>
                    </a:lnTo>
                    <a:lnTo>
                      <a:pt x="74" y="4485"/>
                    </a:lnTo>
                    <a:lnTo>
                      <a:pt x="63" y="4490"/>
                    </a:lnTo>
                    <a:lnTo>
                      <a:pt x="52" y="4495"/>
                    </a:lnTo>
                    <a:lnTo>
                      <a:pt x="42" y="4502"/>
                    </a:lnTo>
                    <a:lnTo>
                      <a:pt x="34" y="4508"/>
                    </a:lnTo>
                    <a:lnTo>
                      <a:pt x="31" y="4512"/>
                    </a:lnTo>
                    <a:lnTo>
                      <a:pt x="29" y="4516"/>
                    </a:lnTo>
                    <a:lnTo>
                      <a:pt x="27" y="4519"/>
                    </a:lnTo>
                    <a:lnTo>
                      <a:pt x="27" y="4522"/>
                    </a:lnTo>
                    <a:lnTo>
                      <a:pt x="27" y="4525"/>
                    </a:lnTo>
                    <a:lnTo>
                      <a:pt x="32" y="4574"/>
                    </a:lnTo>
                    <a:lnTo>
                      <a:pt x="39" y="4625"/>
                    </a:lnTo>
                    <a:lnTo>
                      <a:pt x="46" y="4678"/>
                    </a:lnTo>
                    <a:lnTo>
                      <a:pt x="54" y="4730"/>
                    </a:lnTo>
                    <a:lnTo>
                      <a:pt x="64" y="4783"/>
                    </a:lnTo>
                    <a:lnTo>
                      <a:pt x="76" y="4835"/>
                    </a:lnTo>
                    <a:lnTo>
                      <a:pt x="82" y="4860"/>
                    </a:lnTo>
                    <a:lnTo>
                      <a:pt x="90" y="4885"/>
                    </a:lnTo>
                    <a:lnTo>
                      <a:pt x="97" y="4910"/>
                    </a:lnTo>
                    <a:lnTo>
                      <a:pt x="106" y="4933"/>
                    </a:lnTo>
                    <a:lnTo>
                      <a:pt x="115" y="4956"/>
                    </a:lnTo>
                    <a:lnTo>
                      <a:pt x="125" y="4978"/>
                    </a:lnTo>
                    <a:lnTo>
                      <a:pt x="136" y="4998"/>
                    </a:lnTo>
                    <a:lnTo>
                      <a:pt x="148" y="5018"/>
                    </a:lnTo>
                    <a:lnTo>
                      <a:pt x="160" y="5036"/>
                    </a:lnTo>
                    <a:lnTo>
                      <a:pt x="173" y="5053"/>
                    </a:lnTo>
                    <a:lnTo>
                      <a:pt x="187" y="5069"/>
                    </a:lnTo>
                    <a:lnTo>
                      <a:pt x="203" y="5083"/>
                    </a:lnTo>
                    <a:lnTo>
                      <a:pt x="218" y="5095"/>
                    </a:lnTo>
                    <a:lnTo>
                      <a:pt x="235" y="5106"/>
                    </a:lnTo>
                    <a:lnTo>
                      <a:pt x="254" y="5116"/>
                    </a:lnTo>
                    <a:lnTo>
                      <a:pt x="273" y="5122"/>
                    </a:lnTo>
                    <a:lnTo>
                      <a:pt x="294" y="5128"/>
                    </a:lnTo>
                    <a:lnTo>
                      <a:pt x="316" y="5131"/>
                    </a:lnTo>
                    <a:lnTo>
                      <a:pt x="339" y="5131"/>
                    </a:lnTo>
                    <a:lnTo>
                      <a:pt x="363" y="5130"/>
                    </a:lnTo>
                    <a:lnTo>
                      <a:pt x="399" y="5127"/>
                    </a:lnTo>
                    <a:lnTo>
                      <a:pt x="449" y="5123"/>
                    </a:lnTo>
                    <a:lnTo>
                      <a:pt x="510" y="5121"/>
                    </a:lnTo>
                    <a:lnTo>
                      <a:pt x="582" y="5119"/>
                    </a:lnTo>
                    <a:lnTo>
                      <a:pt x="663" y="5117"/>
                    </a:lnTo>
                    <a:lnTo>
                      <a:pt x="754" y="5116"/>
                    </a:lnTo>
                    <a:lnTo>
                      <a:pt x="852" y="5116"/>
                    </a:lnTo>
                    <a:lnTo>
                      <a:pt x="959" y="5116"/>
                    </a:lnTo>
                    <a:lnTo>
                      <a:pt x="1071" y="5117"/>
                    </a:lnTo>
                    <a:lnTo>
                      <a:pt x="1190" y="5119"/>
                    </a:lnTo>
                    <a:lnTo>
                      <a:pt x="1314" y="5122"/>
                    </a:lnTo>
                    <a:lnTo>
                      <a:pt x="1443" y="5126"/>
                    </a:lnTo>
                    <a:lnTo>
                      <a:pt x="1573" y="5130"/>
                    </a:lnTo>
                    <a:lnTo>
                      <a:pt x="1708" y="5136"/>
                    </a:lnTo>
                    <a:lnTo>
                      <a:pt x="1844" y="5143"/>
                    </a:lnTo>
                    <a:lnTo>
                      <a:pt x="1981" y="5150"/>
                    </a:lnTo>
                    <a:lnTo>
                      <a:pt x="2119" y="5160"/>
                    </a:lnTo>
                    <a:lnTo>
                      <a:pt x="2256" y="5170"/>
                    </a:lnTo>
                    <a:lnTo>
                      <a:pt x="2391" y="5182"/>
                    </a:lnTo>
                    <a:lnTo>
                      <a:pt x="2525" y="5196"/>
                    </a:lnTo>
                    <a:lnTo>
                      <a:pt x="2654" y="5210"/>
                    </a:lnTo>
                    <a:lnTo>
                      <a:pt x="2780" y="5226"/>
                    </a:lnTo>
                    <a:lnTo>
                      <a:pt x="2902" y="5244"/>
                    </a:lnTo>
                    <a:lnTo>
                      <a:pt x="3019" y="5264"/>
                    </a:lnTo>
                    <a:lnTo>
                      <a:pt x="3129" y="5285"/>
                    </a:lnTo>
                    <a:lnTo>
                      <a:pt x="3233" y="5308"/>
                    </a:lnTo>
                    <a:lnTo>
                      <a:pt x="3329" y="5333"/>
                    </a:lnTo>
                    <a:lnTo>
                      <a:pt x="3415" y="5360"/>
                    </a:lnTo>
                    <a:lnTo>
                      <a:pt x="3493" y="5388"/>
                    </a:lnTo>
                    <a:lnTo>
                      <a:pt x="3560" y="5419"/>
                    </a:lnTo>
                    <a:lnTo>
                      <a:pt x="3616" y="5452"/>
                    </a:lnTo>
                    <a:lnTo>
                      <a:pt x="3661" y="5486"/>
                    </a:lnTo>
                    <a:lnTo>
                      <a:pt x="3664" y="5490"/>
                    </a:lnTo>
                    <a:lnTo>
                      <a:pt x="3665" y="5496"/>
                    </a:lnTo>
                    <a:lnTo>
                      <a:pt x="3664" y="5501"/>
                    </a:lnTo>
                    <a:lnTo>
                      <a:pt x="3662" y="5506"/>
                    </a:lnTo>
                    <a:lnTo>
                      <a:pt x="3659" y="5508"/>
                    </a:lnTo>
                    <a:lnTo>
                      <a:pt x="3657" y="5509"/>
                    </a:lnTo>
                    <a:lnTo>
                      <a:pt x="3654" y="5510"/>
                    </a:lnTo>
                    <a:lnTo>
                      <a:pt x="3652" y="5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42"/>
              <p:cNvSpPr>
                <a:spLocks/>
              </p:cNvSpPr>
              <p:nvPr userDrawn="1"/>
            </p:nvSpPr>
            <p:spPr bwMode="auto">
              <a:xfrm>
                <a:off x="2541" y="1718"/>
                <a:ext cx="167" cy="1344"/>
              </a:xfrm>
              <a:custGeom>
                <a:avLst/>
                <a:gdLst>
                  <a:gd name="T0" fmla="*/ 216 w 503"/>
                  <a:gd name="T1" fmla="*/ 4002 h 4031"/>
                  <a:gd name="T2" fmla="*/ 158 w 503"/>
                  <a:gd name="T3" fmla="*/ 3922 h 4031"/>
                  <a:gd name="T4" fmla="*/ 127 w 503"/>
                  <a:gd name="T5" fmla="*/ 3834 h 4031"/>
                  <a:gd name="T6" fmla="*/ 102 w 503"/>
                  <a:gd name="T7" fmla="*/ 3712 h 4031"/>
                  <a:gd name="T8" fmla="*/ 70 w 503"/>
                  <a:gd name="T9" fmla="*/ 3470 h 4031"/>
                  <a:gd name="T10" fmla="*/ 54 w 503"/>
                  <a:gd name="T11" fmla="*/ 3192 h 4031"/>
                  <a:gd name="T12" fmla="*/ 34 w 503"/>
                  <a:gd name="T13" fmla="*/ 2915 h 4031"/>
                  <a:gd name="T14" fmla="*/ 4 w 503"/>
                  <a:gd name="T15" fmla="*/ 2696 h 4031"/>
                  <a:gd name="T16" fmla="*/ 6 w 503"/>
                  <a:gd name="T17" fmla="*/ 2538 h 4031"/>
                  <a:gd name="T18" fmla="*/ 38 w 503"/>
                  <a:gd name="T19" fmla="*/ 2405 h 4031"/>
                  <a:gd name="T20" fmla="*/ 95 w 503"/>
                  <a:gd name="T21" fmla="*/ 2302 h 4031"/>
                  <a:gd name="T22" fmla="*/ 213 w 503"/>
                  <a:gd name="T23" fmla="*/ 2134 h 4031"/>
                  <a:gd name="T24" fmla="*/ 352 w 503"/>
                  <a:gd name="T25" fmla="*/ 1906 h 4031"/>
                  <a:gd name="T26" fmla="*/ 426 w 503"/>
                  <a:gd name="T27" fmla="*/ 1738 h 4031"/>
                  <a:gd name="T28" fmla="*/ 460 w 503"/>
                  <a:gd name="T29" fmla="*/ 1611 h 4031"/>
                  <a:gd name="T30" fmla="*/ 476 w 503"/>
                  <a:gd name="T31" fmla="*/ 1464 h 4031"/>
                  <a:gd name="T32" fmla="*/ 458 w 503"/>
                  <a:gd name="T33" fmla="*/ 1271 h 4031"/>
                  <a:gd name="T34" fmla="*/ 420 w 503"/>
                  <a:gd name="T35" fmla="*/ 1083 h 4031"/>
                  <a:gd name="T36" fmla="*/ 366 w 503"/>
                  <a:gd name="T37" fmla="*/ 903 h 4031"/>
                  <a:gd name="T38" fmla="*/ 223 w 503"/>
                  <a:gd name="T39" fmla="*/ 564 h 4031"/>
                  <a:gd name="T40" fmla="*/ 125 w 503"/>
                  <a:gd name="T41" fmla="*/ 368 h 4031"/>
                  <a:gd name="T42" fmla="*/ 152 w 503"/>
                  <a:gd name="T43" fmla="*/ 333 h 4031"/>
                  <a:gd name="T44" fmla="*/ 173 w 503"/>
                  <a:gd name="T45" fmla="*/ 284 h 4031"/>
                  <a:gd name="T46" fmla="*/ 176 w 503"/>
                  <a:gd name="T47" fmla="*/ 233 h 4031"/>
                  <a:gd name="T48" fmla="*/ 157 w 503"/>
                  <a:gd name="T49" fmla="*/ 158 h 4031"/>
                  <a:gd name="T50" fmla="*/ 95 w 503"/>
                  <a:gd name="T51" fmla="*/ 45 h 4031"/>
                  <a:gd name="T52" fmla="*/ 86 w 503"/>
                  <a:gd name="T53" fmla="*/ 2 h 4031"/>
                  <a:gd name="T54" fmla="*/ 129 w 503"/>
                  <a:gd name="T55" fmla="*/ 46 h 4031"/>
                  <a:gd name="T56" fmla="*/ 194 w 503"/>
                  <a:gd name="T57" fmla="*/ 182 h 4031"/>
                  <a:gd name="T58" fmla="*/ 203 w 503"/>
                  <a:gd name="T59" fmla="*/ 243 h 4031"/>
                  <a:gd name="T60" fmla="*/ 196 w 503"/>
                  <a:gd name="T61" fmla="*/ 303 h 4031"/>
                  <a:gd name="T62" fmla="*/ 165 w 503"/>
                  <a:gd name="T63" fmla="*/ 361 h 4031"/>
                  <a:gd name="T64" fmla="*/ 282 w 503"/>
                  <a:gd name="T65" fmla="*/ 625 h 4031"/>
                  <a:gd name="T66" fmla="*/ 405 w 503"/>
                  <a:gd name="T67" fmla="*/ 936 h 4031"/>
                  <a:gd name="T68" fmla="*/ 457 w 503"/>
                  <a:gd name="T69" fmla="*/ 1119 h 4031"/>
                  <a:gd name="T70" fmla="*/ 491 w 503"/>
                  <a:gd name="T71" fmla="*/ 1309 h 4031"/>
                  <a:gd name="T72" fmla="*/ 503 w 503"/>
                  <a:gd name="T73" fmla="*/ 1504 h 4031"/>
                  <a:gd name="T74" fmla="*/ 482 w 503"/>
                  <a:gd name="T75" fmla="*/ 1641 h 4031"/>
                  <a:gd name="T76" fmla="*/ 443 w 503"/>
                  <a:gd name="T77" fmla="*/ 1771 h 4031"/>
                  <a:gd name="T78" fmla="*/ 351 w 503"/>
                  <a:gd name="T79" fmla="*/ 1964 h 4031"/>
                  <a:gd name="T80" fmla="*/ 204 w 503"/>
                  <a:gd name="T81" fmla="*/ 2194 h 4031"/>
                  <a:gd name="T82" fmla="*/ 106 w 503"/>
                  <a:gd name="T83" fmla="*/ 2333 h 4031"/>
                  <a:gd name="T84" fmla="*/ 54 w 503"/>
                  <a:gd name="T85" fmla="*/ 2440 h 4031"/>
                  <a:gd name="T86" fmla="*/ 30 w 503"/>
                  <a:gd name="T87" fmla="*/ 2572 h 4031"/>
                  <a:gd name="T88" fmla="*/ 34 w 503"/>
                  <a:gd name="T89" fmla="*/ 2728 h 4031"/>
                  <a:gd name="T90" fmla="*/ 66 w 503"/>
                  <a:gd name="T91" fmla="*/ 2968 h 4031"/>
                  <a:gd name="T92" fmla="*/ 85 w 503"/>
                  <a:gd name="T93" fmla="*/ 3246 h 4031"/>
                  <a:gd name="T94" fmla="*/ 102 w 503"/>
                  <a:gd name="T95" fmla="*/ 3524 h 4031"/>
                  <a:gd name="T96" fmla="*/ 132 w 503"/>
                  <a:gd name="T97" fmla="*/ 3722 h 4031"/>
                  <a:gd name="T98" fmla="*/ 157 w 503"/>
                  <a:gd name="T99" fmla="*/ 3843 h 4031"/>
                  <a:gd name="T100" fmla="*/ 189 w 503"/>
                  <a:gd name="T101" fmla="*/ 3924 h 4031"/>
                  <a:gd name="T102" fmla="*/ 249 w 503"/>
                  <a:gd name="T103" fmla="*/ 3994 h 4031"/>
                  <a:gd name="T104" fmla="*/ 269 w 503"/>
                  <a:gd name="T105" fmla="*/ 4026 h 4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3" h="4031">
                    <a:moveTo>
                      <a:pt x="257" y="4031"/>
                    </a:moveTo>
                    <a:lnTo>
                      <a:pt x="254" y="4031"/>
                    </a:lnTo>
                    <a:lnTo>
                      <a:pt x="250" y="4029"/>
                    </a:lnTo>
                    <a:lnTo>
                      <a:pt x="233" y="4016"/>
                    </a:lnTo>
                    <a:lnTo>
                      <a:pt x="216" y="4002"/>
                    </a:lnTo>
                    <a:lnTo>
                      <a:pt x="201" y="3987"/>
                    </a:lnTo>
                    <a:lnTo>
                      <a:pt x="188" y="3972"/>
                    </a:lnTo>
                    <a:lnTo>
                      <a:pt x="177" y="3956"/>
                    </a:lnTo>
                    <a:lnTo>
                      <a:pt x="167" y="3938"/>
                    </a:lnTo>
                    <a:lnTo>
                      <a:pt x="158" y="3922"/>
                    </a:lnTo>
                    <a:lnTo>
                      <a:pt x="150" y="3905"/>
                    </a:lnTo>
                    <a:lnTo>
                      <a:pt x="143" y="3887"/>
                    </a:lnTo>
                    <a:lnTo>
                      <a:pt x="136" y="3869"/>
                    </a:lnTo>
                    <a:lnTo>
                      <a:pt x="132" y="3851"/>
                    </a:lnTo>
                    <a:lnTo>
                      <a:pt x="127" y="3834"/>
                    </a:lnTo>
                    <a:lnTo>
                      <a:pt x="119" y="3798"/>
                    </a:lnTo>
                    <a:lnTo>
                      <a:pt x="112" y="3762"/>
                    </a:lnTo>
                    <a:lnTo>
                      <a:pt x="108" y="3745"/>
                    </a:lnTo>
                    <a:lnTo>
                      <a:pt x="105" y="3728"/>
                    </a:lnTo>
                    <a:lnTo>
                      <a:pt x="102" y="3712"/>
                    </a:lnTo>
                    <a:lnTo>
                      <a:pt x="98" y="3696"/>
                    </a:lnTo>
                    <a:lnTo>
                      <a:pt x="89" y="3639"/>
                    </a:lnTo>
                    <a:lnTo>
                      <a:pt x="81" y="3583"/>
                    </a:lnTo>
                    <a:lnTo>
                      <a:pt x="75" y="3527"/>
                    </a:lnTo>
                    <a:lnTo>
                      <a:pt x="70" y="3470"/>
                    </a:lnTo>
                    <a:lnTo>
                      <a:pt x="66" y="3414"/>
                    </a:lnTo>
                    <a:lnTo>
                      <a:pt x="62" y="3359"/>
                    </a:lnTo>
                    <a:lnTo>
                      <a:pt x="60" y="3302"/>
                    </a:lnTo>
                    <a:lnTo>
                      <a:pt x="58" y="3247"/>
                    </a:lnTo>
                    <a:lnTo>
                      <a:pt x="54" y="3192"/>
                    </a:lnTo>
                    <a:lnTo>
                      <a:pt x="52" y="3137"/>
                    </a:lnTo>
                    <a:lnTo>
                      <a:pt x="49" y="3082"/>
                    </a:lnTo>
                    <a:lnTo>
                      <a:pt x="45" y="3026"/>
                    </a:lnTo>
                    <a:lnTo>
                      <a:pt x="39" y="2971"/>
                    </a:lnTo>
                    <a:lnTo>
                      <a:pt x="34" y="2915"/>
                    </a:lnTo>
                    <a:lnTo>
                      <a:pt x="26" y="2859"/>
                    </a:lnTo>
                    <a:lnTo>
                      <a:pt x="17" y="2804"/>
                    </a:lnTo>
                    <a:lnTo>
                      <a:pt x="11" y="2767"/>
                    </a:lnTo>
                    <a:lnTo>
                      <a:pt x="7" y="2730"/>
                    </a:lnTo>
                    <a:lnTo>
                      <a:pt x="4" y="2696"/>
                    </a:lnTo>
                    <a:lnTo>
                      <a:pt x="1" y="2662"/>
                    </a:lnTo>
                    <a:lnTo>
                      <a:pt x="0" y="2630"/>
                    </a:lnTo>
                    <a:lnTo>
                      <a:pt x="0" y="2599"/>
                    </a:lnTo>
                    <a:lnTo>
                      <a:pt x="3" y="2568"/>
                    </a:lnTo>
                    <a:lnTo>
                      <a:pt x="6" y="2538"/>
                    </a:lnTo>
                    <a:lnTo>
                      <a:pt x="9" y="2510"/>
                    </a:lnTo>
                    <a:lnTo>
                      <a:pt x="14" y="2483"/>
                    </a:lnTo>
                    <a:lnTo>
                      <a:pt x="21" y="2456"/>
                    </a:lnTo>
                    <a:lnTo>
                      <a:pt x="28" y="2430"/>
                    </a:lnTo>
                    <a:lnTo>
                      <a:pt x="38" y="2405"/>
                    </a:lnTo>
                    <a:lnTo>
                      <a:pt x="48" y="2381"/>
                    </a:lnTo>
                    <a:lnTo>
                      <a:pt x="60" y="2358"/>
                    </a:lnTo>
                    <a:lnTo>
                      <a:pt x="73" y="2335"/>
                    </a:lnTo>
                    <a:lnTo>
                      <a:pt x="85" y="2318"/>
                    </a:lnTo>
                    <a:lnTo>
                      <a:pt x="95" y="2302"/>
                    </a:lnTo>
                    <a:lnTo>
                      <a:pt x="107" y="2286"/>
                    </a:lnTo>
                    <a:lnTo>
                      <a:pt x="118" y="2269"/>
                    </a:lnTo>
                    <a:lnTo>
                      <a:pt x="150" y="2224"/>
                    </a:lnTo>
                    <a:lnTo>
                      <a:pt x="182" y="2180"/>
                    </a:lnTo>
                    <a:lnTo>
                      <a:pt x="213" y="2134"/>
                    </a:lnTo>
                    <a:lnTo>
                      <a:pt x="243" y="2089"/>
                    </a:lnTo>
                    <a:lnTo>
                      <a:pt x="273" y="2044"/>
                    </a:lnTo>
                    <a:lnTo>
                      <a:pt x="301" y="1998"/>
                    </a:lnTo>
                    <a:lnTo>
                      <a:pt x="326" y="1952"/>
                    </a:lnTo>
                    <a:lnTo>
                      <a:pt x="352" y="1906"/>
                    </a:lnTo>
                    <a:lnTo>
                      <a:pt x="376" y="1859"/>
                    </a:lnTo>
                    <a:lnTo>
                      <a:pt x="397" y="1812"/>
                    </a:lnTo>
                    <a:lnTo>
                      <a:pt x="407" y="1787"/>
                    </a:lnTo>
                    <a:lnTo>
                      <a:pt x="417" y="1763"/>
                    </a:lnTo>
                    <a:lnTo>
                      <a:pt x="426" y="1738"/>
                    </a:lnTo>
                    <a:lnTo>
                      <a:pt x="433" y="1713"/>
                    </a:lnTo>
                    <a:lnTo>
                      <a:pt x="442" y="1689"/>
                    </a:lnTo>
                    <a:lnTo>
                      <a:pt x="449" y="1663"/>
                    </a:lnTo>
                    <a:lnTo>
                      <a:pt x="455" y="1637"/>
                    </a:lnTo>
                    <a:lnTo>
                      <a:pt x="460" y="1611"/>
                    </a:lnTo>
                    <a:lnTo>
                      <a:pt x="466" y="1585"/>
                    </a:lnTo>
                    <a:lnTo>
                      <a:pt x="470" y="1558"/>
                    </a:lnTo>
                    <a:lnTo>
                      <a:pt x="473" y="1531"/>
                    </a:lnTo>
                    <a:lnTo>
                      <a:pt x="476" y="1503"/>
                    </a:lnTo>
                    <a:lnTo>
                      <a:pt x="476" y="1464"/>
                    </a:lnTo>
                    <a:lnTo>
                      <a:pt x="474" y="1425"/>
                    </a:lnTo>
                    <a:lnTo>
                      <a:pt x="471" y="1386"/>
                    </a:lnTo>
                    <a:lnTo>
                      <a:pt x="468" y="1347"/>
                    </a:lnTo>
                    <a:lnTo>
                      <a:pt x="464" y="1309"/>
                    </a:lnTo>
                    <a:lnTo>
                      <a:pt x="458" y="1271"/>
                    </a:lnTo>
                    <a:lnTo>
                      <a:pt x="453" y="1233"/>
                    </a:lnTo>
                    <a:lnTo>
                      <a:pt x="445" y="1195"/>
                    </a:lnTo>
                    <a:lnTo>
                      <a:pt x="438" y="1157"/>
                    </a:lnTo>
                    <a:lnTo>
                      <a:pt x="430" y="1120"/>
                    </a:lnTo>
                    <a:lnTo>
                      <a:pt x="420" y="1083"/>
                    </a:lnTo>
                    <a:lnTo>
                      <a:pt x="411" y="1046"/>
                    </a:lnTo>
                    <a:lnTo>
                      <a:pt x="401" y="1010"/>
                    </a:lnTo>
                    <a:lnTo>
                      <a:pt x="389" y="974"/>
                    </a:lnTo>
                    <a:lnTo>
                      <a:pt x="378" y="938"/>
                    </a:lnTo>
                    <a:lnTo>
                      <a:pt x="366" y="903"/>
                    </a:lnTo>
                    <a:lnTo>
                      <a:pt x="341" y="833"/>
                    </a:lnTo>
                    <a:lnTo>
                      <a:pt x="312" y="763"/>
                    </a:lnTo>
                    <a:lnTo>
                      <a:pt x="284" y="695"/>
                    </a:lnTo>
                    <a:lnTo>
                      <a:pt x="254" y="629"/>
                    </a:lnTo>
                    <a:lnTo>
                      <a:pt x="223" y="564"/>
                    </a:lnTo>
                    <a:lnTo>
                      <a:pt x="190" y="500"/>
                    </a:lnTo>
                    <a:lnTo>
                      <a:pt x="159" y="437"/>
                    </a:lnTo>
                    <a:lnTo>
                      <a:pt x="127" y="376"/>
                    </a:lnTo>
                    <a:lnTo>
                      <a:pt x="125" y="372"/>
                    </a:lnTo>
                    <a:lnTo>
                      <a:pt x="125" y="368"/>
                    </a:lnTo>
                    <a:lnTo>
                      <a:pt x="126" y="364"/>
                    </a:lnTo>
                    <a:lnTo>
                      <a:pt x="129" y="361"/>
                    </a:lnTo>
                    <a:lnTo>
                      <a:pt x="138" y="351"/>
                    </a:lnTo>
                    <a:lnTo>
                      <a:pt x="145" y="342"/>
                    </a:lnTo>
                    <a:lnTo>
                      <a:pt x="152" y="333"/>
                    </a:lnTo>
                    <a:lnTo>
                      <a:pt x="157" y="323"/>
                    </a:lnTo>
                    <a:lnTo>
                      <a:pt x="162" y="313"/>
                    </a:lnTo>
                    <a:lnTo>
                      <a:pt x="167" y="304"/>
                    </a:lnTo>
                    <a:lnTo>
                      <a:pt x="170" y="294"/>
                    </a:lnTo>
                    <a:lnTo>
                      <a:pt x="173" y="284"/>
                    </a:lnTo>
                    <a:lnTo>
                      <a:pt x="175" y="274"/>
                    </a:lnTo>
                    <a:lnTo>
                      <a:pt x="176" y="264"/>
                    </a:lnTo>
                    <a:lnTo>
                      <a:pt x="176" y="254"/>
                    </a:lnTo>
                    <a:lnTo>
                      <a:pt x="176" y="243"/>
                    </a:lnTo>
                    <a:lnTo>
                      <a:pt x="176" y="233"/>
                    </a:lnTo>
                    <a:lnTo>
                      <a:pt x="175" y="223"/>
                    </a:lnTo>
                    <a:lnTo>
                      <a:pt x="173" y="212"/>
                    </a:lnTo>
                    <a:lnTo>
                      <a:pt x="171" y="201"/>
                    </a:lnTo>
                    <a:lnTo>
                      <a:pt x="165" y="179"/>
                    </a:lnTo>
                    <a:lnTo>
                      <a:pt x="157" y="158"/>
                    </a:lnTo>
                    <a:lnTo>
                      <a:pt x="147" y="135"/>
                    </a:lnTo>
                    <a:lnTo>
                      <a:pt x="135" y="113"/>
                    </a:lnTo>
                    <a:lnTo>
                      <a:pt x="123" y="90"/>
                    </a:lnTo>
                    <a:lnTo>
                      <a:pt x="111" y="67"/>
                    </a:lnTo>
                    <a:lnTo>
                      <a:pt x="95" y="45"/>
                    </a:lnTo>
                    <a:lnTo>
                      <a:pt x="81" y="21"/>
                    </a:lnTo>
                    <a:lnTo>
                      <a:pt x="79" y="15"/>
                    </a:lnTo>
                    <a:lnTo>
                      <a:pt x="79" y="11"/>
                    </a:lnTo>
                    <a:lnTo>
                      <a:pt x="81" y="6"/>
                    </a:lnTo>
                    <a:lnTo>
                      <a:pt x="86" y="2"/>
                    </a:lnTo>
                    <a:lnTo>
                      <a:pt x="90" y="0"/>
                    </a:lnTo>
                    <a:lnTo>
                      <a:pt x="95" y="0"/>
                    </a:lnTo>
                    <a:lnTo>
                      <a:pt x="100" y="2"/>
                    </a:lnTo>
                    <a:lnTo>
                      <a:pt x="104" y="7"/>
                    </a:lnTo>
                    <a:lnTo>
                      <a:pt x="129" y="46"/>
                    </a:lnTo>
                    <a:lnTo>
                      <a:pt x="154" y="89"/>
                    </a:lnTo>
                    <a:lnTo>
                      <a:pt x="166" y="111"/>
                    </a:lnTo>
                    <a:lnTo>
                      <a:pt x="176" y="134"/>
                    </a:lnTo>
                    <a:lnTo>
                      <a:pt x="186" y="158"/>
                    </a:lnTo>
                    <a:lnTo>
                      <a:pt x="194" y="182"/>
                    </a:lnTo>
                    <a:lnTo>
                      <a:pt x="197" y="195"/>
                    </a:lnTo>
                    <a:lnTo>
                      <a:pt x="199" y="206"/>
                    </a:lnTo>
                    <a:lnTo>
                      <a:pt x="201" y="218"/>
                    </a:lnTo>
                    <a:lnTo>
                      <a:pt x="203" y="230"/>
                    </a:lnTo>
                    <a:lnTo>
                      <a:pt x="203" y="243"/>
                    </a:lnTo>
                    <a:lnTo>
                      <a:pt x="203" y="255"/>
                    </a:lnTo>
                    <a:lnTo>
                      <a:pt x="203" y="267"/>
                    </a:lnTo>
                    <a:lnTo>
                      <a:pt x="201" y="279"/>
                    </a:lnTo>
                    <a:lnTo>
                      <a:pt x="199" y="291"/>
                    </a:lnTo>
                    <a:lnTo>
                      <a:pt x="196" y="303"/>
                    </a:lnTo>
                    <a:lnTo>
                      <a:pt x="192" y="314"/>
                    </a:lnTo>
                    <a:lnTo>
                      <a:pt x="186" y="326"/>
                    </a:lnTo>
                    <a:lnTo>
                      <a:pt x="180" y="338"/>
                    </a:lnTo>
                    <a:lnTo>
                      <a:pt x="173" y="350"/>
                    </a:lnTo>
                    <a:lnTo>
                      <a:pt x="165" y="361"/>
                    </a:lnTo>
                    <a:lnTo>
                      <a:pt x="155" y="372"/>
                    </a:lnTo>
                    <a:lnTo>
                      <a:pt x="187" y="433"/>
                    </a:lnTo>
                    <a:lnTo>
                      <a:pt x="220" y="496"/>
                    </a:lnTo>
                    <a:lnTo>
                      <a:pt x="251" y="559"/>
                    </a:lnTo>
                    <a:lnTo>
                      <a:pt x="282" y="625"/>
                    </a:lnTo>
                    <a:lnTo>
                      <a:pt x="312" y="692"/>
                    </a:lnTo>
                    <a:lnTo>
                      <a:pt x="341" y="760"/>
                    </a:lnTo>
                    <a:lnTo>
                      <a:pt x="369" y="829"/>
                    </a:lnTo>
                    <a:lnTo>
                      <a:pt x="393" y="899"/>
                    </a:lnTo>
                    <a:lnTo>
                      <a:pt x="405" y="936"/>
                    </a:lnTo>
                    <a:lnTo>
                      <a:pt x="417" y="972"/>
                    </a:lnTo>
                    <a:lnTo>
                      <a:pt x="428" y="1009"/>
                    </a:lnTo>
                    <a:lnTo>
                      <a:pt x="439" y="1045"/>
                    </a:lnTo>
                    <a:lnTo>
                      <a:pt x="449" y="1082"/>
                    </a:lnTo>
                    <a:lnTo>
                      <a:pt x="457" y="1119"/>
                    </a:lnTo>
                    <a:lnTo>
                      <a:pt x="466" y="1156"/>
                    </a:lnTo>
                    <a:lnTo>
                      <a:pt x="473" y="1194"/>
                    </a:lnTo>
                    <a:lnTo>
                      <a:pt x="480" y="1232"/>
                    </a:lnTo>
                    <a:lnTo>
                      <a:pt x="485" y="1270"/>
                    </a:lnTo>
                    <a:lnTo>
                      <a:pt x="491" y="1309"/>
                    </a:lnTo>
                    <a:lnTo>
                      <a:pt x="495" y="1347"/>
                    </a:lnTo>
                    <a:lnTo>
                      <a:pt x="498" y="1386"/>
                    </a:lnTo>
                    <a:lnTo>
                      <a:pt x="501" y="1425"/>
                    </a:lnTo>
                    <a:lnTo>
                      <a:pt x="503" y="1465"/>
                    </a:lnTo>
                    <a:lnTo>
                      <a:pt x="503" y="1504"/>
                    </a:lnTo>
                    <a:lnTo>
                      <a:pt x="500" y="1533"/>
                    </a:lnTo>
                    <a:lnTo>
                      <a:pt x="497" y="1560"/>
                    </a:lnTo>
                    <a:lnTo>
                      <a:pt x="493" y="1588"/>
                    </a:lnTo>
                    <a:lnTo>
                      <a:pt x="487" y="1615"/>
                    </a:lnTo>
                    <a:lnTo>
                      <a:pt x="482" y="1641"/>
                    </a:lnTo>
                    <a:lnTo>
                      <a:pt x="476" y="1668"/>
                    </a:lnTo>
                    <a:lnTo>
                      <a:pt x="468" y="1694"/>
                    </a:lnTo>
                    <a:lnTo>
                      <a:pt x="460" y="1720"/>
                    </a:lnTo>
                    <a:lnTo>
                      <a:pt x="452" y="1745"/>
                    </a:lnTo>
                    <a:lnTo>
                      <a:pt x="443" y="1771"/>
                    </a:lnTo>
                    <a:lnTo>
                      <a:pt x="433" y="1795"/>
                    </a:lnTo>
                    <a:lnTo>
                      <a:pt x="423" y="1820"/>
                    </a:lnTo>
                    <a:lnTo>
                      <a:pt x="401" y="1869"/>
                    </a:lnTo>
                    <a:lnTo>
                      <a:pt x="377" y="1916"/>
                    </a:lnTo>
                    <a:lnTo>
                      <a:pt x="351" y="1964"/>
                    </a:lnTo>
                    <a:lnTo>
                      <a:pt x="324" y="2010"/>
                    </a:lnTo>
                    <a:lnTo>
                      <a:pt x="296" y="2057"/>
                    </a:lnTo>
                    <a:lnTo>
                      <a:pt x="267" y="2102"/>
                    </a:lnTo>
                    <a:lnTo>
                      <a:pt x="236" y="2148"/>
                    </a:lnTo>
                    <a:lnTo>
                      <a:pt x="204" y="2194"/>
                    </a:lnTo>
                    <a:lnTo>
                      <a:pt x="173" y="2239"/>
                    </a:lnTo>
                    <a:lnTo>
                      <a:pt x="141" y="2286"/>
                    </a:lnTo>
                    <a:lnTo>
                      <a:pt x="129" y="2302"/>
                    </a:lnTo>
                    <a:lnTo>
                      <a:pt x="118" y="2317"/>
                    </a:lnTo>
                    <a:lnTo>
                      <a:pt x="106" y="2333"/>
                    </a:lnTo>
                    <a:lnTo>
                      <a:pt x="95" y="2349"/>
                    </a:lnTo>
                    <a:lnTo>
                      <a:pt x="84" y="2371"/>
                    </a:lnTo>
                    <a:lnTo>
                      <a:pt x="73" y="2393"/>
                    </a:lnTo>
                    <a:lnTo>
                      <a:pt x="63" y="2416"/>
                    </a:lnTo>
                    <a:lnTo>
                      <a:pt x="54" y="2440"/>
                    </a:lnTo>
                    <a:lnTo>
                      <a:pt x="47" y="2465"/>
                    </a:lnTo>
                    <a:lnTo>
                      <a:pt x="40" y="2491"/>
                    </a:lnTo>
                    <a:lnTo>
                      <a:pt x="36" y="2517"/>
                    </a:lnTo>
                    <a:lnTo>
                      <a:pt x="32" y="2544"/>
                    </a:lnTo>
                    <a:lnTo>
                      <a:pt x="30" y="2572"/>
                    </a:lnTo>
                    <a:lnTo>
                      <a:pt x="27" y="2601"/>
                    </a:lnTo>
                    <a:lnTo>
                      <a:pt x="27" y="2632"/>
                    </a:lnTo>
                    <a:lnTo>
                      <a:pt x="28" y="2662"/>
                    </a:lnTo>
                    <a:lnTo>
                      <a:pt x="31" y="2695"/>
                    </a:lnTo>
                    <a:lnTo>
                      <a:pt x="34" y="2728"/>
                    </a:lnTo>
                    <a:lnTo>
                      <a:pt x="38" y="2763"/>
                    </a:lnTo>
                    <a:lnTo>
                      <a:pt x="44" y="2799"/>
                    </a:lnTo>
                    <a:lnTo>
                      <a:pt x="52" y="2856"/>
                    </a:lnTo>
                    <a:lnTo>
                      <a:pt x="60" y="2912"/>
                    </a:lnTo>
                    <a:lnTo>
                      <a:pt x="66" y="2968"/>
                    </a:lnTo>
                    <a:lnTo>
                      <a:pt x="72" y="3024"/>
                    </a:lnTo>
                    <a:lnTo>
                      <a:pt x="76" y="3080"/>
                    </a:lnTo>
                    <a:lnTo>
                      <a:pt x="79" y="3135"/>
                    </a:lnTo>
                    <a:lnTo>
                      <a:pt x="81" y="3191"/>
                    </a:lnTo>
                    <a:lnTo>
                      <a:pt x="85" y="3246"/>
                    </a:lnTo>
                    <a:lnTo>
                      <a:pt x="87" y="3301"/>
                    </a:lnTo>
                    <a:lnTo>
                      <a:pt x="89" y="3356"/>
                    </a:lnTo>
                    <a:lnTo>
                      <a:pt x="92" y="3411"/>
                    </a:lnTo>
                    <a:lnTo>
                      <a:pt x="96" y="3468"/>
                    </a:lnTo>
                    <a:lnTo>
                      <a:pt x="102" y="3524"/>
                    </a:lnTo>
                    <a:lnTo>
                      <a:pt x="107" y="3579"/>
                    </a:lnTo>
                    <a:lnTo>
                      <a:pt x="115" y="3635"/>
                    </a:lnTo>
                    <a:lnTo>
                      <a:pt x="125" y="3690"/>
                    </a:lnTo>
                    <a:lnTo>
                      <a:pt x="128" y="3706"/>
                    </a:lnTo>
                    <a:lnTo>
                      <a:pt x="132" y="3722"/>
                    </a:lnTo>
                    <a:lnTo>
                      <a:pt x="135" y="3740"/>
                    </a:lnTo>
                    <a:lnTo>
                      <a:pt x="139" y="3757"/>
                    </a:lnTo>
                    <a:lnTo>
                      <a:pt x="145" y="3791"/>
                    </a:lnTo>
                    <a:lnTo>
                      <a:pt x="153" y="3826"/>
                    </a:lnTo>
                    <a:lnTo>
                      <a:pt x="157" y="3843"/>
                    </a:lnTo>
                    <a:lnTo>
                      <a:pt x="162" y="3861"/>
                    </a:lnTo>
                    <a:lnTo>
                      <a:pt x="168" y="3877"/>
                    </a:lnTo>
                    <a:lnTo>
                      <a:pt x="174" y="3893"/>
                    </a:lnTo>
                    <a:lnTo>
                      <a:pt x="182" y="3909"/>
                    </a:lnTo>
                    <a:lnTo>
                      <a:pt x="189" y="3924"/>
                    </a:lnTo>
                    <a:lnTo>
                      <a:pt x="199" y="3939"/>
                    </a:lnTo>
                    <a:lnTo>
                      <a:pt x="210" y="3954"/>
                    </a:lnTo>
                    <a:lnTo>
                      <a:pt x="222" y="3968"/>
                    </a:lnTo>
                    <a:lnTo>
                      <a:pt x="235" y="3981"/>
                    </a:lnTo>
                    <a:lnTo>
                      <a:pt x="249" y="3994"/>
                    </a:lnTo>
                    <a:lnTo>
                      <a:pt x="265" y="4006"/>
                    </a:lnTo>
                    <a:lnTo>
                      <a:pt x="269" y="4011"/>
                    </a:lnTo>
                    <a:lnTo>
                      <a:pt x="271" y="4015"/>
                    </a:lnTo>
                    <a:lnTo>
                      <a:pt x="270" y="4020"/>
                    </a:lnTo>
                    <a:lnTo>
                      <a:pt x="269" y="4026"/>
                    </a:lnTo>
                    <a:lnTo>
                      <a:pt x="266" y="4028"/>
                    </a:lnTo>
                    <a:lnTo>
                      <a:pt x="264" y="4030"/>
                    </a:lnTo>
                    <a:lnTo>
                      <a:pt x="261" y="4031"/>
                    </a:lnTo>
                    <a:lnTo>
                      <a:pt x="257" y="40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43"/>
              <p:cNvSpPr>
                <a:spLocks noEditPoints="1"/>
              </p:cNvSpPr>
              <p:nvPr userDrawn="1"/>
            </p:nvSpPr>
            <p:spPr bwMode="auto">
              <a:xfrm>
                <a:off x="2438" y="2509"/>
                <a:ext cx="216" cy="648"/>
              </a:xfrm>
              <a:custGeom>
                <a:avLst/>
                <a:gdLst>
                  <a:gd name="T0" fmla="*/ 30 w 649"/>
                  <a:gd name="T1" fmla="*/ 1944 h 1946"/>
                  <a:gd name="T2" fmla="*/ 18 w 649"/>
                  <a:gd name="T3" fmla="*/ 1874 h 1946"/>
                  <a:gd name="T4" fmla="*/ 2 w 649"/>
                  <a:gd name="T5" fmla="*/ 1631 h 1946"/>
                  <a:gd name="T6" fmla="*/ 3 w 649"/>
                  <a:gd name="T7" fmla="*/ 1394 h 1946"/>
                  <a:gd name="T8" fmla="*/ 28 w 649"/>
                  <a:gd name="T9" fmla="*/ 1154 h 1946"/>
                  <a:gd name="T10" fmla="*/ 74 w 649"/>
                  <a:gd name="T11" fmla="*/ 909 h 1946"/>
                  <a:gd name="T12" fmla="*/ 133 w 649"/>
                  <a:gd name="T13" fmla="*/ 671 h 1946"/>
                  <a:gd name="T14" fmla="*/ 214 w 649"/>
                  <a:gd name="T15" fmla="*/ 401 h 1946"/>
                  <a:gd name="T16" fmla="*/ 324 w 649"/>
                  <a:gd name="T17" fmla="*/ 92 h 1946"/>
                  <a:gd name="T18" fmla="*/ 359 w 649"/>
                  <a:gd name="T19" fmla="*/ 3 h 1946"/>
                  <a:gd name="T20" fmla="*/ 378 w 649"/>
                  <a:gd name="T21" fmla="*/ 2 h 1946"/>
                  <a:gd name="T22" fmla="*/ 381 w 649"/>
                  <a:gd name="T23" fmla="*/ 30 h 1946"/>
                  <a:gd name="T24" fmla="*/ 363 w 649"/>
                  <a:gd name="T25" fmla="*/ 177 h 1946"/>
                  <a:gd name="T26" fmla="*/ 357 w 649"/>
                  <a:gd name="T27" fmla="*/ 327 h 1946"/>
                  <a:gd name="T28" fmla="*/ 363 w 649"/>
                  <a:gd name="T29" fmla="*/ 517 h 1946"/>
                  <a:gd name="T30" fmla="*/ 394 w 649"/>
                  <a:gd name="T31" fmla="*/ 817 h 1946"/>
                  <a:gd name="T32" fmla="*/ 410 w 649"/>
                  <a:gd name="T33" fmla="*/ 978 h 1946"/>
                  <a:gd name="T34" fmla="*/ 428 w 649"/>
                  <a:gd name="T35" fmla="*/ 1179 h 1946"/>
                  <a:gd name="T36" fmla="*/ 470 w 649"/>
                  <a:gd name="T37" fmla="*/ 1400 h 1946"/>
                  <a:gd name="T38" fmla="*/ 529 w 649"/>
                  <a:gd name="T39" fmla="*/ 1568 h 1946"/>
                  <a:gd name="T40" fmla="*/ 595 w 649"/>
                  <a:gd name="T41" fmla="*/ 1685 h 1946"/>
                  <a:gd name="T42" fmla="*/ 646 w 649"/>
                  <a:gd name="T43" fmla="*/ 1740 h 1946"/>
                  <a:gd name="T44" fmla="*/ 647 w 649"/>
                  <a:gd name="T45" fmla="*/ 1754 h 1946"/>
                  <a:gd name="T46" fmla="*/ 617 w 649"/>
                  <a:gd name="T47" fmla="*/ 1767 h 1946"/>
                  <a:gd name="T48" fmla="*/ 527 w 649"/>
                  <a:gd name="T49" fmla="*/ 1788 h 1946"/>
                  <a:gd name="T50" fmla="*/ 402 w 649"/>
                  <a:gd name="T51" fmla="*/ 1812 h 1946"/>
                  <a:gd name="T52" fmla="*/ 214 w 649"/>
                  <a:gd name="T53" fmla="*/ 1860 h 1946"/>
                  <a:gd name="T54" fmla="*/ 114 w 649"/>
                  <a:gd name="T55" fmla="*/ 1902 h 1946"/>
                  <a:gd name="T56" fmla="*/ 43 w 649"/>
                  <a:gd name="T57" fmla="*/ 1946 h 1946"/>
                  <a:gd name="T58" fmla="*/ 325 w 649"/>
                  <a:gd name="T59" fmla="*/ 166 h 1946"/>
                  <a:gd name="T60" fmla="*/ 232 w 649"/>
                  <a:gd name="T61" fmla="*/ 436 h 1946"/>
                  <a:gd name="T62" fmla="*/ 131 w 649"/>
                  <a:gd name="T63" fmla="*/ 787 h 1946"/>
                  <a:gd name="T64" fmla="*/ 77 w 649"/>
                  <a:gd name="T65" fmla="*/ 1026 h 1946"/>
                  <a:gd name="T66" fmla="*/ 46 w 649"/>
                  <a:gd name="T67" fmla="*/ 1219 h 1946"/>
                  <a:gd name="T68" fmla="*/ 29 w 649"/>
                  <a:gd name="T69" fmla="*/ 1406 h 1946"/>
                  <a:gd name="T70" fmla="*/ 29 w 649"/>
                  <a:gd name="T71" fmla="*/ 1621 h 1946"/>
                  <a:gd name="T72" fmla="*/ 43 w 649"/>
                  <a:gd name="T73" fmla="*/ 1851 h 1946"/>
                  <a:gd name="T74" fmla="*/ 117 w 649"/>
                  <a:gd name="T75" fmla="*/ 1870 h 1946"/>
                  <a:gd name="T76" fmla="*/ 216 w 649"/>
                  <a:gd name="T77" fmla="*/ 1831 h 1946"/>
                  <a:gd name="T78" fmla="*/ 399 w 649"/>
                  <a:gd name="T79" fmla="*/ 1785 h 1946"/>
                  <a:gd name="T80" fmla="*/ 570 w 649"/>
                  <a:gd name="T81" fmla="*/ 1751 h 1946"/>
                  <a:gd name="T82" fmla="*/ 558 w 649"/>
                  <a:gd name="T83" fmla="*/ 1680 h 1946"/>
                  <a:gd name="T84" fmla="*/ 494 w 649"/>
                  <a:gd name="T85" fmla="*/ 1559 h 1946"/>
                  <a:gd name="T86" fmla="*/ 439 w 649"/>
                  <a:gd name="T87" fmla="*/ 1391 h 1946"/>
                  <a:gd name="T88" fmla="*/ 401 w 649"/>
                  <a:gd name="T89" fmla="*/ 1178 h 1946"/>
                  <a:gd name="T90" fmla="*/ 383 w 649"/>
                  <a:gd name="T91" fmla="*/ 981 h 1946"/>
                  <a:gd name="T92" fmla="*/ 367 w 649"/>
                  <a:gd name="T93" fmla="*/ 820 h 1946"/>
                  <a:gd name="T94" fmla="*/ 338 w 649"/>
                  <a:gd name="T95" fmla="*/ 522 h 1946"/>
                  <a:gd name="T96" fmla="*/ 330 w 649"/>
                  <a:gd name="T97" fmla="*/ 328 h 1946"/>
                  <a:gd name="T98" fmla="*/ 336 w 649"/>
                  <a:gd name="T99" fmla="*/ 175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9" h="1946">
                    <a:moveTo>
                      <a:pt x="38" y="1946"/>
                    </a:moveTo>
                    <a:lnTo>
                      <a:pt x="35" y="1946"/>
                    </a:lnTo>
                    <a:lnTo>
                      <a:pt x="33" y="1945"/>
                    </a:lnTo>
                    <a:lnTo>
                      <a:pt x="30" y="1944"/>
                    </a:lnTo>
                    <a:lnTo>
                      <a:pt x="28" y="1941"/>
                    </a:lnTo>
                    <a:lnTo>
                      <a:pt x="25" y="1938"/>
                    </a:lnTo>
                    <a:lnTo>
                      <a:pt x="25" y="1934"/>
                    </a:lnTo>
                    <a:lnTo>
                      <a:pt x="18" y="1874"/>
                    </a:lnTo>
                    <a:lnTo>
                      <a:pt x="13" y="1812"/>
                    </a:lnTo>
                    <a:lnTo>
                      <a:pt x="8" y="1752"/>
                    </a:lnTo>
                    <a:lnTo>
                      <a:pt x="4" y="1691"/>
                    </a:lnTo>
                    <a:lnTo>
                      <a:pt x="2" y="1631"/>
                    </a:lnTo>
                    <a:lnTo>
                      <a:pt x="0" y="1571"/>
                    </a:lnTo>
                    <a:lnTo>
                      <a:pt x="0" y="1511"/>
                    </a:lnTo>
                    <a:lnTo>
                      <a:pt x="1" y="1451"/>
                    </a:lnTo>
                    <a:lnTo>
                      <a:pt x="3" y="1394"/>
                    </a:lnTo>
                    <a:lnTo>
                      <a:pt x="6" y="1335"/>
                    </a:lnTo>
                    <a:lnTo>
                      <a:pt x="13" y="1275"/>
                    </a:lnTo>
                    <a:lnTo>
                      <a:pt x="19" y="1214"/>
                    </a:lnTo>
                    <a:lnTo>
                      <a:pt x="28" y="1154"/>
                    </a:lnTo>
                    <a:lnTo>
                      <a:pt x="37" y="1092"/>
                    </a:lnTo>
                    <a:lnTo>
                      <a:pt x="49" y="1032"/>
                    </a:lnTo>
                    <a:lnTo>
                      <a:pt x="61" y="970"/>
                    </a:lnTo>
                    <a:lnTo>
                      <a:pt x="74" y="909"/>
                    </a:lnTo>
                    <a:lnTo>
                      <a:pt x="88" y="848"/>
                    </a:lnTo>
                    <a:lnTo>
                      <a:pt x="103" y="788"/>
                    </a:lnTo>
                    <a:lnTo>
                      <a:pt x="118" y="730"/>
                    </a:lnTo>
                    <a:lnTo>
                      <a:pt x="133" y="671"/>
                    </a:lnTo>
                    <a:lnTo>
                      <a:pt x="150" y="614"/>
                    </a:lnTo>
                    <a:lnTo>
                      <a:pt x="166" y="558"/>
                    </a:lnTo>
                    <a:lnTo>
                      <a:pt x="182" y="504"/>
                    </a:lnTo>
                    <a:lnTo>
                      <a:pt x="214" y="401"/>
                    </a:lnTo>
                    <a:lnTo>
                      <a:pt x="246" y="308"/>
                    </a:lnTo>
                    <a:lnTo>
                      <a:pt x="275" y="223"/>
                    </a:lnTo>
                    <a:lnTo>
                      <a:pt x="302" y="151"/>
                    </a:lnTo>
                    <a:lnTo>
                      <a:pt x="324" y="92"/>
                    </a:lnTo>
                    <a:lnTo>
                      <a:pt x="341" y="47"/>
                    </a:lnTo>
                    <a:lnTo>
                      <a:pt x="353" y="18"/>
                    </a:lnTo>
                    <a:lnTo>
                      <a:pt x="357" y="7"/>
                    </a:lnTo>
                    <a:lnTo>
                      <a:pt x="359" y="3"/>
                    </a:lnTo>
                    <a:lnTo>
                      <a:pt x="363" y="1"/>
                    </a:lnTo>
                    <a:lnTo>
                      <a:pt x="368" y="0"/>
                    </a:lnTo>
                    <a:lnTo>
                      <a:pt x="373" y="0"/>
                    </a:lnTo>
                    <a:lnTo>
                      <a:pt x="378" y="2"/>
                    </a:lnTo>
                    <a:lnTo>
                      <a:pt x="381" y="5"/>
                    </a:lnTo>
                    <a:lnTo>
                      <a:pt x="383" y="10"/>
                    </a:lnTo>
                    <a:lnTo>
                      <a:pt x="383" y="15"/>
                    </a:lnTo>
                    <a:lnTo>
                      <a:pt x="381" y="30"/>
                    </a:lnTo>
                    <a:lnTo>
                      <a:pt x="376" y="66"/>
                    </a:lnTo>
                    <a:lnTo>
                      <a:pt x="371" y="107"/>
                    </a:lnTo>
                    <a:lnTo>
                      <a:pt x="368" y="139"/>
                    </a:lnTo>
                    <a:lnTo>
                      <a:pt x="363" y="177"/>
                    </a:lnTo>
                    <a:lnTo>
                      <a:pt x="360" y="216"/>
                    </a:lnTo>
                    <a:lnTo>
                      <a:pt x="358" y="253"/>
                    </a:lnTo>
                    <a:lnTo>
                      <a:pt x="357" y="290"/>
                    </a:lnTo>
                    <a:lnTo>
                      <a:pt x="357" y="327"/>
                    </a:lnTo>
                    <a:lnTo>
                      <a:pt x="357" y="365"/>
                    </a:lnTo>
                    <a:lnTo>
                      <a:pt x="358" y="401"/>
                    </a:lnTo>
                    <a:lnTo>
                      <a:pt x="359" y="439"/>
                    </a:lnTo>
                    <a:lnTo>
                      <a:pt x="363" y="517"/>
                    </a:lnTo>
                    <a:lnTo>
                      <a:pt x="371" y="599"/>
                    </a:lnTo>
                    <a:lnTo>
                      <a:pt x="380" y="686"/>
                    </a:lnTo>
                    <a:lnTo>
                      <a:pt x="389" y="780"/>
                    </a:lnTo>
                    <a:lnTo>
                      <a:pt x="394" y="817"/>
                    </a:lnTo>
                    <a:lnTo>
                      <a:pt x="397" y="856"/>
                    </a:lnTo>
                    <a:lnTo>
                      <a:pt x="401" y="895"/>
                    </a:lnTo>
                    <a:lnTo>
                      <a:pt x="406" y="936"/>
                    </a:lnTo>
                    <a:lnTo>
                      <a:pt x="410" y="978"/>
                    </a:lnTo>
                    <a:lnTo>
                      <a:pt x="414" y="1022"/>
                    </a:lnTo>
                    <a:lnTo>
                      <a:pt x="417" y="1068"/>
                    </a:lnTo>
                    <a:lnTo>
                      <a:pt x="422" y="1114"/>
                    </a:lnTo>
                    <a:lnTo>
                      <a:pt x="428" y="1179"/>
                    </a:lnTo>
                    <a:lnTo>
                      <a:pt x="437" y="1239"/>
                    </a:lnTo>
                    <a:lnTo>
                      <a:pt x="447" y="1296"/>
                    </a:lnTo>
                    <a:lnTo>
                      <a:pt x="457" y="1349"/>
                    </a:lnTo>
                    <a:lnTo>
                      <a:pt x="470" y="1400"/>
                    </a:lnTo>
                    <a:lnTo>
                      <a:pt x="483" y="1447"/>
                    </a:lnTo>
                    <a:lnTo>
                      <a:pt x="497" y="1491"/>
                    </a:lnTo>
                    <a:lnTo>
                      <a:pt x="512" y="1532"/>
                    </a:lnTo>
                    <a:lnTo>
                      <a:pt x="529" y="1568"/>
                    </a:lnTo>
                    <a:lnTo>
                      <a:pt x="545" y="1603"/>
                    </a:lnTo>
                    <a:lnTo>
                      <a:pt x="561" y="1633"/>
                    </a:lnTo>
                    <a:lnTo>
                      <a:pt x="578" y="1660"/>
                    </a:lnTo>
                    <a:lnTo>
                      <a:pt x="595" y="1685"/>
                    </a:lnTo>
                    <a:lnTo>
                      <a:pt x="612" y="1705"/>
                    </a:lnTo>
                    <a:lnTo>
                      <a:pt x="628" y="1723"/>
                    </a:lnTo>
                    <a:lnTo>
                      <a:pt x="644" y="1738"/>
                    </a:lnTo>
                    <a:lnTo>
                      <a:pt x="646" y="1740"/>
                    </a:lnTo>
                    <a:lnTo>
                      <a:pt x="649" y="1743"/>
                    </a:lnTo>
                    <a:lnTo>
                      <a:pt x="649" y="1747"/>
                    </a:lnTo>
                    <a:lnTo>
                      <a:pt x="649" y="1751"/>
                    </a:lnTo>
                    <a:lnTo>
                      <a:pt x="647" y="1754"/>
                    </a:lnTo>
                    <a:lnTo>
                      <a:pt x="645" y="1757"/>
                    </a:lnTo>
                    <a:lnTo>
                      <a:pt x="642" y="1759"/>
                    </a:lnTo>
                    <a:lnTo>
                      <a:pt x="639" y="1761"/>
                    </a:lnTo>
                    <a:lnTo>
                      <a:pt x="617" y="1767"/>
                    </a:lnTo>
                    <a:lnTo>
                      <a:pt x="595" y="1772"/>
                    </a:lnTo>
                    <a:lnTo>
                      <a:pt x="572" y="1778"/>
                    </a:lnTo>
                    <a:lnTo>
                      <a:pt x="549" y="1782"/>
                    </a:lnTo>
                    <a:lnTo>
                      <a:pt x="527" y="1788"/>
                    </a:lnTo>
                    <a:lnTo>
                      <a:pt x="503" y="1792"/>
                    </a:lnTo>
                    <a:lnTo>
                      <a:pt x="480" y="1796"/>
                    </a:lnTo>
                    <a:lnTo>
                      <a:pt x="457" y="1802"/>
                    </a:lnTo>
                    <a:lnTo>
                      <a:pt x="402" y="1812"/>
                    </a:lnTo>
                    <a:lnTo>
                      <a:pt x="348" y="1824"/>
                    </a:lnTo>
                    <a:lnTo>
                      <a:pt x="293" y="1837"/>
                    </a:lnTo>
                    <a:lnTo>
                      <a:pt x="240" y="1852"/>
                    </a:lnTo>
                    <a:lnTo>
                      <a:pt x="214" y="1860"/>
                    </a:lnTo>
                    <a:lnTo>
                      <a:pt x="189" y="1870"/>
                    </a:lnTo>
                    <a:lnTo>
                      <a:pt x="163" y="1879"/>
                    </a:lnTo>
                    <a:lnTo>
                      <a:pt x="139" y="1890"/>
                    </a:lnTo>
                    <a:lnTo>
                      <a:pt x="114" y="1902"/>
                    </a:lnTo>
                    <a:lnTo>
                      <a:pt x="91" y="1915"/>
                    </a:lnTo>
                    <a:lnTo>
                      <a:pt x="69" y="1929"/>
                    </a:lnTo>
                    <a:lnTo>
                      <a:pt x="46" y="1944"/>
                    </a:lnTo>
                    <a:lnTo>
                      <a:pt x="43" y="1946"/>
                    </a:lnTo>
                    <a:lnTo>
                      <a:pt x="38" y="1946"/>
                    </a:lnTo>
                    <a:close/>
                    <a:moveTo>
                      <a:pt x="343" y="118"/>
                    </a:moveTo>
                    <a:lnTo>
                      <a:pt x="343" y="118"/>
                    </a:lnTo>
                    <a:lnTo>
                      <a:pt x="325" y="166"/>
                    </a:lnTo>
                    <a:lnTo>
                      <a:pt x="304" y="223"/>
                    </a:lnTo>
                    <a:lnTo>
                      <a:pt x="281" y="288"/>
                    </a:lnTo>
                    <a:lnTo>
                      <a:pt x="258" y="359"/>
                    </a:lnTo>
                    <a:lnTo>
                      <a:pt x="232" y="436"/>
                    </a:lnTo>
                    <a:lnTo>
                      <a:pt x="206" y="518"/>
                    </a:lnTo>
                    <a:lnTo>
                      <a:pt x="181" y="604"/>
                    </a:lnTo>
                    <a:lnTo>
                      <a:pt x="155" y="694"/>
                    </a:lnTo>
                    <a:lnTo>
                      <a:pt x="131" y="787"/>
                    </a:lnTo>
                    <a:lnTo>
                      <a:pt x="108" y="882"/>
                    </a:lnTo>
                    <a:lnTo>
                      <a:pt x="97" y="929"/>
                    </a:lnTo>
                    <a:lnTo>
                      <a:pt x="87" y="978"/>
                    </a:lnTo>
                    <a:lnTo>
                      <a:pt x="77" y="1026"/>
                    </a:lnTo>
                    <a:lnTo>
                      <a:pt x="69" y="1075"/>
                    </a:lnTo>
                    <a:lnTo>
                      <a:pt x="60" y="1123"/>
                    </a:lnTo>
                    <a:lnTo>
                      <a:pt x="52" y="1171"/>
                    </a:lnTo>
                    <a:lnTo>
                      <a:pt x="46" y="1219"/>
                    </a:lnTo>
                    <a:lnTo>
                      <a:pt x="41" y="1266"/>
                    </a:lnTo>
                    <a:lnTo>
                      <a:pt x="35" y="1314"/>
                    </a:lnTo>
                    <a:lnTo>
                      <a:pt x="32" y="1360"/>
                    </a:lnTo>
                    <a:lnTo>
                      <a:pt x="29" y="1406"/>
                    </a:lnTo>
                    <a:lnTo>
                      <a:pt x="28" y="1452"/>
                    </a:lnTo>
                    <a:lnTo>
                      <a:pt x="27" y="1508"/>
                    </a:lnTo>
                    <a:lnTo>
                      <a:pt x="27" y="1564"/>
                    </a:lnTo>
                    <a:lnTo>
                      <a:pt x="29" y="1621"/>
                    </a:lnTo>
                    <a:lnTo>
                      <a:pt x="31" y="1678"/>
                    </a:lnTo>
                    <a:lnTo>
                      <a:pt x="34" y="1736"/>
                    </a:lnTo>
                    <a:lnTo>
                      <a:pt x="38" y="1794"/>
                    </a:lnTo>
                    <a:lnTo>
                      <a:pt x="43" y="1851"/>
                    </a:lnTo>
                    <a:lnTo>
                      <a:pt x="49" y="1908"/>
                    </a:lnTo>
                    <a:lnTo>
                      <a:pt x="71" y="1894"/>
                    </a:lnTo>
                    <a:lnTo>
                      <a:pt x="95" y="1883"/>
                    </a:lnTo>
                    <a:lnTo>
                      <a:pt x="117" y="1870"/>
                    </a:lnTo>
                    <a:lnTo>
                      <a:pt x="141" y="1859"/>
                    </a:lnTo>
                    <a:lnTo>
                      <a:pt x="166" y="1849"/>
                    </a:lnTo>
                    <a:lnTo>
                      <a:pt x="191" y="1839"/>
                    </a:lnTo>
                    <a:lnTo>
                      <a:pt x="216" y="1831"/>
                    </a:lnTo>
                    <a:lnTo>
                      <a:pt x="241" y="1823"/>
                    </a:lnTo>
                    <a:lnTo>
                      <a:pt x="293" y="1809"/>
                    </a:lnTo>
                    <a:lnTo>
                      <a:pt x="346" y="1796"/>
                    </a:lnTo>
                    <a:lnTo>
                      <a:pt x="399" y="1785"/>
                    </a:lnTo>
                    <a:lnTo>
                      <a:pt x="452" y="1775"/>
                    </a:lnTo>
                    <a:lnTo>
                      <a:pt x="491" y="1767"/>
                    </a:lnTo>
                    <a:lnTo>
                      <a:pt x="531" y="1758"/>
                    </a:lnTo>
                    <a:lnTo>
                      <a:pt x="570" y="1751"/>
                    </a:lnTo>
                    <a:lnTo>
                      <a:pt x="608" y="1741"/>
                    </a:lnTo>
                    <a:lnTo>
                      <a:pt x="591" y="1724"/>
                    </a:lnTo>
                    <a:lnTo>
                      <a:pt x="575" y="1703"/>
                    </a:lnTo>
                    <a:lnTo>
                      <a:pt x="558" y="1680"/>
                    </a:lnTo>
                    <a:lnTo>
                      <a:pt x="542" y="1654"/>
                    </a:lnTo>
                    <a:lnTo>
                      <a:pt x="525" y="1625"/>
                    </a:lnTo>
                    <a:lnTo>
                      <a:pt x="509" y="1593"/>
                    </a:lnTo>
                    <a:lnTo>
                      <a:pt x="494" y="1559"/>
                    </a:lnTo>
                    <a:lnTo>
                      <a:pt x="479" y="1521"/>
                    </a:lnTo>
                    <a:lnTo>
                      <a:pt x="465" y="1481"/>
                    </a:lnTo>
                    <a:lnTo>
                      <a:pt x="452" y="1438"/>
                    </a:lnTo>
                    <a:lnTo>
                      <a:pt x="439" y="1391"/>
                    </a:lnTo>
                    <a:lnTo>
                      <a:pt x="428" y="1343"/>
                    </a:lnTo>
                    <a:lnTo>
                      <a:pt x="417" y="1291"/>
                    </a:lnTo>
                    <a:lnTo>
                      <a:pt x="409" y="1236"/>
                    </a:lnTo>
                    <a:lnTo>
                      <a:pt x="401" y="1178"/>
                    </a:lnTo>
                    <a:lnTo>
                      <a:pt x="395" y="1117"/>
                    </a:lnTo>
                    <a:lnTo>
                      <a:pt x="392" y="1070"/>
                    </a:lnTo>
                    <a:lnTo>
                      <a:pt x="387" y="1024"/>
                    </a:lnTo>
                    <a:lnTo>
                      <a:pt x="383" y="981"/>
                    </a:lnTo>
                    <a:lnTo>
                      <a:pt x="379" y="939"/>
                    </a:lnTo>
                    <a:lnTo>
                      <a:pt x="374" y="898"/>
                    </a:lnTo>
                    <a:lnTo>
                      <a:pt x="370" y="858"/>
                    </a:lnTo>
                    <a:lnTo>
                      <a:pt x="367" y="820"/>
                    </a:lnTo>
                    <a:lnTo>
                      <a:pt x="362" y="783"/>
                    </a:lnTo>
                    <a:lnTo>
                      <a:pt x="353" y="691"/>
                    </a:lnTo>
                    <a:lnTo>
                      <a:pt x="344" y="604"/>
                    </a:lnTo>
                    <a:lnTo>
                      <a:pt x="338" y="522"/>
                    </a:lnTo>
                    <a:lnTo>
                      <a:pt x="332" y="444"/>
                    </a:lnTo>
                    <a:lnTo>
                      <a:pt x="331" y="405"/>
                    </a:lnTo>
                    <a:lnTo>
                      <a:pt x="330" y="366"/>
                    </a:lnTo>
                    <a:lnTo>
                      <a:pt x="330" y="328"/>
                    </a:lnTo>
                    <a:lnTo>
                      <a:pt x="330" y="290"/>
                    </a:lnTo>
                    <a:lnTo>
                      <a:pt x="331" y="253"/>
                    </a:lnTo>
                    <a:lnTo>
                      <a:pt x="333" y="214"/>
                    </a:lnTo>
                    <a:lnTo>
                      <a:pt x="336" y="175"/>
                    </a:lnTo>
                    <a:lnTo>
                      <a:pt x="341" y="136"/>
                    </a:lnTo>
                    <a:lnTo>
                      <a:pt x="342" y="127"/>
                    </a:lnTo>
                    <a:lnTo>
                      <a:pt x="343"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44"/>
              <p:cNvSpPr>
                <a:spLocks/>
              </p:cNvSpPr>
              <p:nvPr userDrawn="1"/>
            </p:nvSpPr>
            <p:spPr bwMode="auto">
              <a:xfrm>
                <a:off x="2470" y="2597"/>
                <a:ext cx="82" cy="520"/>
              </a:xfrm>
              <a:custGeom>
                <a:avLst/>
                <a:gdLst>
                  <a:gd name="T0" fmla="*/ 42 w 247"/>
                  <a:gd name="T1" fmla="*/ 1560 h 1560"/>
                  <a:gd name="T2" fmla="*/ 34 w 247"/>
                  <a:gd name="T3" fmla="*/ 1554 h 1560"/>
                  <a:gd name="T4" fmla="*/ 26 w 247"/>
                  <a:gd name="T5" fmla="*/ 1501 h 1560"/>
                  <a:gd name="T6" fmla="*/ 15 w 247"/>
                  <a:gd name="T7" fmla="*/ 1406 h 1560"/>
                  <a:gd name="T8" fmla="*/ 6 w 247"/>
                  <a:gd name="T9" fmla="*/ 1311 h 1560"/>
                  <a:gd name="T10" fmla="*/ 2 w 247"/>
                  <a:gd name="T11" fmla="*/ 1215 h 1560"/>
                  <a:gd name="T12" fmla="*/ 0 w 247"/>
                  <a:gd name="T13" fmla="*/ 1120 h 1560"/>
                  <a:gd name="T14" fmla="*/ 2 w 247"/>
                  <a:gd name="T15" fmla="*/ 1025 h 1560"/>
                  <a:gd name="T16" fmla="*/ 7 w 247"/>
                  <a:gd name="T17" fmla="*/ 929 h 1560"/>
                  <a:gd name="T18" fmla="*/ 16 w 247"/>
                  <a:gd name="T19" fmla="*/ 834 h 1560"/>
                  <a:gd name="T20" fmla="*/ 27 w 247"/>
                  <a:gd name="T21" fmla="*/ 738 h 1560"/>
                  <a:gd name="T22" fmla="*/ 42 w 247"/>
                  <a:gd name="T23" fmla="*/ 642 h 1560"/>
                  <a:gd name="T24" fmla="*/ 60 w 247"/>
                  <a:gd name="T25" fmla="*/ 546 h 1560"/>
                  <a:gd name="T26" fmla="*/ 82 w 247"/>
                  <a:gd name="T27" fmla="*/ 448 h 1560"/>
                  <a:gd name="T28" fmla="*/ 108 w 247"/>
                  <a:gd name="T29" fmla="*/ 352 h 1560"/>
                  <a:gd name="T30" fmla="*/ 136 w 247"/>
                  <a:gd name="T31" fmla="*/ 254 h 1560"/>
                  <a:gd name="T32" fmla="*/ 167 w 247"/>
                  <a:gd name="T33" fmla="*/ 157 h 1560"/>
                  <a:gd name="T34" fmla="*/ 203 w 247"/>
                  <a:gd name="T35" fmla="*/ 59 h 1560"/>
                  <a:gd name="T36" fmla="*/ 224 w 247"/>
                  <a:gd name="T37" fmla="*/ 5 h 1560"/>
                  <a:gd name="T38" fmla="*/ 233 w 247"/>
                  <a:gd name="T39" fmla="*/ 0 h 1560"/>
                  <a:gd name="T40" fmla="*/ 243 w 247"/>
                  <a:gd name="T41" fmla="*/ 5 h 1560"/>
                  <a:gd name="T42" fmla="*/ 247 w 247"/>
                  <a:gd name="T43" fmla="*/ 14 h 1560"/>
                  <a:gd name="T44" fmla="*/ 227 w 247"/>
                  <a:gd name="T45" fmla="*/ 68 h 1560"/>
                  <a:gd name="T46" fmla="*/ 193 w 247"/>
                  <a:gd name="T47" fmla="*/ 166 h 1560"/>
                  <a:gd name="T48" fmla="*/ 162 w 247"/>
                  <a:gd name="T49" fmla="*/ 263 h 1560"/>
                  <a:gd name="T50" fmla="*/ 133 w 247"/>
                  <a:gd name="T51" fmla="*/ 359 h 1560"/>
                  <a:gd name="T52" fmla="*/ 109 w 247"/>
                  <a:gd name="T53" fmla="*/ 455 h 1560"/>
                  <a:gd name="T54" fmla="*/ 87 w 247"/>
                  <a:gd name="T55" fmla="*/ 550 h 1560"/>
                  <a:gd name="T56" fmla="*/ 69 w 247"/>
                  <a:gd name="T57" fmla="*/ 646 h 1560"/>
                  <a:gd name="T58" fmla="*/ 54 w 247"/>
                  <a:gd name="T59" fmla="*/ 741 h 1560"/>
                  <a:gd name="T60" fmla="*/ 42 w 247"/>
                  <a:gd name="T61" fmla="*/ 836 h 1560"/>
                  <a:gd name="T62" fmla="*/ 34 w 247"/>
                  <a:gd name="T63" fmla="*/ 931 h 1560"/>
                  <a:gd name="T64" fmla="*/ 29 w 247"/>
                  <a:gd name="T65" fmla="*/ 1025 h 1560"/>
                  <a:gd name="T66" fmla="*/ 27 w 247"/>
                  <a:gd name="T67" fmla="*/ 1120 h 1560"/>
                  <a:gd name="T68" fmla="*/ 29 w 247"/>
                  <a:gd name="T69" fmla="*/ 1214 h 1560"/>
                  <a:gd name="T70" fmla="*/ 33 w 247"/>
                  <a:gd name="T71" fmla="*/ 1309 h 1560"/>
                  <a:gd name="T72" fmla="*/ 42 w 247"/>
                  <a:gd name="T73" fmla="*/ 1404 h 1560"/>
                  <a:gd name="T74" fmla="*/ 53 w 247"/>
                  <a:gd name="T75" fmla="*/ 1498 h 1560"/>
                  <a:gd name="T76" fmla="*/ 59 w 247"/>
                  <a:gd name="T77" fmla="*/ 1551 h 1560"/>
                  <a:gd name="T78" fmla="*/ 54 w 247"/>
                  <a:gd name="T79" fmla="*/ 1559 h 1560"/>
                  <a:gd name="T80" fmla="*/ 47 w 247"/>
                  <a:gd name="T81"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7" h="1560">
                    <a:moveTo>
                      <a:pt x="46" y="1560"/>
                    </a:moveTo>
                    <a:lnTo>
                      <a:pt x="42" y="1560"/>
                    </a:lnTo>
                    <a:lnTo>
                      <a:pt x="37" y="1557"/>
                    </a:lnTo>
                    <a:lnTo>
                      <a:pt x="34" y="1554"/>
                    </a:lnTo>
                    <a:lnTo>
                      <a:pt x="33" y="1549"/>
                    </a:lnTo>
                    <a:lnTo>
                      <a:pt x="26" y="1501"/>
                    </a:lnTo>
                    <a:lnTo>
                      <a:pt x="20" y="1453"/>
                    </a:lnTo>
                    <a:lnTo>
                      <a:pt x="15" y="1406"/>
                    </a:lnTo>
                    <a:lnTo>
                      <a:pt x="10" y="1358"/>
                    </a:lnTo>
                    <a:lnTo>
                      <a:pt x="6" y="1311"/>
                    </a:lnTo>
                    <a:lnTo>
                      <a:pt x="4" y="1262"/>
                    </a:lnTo>
                    <a:lnTo>
                      <a:pt x="2" y="1215"/>
                    </a:lnTo>
                    <a:lnTo>
                      <a:pt x="1" y="1167"/>
                    </a:lnTo>
                    <a:lnTo>
                      <a:pt x="0" y="1120"/>
                    </a:lnTo>
                    <a:lnTo>
                      <a:pt x="1" y="1072"/>
                    </a:lnTo>
                    <a:lnTo>
                      <a:pt x="2" y="1025"/>
                    </a:lnTo>
                    <a:lnTo>
                      <a:pt x="4" y="976"/>
                    </a:lnTo>
                    <a:lnTo>
                      <a:pt x="7" y="929"/>
                    </a:lnTo>
                    <a:lnTo>
                      <a:pt x="10" y="881"/>
                    </a:lnTo>
                    <a:lnTo>
                      <a:pt x="16" y="834"/>
                    </a:lnTo>
                    <a:lnTo>
                      <a:pt x="21" y="785"/>
                    </a:lnTo>
                    <a:lnTo>
                      <a:pt x="27" y="738"/>
                    </a:lnTo>
                    <a:lnTo>
                      <a:pt x="34" y="689"/>
                    </a:lnTo>
                    <a:lnTo>
                      <a:pt x="42" y="642"/>
                    </a:lnTo>
                    <a:lnTo>
                      <a:pt x="50" y="593"/>
                    </a:lnTo>
                    <a:lnTo>
                      <a:pt x="60" y="546"/>
                    </a:lnTo>
                    <a:lnTo>
                      <a:pt x="71" y="497"/>
                    </a:lnTo>
                    <a:lnTo>
                      <a:pt x="82" y="448"/>
                    </a:lnTo>
                    <a:lnTo>
                      <a:pt x="95" y="400"/>
                    </a:lnTo>
                    <a:lnTo>
                      <a:pt x="108" y="352"/>
                    </a:lnTo>
                    <a:lnTo>
                      <a:pt x="121" y="304"/>
                    </a:lnTo>
                    <a:lnTo>
                      <a:pt x="136" y="254"/>
                    </a:lnTo>
                    <a:lnTo>
                      <a:pt x="151" y="205"/>
                    </a:lnTo>
                    <a:lnTo>
                      <a:pt x="167" y="157"/>
                    </a:lnTo>
                    <a:lnTo>
                      <a:pt x="184" y="108"/>
                    </a:lnTo>
                    <a:lnTo>
                      <a:pt x="203" y="59"/>
                    </a:lnTo>
                    <a:lnTo>
                      <a:pt x="221" y="9"/>
                    </a:lnTo>
                    <a:lnTo>
                      <a:pt x="224" y="5"/>
                    </a:lnTo>
                    <a:lnTo>
                      <a:pt x="229" y="1"/>
                    </a:lnTo>
                    <a:lnTo>
                      <a:pt x="233" y="0"/>
                    </a:lnTo>
                    <a:lnTo>
                      <a:pt x="238" y="1"/>
                    </a:lnTo>
                    <a:lnTo>
                      <a:pt x="243" y="5"/>
                    </a:lnTo>
                    <a:lnTo>
                      <a:pt x="246" y="9"/>
                    </a:lnTo>
                    <a:lnTo>
                      <a:pt x="247" y="14"/>
                    </a:lnTo>
                    <a:lnTo>
                      <a:pt x="246" y="19"/>
                    </a:lnTo>
                    <a:lnTo>
                      <a:pt x="227" y="68"/>
                    </a:lnTo>
                    <a:lnTo>
                      <a:pt x="210" y="117"/>
                    </a:lnTo>
                    <a:lnTo>
                      <a:pt x="193" y="166"/>
                    </a:lnTo>
                    <a:lnTo>
                      <a:pt x="177" y="214"/>
                    </a:lnTo>
                    <a:lnTo>
                      <a:pt x="162" y="263"/>
                    </a:lnTo>
                    <a:lnTo>
                      <a:pt x="146" y="310"/>
                    </a:lnTo>
                    <a:lnTo>
                      <a:pt x="133" y="359"/>
                    </a:lnTo>
                    <a:lnTo>
                      <a:pt x="121" y="406"/>
                    </a:lnTo>
                    <a:lnTo>
                      <a:pt x="109" y="455"/>
                    </a:lnTo>
                    <a:lnTo>
                      <a:pt x="97" y="502"/>
                    </a:lnTo>
                    <a:lnTo>
                      <a:pt x="87" y="550"/>
                    </a:lnTo>
                    <a:lnTo>
                      <a:pt x="77" y="598"/>
                    </a:lnTo>
                    <a:lnTo>
                      <a:pt x="69" y="646"/>
                    </a:lnTo>
                    <a:lnTo>
                      <a:pt x="61" y="693"/>
                    </a:lnTo>
                    <a:lnTo>
                      <a:pt x="54" y="741"/>
                    </a:lnTo>
                    <a:lnTo>
                      <a:pt x="47" y="788"/>
                    </a:lnTo>
                    <a:lnTo>
                      <a:pt x="42" y="836"/>
                    </a:lnTo>
                    <a:lnTo>
                      <a:pt x="37" y="883"/>
                    </a:lnTo>
                    <a:lnTo>
                      <a:pt x="34" y="931"/>
                    </a:lnTo>
                    <a:lnTo>
                      <a:pt x="31" y="978"/>
                    </a:lnTo>
                    <a:lnTo>
                      <a:pt x="29" y="1025"/>
                    </a:lnTo>
                    <a:lnTo>
                      <a:pt x="28" y="1072"/>
                    </a:lnTo>
                    <a:lnTo>
                      <a:pt x="27" y="1120"/>
                    </a:lnTo>
                    <a:lnTo>
                      <a:pt x="28" y="1167"/>
                    </a:lnTo>
                    <a:lnTo>
                      <a:pt x="29" y="1214"/>
                    </a:lnTo>
                    <a:lnTo>
                      <a:pt x="31" y="1261"/>
                    </a:lnTo>
                    <a:lnTo>
                      <a:pt x="33" y="1309"/>
                    </a:lnTo>
                    <a:lnTo>
                      <a:pt x="37" y="1356"/>
                    </a:lnTo>
                    <a:lnTo>
                      <a:pt x="42" y="1404"/>
                    </a:lnTo>
                    <a:lnTo>
                      <a:pt x="46" y="1450"/>
                    </a:lnTo>
                    <a:lnTo>
                      <a:pt x="53" y="1498"/>
                    </a:lnTo>
                    <a:lnTo>
                      <a:pt x="59" y="1545"/>
                    </a:lnTo>
                    <a:lnTo>
                      <a:pt x="59" y="1551"/>
                    </a:lnTo>
                    <a:lnTo>
                      <a:pt x="57" y="1555"/>
                    </a:lnTo>
                    <a:lnTo>
                      <a:pt x="54" y="1559"/>
                    </a:lnTo>
                    <a:lnTo>
                      <a:pt x="48" y="1560"/>
                    </a:lnTo>
                    <a:lnTo>
                      <a:pt x="47" y="1560"/>
                    </a:lnTo>
                    <a:lnTo>
                      <a:pt x="46" y="15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45"/>
              <p:cNvSpPr>
                <a:spLocks/>
              </p:cNvSpPr>
              <p:nvPr userDrawn="1"/>
            </p:nvSpPr>
            <p:spPr bwMode="auto">
              <a:xfrm>
                <a:off x="2509" y="2635"/>
                <a:ext cx="44" cy="462"/>
              </a:xfrm>
              <a:custGeom>
                <a:avLst/>
                <a:gdLst>
                  <a:gd name="T0" fmla="*/ 86 w 134"/>
                  <a:gd name="T1" fmla="*/ 1387 h 1388"/>
                  <a:gd name="T2" fmla="*/ 79 w 134"/>
                  <a:gd name="T3" fmla="*/ 1381 h 1388"/>
                  <a:gd name="T4" fmla="*/ 67 w 134"/>
                  <a:gd name="T5" fmla="*/ 1335 h 1388"/>
                  <a:gd name="T6" fmla="*/ 49 w 134"/>
                  <a:gd name="T7" fmla="*/ 1251 h 1388"/>
                  <a:gd name="T8" fmla="*/ 34 w 134"/>
                  <a:gd name="T9" fmla="*/ 1166 h 1388"/>
                  <a:gd name="T10" fmla="*/ 21 w 134"/>
                  <a:gd name="T11" fmla="*/ 1081 h 1388"/>
                  <a:gd name="T12" fmla="*/ 11 w 134"/>
                  <a:gd name="T13" fmla="*/ 997 h 1388"/>
                  <a:gd name="T14" fmla="*/ 5 w 134"/>
                  <a:gd name="T15" fmla="*/ 912 h 1388"/>
                  <a:gd name="T16" fmla="*/ 1 w 134"/>
                  <a:gd name="T17" fmla="*/ 828 h 1388"/>
                  <a:gd name="T18" fmla="*/ 0 w 134"/>
                  <a:gd name="T19" fmla="*/ 742 h 1388"/>
                  <a:gd name="T20" fmla="*/ 2 w 134"/>
                  <a:gd name="T21" fmla="*/ 657 h 1388"/>
                  <a:gd name="T22" fmla="*/ 7 w 134"/>
                  <a:gd name="T23" fmla="*/ 572 h 1388"/>
                  <a:gd name="T24" fmla="*/ 14 w 134"/>
                  <a:gd name="T25" fmla="*/ 487 h 1388"/>
                  <a:gd name="T26" fmla="*/ 25 w 134"/>
                  <a:gd name="T27" fmla="*/ 400 h 1388"/>
                  <a:gd name="T28" fmla="*/ 38 w 134"/>
                  <a:gd name="T29" fmla="*/ 315 h 1388"/>
                  <a:gd name="T30" fmla="*/ 54 w 134"/>
                  <a:gd name="T31" fmla="*/ 227 h 1388"/>
                  <a:gd name="T32" fmla="*/ 74 w 134"/>
                  <a:gd name="T33" fmla="*/ 141 h 1388"/>
                  <a:gd name="T34" fmla="*/ 95 w 134"/>
                  <a:gd name="T35" fmla="*/ 54 h 1388"/>
                  <a:gd name="T36" fmla="*/ 109 w 134"/>
                  <a:gd name="T37" fmla="*/ 5 h 1388"/>
                  <a:gd name="T38" fmla="*/ 119 w 134"/>
                  <a:gd name="T39" fmla="*/ 0 h 1388"/>
                  <a:gd name="T40" fmla="*/ 129 w 134"/>
                  <a:gd name="T41" fmla="*/ 3 h 1388"/>
                  <a:gd name="T42" fmla="*/ 134 w 134"/>
                  <a:gd name="T43" fmla="*/ 12 h 1388"/>
                  <a:gd name="T44" fmla="*/ 121 w 134"/>
                  <a:gd name="T45" fmla="*/ 60 h 1388"/>
                  <a:gd name="T46" fmla="*/ 100 w 134"/>
                  <a:gd name="T47" fmla="*/ 147 h 1388"/>
                  <a:gd name="T48" fmla="*/ 81 w 134"/>
                  <a:gd name="T49" fmla="*/ 233 h 1388"/>
                  <a:gd name="T50" fmla="*/ 65 w 134"/>
                  <a:gd name="T51" fmla="*/ 319 h 1388"/>
                  <a:gd name="T52" fmla="*/ 52 w 134"/>
                  <a:gd name="T53" fmla="*/ 405 h 1388"/>
                  <a:gd name="T54" fmla="*/ 41 w 134"/>
                  <a:gd name="T55" fmla="*/ 489 h 1388"/>
                  <a:gd name="T56" fmla="*/ 34 w 134"/>
                  <a:gd name="T57" fmla="*/ 574 h 1388"/>
                  <a:gd name="T58" fmla="*/ 29 w 134"/>
                  <a:gd name="T59" fmla="*/ 658 h 1388"/>
                  <a:gd name="T60" fmla="*/ 27 w 134"/>
                  <a:gd name="T61" fmla="*/ 742 h 1388"/>
                  <a:gd name="T62" fmla="*/ 28 w 134"/>
                  <a:gd name="T63" fmla="*/ 827 h 1388"/>
                  <a:gd name="T64" fmla="*/ 32 w 134"/>
                  <a:gd name="T65" fmla="*/ 911 h 1388"/>
                  <a:gd name="T66" fmla="*/ 38 w 134"/>
                  <a:gd name="T67" fmla="*/ 994 h 1388"/>
                  <a:gd name="T68" fmla="*/ 48 w 134"/>
                  <a:gd name="T69" fmla="*/ 1078 h 1388"/>
                  <a:gd name="T70" fmla="*/ 61 w 134"/>
                  <a:gd name="T71" fmla="*/ 1161 h 1388"/>
                  <a:gd name="T72" fmla="*/ 76 w 134"/>
                  <a:gd name="T73" fmla="*/ 1245 h 1388"/>
                  <a:gd name="T74" fmla="*/ 93 w 134"/>
                  <a:gd name="T75" fmla="*/ 1329 h 1388"/>
                  <a:gd name="T76" fmla="*/ 104 w 134"/>
                  <a:gd name="T77" fmla="*/ 1376 h 1388"/>
                  <a:gd name="T78" fmla="*/ 99 w 134"/>
                  <a:gd name="T79" fmla="*/ 1385 h 1388"/>
                  <a:gd name="T80" fmla="*/ 92 w 134"/>
                  <a:gd name="T81" fmla="*/ 1388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388">
                    <a:moveTo>
                      <a:pt x="90" y="1388"/>
                    </a:moveTo>
                    <a:lnTo>
                      <a:pt x="86" y="1387"/>
                    </a:lnTo>
                    <a:lnTo>
                      <a:pt x="82" y="1385"/>
                    </a:lnTo>
                    <a:lnTo>
                      <a:pt x="79" y="1381"/>
                    </a:lnTo>
                    <a:lnTo>
                      <a:pt x="77" y="1377"/>
                    </a:lnTo>
                    <a:lnTo>
                      <a:pt x="67" y="1335"/>
                    </a:lnTo>
                    <a:lnTo>
                      <a:pt x="58" y="1293"/>
                    </a:lnTo>
                    <a:lnTo>
                      <a:pt x="49" y="1251"/>
                    </a:lnTo>
                    <a:lnTo>
                      <a:pt x="41" y="1208"/>
                    </a:lnTo>
                    <a:lnTo>
                      <a:pt x="34" y="1166"/>
                    </a:lnTo>
                    <a:lnTo>
                      <a:pt x="27" y="1123"/>
                    </a:lnTo>
                    <a:lnTo>
                      <a:pt x="21" y="1081"/>
                    </a:lnTo>
                    <a:lnTo>
                      <a:pt x="16" y="1039"/>
                    </a:lnTo>
                    <a:lnTo>
                      <a:pt x="11" y="997"/>
                    </a:lnTo>
                    <a:lnTo>
                      <a:pt x="8" y="954"/>
                    </a:lnTo>
                    <a:lnTo>
                      <a:pt x="5" y="912"/>
                    </a:lnTo>
                    <a:lnTo>
                      <a:pt x="2" y="870"/>
                    </a:lnTo>
                    <a:lnTo>
                      <a:pt x="1" y="828"/>
                    </a:lnTo>
                    <a:lnTo>
                      <a:pt x="0" y="785"/>
                    </a:lnTo>
                    <a:lnTo>
                      <a:pt x="0" y="742"/>
                    </a:lnTo>
                    <a:lnTo>
                      <a:pt x="0" y="700"/>
                    </a:lnTo>
                    <a:lnTo>
                      <a:pt x="2" y="657"/>
                    </a:lnTo>
                    <a:lnTo>
                      <a:pt x="4" y="615"/>
                    </a:lnTo>
                    <a:lnTo>
                      <a:pt x="7" y="572"/>
                    </a:lnTo>
                    <a:lnTo>
                      <a:pt x="10" y="530"/>
                    </a:lnTo>
                    <a:lnTo>
                      <a:pt x="14" y="487"/>
                    </a:lnTo>
                    <a:lnTo>
                      <a:pt x="20" y="443"/>
                    </a:lnTo>
                    <a:lnTo>
                      <a:pt x="25" y="400"/>
                    </a:lnTo>
                    <a:lnTo>
                      <a:pt x="32" y="357"/>
                    </a:lnTo>
                    <a:lnTo>
                      <a:pt x="38" y="315"/>
                    </a:lnTo>
                    <a:lnTo>
                      <a:pt x="46" y="271"/>
                    </a:lnTo>
                    <a:lnTo>
                      <a:pt x="54" y="227"/>
                    </a:lnTo>
                    <a:lnTo>
                      <a:pt x="64" y="184"/>
                    </a:lnTo>
                    <a:lnTo>
                      <a:pt x="74" y="141"/>
                    </a:lnTo>
                    <a:lnTo>
                      <a:pt x="83" y="97"/>
                    </a:lnTo>
                    <a:lnTo>
                      <a:pt x="95" y="54"/>
                    </a:lnTo>
                    <a:lnTo>
                      <a:pt x="107" y="9"/>
                    </a:lnTo>
                    <a:lnTo>
                      <a:pt x="109" y="5"/>
                    </a:lnTo>
                    <a:lnTo>
                      <a:pt x="114" y="2"/>
                    </a:lnTo>
                    <a:lnTo>
                      <a:pt x="119" y="0"/>
                    </a:lnTo>
                    <a:lnTo>
                      <a:pt x="124" y="1"/>
                    </a:lnTo>
                    <a:lnTo>
                      <a:pt x="129" y="3"/>
                    </a:lnTo>
                    <a:lnTo>
                      <a:pt x="132" y="7"/>
                    </a:lnTo>
                    <a:lnTo>
                      <a:pt x="134" y="12"/>
                    </a:lnTo>
                    <a:lnTo>
                      <a:pt x="133" y="17"/>
                    </a:lnTo>
                    <a:lnTo>
                      <a:pt x="121" y="60"/>
                    </a:lnTo>
                    <a:lnTo>
                      <a:pt x="110" y="103"/>
                    </a:lnTo>
                    <a:lnTo>
                      <a:pt x="100" y="147"/>
                    </a:lnTo>
                    <a:lnTo>
                      <a:pt x="90" y="190"/>
                    </a:lnTo>
                    <a:lnTo>
                      <a:pt x="81" y="233"/>
                    </a:lnTo>
                    <a:lnTo>
                      <a:pt x="73" y="276"/>
                    </a:lnTo>
                    <a:lnTo>
                      <a:pt x="65" y="319"/>
                    </a:lnTo>
                    <a:lnTo>
                      <a:pt x="58" y="361"/>
                    </a:lnTo>
                    <a:lnTo>
                      <a:pt x="52" y="405"/>
                    </a:lnTo>
                    <a:lnTo>
                      <a:pt x="46" y="447"/>
                    </a:lnTo>
                    <a:lnTo>
                      <a:pt x="41" y="489"/>
                    </a:lnTo>
                    <a:lnTo>
                      <a:pt x="37" y="532"/>
                    </a:lnTo>
                    <a:lnTo>
                      <a:pt x="34" y="574"/>
                    </a:lnTo>
                    <a:lnTo>
                      <a:pt x="31" y="616"/>
                    </a:lnTo>
                    <a:lnTo>
                      <a:pt x="29" y="658"/>
                    </a:lnTo>
                    <a:lnTo>
                      <a:pt x="27" y="700"/>
                    </a:lnTo>
                    <a:lnTo>
                      <a:pt x="27" y="742"/>
                    </a:lnTo>
                    <a:lnTo>
                      <a:pt x="27" y="785"/>
                    </a:lnTo>
                    <a:lnTo>
                      <a:pt x="28" y="827"/>
                    </a:lnTo>
                    <a:lnTo>
                      <a:pt x="29" y="869"/>
                    </a:lnTo>
                    <a:lnTo>
                      <a:pt x="32" y="911"/>
                    </a:lnTo>
                    <a:lnTo>
                      <a:pt x="35" y="952"/>
                    </a:lnTo>
                    <a:lnTo>
                      <a:pt x="38" y="994"/>
                    </a:lnTo>
                    <a:lnTo>
                      <a:pt x="42" y="1036"/>
                    </a:lnTo>
                    <a:lnTo>
                      <a:pt x="48" y="1078"/>
                    </a:lnTo>
                    <a:lnTo>
                      <a:pt x="54" y="1120"/>
                    </a:lnTo>
                    <a:lnTo>
                      <a:pt x="61" y="1161"/>
                    </a:lnTo>
                    <a:lnTo>
                      <a:pt x="67" y="1203"/>
                    </a:lnTo>
                    <a:lnTo>
                      <a:pt x="76" y="1245"/>
                    </a:lnTo>
                    <a:lnTo>
                      <a:pt x="83" y="1288"/>
                    </a:lnTo>
                    <a:lnTo>
                      <a:pt x="93" y="1329"/>
                    </a:lnTo>
                    <a:lnTo>
                      <a:pt x="103" y="1371"/>
                    </a:lnTo>
                    <a:lnTo>
                      <a:pt x="104" y="1376"/>
                    </a:lnTo>
                    <a:lnTo>
                      <a:pt x="102" y="1381"/>
                    </a:lnTo>
                    <a:lnTo>
                      <a:pt x="99" y="1385"/>
                    </a:lnTo>
                    <a:lnTo>
                      <a:pt x="93" y="1387"/>
                    </a:lnTo>
                    <a:lnTo>
                      <a:pt x="92" y="1388"/>
                    </a:lnTo>
                    <a:lnTo>
                      <a:pt x="9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46"/>
              <p:cNvSpPr>
                <a:spLocks/>
              </p:cNvSpPr>
              <p:nvPr userDrawn="1"/>
            </p:nvSpPr>
            <p:spPr bwMode="auto">
              <a:xfrm>
                <a:off x="2543" y="2681"/>
                <a:ext cx="55" cy="411"/>
              </a:xfrm>
              <a:custGeom>
                <a:avLst/>
                <a:gdLst>
                  <a:gd name="T0" fmla="*/ 150 w 164"/>
                  <a:gd name="T1" fmla="*/ 1233 h 1233"/>
                  <a:gd name="T2" fmla="*/ 146 w 164"/>
                  <a:gd name="T3" fmla="*/ 1232 h 1233"/>
                  <a:gd name="T4" fmla="*/ 142 w 164"/>
                  <a:gd name="T5" fmla="*/ 1230 h 1233"/>
                  <a:gd name="T6" fmla="*/ 139 w 164"/>
                  <a:gd name="T7" fmla="*/ 1226 h 1233"/>
                  <a:gd name="T8" fmla="*/ 137 w 164"/>
                  <a:gd name="T9" fmla="*/ 1222 h 1233"/>
                  <a:gd name="T10" fmla="*/ 114 w 164"/>
                  <a:gd name="T11" fmla="*/ 1138 h 1233"/>
                  <a:gd name="T12" fmla="*/ 93 w 164"/>
                  <a:gd name="T13" fmla="*/ 1055 h 1233"/>
                  <a:gd name="T14" fmla="*/ 74 w 164"/>
                  <a:gd name="T15" fmla="*/ 972 h 1233"/>
                  <a:gd name="T16" fmla="*/ 57 w 164"/>
                  <a:gd name="T17" fmla="*/ 891 h 1233"/>
                  <a:gd name="T18" fmla="*/ 43 w 164"/>
                  <a:gd name="T19" fmla="*/ 811 h 1233"/>
                  <a:gd name="T20" fmla="*/ 30 w 164"/>
                  <a:gd name="T21" fmla="*/ 732 h 1233"/>
                  <a:gd name="T22" fmla="*/ 20 w 164"/>
                  <a:gd name="T23" fmla="*/ 654 h 1233"/>
                  <a:gd name="T24" fmla="*/ 12 w 164"/>
                  <a:gd name="T25" fmla="*/ 578 h 1233"/>
                  <a:gd name="T26" fmla="*/ 5 w 164"/>
                  <a:gd name="T27" fmla="*/ 502 h 1233"/>
                  <a:gd name="T28" fmla="*/ 2 w 164"/>
                  <a:gd name="T29" fmla="*/ 429 h 1233"/>
                  <a:gd name="T30" fmla="*/ 0 w 164"/>
                  <a:gd name="T31" fmla="*/ 355 h 1233"/>
                  <a:gd name="T32" fmla="*/ 0 w 164"/>
                  <a:gd name="T33" fmla="*/ 284 h 1233"/>
                  <a:gd name="T34" fmla="*/ 1 w 164"/>
                  <a:gd name="T35" fmla="*/ 248 h 1233"/>
                  <a:gd name="T36" fmla="*/ 3 w 164"/>
                  <a:gd name="T37" fmla="*/ 214 h 1233"/>
                  <a:gd name="T38" fmla="*/ 5 w 164"/>
                  <a:gd name="T39" fmla="*/ 179 h 1233"/>
                  <a:gd name="T40" fmla="*/ 7 w 164"/>
                  <a:gd name="T41" fmla="*/ 145 h 1233"/>
                  <a:gd name="T42" fmla="*/ 11 w 164"/>
                  <a:gd name="T43" fmla="*/ 111 h 1233"/>
                  <a:gd name="T44" fmla="*/ 14 w 164"/>
                  <a:gd name="T45" fmla="*/ 78 h 1233"/>
                  <a:gd name="T46" fmla="*/ 18 w 164"/>
                  <a:gd name="T47" fmla="*/ 44 h 1233"/>
                  <a:gd name="T48" fmla="*/ 24 w 164"/>
                  <a:gd name="T49" fmla="*/ 11 h 1233"/>
                  <a:gd name="T50" fmla="*/ 25 w 164"/>
                  <a:gd name="T51" fmla="*/ 7 h 1233"/>
                  <a:gd name="T52" fmla="*/ 29 w 164"/>
                  <a:gd name="T53" fmla="*/ 2 h 1233"/>
                  <a:gd name="T54" fmla="*/ 33 w 164"/>
                  <a:gd name="T55" fmla="*/ 0 h 1233"/>
                  <a:gd name="T56" fmla="*/ 39 w 164"/>
                  <a:gd name="T57" fmla="*/ 0 h 1233"/>
                  <a:gd name="T58" fmla="*/ 44 w 164"/>
                  <a:gd name="T59" fmla="*/ 2 h 1233"/>
                  <a:gd name="T60" fmla="*/ 47 w 164"/>
                  <a:gd name="T61" fmla="*/ 5 h 1233"/>
                  <a:gd name="T62" fmla="*/ 50 w 164"/>
                  <a:gd name="T63" fmla="*/ 10 h 1233"/>
                  <a:gd name="T64" fmla="*/ 50 w 164"/>
                  <a:gd name="T65" fmla="*/ 15 h 1233"/>
                  <a:gd name="T66" fmla="*/ 45 w 164"/>
                  <a:gd name="T67" fmla="*/ 48 h 1233"/>
                  <a:gd name="T68" fmla="*/ 41 w 164"/>
                  <a:gd name="T69" fmla="*/ 81 h 1233"/>
                  <a:gd name="T70" fmla="*/ 38 w 164"/>
                  <a:gd name="T71" fmla="*/ 114 h 1233"/>
                  <a:gd name="T72" fmla="*/ 34 w 164"/>
                  <a:gd name="T73" fmla="*/ 148 h 1233"/>
                  <a:gd name="T74" fmla="*/ 32 w 164"/>
                  <a:gd name="T75" fmla="*/ 181 h 1233"/>
                  <a:gd name="T76" fmla="*/ 30 w 164"/>
                  <a:gd name="T77" fmla="*/ 216 h 1233"/>
                  <a:gd name="T78" fmla="*/ 28 w 164"/>
                  <a:gd name="T79" fmla="*/ 250 h 1233"/>
                  <a:gd name="T80" fmla="*/ 27 w 164"/>
                  <a:gd name="T81" fmla="*/ 285 h 1233"/>
                  <a:gd name="T82" fmla="*/ 27 w 164"/>
                  <a:gd name="T83" fmla="*/ 356 h 1233"/>
                  <a:gd name="T84" fmla="*/ 29 w 164"/>
                  <a:gd name="T85" fmla="*/ 428 h 1233"/>
                  <a:gd name="T86" fmla="*/ 32 w 164"/>
                  <a:gd name="T87" fmla="*/ 501 h 1233"/>
                  <a:gd name="T88" fmla="*/ 39 w 164"/>
                  <a:gd name="T89" fmla="*/ 575 h 1233"/>
                  <a:gd name="T90" fmla="*/ 47 w 164"/>
                  <a:gd name="T91" fmla="*/ 652 h 1233"/>
                  <a:gd name="T92" fmla="*/ 57 w 164"/>
                  <a:gd name="T93" fmla="*/ 729 h 1233"/>
                  <a:gd name="T94" fmla="*/ 70 w 164"/>
                  <a:gd name="T95" fmla="*/ 806 h 1233"/>
                  <a:gd name="T96" fmla="*/ 84 w 164"/>
                  <a:gd name="T97" fmla="*/ 886 h 1233"/>
                  <a:gd name="T98" fmla="*/ 100 w 164"/>
                  <a:gd name="T99" fmla="*/ 967 h 1233"/>
                  <a:gd name="T100" fmla="*/ 120 w 164"/>
                  <a:gd name="T101" fmla="*/ 1048 h 1233"/>
                  <a:gd name="T102" fmla="*/ 140 w 164"/>
                  <a:gd name="T103" fmla="*/ 1131 h 1233"/>
                  <a:gd name="T104" fmla="*/ 163 w 164"/>
                  <a:gd name="T105" fmla="*/ 1216 h 1233"/>
                  <a:gd name="T106" fmla="*/ 164 w 164"/>
                  <a:gd name="T107" fmla="*/ 1221 h 1233"/>
                  <a:gd name="T108" fmla="*/ 162 w 164"/>
                  <a:gd name="T109" fmla="*/ 1225 h 1233"/>
                  <a:gd name="T110" fmla="*/ 159 w 164"/>
                  <a:gd name="T111" fmla="*/ 1230 h 1233"/>
                  <a:gd name="T112" fmla="*/ 154 w 164"/>
                  <a:gd name="T113" fmla="*/ 1232 h 1233"/>
                  <a:gd name="T114" fmla="*/ 152 w 164"/>
                  <a:gd name="T115" fmla="*/ 1232 h 1233"/>
                  <a:gd name="T116" fmla="*/ 150 w 164"/>
                  <a:gd name="T117" fmla="*/ 1233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233">
                    <a:moveTo>
                      <a:pt x="150" y="1233"/>
                    </a:moveTo>
                    <a:lnTo>
                      <a:pt x="146" y="1232"/>
                    </a:lnTo>
                    <a:lnTo>
                      <a:pt x="142" y="1230"/>
                    </a:lnTo>
                    <a:lnTo>
                      <a:pt x="139" y="1226"/>
                    </a:lnTo>
                    <a:lnTo>
                      <a:pt x="137" y="1222"/>
                    </a:lnTo>
                    <a:lnTo>
                      <a:pt x="114" y="1138"/>
                    </a:lnTo>
                    <a:lnTo>
                      <a:pt x="93" y="1055"/>
                    </a:lnTo>
                    <a:lnTo>
                      <a:pt x="74" y="972"/>
                    </a:lnTo>
                    <a:lnTo>
                      <a:pt x="57" y="891"/>
                    </a:lnTo>
                    <a:lnTo>
                      <a:pt x="43" y="811"/>
                    </a:lnTo>
                    <a:lnTo>
                      <a:pt x="30" y="732"/>
                    </a:lnTo>
                    <a:lnTo>
                      <a:pt x="20" y="654"/>
                    </a:lnTo>
                    <a:lnTo>
                      <a:pt x="12" y="578"/>
                    </a:lnTo>
                    <a:lnTo>
                      <a:pt x="5" y="502"/>
                    </a:lnTo>
                    <a:lnTo>
                      <a:pt x="2" y="429"/>
                    </a:lnTo>
                    <a:lnTo>
                      <a:pt x="0" y="355"/>
                    </a:lnTo>
                    <a:lnTo>
                      <a:pt x="0" y="284"/>
                    </a:lnTo>
                    <a:lnTo>
                      <a:pt x="1" y="248"/>
                    </a:lnTo>
                    <a:lnTo>
                      <a:pt x="3" y="214"/>
                    </a:lnTo>
                    <a:lnTo>
                      <a:pt x="5" y="179"/>
                    </a:lnTo>
                    <a:lnTo>
                      <a:pt x="7" y="145"/>
                    </a:lnTo>
                    <a:lnTo>
                      <a:pt x="11" y="111"/>
                    </a:lnTo>
                    <a:lnTo>
                      <a:pt x="14" y="78"/>
                    </a:lnTo>
                    <a:lnTo>
                      <a:pt x="18" y="44"/>
                    </a:lnTo>
                    <a:lnTo>
                      <a:pt x="24" y="11"/>
                    </a:lnTo>
                    <a:lnTo>
                      <a:pt x="25" y="7"/>
                    </a:lnTo>
                    <a:lnTo>
                      <a:pt x="29" y="2"/>
                    </a:lnTo>
                    <a:lnTo>
                      <a:pt x="33" y="0"/>
                    </a:lnTo>
                    <a:lnTo>
                      <a:pt x="39" y="0"/>
                    </a:lnTo>
                    <a:lnTo>
                      <a:pt x="44" y="2"/>
                    </a:lnTo>
                    <a:lnTo>
                      <a:pt x="47" y="5"/>
                    </a:lnTo>
                    <a:lnTo>
                      <a:pt x="50" y="10"/>
                    </a:lnTo>
                    <a:lnTo>
                      <a:pt x="50" y="15"/>
                    </a:lnTo>
                    <a:lnTo>
                      <a:pt x="45" y="48"/>
                    </a:lnTo>
                    <a:lnTo>
                      <a:pt x="41" y="81"/>
                    </a:lnTo>
                    <a:lnTo>
                      <a:pt x="38" y="114"/>
                    </a:lnTo>
                    <a:lnTo>
                      <a:pt x="34" y="148"/>
                    </a:lnTo>
                    <a:lnTo>
                      <a:pt x="32" y="181"/>
                    </a:lnTo>
                    <a:lnTo>
                      <a:pt x="30" y="216"/>
                    </a:lnTo>
                    <a:lnTo>
                      <a:pt x="28" y="250"/>
                    </a:lnTo>
                    <a:lnTo>
                      <a:pt x="27" y="285"/>
                    </a:lnTo>
                    <a:lnTo>
                      <a:pt x="27" y="356"/>
                    </a:lnTo>
                    <a:lnTo>
                      <a:pt x="29" y="428"/>
                    </a:lnTo>
                    <a:lnTo>
                      <a:pt x="32" y="501"/>
                    </a:lnTo>
                    <a:lnTo>
                      <a:pt x="39" y="575"/>
                    </a:lnTo>
                    <a:lnTo>
                      <a:pt x="47" y="652"/>
                    </a:lnTo>
                    <a:lnTo>
                      <a:pt x="57" y="729"/>
                    </a:lnTo>
                    <a:lnTo>
                      <a:pt x="70" y="806"/>
                    </a:lnTo>
                    <a:lnTo>
                      <a:pt x="84" y="886"/>
                    </a:lnTo>
                    <a:lnTo>
                      <a:pt x="100" y="967"/>
                    </a:lnTo>
                    <a:lnTo>
                      <a:pt x="120" y="1048"/>
                    </a:lnTo>
                    <a:lnTo>
                      <a:pt x="140" y="1131"/>
                    </a:lnTo>
                    <a:lnTo>
                      <a:pt x="163" y="1216"/>
                    </a:lnTo>
                    <a:lnTo>
                      <a:pt x="164" y="1221"/>
                    </a:lnTo>
                    <a:lnTo>
                      <a:pt x="162" y="1225"/>
                    </a:lnTo>
                    <a:lnTo>
                      <a:pt x="159" y="1230"/>
                    </a:lnTo>
                    <a:lnTo>
                      <a:pt x="154" y="1232"/>
                    </a:lnTo>
                    <a:lnTo>
                      <a:pt x="152" y="1232"/>
                    </a:lnTo>
                    <a:lnTo>
                      <a:pt x="150" y="1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47"/>
              <p:cNvSpPr>
                <a:spLocks noEditPoints="1"/>
              </p:cNvSpPr>
              <p:nvPr userDrawn="1"/>
            </p:nvSpPr>
            <p:spPr bwMode="auto">
              <a:xfrm>
                <a:off x="2394" y="1869"/>
                <a:ext cx="221" cy="84"/>
              </a:xfrm>
              <a:custGeom>
                <a:avLst/>
                <a:gdLst>
                  <a:gd name="T0" fmla="*/ 10 w 663"/>
                  <a:gd name="T1" fmla="*/ 250 h 253"/>
                  <a:gd name="T2" fmla="*/ 0 w 663"/>
                  <a:gd name="T3" fmla="*/ 233 h 253"/>
                  <a:gd name="T4" fmla="*/ 6 w 663"/>
                  <a:gd name="T5" fmla="*/ 214 h 253"/>
                  <a:gd name="T6" fmla="*/ 63 w 663"/>
                  <a:gd name="T7" fmla="*/ 163 h 253"/>
                  <a:gd name="T8" fmla="*/ 138 w 663"/>
                  <a:gd name="T9" fmla="*/ 101 h 253"/>
                  <a:gd name="T10" fmla="*/ 208 w 663"/>
                  <a:gd name="T11" fmla="*/ 53 h 253"/>
                  <a:gd name="T12" fmla="*/ 253 w 663"/>
                  <a:gd name="T13" fmla="*/ 33 h 253"/>
                  <a:gd name="T14" fmla="*/ 301 w 663"/>
                  <a:gd name="T15" fmla="*/ 18 h 253"/>
                  <a:gd name="T16" fmla="*/ 380 w 663"/>
                  <a:gd name="T17" fmla="*/ 3 h 253"/>
                  <a:gd name="T18" fmla="*/ 455 w 663"/>
                  <a:gd name="T19" fmla="*/ 1 h 253"/>
                  <a:gd name="T20" fmla="*/ 501 w 663"/>
                  <a:gd name="T21" fmla="*/ 7 h 253"/>
                  <a:gd name="T22" fmla="*/ 542 w 663"/>
                  <a:gd name="T23" fmla="*/ 22 h 253"/>
                  <a:gd name="T24" fmla="*/ 577 w 663"/>
                  <a:gd name="T25" fmla="*/ 47 h 253"/>
                  <a:gd name="T26" fmla="*/ 608 w 663"/>
                  <a:gd name="T27" fmla="*/ 79 h 253"/>
                  <a:gd name="T28" fmla="*/ 633 w 663"/>
                  <a:gd name="T29" fmla="*/ 120 h 253"/>
                  <a:gd name="T30" fmla="*/ 654 w 663"/>
                  <a:gd name="T31" fmla="*/ 171 h 253"/>
                  <a:gd name="T32" fmla="*/ 663 w 663"/>
                  <a:gd name="T33" fmla="*/ 197 h 253"/>
                  <a:gd name="T34" fmla="*/ 655 w 663"/>
                  <a:gd name="T35" fmla="*/ 209 h 253"/>
                  <a:gd name="T36" fmla="*/ 649 w 663"/>
                  <a:gd name="T37" fmla="*/ 210 h 253"/>
                  <a:gd name="T38" fmla="*/ 626 w 663"/>
                  <a:gd name="T39" fmla="*/ 205 h 253"/>
                  <a:gd name="T40" fmla="*/ 577 w 663"/>
                  <a:gd name="T41" fmla="*/ 186 h 253"/>
                  <a:gd name="T42" fmla="*/ 526 w 663"/>
                  <a:gd name="T43" fmla="*/ 168 h 253"/>
                  <a:gd name="T44" fmla="*/ 460 w 663"/>
                  <a:gd name="T45" fmla="*/ 154 h 253"/>
                  <a:gd name="T46" fmla="*/ 401 w 663"/>
                  <a:gd name="T47" fmla="*/ 151 h 253"/>
                  <a:gd name="T48" fmla="*/ 356 w 663"/>
                  <a:gd name="T49" fmla="*/ 154 h 253"/>
                  <a:gd name="T50" fmla="*/ 282 w 663"/>
                  <a:gd name="T51" fmla="*/ 168 h 253"/>
                  <a:gd name="T52" fmla="*/ 204 w 663"/>
                  <a:gd name="T53" fmla="*/ 190 h 253"/>
                  <a:gd name="T54" fmla="*/ 64 w 663"/>
                  <a:gd name="T55" fmla="*/ 238 h 253"/>
                  <a:gd name="T56" fmla="*/ 22 w 663"/>
                  <a:gd name="T57" fmla="*/ 253 h 253"/>
                  <a:gd name="T58" fmla="*/ 409 w 663"/>
                  <a:gd name="T59" fmla="*/ 28 h 253"/>
                  <a:gd name="T60" fmla="*/ 321 w 663"/>
                  <a:gd name="T61" fmla="*/ 41 h 253"/>
                  <a:gd name="T62" fmla="*/ 247 w 663"/>
                  <a:gd name="T63" fmla="*/ 64 h 253"/>
                  <a:gd name="T64" fmla="*/ 208 w 663"/>
                  <a:gd name="T65" fmla="*/ 85 h 253"/>
                  <a:gd name="T66" fmla="*/ 138 w 663"/>
                  <a:gd name="T67" fmla="*/ 134 h 253"/>
                  <a:gd name="T68" fmla="*/ 75 w 663"/>
                  <a:gd name="T69" fmla="*/ 187 h 253"/>
                  <a:gd name="T70" fmla="*/ 81 w 663"/>
                  <a:gd name="T71" fmla="*/ 204 h 253"/>
                  <a:gd name="T72" fmla="*/ 220 w 663"/>
                  <a:gd name="T73" fmla="*/ 156 h 253"/>
                  <a:gd name="T74" fmla="*/ 291 w 663"/>
                  <a:gd name="T75" fmla="*/ 138 h 253"/>
                  <a:gd name="T76" fmla="*/ 358 w 663"/>
                  <a:gd name="T77" fmla="*/ 126 h 253"/>
                  <a:gd name="T78" fmla="*/ 432 w 663"/>
                  <a:gd name="T79" fmla="*/ 125 h 253"/>
                  <a:gd name="T80" fmla="*/ 512 w 663"/>
                  <a:gd name="T81" fmla="*/ 137 h 253"/>
                  <a:gd name="T82" fmla="*/ 569 w 663"/>
                  <a:gd name="T83" fmla="*/ 155 h 253"/>
                  <a:gd name="T84" fmla="*/ 607 w 663"/>
                  <a:gd name="T85" fmla="*/ 169 h 253"/>
                  <a:gd name="T86" fmla="*/ 623 w 663"/>
                  <a:gd name="T87" fmla="*/ 163 h 253"/>
                  <a:gd name="T88" fmla="*/ 604 w 663"/>
                  <a:gd name="T89" fmla="*/ 123 h 253"/>
                  <a:gd name="T90" fmla="*/ 582 w 663"/>
                  <a:gd name="T91" fmla="*/ 90 h 253"/>
                  <a:gd name="T92" fmla="*/ 556 w 663"/>
                  <a:gd name="T93" fmla="*/ 64 h 253"/>
                  <a:gd name="T94" fmla="*/ 527 w 663"/>
                  <a:gd name="T95" fmla="*/ 46 h 253"/>
                  <a:gd name="T96" fmla="*/ 493 w 663"/>
                  <a:gd name="T97" fmla="*/ 33 h 253"/>
                  <a:gd name="T98" fmla="*/ 453 w 663"/>
                  <a:gd name="T99" fmla="*/ 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3" h="253">
                    <a:moveTo>
                      <a:pt x="22" y="253"/>
                    </a:moveTo>
                    <a:lnTo>
                      <a:pt x="15" y="252"/>
                    </a:lnTo>
                    <a:lnTo>
                      <a:pt x="10" y="250"/>
                    </a:lnTo>
                    <a:lnTo>
                      <a:pt x="4" y="245"/>
                    </a:lnTo>
                    <a:lnTo>
                      <a:pt x="1" y="239"/>
                    </a:lnTo>
                    <a:lnTo>
                      <a:pt x="0" y="233"/>
                    </a:lnTo>
                    <a:lnTo>
                      <a:pt x="0" y="226"/>
                    </a:lnTo>
                    <a:lnTo>
                      <a:pt x="2" y="220"/>
                    </a:lnTo>
                    <a:lnTo>
                      <a:pt x="6" y="214"/>
                    </a:lnTo>
                    <a:lnTo>
                      <a:pt x="23" y="199"/>
                    </a:lnTo>
                    <a:lnTo>
                      <a:pt x="41" y="182"/>
                    </a:lnTo>
                    <a:lnTo>
                      <a:pt x="63" y="163"/>
                    </a:lnTo>
                    <a:lnTo>
                      <a:pt x="86" y="142"/>
                    </a:lnTo>
                    <a:lnTo>
                      <a:pt x="111" y="121"/>
                    </a:lnTo>
                    <a:lnTo>
                      <a:pt x="138" y="101"/>
                    </a:lnTo>
                    <a:lnTo>
                      <a:pt x="166" y="80"/>
                    </a:lnTo>
                    <a:lnTo>
                      <a:pt x="194" y="61"/>
                    </a:lnTo>
                    <a:lnTo>
                      <a:pt x="208" y="53"/>
                    </a:lnTo>
                    <a:lnTo>
                      <a:pt x="222" y="46"/>
                    </a:lnTo>
                    <a:lnTo>
                      <a:pt x="237" y="39"/>
                    </a:lnTo>
                    <a:lnTo>
                      <a:pt x="253" y="33"/>
                    </a:lnTo>
                    <a:lnTo>
                      <a:pt x="269" y="28"/>
                    </a:lnTo>
                    <a:lnTo>
                      <a:pt x="285" y="22"/>
                    </a:lnTo>
                    <a:lnTo>
                      <a:pt x="301" y="18"/>
                    </a:lnTo>
                    <a:lnTo>
                      <a:pt x="317" y="14"/>
                    </a:lnTo>
                    <a:lnTo>
                      <a:pt x="349" y="7"/>
                    </a:lnTo>
                    <a:lnTo>
                      <a:pt x="380" y="3"/>
                    </a:lnTo>
                    <a:lnTo>
                      <a:pt x="409" y="1"/>
                    </a:lnTo>
                    <a:lnTo>
                      <a:pt x="436" y="0"/>
                    </a:lnTo>
                    <a:lnTo>
                      <a:pt x="455" y="1"/>
                    </a:lnTo>
                    <a:lnTo>
                      <a:pt x="472" y="2"/>
                    </a:lnTo>
                    <a:lnTo>
                      <a:pt x="488" y="4"/>
                    </a:lnTo>
                    <a:lnTo>
                      <a:pt x="501" y="7"/>
                    </a:lnTo>
                    <a:lnTo>
                      <a:pt x="515" y="11"/>
                    </a:lnTo>
                    <a:lnTo>
                      <a:pt x="529" y="17"/>
                    </a:lnTo>
                    <a:lnTo>
                      <a:pt x="542" y="22"/>
                    </a:lnTo>
                    <a:lnTo>
                      <a:pt x="554" y="30"/>
                    </a:lnTo>
                    <a:lnTo>
                      <a:pt x="566" y="37"/>
                    </a:lnTo>
                    <a:lnTo>
                      <a:pt x="577" y="47"/>
                    </a:lnTo>
                    <a:lnTo>
                      <a:pt x="587" y="57"/>
                    </a:lnTo>
                    <a:lnTo>
                      <a:pt x="598" y="68"/>
                    </a:lnTo>
                    <a:lnTo>
                      <a:pt x="608" y="79"/>
                    </a:lnTo>
                    <a:lnTo>
                      <a:pt x="616" y="92"/>
                    </a:lnTo>
                    <a:lnTo>
                      <a:pt x="625" y="105"/>
                    </a:lnTo>
                    <a:lnTo>
                      <a:pt x="633" y="120"/>
                    </a:lnTo>
                    <a:lnTo>
                      <a:pt x="641" y="137"/>
                    </a:lnTo>
                    <a:lnTo>
                      <a:pt x="648" y="153"/>
                    </a:lnTo>
                    <a:lnTo>
                      <a:pt x="654" y="171"/>
                    </a:lnTo>
                    <a:lnTo>
                      <a:pt x="661" y="190"/>
                    </a:lnTo>
                    <a:lnTo>
                      <a:pt x="663" y="193"/>
                    </a:lnTo>
                    <a:lnTo>
                      <a:pt x="663" y="197"/>
                    </a:lnTo>
                    <a:lnTo>
                      <a:pt x="662" y="202"/>
                    </a:lnTo>
                    <a:lnTo>
                      <a:pt x="660" y="207"/>
                    </a:lnTo>
                    <a:lnTo>
                      <a:pt x="655" y="209"/>
                    </a:lnTo>
                    <a:lnTo>
                      <a:pt x="650" y="210"/>
                    </a:lnTo>
                    <a:lnTo>
                      <a:pt x="649" y="210"/>
                    </a:lnTo>
                    <a:lnTo>
                      <a:pt x="649" y="210"/>
                    </a:lnTo>
                    <a:lnTo>
                      <a:pt x="648" y="210"/>
                    </a:lnTo>
                    <a:lnTo>
                      <a:pt x="646" y="210"/>
                    </a:lnTo>
                    <a:lnTo>
                      <a:pt x="626" y="205"/>
                    </a:lnTo>
                    <a:lnTo>
                      <a:pt x="609" y="199"/>
                    </a:lnTo>
                    <a:lnTo>
                      <a:pt x="592" y="193"/>
                    </a:lnTo>
                    <a:lnTo>
                      <a:pt x="577" y="186"/>
                    </a:lnTo>
                    <a:lnTo>
                      <a:pt x="560" y="180"/>
                    </a:lnTo>
                    <a:lnTo>
                      <a:pt x="544" y="173"/>
                    </a:lnTo>
                    <a:lnTo>
                      <a:pt x="526" y="168"/>
                    </a:lnTo>
                    <a:lnTo>
                      <a:pt x="506" y="163"/>
                    </a:lnTo>
                    <a:lnTo>
                      <a:pt x="485" y="158"/>
                    </a:lnTo>
                    <a:lnTo>
                      <a:pt x="460" y="154"/>
                    </a:lnTo>
                    <a:lnTo>
                      <a:pt x="432" y="152"/>
                    </a:lnTo>
                    <a:lnTo>
                      <a:pt x="401" y="151"/>
                    </a:lnTo>
                    <a:lnTo>
                      <a:pt x="401" y="151"/>
                    </a:lnTo>
                    <a:lnTo>
                      <a:pt x="401" y="151"/>
                    </a:lnTo>
                    <a:lnTo>
                      <a:pt x="379" y="152"/>
                    </a:lnTo>
                    <a:lnTo>
                      <a:pt x="356" y="154"/>
                    </a:lnTo>
                    <a:lnTo>
                      <a:pt x="332" y="157"/>
                    </a:lnTo>
                    <a:lnTo>
                      <a:pt x="308" y="163"/>
                    </a:lnTo>
                    <a:lnTo>
                      <a:pt x="282" y="168"/>
                    </a:lnTo>
                    <a:lnTo>
                      <a:pt x="256" y="174"/>
                    </a:lnTo>
                    <a:lnTo>
                      <a:pt x="230" y="182"/>
                    </a:lnTo>
                    <a:lnTo>
                      <a:pt x="204" y="190"/>
                    </a:lnTo>
                    <a:lnTo>
                      <a:pt x="152" y="207"/>
                    </a:lnTo>
                    <a:lnTo>
                      <a:pt x="105" y="223"/>
                    </a:lnTo>
                    <a:lnTo>
                      <a:pt x="64" y="238"/>
                    </a:lnTo>
                    <a:lnTo>
                      <a:pt x="30" y="252"/>
                    </a:lnTo>
                    <a:lnTo>
                      <a:pt x="26" y="253"/>
                    </a:lnTo>
                    <a:lnTo>
                      <a:pt x="22" y="253"/>
                    </a:lnTo>
                    <a:close/>
                    <a:moveTo>
                      <a:pt x="436" y="27"/>
                    </a:moveTo>
                    <a:lnTo>
                      <a:pt x="436" y="27"/>
                    </a:lnTo>
                    <a:lnTo>
                      <a:pt x="409" y="28"/>
                    </a:lnTo>
                    <a:lnTo>
                      <a:pt x="380" y="31"/>
                    </a:lnTo>
                    <a:lnTo>
                      <a:pt x="351" y="35"/>
                    </a:lnTo>
                    <a:lnTo>
                      <a:pt x="321" y="41"/>
                    </a:lnTo>
                    <a:lnTo>
                      <a:pt x="290" y="49"/>
                    </a:lnTo>
                    <a:lnTo>
                      <a:pt x="261" y="59"/>
                    </a:lnTo>
                    <a:lnTo>
                      <a:pt x="247" y="64"/>
                    </a:lnTo>
                    <a:lnTo>
                      <a:pt x="233" y="71"/>
                    </a:lnTo>
                    <a:lnTo>
                      <a:pt x="221" y="77"/>
                    </a:lnTo>
                    <a:lnTo>
                      <a:pt x="208" y="85"/>
                    </a:lnTo>
                    <a:lnTo>
                      <a:pt x="185" y="100"/>
                    </a:lnTo>
                    <a:lnTo>
                      <a:pt x="161" y="117"/>
                    </a:lnTo>
                    <a:lnTo>
                      <a:pt x="138" y="134"/>
                    </a:lnTo>
                    <a:lnTo>
                      <a:pt x="115" y="153"/>
                    </a:lnTo>
                    <a:lnTo>
                      <a:pt x="95" y="170"/>
                    </a:lnTo>
                    <a:lnTo>
                      <a:pt x="75" y="187"/>
                    </a:lnTo>
                    <a:lnTo>
                      <a:pt x="57" y="204"/>
                    </a:lnTo>
                    <a:lnTo>
                      <a:pt x="42" y="219"/>
                    </a:lnTo>
                    <a:lnTo>
                      <a:pt x="81" y="204"/>
                    </a:lnTo>
                    <a:lnTo>
                      <a:pt x="125" y="187"/>
                    </a:lnTo>
                    <a:lnTo>
                      <a:pt x="172" y="171"/>
                    </a:lnTo>
                    <a:lnTo>
                      <a:pt x="220" y="156"/>
                    </a:lnTo>
                    <a:lnTo>
                      <a:pt x="244" y="150"/>
                    </a:lnTo>
                    <a:lnTo>
                      <a:pt x="268" y="143"/>
                    </a:lnTo>
                    <a:lnTo>
                      <a:pt x="291" y="138"/>
                    </a:lnTo>
                    <a:lnTo>
                      <a:pt x="315" y="133"/>
                    </a:lnTo>
                    <a:lnTo>
                      <a:pt x="337" y="129"/>
                    </a:lnTo>
                    <a:lnTo>
                      <a:pt x="358" y="126"/>
                    </a:lnTo>
                    <a:lnTo>
                      <a:pt x="379" y="125"/>
                    </a:lnTo>
                    <a:lnTo>
                      <a:pt x="397" y="124"/>
                    </a:lnTo>
                    <a:lnTo>
                      <a:pt x="432" y="125"/>
                    </a:lnTo>
                    <a:lnTo>
                      <a:pt x="462" y="128"/>
                    </a:lnTo>
                    <a:lnTo>
                      <a:pt x="489" y="131"/>
                    </a:lnTo>
                    <a:lnTo>
                      <a:pt x="512" y="137"/>
                    </a:lnTo>
                    <a:lnTo>
                      <a:pt x="533" y="142"/>
                    </a:lnTo>
                    <a:lnTo>
                      <a:pt x="552" y="148"/>
                    </a:lnTo>
                    <a:lnTo>
                      <a:pt x="569" y="155"/>
                    </a:lnTo>
                    <a:lnTo>
                      <a:pt x="586" y="161"/>
                    </a:lnTo>
                    <a:lnTo>
                      <a:pt x="597" y="166"/>
                    </a:lnTo>
                    <a:lnTo>
                      <a:pt x="607" y="169"/>
                    </a:lnTo>
                    <a:lnTo>
                      <a:pt x="618" y="173"/>
                    </a:lnTo>
                    <a:lnTo>
                      <a:pt x="628" y="177"/>
                    </a:lnTo>
                    <a:lnTo>
                      <a:pt x="623" y="163"/>
                    </a:lnTo>
                    <a:lnTo>
                      <a:pt x="616" y="148"/>
                    </a:lnTo>
                    <a:lnTo>
                      <a:pt x="610" y="136"/>
                    </a:lnTo>
                    <a:lnTo>
                      <a:pt x="604" y="123"/>
                    </a:lnTo>
                    <a:lnTo>
                      <a:pt x="597" y="111"/>
                    </a:lnTo>
                    <a:lnTo>
                      <a:pt x="589" y="100"/>
                    </a:lnTo>
                    <a:lnTo>
                      <a:pt x="582" y="90"/>
                    </a:lnTo>
                    <a:lnTo>
                      <a:pt x="573" y="80"/>
                    </a:lnTo>
                    <a:lnTo>
                      <a:pt x="565" y="73"/>
                    </a:lnTo>
                    <a:lnTo>
                      <a:pt x="556" y="64"/>
                    </a:lnTo>
                    <a:lnTo>
                      <a:pt x="546" y="58"/>
                    </a:lnTo>
                    <a:lnTo>
                      <a:pt x="537" y="51"/>
                    </a:lnTo>
                    <a:lnTo>
                      <a:pt x="527" y="46"/>
                    </a:lnTo>
                    <a:lnTo>
                      <a:pt x="516" y="41"/>
                    </a:lnTo>
                    <a:lnTo>
                      <a:pt x="505" y="36"/>
                    </a:lnTo>
                    <a:lnTo>
                      <a:pt x="493" y="33"/>
                    </a:lnTo>
                    <a:lnTo>
                      <a:pt x="483" y="31"/>
                    </a:lnTo>
                    <a:lnTo>
                      <a:pt x="469" y="29"/>
                    </a:lnTo>
                    <a:lnTo>
                      <a:pt x="453" y="28"/>
                    </a:lnTo>
                    <a:lnTo>
                      <a:pt x="43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48"/>
              <p:cNvSpPr>
                <a:spLocks noEditPoints="1"/>
              </p:cNvSpPr>
              <p:nvPr userDrawn="1"/>
            </p:nvSpPr>
            <p:spPr bwMode="auto">
              <a:xfrm>
                <a:off x="1534" y="1914"/>
                <a:ext cx="307" cy="386"/>
              </a:xfrm>
              <a:custGeom>
                <a:avLst/>
                <a:gdLst>
                  <a:gd name="T0" fmla="*/ 374 w 922"/>
                  <a:gd name="T1" fmla="*/ 1156 h 1158"/>
                  <a:gd name="T2" fmla="*/ 271 w 922"/>
                  <a:gd name="T3" fmla="*/ 1129 h 1158"/>
                  <a:gd name="T4" fmla="*/ 175 w 922"/>
                  <a:gd name="T5" fmla="*/ 1068 h 1158"/>
                  <a:gd name="T6" fmla="*/ 96 w 922"/>
                  <a:gd name="T7" fmla="*/ 979 h 1158"/>
                  <a:gd name="T8" fmla="*/ 38 w 922"/>
                  <a:gd name="T9" fmla="*/ 863 h 1158"/>
                  <a:gd name="T10" fmla="*/ 7 w 922"/>
                  <a:gd name="T11" fmla="*/ 734 h 1158"/>
                  <a:gd name="T12" fmla="*/ 1 w 922"/>
                  <a:gd name="T13" fmla="*/ 595 h 1158"/>
                  <a:gd name="T14" fmla="*/ 24 w 922"/>
                  <a:gd name="T15" fmla="*/ 455 h 1158"/>
                  <a:gd name="T16" fmla="*/ 67 w 922"/>
                  <a:gd name="T17" fmla="*/ 333 h 1158"/>
                  <a:gd name="T18" fmla="*/ 127 w 922"/>
                  <a:gd name="T19" fmla="*/ 226 h 1158"/>
                  <a:gd name="T20" fmla="*/ 203 w 922"/>
                  <a:gd name="T21" fmla="*/ 136 h 1158"/>
                  <a:gd name="T22" fmla="*/ 289 w 922"/>
                  <a:gd name="T23" fmla="*/ 66 h 1158"/>
                  <a:gd name="T24" fmla="*/ 387 w 922"/>
                  <a:gd name="T25" fmla="*/ 20 h 1158"/>
                  <a:gd name="T26" fmla="*/ 488 w 922"/>
                  <a:gd name="T27" fmla="*/ 1 h 1158"/>
                  <a:gd name="T28" fmla="*/ 586 w 922"/>
                  <a:gd name="T29" fmla="*/ 8 h 1158"/>
                  <a:gd name="T30" fmla="*/ 693 w 922"/>
                  <a:gd name="T31" fmla="*/ 50 h 1158"/>
                  <a:gd name="T32" fmla="*/ 783 w 922"/>
                  <a:gd name="T33" fmla="*/ 124 h 1158"/>
                  <a:gd name="T34" fmla="*/ 852 w 922"/>
                  <a:gd name="T35" fmla="*/ 222 h 1158"/>
                  <a:gd name="T36" fmla="*/ 898 w 922"/>
                  <a:gd name="T37" fmla="*/ 341 h 1158"/>
                  <a:gd name="T38" fmla="*/ 921 w 922"/>
                  <a:gd name="T39" fmla="*/ 474 h 1158"/>
                  <a:gd name="T40" fmla="*/ 916 w 922"/>
                  <a:gd name="T41" fmla="*/ 617 h 1158"/>
                  <a:gd name="T42" fmla="*/ 883 w 922"/>
                  <a:gd name="T43" fmla="*/ 753 h 1158"/>
                  <a:gd name="T44" fmla="*/ 834 w 922"/>
                  <a:gd name="T45" fmla="*/ 870 h 1158"/>
                  <a:gd name="T46" fmla="*/ 767 w 922"/>
                  <a:gd name="T47" fmla="*/ 970 h 1158"/>
                  <a:gd name="T48" fmla="*/ 686 w 922"/>
                  <a:gd name="T49" fmla="*/ 1052 h 1158"/>
                  <a:gd name="T50" fmla="*/ 595 w 922"/>
                  <a:gd name="T51" fmla="*/ 1112 h 1158"/>
                  <a:gd name="T52" fmla="*/ 496 w 922"/>
                  <a:gd name="T53" fmla="*/ 1149 h 1158"/>
                  <a:gd name="T54" fmla="*/ 510 w 922"/>
                  <a:gd name="T55" fmla="*/ 27 h 1158"/>
                  <a:gd name="T56" fmla="*/ 431 w 922"/>
                  <a:gd name="T57" fmla="*/ 35 h 1158"/>
                  <a:gd name="T58" fmla="*/ 338 w 922"/>
                  <a:gd name="T59" fmla="*/ 70 h 1158"/>
                  <a:gd name="T60" fmla="*/ 252 w 922"/>
                  <a:gd name="T61" fmla="*/ 128 h 1158"/>
                  <a:gd name="T62" fmla="*/ 175 w 922"/>
                  <a:gd name="T63" fmla="*/ 207 h 1158"/>
                  <a:gd name="T64" fmla="*/ 111 w 922"/>
                  <a:gd name="T65" fmla="*/ 303 h 1158"/>
                  <a:gd name="T66" fmla="*/ 64 w 922"/>
                  <a:gd name="T67" fmla="*/ 414 h 1158"/>
                  <a:gd name="T68" fmla="*/ 34 w 922"/>
                  <a:gd name="T69" fmla="*/ 543 h 1158"/>
                  <a:gd name="T70" fmla="*/ 28 w 922"/>
                  <a:gd name="T71" fmla="*/ 677 h 1158"/>
                  <a:gd name="T72" fmla="*/ 48 w 922"/>
                  <a:gd name="T73" fmla="*/ 806 h 1158"/>
                  <a:gd name="T74" fmla="*/ 93 w 922"/>
                  <a:gd name="T75" fmla="*/ 922 h 1158"/>
                  <a:gd name="T76" fmla="*/ 160 w 922"/>
                  <a:gd name="T77" fmla="*/ 1017 h 1158"/>
                  <a:gd name="T78" fmla="*/ 244 w 922"/>
                  <a:gd name="T79" fmla="*/ 1084 h 1158"/>
                  <a:gd name="T80" fmla="*/ 341 w 922"/>
                  <a:gd name="T81" fmla="*/ 1123 h 1158"/>
                  <a:gd name="T82" fmla="*/ 433 w 922"/>
                  <a:gd name="T83" fmla="*/ 1131 h 1158"/>
                  <a:gd name="T84" fmla="*/ 529 w 922"/>
                  <a:gd name="T85" fmla="*/ 1111 h 1158"/>
                  <a:gd name="T86" fmla="*/ 620 w 922"/>
                  <a:gd name="T87" fmla="*/ 1067 h 1158"/>
                  <a:gd name="T88" fmla="*/ 703 w 922"/>
                  <a:gd name="T89" fmla="*/ 1000 h 1158"/>
                  <a:gd name="T90" fmla="*/ 774 w 922"/>
                  <a:gd name="T91" fmla="*/ 915 h 1158"/>
                  <a:gd name="T92" fmla="*/ 832 w 922"/>
                  <a:gd name="T93" fmla="*/ 812 h 1158"/>
                  <a:gd name="T94" fmla="*/ 873 w 922"/>
                  <a:gd name="T95" fmla="*/ 695 h 1158"/>
                  <a:gd name="T96" fmla="*/ 894 w 922"/>
                  <a:gd name="T97" fmla="*/ 559 h 1158"/>
                  <a:gd name="T98" fmla="*/ 889 w 922"/>
                  <a:gd name="T99" fmla="*/ 426 h 1158"/>
                  <a:gd name="T100" fmla="*/ 859 w 922"/>
                  <a:gd name="T101" fmla="*/ 304 h 1158"/>
                  <a:gd name="T102" fmla="*/ 807 w 922"/>
                  <a:gd name="T103" fmla="*/ 197 h 1158"/>
                  <a:gd name="T104" fmla="*/ 733 w 922"/>
                  <a:gd name="T105" fmla="*/ 113 h 1158"/>
                  <a:gd name="T106" fmla="*/ 643 w 922"/>
                  <a:gd name="T107" fmla="*/ 55 h 1158"/>
                  <a:gd name="T108" fmla="*/ 545 w 922"/>
                  <a:gd name="T109" fmla="*/ 2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2" h="1158">
                    <a:moveTo>
                      <a:pt x="413" y="1158"/>
                    </a:moveTo>
                    <a:lnTo>
                      <a:pt x="413" y="1158"/>
                    </a:lnTo>
                    <a:lnTo>
                      <a:pt x="413" y="1158"/>
                    </a:lnTo>
                    <a:lnTo>
                      <a:pt x="393" y="1158"/>
                    </a:lnTo>
                    <a:lnTo>
                      <a:pt x="374" y="1156"/>
                    </a:lnTo>
                    <a:lnTo>
                      <a:pt x="355" y="1153"/>
                    </a:lnTo>
                    <a:lnTo>
                      <a:pt x="336" y="1149"/>
                    </a:lnTo>
                    <a:lnTo>
                      <a:pt x="314" y="1144"/>
                    </a:lnTo>
                    <a:lnTo>
                      <a:pt x="293" y="1137"/>
                    </a:lnTo>
                    <a:lnTo>
                      <a:pt x="271" y="1129"/>
                    </a:lnTo>
                    <a:lnTo>
                      <a:pt x="251" y="1119"/>
                    </a:lnTo>
                    <a:lnTo>
                      <a:pt x="231" y="1108"/>
                    </a:lnTo>
                    <a:lnTo>
                      <a:pt x="212" y="1096"/>
                    </a:lnTo>
                    <a:lnTo>
                      <a:pt x="192" y="1083"/>
                    </a:lnTo>
                    <a:lnTo>
                      <a:pt x="175" y="1068"/>
                    </a:lnTo>
                    <a:lnTo>
                      <a:pt x="158" y="1053"/>
                    </a:lnTo>
                    <a:lnTo>
                      <a:pt x="140" y="1036"/>
                    </a:lnTo>
                    <a:lnTo>
                      <a:pt x="125" y="1019"/>
                    </a:lnTo>
                    <a:lnTo>
                      <a:pt x="110" y="999"/>
                    </a:lnTo>
                    <a:lnTo>
                      <a:pt x="96" y="979"/>
                    </a:lnTo>
                    <a:lnTo>
                      <a:pt x="82" y="958"/>
                    </a:lnTo>
                    <a:lnTo>
                      <a:pt x="70" y="935"/>
                    </a:lnTo>
                    <a:lnTo>
                      <a:pt x="58" y="912"/>
                    </a:lnTo>
                    <a:lnTo>
                      <a:pt x="48" y="888"/>
                    </a:lnTo>
                    <a:lnTo>
                      <a:pt x="38" y="863"/>
                    </a:lnTo>
                    <a:lnTo>
                      <a:pt x="29" y="838"/>
                    </a:lnTo>
                    <a:lnTo>
                      <a:pt x="22" y="813"/>
                    </a:lnTo>
                    <a:lnTo>
                      <a:pt x="15" y="786"/>
                    </a:lnTo>
                    <a:lnTo>
                      <a:pt x="11" y="761"/>
                    </a:lnTo>
                    <a:lnTo>
                      <a:pt x="7" y="734"/>
                    </a:lnTo>
                    <a:lnTo>
                      <a:pt x="3" y="707"/>
                    </a:lnTo>
                    <a:lnTo>
                      <a:pt x="1" y="679"/>
                    </a:lnTo>
                    <a:lnTo>
                      <a:pt x="0" y="652"/>
                    </a:lnTo>
                    <a:lnTo>
                      <a:pt x="0" y="623"/>
                    </a:lnTo>
                    <a:lnTo>
                      <a:pt x="1" y="595"/>
                    </a:lnTo>
                    <a:lnTo>
                      <a:pt x="3" y="567"/>
                    </a:lnTo>
                    <a:lnTo>
                      <a:pt x="8" y="538"/>
                    </a:lnTo>
                    <a:lnTo>
                      <a:pt x="12" y="510"/>
                    </a:lnTo>
                    <a:lnTo>
                      <a:pt x="17" y="481"/>
                    </a:lnTo>
                    <a:lnTo>
                      <a:pt x="24" y="455"/>
                    </a:lnTo>
                    <a:lnTo>
                      <a:pt x="30" y="430"/>
                    </a:lnTo>
                    <a:lnTo>
                      <a:pt x="39" y="405"/>
                    </a:lnTo>
                    <a:lnTo>
                      <a:pt x="48" y="381"/>
                    </a:lnTo>
                    <a:lnTo>
                      <a:pt x="56" y="357"/>
                    </a:lnTo>
                    <a:lnTo>
                      <a:pt x="67" y="333"/>
                    </a:lnTo>
                    <a:lnTo>
                      <a:pt x="78" y="310"/>
                    </a:lnTo>
                    <a:lnTo>
                      <a:pt x="89" y="289"/>
                    </a:lnTo>
                    <a:lnTo>
                      <a:pt x="101" y="267"/>
                    </a:lnTo>
                    <a:lnTo>
                      <a:pt x="113" y="246"/>
                    </a:lnTo>
                    <a:lnTo>
                      <a:pt x="127" y="226"/>
                    </a:lnTo>
                    <a:lnTo>
                      <a:pt x="142" y="207"/>
                    </a:lnTo>
                    <a:lnTo>
                      <a:pt x="156" y="187"/>
                    </a:lnTo>
                    <a:lnTo>
                      <a:pt x="171" y="170"/>
                    </a:lnTo>
                    <a:lnTo>
                      <a:pt x="187" y="153"/>
                    </a:lnTo>
                    <a:lnTo>
                      <a:pt x="203" y="136"/>
                    </a:lnTo>
                    <a:lnTo>
                      <a:pt x="219" y="120"/>
                    </a:lnTo>
                    <a:lnTo>
                      <a:pt x="237" y="105"/>
                    </a:lnTo>
                    <a:lnTo>
                      <a:pt x="254" y="91"/>
                    </a:lnTo>
                    <a:lnTo>
                      <a:pt x="272" y="78"/>
                    </a:lnTo>
                    <a:lnTo>
                      <a:pt x="289" y="66"/>
                    </a:lnTo>
                    <a:lnTo>
                      <a:pt x="309" y="56"/>
                    </a:lnTo>
                    <a:lnTo>
                      <a:pt x="327" y="45"/>
                    </a:lnTo>
                    <a:lnTo>
                      <a:pt x="347" y="36"/>
                    </a:lnTo>
                    <a:lnTo>
                      <a:pt x="366" y="28"/>
                    </a:lnTo>
                    <a:lnTo>
                      <a:pt x="387" y="20"/>
                    </a:lnTo>
                    <a:lnTo>
                      <a:pt x="406" y="15"/>
                    </a:lnTo>
                    <a:lnTo>
                      <a:pt x="427" y="9"/>
                    </a:lnTo>
                    <a:lnTo>
                      <a:pt x="447" y="5"/>
                    </a:lnTo>
                    <a:lnTo>
                      <a:pt x="468" y="2"/>
                    </a:lnTo>
                    <a:lnTo>
                      <a:pt x="488" y="1"/>
                    </a:lnTo>
                    <a:lnTo>
                      <a:pt x="510" y="0"/>
                    </a:lnTo>
                    <a:lnTo>
                      <a:pt x="529" y="1"/>
                    </a:lnTo>
                    <a:lnTo>
                      <a:pt x="549" y="2"/>
                    </a:lnTo>
                    <a:lnTo>
                      <a:pt x="567" y="5"/>
                    </a:lnTo>
                    <a:lnTo>
                      <a:pt x="586" y="8"/>
                    </a:lnTo>
                    <a:lnTo>
                      <a:pt x="609" y="14"/>
                    </a:lnTo>
                    <a:lnTo>
                      <a:pt x="631" y="21"/>
                    </a:lnTo>
                    <a:lnTo>
                      <a:pt x="652" y="30"/>
                    </a:lnTo>
                    <a:lnTo>
                      <a:pt x="673" y="39"/>
                    </a:lnTo>
                    <a:lnTo>
                      <a:pt x="693" y="50"/>
                    </a:lnTo>
                    <a:lnTo>
                      <a:pt x="713" y="63"/>
                    </a:lnTo>
                    <a:lnTo>
                      <a:pt x="731" y="76"/>
                    </a:lnTo>
                    <a:lnTo>
                      <a:pt x="749" y="91"/>
                    </a:lnTo>
                    <a:lnTo>
                      <a:pt x="767" y="106"/>
                    </a:lnTo>
                    <a:lnTo>
                      <a:pt x="783" y="124"/>
                    </a:lnTo>
                    <a:lnTo>
                      <a:pt x="798" y="141"/>
                    </a:lnTo>
                    <a:lnTo>
                      <a:pt x="813" y="160"/>
                    </a:lnTo>
                    <a:lnTo>
                      <a:pt x="827" y="180"/>
                    </a:lnTo>
                    <a:lnTo>
                      <a:pt x="840" y="200"/>
                    </a:lnTo>
                    <a:lnTo>
                      <a:pt x="852" y="222"/>
                    </a:lnTo>
                    <a:lnTo>
                      <a:pt x="863" y="245"/>
                    </a:lnTo>
                    <a:lnTo>
                      <a:pt x="874" y="267"/>
                    </a:lnTo>
                    <a:lnTo>
                      <a:pt x="883" y="291"/>
                    </a:lnTo>
                    <a:lnTo>
                      <a:pt x="892" y="316"/>
                    </a:lnTo>
                    <a:lnTo>
                      <a:pt x="898" y="341"/>
                    </a:lnTo>
                    <a:lnTo>
                      <a:pt x="905" y="367"/>
                    </a:lnTo>
                    <a:lnTo>
                      <a:pt x="910" y="392"/>
                    </a:lnTo>
                    <a:lnTo>
                      <a:pt x="916" y="419"/>
                    </a:lnTo>
                    <a:lnTo>
                      <a:pt x="919" y="446"/>
                    </a:lnTo>
                    <a:lnTo>
                      <a:pt x="921" y="474"/>
                    </a:lnTo>
                    <a:lnTo>
                      <a:pt x="922" y="503"/>
                    </a:lnTo>
                    <a:lnTo>
                      <a:pt x="922" y="531"/>
                    </a:lnTo>
                    <a:lnTo>
                      <a:pt x="921" y="560"/>
                    </a:lnTo>
                    <a:lnTo>
                      <a:pt x="919" y="588"/>
                    </a:lnTo>
                    <a:lnTo>
                      <a:pt x="916" y="617"/>
                    </a:lnTo>
                    <a:lnTo>
                      <a:pt x="910" y="647"/>
                    </a:lnTo>
                    <a:lnTo>
                      <a:pt x="905" y="676"/>
                    </a:lnTo>
                    <a:lnTo>
                      <a:pt x="898" y="702"/>
                    </a:lnTo>
                    <a:lnTo>
                      <a:pt x="892" y="727"/>
                    </a:lnTo>
                    <a:lnTo>
                      <a:pt x="883" y="753"/>
                    </a:lnTo>
                    <a:lnTo>
                      <a:pt x="875" y="777"/>
                    </a:lnTo>
                    <a:lnTo>
                      <a:pt x="866" y="801"/>
                    </a:lnTo>
                    <a:lnTo>
                      <a:pt x="856" y="824"/>
                    </a:lnTo>
                    <a:lnTo>
                      <a:pt x="846" y="847"/>
                    </a:lnTo>
                    <a:lnTo>
                      <a:pt x="834" y="870"/>
                    </a:lnTo>
                    <a:lnTo>
                      <a:pt x="822" y="891"/>
                    </a:lnTo>
                    <a:lnTo>
                      <a:pt x="809" y="912"/>
                    </a:lnTo>
                    <a:lnTo>
                      <a:pt x="795" y="932"/>
                    </a:lnTo>
                    <a:lnTo>
                      <a:pt x="781" y="952"/>
                    </a:lnTo>
                    <a:lnTo>
                      <a:pt x="767" y="970"/>
                    </a:lnTo>
                    <a:lnTo>
                      <a:pt x="752" y="988"/>
                    </a:lnTo>
                    <a:lnTo>
                      <a:pt x="735" y="1006"/>
                    </a:lnTo>
                    <a:lnTo>
                      <a:pt x="720" y="1022"/>
                    </a:lnTo>
                    <a:lnTo>
                      <a:pt x="703" y="1037"/>
                    </a:lnTo>
                    <a:lnTo>
                      <a:pt x="686" y="1052"/>
                    </a:lnTo>
                    <a:lnTo>
                      <a:pt x="668" y="1066"/>
                    </a:lnTo>
                    <a:lnTo>
                      <a:pt x="651" y="1079"/>
                    </a:lnTo>
                    <a:lnTo>
                      <a:pt x="633" y="1091"/>
                    </a:lnTo>
                    <a:lnTo>
                      <a:pt x="613" y="1103"/>
                    </a:lnTo>
                    <a:lnTo>
                      <a:pt x="595" y="1112"/>
                    </a:lnTo>
                    <a:lnTo>
                      <a:pt x="576" y="1122"/>
                    </a:lnTo>
                    <a:lnTo>
                      <a:pt x="556" y="1130"/>
                    </a:lnTo>
                    <a:lnTo>
                      <a:pt x="536" y="1137"/>
                    </a:lnTo>
                    <a:lnTo>
                      <a:pt x="516" y="1144"/>
                    </a:lnTo>
                    <a:lnTo>
                      <a:pt x="496" y="1149"/>
                    </a:lnTo>
                    <a:lnTo>
                      <a:pt x="475" y="1152"/>
                    </a:lnTo>
                    <a:lnTo>
                      <a:pt x="455" y="1156"/>
                    </a:lnTo>
                    <a:lnTo>
                      <a:pt x="434" y="1158"/>
                    </a:lnTo>
                    <a:lnTo>
                      <a:pt x="413" y="1158"/>
                    </a:lnTo>
                    <a:close/>
                    <a:moveTo>
                      <a:pt x="510" y="27"/>
                    </a:moveTo>
                    <a:lnTo>
                      <a:pt x="510" y="27"/>
                    </a:lnTo>
                    <a:lnTo>
                      <a:pt x="489" y="28"/>
                    </a:lnTo>
                    <a:lnTo>
                      <a:pt x="470" y="29"/>
                    </a:lnTo>
                    <a:lnTo>
                      <a:pt x="450" y="32"/>
                    </a:lnTo>
                    <a:lnTo>
                      <a:pt x="431" y="35"/>
                    </a:lnTo>
                    <a:lnTo>
                      <a:pt x="413" y="41"/>
                    </a:lnTo>
                    <a:lnTo>
                      <a:pt x="393" y="46"/>
                    </a:lnTo>
                    <a:lnTo>
                      <a:pt x="375" y="54"/>
                    </a:lnTo>
                    <a:lnTo>
                      <a:pt x="356" y="61"/>
                    </a:lnTo>
                    <a:lnTo>
                      <a:pt x="338" y="70"/>
                    </a:lnTo>
                    <a:lnTo>
                      <a:pt x="320" y="79"/>
                    </a:lnTo>
                    <a:lnTo>
                      <a:pt x="302" y="90"/>
                    </a:lnTo>
                    <a:lnTo>
                      <a:pt x="285" y="102"/>
                    </a:lnTo>
                    <a:lnTo>
                      <a:pt x="268" y="115"/>
                    </a:lnTo>
                    <a:lnTo>
                      <a:pt x="252" y="128"/>
                    </a:lnTo>
                    <a:lnTo>
                      <a:pt x="235" y="142"/>
                    </a:lnTo>
                    <a:lnTo>
                      <a:pt x="219" y="157"/>
                    </a:lnTo>
                    <a:lnTo>
                      <a:pt x="204" y="172"/>
                    </a:lnTo>
                    <a:lnTo>
                      <a:pt x="189" y="190"/>
                    </a:lnTo>
                    <a:lnTo>
                      <a:pt x="175" y="207"/>
                    </a:lnTo>
                    <a:lnTo>
                      <a:pt x="161" y="224"/>
                    </a:lnTo>
                    <a:lnTo>
                      <a:pt x="148" y="243"/>
                    </a:lnTo>
                    <a:lnTo>
                      <a:pt x="135" y="262"/>
                    </a:lnTo>
                    <a:lnTo>
                      <a:pt x="123" y="282"/>
                    </a:lnTo>
                    <a:lnTo>
                      <a:pt x="111" y="303"/>
                    </a:lnTo>
                    <a:lnTo>
                      <a:pt x="101" y="324"/>
                    </a:lnTo>
                    <a:lnTo>
                      <a:pt x="91" y="346"/>
                    </a:lnTo>
                    <a:lnTo>
                      <a:pt x="81" y="368"/>
                    </a:lnTo>
                    <a:lnTo>
                      <a:pt x="72" y="391"/>
                    </a:lnTo>
                    <a:lnTo>
                      <a:pt x="64" y="414"/>
                    </a:lnTo>
                    <a:lnTo>
                      <a:pt x="56" y="438"/>
                    </a:lnTo>
                    <a:lnTo>
                      <a:pt x="50" y="463"/>
                    </a:lnTo>
                    <a:lnTo>
                      <a:pt x="44" y="487"/>
                    </a:lnTo>
                    <a:lnTo>
                      <a:pt x="39" y="514"/>
                    </a:lnTo>
                    <a:lnTo>
                      <a:pt x="34" y="543"/>
                    </a:lnTo>
                    <a:lnTo>
                      <a:pt x="30" y="569"/>
                    </a:lnTo>
                    <a:lnTo>
                      <a:pt x="28" y="596"/>
                    </a:lnTo>
                    <a:lnTo>
                      <a:pt x="27" y="623"/>
                    </a:lnTo>
                    <a:lnTo>
                      <a:pt x="27" y="650"/>
                    </a:lnTo>
                    <a:lnTo>
                      <a:pt x="28" y="677"/>
                    </a:lnTo>
                    <a:lnTo>
                      <a:pt x="30" y="703"/>
                    </a:lnTo>
                    <a:lnTo>
                      <a:pt x="32" y="729"/>
                    </a:lnTo>
                    <a:lnTo>
                      <a:pt x="37" y="755"/>
                    </a:lnTo>
                    <a:lnTo>
                      <a:pt x="42" y="781"/>
                    </a:lnTo>
                    <a:lnTo>
                      <a:pt x="48" y="806"/>
                    </a:lnTo>
                    <a:lnTo>
                      <a:pt x="55" y="830"/>
                    </a:lnTo>
                    <a:lnTo>
                      <a:pt x="63" y="854"/>
                    </a:lnTo>
                    <a:lnTo>
                      <a:pt x="72" y="877"/>
                    </a:lnTo>
                    <a:lnTo>
                      <a:pt x="82" y="901"/>
                    </a:lnTo>
                    <a:lnTo>
                      <a:pt x="93" y="922"/>
                    </a:lnTo>
                    <a:lnTo>
                      <a:pt x="105" y="943"/>
                    </a:lnTo>
                    <a:lnTo>
                      <a:pt x="118" y="964"/>
                    </a:lnTo>
                    <a:lnTo>
                      <a:pt x="131" y="982"/>
                    </a:lnTo>
                    <a:lnTo>
                      <a:pt x="145" y="1000"/>
                    </a:lnTo>
                    <a:lnTo>
                      <a:pt x="160" y="1017"/>
                    </a:lnTo>
                    <a:lnTo>
                      <a:pt x="175" y="1033"/>
                    </a:lnTo>
                    <a:lnTo>
                      <a:pt x="191" y="1048"/>
                    </a:lnTo>
                    <a:lnTo>
                      <a:pt x="208" y="1061"/>
                    </a:lnTo>
                    <a:lnTo>
                      <a:pt x="226" y="1074"/>
                    </a:lnTo>
                    <a:lnTo>
                      <a:pt x="244" y="1084"/>
                    </a:lnTo>
                    <a:lnTo>
                      <a:pt x="262" y="1095"/>
                    </a:lnTo>
                    <a:lnTo>
                      <a:pt x="282" y="1104"/>
                    </a:lnTo>
                    <a:lnTo>
                      <a:pt x="301" y="1111"/>
                    </a:lnTo>
                    <a:lnTo>
                      <a:pt x="321" y="1118"/>
                    </a:lnTo>
                    <a:lnTo>
                      <a:pt x="341" y="1123"/>
                    </a:lnTo>
                    <a:lnTo>
                      <a:pt x="360" y="1127"/>
                    </a:lnTo>
                    <a:lnTo>
                      <a:pt x="377" y="1129"/>
                    </a:lnTo>
                    <a:lnTo>
                      <a:pt x="395" y="1131"/>
                    </a:lnTo>
                    <a:lnTo>
                      <a:pt x="413" y="1131"/>
                    </a:lnTo>
                    <a:lnTo>
                      <a:pt x="433" y="1131"/>
                    </a:lnTo>
                    <a:lnTo>
                      <a:pt x="453" y="1129"/>
                    </a:lnTo>
                    <a:lnTo>
                      <a:pt x="472" y="1125"/>
                    </a:lnTo>
                    <a:lnTo>
                      <a:pt x="491" y="1122"/>
                    </a:lnTo>
                    <a:lnTo>
                      <a:pt x="510" y="1117"/>
                    </a:lnTo>
                    <a:lnTo>
                      <a:pt x="529" y="1111"/>
                    </a:lnTo>
                    <a:lnTo>
                      <a:pt x="548" y="1104"/>
                    </a:lnTo>
                    <a:lnTo>
                      <a:pt x="567" y="1096"/>
                    </a:lnTo>
                    <a:lnTo>
                      <a:pt x="584" y="1088"/>
                    </a:lnTo>
                    <a:lnTo>
                      <a:pt x="603" y="1078"/>
                    </a:lnTo>
                    <a:lnTo>
                      <a:pt x="620" y="1067"/>
                    </a:lnTo>
                    <a:lnTo>
                      <a:pt x="637" y="1055"/>
                    </a:lnTo>
                    <a:lnTo>
                      <a:pt x="654" y="1043"/>
                    </a:lnTo>
                    <a:lnTo>
                      <a:pt x="671" y="1029"/>
                    </a:lnTo>
                    <a:lnTo>
                      <a:pt x="687" y="1015"/>
                    </a:lnTo>
                    <a:lnTo>
                      <a:pt x="703" y="1000"/>
                    </a:lnTo>
                    <a:lnTo>
                      <a:pt x="718" y="985"/>
                    </a:lnTo>
                    <a:lnTo>
                      <a:pt x="733" y="969"/>
                    </a:lnTo>
                    <a:lnTo>
                      <a:pt x="747" y="952"/>
                    </a:lnTo>
                    <a:lnTo>
                      <a:pt x="761" y="933"/>
                    </a:lnTo>
                    <a:lnTo>
                      <a:pt x="774" y="915"/>
                    </a:lnTo>
                    <a:lnTo>
                      <a:pt x="787" y="895"/>
                    </a:lnTo>
                    <a:lnTo>
                      <a:pt x="799" y="875"/>
                    </a:lnTo>
                    <a:lnTo>
                      <a:pt x="811" y="854"/>
                    </a:lnTo>
                    <a:lnTo>
                      <a:pt x="822" y="834"/>
                    </a:lnTo>
                    <a:lnTo>
                      <a:pt x="832" y="812"/>
                    </a:lnTo>
                    <a:lnTo>
                      <a:pt x="841" y="790"/>
                    </a:lnTo>
                    <a:lnTo>
                      <a:pt x="850" y="767"/>
                    </a:lnTo>
                    <a:lnTo>
                      <a:pt x="859" y="743"/>
                    </a:lnTo>
                    <a:lnTo>
                      <a:pt x="866" y="720"/>
                    </a:lnTo>
                    <a:lnTo>
                      <a:pt x="873" y="695"/>
                    </a:lnTo>
                    <a:lnTo>
                      <a:pt x="878" y="670"/>
                    </a:lnTo>
                    <a:lnTo>
                      <a:pt x="884" y="642"/>
                    </a:lnTo>
                    <a:lnTo>
                      <a:pt x="889" y="615"/>
                    </a:lnTo>
                    <a:lnTo>
                      <a:pt x="892" y="587"/>
                    </a:lnTo>
                    <a:lnTo>
                      <a:pt x="894" y="559"/>
                    </a:lnTo>
                    <a:lnTo>
                      <a:pt x="895" y="532"/>
                    </a:lnTo>
                    <a:lnTo>
                      <a:pt x="895" y="505"/>
                    </a:lnTo>
                    <a:lnTo>
                      <a:pt x="894" y="478"/>
                    </a:lnTo>
                    <a:lnTo>
                      <a:pt x="892" y="452"/>
                    </a:lnTo>
                    <a:lnTo>
                      <a:pt x="889" y="426"/>
                    </a:lnTo>
                    <a:lnTo>
                      <a:pt x="884" y="400"/>
                    </a:lnTo>
                    <a:lnTo>
                      <a:pt x="880" y="375"/>
                    </a:lnTo>
                    <a:lnTo>
                      <a:pt x="874" y="350"/>
                    </a:lnTo>
                    <a:lnTo>
                      <a:pt x="867" y="327"/>
                    </a:lnTo>
                    <a:lnTo>
                      <a:pt x="859" y="304"/>
                    </a:lnTo>
                    <a:lnTo>
                      <a:pt x="850" y="281"/>
                    </a:lnTo>
                    <a:lnTo>
                      <a:pt x="840" y="259"/>
                    </a:lnTo>
                    <a:lnTo>
                      <a:pt x="830" y="238"/>
                    </a:lnTo>
                    <a:lnTo>
                      <a:pt x="819" y="218"/>
                    </a:lnTo>
                    <a:lnTo>
                      <a:pt x="807" y="197"/>
                    </a:lnTo>
                    <a:lnTo>
                      <a:pt x="794" y="179"/>
                    </a:lnTo>
                    <a:lnTo>
                      <a:pt x="780" y="160"/>
                    </a:lnTo>
                    <a:lnTo>
                      <a:pt x="765" y="144"/>
                    </a:lnTo>
                    <a:lnTo>
                      <a:pt x="749" y="128"/>
                    </a:lnTo>
                    <a:lnTo>
                      <a:pt x="733" y="113"/>
                    </a:lnTo>
                    <a:lnTo>
                      <a:pt x="717" y="99"/>
                    </a:lnTo>
                    <a:lnTo>
                      <a:pt x="700" y="86"/>
                    </a:lnTo>
                    <a:lnTo>
                      <a:pt x="681" y="75"/>
                    </a:lnTo>
                    <a:lnTo>
                      <a:pt x="662" y="64"/>
                    </a:lnTo>
                    <a:lnTo>
                      <a:pt x="643" y="55"/>
                    </a:lnTo>
                    <a:lnTo>
                      <a:pt x="623" y="47"/>
                    </a:lnTo>
                    <a:lnTo>
                      <a:pt x="602" y="39"/>
                    </a:lnTo>
                    <a:lnTo>
                      <a:pt x="581" y="34"/>
                    </a:lnTo>
                    <a:lnTo>
                      <a:pt x="563" y="31"/>
                    </a:lnTo>
                    <a:lnTo>
                      <a:pt x="545" y="29"/>
                    </a:lnTo>
                    <a:lnTo>
                      <a:pt x="527" y="28"/>
                    </a:lnTo>
                    <a:lnTo>
                      <a:pt x="51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49"/>
              <p:cNvSpPr>
                <a:spLocks/>
              </p:cNvSpPr>
              <p:nvPr userDrawn="1"/>
            </p:nvSpPr>
            <p:spPr bwMode="auto">
              <a:xfrm>
                <a:off x="2732" y="3401"/>
                <a:ext cx="433" cy="60"/>
              </a:xfrm>
              <a:custGeom>
                <a:avLst/>
                <a:gdLst>
                  <a:gd name="T0" fmla="*/ 11 w 1299"/>
                  <a:gd name="T1" fmla="*/ 181 h 181"/>
                  <a:gd name="T2" fmla="*/ 4 w 1299"/>
                  <a:gd name="T3" fmla="*/ 178 h 181"/>
                  <a:gd name="T4" fmla="*/ 0 w 1299"/>
                  <a:gd name="T5" fmla="*/ 171 h 181"/>
                  <a:gd name="T6" fmla="*/ 2 w 1299"/>
                  <a:gd name="T7" fmla="*/ 161 h 181"/>
                  <a:gd name="T8" fmla="*/ 11 w 1299"/>
                  <a:gd name="T9" fmla="*/ 153 h 181"/>
                  <a:gd name="T10" fmla="*/ 52 w 1299"/>
                  <a:gd name="T11" fmla="*/ 130 h 181"/>
                  <a:gd name="T12" fmla="*/ 108 w 1299"/>
                  <a:gd name="T13" fmla="*/ 104 h 181"/>
                  <a:gd name="T14" fmla="*/ 159 w 1299"/>
                  <a:gd name="T15" fmla="*/ 83 h 181"/>
                  <a:gd name="T16" fmla="*/ 218 w 1299"/>
                  <a:gd name="T17" fmla="*/ 63 h 181"/>
                  <a:gd name="T18" fmla="*/ 288 w 1299"/>
                  <a:gd name="T19" fmla="*/ 44 h 181"/>
                  <a:gd name="T20" fmla="*/ 368 w 1299"/>
                  <a:gd name="T21" fmla="*/ 27 h 181"/>
                  <a:gd name="T22" fmla="*/ 458 w 1299"/>
                  <a:gd name="T23" fmla="*/ 13 h 181"/>
                  <a:gd name="T24" fmla="*/ 558 w 1299"/>
                  <a:gd name="T25" fmla="*/ 4 h 181"/>
                  <a:gd name="T26" fmla="*/ 668 w 1299"/>
                  <a:gd name="T27" fmla="*/ 0 h 181"/>
                  <a:gd name="T28" fmla="*/ 788 w 1299"/>
                  <a:gd name="T29" fmla="*/ 4 h 181"/>
                  <a:gd name="T30" fmla="*/ 919 w 1299"/>
                  <a:gd name="T31" fmla="*/ 15 h 181"/>
                  <a:gd name="T32" fmla="*/ 1059 w 1299"/>
                  <a:gd name="T33" fmla="*/ 37 h 181"/>
                  <a:gd name="T34" fmla="*/ 1209 w 1299"/>
                  <a:gd name="T35" fmla="*/ 68 h 181"/>
                  <a:gd name="T36" fmla="*/ 1293 w 1299"/>
                  <a:gd name="T37" fmla="*/ 91 h 181"/>
                  <a:gd name="T38" fmla="*/ 1299 w 1299"/>
                  <a:gd name="T39" fmla="*/ 99 h 181"/>
                  <a:gd name="T40" fmla="*/ 1296 w 1299"/>
                  <a:gd name="T41" fmla="*/ 110 h 181"/>
                  <a:gd name="T42" fmla="*/ 1287 w 1299"/>
                  <a:gd name="T43" fmla="*/ 114 h 181"/>
                  <a:gd name="T44" fmla="*/ 1204 w 1299"/>
                  <a:gd name="T45" fmla="*/ 95 h 181"/>
                  <a:gd name="T46" fmla="*/ 1056 w 1299"/>
                  <a:gd name="T47" fmla="*/ 64 h 181"/>
                  <a:gd name="T48" fmla="*/ 918 w 1299"/>
                  <a:gd name="T49" fmla="*/ 42 h 181"/>
                  <a:gd name="T50" fmla="*/ 789 w 1299"/>
                  <a:gd name="T51" fmla="*/ 31 h 181"/>
                  <a:gd name="T52" fmla="*/ 672 w 1299"/>
                  <a:gd name="T53" fmla="*/ 27 h 181"/>
                  <a:gd name="T54" fmla="*/ 564 w 1299"/>
                  <a:gd name="T55" fmla="*/ 30 h 181"/>
                  <a:gd name="T56" fmla="*/ 465 w 1299"/>
                  <a:gd name="T57" fmla="*/ 39 h 181"/>
                  <a:gd name="T58" fmla="*/ 377 w 1299"/>
                  <a:gd name="T59" fmla="*/ 53 h 181"/>
                  <a:gd name="T60" fmla="*/ 298 w 1299"/>
                  <a:gd name="T61" fmla="*/ 69 h 181"/>
                  <a:gd name="T62" fmla="*/ 230 w 1299"/>
                  <a:gd name="T63" fmla="*/ 87 h 181"/>
                  <a:gd name="T64" fmla="*/ 170 w 1299"/>
                  <a:gd name="T65" fmla="*/ 107 h 181"/>
                  <a:gd name="T66" fmla="*/ 122 w 1299"/>
                  <a:gd name="T67" fmla="*/ 126 h 181"/>
                  <a:gd name="T68" fmla="*/ 67 w 1299"/>
                  <a:gd name="T69" fmla="*/ 152 h 181"/>
                  <a:gd name="T70" fmla="*/ 27 w 1299"/>
                  <a:gd name="T71" fmla="*/ 175 h 181"/>
                  <a:gd name="T72" fmla="*/ 17 w 1299"/>
                  <a:gd name="T7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9" h="181">
                    <a:moveTo>
                      <a:pt x="13" y="181"/>
                    </a:moveTo>
                    <a:lnTo>
                      <a:pt x="11" y="181"/>
                    </a:lnTo>
                    <a:lnTo>
                      <a:pt x="7" y="180"/>
                    </a:lnTo>
                    <a:lnTo>
                      <a:pt x="4" y="178"/>
                    </a:lnTo>
                    <a:lnTo>
                      <a:pt x="2" y="176"/>
                    </a:lnTo>
                    <a:lnTo>
                      <a:pt x="0" y="171"/>
                    </a:lnTo>
                    <a:lnTo>
                      <a:pt x="0" y="166"/>
                    </a:lnTo>
                    <a:lnTo>
                      <a:pt x="2" y="161"/>
                    </a:lnTo>
                    <a:lnTo>
                      <a:pt x="5" y="158"/>
                    </a:lnTo>
                    <a:lnTo>
                      <a:pt x="11" y="153"/>
                    </a:lnTo>
                    <a:lnTo>
                      <a:pt x="27" y="144"/>
                    </a:lnTo>
                    <a:lnTo>
                      <a:pt x="52" y="130"/>
                    </a:lnTo>
                    <a:lnTo>
                      <a:pt x="87" y="112"/>
                    </a:lnTo>
                    <a:lnTo>
                      <a:pt x="108" y="104"/>
                    </a:lnTo>
                    <a:lnTo>
                      <a:pt x="132" y="93"/>
                    </a:lnTo>
                    <a:lnTo>
                      <a:pt x="159" y="83"/>
                    </a:lnTo>
                    <a:lnTo>
                      <a:pt x="187" y="73"/>
                    </a:lnTo>
                    <a:lnTo>
                      <a:pt x="218" y="63"/>
                    </a:lnTo>
                    <a:lnTo>
                      <a:pt x="251" y="53"/>
                    </a:lnTo>
                    <a:lnTo>
                      <a:pt x="288" y="44"/>
                    </a:lnTo>
                    <a:lnTo>
                      <a:pt x="327" y="35"/>
                    </a:lnTo>
                    <a:lnTo>
                      <a:pt x="368" y="27"/>
                    </a:lnTo>
                    <a:lnTo>
                      <a:pt x="411" y="19"/>
                    </a:lnTo>
                    <a:lnTo>
                      <a:pt x="458" y="13"/>
                    </a:lnTo>
                    <a:lnTo>
                      <a:pt x="506" y="8"/>
                    </a:lnTo>
                    <a:lnTo>
                      <a:pt x="558" y="4"/>
                    </a:lnTo>
                    <a:lnTo>
                      <a:pt x="612" y="1"/>
                    </a:lnTo>
                    <a:lnTo>
                      <a:pt x="668" y="0"/>
                    </a:lnTo>
                    <a:lnTo>
                      <a:pt x="727" y="1"/>
                    </a:lnTo>
                    <a:lnTo>
                      <a:pt x="788" y="4"/>
                    </a:lnTo>
                    <a:lnTo>
                      <a:pt x="852" y="9"/>
                    </a:lnTo>
                    <a:lnTo>
                      <a:pt x="919" y="15"/>
                    </a:lnTo>
                    <a:lnTo>
                      <a:pt x="987" y="25"/>
                    </a:lnTo>
                    <a:lnTo>
                      <a:pt x="1059" y="37"/>
                    </a:lnTo>
                    <a:lnTo>
                      <a:pt x="1133" y="51"/>
                    </a:lnTo>
                    <a:lnTo>
                      <a:pt x="1209" y="68"/>
                    </a:lnTo>
                    <a:lnTo>
                      <a:pt x="1288" y="89"/>
                    </a:lnTo>
                    <a:lnTo>
                      <a:pt x="1293" y="91"/>
                    </a:lnTo>
                    <a:lnTo>
                      <a:pt x="1297" y="95"/>
                    </a:lnTo>
                    <a:lnTo>
                      <a:pt x="1299" y="99"/>
                    </a:lnTo>
                    <a:lnTo>
                      <a:pt x="1298" y="105"/>
                    </a:lnTo>
                    <a:lnTo>
                      <a:pt x="1296" y="110"/>
                    </a:lnTo>
                    <a:lnTo>
                      <a:pt x="1291" y="113"/>
                    </a:lnTo>
                    <a:lnTo>
                      <a:pt x="1287" y="114"/>
                    </a:lnTo>
                    <a:lnTo>
                      <a:pt x="1282" y="114"/>
                    </a:lnTo>
                    <a:lnTo>
                      <a:pt x="1204" y="95"/>
                    </a:lnTo>
                    <a:lnTo>
                      <a:pt x="1128" y="78"/>
                    </a:lnTo>
                    <a:lnTo>
                      <a:pt x="1056" y="64"/>
                    </a:lnTo>
                    <a:lnTo>
                      <a:pt x="985" y="52"/>
                    </a:lnTo>
                    <a:lnTo>
                      <a:pt x="918" y="42"/>
                    </a:lnTo>
                    <a:lnTo>
                      <a:pt x="852" y="36"/>
                    </a:lnTo>
                    <a:lnTo>
                      <a:pt x="789" y="31"/>
                    </a:lnTo>
                    <a:lnTo>
                      <a:pt x="729" y="28"/>
                    </a:lnTo>
                    <a:lnTo>
                      <a:pt x="672" y="27"/>
                    </a:lnTo>
                    <a:lnTo>
                      <a:pt x="616" y="28"/>
                    </a:lnTo>
                    <a:lnTo>
                      <a:pt x="564" y="30"/>
                    </a:lnTo>
                    <a:lnTo>
                      <a:pt x="513" y="35"/>
                    </a:lnTo>
                    <a:lnTo>
                      <a:pt x="465" y="39"/>
                    </a:lnTo>
                    <a:lnTo>
                      <a:pt x="420" y="45"/>
                    </a:lnTo>
                    <a:lnTo>
                      <a:pt x="377" y="53"/>
                    </a:lnTo>
                    <a:lnTo>
                      <a:pt x="337" y="60"/>
                    </a:lnTo>
                    <a:lnTo>
                      <a:pt x="298" y="69"/>
                    </a:lnTo>
                    <a:lnTo>
                      <a:pt x="263" y="78"/>
                    </a:lnTo>
                    <a:lnTo>
                      <a:pt x="230" y="87"/>
                    </a:lnTo>
                    <a:lnTo>
                      <a:pt x="200" y="97"/>
                    </a:lnTo>
                    <a:lnTo>
                      <a:pt x="170" y="107"/>
                    </a:lnTo>
                    <a:lnTo>
                      <a:pt x="146" y="117"/>
                    </a:lnTo>
                    <a:lnTo>
                      <a:pt x="122" y="126"/>
                    </a:lnTo>
                    <a:lnTo>
                      <a:pt x="101" y="136"/>
                    </a:lnTo>
                    <a:lnTo>
                      <a:pt x="67" y="152"/>
                    </a:lnTo>
                    <a:lnTo>
                      <a:pt x="42" y="166"/>
                    </a:lnTo>
                    <a:lnTo>
                      <a:pt x="27" y="175"/>
                    </a:lnTo>
                    <a:lnTo>
                      <a:pt x="21" y="179"/>
                    </a:lnTo>
                    <a:lnTo>
                      <a:pt x="17" y="181"/>
                    </a:lnTo>
                    <a:lnTo>
                      <a:pt x="1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50"/>
              <p:cNvSpPr>
                <a:spLocks/>
              </p:cNvSpPr>
              <p:nvPr userDrawn="1"/>
            </p:nvSpPr>
            <p:spPr bwMode="auto">
              <a:xfrm>
                <a:off x="2781" y="3468"/>
                <a:ext cx="471" cy="87"/>
              </a:xfrm>
              <a:custGeom>
                <a:avLst/>
                <a:gdLst>
                  <a:gd name="T0" fmla="*/ 1399 w 1415"/>
                  <a:gd name="T1" fmla="*/ 261 h 261"/>
                  <a:gd name="T2" fmla="*/ 1390 w 1415"/>
                  <a:gd name="T3" fmla="*/ 258 h 261"/>
                  <a:gd name="T4" fmla="*/ 1351 w 1415"/>
                  <a:gd name="T5" fmla="*/ 241 h 261"/>
                  <a:gd name="T6" fmla="*/ 1280 w 1415"/>
                  <a:gd name="T7" fmla="*/ 211 h 261"/>
                  <a:gd name="T8" fmla="*/ 1181 w 1415"/>
                  <a:gd name="T9" fmla="*/ 175 h 261"/>
                  <a:gd name="T10" fmla="*/ 1059 w 1415"/>
                  <a:gd name="T11" fmla="*/ 135 h 261"/>
                  <a:gd name="T12" fmla="*/ 918 w 1415"/>
                  <a:gd name="T13" fmla="*/ 96 h 261"/>
                  <a:gd name="T14" fmla="*/ 805 w 1415"/>
                  <a:gd name="T15" fmla="*/ 69 h 261"/>
                  <a:gd name="T16" fmla="*/ 726 w 1415"/>
                  <a:gd name="T17" fmla="*/ 54 h 261"/>
                  <a:gd name="T18" fmla="*/ 645 w 1415"/>
                  <a:gd name="T19" fmla="*/ 42 h 261"/>
                  <a:gd name="T20" fmla="*/ 563 w 1415"/>
                  <a:gd name="T21" fmla="*/ 32 h 261"/>
                  <a:gd name="T22" fmla="*/ 494 w 1415"/>
                  <a:gd name="T23" fmla="*/ 27 h 261"/>
                  <a:gd name="T24" fmla="*/ 442 w 1415"/>
                  <a:gd name="T25" fmla="*/ 27 h 261"/>
                  <a:gd name="T26" fmla="*/ 392 w 1415"/>
                  <a:gd name="T27" fmla="*/ 29 h 261"/>
                  <a:gd name="T28" fmla="*/ 344 w 1415"/>
                  <a:gd name="T29" fmla="*/ 33 h 261"/>
                  <a:gd name="T30" fmla="*/ 277 w 1415"/>
                  <a:gd name="T31" fmla="*/ 44 h 261"/>
                  <a:gd name="T32" fmla="*/ 198 w 1415"/>
                  <a:gd name="T33" fmla="*/ 62 h 261"/>
                  <a:gd name="T34" fmla="*/ 131 w 1415"/>
                  <a:gd name="T35" fmla="*/ 84 h 261"/>
                  <a:gd name="T36" fmla="*/ 78 w 1415"/>
                  <a:gd name="T37" fmla="*/ 105 h 261"/>
                  <a:gd name="T38" fmla="*/ 30 w 1415"/>
                  <a:gd name="T39" fmla="*/ 128 h 261"/>
                  <a:gd name="T40" fmla="*/ 15 w 1415"/>
                  <a:gd name="T41" fmla="*/ 136 h 261"/>
                  <a:gd name="T42" fmla="*/ 5 w 1415"/>
                  <a:gd name="T43" fmla="*/ 134 h 261"/>
                  <a:gd name="T44" fmla="*/ 0 w 1415"/>
                  <a:gd name="T45" fmla="*/ 124 h 261"/>
                  <a:gd name="T46" fmla="*/ 2 w 1415"/>
                  <a:gd name="T47" fmla="*/ 114 h 261"/>
                  <a:gd name="T48" fmla="*/ 18 w 1415"/>
                  <a:gd name="T49" fmla="*/ 104 h 261"/>
                  <a:gd name="T50" fmla="*/ 70 w 1415"/>
                  <a:gd name="T51" fmla="*/ 79 h 261"/>
                  <a:gd name="T52" fmla="*/ 124 w 1415"/>
                  <a:gd name="T53" fmla="*/ 57 h 261"/>
                  <a:gd name="T54" fmla="*/ 192 w 1415"/>
                  <a:gd name="T55" fmla="*/ 35 h 261"/>
                  <a:gd name="T56" fmla="*/ 273 w 1415"/>
                  <a:gd name="T57" fmla="*/ 17 h 261"/>
                  <a:gd name="T58" fmla="*/ 342 w 1415"/>
                  <a:gd name="T59" fmla="*/ 6 h 261"/>
                  <a:gd name="T60" fmla="*/ 390 w 1415"/>
                  <a:gd name="T61" fmla="*/ 2 h 261"/>
                  <a:gd name="T62" fmla="*/ 442 w 1415"/>
                  <a:gd name="T63" fmla="*/ 0 h 261"/>
                  <a:gd name="T64" fmla="*/ 495 w 1415"/>
                  <a:gd name="T65" fmla="*/ 0 h 261"/>
                  <a:gd name="T66" fmla="*/ 565 w 1415"/>
                  <a:gd name="T67" fmla="*/ 5 h 261"/>
                  <a:gd name="T68" fmla="*/ 649 w 1415"/>
                  <a:gd name="T69" fmla="*/ 15 h 261"/>
                  <a:gd name="T70" fmla="*/ 731 w 1415"/>
                  <a:gd name="T71" fmla="*/ 28 h 261"/>
                  <a:gd name="T72" fmla="*/ 810 w 1415"/>
                  <a:gd name="T73" fmla="*/ 43 h 261"/>
                  <a:gd name="T74" fmla="*/ 925 w 1415"/>
                  <a:gd name="T75" fmla="*/ 70 h 261"/>
                  <a:gd name="T76" fmla="*/ 1066 w 1415"/>
                  <a:gd name="T77" fmla="*/ 109 h 261"/>
                  <a:gd name="T78" fmla="*/ 1191 w 1415"/>
                  <a:gd name="T79" fmla="*/ 150 h 261"/>
                  <a:gd name="T80" fmla="*/ 1290 w 1415"/>
                  <a:gd name="T81" fmla="*/ 187 h 261"/>
                  <a:gd name="T82" fmla="*/ 1362 w 1415"/>
                  <a:gd name="T83" fmla="*/ 216 h 261"/>
                  <a:gd name="T84" fmla="*/ 1401 w 1415"/>
                  <a:gd name="T85" fmla="*/ 233 h 261"/>
                  <a:gd name="T86" fmla="*/ 1412 w 1415"/>
                  <a:gd name="T87" fmla="*/ 238 h 261"/>
                  <a:gd name="T88" fmla="*/ 1415 w 1415"/>
                  <a:gd name="T89" fmla="*/ 248 h 261"/>
                  <a:gd name="T90" fmla="*/ 1412 w 1415"/>
                  <a:gd name="T91" fmla="*/ 257 h 261"/>
                  <a:gd name="T92" fmla="*/ 1405 w 1415"/>
                  <a:gd name="T9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15" h="261">
                    <a:moveTo>
                      <a:pt x="1401" y="261"/>
                    </a:moveTo>
                    <a:lnTo>
                      <a:pt x="1399" y="261"/>
                    </a:lnTo>
                    <a:lnTo>
                      <a:pt x="1396" y="260"/>
                    </a:lnTo>
                    <a:lnTo>
                      <a:pt x="1390" y="258"/>
                    </a:lnTo>
                    <a:lnTo>
                      <a:pt x="1375" y="250"/>
                    </a:lnTo>
                    <a:lnTo>
                      <a:pt x="1351" y="241"/>
                    </a:lnTo>
                    <a:lnTo>
                      <a:pt x="1319" y="228"/>
                    </a:lnTo>
                    <a:lnTo>
                      <a:pt x="1280" y="211"/>
                    </a:lnTo>
                    <a:lnTo>
                      <a:pt x="1234" y="194"/>
                    </a:lnTo>
                    <a:lnTo>
                      <a:pt x="1181" y="175"/>
                    </a:lnTo>
                    <a:lnTo>
                      <a:pt x="1123" y="155"/>
                    </a:lnTo>
                    <a:lnTo>
                      <a:pt x="1059" y="135"/>
                    </a:lnTo>
                    <a:lnTo>
                      <a:pt x="991" y="115"/>
                    </a:lnTo>
                    <a:lnTo>
                      <a:pt x="918" y="96"/>
                    </a:lnTo>
                    <a:lnTo>
                      <a:pt x="844" y="78"/>
                    </a:lnTo>
                    <a:lnTo>
                      <a:pt x="805" y="69"/>
                    </a:lnTo>
                    <a:lnTo>
                      <a:pt x="765" y="61"/>
                    </a:lnTo>
                    <a:lnTo>
                      <a:pt x="726" y="54"/>
                    </a:lnTo>
                    <a:lnTo>
                      <a:pt x="685" y="47"/>
                    </a:lnTo>
                    <a:lnTo>
                      <a:pt x="645" y="42"/>
                    </a:lnTo>
                    <a:lnTo>
                      <a:pt x="604" y="37"/>
                    </a:lnTo>
                    <a:lnTo>
                      <a:pt x="563" y="32"/>
                    </a:lnTo>
                    <a:lnTo>
                      <a:pt x="521" y="29"/>
                    </a:lnTo>
                    <a:lnTo>
                      <a:pt x="494" y="27"/>
                    </a:lnTo>
                    <a:lnTo>
                      <a:pt x="468" y="27"/>
                    </a:lnTo>
                    <a:lnTo>
                      <a:pt x="442" y="27"/>
                    </a:lnTo>
                    <a:lnTo>
                      <a:pt x="416" y="27"/>
                    </a:lnTo>
                    <a:lnTo>
                      <a:pt x="392" y="29"/>
                    </a:lnTo>
                    <a:lnTo>
                      <a:pt x="368" y="31"/>
                    </a:lnTo>
                    <a:lnTo>
                      <a:pt x="344" y="33"/>
                    </a:lnTo>
                    <a:lnTo>
                      <a:pt x="321" y="37"/>
                    </a:lnTo>
                    <a:lnTo>
                      <a:pt x="277" y="44"/>
                    </a:lnTo>
                    <a:lnTo>
                      <a:pt x="236" y="53"/>
                    </a:lnTo>
                    <a:lnTo>
                      <a:pt x="198" y="62"/>
                    </a:lnTo>
                    <a:lnTo>
                      <a:pt x="163" y="73"/>
                    </a:lnTo>
                    <a:lnTo>
                      <a:pt x="131" y="84"/>
                    </a:lnTo>
                    <a:lnTo>
                      <a:pt x="103" y="95"/>
                    </a:lnTo>
                    <a:lnTo>
                      <a:pt x="78" y="105"/>
                    </a:lnTo>
                    <a:lnTo>
                      <a:pt x="58" y="114"/>
                    </a:lnTo>
                    <a:lnTo>
                      <a:pt x="30" y="128"/>
                    </a:lnTo>
                    <a:lnTo>
                      <a:pt x="20" y="134"/>
                    </a:lnTo>
                    <a:lnTo>
                      <a:pt x="15" y="136"/>
                    </a:lnTo>
                    <a:lnTo>
                      <a:pt x="9" y="136"/>
                    </a:lnTo>
                    <a:lnTo>
                      <a:pt x="5" y="134"/>
                    </a:lnTo>
                    <a:lnTo>
                      <a:pt x="2" y="129"/>
                    </a:lnTo>
                    <a:lnTo>
                      <a:pt x="0" y="124"/>
                    </a:lnTo>
                    <a:lnTo>
                      <a:pt x="0" y="120"/>
                    </a:lnTo>
                    <a:lnTo>
                      <a:pt x="2" y="114"/>
                    </a:lnTo>
                    <a:lnTo>
                      <a:pt x="6" y="111"/>
                    </a:lnTo>
                    <a:lnTo>
                      <a:pt x="18" y="104"/>
                    </a:lnTo>
                    <a:lnTo>
                      <a:pt x="48" y="88"/>
                    </a:lnTo>
                    <a:lnTo>
                      <a:pt x="70" y="79"/>
                    </a:lnTo>
                    <a:lnTo>
                      <a:pt x="95" y="69"/>
                    </a:lnTo>
                    <a:lnTo>
                      <a:pt x="124" y="57"/>
                    </a:lnTo>
                    <a:lnTo>
                      <a:pt x="156" y="46"/>
                    </a:lnTo>
                    <a:lnTo>
                      <a:pt x="192" y="35"/>
                    </a:lnTo>
                    <a:lnTo>
                      <a:pt x="231" y="26"/>
                    </a:lnTo>
                    <a:lnTo>
                      <a:pt x="273" y="17"/>
                    </a:lnTo>
                    <a:lnTo>
                      <a:pt x="318" y="10"/>
                    </a:lnTo>
                    <a:lnTo>
                      <a:pt x="342" y="6"/>
                    </a:lnTo>
                    <a:lnTo>
                      <a:pt x="366" y="3"/>
                    </a:lnTo>
                    <a:lnTo>
                      <a:pt x="390" y="2"/>
                    </a:lnTo>
                    <a:lnTo>
                      <a:pt x="415" y="0"/>
                    </a:lnTo>
                    <a:lnTo>
                      <a:pt x="442" y="0"/>
                    </a:lnTo>
                    <a:lnTo>
                      <a:pt x="468" y="0"/>
                    </a:lnTo>
                    <a:lnTo>
                      <a:pt x="495" y="0"/>
                    </a:lnTo>
                    <a:lnTo>
                      <a:pt x="523" y="2"/>
                    </a:lnTo>
                    <a:lnTo>
                      <a:pt x="565" y="5"/>
                    </a:lnTo>
                    <a:lnTo>
                      <a:pt x="606" y="10"/>
                    </a:lnTo>
                    <a:lnTo>
                      <a:pt x="649" y="15"/>
                    </a:lnTo>
                    <a:lnTo>
                      <a:pt x="690" y="20"/>
                    </a:lnTo>
                    <a:lnTo>
                      <a:pt x="731" y="28"/>
                    </a:lnTo>
                    <a:lnTo>
                      <a:pt x="771" y="34"/>
                    </a:lnTo>
                    <a:lnTo>
                      <a:pt x="810" y="43"/>
                    </a:lnTo>
                    <a:lnTo>
                      <a:pt x="849" y="52"/>
                    </a:lnTo>
                    <a:lnTo>
                      <a:pt x="925" y="70"/>
                    </a:lnTo>
                    <a:lnTo>
                      <a:pt x="998" y="89"/>
                    </a:lnTo>
                    <a:lnTo>
                      <a:pt x="1066" y="109"/>
                    </a:lnTo>
                    <a:lnTo>
                      <a:pt x="1131" y="129"/>
                    </a:lnTo>
                    <a:lnTo>
                      <a:pt x="1191" y="150"/>
                    </a:lnTo>
                    <a:lnTo>
                      <a:pt x="1243" y="169"/>
                    </a:lnTo>
                    <a:lnTo>
                      <a:pt x="1290" y="187"/>
                    </a:lnTo>
                    <a:lnTo>
                      <a:pt x="1330" y="203"/>
                    </a:lnTo>
                    <a:lnTo>
                      <a:pt x="1362" y="216"/>
                    </a:lnTo>
                    <a:lnTo>
                      <a:pt x="1386" y="227"/>
                    </a:lnTo>
                    <a:lnTo>
                      <a:pt x="1401" y="233"/>
                    </a:lnTo>
                    <a:lnTo>
                      <a:pt x="1408" y="235"/>
                    </a:lnTo>
                    <a:lnTo>
                      <a:pt x="1412" y="238"/>
                    </a:lnTo>
                    <a:lnTo>
                      <a:pt x="1414" y="243"/>
                    </a:lnTo>
                    <a:lnTo>
                      <a:pt x="1415" y="248"/>
                    </a:lnTo>
                    <a:lnTo>
                      <a:pt x="1414" y="254"/>
                    </a:lnTo>
                    <a:lnTo>
                      <a:pt x="1412" y="257"/>
                    </a:lnTo>
                    <a:lnTo>
                      <a:pt x="1409" y="259"/>
                    </a:lnTo>
                    <a:lnTo>
                      <a:pt x="1405" y="261"/>
                    </a:lnTo>
                    <a:lnTo>
                      <a:pt x="1401"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51"/>
              <p:cNvSpPr>
                <a:spLocks/>
              </p:cNvSpPr>
              <p:nvPr userDrawn="1"/>
            </p:nvSpPr>
            <p:spPr bwMode="auto">
              <a:xfrm>
                <a:off x="2822" y="3524"/>
                <a:ext cx="462" cy="103"/>
              </a:xfrm>
              <a:custGeom>
                <a:avLst/>
                <a:gdLst>
                  <a:gd name="T0" fmla="*/ 1371 w 1387"/>
                  <a:gd name="T1" fmla="*/ 310 h 310"/>
                  <a:gd name="T2" fmla="*/ 1336 w 1387"/>
                  <a:gd name="T3" fmla="*/ 296 h 310"/>
                  <a:gd name="T4" fmla="*/ 1264 w 1387"/>
                  <a:gd name="T5" fmla="*/ 260 h 310"/>
                  <a:gd name="T6" fmla="*/ 1146 w 1387"/>
                  <a:gd name="T7" fmla="*/ 200 h 310"/>
                  <a:gd name="T8" fmla="*/ 1021 w 1387"/>
                  <a:gd name="T9" fmla="*/ 140 h 310"/>
                  <a:gd name="T10" fmla="*/ 932 w 1387"/>
                  <a:gd name="T11" fmla="*/ 104 h 310"/>
                  <a:gd name="T12" fmla="*/ 838 w 1387"/>
                  <a:gd name="T13" fmla="*/ 71 h 310"/>
                  <a:gd name="T14" fmla="*/ 764 w 1387"/>
                  <a:gd name="T15" fmla="*/ 52 h 310"/>
                  <a:gd name="T16" fmla="*/ 714 w 1387"/>
                  <a:gd name="T17" fmla="*/ 42 h 310"/>
                  <a:gd name="T18" fmla="*/ 664 w 1387"/>
                  <a:gd name="T19" fmla="*/ 35 h 310"/>
                  <a:gd name="T20" fmla="*/ 613 w 1387"/>
                  <a:gd name="T21" fmla="*/ 29 h 310"/>
                  <a:gd name="T22" fmla="*/ 561 w 1387"/>
                  <a:gd name="T23" fmla="*/ 28 h 310"/>
                  <a:gd name="T24" fmla="*/ 509 w 1387"/>
                  <a:gd name="T25" fmla="*/ 29 h 310"/>
                  <a:gd name="T26" fmla="*/ 434 w 1387"/>
                  <a:gd name="T27" fmla="*/ 37 h 310"/>
                  <a:gd name="T28" fmla="*/ 340 w 1387"/>
                  <a:gd name="T29" fmla="*/ 51 h 310"/>
                  <a:gd name="T30" fmla="*/ 256 w 1387"/>
                  <a:gd name="T31" fmla="*/ 67 h 310"/>
                  <a:gd name="T32" fmla="*/ 182 w 1387"/>
                  <a:gd name="T33" fmla="*/ 84 h 310"/>
                  <a:gd name="T34" fmla="*/ 95 w 1387"/>
                  <a:gd name="T35" fmla="*/ 108 h 310"/>
                  <a:gd name="T36" fmla="*/ 28 w 1387"/>
                  <a:gd name="T37" fmla="*/ 130 h 310"/>
                  <a:gd name="T38" fmla="*/ 13 w 1387"/>
                  <a:gd name="T39" fmla="*/ 134 h 310"/>
                  <a:gd name="T40" fmla="*/ 4 w 1387"/>
                  <a:gd name="T41" fmla="*/ 131 h 310"/>
                  <a:gd name="T42" fmla="*/ 0 w 1387"/>
                  <a:gd name="T43" fmla="*/ 121 h 310"/>
                  <a:gd name="T44" fmla="*/ 4 w 1387"/>
                  <a:gd name="T45" fmla="*/ 111 h 310"/>
                  <a:gd name="T46" fmla="*/ 18 w 1387"/>
                  <a:gd name="T47" fmla="*/ 105 h 310"/>
                  <a:gd name="T48" fmla="*/ 86 w 1387"/>
                  <a:gd name="T49" fmla="*/ 82 h 310"/>
                  <a:gd name="T50" fmla="*/ 175 w 1387"/>
                  <a:gd name="T51" fmla="*/ 58 h 310"/>
                  <a:gd name="T52" fmla="*/ 249 w 1387"/>
                  <a:gd name="T53" fmla="*/ 41 h 310"/>
                  <a:gd name="T54" fmla="*/ 334 w 1387"/>
                  <a:gd name="T55" fmla="*/ 25 h 310"/>
                  <a:gd name="T56" fmla="*/ 429 w 1387"/>
                  <a:gd name="T57" fmla="*/ 11 h 310"/>
                  <a:gd name="T58" fmla="*/ 507 w 1387"/>
                  <a:gd name="T59" fmla="*/ 2 h 310"/>
                  <a:gd name="T60" fmla="*/ 561 w 1387"/>
                  <a:gd name="T61" fmla="*/ 0 h 310"/>
                  <a:gd name="T62" fmla="*/ 614 w 1387"/>
                  <a:gd name="T63" fmla="*/ 2 h 310"/>
                  <a:gd name="T64" fmla="*/ 666 w 1387"/>
                  <a:gd name="T65" fmla="*/ 8 h 310"/>
                  <a:gd name="T66" fmla="*/ 718 w 1387"/>
                  <a:gd name="T67" fmla="*/ 15 h 310"/>
                  <a:gd name="T68" fmla="*/ 768 w 1387"/>
                  <a:gd name="T69" fmla="*/ 25 h 310"/>
                  <a:gd name="T70" fmla="*/ 843 w 1387"/>
                  <a:gd name="T71" fmla="*/ 45 h 310"/>
                  <a:gd name="T72" fmla="*/ 939 w 1387"/>
                  <a:gd name="T73" fmla="*/ 78 h 310"/>
                  <a:gd name="T74" fmla="*/ 1031 w 1387"/>
                  <a:gd name="T75" fmla="*/ 116 h 310"/>
                  <a:gd name="T76" fmla="*/ 1157 w 1387"/>
                  <a:gd name="T77" fmla="*/ 176 h 310"/>
                  <a:gd name="T78" fmla="*/ 1276 w 1387"/>
                  <a:gd name="T79" fmla="*/ 235 h 310"/>
                  <a:gd name="T80" fmla="*/ 1347 w 1387"/>
                  <a:gd name="T81" fmla="*/ 271 h 310"/>
                  <a:gd name="T82" fmla="*/ 1384 w 1387"/>
                  <a:gd name="T83" fmla="*/ 287 h 310"/>
                  <a:gd name="T84" fmla="*/ 1387 w 1387"/>
                  <a:gd name="T85" fmla="*/ 297 h 310"/>
                  <a:gd name="T86" fmla="*/ 1384 w 1387"/>
                  <a:gd name="T87" fmla="*/ 306 h 310"/>
                  <a:gd name="T88" fmla="*/ 1377 w 1387"/>
                  <a:gd name="T8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87" h="310">
                    <a:moveTo>
                      <a:pt x="1374" y="310"/>
                    </a:moveTo>
                    <a:lnTo>
                      <a:pt x="1371" y="310"/>
                    </a:lnTo>
                    <a:lnTo>
                      <a:pt x="1369" y="310"/>
                    </a:lnTo>
                    <a:lnTo>
                      <a:pt x="1336" y="296"/>
                    </a:lnTo>
                    <a:lnTo>
                      <a:pt x="1302" y="279"/>
                    </a:lnTo>
                    <a:lnTo>
                      <a:pt x="1264" y="260"/>
                    </a:lnTo>
                    <a:lnTo>
                      <a:pt x="1223" y="239"/>
                    </a:lnTo>
                    <a:lnTo>
                      <a:pt x="1146" y="200"/>
                    </a:lnTo>
                    <a:lnTo>
                      <a:pt x="1064" y="161"/>
                    </a:lnTo>
                    <a:lnTo>
                      <a:pt x="1021" y="140"/>
                    </a:lnTo>
                    <a:lnTo>
                      <a:pt x="977" y="122"/>
                    </a:lnTo>
                    <a:lnTo>
                      <a:pt x="932" y="104"/>
                    </a:lnTo>
                    <a:lnTo>
                      <a:pt x="885" y="88"/>
                    </a:lnTo>
                    <a:lnTo>
                      <a:pt x="838" y="71"/>
                    </a:lnTo>
                    <a:lnTo>
                      <a:pt x="789" y="58"/>
                    </a:lnTo>
                    <a:lnTo>
                      <a:pt x="764" y="52"/>
                    </a:lnTo>
                    <a:lnTo>
                      <a:pt x="739" y="47"/>
                    </a:lnTo>
                    <a:lnTo>
                      <a:pt x="714" y="42"/>
                    </a:lnTo>
                    <a:lnTo>
                      <a:pt x="690" y="38"/>
                    </a:lnTo>
                    <a:lnTo>
                      <a:pt x="664" y="35"/>
                    </a:lnTo>
                    <a:lnTo>
                      <a:pt x="639" y="31"/>
                    </a:lnTo>
                    <a:lnTo>
                      <a:pt x="613" y="29"/>
                    </a:lnTo>
                    <a:lnTo>
                      <a:pt x="587" y="28"/>
                    </a:lnTo>
                    <a:lnTo>
                      <a:pt x="561" y="28"/>
                    </a:lnTo>
                    <a:lnTo>
                      <a:pt x="535" y="28"/>
                    </a:lnTo>
                    <a:lnTo>
                      <a:pt x="509" y="29"/>
                    </a:lnTo>
                    <a:lnTo>
                      <a:pt x="483" y="31"/>
                    </a:lnTo>
                    <a:lnTo>
                      <a:pt x="434" y="37"/>
                    </a:lnTo>
                    <a:lnTo>
                      <a:pt x="385" y="44"/>
                    </a:lnTo>
                    <a:lnTo>
                      <a:pt x="340" y="51"/>
                    </a:lnTo>
                    <a:lnTo>
                      <a:pt x="296" y="59"/>
                    </a:lnTo>
                    <a:lnTo>
                      <a:pt x="256" y="67"/>
                    </a:lnTo>
                    <a:lnTo>
                      <a:pt x="217" y="76"/>
                    </a:lnTo>
                    <a:lnTo>
                      <a:pt x="182" y="84"/>
                    </a:lnTo>
                    <a:lnTo>
                      <a:pt x="150" y="93"/>
                    </a:lnTo>
                    <a:lnTo>
                      <a:pt x="95" y="108"/>
                    </a:lnTo>
                    <a:lnTo>
                      <a:pt x="54" y="121"/>
                    </a:lnTo>
                    <a:lnTo>
                      <a:pt x="28" y="130"/>
                    </a:lnTo>
                    <a:lnTo>
                      <a:pt x="18" y="134"/>
                    </a:lnTo>
                    <a:lnTo>
                      <a:pt x="13" y="134"/>
                    </a:lnTo>
                    <a:lnTo>
                      <a:pt x="8" y="133"/>
                    </a:lnTo>
                    <a:lnTo>
                      <a:pt x="4" y="131"/>
                    </a:lnTo>
                    <a:lnTo>
                      <a:pt x="1" y="125"/>
                    </a:lnTo>
                    <a:lnTo>
                      <a:pt x="0" y="121"/>
                    </a:lnTo>
                    <a:lnTo>
                      <a:pt x="1" y="116"/>
                    </a:lnTo>
                    <a:lnTo>
                      <a:pt x="4" y="111"/>
                    </a:lnTo>
                    <a:lnTo>
                      <a:pt x="8" y="108"/>
                    </a:lnTo>
                    <a:lnTo>
                      <a:pt x="18" y="105"/>
                    </a:lnTo>
                    <a:lnTo>
                      <a:pt x="44" y="96"/>
                    </a:lnTo>
                    <a:lnTo>
                      <a:pt x="86" y="82"/>
                    </a:lnTo>
                    <a:lnTo>
                      <a:pt x="142" y="67"/>
                    </a:lnTo>
                    <a:lnTo>
                      <a:pt x="175" y="58"/>
                    </a:lnTo>
                    <a:lnTo>
                      <a:pt x="210" y="50"/>
                    </a:lnTo>
                    <a:lnTo>
                      <a:pt x="249" y="41"/>
                    </a:lnTo>
                    <a:lnTo>
                      <a:pt x="291" y="32"/>
                    </a:lnTo>
                    <a:lnTo>
                      <a:pt x="334" y="25"/>
                    </a:lnTo>
                    <a:lnTo>
                      <a:pt x="381" y="17"/>
                    </a:lnTo>
                    <a:lnTo>
                      <a:pt x="429" y="11"/>
                    </a:lnTo>
                    <a:lnTo>
                      <a:pt x="480" y="4"/>
                    </a:lnTo>
                    <a:lnTo>
                      <a:pt x="507" y="2"/>
                    </a:lnTo>
                    <a:lnTo>
                      <a:pt x="534" y="1"/>
                    </a:lnTo>
                    <a:lnTo>
                      <a:pt x="561" y="0"/>
                    </a:lnTo>
                    <a:lnTo>
                      <a:pt x="587" y="1"/>
                    </a:lnTo>
                    <a:lnTo>
                      <a:pt x="614" y="2"/>
                    </a:lnTo>
                    <a:lnTo>
                      <a:pt x="640" y="4"/>
                    </a:lnTo>
                    <a:lnTo>
                      <a:pt x="666" y="8"/>
                    </a:lnTo>
                    <a:lnTo>
                      <a:pt x="692" y="11"/>
                    </a:lnTo>
                    <a:lnTo>
                      <a:pt x="718" y="15"/>
                    </a:lnTo>
                    <a:lnTo>
                      <a:pt x="743" y="20"/>
                    </a:lnTo>
                    <a:lnTo>
                      <a:pt x="768" y="25"/>
                    </a:lnTo>
                    <a:lnTo>
                      <a:pt x="793" y="31"/>
                    </a:lnTo>
                    <a:lnTo>
                      <a:pt x="843" y="45"/>
                    </a:lnTo>
                    <a:lnTo>
                      <a:pt x="892" y="61"/>
                    </a:lnTo>
                    <a:lnTo>
                      <a:pt x="939" y="78"/>
                    </a:lnTo>
                    <a:lnTo>
                      <a:pt x="986" y="96"/>
                    </a:lnTo>
                    <a:lnTo>
                      <a:pt x="1031" y="116"/>
                    </a:lnTo>
                    <a:lnTo>
                      <a:pt x="1074" y="135"/>
                    </a:lnTo>
                    <a:lnTo>
                      <a:pt x="1157" y="176"/>
                    </a:lnTo>
                    <a:lnTo>
                      <a:pt x="1235" y="215"/>
                    </a:lnTo>
                    <a:lnTo>
                      <a:pt x="1276" y="235"/>
                    </a:lnTo>
                    <a:lnTo>
                      <a:pt x="1313" y="255"/>
                    </a:lnTo>
                    <a:lnTo>
                      <a:pt x="1347" y="271"/>
                    </a:lnTo>
                    <a:lnTo>
                      <a:pt x="1379" y="284"/>
                    </a:lnTo>
                    <a:lnTo>
                      <a:pt x="1384" y="287"/>
                    </a:lnTo>
                    <a:lnTo>
                      <a:pt x="1386" y="292"/>
                    </a:lnTo>
                    <a:lnTo>
                      <a:pt x="1387" y="297"/>
                    </a:lnTo>
                    <a:lnTo>
                      <a:pt x="1386" y="302"/>
                    </a:lnTo>
                    <a:lnTo>
                      <a:pt x="1384" y="306"/>
                    </a:lnTo>
                    <a:lnTo>
                      <a:pt x="1382" y="308"/>
                    </a:lnTo>
                    <a:lnTo>
                      <a:pt x="1377" y="310"/>
                    </a:lnTo>
                    <a:lnTo>
                      <a:pt x="1374" y="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52"/>
              <p:cNvSpPr>
                <a:spLocks/>
              </p:cNvSpPr>
              <p:nvPr userDrawn="1"/>
            </p:nvSpPr>
            <p:spPr bwMode="auto">
              <a:xfrm>
                <a:off x="3260" y="3882"/>
                <a:ext cx="479" cy="438"/>
              </a:xfrm>
              <a:custGeom>
                <a:avLst/>
                <a:gdLst>
                  <a:gd name="T0" fmla="*/ 1372 w 1438"/>
                  <a:gd name="T1" fmla="*/ 1260 h 1313"/>
                  <a:gd name="T2" fmla="*/ 1300 w 1438"/>
                  <a:gd name="T3" fmla="*/ 1154 h 1313"/>
                  <a:gd name="T4" fmla="*/ 1223 w 1438"/>
                  <a:gd name="T5" fmla="*/ 1049 h 1313"/>
                  <a:gd name="T6" fmla="*/ 1143 w 1438"/>
                  <a:gd name="T7" fmla="*/ 943 h 1313"/>
                  <a:gd name="T8" fmla="*/ 1061 w 1438"/>
                  <a:gd name="T9" fmla="*/ 839 h 1313"/>
                  <a:gd name="T10" fmla="*/ 977 w 1438"/>
                  <a:gd name="T11" fmla="*/ 738 h 1313"/>
                  <a:gd name="T12" fmla="*/ 853 w 1438"/>
                  <a:gd name="T13" fmla="*/ 593 h 1313"/>
                  <a:gd name="T14" fmla="*/ 693 w 1438"/>
                  <a:gd name="T15" fmla="*/ 416 h 1313"/>
                  <a:gd name="T16" fmla="*/ 550 w 1438"/>
                  <a:gd name="T17" fmla="*/ 264 h 1313"/>
                  <a:gd name="T18" fmla="*/ 433 w 1438"/>
                  <a:gd name="T19" fmla="*/ 143 h 1313"/>
                  <a:gd name="T20" fmla="*/ 352 w 1438"/>
                  <a:gd name="T21" fmla="*/ 62 h 1313"/>
                  <a:gd name="T22" fmla="*/ 28 w 1438"/>
                  <a:gd name="T23" fmla="*/ 705 h 1313"/>
                  <a:gd name="T24" fmla="*/ 34 w 1438"/>
                  <a:gd name="T25" fmla="*/ 770 h 1313"/>
                  <a:gd name="T26" fmla="*/ 49 w 1438"/>
                  <a:gd name="T27" fmla="*/ 903 h 1313"/>
                  <a:gd name="T28" fmla="*/ 73 w 1438"/>
                  <a:gd name="T29" fmla="*/ 1090 h 1313"/>
                  <a:gd name="T30" fmla="*/ 105 w 1438"/>
                  <a:gd name="T31" fmla="*/ 1313 h 1313"/>
                  <a:gd name="T32" fmla="*/ 59 w 1438"/>
                  <a:gd name="T33" fmla="*/ 1190 h 1313"/>
                  <a:gd name="T34" fmla="*/ 31 w 1438"/>
                  <a:gd name="T35" fmla="*/ 974 h 1313"/>
                  <a:gd name="T36" fmla="*/ 12 w 1438"/>
                  <a:gd name="T37" fmla="*/ 810 h 1313"/>
                  <a:gd name="T38" fmla="*/ 2 w 1438"/>
                  <a:gd name="T39" fmla="*/ 717 h 1313"/>
                  <a:gd name="T40" fmla="*/ 0 w 1438"/>
                  <a:gd name="T41" fmla="*/ 701 h 1313"/>
                  <a:gd name="T42" fmla="*/ 310 w 1438"/>
                  <a:gd name="T43" fmla="*/ 9 h 1313"/>
                  <a:gd name="T44" fmla="*/ 314 w 1438"/>
                  <a:gd name="T45" fmla="*/ 4 h 1313"/>
                  <a:gd name="T46" fmla="*/ 319 w 1438"/>
                  <a:gd name="T47" fmla="*/ 0 h 1313"/>
                  <a:gd name="T48" fmla="*/ 326 w 1438"/>
                  <a:gd name="T49" fmla="*/ 1 h 1313"/>
                  <a:gd name="T50" fmla="*/ 331 w 1438"/>
                  <a:gd name="T51" fmla="*/ 5 h 1313"/>
                  <a:gd name="T52" fmla="*/ 366 w 1438"/>
                  <a:gd name="T53" fmla="*/ 37 h 1313"/>
                  <a:gd name="T54" fmla="*/ 454 w 1438"/>
                  <a:gd name="T55" fmla="*/ 126 h 1313"/>
                  <a:gd name="T56" fmla="*/ 584 w 1438"/>
                  <a:gd name="T57" fmla="*/ 259 h 1313"/>
                  <a:gd name="T58" fmla="*/ 744 w 1438"/>
                  <a:gd name="T59" fmla="*/ 431 h 1313"/>
                  <a:gd name="T60" fmla="*/ 922 w 1438"/>
                  <a:gd name="T61" fmla="*/ 631 h 1313"/>
                  <a:gd name="T62" fmla="*/ 1013 w 1438"/>
                  <a:gd name="T63" fmla="*/ 739 h 1313"/>
                  <a:gd name="T64" fmla="*/ 1104 w 1438"/>
                  <a:gd name="T65" fmla="*/ 850 h 1313"/>
                  <a:gd name="T66" fmla="*/ 1194 w 1438"/>
                  <a:gd name="T67" fmla="*/ 964 h 1313"/>
                  <a:gd name="T68" fmla="*/ 1280 w 1438"/>
                  <a:gd name="T69" fmla="*/ 1081 h 1313"/>
                  <a:gd name="T70" fmla="*/ 1363 w 1438"/>
                  <a:gd name="T71" fmla="*/ 1197 h 1313"/>
                  <a:gd name="T72" fmla="*/ 1438 w 1438"/>
                  <a:gd name="T73" fmla="*/ 1313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38" h="1313">
                    <a:moveTo>
                      <a:pt x="1407" y="1313"/>
                    </a:moveTo>
                    <a:lnTo>
                      <a:pt x="1372" y="1260"/>
                    </a:lnTo>
                    <a:lnTo>
                      <a:pt x="1337" y="1207"/>
                    </a:lnTo>
                    <a:lnTo>
                      <a:pt x="1300" y="1154"/>
                    </a:lnTo>
                    <a:lnTo>
                      <a:pt x="1262" y="1101"/>
                    </a:lnTo>
                    <a:lnTo>
                      <a:pt x="1223" y="1049"/>
                    </a:lnTo>
                    <a:lnTo>
                      <a:pt x="1183" y="996"/>
                    </a:lnTo>
                    <a:lnTo>
                      <a:pt x="1143" y="943"/>
                    </a:lnTo>
                    <a:lnTo>
                      <a:pt x="1102" y="891"/>
                    </a:lnTo>
                    <a:lnTo>
                      <a:pt x="1061" y="839"/>
                    </a:lnTo>
                    <a:lnTo>
                      <a:pt x="1019" y="788"/>
                    </a:lnTo>
                    <a:lnTo>
                      <a:pt x="977" y="738"/>
                    </a:lnTo>
                    <a:lnTo>
                      <a:pt x="936" y="689"/>
                    </a:lnTo>
                    <a:lnTo>
                      <a:pt x="853" y="593"/>
                    </a:lnTo>
                    <a:lnTo>
                      <a:pt x="772" y="501"/>
                    </a:lnTo>
                    <a:lnTo>
                      <a:pt x="693" y="416"/>
                    </a:lnTo>
                    <a:lnTo>
                      <a:pt x="620" y="336"/>
                    </a:lnTo>
                    <a:lnTo>
                      <a:pt x="550" y="264"/>
                    </a:lnTo>
                    <a:lnTo>
                      <a:pt x="488" y="199"/>
                    </a:lnTo>
                    <a:lnTo>
                      <a:pt x="433" y="143"/>
                    </a:lnTo>
                    <a:lnTo>
                      <a:pt x="387" y="98"/>
                    </a:lnTo>
                    <a:lnTo>
                      <a:pt x="352" y="62"/>
                    </a:lnTo>
                    <a:lnTo>
                      <a:pt x="327" y="37"/>
                    </a:lnTo>
                    <a:lnTo>
                      <a:pt x="28" y="705"/>
                    </a:lnTo>
                    <a:lnTo>
                      <a:pt x="30" y="728"/>
                    </a:lnTo>
                    <a:lnTo>
                      <a:pt x="34" y="770"/>
                    </a:lnTo>
                    <a:lnTo>
                      <a:pt x="41" y="828"/>
                    </a:lnTo>
                    <a:lnTo>
                      <a:pt x="49" y="903"/>
                    </a:lnTo>
                    <a:lnTo>
                      <a:pt x="60" y="990"/>
                    </a:lnTo>
                    <a:lnTo>
                      <a:pt x="73" y="1090"/>
                    </a:lnTo>
                    <a:lnTo>
                      <a:pt x="87" y="1197"/>
                    </a:lnTo>
                    <a:lnTo>
                      <a:pt x="105" y="1313"/>
                    </a:lnTo>
                    <a:lnTo>
                      <a:pt x="78" y="1313"/>
                    </a:lnTo>
                    <a:lnTo>
                      <a:pt x="59" y="1190"/>
                    </a:lnTo>
                    <a:lnTo>
                      <a:pt x="44" y="1077"/>
                    </a:lnTo>
                    <a:lnTo>
                      <a:pt x="31" y="974"/>
                    </a:lnTo>
                    <a:lnTo>
                      <a:pt x="20" y="883"/>
                    </a:lnTo>
                    <a:lnTo>
                      <a:pt x="12" y="810"/>
                    </a:lnTo>
                    <a:lnTo>
                      <a:pt x="5" y="754"/>
                    </a:lnTo>
                    <a:lnTo>
                      <a:pt x="2" y="717"/>
                    </a:lnTo>
                    <a:lnTo>
                      <a:pt x="0" y="704"/>
                    </a:lnTo>
                    <a:lnTo>
                      <a:pt x="0" y="701"/>
                    </a:lnTo>
                    <a:lnTo>
                      <a:pt x="1" y="698"/>
                    </a:lnTo>
                    <a:lnTo>
                      <a:pt x="310" y="9"/>
                    </a:lnTo>
                    <a:lnTo>
                      <a:pt x="312" y="6"/>
                    </a:lnTo>
                    <a:lnTo>
                      <a:pt x="314" y="4"/>
                    </a:lnTo>
                    <a:lnTo>
                      <a:pt x="316" y="1"/>
                    </a:lnTo>
                    <a:lnTo>
                      <a:pt x="319" y="0"/>
                    </a:lnTo>
                    <a:lnTo>
                      <a:pt x="323" y="0"/>
                    </a:lnTo>
                    <a:lnTo>
                      <a:pt x="326" y="1"/>
                    </a:lnTo>
                    <a:lnTo>
                      <a:pt x="329" y="3"/>
                    </a:lnTo>
                    <a:lnTo>
                      <a:pt x="331" y="5"/>
                    </a:lnTo>
                    <a:lnTo>
                      <a:pt x="341" y="13"/>
                    </a:lnTo>
                    <a:lnTo>
                      <a:pt x="366" y="37"/>
                    </a:lnTo>
                    <a:lnTo>
                      <a:pt x="404" y="75"/>
                    </a:lnTo>
                    <a:lnTo>
                      <a:pt x="454" y="126"/>
                    </a:lnTo>
                    <a:lnTo>
                      <a:pt x="515" y="187"/>
                    </a:lnTo>
                    <a:lnTo>
                      <a:pt x="584" y="259"/>
                    </a:lnTo>
                    <a:lnTo>
                      <a:pt x="661" y="341"/>
                    </a:lnTo>
                    <a:lnTo>
                      <a:pt x="744" y="431"/>
                    </a:lnTo>
                    <a:lnTo>
                      <a:pt x="831" y="528"/>
                    </a:lnTo>
                    <a:lnTo>
                      <a:pt x="922" y="631"/>
                    </a:lnTo>
                    <a:lnTo>
                      <a:pt x="967" y="684"/>
                    </a:lnTo>
                    <a:lnTo>
                      <a:pt x="1013" y="739"/>
                    </a:lnTo>
                    <a:lnTo>
                      <a:pt x="1059" y="794"/>
                    </a:lnTo>
                    <a:lnTo>
                      <a:pt x="1104" y="850"/>
                    </a:lnTo>
                    <a:lnTo>
                      <a:pt x="1150" y="907"/>
                    </a:lnTo>
                    <a:lnTo>
                      <a:pt x="1194" y="964"/>
                    </a:lnTo>
                    <a:lnTo>
                      <a:pt x="1238" y="1023"/>
                    </a:lnTo>
                    <a:lnTo>
                      <a:pt x="1280" y="1081"/>
                    </a:lnTo>
                    <a:lnTo>
                      <a:pt x="1323" y="1139"/>
                    </a:lnTo>
                    <a:lnTo>
                      <a:pt x="1363" y="1197"/>
                    </a:lnTo>
                    <a:lnTo>
                      <a:pt x="1401" y="1255"/>
                    </a:lnTo>
                    <a:lnTo>
                      <a:pt x="1438" y="1313"/>
                    </a:lnTo>
                    <a:lnTo>
                      <a:pt x="1407" y="1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53"/>
              <p:cNvSpPr>
                <a:spLocks/>
              </p:cNvSpPr>
              <p:nvPr userDrawn="1"/>
            </p:nvSpPr>
            <p:spPr bwMode="auto">
              <a:xfrm>
                <a:off x="1383" y="1496"/>
                <a:ext cx="1254" cy="1824"/>
              </a:xfrm>
              <a:custGeom>
                <a:avLst/>
                <a:gdLst>
                  <a:gd name="T0" fmla="*/ 3672 w 3761"/>
                  <a:gd name="T1" fmla="*/ 5422 h 5474"/>
                  <a:gd name="T2" fmla="*/ 3199 w 3761"/>
                  <a:gd name="T3" fmla="*/ 5291 h 5474"/>
                  <a:gd name="T4" fmla="*/ 2480 w 3761"/>
                  <a:gd name="T5" fmla="*/ 5217 h 5474"/>
                  <a:gd name="T6" fmla="*/ 1696 w 3761"/>
                  <a:gd name="T7" fmla="*/ 5206 h 5474"/>
                  <a:gd name="T8" fmla="*/ 1029 w 3761"/>
                  <a:gd name="T9" fmla="*/ 5263 h 5474"/>
                  <a:gd name="T10" fmla="*/ 807 w 3761"/>
                  <a:gd name="T11" fmla="*/ 5301 h 5474"/>
                  <a:gd name="T12" fmla="*/ 641 w 3761"/>
                  <a:gd name="T13" fmla="*/ 5278 h 5474"/>
                  <a:gd name="T14" fmla="*/ 394 w 3761"/>
                  <a:gd name="T15" fmla="*/ 5171 h 5474"/>
                  <a:gd name="T16" fmla="*/ 250 w 3761"/>
                  <a:gd name="T17" fmla="*/ 5060 h 5474"/>
                  <a:gd name="T18" fmla="*/ 126 w 3761"/>
                  <a:gd name="T19" fmla="*/ 4909 h 5474"/>
                  <a:gd name="T20" fmla="*/ 38 w 3761"/>
                  <a:gd name="T21" fmla="*/ 4740 h 5474"/>
                  <a:gd name="T22" fmla="*/ 0 w 3761"/>
                  <a:gd name="T23" fmla="*/ 4580 h 5474"/>
                  <a:gd name="T24" fmla="*/ 25 w 3761"/>
                  <a:gd name="T25" fmla="*/ 4476 h 5474"/>
                  <a:gd name="T26" fmla="*/ 108 w 3761"/>
                  <a:gd name="T27" fmla="*/ 4439 h 5474"/>
                  <a:gd name="T28" fmla="*/ 402 w 3761"/>
                  <a:gd name="T29" fmla="*/ 4360 h 5474"/>
                  <a:gd name="T30" fmla="*/ 726 w 3761"/>
                  <a:gd name="T31" fmla="*/ 4270 h 5474"/>
                  <a:gd name="T32" fmla="*/ 935 w 3761"/>
                  <a:gd name="T33" fmla="*/ 4158 h 5474"/>
                  <a:gd name="T34" fmla="*/ 1115 w 3761"/>
                  <a:gd name="T35" fmla="*/ 3980 h 5474"/>
                  <a:gd name="T36" fmla="*/ 1210 w 3761"/>
                  <a:gd name="T37" fmla="*/ 3782 h 5474"/>
                  <a:gd name="T38" fmla="*/ 1231 w 3761"/>
                  <a:gd name="T39" fmla="*/ 3579 h 5474"/>
                  <a:gd name="T40" fmla="*/ 1188 w 3761"/>
                  <a:gd name="T41" fmla="*/ 3389 h 5474"/>
                  <a:gd name="T42" fmla="*/ 1014 w 3761"/>
                  <a:gd name="T43" fmla="*/ 3132 h 5474"/>
                  <a:gd name="T44" fmla="*/ 773 w 3761"/>
                  <a:gd name="T45" fmla="*/ 2835 h 5474"/>
                  <a:gd name="T46" fmla="*/ 623 w 3761"/>
                  <a:gd name="T47" fmla="*/ 2608 h 5474"/>
                  <a:gd name="T48" fmla="*/ 465 w 3761"/>
                  <a:gd name="T49" fmla="*/ 2193 h 5474"/>
                  <a:gd name="T50" fmla="*/ 351 w 3761"/>
                  <a:gd name="T51" fmla="*/ 1636 h 5474"/>
                  <a:gd name="T52" fmla="*/ 337 w 3761"/>
                  <a:gd name="T53" fmla="*/ 1127 h 5474"/>
                  <a:gd name="T54" fmla="*/ 434 w 3761"/>
                  <a:gd name="T55" fmla="*/ 790 h 5474"/>
                  <a:gd name="T56" fmla="*/ 620 w 3761"/>
                  <a:gd name="T57" fmla="*/ 486 h 5474"/>
                  <a:gd name="T58" fmla="*/ 881 w 3761"/>
                  <a:gd name="T59" fmla="*/ 229 h 5474"/>
                  <a:gd name="T60" fmla="*/ 1203 w 3761"/>
                  <a:gd name="T61" fmla="*/ 40 h 5474"/>
                  <a:gd name="T62" fmla="*/ 1321 w 3761"/>
                  <a:gd name="T63" fmla="*/ 14 h 5474"/>
                  <a:gd name="T64" fmla="*/ 1118 w 3761"/>
                  <a:gd name="T65" fmla="*/ 110 h 5474"/>
                  <a:gd name="T66" fmla="*/ 817 w 3761"/>
                  <a:gd name="T67" fmla="*/ 316 h 5474"/>
                  <a:gd name="T68" fmla="*/ 581 w 3761"/>
                  <a:gd name="T69" fmla="*/ 583 h 5474"/>
                  <a:gd name="T70" fmla="*/ 422 w 3761"/>
                  <a:gd name="T71" fmla="*/ 892 h 5474"/>
                  <a:gd name="T72" fmla="*/ 354 w 3761"/>
                  <a:gd name="T73" fmla="*/ 1226 h 5474"/>
                  <a:gd name="T74" fmla="*/ 400 w 3761"/>
                  <a:gd name="T75" fmla="*/ 1792 h 5474"/>
                  <a:gd name="T76" fmla="*/ 540 w 3761"/>
                  <a:gd name="T77" fmla="*/ 2339 h 5474"/>
                  <a:gd name="T78" fmla="*/ 684 w 3761"/>
                  <a:gd name="T79" fmla="*/ 2661 h 5474"/>
                  <a:gd name="T80" fmla="*/ 839 w 3761"/>
                  <a:gd name="T81" fmla="*/ 2877 h 5474"/>
                  <a:gd name="T82" fmla="*/ 1099 w 3761"/>
                  <a:gd name="T83" fmla="*/ 3197 h 5474"/>
                  <a:gd name="T84" fmla="*/ 1232 w 3761"/>
                  <a:gd name="T85" fmla="*/ 3432 h 5474"/>
                  <a:gd name="T86" fmla="*/ 1259 w 3761"/>
                  <a:gd name="T87" fmla="*/ 3636 h 5474"/>
                  <a:gd name="T88" fmla="*/ 1217 w 3761"/>
                  <a:gd name="T89" fmla="*/ 3849 h 5474"/>
                  <a:gd name="T90" fmla="*/ 1095 w 3761"/>
                  <a:gd name="T91" fmla="*/ 4050 h 5474"/>
                  <a:gd name="T92" fmla="*/ 880 w 3761"/>
                  <a:gd name="T93" fmla="*/ 4226 h 5474"/>
                  <a:gd name="T94" fmla="*/ 679 w 3761"/>
                  <a:gd name="T95" fmla="*/ 4315 h 5474"/>
                  <a:gd name="T96" fmla="*/ 324 w 3761"/>
                  <a:gd name="T97" fmla="*/ 4406 h 5474"/>
                  <a:gd name="T98" fmla="*/ 73 w 3761"/>
                  <a:gd name="T99" fmla="*/ 4481 h 5474"/>
                  <a:gd name="T100" fmla="*/ 34 w 3761"/>
                  <a:gd name="T101" fmla="*/ 4509 h 5474"/>
                  <a:gd name="T102" fmla="*/ 32 w 3761"/>
                  <a:gd name="T103" fmla="*/ 4623 h 5474"/>
                  <a:gd name="T104" fmla="*/ 85 w 3761"/>
                  <a:gd name="T105" fmla="*/ 4780 h 5474"/>
                  <a:gd name="T106" fmla="*/ 182 w 3761"/>
                  <a:gd name="T107" fmla="*/ 4939 h 5474"/>
                  <a:gd name="T108" fmla="*/ 307 w 3761"/>
                  <a:gd name="T109" fmla="*/ 5076 h 5474"/>
                  <a:gd name="T110" fmla="*/ 480 w 3761"/>
                  <a:gd name="T111" fmla="*/ 5184 h 5474"/>
                  <a:gd name="T112" fmla="*/ 703 w 3761"/>
                  <a:gd name="T113" fmla="*/ 5266 h 5474"/>
                  <a:gd name="T114" fmla="*/ 864 w 3761"/>
                  <a:gd name="T115" fmla="*/ 5268 h 5474"/>
                  <a:gd name="T116" fmla="*/ 1358 w 3761"/>
                  <a:gd name="T117" fmla="*/ 5200 h 5474"/>
                  <a:gd name="T118" fmla="*/ 2114 w 3761"/>
                  <a:gd name="T119" fmla="*/ 5181 h 5474"/>
                  <a:gd name="T120" fmla="*/ 2897 w 3761"/>
                  <a:gd name="T121" fmla="*/ 5225 h 5474"/>
                  <a:gd name="T122" fmla="*/ 3519 w 3761"/>
                  <a:gd name="T123" fmla="*/ 5334 h 5474"/>
                  <a:gd name="T124" fmla="*/ 3761 w 3761"/>
                  <a:gd name="T125" fmla="*/ 5461 h 5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61" h="5474">
                    <a:moveTo>
                      <a:pt x="3748" y="5474"/>
                    </a:moveTo>
                    <a:lnTo>
                      <a:pt x="3745" y="5474"/>
                    </a:lnTo>
                    <a:lnTo>
                      <a:pt x="3742" y="5473"/>
                    </a:lnTo>
                    <a:lnTo>
                      <a:pt x="3740" y="5472"/>
                    </a:lnTo>
                    <a:lnTo>
                      <a:pt x="3738" y="5470"/>
                    </a:lnTo>
                    <a:lnTo>
                      <a:pt x="3710" y="5445"/>
                    </a:lnTo>
                    <a:lnTo>
                      <a:pt x="3672" y="5422"/>
                    </a:lnTo>
                    <a:lnTo>
                      <a:pt x="3627" y="5400"/>
                    </a:lnTo>
                    <a:lnTo>
                      <a:pt x="3573" y="5379"/>
                    </a:lnTo>
                    <a:lnTo>
                      <a:pt x="3511" y="5359"/>
                    </a:lnTo>
                    <a:lnTo>
                      <a:pt x="3442" y="5340"/>
                    </a:lnTo>
                    <a:lnTo>
                      <a:pt x="3368" y="5323"/>
                    </a:lnTo>
                    <a:lnTo>
                      <a:pt x="3286" y="5307"/>
                    </a:lnTo>
                    <a:lnTo>
                      <a:pt x="3199" y="5291"/>
                    </a:lnTo>
                    <a:lnTo>
                      <a:pt x="3107" y="5277"/>
                    </a:lnTo>
                    <a:lnTo>
                      <a:pt x="3010" y="5264"/>
                    </a:lnTo>
                    <a:lnTo>
                      <a:pt x="2910" y="5252"/>
                    </a:lnTo>
                    <a:lnTo>
                      <a:pt x="2806" y="5242"/>
                    </a:lnTo>
                    <a:lnTo>
                      <a:pt x="2700" y="5232"/>
                    </a:lnTo>
                    <a:lnTo>
                      <a:pt x="2591" y="5225"/>
                    </a:lnTo>
                    <a:lnTo>
                      <a:pt x="2480" y="5217"/>
                    </a:lnTo>
                    <a:lnTo>
                      <a:pt x="2368" y="5212"/>
                    </a:lnTo>
                    <a:lnTo>
                      <a:pt x="2254" y="5208"/>
                    </a:lnTo>
                    <a:lnTo>
                      <a:pt x="2141" y="5205"/>
                    </a:lnTo>
                    <a:lnTo>
                      <a:pt x="2029" y="5203"/>
                    </a:lnTo>
                    <a:lnTo>
                      <a:pt x="1916" y="5203"/>
                    </a:lnTo>
                    <a:lnTo>
                      <a:pt x="1805" y="5204"/>
                    </a:lnTo>
                    <a:lnTo>
                      <a:pt x="1696" y="5206"/>
                    </a:lnTo>
                    <a:lnTo>
                      <a:pt x="1589" y="5211"/>
                    </a:lnTo>
                    <a:lnTo>
                      <a:pt x="1486" y="5215"/>
                    </a:lnTo>
                    <a:lnTo>
                      <a:pt x="1385" y="5222"/>
                    </a:lnTo>
                    <a:lnTo>
                      <a:pt x="1289" y="5230"/>
                    </a:lnTo>
                    <a:lnTo>
                      <a:pt x="1197" y="5239"/>
                    </a:lnTo>
                    <a:lnTo>
                      <a:pt x="1110" y="5250"/>
                    </a:lnTo>
                    <a:lnTo>
                      <a:pt x="1029" y="5263"/>
                    </a:lnTo>
                    <a:lnTo>
                      <a:pt x="953" y="5276"/>
                    </a:lnTo>
                    <a:lnTo>
                      <a:pt x="884" y="5292"/>
                    </a:lnTo>
                    <a:lnTo>
                      <a:pt x="869" y="5295"/>
                    </a:lnTo>
                    <a:lnTo>
                      <a:pt x="853" y="5297"/>
                    </a:lnTo>
                    <a:lnTo>
                      <a:pt x="838" y="5299"/>
                    </a:lnTo>
                    <a:lnTo>
                      <a:pt x="823" y="5300"/>
                    </a:lnTo>
                    <a:lnTo>
                      <a:pt x="807" y="5301"/>
                    </a:lnTo>
                    <a:lnTo>
                      <a:pt x="791" y="5303"/>
                    </a:lnTo>
                    <a:lnTo>
                      <a:pt x="776" y="5301"/>
                    </a:lnTo>
                    <a:lnTo>
                      <a:pt x="761" y="5301"/>
                    </a:lnTo>
                    <a:lnTo>
                      <a:pt x="731" y="5298"/>
                    </a:lnTo>
                    <a:lnTo>
                      <a:pt x="701" y="5293"/>
                    </a:lnTo>
                    <a:lnTo>
                      <a:pt x="670" y="5286"/>
                    </a:lnTo>
                    <a:lnTo>
                      <a:pt x="641" y="5278"/>
                    </a:lnTo>
                    <a:lnTo>
                      <a:pt x="612" y="5268"/>
                    </a:lnTo>
                    <a:lnTo>
                      <a:pt x="583" y="5258"/>
                    </a:lnTo>
                    <a:lnTo>
                      <a:pt x="554" y="5246"/>
                    </a:lnTo>
                    <a:lnTo>
                      <a:pt x="526" y="5235"/>
                    </a:lnTo>
                    <a:lnTo>
                      <a:pt x="469" y="5209"/>
                    </a:lnTo>
                    <a:lnTo>
                      <a:pt x="415" y="5182"/>
                    </a:lnTo>
                    <a:lnTo>
                      <a:pt x="394" y="5171"/>
                    </a:lnTo>
                    <a:lnTo>
                      <a:pt x="372" y="5158"/>
                    </a:lnTo>
                    <a:lnTo>
                      <a:pt x="352" y="5145"/>
                    </a:lnTo>
                    <a:lnTo>
                      <a:pt x="330" y="5130"/>
                    </a:lnTo>
                    <a:lnTo>
                      <a:pt x="310" y="5114"/>
                    </a:lnTo>
                    <a:lnTo>
                      <a:pt x="289" y="5096"/>
                    </a:lnTo>
                    <a:lnTo>
                      <a:pt x="270" y="5078"/>
                    </a:lnTo>
                    <a:lnTo>
                      <a:pt x="250" y="5060"/>
                    </a:lnTo>
                    <a:lnTo>
                      <a:pt x="231" y="5040"/>
                    </a:lnTo>
                    <a:lnTo>
                      <a:pt x="211" y="5020"/>
                    </a:lnTo>
                    <a:lnTo>
                      <a:pt x="193" y="4998"/>
                    </a:lnTo>
                    <a:lnTo>
                      <a:pt x="176" y="4977"/>
                    </a:lnTo>
                    <a:lnTo>
                      <a:pt x="158" y="4954"/>
                    </a:lnTo>
                    <a:lnTo>
                      <a:pt x="142" y="4931"/>
                    </a:lnTo>
                    <a:lnTo>
                      <a:pt x="126" y="4909"/>
                    </a:lnTo>
                    <a:lnTo>
                      <a:pt x="111" y="4885"/>
                    </a:lnTo>
                    <a:lnTo>
                      <a:pt x="97" y="4861"/>
                    </a:lnTo>
                    <a:lnTo>
                      <a:pt x="83" y="4837"/>
                    </a:lnTo>
                    <a:lnTo>
                      <a:pt x="71" y="4812"/>
                    </a:lnTo>
                    <a:lnTo>
                      <a:pt x="59" y="4789"/>
                    </a:lnTo>
                    <a:lnTo>
                      <a:pt x="48" y="4765"/>
                    </a:lnTo>
                    <a:lnTo>
                      <a:pt x="38" y="4740"/>
                    </a:lnTo>
                    <a:lnTo>
                      <a:pt x="29" y="4716"/>
                    </a:lnTo>
                    <a:lnTo>
                      <a:pt x="21" y="4693"/>
                    </a:lnTo>
                    <a:lnTo>
                      <a:pt x="15" y="4669"/>
                    </a:lnTo>
                    <a:lnTo>
                      <a:pt x="9" y="4646"/>
                    </a:lnTo>
                    <a:lnTo>
                      <a:pt x="5" y="4624"/>
                    </a:lnTo>
                    <a:lnTo>
                      <a:pt x="2" y="4602"/>
                    </a:lnTo>
                    <a:lnTo>
                      <a:pt x="0" y="4580"/>
                    </a:lnTo>
                    <a:lnTo>
                      <a:pt x="0" y="4559"/>
                    </a:lnTo>
                    <a:lnTo>
                      <a:pt x="1" y="4539"/>
                    </a:lnTo>
                    <a:lnTo>
                      <a:pt x="3" y="4520"/>
                    </a:lnTo>
                    <a:lnTo>
                      <a:pt x="5" y="4508"/>
                    </a:lnTo>
                    <a:lnTo>
                      <a:pt x="11" y="4496"/>
                    </a:lnTo>
                    <a:lnTo>
                      <a:pt x="17" y="4485"/>
                    </a:lnTo>
                    <a:lnTo>
                      <a:pt x="25" y="4476"/>
                    </a:lnTo>
                    <a:lnTo>
                      <a:pt x="33" y="4467"/>
                    </a:lnTo>
                    <a:lnTo>
                      <a:pt x="44" y="4461"/>
                    </a:lnTo>
                    <a:lnTo>
                      <a:pt x="49" y="4458"/>
                    </a:lnTo>
                    <a:lnTo>
                      <a:pt x="55" y="4456"/>
                    </a:lnTo>
                    <a:lnTo>
                      <a:pt x="61" y="4455"/>
                    </a:lnTo>
                    <a:lnTo>
                      <a:pt x="68" y="4454"/>
                    </a:lnTo>
                    <a:lnTo>
                      <a:pt x="108" y="4439"/>
                    </a:lnTo>
                    <a:lnTo>
                      <a:pt x="150" y="4425"/>
                    </a:lnTo>
                    <a:lnTo>
                      <a:pt x="191" y="4412"/>
                    </a:lnTo>
                    <a:lnTo>
                      <a:pt x="233" y="4400"/>
                    </a:lnTo>
                    <a:lnTo>
                      <a:pt x="275" y="4389"/>
                    </a:lnTo>
                    <a:lnTo>
                      <a:pt x="318" y="4380"/>
                    </a:lnTo>
                    <a:lnTo>
                      <a:pt x="360" y="4370"/>
                    </a:lnTo>
                    <a:lnTo>
                      <a:pt x="402" y="4360"/>
                    </a:lnTo>
                    <a:lnTo>
                      <a:pt x="462" y="4346"/>
                    </a:lnTo>
                    <a:lnTo>
                      <a:pt x="521" y="4332"/>
                    </a:lnTo>
                    <a:lnTo>
                      <a:pt x="581" y="4317"/>
                    </a:lnTo>
                    <a:lnTo>
                      <a:pt x="640" y="4300"/>
                    </a:lnTo>
                    <a:lnTo>
                      <a:pt x="669" y="4290"/>
                    </a:lnTo>
                    <a:lnTo>
                      <a:pt x="698" y="4280"/>
                    </a:lnTo>
                    <a:lnTo>
                      <a:pt x="726" y="4270"/>
                    </a:lnTo>
                    <a:lnTo>
                      <a:pt x="756" y="4258"/>
                    </a:lnTo>
                    <a:lnTo>
                      <a:pt x="784" y="4246"/>
                    </a:lnTo>
                    <a:lnTo>
                      <a:pt x="812" y="4232"/>
                    </a:lnTo>
                    <a:lnTo>
                      <a:pt x="839" y="4218"/>
                    </a:lnTo>
                    <a:lnTo>
                      <a:pt x="867" y="4203"/>
                    </a:lnTo>
                    <a:lnTo>
                      <a:pt x="901" y="4181"/>
                    </a:lnTo>
                    <a:lnTo>
                      <a:pt x="935" y="4158"/>
                    </a:lnTo>
                    <a:lnTo>
                      <a:pt x="966" y="4135"/>
                    </a:lnTo>
                    <a:lnTo>
                      <a:pt x="996" y="4111"/>
                    </a:lnTo>
                    <a:lnTo>
                      <a:pt x="1023" y="4086"/>
                    </a:lnTo>
                    <a:lnTo>
                      <a:pt x="1049" y="4060"/>
                    </a:lnTo>
                    <a:lnTo>
                      <a:pt x="1073" y="4034"/>
                    </a:lnTo>
                    <a:lnTo>
                      <a:pt x="1095" y="4007"/>
                    </a:lnTo>
                    <a:lnTo>
                      <a:pt x="1115" y="3980"/>
                    </a:lnTo>
                    <a:lnTo>
                      <a:pt x="1134" y="3953"/>
                    </a:lnTo>
                    <a:lnTo>
                      <a:pt x="1151" y="3925"/>
                    </a:lnTo>
                    <a:lnTo>
                      <a:pt x="1166" y="3897"/>
                    </a:lnTo>
                    <a:lnTo>
                      <a:pt x="1179" y="3868"/>
                    </a:lnTo>
                    <a:lnTo>
                      <a:pt x="1191" y="3839"/>
                    </a:lnTo>
                    <a:lnTo>
                      <a:pt x="1202" y="3811"/>
                    </a:lnTo>
                    <a:lnTo>
                      <a:pt x="1210" y="3782"/>
                    </a:lnTo>
                    <a:lnTo>
                      <a:pt x="1217" y="3752"/>
                    </a:lnTo>
                    <a:lnTo>
                      <a:pt x="1223" y="3723"/>
                    </a:lnTo>
                    <a:lnTo>
                      <a:pt x="1227" y="3694"/>
                    </a:lnTo>
                    <a:lnTo>
                      <a:pt x="1230" y="3665"/>
                    </a:lnTo>
                    <a:lnTo>
                      <a:pt x="1232" y="3636"/>
                    </a:lnTo>
                    <a:lnTo>
                      <a:pt x="1232" y="3607"/>
                    </a:lnTo>
                    <a:lnTo>
                      <a:pt x="1231" y="3579"/>
                    </a:lnTo>
                    <a:lnTo>
                      <a:pt x="1227" y="3549"/>
                    </a:lnTo>
                    <a:lnTo>
                      <a:pt x="1224" y="3521"/>
                    </a:lnTo>
                    <a:lnTo>
                      <a:pt x="1219" y="3494"/>
                    </a:lnTo>
                    <a:lnTo>
                      <a:pt x="1213" y="3467"/>
                    </a:lnTo>
                    <a:lnTo>
                      <a:pt x="1206" y="3440"/>
                    </a:lnTo>
                    <a:lnTo>
                      <a:pt x="1197" y="3415"/>
                    </a:lnTo>
                    <a:lnTo>
                      <a:pt x="1188" y="3389"/>
                    </a:lnTo>
                    <a:lnTo>
                      <a:pt x="1178" y="3364"/>
                    </a:lnTo>
                    <a:lnTo>
                      <a:pt x="1166" y="3339"/>
                    </a:lnTo>
                    <a:lnTo>
                      <a:pt x="1138" y="3296"/>
                    </a:lnTo>
                    <a:lnTo>
                      <a:pt x="1108" y="3254"/>
                    </a:lnTo>
                    <a:lnTo>
                      <a:pt x="1077" y="3213"/>
                    </a:lnTo>
                    <a:lnTo>
                      <a:pt x="1046" y="3172"/>
                    </a:lnTo>
                    <a:lnTo>
                      <a:pt x="1014" y="3132"/>
                    </a:lnTo>
                    <a:lnTo>
                      <a:pt x="982" y="3092"/>
                    </a:lnTo>
                    <a:lnTo>
                      <a:pt x="950" y="3053"/>
                    </a:lnTo>
                    <a:lnTo>
                      <a:pt x="918" y="3014"/>
                    </a:lnTo>
                    <a:lnTo>
                      <a:pt x="869" y="2956"/>
                    </a:lnTo>
                    <a:lnTo>
                      <a:pt x="820" y="2896"/>
                    </a:lnTo>
                    <a:lnTo>
                      <a:pt x="796" y="2866"/>
                    </a:lnTo>
                    <a:lnTo>
                      <a:pt x="773" y="2835"/>
                    </a:lnTo>
                    <a:lnTo>
                      <a:pt x="749" y="2805"/>
                    </a:lnTo>
                    <a:lnTo>
                      <a:pt x="726" y="2773"/>
                    </a:lnTo>
                    <a:lnTo>
                      <a:pt x="704" y="2741"/>
                    </a:lnTo>
                    <a:lnTo>
                      <a:pt x="682" y="2709"/>
                    </a:lnTo>
                    <a:lnTo>
                      <a:pt x="662" y="2676"/>
                    </a:lnTo>
                    <a:lnTo>
                      <a:pt x="641" y="2643"/>
                    </a:lnTo>
                    <a:lnTo>
                      <a:pt x="623" y="2608"/>
                    </a:lnTo>
                    <a:lnTo>
                      <a:pt x="604" y="2574"/>
                    </a:lnTo>
                    <a:lnTo>
                      <a:pt x="587" y="2537"/>
                    </a:lnTo>
                    <a:lnTo>
                      <a:pt x="571" y="2501"/>
                    </a:lnTo>
                    <a:lnTo>
                      <a:pt x="542" y="2425"/>
                    </a:lnTo>
                    <a:lnTo>
                      <a:pt x="514" y="2348"/>
                    </a:lnTo>
                    <a:lnTo>
                      <a:pt x="489" y="2270"/>
                    </a:lnTo>
                    <a:lnTo>
                      <a:pt x="465" y="2193"/>
                    </a:lnTo>
                    <a:lnTo>
                      <a:pt x="442" y="2115"/>
                    </a:lnTo>
                    <a:lnTo>
                      <a:pt x="423" y="2036"/>
                    </a:lnTo>
                    <a:lnTo>
                      <a:pt x="405" y="1956"/>
                    </a:lnTo>
                    <a:lnTo>
                      <a:pt x="388" y="1876"/>
                    </a:lnTo>
                    <a:lnTo>
                      <a:pt x="374" y="1796"/>
                    </a:lnTo>
                    <a:lnTo>
                      <a:pt x="361" y="1717"/>
                    </a:lnTo>
                    <a:lnTo>
                      <a:pt x="351" y="1636"/>
                    </a:lnTo>
                    <a:lnTo>
                      <a:pt x="342" y="1555"/>
                    </a:lnTo>
                    <a:lnTo>
                      <a:pt x="336" y="1473"/>
                    </a:lnTo>
                    <a:lnTo>
                      <a:pt x="331" y="1391"/>
                    </a:lnTo>
                    <a:lnTo>
                      <a:pt x="328" y="1309"/>
                    </a:lnTo>
                    <a:lnTo>
                      <a:pt x="327" y="1226"/>
                    </a:lnTo>
                    <a:lnTo>
                      <a:pt x="330" y="1176"/>
                    </a:lnTo>
                    <a:lnTo>
                      <a:pt x="337" y="1127"/>
                    </a:lnTo>
                    <a:lnTo>
                      <a:pt x="344" y="1077"/>
                    </a:lnTo>
                    <a:lnTo>
                      <a:pt x="354" y="1029"/>
                    </a:lnTo>
                    <a:lnTo>
                      <a:pt x="366" y="980"/>
                    </a:lnTo>
                    <a:lnTo>
                      <a:pt x="380" y="932"/>
                    </a:lnTo>
                    <a:lnTo>
                      <a:pt x="396" y="884"/>
                    </a:lnTo>
                    <a:lnTo>
                      <a:pt x="413" y="837"/>
                    </a:lnTo>
                    <a:lnTo>
                      <a:pt x="434" y="790"/>
                    </a:lnTo>
                    <a:lnTo>
                      <a:pt x="454" y="745"/>
                    </a:lnTo>
                    <a:lnTo>
                      <a:pt x="478" y="700"/>
                    </a:lnTo>
                    <a:lnTo>
                      <a:pt x="503" y="655"/>
                    </a:lnTo>
                    <a:lnTo>
                      <a:pt x="530" y="611"/>
                    </a:lnTo>
                    <a:lnTo>
                      <a:pt x="558" y="568"/>
                    </a:lnTo>
                    <a:lnTo>
                      <a:pt x="588" y="527"/>
                    </a:lnTo>
                    <a:lnTo>
                      <a:pt x="620" y="486"/>
                    </a:lnTo>
                    <a:lnTo>
                      <a:pt x="653" y="446"/>
                    </a:lnTo>
                    <a:lnTo>
                      <a:pt x="688" y="407"/>
                    </a:lnTo>
                    <a:lnTo>
                      <a:pt x="723" y="368"/>
                    </a:lnTo>
                    <a:lnTo>
                      <a:pt x="761" y="332"/>
                    </a:lnTo>
                    <a:lnTo>
                      <a:pt x="800" y="297"/>
                    </a:lnTo>
                    <a:lnTo>
                      <a:pt x="840" y="262"/>
                    </a:lnTo>
                    <a:lnTo>
                      <a:pt x="881" y="229"/>
                    </a:lnTo>
                    <a:lnTo>
                      <a:pt x="924" y="198"/>
                    </a:lnTo>
                    <a:lnTo>
                      <a:pt x="967" y="167"/>
                    </a:lnTo>
                    <a:lnTo>
                      <a:pt x="1013" y="139"/>
                    </a:lnTo>
                    <a:lnTo>
                      <a:pt x="1058" y="112"/>
                    </a:lnTo>
                    <a:lnTo>
                      <a:pt x="1105" y="87"/>
                    </a:lnTo>
                    <a:lnTo>
                      <a:pt x="1154" y="63"/>
                    </a:lnTo>
                    <a:lnTo>
                      <a:pt x="1203" y="40"/>
                    </a:lnTo>
                    <a:lnTo>
                      <a:pt x="1253" y="20"/>
                    </a:lnTo>
                    <a:lnTo>
                      <a:pt x="1304" y="1"/>
                    </a:lnTo>
                    <a:lnTo>
                      <a:pt x="1310" y="0"/>
                    </a:lnTo>
                    <a:lnTo>
                      <a:pt x="1314" y="1"/>
                    </a:lnTo>
                    <a:lnTo>
                      <a:pt x="1318" y="4"/>
                    </a:lnTo>
                    <a:lnTo>
                      <a:pt x="1321" y="9"/>
                    </a:lnTo>
                    <a:lnTo>
                      <a:pt x="1321" y="14"/>
                    </a:lnTo>
                    <a:lnTo>
                      <a:pt x="1320" y="20"/>
                    </a:lnTo>
                    <a:lnTo>
                      <a:pt x="1317" y="24"/>
                    </a:lnTo>
                    <a:lnTo>
                      <a:pt x="1313" y="26"/>
                    </a:lnTo>
                    <a:lnTo>
                      <a:pt x="1263" y="44"/>
                    </a:lnTo>
                    <a:lnTo>
                      <a:pt x="1213" y="65"/>
                    </a:lnTo>
                    <a:lnTo>
                      <a:pt x="1165" y="87"/>
                    </a:lnTo>
                    <a:lnTo>
                      <a:pt x="1118" y="110"/>
                    </a:lnTo>
                    <a:lnTo>
                      <a:pt x="1072" y="135"/>
                    </a:lnTo>
                    <a:lnTo>
                      <a:pt x="1027" y="162"/>
                    </a:lnTo>
                    <a:lnTo>
                      <a:pt x="982" y="190"/>
                    </a:lnTo>
                    <a:lnTo>
                      <a:pt x="939" y="219"/>
                    </a:lnTo>
                    <a:lnTo>
                      <a:pt x="898" y="251"/>
                    </a:lnTo>
                    <a:lnTo>
                      <a:pt x="857" y="283"/>
                    </a:lnTo>
                    <a:lnTo>
                      <a:pt x="817" y="316"/>
                    </a:lnTo>
                    <a:lnTo>
                      <a:pt x="779" y="351"/>
                    </a:lnTo>
                    <a:lnTo>
                      <a:pt x="743" y="387"/>
                    </a:lnTo>
                    <a:lnTo>
                      <a:pt x="708" y="424"/>
                    </a:lnTo>
                    <a:lnTo>
                      <a:pt x="674" y="462"/>
                    </a:lnTo>
                    <a:lnTo>
                      <a:pt x="641" y="502"/>
                    </a:lnTo>
                    <a:lnTo>
                      <a:pt x="610" y="542"/>
                    </a:lnTo>
                    <a:lnTo>
                      <a:pt x="581" y="583"/>
                    </a:lnTo>
                    <a:lnTo>
                      <a:pt x="553" y="625"/>
                    </a:lnTo>
                    <a:lnTo>
                      <a:pt x="527" y="667"/>
                    </a:lnTo>
                    <a:lnTo>
                      <a:pt x="502" y="712"/>
                    </a:lnTo>
                    <a:lnTo>
                      <a:pt x="479" y="756"/>
                    </a:lnTo>
                    <a:lnTo>
                      <a:pt x="459" y="800"/>
                    </a:lnTo>
                    <a:lnTo>
                      <a:pt x="439" y="846"/>
                    </a:lnTo>
                    <a:lnTo>
                      <a:pt x="422" y="892"/>
                    </a:lnTo>
                    <a:lnTo>
                      <a:pt x="406" y="939"/>
                    </a:lnTo>
                    <a:lnTo>
                      <a:pt x="392" y="986"/>
                    </a:lnTo>
                    <a:lnTo>
                      <a:pt x="381" y="1033"/>
                    </a:lnTo>
                    <a:lnTo>
                      <a:pt x="371" y="1082"/>
                    </a:lnTo>
                    <a:lnTo>
                      <a:pt x="363" y="1129"/>
                    </a:lnTo>
                    <a:lnTo>
                      <a:pt x="357" y="1178"/>
                    </a:lnTo>
                    <a:lnTo>
                      <a:pt x="354" y="1226"/>
                    </a:lnTo>
                    <a:lnTo>
                      <a:pt x="355" y="1309"/>
                    </a:lnTo>
                    <a:lnTo>
                      <a:pt x="358" y="1389"/>
                    </a:lnTo>
                    <a:lnTo>
                      <a:pt x="363" y="1472"/>
                    </a:lnTo>
                    <a:lnTo>
                      <a:pt x="369" y="1551"/>
                    </a:lnTo>
                    <a:lnTo>
                      <a:pt x="378" y="1632"/>
                    </a:lnTo>
                    <a:lnTo>
                      <a:pt x="388" y="1712"/>
                    </a:lnTo>
                    <a:lnTo>
                      <a:pt x="400" y="1792"/>
                    </a:lnTo>
                    <a:lnTo>
                      <a:pt x="414" y="1872"/>
                    </a:lnTo>
                    <a:lnTo>
                      <a:pt x="431" y="1951"/>
                    </a:lnTo>
                    <a:lnTo>
                      <a:pt x="449" y="2030"/>
                    </a:lnTo>
                    <a:lnTo>
                      <a:pt x="468" y="2107"/>
                    </a:lnTo>
                    <a:lnTo>
                      <a:pt x="491" y="2185"/>
                    </a:lnTo>
                    <a:lnTo>
                      <a:pt x="514" y="2263"/>
                    </a:lnTo>
                    <a:lnTo>
                      <a:pt x="540" y="2339"/>
                    </a:lnTo>
                    <a:lnTo>
                      <a:pt x="567" y="2415"/>
                    </a:lnTo>
                    <a:lnTo>
                      <a:pt x="596" y="2491"/>
                    </a:lnTo>
                    <a:lnTo>
                      <a:pt x="612" y="2526"/>
                    </a:lnTo>
                    <a:lnTo>
                      <a:pt x="628" y="2561"/>
                    </a:lnTo>
                    <a:lnTo>
                      <a:pt x="647" y="2595"/>
                    </a:lnTo>
                    <a:lnTo>
                      <a:pt x="665" y="2629"/>
                    </a:lnTo>
                    <a:lnTo>
                      <a:pt x="684" y="2661"/>
                    </a:lnTo>
                    <a:lnTo>
                      <a:pt x="704" y="2693"/>
                    </a:lnTo>
                    <a:lnTo>
                      <a:pt x="725" y="2725"/>
                    </a:lnTo>
                    <a:lnTo>
                      <a:pt x="747" y="2756"/>
                    </a:lnTo>
                    <a:lnTo>
                      <a:pt x="770" y="2786"/>
                    </a:lnTo>
                    <a:lnTo>
                      <a:pt x="792" y="2817"/>
                    </a:lnTo>
                    <a:lnTo>
                      <a:pt x="815" y="2847"/>
                    </a:lnTo>
                    <a:lnTo>
                      <a:pt x="839" y="2877"/>
                    </a:lnTo>
                    <a:lnTo>
                      <a:pt x="888" y="2936"/>
                    </a:lnTo>
                    <a:lnTo>
                      <a:pt x="938" y="2997"/>
                    </a:lnTo>
                    <a:lnTo>
                      <a:pt x="970" y="3036"/>
                    </a:lnTo>
                    <a:lnTo>
                      <a:pt x="1003" y="3075"/>
                    </a:lnTo>
                    <a:lnTo>
                      <a:pt x="1035" y="3114"/>
                    </a:lnTo>
                    <a:lnTo>
                      <a:pt x="1068" y="3155"/>
                    </a:lnTo>
                    <a:lnTo>
                      <a:pt x="1099" y="3197"/>
                    </a:lnTo>
                    <a:lnTo>
                      <a:pt x="1130" y="3239"/>
                    </a:lnTo>
                    <a:lnTo>
                      <a:pt x="1161" y="3282"/>
                    </a:lnTo>
                    <a:lnTo>
                      <a:pt x="1190" y="3326"/>
                    </a:lnTo>
                    <a:lnTo>
                      <a:pt x="1202" y="3351"/>
                    </a:lnTo>
                    <a:lnTo>
                      <a:pt x="1212" y="3378"/>
                    </a:lnTo>
                    <a:lnTo>
                      <a:pt x="1222" y="3405"/>
                    </a:lnTo>
                    <a:lnTo>
                      <a:pt x="1232" y="3432"/>
                    </a:lnTo>
                    <a:lnTo>
                      <a:pt x="1239" y="3460"/>
                    </a:lnTo>
                    <a:lnTo>
                      <a:pt x="1246" y="3488"/>
                    </a:lnTo>
                    <a:lnTo>
                      <a:pt x="1250" y="3517"/>
                    </a:lnTo>
                    <a:lnTo>
                      <a:pt x="1254" y="3546"/>
                    </a:lnTo>
                    <a:lnTo>
                      <a:pt x="1257" y="3575"/>
                    </a:lnTo>
                    <a:lnTo>
                      <a:pt x="1259" y="3606"/>
                    </a:lnTo>
                    <a:lnTo>
                      <a:pt x="1259" y="3636"/>
                    </a:lnTo>
                    <a:lnTo>
                      <a:pt x="1257" y="3666"/>
                    </a:lnTo>
                    <a:lnTo>
                      <a:pt x="1254" y="3696"/>
                    </a:lnTo>
                    <a:lnTo>
                      <a:pt x="1250" y="3727"/>
                    </a:lnTo>
                    <a:lnTo>
                      <a:pt x="1244" y="3757"/>
                    </a:lnTo>
                    <a:lnTo>
                      <a:pt x="1236" y="3788"/>
                    </a:lnTo>
                    <a:lnTo>
                      <a:pt x="1227" y="3818"/>
                    </a:lnTo>
                    <a:lnTo>
                      <a:pt x="1217" y="3849"/>
                    </a:lnTo>
                    <a:lnTo>
                      <a:pt x="1205" y="3878"/>
                    </a:lnTo>
                    <a:lnTo>
                      <a:pt x="1191" y="3908"/>
                    </a:lnTo>
                    <a:lnTo>
                      <a:pt x="1175" y="3937"/>
                    </a:lnTo>
                    <a:lnTo>
                      <a:pt x="1157" y="3966"/>
                    </a:lnTo>
                    <a:lnTo>
                      <a:pt x="1139" y="3995"/>
                    </a:lnTo>
                    <a:lnTo>
                      <a:pt x="1117" y="4023"/>
                    </a:lnTo>
                    <a:lnTo>
                      <a:pt x="1095" y="4050"/>
                    </a:lnTo>
                    <a:lnTo>
                      <a:pt x="1070" y="4077"/>
                    </a:lnTo>
                    <a:lnTo>
                      <a:pt x="1043" y="4104"/>
                    </a:lnTo>
                    <a:lnTo>
                      <a:pt x="1015" y="4130"/>
                    </a:lnTo>
                    <a:lnTo>
                      <a:pt x="985" y="4155"/>
                    </a:lnTo>
                    <a:lnTo>
                      <a:pt x="951" y="4180"/>
                    </a:lnTo>
                    <a:lnTo>
                      <a:pt x="916" y="4204"/>
                    </a:lnTo>
                    <a:lnTo>
                      <a:pt x="880" y="4226"/>
                    </a:lnTo>
                    <a:lnTo>
                      <a:pt x="853" y="4241"/>
                    </a:lnTo>
                    <a:lnTo>
                      <a:pt x="824" y="4257"/>
                    </a:lnTo>
                    <a:lnTo>
                      <a:pt x="796" y="4270"/>
                    </a:lnTo>
                    <a:lnTo>
                      <a:pt x="766" y="4282"/>
                    </a:lnTo>
                    <a:lnTo>
                      <a:pt x="737" y="4294"/>
                    </a:lnTo>
                    <a:lnTo>
                      <a:pt x="708" y="4305"/>
                    </a:lnTo>
                    <a:lnTo>
                      <a:pt x="679" y="4315"/>
                    </a:lnTo>
                    <a:lnTo>
                      <a:pt x="649" y="4325"/>
                    </a:lnTo>
                    <a:lnTo>
                      <a:pt x="589" y="4342"/>
                    </a:lnTo>
                    <a:lnTo>
                      <a:pt x="529" y="4358"/>
                    </a:lnTo>
                    <a:lnTo>
                      <a:pt x="468" y="4372"/>
                    </a:lnTo>
                    <a:lnTo>
                      <a:pt x="408" y="4386"/>
                    </a:lnTo>
                    <a:lnTo>
                      <a:pt x="366" y="4396"/>
                    </a:lnTo>
                    <a:lnTo>
                      <a:pt x="324" y="4406"/>
                    </a:lnTo>
                    <a:lnTo>
                      <a:pt x="282" y="4416"/>
                    </a:lnTo>
                    <a:lnTo>
                      <a:pt x="239" y="4427"/>
                    </a:lnTo>
                    <a:lnTo>
                      <a:pt x="197" y="4439"/>
                    </a:lnTo>
                    <a:lnTo>
                      <a:pt x="156" y="4451"/>
                    </a:lnTo>
                    <a:lnTo>
                      <a:pt x="115" y="4465"/>
                    </a:lnTo>
                    <a:lnTo>
                      <a:pt x="75" y="4480"/>
                    </a:lnTo>
                    <a:lnTo>
                      <a:pt x="73" y="4481"/>
                    </a:lnTo>
                    <a:lnTo>
                      <a:pt x="70" y="4481"/>
                    </a:lnTo>
                    <a:lnTo>
                      <a:pt x="62" y="4482"/>
                    </a:lnTo>
                    <a:lnTo>
                      <a:pt x="56" y="4485"/>
                    </a:lnTo>
                    <a:lnTo>
                      <a:pt x="49" y="4490"/>
                    </a:lnTo>
                    <a:lnTo>
                      <a:pt x="44" y="4495"/>
                    </a:lnTo>
                    <a:lnTo>
                      <a:pt x="39" y="4502"/>
                    </a:lnTo>
                    <a:lnTo>
                      <a:pt x="34" y="4509"/>
                    </a:lnTo>
                    <a:lnTo>
                      <a:pt x="31" y="4517"/>
                    </a:lnTo>
                    <a:lnTo>
                      <a:pt x="30" y="4524"/>
                    </a:lnTo>
                    <a:lnTo>
                      <a:pt x="28" y="4542"/>
                    </a:lnTo>
                    <a:lnTo>
                      <a:pt x="27" y="4561"/>
                    </a:lnTo>
                    <a:lnTo>
                      <a:pt x="27" y="4580"/>
                    </a:lnTo>
                    <a:lnTo>
                      <a:pt x="29" y="4601"/>
                    </a:lnTo>
                    <a:lnTo>
                      <a:pt x="32" y="4623"/>
                    </a:lnTo>
                    <a:lnTo>
                      <a:pt x="36" y="4644"/>
                    </a:lnTo>
                    <a:lnTo>
                      <a:pt x="42" y="4666"/>
                    </a:lnTo>
                    <a:lnTo>
                      <a:pt x="48" y="4688"/>
                    </a:lnTo>
                    <a:lnTo>
                      <a:pt x="56" y="4711"/>
                    </a:lnTo>
                    <a:lnTo>
                      <a:pt x="65" y="4734"/>
                    </a:lnTo>
                    <a:lnTo>
                      <a:pt x="74" y="4756"/>
                    </a:lnTo>
                    <a:lnTo>
                      <a:pt x="85" y="4780"/>
                    </a:lnTo>
                    <a:lnTo>
                      <a:pt x="97" y="4803"/>
                    </a:lnTo>
                    <a:lnTo>
                      <a:pt x="109" y="4827"/>
                    </a:lnTo>
                    <a:lnTo>
                      <a:pt x="122" y="4849"/>
                    </a:lnTo>
                    <a:lnTo>
                      <a:pt x="136" y="4872"/>
                    </a:lnTo>
                    <a:lnTo>
                      <a:pt x="151" y="4895"/>
                    </a:lnTo>
                    <a:lnTo>
                      <a:pt x="166" y="4917"/>
                    </a:lnTo>
                    <a:lnTo>
                      <a:pt x="182" y="4939"/>
                    </a:lnTo>
                    <a:lnTo>
                      <a:pt x="198" y="4960"/>
                    </a:lnTo>
                    <a:lnTo>
                      <a:pt x="216" y="4982"/>
                    </a:lnTo>
                    <a:lnTo>
                      <a:pt x="233" y="5001"/>
                    </a:lnTo>
                    <a:lnTo>
                      <a:pt x="251" y="5022"/>
                    </a:lnTo>
                    <a:lnTo>
                      <a:pt x="270" y="5040"/>
                    </a:lnTo>
                    <a:lnTo>
                      <a:pt x="289" y="5059"/>
                    </a:lnTo>
                    <a:lnTo>
                      <a:pt x="307" y="5076"/>
                    </a:lnTo>
                    <a:lnTo>
                      <a:pt x="327" y="5092"/>
                    </a:lnTo>
                    <a:lnTo>
                      <a:pt x="347" y="5108"/>
                    </a:lnTo>
                    <a:lnTo>
                      <a:pt x="367" y="5122"/>
                    </a:lnTo>
                    <a:lnTo>
                      <a:pt x="387" y="5135"/>
                    </a:lnTo>
                    <a:lnTo>
                      <a:pt x="407" y="5147"/>
                    </a:lnTo>
                    <a:lnTo>
                      <a:pt x="427" y="5158"/>
                    </a:lnTo>
                    <a:lnTo>
                      <a:pt x="480" y="5184"/>
                    </a:lnTo>
                    <a:lnTo>
                      <a:pt x="534" y="5209"/>
                    </a:lnTo>
                    <a:lnTo>
                      <a:pt x="561" y="5221"/>
                    </a:lnTo>
                    <a:lnTo>
                      <a:pt x="589" y="5231"/>
                    </a:lnTo>
                    <a:lnTo>
                      <a:pt x="617" y="5242"/>
                    </a:lnTo>
                    <a:lnTo>
                      <a:pt x="645" y="5251"/>
                    </a:lnTo>
                    <a:lnTo>
                      <a:pt x="675" y="5259"/>
                    </a:lnTo>
                    <a:lnTo>
                      <a:pt x="703" y="5266"/>
                    </a:lnTo>
                    <a:lnTo>
                      <a:pt x="732" y="5270"/>
                    </a:lnTo>
                    <a:lnTo>
                      <a:pt x="761" y="5273"/>
                    </a:lnTo>
                    <a:lnTo>
                      <a:pt x="790" y="5275"/>
                    </a:lnTo>
                    <a:lnTo>
                      <a:pt x="819" y="5275"/>
                    </a:lnTo>
                    <a:lnTo>
                      <a:pt x="833" y="5272"/>
                    </a:lnTo>
                    <a:lnTo>
                      <a:pt x="848" y="5271"/>
                    </a:lnTo>
                    <a:lnTo>
                      <a:pt x="864" y="5268"/>
                    </a:lnTo>
                    <a:lnTo>
                      <a:pt x="878" y="5265"/>
                    </a:lnTo>
                    <a:lnTo>
                      <a:pt x="941" y="5251"/>
                    </a:lnTo>
                    <a:lnTo>
                      <a:pt x="1013" y="5238"/>
                    </a:lnTo>
                    <a:lnTo>
                      <a:pt x="1090" y="5227"/>
                    </a:lnTo>
                    <a:lnTo>
                      <a:pt x="1175" y="5216"/>
                    </a:lnTo>
                    <a:lnTo>
                      <a:pt x="1263" y="5208"/>
                    </a:lnTo>
                    <a:lnTo>
                      <a:pt x="1358" y="5200"/>
                    </a:lnTo>
                    <a:lnTo>
                      <a:pt x="1457" y="5194"/>
                    </a:lnTo>
                    <a:lnTo>
                      <a:pt x="1560" y="5188"/>
                    </a:lnTo>
                    <a:lnTo>
                      <a:pt x="1666" y="5184"/>
                    </a:lnTo>
                    <a:lnTo>
                      <a:pt x="1775" y="5182"/>
                    </a:lnTo>
                    <a:lnTo>
                      <a:pt x="1886" y="5181"/>
                    </a:lnTo>
                    <a:lnTo>
                      <a:pt x="2000" y="5180"/>
                    </a:lnTo>
                    <a:lnTo>
                      <a:pt x="2114" y="5181"/>
                    </a:lnTo>
                    <a:lnTo>
                      <a:pt x="2228" y="5184"/>
                    </a:lnTo>
                    <a:lnTo>
                      <a:pt x="2343" y="5187"/>
                    </a:lnTo>
                    <a:lnTo>
                      <a:pt x="2457" y="5192"/>
                    </a:lnTo>
                    <a:lnTo>
                      <a:pt x="2570" y="5199"/>
                    </a:lnTo>
                    <a:lnTo>
                      <a:pt x="2682" y="5206"/>
                    </a:lnTo>
                    <a:lnTo>
                      <a:pt x="2791" y="5215"/>
                    </a:lnTo>
                    <a:lnTo>
                      <a:pt x="2897" y="5225"/>
                    </a:lnTo>
                    <a:lnTo>
                      <a:pt x="3001" y="5237"/>
                    </a:lnTo>
                    <a:lnTo>
                      <a:pt x="3100" y="5250"/>
                    </a:lnTo>
                    <a:lnTo>
                      <a:pt x="3195" y="5264"/>
                    </a:lnTo>
                    <a:lnTo>
                      <a:pt x="3285" y="5279"/>
                    </a:lnTo>
                    <a:lnTo>
                      <a:pt x="3369" y="5296"/>
                    </a:lnTo>
                    <a:lnTo>
                      <a:pt x="3448" y="5314"/>
                    </a:lnTo>
                    <a:lnTo>
                      <a:pt x="3519" y="5334"/>
                    </a:lnTo>
                    <a:lnTo>
                      <a:pt x="3583" y="5354"/>
                    </a:lnTo>
                    <a:lnTo>
                      <a:pt x="3640" y="5377"/>
                    </a:lnTo>
                    <a:lnTo>
                      <a:pt x="3688" y="5400"/>
                    </a:lnTo>
                    <a:lnTo>
                      <a:pt x="3727" y="5425"/>
                    </a:lnTo>
                    <a:lnTo>
                      <a:pt x="3757" y="5452"/>
                    </a:lnTo>
                    <a:lnTo>
                      <a:pt x="3761" y="5456"/>
                    </a:lnTo>
                    <a:lnTo>
                      <a:pt x="3761" y="5461"/>
                    </a:lnTo>
                    <a:lnTo>
                      <a:pt x="3760" y="5466"/>
                    </a:lnTo>
                    <a:lnTo>
                      <a:pt x="3756" y="5470"/>
                    </a:lnTo>
                    <a:lnTo>
                      <a:pt x="3752" y="5473"/>
                    </a:lnTo>
                    <a:lnTo>
                      <a:pt x="3748" y="5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54"/>
              <p:cNvSpPr>
                <a:spLocks/>
              </p:cNvSpPr>
              <p:nvPr userDrawn="1"/>
            </p:nvSpPr>
            <p:spPr bwMode="auto">
              <a:xfrm>
                <a:off x="2513" y="1822"/>
                <a:ext cx="160" cy="1249"/>
              </a:xfrm>
              <a:custGeom>
                <a:avLst/>
                <a:gdLst>
                  <a:gd name="T0" fmla="*/ 225 w 482"/>
                  <a:gd name="T1" fmla="*/ 3717 h 3747"/>
                  <a:gd name="T2" fmla="*/ 161 w 482"/>
                  <a:gd name="T3" fmla="*/ 3637 h 3747"/>
                  <a:gd name="T4" fmla="*/ 118 w 482"/>
                  <a:gd name="T5" fmla="*/ 3545 h 3747"/>
                  <a:gd name="T6" fmla="*/ 85 w 482"/>
                  <a:gd name="T7" fmla="*/ 3425 h 3747"/>
                  <a:gd name="T8" fmla="*/ 62 w 482"/>
                  <a:gd name="T9" fmla="*/ 3140 h 3747"/>
                  <a:gd name="T10" fmla="*/ 46 w 482"/>
                  <a:gd name="T11" fmla="*/ 2890 h 3747"/>
                  <a:gd name="T12" fmla="*/ 23 w 482"/>
                  <a:gd name="T13" fmla="*/ 2663 h 3747"/>
                  <a:gd name="T14" fmla="*/ 6 w 482"/>
                  <a:gd name="T15" fmla="*/ 2464 h 3747"/>
                  <a:gd name="T16" fmla="*/ 3 w 482"/>
                  <a:gd name="T17" fmla="*/ 2278 h 3747"/>
                  <a:gd name="T18" fmla="*/ 34 w 482"/>
                  <a:gd name="T19" fmla="*/ 2108 h 3747"/>
                  <a:gd name="T20" fmla="*/ 95 w 482"/>
                  <a:gd name="T21" fmla="*/ 1951 h 3747"/>
                  <a:gd name="T22" fmla="*/ 189 w 482"/>
                  <a:gd name="T23" fmla="*/ 1794 h 3747"/>
                  <a:gd name="T24" fmla="*/ 321 w 482"/>
                  <a:gd name="T25" fmla="*/ 1581 h 3747"/>
                  <a:gd name="T26" fmla="*/ 400 w 482"/>
                  <a:gd name="T27" fmla="*/ 1420 h 3747"/>
                  <a:gd name="T28" fmla="*/ 448 w 482"/>
                  <a:gd name="T29" fmla="*/ 1245 h 3747"/>
                  <a:gd name="T30" fmla="*/ 454 w 482"/>
                  <a:gd name="T31" fmla="*/ 1123 h 3747"/>
                  <a:gd name="T32" fmla="*/ 434 w 482"/>
                  <a:gd name="T33" fmla="*/ 1008 h 3747"/>
                  <a:gd name="T34" fmla="*/ 386 w 482"/>
                  <a:gd name="T35" fmla="*/ 846 h 3747"/>
                  <a:gd name="T36" fmla="*/ 347 w 482"/>
                  <a:gd name="T37" fmla="*/ 701 h 3747"/>
                  <a:gd name="T38" fmla="*/ 325 w 482"/>
                  <a:gd name="T39" fmla="*/ 578 h 3747"/>
                  <a:gd name="T40" fmla="*/ 263 w 482"/>
                  <a:gd name="T41" fmla="*/ 393 h 3747"/>
                  <a:gd name="T42" fmla="*/ 206 w 482"/>
                  <a:gd name="T43" fmla="*/ 270 h 3747"/>
                  <a:gd name="T44" fmla="*/ 145 w 482"/>
                  <a:gd name="T45" fmla="*/ 162 h 3747"/>
                  <a:gd name="T46" fmla="*/ 112 w 482"/>
                  <a:gd name="T47" fmla="*/ 83 h 3747"/>
                  <a:gd name="T48" fmla="*/ 112 w 482"/>
                  <a:gd name="T49" fmla="*/ 22 h 3747"/>
                  <a:gd name="T50" fmla="*/ 130 w 482"/>
                  <a:gd name="T51" fmla="*/ 0 h 3747"/>
                  <a:gd name="T52" fmla="*/ 145 w 482"/>
                  <a:gd name="T53" fmla="*/ 16 h 3747"/>
                  <a:gd name="T54" fmla="*/ 136 w 482"/>
                  <a:gd name="T55" fmla="*/ 39 h 3747"/>
                  <a:gd name="T56" fmla="*/ 146 w 482"/>
                  <a:gd name="T57" fmla="*/ 101 h 3747"/>
                  <a:gd name="T58" fmla="*/ 211 w 482"/>
                  <a:gd name="T59" fmla="*/ 225 h 3747"/>
                  <a:gd name="T60" fmla="*/ 252 w 482"/>
                  <a:gd name="T61" fmla="*/ 301 h 3747"/>
                  <a:gd name="T62" fmla="*/ 334 w 482"/>
                  <a:gd name="T63" fmla="*/ 506 h 3747"/>
                  <a:gd name="T64" fmla="*/ 363 w 482"/>
                  <a:gd name="T65" fmla="*/ 637 h 3747"/>
                  <a:gd name="T66" fmla="*/ 394 w 482"/>
                  <a:gd name="T67" fmla="*/ 783 h 3747"/>
                  <a:gd name="T68" fmla="*/ 448 w 482"/>
                  <a:gd name="T69" fmla="*/ 956 h 3747"/>
                  <a:gd name="T70" fmla="*/ 474 w 482"/>
                  <a:gd name="T71" fmla="*/ 1072 h 3747"/>
                  <a:gd name="T72" fmla="*/ 481 w 482"/>
                  <a:gd name="T73" fmla="*/ 1196 h 3747"/>
                  <a:gd name="T74" fmla="*/ 449 w 482"/>
                  <a:gd name="T75" fmla="*/ 1358 h 3747"/>
                  <a:gd name="T76" fmla="*/ 380 w 482"/>
                  <a:gd name="T77" fmla="*/ 1528 h 3747"/>
                  <a:gd name="T78" fmla="*/ 270 w 482"/>
                  <a:gd name="T79" fmla="*/ 1717 h 3747"/>
                  <a:gd name="T80" fmla="*/ 152 w 482"/>
                  <a:gd name="T81" fmla="*/ 1903 h 3747"/>
                  <a:gd name="T82" fmla="*/ 79 w 482"/>
                  <a:gd name="T83" fmla="*/ 2053 h 3747"/>
                  <a:gd name="T84" fmla="*/ 38 w 482"/>
                  <a:gd name="T85" fmla="*/ 2213 h 3747"/>
                  <a:gd name="T86" fmla="*/ 28 w 482"/>
                  <a:gd name="T87" fmla="*/ 2386 h 3747"/>
                  <a:gd name="T88" fmla="*/ 42 w 482"/>
                  <a:gd name="T89" fmla="*/ 2581 h 3747"/>
                  <a:gd name="T90" fmla="*/ 63 w 482"/>
                  <a:gd name="T91" fmla="*/ 2788 h 3747"/>
                  <a:gd name="T92" fmla="*/ 84 w 482"/>
                  <a:gd name="T93" fmla="*/ 3039 h 3747"/>
                  <a:gd name="T94" fmla="*/ 101 w 482"/>
                  <a:gd name="T95" fmla="*/ 3337 h 3747"/>
                  <a:gd name="T96" fmla="*/ 130 w 482"/>
                  <a:gd name="T97" fmla="*/ 3494 h 3747"/>
                  <a:gd name="T98" fmla="*/ 164 w 482"/>
                  <a:gd name="T99" fmla="*/ 3586 h 3747"/>
                  <a:gd name="T100" fmla="*/ 216 w 482"/>
                  <a:gd name="T101" fmla="*/ 3668 h 3747"/>
                  <a:gd name="T102" fmla="*/ 277 w 482"/>
                  <a:gd name="T103" fmla="*/ 3728 h 3747"/>
                  <a:gd name="T104" fmla="*/ 270 w 482"/>
                  <a:gd name="T105" fmla="*/ 3746 h 3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2" h="3747">
                    <a:moveTo>
                      <a:pt x="265" y="3747"/>
                    </a:moveTo>
                    <a:lnTo>
                      <a:pt x="260" y="3747"/>
                    </a:lnTo>
                    <a:lnTo>
                      <a:pt x="256" y="3745"/>
                    </a:lnTo>
                    <a:lnTo>
                      <a:pt x="240" y="3731"/>
                    </a:lnTo>
                    <a:lnTo>
                      <a:pt x="225" y="3717"/>
                    </a:lnTo>
                    <a:lnTo>
                      <a:pt x="210" y="3702"/>
                    </a:lnTo>
                    <a:lnTo>
                      <a:pt x="197" y="3687"/>
                    </a:lnTo>
                    <a:lnTo>
                      <a:pt x="184" y="3670"/>
                    </a:lnTo>
                    <a:lnTo>
                      <a:pt x="172" y="3653"/>
                    </a:lnTo>
                    <a:lnTo>
                      <a:pt x="161" y="3637"/>
                    </a:lnTo>
                    <a:lnTo>
                      <a:pt x="151" y="3619"/>
                    </a:lnTo>
                    <a:lnTo>
                      <a:pt x="142" y="3601"/>
                    </a:lnTo>
                    <a:lnTo>
                      <a:pt x="133" y="3583"/>
                    </a:lnTo>
                    <a:lnTo>
                      <a:pt x="125" y="3564"/>
                    </a:lnTo>
                    <a:lnTo>
                      <a:pt x="118" y="3545"/>
                    </a:lnTo>
                    <a:lnTo>
                      <a:pt x="111" y="3526"/>
                    </a:lnTo>
                    <a:lnTo>
                      <a:pt x="105" y="3506"/>
                    </a:lnTo>
                    <a:lnTo>
                      <a:pt x="100" y="3486"/>
                    </a:lnTo>
                    <a:lnTo>
                      <a:pt x="94" y="3466"/>
                    </a:lnTo>
                    <a:lnTo>
                      <a:pt x="85" y="3425"/>
                    </a:lnTo>
                    <a:lnTo>
                      <a:pt x="79" y="3384"/>
                    </a:lnTo>
                    <a:lnTo>
                      <a:pt x="74" y="3343"/>
                    </a:lnTo>
                    <a:lnTo>
                      <a:pt x="70" y="3301"/>
                    </a:lnTo>
                    <a:lnTo>
                      <a:pt x="65" y="3219"/>
                    </a:lnTo>
                    <a:lnTo>
                      <a:pt x="62" y="3140"/>
                    </a:lnTo>
                    <a:lnTo>
                      <a:pt x="60" y="3091"/>
                    </a:lnTo>
                    <a:lnTo>
                      <a:pt x="57" y="3040"/>
                    </a:lnTo>
                    <a:lnTo>
                      <a:pt x="54" y="2990"/>
                    </a:lnTo>
                    <a:lnTo>
                      <a:pt x="50" y="2940"/>
                    </a:lnTo>
                    <a:lnTo>
                      <a:pt x="46" y="2890"/>
                    </a:lnTo>
                    <a:lnTo>
                      <a:pt x="40" y="2840"/>
                    </a:lnTo>
                    <a:lnTo>
                      <a:pt x="36" y="2791"/>
                    </a:lnTo>
                    <a:lnTo>
                      <a:pt x="30" y="2742"/>
                    </a:lnTo>
                    <a:lnTo>
                      <a:pt x="26" y="2702"/>
                    </a:lnTo>
                    <a:lnTo>
                      <a:pt x="23" y="2663"/>
                    </a:lnTo>
                    <a:lnTo>
                      <a:pt x="19" y="2623"/>
                    </a:lnTo>
                    <a:lnTo>
                      <a:pt x="15" y="2583"/>
                    </a:lnTo>
                    <a:lnTo>
                      <a:pt x="11" y="2543"/>
                    </a:lnTo>
                    <a:lnTo>
                      <a:pt x="8" y="2503"/>
                    </a:lnTo>
                    <a:lnTo>
                      <a:pt x="6" y="2464"/>
                    </a:lnTo>
                    <a:lnTo>
                      <a:pt x="2" y="2424"/>
                    </a:lnTo>
                    <a:lnTo>
                      <a:pt x="1" y="2386"/>
                    </a:lnTo>
                    <a:lnTo>
                      <a:pt x="0" y="2349"/>
                    </a:lnTo>
                    <a:lnTo>
                      <a:pt x="1" y="2314"/>
                    </a:lnTo>
                    <a:lnTo>
                      <a:pt x="3" y="2278"/>
                    </a:lnTo>
                    <a:lnTo>
                      <a:pt x="7" y="2242"/>
                    </a:lnTo>
                    <a:lnTo>
                      <a:pt x="12" y="2209"/>
                    </a:lnTo>
                    <a:lnTo>
                      <a:pt x="17" y="2174"/>
                    </a:lnTo>
                    <a:lnTo>
                      <a:pt x="25" y="2141"/>
                    </a:lnTo>
                    <a:lnTo>
                      <a:pt x="34" y="2108"/>
                    </a:lnTo>
                    <a:lnTo>
                      <a:pt x="43" y="2076"/>
                    </a:lnTo>
                    <a:lnTo>
                      <a:pt x="54" y="2044"/>
                    </a:lnTo>
                    <a:lnTo>
                      <a:pt x="66" y="2012"/>
                    </a:lnTo>
                    <a:lnTo>
                      <a:pt x="80" y="1981"/>
                    </a:lnTo>
                    <a:lnTo>
                      <a:pt x="95" y="1951"/>
                    </a:lnTo>
                    <a:lnTo>
                      <a:pt x="111" y="1919"/>
                    </a:lnTo>
                    <a:lnTo>
                      <a:pt x="130" y="1889"/>
                    </a:lnTo>
                    <a:lnTo>
                      <a:pt x="149" y="1857"/>
                    </a:lnTo>
                    <a:lnTo>
                      <a:pt x="169" y="1826"/>
                    </a:lnTo>
                    <a:lnTo>
                      <a:pt x="189" y="1794"/>
                    </a:lnTo>
                    <a:lnTo>
                      <a:pt x="209" y="1763"/>
                    </a:lnTo>
                    <a:lnTo>
                      <a:pt x="247" y="1704"/>
                    </a:lnTo>
                    <a:lnTo>
                      <a:pt x="285" y="1642"/>
                    </a:lnTo>
                    <a:lnTo>
                      <a:pt x="304" y="1612"/>
                    </a:lnTo>
                    <a:lnTo>
                      <a:pt x="321" y="1581"/>
                    </a:lnTo>
                    <a:lnTo>
                      <a:pt x="338" y="1549"/>
                    </a:lnTo>
                    <a:lnTo>
                      <a:pt x="355" y="1518"/>
                    </a:lnTo>
                    <a:lnTo>
                      <a:pt x="371" y="1486"/>
                    </a:lnTo>
                    <a:lnTo>
                      <a:pt x="386" y="1452"/>
                    </a:lnTo>
                    <a:lnTo>
                      <a:pt x="400" y="1420"/>
                    </a:lnTo>
                    <a:lnTo>
                      <a:pt x="412" y="1385"/>
                    </a:lnTo>
                    <a:lnTo>
                      <a:pt x="423" y="1352"/>
                    </a:lnTo>
                    <a:lnTo>
                      <a:pt x="433" y="1317"/>
                    </a:lnTo>
                    <a:lnTo>
                      <a:pt x="442" y="1282"/>
                    </a:lnTo>
                    <a:lnTo>
                      <a:pt x="448" y="1245"/>
                    </a:lnTo>
                    <a:lnTo>
                      <a:pt x="452" y="1220"/>
                    </a:lnTo>
                    <a:lnTo>
                      <a:pt x="454" y="1195"/>
                    </a:lnTo>
                    <a:lnTo>
                      <a:pt x="455" y="1170"/>
                    </a:lnTo>
                    <a:lnTo>
                      <a:pt x="455" y="1147"/>
                    </a:lnTo>
                    <a:lnTo>
                      <a:pt x="454" y="1123"/>
                    </a:lnTo>
                    <a:lnTo>
                      <a:pt x="452" y="1099"/>
                    </a:lnTo>
                    <a:lnTo>
                      <a:pt x="448" y="1076"/>
                    </a:lnTo>
                    <a:lnTo>
                      <a:pt x="444" y="1054"/>
                    </a:lnTo>
                    <a:lnTo>
                      <a:pt x="440" y="1031"/>
                    </a:lnTo>
                    <a:lnTo>
                      <a:pt x="434" y="1008"/>
                    </a:lnTo>
                    <a:lnTo>
                      <a:pt x="429" y="986"/>
                    </a:lnTo>
                    <a:lnTo>
                      <a:pt x="422" y="964"/>
                    </a:lnTo>
                    <a:lnTo>
                      <a:pt x="409" y="919"/>
                    </a:lnTo>
                    <a:lnTo>
                      <a:pt x="395" y="875"/>
                    </a:lnTo>
                    <a:lnTo>
                      <a:pt x="386" y="846"/>
                    </a:lnTo>
                    <a:lnTo>
                      <a:pt x="377" y="818"/>
                    </a:lnTo>
                    <a:lnTo>
                      <a:pt x="368" y="789"/>
                    </a:lnTo>
                    <a:lnTo>
                      <a:pt x="361" y="760"/>
                    </a:lnTo>
                    <a:lnTo>
                      <a:pt x="353" y="731"/>
                    </a:lnTo>
                    <a:lnTo>
                      <a:pt x="347" y="701"/>
                    </a:lnTo>
                    <a:lnTo>
                      <a:pt x="341" y="671"/>
                    </a:lnTo>
                    <a:lnTo>
                      <a:pt x="337" y="640"/>
                    </a:lnTo>
                    <a:lnTo>
                      <a:pt x="334" y="619"/>
                    </a:lnTo>
                    <a:lnTo>
                      <a:pt x="330" y="598"/>
                    </a:lnTo>
                    <a:lnTo>
                      <a:pt x="325" y="578"/>
                    </a:lnTo>
                    <a:lnTo>
                      <a:pt x="321" y="556"/>
                    </a:lnTo>
                    <a:lnTo>
                      <a:pt x="309" y="515"/>
                    </a:lnTo>
                    <a:lnTo>
                      <a:pt x="295" y="474"/>
                    </a:lnTo>
                    <a:lnTo>
                      <a:pt x="279" y="433"/>
                    </a:lnTo>
                    <a:lnTo>
                      <a:pt x="263" y="393"/>
                    </a:lnTo>
                    <a:lnTo>
                      <a:pt x="245" y="353"/>
                    </a:lnTo>
                    <a:lnTo>
                      <a:pt x="228" y="313"/>
                    </a:lnTo>
                    <a:lnTo>
                      <a:pt x="220" y="296"/>
                    </a:lnTo>
                    <a:lnTo>
                      <a:pt x="214" y="284"/>
                    </a:lnTo>
                    <a:lnTo>
                      <a:pt x="206" y="270"/>
                    </a:lnTo>
                    <a:lnTo>
                      <a:pt x="198" y="255"/>
                    </a:lnTo>
                    <a:lnTo>
                      <a:pt x="188" y="239"/>
                    </a:lnTo>
                    <a:lnTo>
                      <a:pt x="171" y="210"/>
                    </a:lnTo>
                    <a:lnTo>
                      <a:pt x="152" y="178"/>
                    </a:lnTo>
                    <a:lnTo>
                      <a:pt x="145" y="162"/>
                    </a:lnTo>
                    <a:lnTo>
                      <a:pt x="136" y="146"/>
                    </a:lnTo>
                    <a:lnTo>
                      <a:pt x="129" y="131"/>
                    </a:lnTo>
                    <a:lnTo>
                      <a:pt x="122" y="115"/>
                    </a:lnTo>
                    <a:lnTo>
                      <a:pt x="117" y="99"/>
                    </a:lnTo>
                    <a:lnTo>
                      <a:pt x="112" y="83"/>
                    </a:lnTo>
                    <a:lnTo>
                      <a:pt x="110" y="69"/>
                    </a:lnTo>
                    <a:lnTo>
                      <a:pt x="108" y="55"/>
                    </a:lnTo>
                    <a:lnTo>
                      <a:pt x="108" y="41"/>
                    </a:lnTo>
                    <a:lnTo>
                      <a:pt x="110" y="28"/>
                    </a:lnTo>
                    <a:lnTo>
                      <a:pt x="112" y="22"/>
                    </a:lnTo>
                    <a:lnTo>
                      <a:pt x="115" y="16"/>
                    </a:lnTo>
                    <a:lnTo>
                      <a:pt x="118" y="11"/>
                    </a:lnTo>
                    <a:lnTo>
                      <a:pt x="121" y="6"/>
                    </a:lnTo>
                    <a:lnTo>
                      <a:pt x="125" y="1"/>
                    </a:lnTo>
                    <a:lnTo>
                      <a:pt x="130" y="0"/>
                    </a:lnTo>
                    <a:lnTo>
                      <a:pt x="135" y="0"/>
                    </a:lnTo>
                    <a:lnTo>
                      <a:pt x="139" y="2"/>
                    </a:lnTo>
                    <a:lnTo>
                      <a:pt x="144" y="7"/>
                    </a:lnTo>
                    <a:lnTo>
                      <a:pt x="146" y="11"/>
                    </a:lnTo>
                    <a:lnTo>
                      <a:pt x="145" y="16"/>
                    </a:lnTo>
                    <a:lnTo>
                      <a:pt x="143" y="21"/>
                    </a:lnTo>
                    <a:lnTo>
                      <a:pt x="141" y="25"/>
                    </a:lnTo>
                    <a:lnTo>
                      <a:pt x="138" y="29"/>
                    </a:lnTo>
                    <a:lnTo>
                      <a:pt x="137" y="34"/>
                    </a:lnTo>
                    <a:lnTo>
                      <a:pt x="136" y="39"/>
                    </a:lnTo>
                    <a:lnTo>
                      <a:pt x="135" y="50"/>
                    </a:lnTo>
                    <a:lnTo>
                      <a:pt x="136" y="61"/>
                    </a:lnTo>
                    <a:lnTo>
                      <a:pt x="138" y="74"/>
                    </a:lnTo>
                    <a:lnTo>
                      <a:pt x="142" y="87"/>
                    </a:lnTo>
                    <a:lnTo>
                      <a:pt x="146" y="101"/>
                    </a:lnTo>
                    <a:lnTo>
                      <a:pt x="151" y="114"/>
                    </a:lnTo>
                    <a:lnTo>
                      <a:pt x="164" y="143"/>
                    </a:lnTo>
                    <a:lnTo>
                      <a:pt x="179" y="171"/>
                    </a:lnTo>
                    <a:lnTo>
                      <a:pt x="196" y="199"/>
                    </a:lnTo>
                    <a:lnTo>
                      <a:pt x="211" y="225"/>
                    </a:lnTo>
                    <a:lnTo>
                      <a:pt x="222" y="242"/>
                    </a:lnTo>
                    <a:lnTo>
                      <a:pt x="230" y="258"/>
                    </a:lnTo>
                    <a:lnTo>
                      <a:pt x="239" y="272"/>
                    </a:lnTo>
                    <a:lnTo>
                      <a:pt x="244" y="285"/>
                    </a:lnTo>
                    <a:lnTo>
                      <a:pt x="252" y="301"/>
                    </a:lnTo>
                    <a:lnTo>
                      <a:pt x="269" y="341"/>
                    </a:lnTo>
                    <a:lnTo>
                      <a:pt x="287" y="381"/>
                    </a:lnTo>
                    <a:lnTo>
                      <a:pt x="304" y="422"/>
                    </a:lnTo>
                    <a:lnTo>
                      <a:pt x="320" y="464"/>
                    </a:lnTo>
                    <a:lnTo>
                      <a:pt x="334" y="506"/>
                    </a:lnTo>
                    <a:lnTo>
                      <a:pt x="347" y="550"/>
                    </a:lnTo>
                    <a:lnTo>
                      <a:pt x="352" y="571"/>
                    </a:lnTo>
                    <a:lnTo>
                      <a:pt x="357" y="593"/>
                    </a:lnTo>
                    <a:lnTo>
                      <a:pt x="361" y="615"/>
                    </a:lnTo>
                    <a:lnTo>
                      <a:pt x="363" y="637"/>
                    </a:lnTo>
                    <a:lnTo>
                      <a:pt x="367" y="666"/>
                    </a:lnTo>
                    <a:lnTo>
                      <a:pt x="373" y="696"/>
                    </a:lnTo>
                    <a:lnTo>
                      <a:pt x="379" y="726"/>
                    </a:lnTo>
                    <a:lnTo>
                      <a:pt x="387" y="755"/>
                    </a:lnTo>
                    <a:lnTo>
                      <a:pt x="394" y="783"/>
                    </a:lnTo>
                    <a:lnTo>
                      <a:pt x="403" y="811"/>
                    </a:lnTo>
                    <a:lnTo>
                      <a:pt x="412" y="839"/>
                    </a:lnTo>
                    <a:lnTo>
                      <a:pt x="420" y="866"/>
                    </a:lnTo>
                    <a:lnTo>
                      <a:pt x="435" y="910"/>
                    </a:lnTo>
                    <a:lnTo>
                      <a:pt x="448" y="956"/>
                    </a:lnTo>
                    <a:lnTo>
                      <a:pt x="455" y="978"/>
                    </a:lnTo>
                    <a:lnTo>
                      <a:pt x="460" y="1002"/>
                    </a:lnTo>
                    <a:lnTo>
                      <a:pt x="466" y="1025"/>
                    </a:lnTo>
                    <a:lnTo>
                      <a:pt x="471" y="1048"/>
                    </a:lnTo>
                    <a:lnTo>
                      <a:pt x="474" y="1072"/>
                    </a:lnTo>
                    <a:lnTo>
                      <a:pt x="477" y="1096"/>
                    </a:lnTo>
                    <a:lnTo>
                      <a:pt x="480" y="1121"/>
                    </a:lnTo>
                    <a:lnTo>
                      <a:pt x="482" y="1146"/>
                    </a:lnTo>
                    <a:lnTo>
                      <a:pt x="482" y="1171"/>
                    </a:lnTo>
                    <a:lnTo>
                      <a:pt x="481" y="1196"/>
                    </a:lnTo>
                    <a:lnTo>
                      <a:pt x="479" y="1223"/>
                    </a:lnTo>
                    <a:lnTo>
                      <a:pt x="474" y="1249"/>
                    </a:lnTo>
                    <a:lnTo>
                      <a:pt x="468" y="1287"/>
                    </a:lnTo>
                    <a:lnTo>
                      <a:pt x="459" y="1323"/>
                    </a:lnTo>
                    <a:lnTo>
                      <a:pt x="449" y="1358"/>
                    </a:lnTo>
                    <a:lnTo>
                      <a:pt x="437" y="1394"/>
                    </a:lnTo>
                    <a:lnTo>
                      <a:pt x="425" y="1428"/>
                    </a:lnTo>
                    <a:lnTo>
                      <a:pt x="412" y="1462"/>
                    </a:lnTo>
                    <a:lnTo>
                      <a:pt x="396" y="1495"/>
                    </a:lnTo>
                    <a:lnTo>
                      <a:pt x="380" y="1528"/>
                    </a:lnTo>
                    <a:lnTo>
                      <a:pt x="363" y="1560"/>
                    </a:lnTo>
                    <a:lnTo>
                      <a:pt x="346" y="1592"/>
                    </a:lnTo>
                    <a:lnTo>
                      <a:pt x="327" y="1624"/>
                    </a:lnTo>
                    <a:lnTo>
                      <a:pt x="309" y="1655"/>
                    </a:lnTo>
                    <a:lnTo>
                      <a:pt x="270" y="1717"/>
                    </a:lnTo>
                    <a:lnTo>
                      <a:pt x="231" y="1778"/>
                    </a:lnTo>
                    <a:lnTo>
                      <a:pt x="212" y="1808"/>
                    </a:lnTo>
                    <a:lnTo>
                      <a:pt x="191" y="1840"/>
                    </a:lnTo>
                    <a:lnTo>
                      <a:pt x="172" y="1872"/>
                    </a:lnTo>
                    <a:lnTo>
                      <a:pt x="152" y="1903"/>
                    </a:lnTo>
                    <a:lnTo>
                      <a:pt x="135" y="1932"/>
                    </a:lnTo>
                    <a:lnTo>
                      <a:pt x="119" y="1963"/>
                    </a:lnTo>
                    <a:lnTo>
                      <a:pt x="105" y="1993"/>
                    </a:lnTo>
                    <a:lnTo>
                      <a:pt x="92" y="2023"/>
                    </a:lnTo>
                    <a:lnTo>
                      <a:pt x="79" y="2053"/>
                    </a:lnTo>
                    <a:lnTo>
                      <a:pt x="68" y="2085"/>
                    </a:lnTo>
                    <a:lnTo>
                      <a:pt x="60" y="2116"/>
                    </a:lnTo>
                    <a:lnTo>
                      <a:pt x="51" y="2148"/>
                    </a:lnTo>
                    <a:lnTo>
                      <a:pt x="44" y="2180"/>
                    </a:lnTo>
                    <a:lnTo>
                      <a:pt x="38" y="2213"/>
                    </a:lnTo>
                    <a:lnTo>
                      <a:pt x="34" y="2247"/>
                    </a:lnTo>
                    <a:lnTo>
                      <a:pt x="30" y="2280"/>
                    </a:lnTo>
                    <a:lnTo>
                      <a:pt x="28" y="2315"/>
                    </a:lnTo>
                    <a:lnTo>
                      <a:pt x="27" y="2350"/>
                    </a:lnTo>
                    <a:lnTo>
                      <a:pt x="28" y="2386"/>
                    </a:lnTo>
                    <a:lnTo>
                      <a:pt x="29" y="2423"/>
                    </a:lnTo>
                    <a:lnTo>
                      <a:pt x="33" y="2462"/>
                    </a:lnTo>
                    <a:lnTo>
                      <a:pt x="35" y="2502"/>
                    </a:lnTo>
                    <a:lnTo>
                      <a:pt x="38" y="2541"/>
                    </a:lnTo>
                    <a:lnTo>
                      <a:pt x="42" y="2581"/>
                    </a:lnTo>
                    <a:lnTo>
                      <a:pt x="46" y="2621"/>
                    </a:lnTo>
                    <a:lnTo>
                      <a:pt x="50" y="2661"/>
                    </a:lnTo>
                    <a:lnTo>
                      <a:pt x="53" y="2700"/>
                    </a:lnTo>
                    <a:lnTo>
                      <a:pt x="57" y="2739"/>
                    </a:lnTo>
                    <a:lnTo>
                      <a:pt x="63" y="2788"/>
                    </a:lnTo>
                    <a:lnTo>
                      <a:pt x="67" y="2838"/>
                    </a:lnTo>
                    <a:lnTo>
                      <a:pt x="73" y="2888"/>
                    </a:lnTo>
                    <a:lnTo>
                      <a:pt x="77" y="2937"/>
                    </a:lnTo>
                    <a:lnTo>
                      <a:pt x="81" y="2988"/>
                    </a:lnTo>
                    <a:lnTo>
                      <a:pt x="84" y="3039"/>
                    </a:lnTo>
                    <a:lnTo>
                      <a:pt x="87" y="3090"/>
                    </a:lnTo>
                    <a:lnTo>
                      <a:pt x="89" y="3139"/>
                    </a:lnTo>
                    <a:lnTo>
                      <a:pt x="92" y="3217"/>
                    </a:lnTo>
                    <a:lnTo>
                      <a:pt x="96" y="3296"/>
                    </a:lnTo>
                    <a:lnTo>
                      <a:pt x="101" y="3337"/>
                    </a:lnTo>
                    <a:lnTo>
                      <a:pt x="105" y="3377"/>
                    </a:lnTo>
                    <a:lnTo>
                      <a:pt x="111" y="3417"/>
                    </a:lnTo>
                    <a:lnTo>
                      <a:pt x="120" y="3456"/>
                    </a:lnTo>
                    <a:lnTo>
                      <a:pt x="124" y="3475"/>
                    </a:lnTo>
                    <a:lnTo>
                      <a:pt x="130" y="3494"/>
                    </a:lnTo>
                    <a:lnTo>
                      <a:pt x="135" y="3514"/>
                    </a:lnTo>
                    <a:lnTo>
                      <a:pt x="142" y="3532"/>
                    </a:lnTo>
                    <a:lnTo>
                      <a:pt x="149" y="3551"/>
                    </a:lnTo>
                    <a:lnTo>
                      <a:pt x="157" y="3569"/>
                    </a:lnTo>
                    <a:lnTo>
                      <a:pt x="164" y="3586"/>
                    </a:lnTo>
                    <a:lnTo>
                      <a:pt x="174" y="3603"/>
                    </a:lnTo>
                    <a:lnTo>
                      <a:pt x="183" y="3621"/>
                    </a:lnTo>
                    <a:lnTo>
                      <a:pt x="193" y="3637"/>
                    </a:lnTo>
                    <a:lnTo>
                      <a:pt x="204" y="3652"/>
                    </a:lnTo>
                    <a:lnTo>
                      <a:pt x="216" y="3668"/>
                    </a:lnTo>
                    <a:lnTo>
                      <a:pt x="229" y="3682"/>
                    </a:lnTo>
                    <a:lnTo>
                      <a:pt x="243" y="3696"/>
                    </a:lnTo>
                    <a:lnTo>
                      <a:pt x="257" y="3710"/>
                    </a:lnTo>
                    <a:lnTo>
                      <a:pt x="272" y="3723"/>
                    </a:lnTo>
                    <a:lnTo>
                      <a:pt x="277" y="3728"/>
                    </a:lnTo>
                    <a:lnTo>
                      <a:pt x="278" y="3732"/>
                    </a:lnTo>
                    <a:lnTo>
                      <a:pt x="278" y="3737"/>
                    </a:lnTo>
                    <a:lnTo>
                      <a:pt x="274" y="3743"/>
                    </a:lnTo>
                    <a:lnTo>
                      <a:pt x="272" y="3745"/>
                    </a:lnTo>
                    <a:lnTo>
                      <a:pt x="270" y="3746"/>
                    </a:lnTo>
                    <a:lnTo>
                      <a:pt x="267" y="3747"/>
                    </a:lnTo>
                    <a:lnTo>
                      <a:pt x="265" y="37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55"/>
              <p:cNvSpPr>
                <a:spLocks noEditPoints="1"/>
              </p:cNvSpPr>
              <p:nvPr userDrawn="1"/>
            </p:nvSpPr>
            <p:spPr bwMode="auto">
              <a:xfrm>
                <a:off x="2402" y="2509"/>
                <a:ext cx="227" cy="639"/>
              </a:xfrm>
              <a:custGeom>
                <a:avLst/>
                <a:gdLst>
                  <a:gd name="T0" fmla="*/ 35 w 681"/>
                  <a:gd name="T1" fmla="*/ 1914 h 1917"/>
                  <a:gd name="T2" fmla="*/ 22 w 681"/>
                  <a:gd name="T3" fmla="*/ 1849 h 1917"/>
                  <a:gd name="T4" fmla="*/ 2 w 681"/>
                  <a:gd name="T5" fmla="*/ 1646 h 1917"/>
                  <a:gd name="T6" fmla="*/ 2 w 681"/>
                  <a:gd name="T7" fmla="*/ 1394 h 1917"/>
                  <a:gd name="T8" fmla="*/ 19 w 681"/>
                  <a:gd name="T9" fmla="*/ 1165 h 1917"/>
                  <a:gd name="T10" fmla="*/ 49 w 681"/>
                  <a:gd name="T11" fmla="*/ 943 h 1917"/>
                  <a:gd name="T12" fmla="*/ 90 w 681"/>
                  <a:gd name="T13" fmla="*/ 734 h 1917"/>
                  <a:gd name="T14" fmla="*/ 141 w 681"/>
                  <a:gd name="T15" fmla="*/ 539 h 1917"/>
                  <a:gd name="T16" fmla="*/ 198 w 681"/>
                  <a:gd name="T17" fmla="*/ 363 h 1917"/>
                  <a:gd name="T18" fmla="*/ 261 w 681"/>
                  <a:gd name="T19" fmla="*/ 209 h 1917"/>
                  <a:gd name="T20" fmla="*/ 325 w 681"/>
                  <a:gd name="T21" fmla="*/ 81 h 1917"/>
                  <a:gd name="T22" fmla="*/ 376 w 681"/>
                  <a:gd name="T23" fmla="*/ 2 h 1917"/>
                  <a:gd name="T24" fmla="*/ 395 w 681"/>
                  <a:gd name="T25" fmla="*/ 4 h 1917"/>
                  <a:gd name="T26" fmla="*/ 394 w 681"/>
                  <a:gd name="T27" fmla="*/ 28 h 1917"/>
                  <a:gd name="T28" fmla="*/ 379 w 681"/>
                  <a:gd name="T29" fmla="*/ 79 h 1917"/>
                  <a:gd name="T30" fmla="*/ 365 w 681"/>
                  <a:gd name="T31" fmla="*/ 167 h 1917"/>
                  <a:gd name="T32" fmla="*/ 359 w 681"/>
                  <a:gd name="T33" fmla="*/ 297 h 1917"/>
                  <a:gd name="T34" fmla="*/ 374 w 681"/>
                  <a:gd name="T35" fmla="*/ 496 h 1917"/>
                  <a:gd name="T36" fmla="*/ 399 w 681"/>
                  <a:gd name="T37" fmla="*/ 720 h 1917"/>
                  <a:gd name="T38" fmla="*/ 419 w 681"/>
                  <a:gd name="T39" fmla="*/ 1021 h 1917"/>
                  <a:gd name="T40" fmla="*/ 428 w 681"/>
                  <a:gd name="T41" fmla="*/ 1215 h 1917"/>
                  <a:gd name="T42" fmla="*/ 444 w 681"/>
                  <a:gd name="T43" fmla="*/ 1332 h 1917"/>
                  <a:gd name="T44" fmla="*/ 470 w 681"/>
                  <a:gd name="T45" fmla="*/ 1429 h 1917"/>
                  <a:gd name="T46" fmla="*/ 504 w 681"/>
                  <a:gd name="T47" fmla="*/ 1509 h 1917"/>
                  <a:gd name="T48" fmla="*/ 542 w 681"/>
                  <a:gd name="T49" fmla="*/ 1575 h 1917"/>
                  <a:gd name="T50" fmla="*/ 614 w 681"/>
                  <a:gd name="T51" fmla="*/ 1660 h 1917"/>
                  <a:gd name="T52" fmla="*/ 678 w 681"/>
                  <a:gd name="T53" fmla="*/ 1713 h 1917"/>
                  <a:gd name="T54" fmla="*/ 680 w 681"/>
                  <a:gd name="T55" fmla="*/ 1727 h 1917"/>
                  <a:gd name="T56" fmla="*/ 643 w 681"/>
                  <a:gd name="T57" fmla="*/ 1743 h 1917"/>
                  <a:gd name="T58" fmla="*/ 529 w 681"/>
                  <a:gd name="T59" fmla="*/ 1769 h 1917"/>
                  <a:gd name="T60" fmla="*/ 395 w 681"/>
                  <a:gd name="T61" fmla="*/ 1792 h 1917"/>
                  <a:gd name="T62" fmla="*/ 272 w 681"/>
                  <a:gd name="T63" fmla="*/ 1817 h 1917"/>
                  <a:gd name="T64" fmla="*/ 173 w 681"/>
                  <a:gd name="T65" fmla="*/ 1849 h 1917"/>
                  <a:gd name="T66" fmla="*/ 76 w 681"/>
                  <a:gd name="T67" fmla="*/ 1899 h 1917"/>
                  <a:gd name="T68" fmla="*/ 346 w 681"/>
                  <a:gd name="T69" fmla="*/ 98 h 1917"/>
                  <a:gd name="T70" fmla="*/ 303 w 681"/>
                  <a:gd name="T71" fmla="*/ 182 h 1917"/>
                  <a:gd name="T72" fmla="*/ 247 w 681"/>
                  <a:gd name="T73" fmla="*/ 315 h 1917"/>
                  <a:gd name="T74" fmla="*/ 193 w 681"/>
                  <a:gd name="T75" fmla="*/ 466 h 1917"/>
                  <a:gd name="T76" fmla="*/ 144 w 681"/>
                  <a:gd name="T77" fmla="*/ 634 h 1917"/>
                  <a:gd name="T78" fmla="*/ 102 w 681"/>
                  <a:gd name="T79" fmla="*/ 815 h 1917"/>
                  <a:gd name="T80" fmla="*/ 68 w 681"/>
                  <a:gd name="T81" fmla="*/ 1005 h 1917"/>
                  <a:gd name="T82" fmla="*/ 43 w 681"/>
                  <a:gd name="T83" fmla="*/ 1201 h 1917"/>
                  <a:gd name="T84" fmla="*/ 29 w 681"/>
                  <a:gd name="T85" fmla="*/ 1402 h 1917"/>
                  <a:gd name="T86" fmla="*/ 29 w 681"/>
                  <a:gd name="T87" fmla="*/ 1637 h 1917"/>
                  <a:gd name="T88" fmla="*/ 47 w 681"/>
                  <a:gd name="T89" fmla="*/ 1830 h 1917"/>
                  <a:gd name="T90" fmla="*/ 128 w 681"/>
                  <a:gd name="T91" fmla="*/ 1840 h 1917"/>
                  <a:gd name="T92" fmla="*/ 225 w 681"/>
                  <a:gd name="T93" fmla="*/ 1803 h 1917"/>
                  <a:gd name="T94" fmla="*/ 393 w 681"/>
                  <a:gd name="T95" fmla="*/ 1764 h 1917"/>
                  <a:gd name="T96" fmla="*/ 514 w 681"/>
                  <a:gd name="T97" fmla="*/ 1744 h 1917"/>
                  <a:gd name="T98" fmla="*/ 613 w 681"/>
                  <a:gd name="T99" fmla="*/ 1723 h 1917"/>
                  <a:gd name="T100" fmla="*/ 587 w 681"/>
                  <a:gd name="T101" fmla="*/ 1673 h 1917"/>
                  <a:gd name="T102" fmla="*/ 520 w 681"/>
                  <a:gd name="T103" fmla="*/ 1590 h 1917"/>
                  <a:gd name="T104" fmla="*/ 481 w 681"/>
                  <a:gd name="T105" fmla="*/ 1524 h 1917"/>
                  <a:gd name="T106" fmla="*/ 448 w 681"/>
                  <a:gd name="T107" fmla="*/ 1441 h 1917"/>
                  <a:gd name="T108" fmla="*/ 420 w 681"/>
                  <a:gd name="T109" fmla="*/ 1341 h 1917"/>
                  <a:gd name="T110" fmla="*/ 401 w 681"/>
                  <a:gd name="T111" fmla="*/ 1221 h 1917"/>
                  <a:gd name="T112" fmla="*/ 392 w 681"/>
                  <a:gd name="T113" fmla="*/ 1022 h 1917"/>
                  <a:gd name="T114" fmla="*/ 372 w 681"/>
                  <a:gd name="T115" fmla="*/ 722 h 1917"/>
                  <a:gd name="T116" fmla="*/ 347 w 681"/>
                  <a:gd name="T117" fmla="*/ 499 h 1917"/>
                  <a:gd name="T118" fmla="*/ 332 w 681"/>
                  <a:gd name="T119" fmla="*/ 296 h 1917"/>
                  <a:gd name="T120" fmla="*/ 338 w 681"/>
                  <a:gd name="T121" fmla="*/ 164 h 1917"/>
                  <a:gd name="T122" fmla="*/ 345 w 681"/>
                  <a:gd name="T123" fmla="*/ 108 h 1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1" h="1917">
                    <a:moveTo>
                      <a:pt x="44" y="1917"/>
                    </a:moveTo>
                    <a:lnTo>
                      <a:pt x="42" y="1916"/>
                    </a:lnTo>
                    <a:lnTo>
                      <a:pt x="38" y="1916"/>
                    </a:lnTo>
                    <a:lnTo>
                      <a:pt x="35" y="1914"/>
                    </a:lnTo>
                    <a:lnTo>
                      <a:pt x="33" y="1912"/>
                    </a:lnTo>
                    <a:lnTo>
                      <a:pt x="32" y="1908"/>
                    </a:lnTo>
                    <a:lnTo>
                      <a:pt x="31" y="1905"/>
                    </a:lnTo>
                    <a:lnTo>
                      <a:pt x="22" y="1849"/>
                    </a:lnTo>
                    <a:lnTo>
                      <a:pt x="16" y="1798"/>
                    </a:lnTo>
                    <a:lnTo>
                      <a:pt x="10" y="1749"/>
                    </a:lnTo>
                    <a:lnTo>
                      <a:pt x="5" y="1699"/>
                    </a:lnTo>
                    <a:lnTo>
                      <a:pt x="2" y="1646"/>
                    </a:lnTo>
                    <a:lnTo>
                      <a:pt x="0" y="1589"/>
                    </a:lnTo>
                    <a:lnTo>
                      <a:pt x="0" y="1525"/>
                    </a:lnTo>
                    <a:lnTo>
                      <a:pt x="1" y="1451"/>
                    </a:lnTo>
                    <a:lnTo>
                      <a:pt x="2" y="1394"/>
                    </a:lnTo>
                    <a:lnTo>
                      <a:pt x="5" y="1335"/>
                    </a:lnTo>
                    <a:lnTo>
                      <a:pt x="8" y="1278"/>
                    </a:lnTo>
                    <a:lnTo>
                      <a:pt x="14" y="1222"/>
                    </a:lnTo>
                    <a:lnTo>
                      <a:pt x="19" y="1165"/>
                    </a:lnTo>
                    <a:lnTo>
                      <a:pt x="26" y="1109"/>
                    </a:lnTo>
                    <a:lnTo>
                      <a:pt x="32" y="1053"/>
                    </a:lnTo>
                    <a:lnTo>
                      <a:pt x="41" y="998"/>
                    </a:lnTo>
                    <a:lnTo>
                      <a:pt x="49" y="943"/>
                    </a:lnTo>
                    <a:lnTo>
                      <a:pt x="58" y="890"/>
                    </a:lnTo>
                    <a:lnTo>
                      <a:pt x="69" y="838"/>
                    </a:lnTo>
                    <a:lnTo>
                      <a:pt x="79" y="785"/>
                    </a:lnTo>
                    <a:lnTo>
                      <a:pt x="90" y="734"/>
                    </a:lnTo>
                    <a:lnTo>
                      <a:pt x="102" y="683"/>
                    </a:lnTo>
                    <a:lnTo>
                      <a:pt x="115" y="635"/>
                    </a:lnTo>
                    <a:lnTo>
                      <a:pt x="128" y="586"/>
                    </a:lnTo>
                    <a:lnTo>
                      <a:pt x="141" y="539"/>
                    </a:lnTo>
                    <a:lnTo>
                      <a:pt x="155" y="493"/>
                    </a:lnTo>
                    <a:lnTo>
                      <a:pt x="169" y="448"/>
                    </a:lnTo>
                    <a:lnTo>
                      <a:pt x="184" y="405"/>
                    </a:lnTo>
                    <a:lnTo>
                      <a:pt x="198" y="363"/>
                    </a:lnTo>
                    <a:lnTo>
                      <a:pt x="213" y="322"/>
                    </a:lnTo>
                    <a:lnTo>
                      <a:pt x="230" y="283"/>
                    </a:lnTo>
                    <a:lnTo>
                      <a:pt x="245" y="245"/>
                    </a:lnTo>
                    <a:lnTo>
                      <a:pt x="261" y="209"/>
                    </a:lnTo>
                    <a:lnTo>
                      <a:pt x="277" y="175"/>
                    </a:lnTo>
                    <a:lnTo>
                      <a:pt x="292" y="141"/>
                    </a:lnTo>
                    <a:lnTo>
                      <a:pt x="308" y="111"/>
                    </a:lnTo>
                    <a:lnTo>
                      <a:pt x="325" y="81"/>
                    </a:lnTo>
                    <a:lnTo>
                      <a:pt x="341" y="54"/>
                    </a:lnTo>
                    <a:lnTo>
                      <a:pt x="357" y="28"/>
                    </a:lnTo>
                    <a:lnTo>
                      <a:pt x="373" y="5"/>
                    </a:lnTo>
                    <a:lnTo>
                      <a:pt x="376" y="2"/>
                    </a:lnTo>
                    <a:lnTo>
                      <a:pt x="381" y="0"/>
                    </a:lnTo>
                    <a:lnTo>
                      <a:pt x="386" y="0"/>
                    </a:lnTo>
                    <a:lnTo>
                      <a:pt x="390" y="1"/>
                    </a:lnTo>
                    <a:lnTo>
                      <a:pt x="395" y="4"/>
                    </a:lnTo>
                    <a:lnTo>
                      <a:pt x="397" y="9"/>
                    </a:lnTo>
                    <a:lnTo>
                      <a:pt x="398" y="13"/>
                    </a:lnTo>
                    <a:lnTo>
                      <a:pt x="397" y="17"/>
                    </a:lnTo>
                    <a:lnTo>
                      <a:pt x="394" y="28"/>
                    </a:lnTo>
                    <a:lnTo>
                      <a:pt x="389" y="38"/>
                    </a:lnTo>
                    <a:lnTo>
                      <a:pt x="387" y="47"/>
                    </a:lnTo>
                    <a:lnTo>
                      <a:pt x="384" y="57"/>
                    </a:lnTo>
                    <a:lnTo>
                      <a:pt x="379" y="79"/>
                    </a:lnTo>
                    <a:lnTo>
                      <a:pt x="374" y="99"/>
                    </a:lnTo>
                    <a:lnTo>
                      <a:pt x="370" y="119"/>
                    </a:lnTo>
                    <a:lnTo>
                      <a:pt x="368" y="139"/>
                    </a:lnTo>
                    <a:lnTo>
                      <a:pt x="365" y="167"/>
                    </a:lnTo>
                    <a:lnTo>
                      <a:pt x="362" y="194"/>
                    </a:lnTo>
                    <a:lnTo>
                      <a:pt x="360" y="220"/>
                    </a:lnTo>
                    <a:lnTo>
                      <a:pt x="360" y="246"/>
                    </a:lnTo>
                    <a:lnTo>
                      <a:pt x="359" y="297"/>
                    </a:lnTo>
                    <a:lnTo>
                      <a:pt x="360" y="345"/>
                    </a:lnTo>
                    <a:lnTo>
                      <a:pt x="363" y="395"/>
                    </a:lnTo>
                    <a:lnTo>
                      <a:pt x="369" y="445"/>
                    </a:lnTo>
                    <a:lnTo>
                      <a:pt x="374" y="496"/>
                    </a:lnTo>
                    <a:lnTo>
                      <a:pt x="381" y="552"/>
                    </a:lnTo>
                    <a:lnTo>
                      <a:pt x="386" y="603"/>
                    </a:lnTo>
                    <a:lnTo>
                      <a:pt x="393" y="659"/>
                    </a:lnTo>
                    <a:lnTo>
                      <a:pt x="399" y="720"/>
                    </a:lnTo>
                    <a:lnTo>
                      <a:pt x="405" y="786"/>
                    </a:lnTo>
                    <a:lnTo>
                      <a:pt x="410" y="857"/>
                    </a:lnTo>
                    <a:lnTo>
                      <a:pt x="415" y="936"/>
                    </a:lnTo>
                    <a:lnTo>
                      <a:pt x="419" y="1021"/>
                    </a:lnTo>
                    <a:lnTo>
                      <a:pt x="422" y="1115"/>
                    </a:lnTo>
                    <a:lnTo>
                      <a:pt x="423" y="1151"/>
                    </a:lnTo>
                    <a:lnTo>
                      <a:pt x="425" y="1184"/>
                    </a:lnTo>
                    <a:lnTo>
                      <a:pt x="428" y="1215"/>
                    </a:lnTo>
                    <a:lnTo>
                      <a:pt x="432" y="1247"/>
                    </a:lnTo>
                    <a:lnTo>
                      <a:pt x="435" y="1276"/>
                    </a:lnTo>
                    <a:lnTo>
                      <a:pt x="440" y="1305"/>
                    </a:lnTo>
                    <a:lnTo>
                      <a:pt x="444" y="1332"/>
                    </a:lnTo>
                    <a:lnTo>
                      <a:pt x="451" y="1358"/>
                    </a:lnTo>
                    <a:lnTo>
                      <a:pt x="456" y="1383"/>
                    </a:lnTo>
                    <a:lnTo>
                      <a:pt x="464" y="1406"/>
                    </a:lnTo>
                    <a:lnTo>
                      <a:pt x="470" y="1429"/>
                    </a:lnTo>
                    <a:lnTo>
                      <a:pt x="478" y="1451"/>
                    </a:lnTo>
                    <a:lnTo>
                      <a:pt x="487" y="1471"/>
                    </a:lnTo>
                    <a:lnTo>
                      <a:pt x="495" y="1491"/>
                    </a:lnTo>
                    <a:lnTo>
                      <a:pt x="504" y="1509"/>
                    </a:lnTo>
                    <a:lnTo>
                      <a:pt x="512" y="1527"/>
                    </a:lnTo>
                    <a:lnTo>
                      <a:pt x="522" y="1544"/>
                    </a:lnTo>
                    <a:lnTo>
                      <a:pt x="532" y="1560"/>
                    </a:lnTo>
                    <a:lnTo>
                      <a:pt x="542" y="1575"/>
                    </a:lnTo>
                    <a:lnTo>
                      <a:pt x="551" y="1590"/>
                    </a:lnTo>
                    <a:lnTo>
                      <a:pt x="572" y="1616"/>
                    </a:lnTo>
                    <a:lnTo>
                      <a:pt x="593" y="1640"/>
                    </a:lnTo>
                    <a:lnTo>
                      <a:pt x="614" y="1660"/>
                    </a:lnTo>
                    <a:lnTo>
                      <a:pt x="635" y="1680"/>
                    </a:lnTo>
                    <a:lnTo>
                      <a:pt x="655" y="1696"/>
                    </a:lnTo>
                    <a:lnTo>
                      <a:pt x="676" y="1710"/>
                    </a:lnTo>
                    <a:lnTo>
                      <a:pt x="678" y="1713"/>
                    </a:lnTo>
                    <a:lnTo>
                      <a:pt x="680" y="1716"/>
                    </a:lnTo>
                    <a:lnTo>
                      <a:pt x="681" y="1720"/>
                    </a:lnTo>
                    <a:lnTo>
                      <a:pt x="681" y="1724"/>
                    </a:lnTo>
                    <a:lnTo>
                      <a:pt x="680" y="1727"/>
                    </a:lnTo>
                    <a:lnTo>
                      <a:pt x="678" y="1730"/>
                    </a:lnTo>
                    <a:lnTo>
                      <a:pt x="676" y="1732"/>
                    </a:lnTo>
                    <a:lnTo>
                      <a:pt x="672" y="1735"/>
                    </a:lnTo>
                    <a:lnTo>
                      <a:pt x="643" y="1743"/>
                    </a:lnTo>
                    <a:lnTo>
                      <a:pt x="614" y="1751"/>
                    </a:lnTo>
                    <a:lnTo>
                      <a:pt x="586" y="1757"/>
                    </a:lnTo>
                    <a:lnTo>
                      <a:pt x="558" y="1764"/>
                    </a:lnTo>
                    <a:lnTo>
                      <a:pt x="529" y="1769"/>
                    </a:lnTo>
                    <a:lnTo>
                      <a:pt x="501" y="1773"/>
                    </a:lnTo>
                    <a:lnTo>
                      <a:pt x="473" y="1779"/>
                    </a:lnTo>
                    <a:lnTo>
                      <a:pt x="444" y="1783"/>
                    </a:lnTo>
                    <a:lnTo>
                      <a:pt x="395" y="1792"/>
                    </a:lnTo>
                    <a:lnTo>
                      <a:pt x="345" y="1800"/>
                    </a:lnTo>
                    <a:lnTo>
                      <a:pt x="320" y="1805"/>
                    </a:lnTo>
                    <a:lnTo>
                      <a:pt x="295" y="1811"/>
                    </a:lnTo>
                    <a:lnTo>
                      <a:pt x="272" y="1817"/>
                    </a:lnTo>
                    <a:lnTo>
                      <a:pt x="247" y="1823"/>
                    </a:lnTo>
                    <a:lnTo>
                      <a:pt x="222" y="1831"/>
                    </a:lnTo>
                    <a:lnTo>
                      <a:pt x="198" y="1839"/>
                    </a:lnTo>
                    <a:lnTo>
                      <a:pt x="173" y="1849"/>
                    </a:lnTo>
                    <a:lnTo>
                      <a:pt x="150" y="1860"/>
                    </a:lnTo>
                    <a:lnTo>
                      <a:pt x="125" y="1871"/>
                    </a:lnTo>
                    <a:lnTo>
                      <a:pt x="101" y="1884"/>
                    </a:lnTo>
                    <a:lnTo>
                      <a:pt x="76" y="1899"/>
                    </a:lnTo>
                    <a:lnTo>
                      <a:pt x="51" y="1915"/>
                    </a:lnTo>
                    <a:lnTo>
                      <a:pt x="48" y="1916"/>
                    </a:lnTo>
                    <a:lnTo>
                      <a:pt x="44" y="1917"/>
                    </a:lnTo>
                    <a:close/>
                    <a:moveTo>
                      <a:pt x="346" y="98"/>
                    </a:moveTo>
                    <a:lnTo>
                      <a:pt x="346" y="98"/>
                    </a:lnTo>
                    <a:lnTo>
                      <a:pt x="332" y="125"/>
                    </a:lnTo>
                    <a:lnTo>
                      <a:pt x="317" y="153"/>
                    </a:lnTo>
                    <a:lnTo>
                      <a:pt x="303" y="182"/>
                    </a:lnTo>
                    <a:lnTo>
                      <a:pt x="289" y="214"/>
                    </a:lnTo>
                    <a:lnTo>
                      <a:pt x="275" y="246"/>
                    </a:lnTo>
                    <a:lnTo>
                      <a:pt x="260" y="279"/>
                    </a:lnTo>
                    <a:lnTo>
                      <a:pt x="247" y="315"/>
                    </a:lnTo>
                    <a:lnTo>
                      <a:pt x="233" y="351"/>
                    </a:lnTo>
                    <a:lnTo>
                      <a:pt x="219" y="389"/>
                    </a:lnTo>
                    <a:lnTo>
                      <a:pt x="206" y="426"/>
                    </a:lnTo>
                    <a:lnTo>
                      <a:pt x="193" y="466"/>
                    </a:lnTo>
                    <a:lnTo>
                      <a:pt x="180" y="507"/>
                    </a:lnTo>
                    <a:lnTo>
                      <a:pt x="168" y="548"/>
                    </a:lnTo>
                    <a:lnTo>
                      <a:pt x="156" y="590"/>
                    </a:lnTo>
                    <a:lnTo>
                      <a:pt x="144" y="634"/>
                    </a:lnTo>
                    <a:lnTo>
                      <a:pt x="132" y="678"/>
                    </a:lnTo>
                    <a:lnTo>
                      <a:pt x="122" y="723"/>
                    </a:lnTo>
                    <a:lnTo>
                      <a:pt x="112" y="768"/>
                    </a:lnTo>
                    <a:lnTo>
                      <a:pt x="102" y="815"/>
                    </a:lnTo>
                    <a:lnTo>
                      <a:pt x="92" y="861"/>
                    </a:lnTo>
                    <a:lnTo>
                      <a:pt x="84" y="909"/>
                    </a:lnTo>
                    <a:lnTo>
                      <a:pt x="75" y="956"/>
                    </a:lnTo>
                    <a:lnTo>
                      <a:pt x="68" y="1005"/>
                    </a:lnTo>
                    <a:lnTo>
                      <a:pt x="60" y="1053"/>
                    </a:lnTo>
                    <a:lnTo>
                      <a:pt x="54" y="1102"/>
                    </a:lnTo>
                    <a:lnTo>
                      <a:pt x="48" y="1152"/>
                    </a:lnTo>
                    <a:lnTo>
                      <a:pt x="43" y="1201"/>
                    </a:lnTo>
                    <a:lnTo>
                      <a:pt x="38" y="1251"/>
                    </a:lnTo>
                    <a:lnTo>
                      <a:pt x="34" y="1302"/>
                    </a:lnTo>
                    <a:lnTo>
                      <a:pt x="31" y="1351"/>
                    </a:lnTo>
                    <a:lnTo>
                      <a:pt x="29" y="1402"/>
                    </a:lnTo>
                    <a:lnTo>
                      <a:pt x="28" y="1452"/>
                    </a:lnTo>
                    <a:lnTo>
                      <a:pt x="27" y="1522"/>
                    </a:lnTo>
                    <a:lnTo>
                      <a:pt x="27" y="1582"/>
                    </a:lnTo>
                    <a:lnTo>
                      <a:pt x="29" y="1637"/>
                    </a:lnTo>
                    <a:lnTo>
                      <a:pt x="32" y="1687"/>
                    </a:lnTo>
                    <a:lnTo>
                      <a:pt x="36" y="1735"/>
                    </a:lnTo>
                    <a:lnTo>
                      <a:pt x="41" y="1781"/>
                    </a:lnTo>
                    <a:lnTo>
                      <a:pt x="47" y="1830"/>
                    </a:lnTo>
                    <a:lnTo>
                      <a:pt x="55" y="1880"/>
                    </a:lnTo>
                    <a:lnTo>
                      <a:pt x="78" y="1865"/>
                    </a:lnTo>
                    <a:lnTo>
                      <a:pt x="103" y="1852"/>
                    </a:lnTo>
                    <a:lnTo>
                      <a:pt x="128" y="1840"/>
                    </a:lnTo>
                    <a:lnTo>
                      <a:pt x="152" y="1829"/>
                    </a:lnTo>
                    <a:lnTo>
                      <a:pt x="177" y="1819"/>
                    </a:lnTo>
                    <a:lnTo>
                      <a:pt x="200" y="1810"/>
                    </a:lnTo>
                    <a:lnTo>
                      <a:pt x="225" y="1803"/>
                    </a:lnTo>
                    <a:lnTo>
                      <a:pt x="249" y="1795"/>
                    </a:lnTo>
                    <a:lnTo>
                      <a:pt x="298" y="1783"/>
                    </a:lnTo>
                    <a:lnTo>
                      <a:pt x="345" y="1772"/>
                    </a:lnTo>
                    <a:lnTo>
                      <a:pt x="393" y="1764"/>
                    </a:lnTo>
                    <a:lnTo>
                      <a:pt x="440" y="1756"/>
                    </a:lnTo>
                    <a:lnTo>
                      <a:pt x="465" y="1753"/>
                    </a:lnTo>
                    <a:lnTo>
                      <a:pt x="490" y="1749"/>
                    </a:lnTo>
                    <a:lnTo>
                      <a:pt x="514" y="1744"/>
                    </a:lnTo>
                    <a:lnTo>
                      <a:pt x="538" y="1740"/>
                    </a:lnTo>
                    <a:lnTo>
                      <a:pt x="563" y="1735"/>
                    </a:lnTo>
                    <a:lnTo>
                      <a:pt x="588" y="1729"/>
                    </a:lnTo>
                    <a:lnTo>
                      <a:pt x="613" y="1723"/>
                    </a:lnTo>
                    <a:lnTo>
                      <a:pt x="638" y="1716"/>
                    </a:lnTo>
                    <a:lnTo>
                      <a:pt x="623" y="1704"/>
                    </a:lnTo>
                    <a:lnTo>
                      <a:pt x="605" y="1690"/>
                    </a:lnTo>
                    <a:lnTo>
                      <a:pt x="587" y="1673"/>
                    </a:lnTo>
                    <a:lnTo>
                      <a:pt x="569" y="1654"/>
                    </a:lnTo>
                    <a:lnTo>
                      <a:pt x="549" y="1631"/>
                    </a:lnTo>
                    <a:lnTo>
                      <a:pt x="530" y="1604"/>
                    </a:lnTo>
                    <a:lnTo>
                      <a:pt x="520" y="1590"/>
                    </a:lnTo>
                    <a:lnTo>
                      <a:pt x="510" y="1575"/>
                    </a:lnTo>
                    <a:lnTo>
                      <a:pt x="501" y="1559"/>
                    </a:lnTo>
                    <a:lnTo>
                      <a:pt x="491" y="1541"/>
                    </a:lnTo>
                    <a:lnTo>
                      <a:pt x="481" y="1524"/>
                    </a:lnTo>
                    <a:lnTo>
                      <a:pt x="473" y="1505"/>
                    </a:lnTo>
                    <a:lnTo>
                      <a:pt x="464" y="1484"/>
                    </a:lnTo>
                    <a:lnTo>
                      <a:pt x="455" y="1464"/>
                    </a:lnTo>
                    <a:lnTo>
                      <a:pt x="448" y="1441"/>
                    </a:lnTo>
                    <a:lnTo>
                      <a:pt x="440" y="1418"/>
                    </a:lnTo>
                    <a:lnTo>
                      <a:pt x="433" y="1394"/>
                    </a:lnTo>
                    <a:lnTo>
                      <a:pt x="426" y="1368"/>
                    </a:lnTo>
                    <a:lnTo>
                      <a:pt x="420" y="1341"/>
                    </a:lnTo>
                    <a:lnTo>
                      <a:pt x="414" y="1313"/>
                    </a:lnTo>
                    <a:lnTo>
                      <a:pt x="409" y="1283"/>
                    </a:lnTo>
                    <a:lnTo>
                      <a:pt x="405" y="1252"/>
                    </a:lnTo>
                    <a:lnTo>
                      <a:pt x="401" y="1221"/>
                    </a:lnTo>
                    <a:lnTo>
                      <a:pt x="398" y="1187"/>
                    </a:lnTo>
                    <a:lnTo>
                      <a:pt x="396" y="1152"/>
                    </a:lnTo>
                    <a:lnTo>
                      <a:pt x="395" y="1116"/>
                    </a:lnTo>
                    <a:lnTo>
                      <a:pt x="392" y="1022"/>
                    </a:lnTo>
                    <a:lnTo>
                      <a:pt x="388" y="937"/>
                    </a:lnTo>
                    <a:lnTo>
                      <a:pt x="383" y="859"/>
                    </a:lnTo>
                    <a:lnTo>
                      <a:pt x="378" y="788"/>
                    </a:lnTo>
                    <a:lnTo>
                      <a:pt x="372" y="722"/>
                    </a:lnTo>
                    <a:lnTo>
                      <a:pt x="366" y="663"/>
                    </a:lnTo>
                    <a:lnTo>
                      <a:pt x="359" y="607"/>
                    </a:lnTo>
                    <a:lnTo>
                      <a:pt x="354" y="555"/>
                    </a:lnTo>
                    <a:lnTo>
                      <a:pt x="347" y="499"/>
                    </a:lnTo>
                    <a:lnTo>
                      <a:pt x="342" y="447"/>
                    </a:lnTo>
                    <a:lnTo>
                      <a:pt x="336" y="396"/>
                    </a:lnTo>
                    <a:lnTo>
                      <a:pt x="333" y="346"/>
                    </a:lnTo>
                    <a:lnTo>
                      <a:pt x="332" y="296"/>
                    </a:lnTo>
                    <a:lnTo>
                      <a:pt x="332" y="245"/>
                    </a:lnTo>
                    <a:lnTo>
                      <a:pt x="333" y="219"/>
                    </a:lnTo>
                    <a:lnTo>
                      <a:pt x="335" y="192"/>
                    </a:lnTo>
                    <a:lnTo>
                      <a:pt x="338" y="164"/>
                    </a:lnTo>
                    <a:lnTo>
                      <a:pt x="341" y="136"/>
                    </a:lnTo>
                    <a:lnTo>
                      <a:pt x="342" y="126"/>
                    </a:lnTo>
                    <a:lnTo>
                      <a:pt x="343" y="118"/>
                    </a:lnTo>
                    <a:lnTo>
                      <a:pt x="345" y="108"/>
                    </a:lnTo>
                    <a:lnTo>
                      <a:pt x="346"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56"/>
              <p:cNvSpPr>
                <a:spLocks/>
              </p:cNvSpPr>
              <p:nvPr userDrawn="1"/>
            </p:nvSpPr>
            <p:spPr bwMode="auto">
              <a:xfrm>
                <a:off x="1387" y="1416"/>
                <a:ext cx="982" cy="1880"/>
              </a:xfrm>
              <a:custGeom>
                <a:avLst/>
                <a:gdLst>
                  <a:gd name="T0" fmla="*/ 1430 w 2945"/>
                  <a:gd name="T1" fmla="*/ 5582 h 5641"/>
                  <a:gd name="T2" fmla="*/ 460 w 2945"/>
                  <a:gd name="T3" fmla="*/ 5454 h 5641"/>
                  <a:gd name="T4" fmla="*/ 164 w 2945"/>
                  <a:gd name="T5" fmla="*/ 5267 h 5641"/>
                  <a:gd name="T6" fmla="*/ 23 w 2945"/>
                  <a:gd name="T7" fmla="*/ 4981 h 5641"/>
                  <a:gd name="T8" fmla="*/ 2 w 2945"/>
                  <a:gd name="T9" fmla="*/ 4723 h 5641"/>
                  <a:gd name="T10" fmla="*/ 403 w 2945"/>
                  <a:gd name="T11" fmla="*/ 4622 h 5641"/>
                  <a:gd name="T12" fmla="*/ 899 w 2945"/>
                  <a:gd name="T13" fmla="*/ 4439 h 5641"/>
                  <a:gd name="T14" fmla="*/ 1142 w 2945"/>
                  <a:gd name="T15" fmla="*/ 4209 h 5641"/>
                  <a:gd name="T16" fmla="*/ 1218 w 2945"/>
                  <a:gd name="T17" fmla="*/ 3983 h 5641"/>
                  <a:gd name="T18" fmla="*/ 1204 w 2945"/>
                  <a:gd name="T19" fmla="*/ 3719 h 5641"/>
                  <a:gd name="T20" fmla="*/ 1112 w 2945"/>
                  <a:gd name="T21" fmla="*/ 3496 h 5641"/>
                  <a:gd name="T22" fmla="*/ 922 w 2945"/>
                  <a:gd name="T23" fmla="*/ 3278 h 5641"/>
                  <a:gd name="T24" fmla="*/ 629 w 2945"/>
                  <a:gd name="T25" fmla="*/ 2872 h 5641"/>
                  <a:gd name="T26" fmla="*/ 435 w 2945"/>
                  <a:gd name="T27" fmla="*/ 2317 h 5641"/>
                  <a:gd name="T28" fmla="*/ 365 w 2945"/>
                  <a:gd name="T29" fmla="*/ 1912 h 5641"/>
                  <a:gd name="T30" fmla="*/ 317 w 2945"/>
                  <a:gd name="T31" fmla="*/ 1455 h 5641"/>
                  <a:gd name="T32" fmla="*/ 373 w 2945"/>
                  <a:gd name="T33" fmla="*/ 1146 h 5641"/>
                  <a:gd name="T34" fmla="*/ 516 w 2945"/>
                  <a:gd name="T35" fmla="*/ 850 h 5641"/>
                  <a:gd name="T36" fmla="*/ 692 w 2945"/>
                  <a:gd name="T37" fmla="*/ 621 h 5641"/>
                  <a:gd name="T38" fmla="*/ 920 w 2945"/>
                  <a:gd name="T39" fmla="*/ 428 h 5641"/>
                  <a:gd name="T40" fmla="*/ 1177 w 2945"/>
                  <a:gd name="T41" fmla="*/ 290 h 5641"/>
                  <a:gd name="T42" fmla="*/ 1626 w 2945"/>
                  <a:gd name="T43" fmla="*/ 111 h 5641"/>
                  <a:gd name="T44" fmla="*/ 2026 w 2945"/>
                  <a:gd name="T45" fmla="*/ 0 h 5641"/>
                  <a:gd name="T46" fmla="*/ 1901 w 2945"/>
                  <a:gd name="T47" fmla="*/ 56 h 5641"/>
                  <a:gd name="T48" fmla="*/ 1399 w 2945"/>
                  <a:gd name="T49" fmla="*/ 225 h 5641"/>
                  <a:gd name="T50" fmla="*/ 1089 w 2945"/>
                  <a:gd name="T51" fmla="*/ 361 h 5641"/>
                  <a:gd name="T52" fmla="*/ 840 w 2945"/>
                  <a:gd name="T53" fmla="*/ 521 h 5641"/>
                  <a:gd name="T54" fmla="*/ 638 w 2945"/>
                  <a:gd name="T55" fmla="*/ 725 h 5641"/>
                  <a:gd name="T56" fmla="*/ 480 w 2945"/>
                  <a:gd name="T57" fmla="*/ 967 h 5641"/>
                  <a:gd name="T58" fmla="*/ 365 w 2945"/>
                  <a:gd name="T59" fmla="*/ 1277 h 5641"/>
                  <a:gd name="T60" fmla="*/ 344 w 2945"/>
                  <a:gd name="T61" fmla="*/ 1569 h 5641"/>
                  <a:gd name="T62" fmla="*/ 422 w 2945"/>
                  <a:gd name="T63" fmla="*/ 2074 h 5641"/>
                  <a:gd name="T64" fmla="*/ 517 w 2945"/>
                  <a:gd name="T65" fmla="*/ 2541 h 5641"/>
                  <a:gd name="T66" fmla="*/ 781 w 2945"/>
                  <a:gd name="T67" fmla="*/ 3060 h 5641"/>
                  <a:gd name="T68" fmla="*/ 1026 w 2945"/>
                  <a:gd name="T69" fmla="*/ 3355 h 5641"/>
                  <a:gd name="T70" fmla="*/ 1186 w 2945"/>
                  <a:gd name="T71" fmla="*/ 3564 h 5641"/>
                  <a:gd name="T72" fmla="*/ 1251 w 2945"/>
                  <a:gd name="T73" fmla="*/ 3859 h 5641"/>
                  <a:gd name="T74" fmla="*/ 1225 w 2945"/>
                  <a:gd name="T75" fmla="*/ 4078 h 5641"/>
                  <a:gd name="T76" fmla="*/ 1103 w 2945"/>
                  <a:gd name="T77" fmla="*/ 4322 h 5641"/>
                  <a:gd name="T78" fmla="*/ 773 w 2945"/>
                  <a:gd name="T79" fmla="*/ 4527 h 5641"/>
                  <a:gd name="T80" fmla="*/ 154 w 2945"/>
                  <a:gd name="T81" fmla="*/ 4714 h 5641"/>
                  <a:gd name="T82" fmla="*/ 37 w 2945"/>
                  <a:gd name="T83" fmla="*/ 4914 h 5641"/>
                  <a:gd name="T84" fmla="*/ 125 w 2945"/>
                  <a:gd name="T85" fmla="*/ 5165 h 5641"/>
                  <a:gd name="T86" fmla="*/ 358 w 2945"/>
                  <a:gd name="T87" fmla="*/ 5388 h 5641"/>
                  <a:gd name="T88" fmla="*/ 817 w 2945"/>
                  <a:gd name="T89" fmla="*/ 5488 h 5641"/>
                  <a:gd name="T90" fmla="*/ 2084 w 2945"/>
                  <a:gd name="T91" fmla="*/ 5598 h 5641"/>
                  <a:gd name="T92" fmla="*/ 2918 w 2945"/>
                  <a:gd name="T93" fmla="*/ 5576 h 5641"/>
                  <a:gd name="T94" fmla="*/ 2800 w 2945"/>
                  <a:gd name="T95" fmla="*/ 5132 h 5641"/>
                  <a:gd name="T96" fmla="*/ 2492 w 2945"/>
                  <a:gd name="T97" fmla="*/ 4547 h 5641"/>
                  <a:gd name="T98" fmla="*/ 2118 w 2945"/>
                  <a:gd name="T99" fmla="*/ 3949 h 5641"/>
                  <a:gd name="T100" fmla="*/ 1873 w 2945"/>
                  <a:gd name="T101" fmla="*/ 3531 h 5641"/>
                  <a:gd name="T102" fmla="*/ 1555 w 2945"/>
                  <a:gd name="T103" fmla="*/ 3036 h 5641"/>
                  <a:gd name="T104" fmla="*/ 1204 w 2945"/>
                  <a:gd name="T105" fmla="*/ 2458 h 5641"/>
                  <a:gd name="T106" fmla="*/ 1116 w 2945"/>
                  <a:gd name="T107" fmla="*/ 2194 h 5641"/>
                  <a:gd name="T108" fmla="*/ 1286 w 2945"/>
                  <a:gd name="T109" fmla="*/ 2552 h 5641"/>
                  <a:gd name="T110" fmla="*/ 1648 w 2945"/>
                  <a:gd name="T111" fmla="*/ 3130 h 5641"/>
                  <a:gd name="T112" fmla="*/ 1958 w 2945"/>
                  <a:gd name="T113" fmla="*/ 3618 h 5641"/>
                  <a:gd name="T114" fmla="*/ 2173 w 2945"/>
                  <a:gd name="T115" fmla="*/ 3987 h 5641"/>
                  <a:gd name="T116" fmla="*/ 2621 w 2945"/>
                  <a:gd name="T117" fmla="*/ 4717 h 5641"/>
                  <a:gd name="T118" fmla="*/ 2875 w 2945"/>
                  <a:gd name="T119" fmla="*/ 5247 h 5641"/>
                  <a:gd name="T120" fmla="*/ 2940 w 2945"/>
                  <a:gd name="T121" fmla="*/ 5630 h 5641"/>
                  <a:gd name="T122" fmla="*/ 2703 w 2945"/>
                  <a:gd name="T123" fmla="*/ 5641 h 5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45" h="5641">
                    <a:moveTo>
                      <a:pt x="2670" y="5641"/>
                    </a:moveTo>
                    <a:lnTo>
                      <a:pt x="2586" y="5641"/>
                    </a:lnTo>
                    <a:lnTo>
                      <a:pt x="2499" y="5640"/>
                    </a:lnTo>
                    <a:lnTo>
                      <a:pt x="2412" y="5638"/>
                    </a:lnTo>
                    <a:lnTo>
                      <a:pt x="2323" y="5635"/>
                    </a:lnTo>
                    <a:lnTo>
                      <a:pt x="2144" y="5629"/>
                    </a:lnTo>
                    <a:lnTo>
                      <a:pt x="1963" y="5619"/>
                    </a:lnTo>
                    <a:lnTo>
                      <a:pt x="1782" y="5608"/>
                    </a:lnTo>
                    <a:lnTo>
                      <a:pt x="1604" y="5597"/>
                    </a:lnTo>
                    <a:lnTo>
                      <a:pt x="1430" y="5582"/>
                    </a:lnTo>
                    <a:lnTo>
                      <a:pt x="1262" y="5566"/>
                    </a:lnTo>
                    <a:lnTo>
                      <a:pt x="1102" y="5550"/>
                    </a:lnTo>
                    <a:lnTo>
                      <a:pt x="953" y="5533"/>
                    </a:lnTo>
                    <a:lnTo>
                      <a:pt x="816" y="5516"/>
                    </a:lnTo>
                    <a:lnTo>
                      <a:pt x="693" y="5498"/>
                    </a:lnTo>
                    <a:lnTo>
                      <a:pt x="637" y="5489"/>
                    </a:lnTo>
                    <a:lnTo>
                      <a:pt x="586" y="5480"/>
                    </a:lnTo>
                    <a:lnTo>
                      <a:pt x="540" y="5471"/>
                    </a:lnTo>
                    <a:lnTo>
                      <a:pt x="497" y="5463"/>
                    </a:lnTo>
                    <a:lnTo>
                      <a:pt x="460" y="5454"/>
                    </a:lnTo>
                    <a:lnTo>
                      <a:pt x="428" y="5445"/>
                    </a:lnTo>
                    <a:lnTo>
                      <a:pt x="402" y="5438"/>
                    </a:lnTo>
                    <a:lnTo>
                      <a:pt x="382" y="5429"/>
                    </a:lnTo>
                    <a:lnTo>
                      <a:pt x="343" y="5411"/>
                    </a:lnTo>
                    <a:lnTo>
                      <a:pt x="307" y="5390"/>
                    </a:lnTo>
                    <a:lnTo>
                      <a:pt x="274" y="5368"/>
                    </a:lnTo>
                    <a:lnTo>
                      <a:pt x="243" y="5345"/>
                    </a:lnTo>
                    <a:lnTo>
                      <a:pt x="214" y="5320"/>
                    </a:lnTo>
                    <a:lnTo>
                      <a:pt x="187" y="5294"/>
                    </a:lnTo>
                    <a:lnTo>
                      <a:pt x="164" y="5267"/>
                    </a:lnTo>
                    <a:lnTo>
                      <a:pt x="142" y="5240"/>
                    </a:lnTo>
                    <a:lnTo>
                      <a:pt x="122" y="5212"/>
                    </a:lnTo>
                    <a:lnTo>
                      <a:pt x="104" y="5183"/>
                    </a:lnTo>
                    <a:lnTo>
                      <a:pt x="88" y="5154"/>
                    </a:lnTo>
                    <a:lnTo>
                      <a:pt x="73" y="5125"/>
                    </a:lnTo>
                    <a:lnTo>
                      <a:pt x="61" y="5096"/>
                    </a:lnTo>
                    <a:lnTo>
                      <a:pt x="49" y="5067"/>
                    </a:lnTo>
                    <a:lnTo>
                      <a:pt x="40" y="5037"/>
                    </a:lnTo>
                    <a:lnTo>
                      <a:pt x="31" y="5009"/>
                    </a:lnTo>
                    <a:lnTo>
                      <a:pt x="23" y="4981"/>
                    </a:lnTo>
                    <a:lnTo>
                      <a:pt x="18" y="4953"/>
                    </a:lnTo>
                    <a:lnTo>
                      <a:pt x="13" y="4927"/>
                    </a:lnTo>
                    <a:lnTo>
                      <a:pt x="8" y="4901"/>
                    </a:lnTo>
                    <a:lnTo>
                      <a:pt x="5" y="4878"/>
                    </a:lnTo>
                    <a:lnTo>
                      <a:pt x="3" y="4854"/>
                    </a:lnTo>
                    <a:lnTo>
                      <a:pt x="2" y="4832"/>
                    </a:lnTo>
                    <a:lnTo>
                      <a:pt x="0" y="4813"/>
                    </a:lnTo>
                    <a:lnTo>
                      <a:pt x="0" y="4751"/>
                    </a:lnTo>
                    <a:lnTo>
                      <a:pt x="1" y="4728"/>
                    </a:lnTo>
                    <a:lnTo>
                      <a:pt x="2" y="4723"/>
                    </a:lnTo>
                    <a:lnTo>
                      <a:pt x="4" y="4720"/>
                    </a:lnTo>
                    <a:lnTo>
                      <a:pt x="7" y="4718"/>
                    </a:lnTo>
                    <a:lnTo>
                      <a:pt x="11" y="4716"/>
                    </a:lnTo>
                    <a:lnTo>
                      <a:pt x="23" y="4714"/>
                    </a:lnTo>
                    <a:lnTo>
                      <a:pt x="55" y="4707"/>
                    </a:lnTo>
                    <a:lnTo>
                      <a:pt x="101" y="4697"/>
                    </a:lnTo>
                    <a:lnTo>
                      <a:pt x="162" y="4683"/>
                    </a:lnTo>
                    <a:lnTo>
                      <a:pt x="234" y="4667"/>
                    </a:lnTo>
                    <a:lnTo>
                      <a:pt x="315" y="4647"/>
                    </a:lnTo>
                    <a:lnTo>
                      <a:pt x="403" y="4622"/>
                    </a:lnTo>
                    <a:lnTo>
                      <a:pt x="495" y="4595"/>
                    </a:lnTo>
                    <a:lnTo>
                      <a:pt x="543" y="4581"/>
                    </a:lnTo>
                    <a:lnTo>
                      <a:pt x="589" y="4566"/>
                    </a:lnTo>
                    <a:lnTo>
                      <a:pt x="637" y="4550"/>
                    </a:lnTo>
                    <a:lnTo>
                      <a:pt x="683" y="4532"/>
                    </a:lnTo>
                    <a:lnTo>
                      <a:pt x="730" y="4515"/>
                    </a:lnTo>
                    <a:lnTo>
                      <a:pt x="774" y="4497"/>
                    </a:lnTo>
                    <a:lnTo>
                      <a:pt x="817" y="4478"/>
                    </a:lnTo>
                    <a:lnTo>
                      <a:pt x="859" y="4459"/>
                    </a:lnTo>
                    <a:lnTo>
                      <a:pt x="899" y="4439"/>
                    </a:lnTo>
                    <a:lnTo>
                      <a:pt x="937" y="4418"/>
                    </a:lnTo>
                    <a:lnTo>
                      <a:pt x="971" y="4397"/>
                    </a:lnTo>
                    <a:lnTo>
                      <a:pt x="1004" y="4376"/>
                    </a:lnTo>
                    <a:lnTo>
                      <a:pt x="1033" y="4353"/>
                    </a:lnTo>
                    <a:lnTo>
                      <a:pt x="1059" y="4330"/>
                    </a:lnTo>
                    <a:lnTo>
                      <a:pt x="1080" y="4307"/>
                    </a:lnTo>
                    <a:lnTo>
                      <a:pt x="1099" y="4283"/>
                    </a:lnTo>
                    <a:lnTo>
                      <a:pt x="1114" y="4258"/>
                    </a:lnTo>
                    <a:lnTo>
                      <a:pt x="1129" y="4233"/>
                    </a:lnTo>
                    <a:lnTo>
                      <a:pt x="1142" y="4209"/>
                    </a:lnTo>
                    <a:lnTo>
                      <a:pt x="1154" y="4186"/>
                    </a:lnTo>
                    <a:lnTo>
                      <a:pt x="1166" y="4162"/>
                    </a:lnTo>
                    <a:lnTo>
                      <a:pt x="1176" y="4138"/>
                    </a:lnTo>
                    <a:lnTo>
                      <a:pt x="1184" y="4116"/>
                    </a:lnTo>
                    <a:lnTo>
                      <a:pt x="1192" y="4093"/>
                    </a:lnTo>
                    <a:lnTo>
                      <a:pt x="1199" y="4070"/>
                    </a:lnTo>
                    <a:lnTo>
                      <a:pt x="1205" y="4049"/>
                    </a:lnTo>
                    <a:lnTo>
                      <a:pt x="1210" y="4026"/>
                    </a:lnTo>
                    <a:lnTo>
                      <a:pt x="1214" y="4004"/>
                    </a:lnTo>
                    <a:lnTo>
                      <a:pt x="1218" y="3983"/>
                    </a:lnTo>
                    <a:lnTo>
                      <a:pt x="1221" y="3962"/>
                    </a:lnTo>
                    <a:lnTo>
                      <a:pt x="1223" y="3941"/>
                    </a:lnTo>
                    <a:lnTo>
                      <a:pt x="1224" y="3920"/>
                    </a:lnTo>
                    <a:lnTo>
                      <a:pt x="1224" y="3900"/>
                    </a:lnTo>
                    <a:lnTo>
                      <a:pt x="1224" y="3879"/>
                    </a:lnTo>
                    <a:lnTo>
                      <a:pt x="1223" y="3859"/>
                    </a:lnTo>
                    <a:lnTo>
                      <a:pt x="1222" y="3838"/>
                    </a:lnTo>
                    <a:lnTo>
                      <a:pt x="1218" y="3798"/>
                    </a:lnTo>
                    <a:lnTo>
                      <a:pt x="1211" y="3758"/>
                    </a:lnTo>
                    <a:lnTo>
                      <a:pt x="1204" y="3719"/>
                    </a:lnTo>
                    <a:lnTo>
                      <a:pt x="1195" y="3681"/>
                    </a:lnTo>
                    <a:lnTo>
                      <a:pt x="1184" y="3642"/>
                    </a:lnTo>
                    <a:lnTo>
                      <a:pt x="1173" y="3604"/>
                    </a:lnTo>
                    <a:lnTo>
                      <a:pt x="1170" y="3594"/>
                    </a:lnTo>
                    <a:lnTo>
                      <a:pt x="1166" y="3583"/>
                    </a:lnTo>
                    <a:lnTo>
                      <a:pt x="1161" y="3574"/>
                    </a:lnTo>
                    <a:lnTo>
                      <a:pt x="1156" y="3563"/>
                    </a:lnTo>
                    <a:lnTo>
                      <a:pt x="1144" y="3541"/>
                    </a:lnTo>
                    <a:lnTo>
                      <a:pt x="1129" y="3520"/>
                    </a:lnTo>
                    <a:lnTo>
                      <a:pt x="1112" y="3496"/>
                    </a:lnTo>
                    <a:lnTo>
                      <a:pt x="1092" y="3471"/>
                    </a:lnTo>
                    <a:lnTo>
                      <a:pt x="1071" y="3445"/>
                    </a:lnTo>
                    <a:lnTo>
                      <a:pt x="1047" y="3417"/>
                    </a:lnTo>
                    <a:lnTo>
                      <a:pt x="1034" y="3403"/>
                    </a:lnTo>
                    <a:lnTo>
                      <a:pt x="1020" y="3388"/>
                    </a:lnTo>
                    <a:lnTo>
                      <a:pt x="1006" y="3372"/>
                    </a:lnTo>
                    <a:lnTo>
                      <a:pt x="992" y="3357"/>
                    </a:lnTo>
                    <a:lnTo>
                      <a:pt x="969" y="3331"/>
                    </a:lnTo>
                    <a:lnTo>
                      <a:pt x="946" y="3305"/>
                    </a:lnTo>
                    <a:lnTo>
                      <a:pt x="922" y="3278"/>
                    </a:lnTo>
                    <a:lnTo>
                      <a:pt x="898" y="3250"/>
                    </a:lnTo>
                    <a:lnTo>
                      <a:pt x="872" y="3221"/>
                    </a:lnTo>
                    <a:lnTo>
                      <a:pt x="847" y="3190"/>
                    </a:lnTo>
                    <a:lnTo>
                      <a:pt x="822" y="3158"/>
                    </a:lnTo>
                    <a:lnTo>
                      <a:pt x="796" y="3126"/>
                    </a:lnTo>
                    <a:lnTo>
                      <a:pt x="759" y="3075"/>
                    </a:lnTo>
                    <a:lnTo>
                      <a:pt x="724" y="3025"/>
                    </a:lnTo>
                    <a:lnTo>
                      <a:pt x="691" y="2975"/>
                    </a:lnTo>
                    <a:lnTo>
                      <a:pt x="659" y="2924"/>
                    </a:lnTo>
                    <a:lnTo>
                      <a:pt x="629" y="2872"/>
                    </a:lnTo>
                    <a:lnTo>
                      <a:pt x="602" y="2820"/>
                    </a:lnTo>
                    <a:lnTo>
                      <a:pt x="576" y="2767"/>
                    </a:lnTo>
                    <a:lnTo>
                      <a:pt x="552" y="2713"/>
                    </a:lnTo>
                    <a:lnTo>
                      <a:pt x="530" y="2659"/>
                    </a:lnTo>
                    <a:lnTo>
                      <a:pt x="510" y="2604"/>
                    </a:lnTo>
                    <a:lnTo>
                      <a:pt x="491" y="2549"/>
                    </a:lnTo>
                    <a:lnTo>
                      <a:pt x="475" y="2493"/>
                    </a:lnTo>
                    <a:lnTo>
                      <a:pt x="460" y="2435"/>
                    </a:lnTo>
                    <a:lnTo>
                      <a:pt x="447" y="2377"/>
                    </a:lnTo>
                    <a:lnTo>
                      <a:pt x="435" y="2317"/>
                    </a:lnTo>
                    <a:lnTo>
                      <a:pt x="425" y="2257"/>
                    </a:lnTo>
                    <a:lnTo>
                      <a:pt x="419" y="2220"/>
                    </a:lnTo>
                    <a:lnTo>
                      <a:pt x="413" y="2183"/>
                    </a:lnTo>
                    <a:lnTo>
                      <a:pt x="407" y="2148"/>
                    </a:lnTo>
                    <a:lnTo>
                      <a:pt x="401" y="2113"/>
                    </a:lnTo>
                    <a:lnTo>
                      <a:pt x="395" y="2079"/>
                    </a:lnTo>
                    <a:lnTo>
                      <a:pt x="388" y="2045"/>
                    </a:lnTo>
                    <a:lnTo>
                      <a:pt x="383" y="2012"/>
                    </a:lnTo>
                    <a:lnTo>
                      <a:pt x="376" y="1978"/>
                    </a:lnTo>
                    <a:lnTo>
                      <a:pt x="365" y="1912"/>
                    </a:lnTo>
                    <a:lnTo>
                      <a:pt x="353" y="1849"/>
                    </a:lnTo>
                    <a:lnTo>
                      <a:pt x="343" y="1786"/>
                    </a:lnTo>
                    <a:lnTo>
                      <a:pt x="333" y="1725"/>
                    </a:lnTo>
                    <a:lnTo>
                      <a:pt x="326" y="1664"/>
                    </a:lnTo>
                    <a:lnTo>
                      <a:pt x="320" y="1604"/>
                    </a:lnTo>
                    <a:lnTo>
                      <a:pt x="318" y="1573"/>
                    </a:lnTo>
                    <a:lnTo>
                      <a:pt x="317" y="1544"/>
                    </a:lnTo>
                    <a:lnTo>
                      <a:pt x="316" y="1514"/>
                    </a:lnTo>
                    <a:lnTo>
                      <a:pt x="316" y="1484"/>
                    </a:lnTo>
                    <a:lnTo>
                      <a:pt x="317" y="1455"/>
                    </a:lnTo>
                    <a:lnTo>
                      <a:pt x="318" y="1424"/>
                    </a:lnTo>
                    <a:lnTo>
                      <a:pt x="320" y="1394"/>
                    </a:lnTo>
                    <a:lnTo>
                      <a:pt x="324" y="1364"/>
                    </a:lnTo>
                    <a:lnTo>
                      <a:pt x="328" y="1334"/>
                    </a:lnTo>
                    <a:lnTo>
                      <a:pt x="333" y="1304"/>
                    </a:lnTo>
                    <a:lnTo>
                      <a:pt x="339" y="1272"/>
                    </a:lnTo>
                    <a:lnTo>
                      <a:pt x="346" y="1241"/>
                    </a:lnTo>
                    <a:lnTo>
                      <a:pt x="354" y="1210"/>
                    </a:lnTo>
                    <a:lnTo>
                      <a:pt x="362" y="1178"/>
                    </a:lnTo>
                    <a:lnTo>
                      <a:pt x="373" y="1146"/>
                    </a:lnTo>
                    <a:lnTo>
                      <a:pt x="384" y="1114"/>
                    </a:lnTo>
                    <a:lnTo>
                      <a:pt x="397" y="1081"/>
                    </a:lnTo>
                    <a:lnTo>
                      <a:pt x="411" y="1048"/>
                    </a:lnTo>
                    <a:lnTo>
                      <a:pt x="426" y="1014"/>
                    </a:lnTo>
                    <a:lnTo>
                      <a:pt x="442" y="981"/>
                    </a:lnTo>
                    <a:lnTo>
                      <a:pt x="456" y="954"/>
                    </a:lnTo>
                    <a:lnTo>
                      <a:pt x="470" y="927"/>
                    </a:lnTo>
                    <a:lnTo>
                      <a:pt x="486" y="901"/>
                    </a:lnTo>
                    <a:lnTo>
                      <a:pt x="501" y="875"/>
                    </a:lnTo>
                    <a:lnTo>
                      <a:pt x="516" y="850"/>
                    </a:lnTo>
                    <a:lnTo>
                      <a:pt x="532" y="825"/>
                    </a:lnTo>
                    <a:lnTo>
                      <a:pt x="548" y="801"/>
                    </a:lnTo>
                    <a:lnTo>
                      <a:pt x="564" y="777"/>
                    </a:lnTo>
                    <a:lnTo>
                      <a:pt x="582" y="753"/>
                    </a:lnTo>
                    <a:lnTo>
                      <a:pt x="599" y="730"/>
                    </a:lnTo>
                    <a:lnTo>
                      <a:pt x="617" y="708"/>
                    </a:lnTo>
                    <a:lnTo>
                      <a:pt x="636" y="685"/>
                    </a:lnTo>
                    <a:lnTo>
                      <a:pt x="654" y="663"/>
                    </a:lnTo>
                    <a:lnTo>
                      <a:pt x="672" y="643"/>
                    </a:lnTo>
                    <a:lnTo>
                      <a:pt x="692" y="621"/>
                    </a:lnTo>
                    <a:lnTo>
                      <a:pt x="711" y="601"/>
                    </a:lnTo>
                    <a:lnTo>
                      <a:pt x="733" y="580"/>
                    </a:lnTo>
                    <a:lnTo>
                      <a:pt x="754" y="560"/>
                    </a:lnTo>
                    <a:lnTo>
                      <a:pt x="777" y="539"/>
                    </a:lnTo>
                    <a:lnTo>
                      <a:pt x="800" y="519"/>
                    </a:lnTo>
                    <a:lnTo>
                      <a:pt x="822" y="500"/>
                    </a:lnTo>
                    <a:lnTo>
                      <a:pt x="846" y="481"/>
                    </a:lnTo>
                    <a:lnTo>
                      <a:pt x="870" y="463"/>
                    </a:lnTo>
                    <a:lnTo>
                      <a:pt x="895" y="445"/>
                    </a:lnTo>
                    <a:lnTo>
                      <a:pt x="920" y="428"/>
                    </a:lnTo>
                    <a:lnTo>
                      <a:pt x="944" y="412"/>
                    </a:lnTo>
                    <a:lnTo>
                      <a:pt x="970" y="396"/>
                    </a:lnTo>
                    <a:lnTo>
                      <a:pt x="996" y="381"/>
                    </a:lnTo>
                    <a:lnTo>
                      <a:pt x="1023" y="365"/>
                    </a:lnTo>
                    <a:lnTo>
                      <a:pt x="1050" y="350"/>
                    </a:lnTo>
                    <a:lnTo>
                      <a:pt x="1077" y="336"/>
                    </a:lnTo>
                    <a:lnTo>
                      <a:pt x="1104" y="323"/>
                    </a:lnTo>
                    <a:lnTo>
                      <a:pt x="1129" y="311"/>
                    </a:lnTo>
                    <a:lnTo>
                      <a:pt x="1154" y="301"/>
                    </a:lnTo>
                    <a:lnTo>
                      <a:pt x="1177" y="290"/>
                    </a:lnTo>
                    <a:lnTo>
                      <a:pt x="1200" y="280"/>
                    </a:lnTo>
                    <a:lnTo>
                      <a:pt x="1223" y="269"/>
                    </a:lnTo>
                    <a:lnTo>
                      <a:pt x="1247" y="260"/>
                    </a:lnTo>
                    <a:lnTo>
                      <a:pt x="1268" y="250"/>
                    </a:lnTo>
                    <a:lnTo>
                      <a:pt x="1291" y="240"/>
                    </a:lnTo>
                    <a:lnTo>
                      <a:pt x="1389" y="199"/>
                    </a:lnTo>
                    <a:lnTo>
                      <a:pt x="1485" y="163"/>
                    </a:lnTo>
                    <a:lnTo>
                      <a:pt x="1532" y="144"/>
                    </a:lnTo>
                    <a:lnTo>
                      <a:pt x="1579" y="127"/>
                    </a:lnTo>
                    <a:lnTo>
                      <a:pt x="1626" y="111"/>
                    </a:lnTo>
                    <a:lnTo>
                      <a:pt x="1671" y="96"/>
                    </a:lnTo>
                    <a:lnTo>
                      <a:pt x="1718" y="80"/>
                    </a:lnTo>
                    <a:lnTo>
                      <a:pt x="1762" y="66"/>
                    </a:lnTo>
                    <a:lnTo>
                      <a:pt x="1806" y="54"/>
                    </a:lnTo>
                    <a:lnTo>
                      <a:pt x="1850" y="42"/>
                    </a:lnTo>
                    <a:lnTo>
                      <a:pt x="1894" y="30"/>
                    </a:lnTo>
                    <a:lnTo>
                      <a:pt x="1937" y="19"/>
                    </a:lnTo>
                    <a:lnTo>
                      <a:pt x="1979" y="8"/>
                    </a:lnTo>
                    <a:lnTo>
                      <a:pt x="2021" y="0"/>
                    </a:lnTo>
                    <a:lnTo>
                      <a:pt x="2026" y="0"/>
                    </a:lnTo>
                    <a:lnTo>
                      <a:pt x="2032" y="1"/>
                    </a:lnTo>
                    <a:lnTo>
                      <a:pt x="2035" y="5"/>
                    </a:lnTo>
                    <a:lnTo>
                      <a:pt x="2037" y="9"/>
                    </a:lnTo>
                    <a:lnTo>
                      <a:pt x="2037" y="15"/>
                    </a:lnTo>
                    <a:lnTo>
                      <a:pt x="2035" y="20"/>
                    </a:lnTo>
                    <a:lnTo>
                      <a:pt x="2032" y="23"/>
                    </a:lnTo>
                    <a:lnTo>
                      <a:pt x="2026" y="25"/>
                    </a:lnTo>
                    <a:lnTo>
                      <a:pt x="1985" y="35"/>
                    </a:lnTo>
                    <a:lnTo>
                      <a:pt x="1943" y="45"/>
                    </a:lnTo>
                    <a:lnTo>
                      <a:pt x="1901" y="56"/>
                    </a:lnTo>
                    <a:lnTo>
                      <a:pt x="1858" y="68"/>
                    </a:lnTo>
                    <a:lnTo>
                      <a:pt x="1814" y="79"/>
                    </a:lnTo>
                    <a:lnTo>
                      <a:pt x="1769" y="92"/>
                    </a:lnTo>
                    <a:lnTo>
                      <a:pt x="1725" y="106"/>
                    </a:lnTo>
                    <a:lnTo>
                      <a:pt x="1680" y="122"/>
                    </a:lnTo>
                    <a:lnTo>
                      <a:pt x="1634" y="137"/>
                    </a:lnTo>
                    <a:lnTo>
                      <a:pt x="1588" y="153"/>
                    </a:lnTo>
                    <a:lnTo>
                      <a:pt x="1542" y="170"/>
                    </a:lnTo>
                    <a:lnTo>
                      <a:pt x="1494" y="187"/>
                    </a:lnTo>
                    <a:lnTo>
                      <a:pt x="1399" y="225"/>
                    </a:lnTo>
                    <a:lnTo>
                      <a:pt x="1302" y="265"/>
                    </a:lnTo>
                    <a:lnTo>
                      <a:pt x="1279" y="275"/>
                    </a:lnTo>
                    <a:lnTo>
                      <a:pt x="1258" y="285"/>
                    </a:lnTo>
                    <a:lnTo>
                      <a:pt x="1235" y="294"/>
                    </a:lnTo>
                    <a:lnTo>
                      <a:pt x="1211" y="304"/>
                    </a:lnTo>
                    <a:lnTo>
                      <a:pt x="1188" y="315"/>
                    </a:lnTo>
                    <a:lnTo>
                      <a:pt x="1165" y="326"/>
                    </a:lnTo>
                    <a:lnTo>
                      <a:pt x="1141" y="336"/>
                    </a:lnTo>
                    <a:lnTo>
                      <a:pt x="1116" y="348"/>
                    </a:lnTo>
                    <a:lnTo>
                      <a:pt x="1089" y="361"/>
                    </a:lnTo>
                    <a:lnTo>
                      <a:pt x="1062" y="374"/>
                    </a:lnTo>
                    <a:lnTo>
                      <a:pt x="1036" y="389"/>
                    </a:lnTo>
                    <a:lnTo>
                      <a:pt x="1010" y="403"/>
                    </a:lnTo>
                    <a:lnTo>
                      <a:pt x="984" y="418"/>
                    </a:lnTo>
                    <a:lnTo>
                      <a:pt x="960" y="435"/>
                    </a:lnTo>
                    <a:lnTo>
                      <a:pt x="935" y="451"/>
                    </a:lnTo>
                    <a:lnTo>
                      <a:pt x="911" y="468"/>
                    </a:lnTo>
                    <a:lnTo>
                      <a:pt x="886" y="485"/>
                    </a:lnTo>
                    <a:lnTo>
                      <a:pt x="863" y="503"/>
                    </a:lnTo>
                    <a:lnTo>
                      <a:pt x="840" y="521"/>
                    </a:lnTo>
                    <a:lnTo>
                      <a:pt x="817" y="540"/>
                    </a:lnTo>
                    <a:lnTo>
                      <a:pt x="794" y="559"/>
                    </a:lnTo>
                    <a:lnTo>
                      <a:pt x="773" y="579"/>
                    </a:lnTo>
                    <a:lnTo>
                      <a:pt x="751" y="600"/>
                    </a:lnTo>
                    <a:lnTo>
                      <a:pt x="731" y="620"/>
                    </a:lnTo>
                    <a:lnTo>
                      <a:pt x="711" y="640"/>
                    </a:lnTo>
                    <a:lnTo>
                      <a:pt x="693" y="660"/>
                    </a:lnTo>
                    <a:lnTo>
                      <a:pt x="674" y="682"/>
                    </a:lnTo>
                    <a:lnTo>
                      <a:pt x="656" y="703"/>
                    </a:lnTo>
                    <a:lnTo>
                      <a:pt x="638" y="725"/>
                    </a:lnTo>
                    <a:lnTo>
                      <a:pt x="620" y="747"/>
                    </a:lnTo>
                    <a:lnTo>
                      <a:pt x="603" y="769"/>
                    </a:lnTo>
                    <a:lnTo>
                      <a:pt x="587" y="793"/>
                    </a:lnTo>
                    <a:lnTo>
                      <a:pt x="571" y="817"/>
                    </a:lnTo>
                    <a:lnTo>
                      <a:pt x="555" y="840"/>
                    </a:lnTo>
                    <a:lnTo>
                      <a:pt x="538" y="864"/>
                    </a:lnTo>
                    <a:lnTo>
                      <a:pt x="523" y="889"/>
                    </a:lnTo>
                    <a:lnTo>
                      <a:pt x="509" y="915"/>
                    </a:lnTo>
                    <a:lnTo>
                      <a:pt x="494" y="940"/>
                    </a:lnTo>
                    <a:lnTo>
                      <a:pt x="480" y="967"/>
                    </a:lnTo>
                    <a:lnTo>
                      <a:pt x="467" y="993"/>
                    </a:lnTo>
                    <a:lnTo>
                      <a:pt x="451" y="1026"/>
                    </a:lnTo>
                    <a:lnTo>
                      <a:pt x="436" y="1058"/>
                    </a:lnTo>
                    <a:lnTo>
                      <a:pt x="422" y="1091"/>
                    </a:lnTo>
                    <a:lnTo>
                      <a:pt x="410" y="1122"/>
                    </a:lnTo>
                    <a:lnTo>
                      <a:pt x="399" y="1155"/>
                    </a:lnTo>
                    <a:lnTo>
                      <a:pt x="388" y="1185"/>
                    </a:lnTo>
                    <a:lnTo>
                      <a:pt x="380" y="1216"/>
                    </a:lnTo>
                    <a:lnTo>
                      <a:pt x="372" y="1246"/>
                    </a:lnTo>
                    <a:lnTo>
                      <a:pt x="365" y="1277"/>
                    </a:lnTo>
                    <a:lnTo>
                      <a:pt x="359" y="1306"/>
                    </a:lnTo>
                    <a:lnTo>
                      <a:pt x="354" y="1336"/>
                    </a:lnTo>
                    <a:lnTo>
                      <a:pt x="351" y="1365"/>
                    </a:lnTo>
                    <a:lnTo>
                      <a:pt x="347" y="1394"/>
                    </a:lnTo>
                    <a:lnTo>
                      <a:pt x="345" y="1423"/>
                    </a:lnTo>
                    <a:lnTo>
                      <a:pt x="343" y="1453"/>
                    </a:lnTo>
                    <a:lnTo>
                      <a:pt x="343" y="1482"/>
                    </a:lnTo>
                    <a:lnTo>
                      <a:pt x="343" y="1511"/>
                    </a:lnTo>
                    <a:lnTo>
                      <a:pt x="343" y="1540"/>
                    </a:lnTo>
                    <a:lnTo>
                      <a:pt x="344" y="1569"/>
                    </a:lnTo>
                    <a:lnTo>
                      <a:pt x="346" y="1598"/>
                    </a:lnTo>
                    <a:lnTo>
                      <a:pt x="352" y="1658"/>
                    </a:lnTo>
                    <a:lnTo>
                      <a:pt x="359" y="1718"/>
                    </a:lnTo>
                    <a:lnTo>
                      <a:pt x="369" y="1780"/>
                    </a:lnTo>
                    <a:lnTo>
                      <a:pt x="380" y="1842"/>
                    </a:lnTo>
                    <a:lnTo>
                      <a:pt x="390" y="1907"/>
                    </a:lnTo>
                    <a:lnTo>
                      <a:pt x="403" y="1973"/>
                    </a:lnTo>
                    <a:lnTo>
                      <a:pt x="409" y="2006"/>
                    </a:lnTo>
                    <a:lnTo>
                      <a:pt x="415" y="2040"/>
                    </a:lnTo>
                    <a:lnTo>
                      <a:pt x="422" y="2074"/>
                    </a:lnTo>
                    <a:lnTo>
                      <a:pt x="428" y="2109"/>
                    </a:lnTo>
                    <a:lnTo>
                      <a:pt x="434" y="2143"/>
                    </a:lnTo>
                    <a:lnTo>
                      <a:pt x="440" y="2179"/>
                    </a:lnTo>
                    <a:lnTo>
                      <a:pt x="446" y="2216"/>
                    </a:lnTo>
                    <a:lnTo>
                      <a:pt x="451" y="2252"/>
                    </a:lnTo>
                    <a:lnTo>
                      <a:pt x="462" y="2313"/>
                    </a:lnTo>
                    <a:lnTo>
                      <a:pt x="473" y="2371"/>
                    </a:lnTo>
                    <a:lnTo>
                      <a:pt x="486" y="2428"/>
                    </a:lnTo>
                    <a:lnTo>
                      <a:pt x="501" y="2486"/>
                    </a:lnTo>
                    <a:lnTo>
                      <a:pt x="517" y="2541"/>
                    </a:lnTo>
                    <a:lnTo>
                      <a:pt x="535" y="2596"/>
                    </a:lnTo>
                    <a:lnTo>
                      <a:pt x="556" y="2650"/>
                    </a:lnTo>
                    <a:lnTo>
                      <a:pt x="577" y="2704"/>
                    </a:lnTo>
                    <a:lnTo>
                      <a:pt x="601" y="2755"/>
                    </a:lnTo>
                    <a:lnTo>
                      <a:pt x="626" y="2807"/>
                    </a:lnTo>
                    <a:lnTo>
                      <a:pt x="653" y="2859"/>
                    </a:lnTo>
                    <a:lnTo>
                      <a:pt x="682" y="2910"/>
                    </a:lnTo>
                    <a:lnTo>
                      <a:pt x="713" y="2961"/>
                    </a:lnTo>
                    <a:lnTo>
                      <a:pt x="746" y="3010"/>
                    </a:lnTo>
                    <a:lnTo>
                      <a:pt x="781" y="3060"/>
                    </a:lnTo>
                    <a:lnTo>
                      <a:pt x="818" y="3110"/>
                    </a:lnTo>
                    <a:lnTo>
                      <a:pt x="843" y="3142"/>
                    </a:lnTo>
                    <a:lnTo>
                      <a:pt x="869" y="3173"/>
                    </a:lnTo>
                    <a:lnTo>
                      <a:pt x="894" y="3203"/>
                    </a:lnTo>
                    <a:lnTo>
                      <a:pt x="919" y="3233"/>
                    </a:lnTo>
                    <a:lnTo>
                      <a:pt x="942" y="3261"/>
                    </a:lnTo>
                    <a:lnTo>
                      <a:pt x="966" y="3288"/>
                    </a:lnTo>
                    <a:lnTo>
                      <a:pt x="990" y="3314"/>
                    </a:lnTo>
                    <a:lnTo>
                      <a:pt x="1012" y="3338"/>
                    </a:lnTo>
                    <a:lnTo>
                      <a:pt x="1026" y="3355"/>
                    </a:lnTo>
                    <a:lnTo>
                      <a:pt x="1041" y="3370"/>
                    </a:lnTo>
                    <a:lnTo>
                      <a:pt x="1053" y="3385"/>
                    </a:lnTo>
                    <a:lnTo>
                      <a:pt x="1066" y="3400"/>
                    </a:lnTo>
                    <a:lnTo>
                      <a:pt x="1092" y="3428"/>
                    </a:lnTo>
                    <a:lnTo>
                      <a:pt x="1115" y="3456"/>
                    </a:lnTo>
                    <a:lnTo>
                      <a:pt x="1134" y="3482"/>
                    </a:lnTo>
                    <a:lnTo>
                      <a:pt x="1153" y="3506"/>
                    </a:lnTo>
                    <a:lnTo>
                      <a:pt x="1168" y="3529"/>
                    </a:lnTo>
                    <a:lnTo>
                      <a:pt x="1181" y="3552"/>
                    </a:lnTo>
                    <a:lnTo>
                      <a:pt x="1186" y="3564"/>
                    </a:lnTo>
                    <a:lnTo>
                      <a:pt x="1192" y="3575"/>
                    </a:lnTo>
                    <a:lnTo>
                      <a:pt x="1196" y="3586"/>
                    </a:lnTo>
                    <a:lnTo>
                      <a:pt x="1199" y="3596"/>
                    </a:lnTo>
                    <a:lnTo>
                      <a:pt x="1210" y="3635"/>
                    </a:lnTo>
                    <a:lnTo>
                      <a:pt x="1221" y="3675"/>
                    </a:lnTo>
                    <a:lnTo>
                      <a:pt x="1231" y="3715"/>
                    </a:lnTo>
                    <a:lnTo>
                      <a:pt x="1238" y="3756"/>
                    </a:lnTo>
                    <a:lnTo>
                      <a:pt x="1245" y="3797"/>
                    </a:lnTo>
                    <a:lnTo>
                      <a:pt x="1249" y="3838"/>
                    </a:lnTo>
                    <a:lnTo>
                      <a:pt x="1251" y="3859"/>
                    </a:lnTo>
                    <a:lnTo>
                      <a:pt x="1251" y="3880"/>
                    </a:lnTo>
                    <a:lnTo>
                      <a:pt x="1251" y="3901"/>
                    </a:lnTo>
                    <a:lnTo>
                      <a:pt x="1251" y="3922"/>
                    </a:lnTo>
                    <a:lnTo>
                      <a:pt x="1250" y="3944"/>
                    </a:lnTo>
                    <a:lnTo>
                      <a:pt x="1248" y="3966"/>
                    </a:lnTo>
                    <a:lnTo>
                      <a:pt x="1245" y="3987"/>
                    </a:lnTo>
                    <a:lnTo>
                      <a:pt x="1241" y="4010"/>
                    </a:lnTo>
                    <a:lnTo>
                      <a:pt x="1237" y="4032"/>
                    </a:lnTo>
                    <a:lnTo>
                      <a:pt x="1232" y="4055"/>
                    </a:lnTo>
                    <a:lnTo>
                      <a:pt x="1225" y="4078"/>
                    </a:lnTo>
                    <a:lnTo>
                      <a:pt x="1219" y="4100"/>
                    </a:lnTo>
                    <a:lnTo>
                      <a:pt x="1210" y="4124"/>
                    </a:lnTo>
                    <a:lnTo>
                      <a:pt x="1200" y="4148"/>
                    </a:lnTo>
                    <a:lnTo>
                      <a:pt x="1191" y="4172"/>
                    </a:lnTo>
                    <a:lnTo>
                      <a:pt x="1179" y="4197"/>
                    </a:lnTo>
                    <a:lnTo>
                      <a:pt x="1166" y="4221"/>
                    </a:lnTo>
                    <a:lnTo>
                      <a:pt x="1153" y="4246"/>
                    </a:lnTo>
                    <a:lnTo>
                      <a:pt x="1138" y="4272"/>
                    </a:lnTo>
                    <a:lnTo>
                      <a:pt x="1122" y="4298"/>
                    </a:lnTo>
                    <a:lnTo>
                      <a:pt x="1103" y="4322"/>
                    </a:lnTo>
                    <a:lnTo>
                      <a:pt x="1083" y="4344"/>
                    </a:lnTo>
                    <a:lnTo>
                      <a:pt x="1058" y="4367"/>
                    </a:lnTo>
                    <a:lnTo>
                      <a:pt x="1031" y="4389"/>
                    </a:lnTo>
                    <a:lnTo>
                      <a:pt x="1001" y="4410"/>
                    </a:lnTo>
                    <a:lnTo>
                      <a:pt x="967" y="4432"/>
                    </a:lnTo>
                    <a:lnTo>
                      <a:pt x="933" y="4451"/>
                    </a:lnTo>
                    <a:lnTo>
                      <a:pt x="895" y="4472"/>
                    </a:lnTo>
                    <a:lnTo>
                      <a:pt x="856" y="4490"/>
                    </a:lnTo>
                    <a:lnTo>
                      <a:pt x="815" y="4510"/>
                    </a:lnTo>
                    <a:lnTo>
                      <a:pt x="773" y="4527"/>
                    </a:lnTo>
                    <a:lnTo>
                      <a:pt x="730" y="4544"/>
                    </a:lnTo>
                    <a:lnTo>
                      <a:pt x="686" y="4561"/>
                    </a:lnTo>
                    <a:lnTo>
                      <a:pt x="642" y="4577"/>
                    </a:lnTo>
                    <a:lnTo>
                      <a:pt x="597" y="4593"/>
                    </a:lnTo>
                    <a:lnTo>
                      <a:pt x="551" y="4607"/>
                    </a:lnTo>
                    <a:lnTo>
                      <a:pt x="463" y="4634"/>
                    </a:lnTo>
                    <a:lnTo>
                      <a:pt x="376" y="4659"/>
                    </a:lnTo>
                    <a:lnTo>
                      <a:pt x="294" y="4680"/>
                    </a:lnTo>
                    <a:lnTo>
                      <a:pt x="220" y="4698"/>
                    </a:lnTo>
                    <a:lnTo>
                      <a:pt x="154" y="4714"/>
                    </a:lnTo>
                    <a:lnTo>
                      <a:pt x="98" y="4727"/>
                    </a:lnTo>
                    <a:lnTo>
                      <a:pt x="55" y="4735"/>
                    </a:lnTo>
                    <a:lnTo>
                      <a:pt x="27" y="4741"/>
                    </a:lnTo>
                    <a:lnTo>
                      <a:pt x="27" y="4758"/>
                    </a:lnTo>
                    <a:lnTo>
                      <a:pt x="27" y="4783"/>
                    </a:lnTo>
                    <a:lnTo>
                      <a:pt x="28" y="4814"/>
                    </a:lnTo>
                    <a:lnTo>
                      <a:pt x="30" y="4851"/>
                    </a:lnTo>
                    <a:lnTo>
                      <a:pt x="32" y="4871"/>
                    </a:lnTo>
                    <a:lnTo>
                      <a:pt x="34" y="4892"/>
                    </a:lnTo>
                    <a:lnTo>
                      <a:pt x="37" y="4914"/>
                    </a:lnTo>
                    <a:lnTo>
                      <a:pt x="42" y="4937"/>
                    </a:lnTo>
                    <a:lnTo>
                      <a:pt x="47" y="4961"/>
                    </a:lnTo>
                    <a:lnTo>
                      <a:pt x="53" y="4986"/>
                    </a:lnTo>
                    <a:lnTo>
                      <a:pt x="60" y="5010"/>
                    </a:lnTo>
                    <a:lnTo>
                      <a:pt x="68" y="5036"/>
                    </a:lnTo>
                    <a:lnTo>
                      <a:pt x="76" y="5061"/>
                    </a:lnTo>
                    <a:lnTo>
                      <a:pt x="87" y="5087"/>
                    </a:lnTo>
                    <a:lnTo>
                      <a:pt x="98" y="5113"/>
                    </a:lnTo>
                    <a:lnTo>
                      <a:pt x="111" y="5139"/>
                    </a:lnTo>
                    <a:lnTo>
                      <a:pt x="125" y="5165"/>
                    </a:lnTo>
                    <a:lnTo>
                      <a:pt x="140" y="5191"/>
                    </a:lnTo>
                    <a:lnTo>
                      <a:pt x="157" y="5216"/>
                    </a:lnTo>
                    <a:lnTo>
                      <a:pt x="177" y="5240"/>
                    </a:lnTo>
                    <a:lnTo>
                      <a:pt x="197" y="5264"/>
                    </a:lnTo>
                    <a:lnTo>
                      <a:pt x="219" y="5287"/>
                    </a:lnTo>
                    <a:lnTo>
                      <a:pt x="243" y="5309"/>
                    </a:lnTo>
                    <a:lnTo>
                      <a:pt x="268" y="5331"/>
                    </a:lnTo>
                    <a:lnTo>
                      <a:pt x="297" y="5352"/>
                    </a:lnTo>
                    <a:lnTo>
                      <a:pt x="327" y="5371"/>
                    </a:lnTo>
                    <a:lnTo>
                      <a:pt x="358" y="5388"/>
                    </a:lnTo>
                    <a:lnTo>
                      <a:pt x="393" y="5404"/>
                    </a:lnTo>
                    <a:lnTo>
                      <a:pt x="414" y="5413"/>
                    </a:lnTo>
                    <a:lnTo>
                      <a:pt x="443" y="5422"/>
                    </a:lnTo>
                    <a:lnTo>
                      <a:pt x="480" y="5431"/>
                    </a:lnTo>
                    <a:lnTo>
                      <a:pt x="522" y="5440"/>
                    </a:lnTo>
                    <a:lnTo>
                      <a:pt x="571" y="5450"/>
                    </a:lnTo>
                    <a:lnTo>
                      <a:pt x="625" y="5460"/>
                    </a:lnTo>
                    <a:lnTo>
                      <a:pt x="683" y="5469"/>
                    </a:lnTo>
                    <a:lnTo>
                      <a:pt x="748" y="5479"/>
                    </a:lnTo>
                    <a:lnTo>
                      <a:pt x="817" y="5488"/>
                    </a:lnTo>
                    <a:lnTo>
                      <a:pt x="890" y="5497"/>
                    </a:lnTo>
                    <a:lnTo>
                      <a:pt x="967" y="5507"/>
                    </a:lnTo>
                    <a:lnTo>
                      <a:pt x="1048" y="5517"/>
                    </a:lnTo>
                    <a:lnTo>
                      <a:pt x="1220" y="5534"/>
                    </a:lnTo>
                    <a:lnTo>
                      <a:pt x="1402" y="5551"/>
                    </a:lnTo>
                    <a:lnTo>
                      <a:pt x="1592" y="5567"/>
                    </a:lnTo>
                    <a:lnTo>
                      <a:pt x="1787" y="5580"/>
                    </a:lnTo>
                    <a:lnTo>
                      <a:pt x="1886" y="5587"/>
                    </a:lnTo>
                    <a:lnTo>
                      <a:pt x="1984" y="5592"/>
                    </a:lnTo>
                    <a:lnTo>
                      <a:pt x="2084" y="5598"/>
                    </a:lnTo>
                    <a:lnTo>
                      <a:pt x="2182" y="5602"/>
                    </a:lnTo>
                    <a:lnTo>
                      <a:pt x="2280" y="5606"/>
                    </a:lnTo>
                    <a:lnTo>
                      <a:pt x="2376" y="5610"/>
                    </a:lnTo>
                    <a:lnTo>
                      <a:pt x="2472" y="5612"/>
                    </a:lnTo>
                    <a:lnTo>
                      <a:pt x="2565" y="5613"/>
                    </a:lnTo>
                    <a:lnTo>
                      <a:pt x="2657" y="5614"/>
                    </a:lnTo>
                    <a:lnTo>
                      <a:pt x="2747" y="5613"/>
                    </a:lnTo>
                    <a:lnTo>
                      <a:pt x="2833" y="5612"/>
                    </a:lnTo>
                    <a:lnTo>
                      <a:pt x="2916" y="5610"/>
                    </a:lnTo>
                    <a:lnTo>
                      <a:pt x="2918" y="5576"/>
                    </a:lnTo>
                    <a:lnTo>
                      <a:pt x="2918" y="5540"/>
                    </a:lnTo>
                    <a:lnTo>
                      <a:pt x="2914" y="5503"/>
                    </a:lnTo>
                    <a:lnTo>
                      <a:pt x="2909" y="5462"/>
                    </a:lnTo>
                    <a:lnTo>
                      <a:pt x="2899" y="5420"/>
                    </a:lnTo>
                    <a:lnTo>
                      <a:pt x="2888" y="5375"/>
                    </a:lnTo>
                    <a:lnTo>
                      <a:pt x="2874" y="5330"/>
                    </a:lnTo>
                    <a:lnTo>
                      <a:pt x="2858" y="5282"/>
                    </a:lnTo>
                    <a:lnTo>
                      <a:pt x="2841" y="5233"/>
                    </a:lnTo>
                    <a:lnTo>
                      <a:pt x="2821" y="5183"/>
                    </a:lnTo>
                    <a:lnTo>
                      <a:pt x="2800" y="5132"/>
                    </a:lnTo>
                    <a:lnTo>
                      <a:pt x="2776" y="5081"/>
                    </a:lnTo>
                    <a:lnTo>
                      <a:pt x="2752" y="5028"/>
                    </a:lnTo>
                    <a:lnTo>
                      <a:pt x="2726" y="4975"/>
                    </a:lnTo>
                    <a:lnTo>
                      <a:pt x="2699" y="4921"/>
                    </a:lnTo>
                    <a:lnTo>
                      <a:pt x="2671" y="4867"/>
                    </a:lnTo>
                    <a:lnTo>
                      <a:pt x="2643" y="4813"/>
                    </a:lnTo>
                    <a:lnTo>
                      <a:pt x="2613" y="4759"/>
                    </a:lnTo>
                    <a:lnTo>
                      <a:pt x="2584" y="4706"/>
                    </a:lnTo>
                    <a:lnTo>
                      <a:pt x="2552" y="4652"/>
                    </a:lnTo>
                    <a:lnTo>
                      <a:pt x="2492" y="4547"/>
                    </a:lnTo>
                    <a:lnTo>
                      <a:pt x="2430" y="4446"/>
                    </a:lnTo>
                    <a:lnTo>
                      <a:pt x="2371" y="4349"/>
                    </a:lnTo>
                    <a:lnTo>
                      <a:pt x="2314" y="4257"/>
                    </a:lnTo>
                    <a:lnTo>
                      <a:pt x="2260" y="4173"/>
                    </a:lnTo>
                    <a:lnTo>
                      <a:pt x="2211" y="4097"/>
                    </a:lnTo>
                    <a:lnTo>
                      <a:pt x="2189" y="4063"/>
                    </a:lnTo>
                    <a:lnTo>
                      <a:pt x="2169" y="4031"/>
                    </a:lnTo>
                    <a:lnTo>
                      <a:pt x="2151" y="4001"/>
                    </a:lnTo>
                    <a:lnTo>
                      <a:pt x="2133" y="3974"/>
                    </a:lnTo>
                    <a:lnTo>
                      <a:pt x="2118" y="3949"/>
                    </a:lnTo>
                    <a:lnTo>
                      <a:pt x="2104" y="3928"/>
                    </a:lnTo>
                    <a:lnTo>
                      <a:pt x="2093" y="3908"/>
                    </a:lnTo>
                    <a:lnTo>
                      <a:pt x="2085" y="3892"/>
                    </a:lnTo>
                    <a:lnTo>
                      <a:pt x="2056" y="3840"/>
                    </a:lnTo>
                    <a:lnTo>
                      <a:pt x="2026" y="3787"/>
                    </a:lnTo>
                    <a:lnTo>
                      <a:pt x="1996" y="3736"/>
                    </a:lnTo>
                    <a:lnTo>
                      <a:pt x="1966" y="3684"/>
                    </a:lnTo>
                    <a:lnTo>
                      <a:pt x="1935" y="3632"/>
                    </a:lnTo>
                    <a:lnTo>
                      <a:pt x="1904" y="3581"/>
                    </a:lnTo>
                    <a:lnTo>
                      <a:pt x="1873" y="3531"/>
                    </a:lnTo>
                    <a:lnTo>
                      <a:pt x="1842" y="3480"/>
                    </a:lnTo>
                    <a:lnTo>
                      <a:pt x="1810" y="3430"/>
                    </a:lnTo>
                    <a:lnTo>
                      <a:pt x="1779" y="3382"/>
                    </a:lnTo>
                    <a:lnTo>
                      <a:pt x="1749" y="3333"/>
                    </a:lnTo>
                    <a:lnTo>
                      <a:pt x="1718" y="3285"/>
                    </a:lnTo>
                    <a:lnTo>
                      <a:pt x="1687" y="3238"/>
                    </a:lnTo>
                    <a:lnTo>
                      <a:pt x="1656" y="3192"/>
                    </a:lnTo>
                    <a:lnTo>
                      <a:pt x="1627" y="3145"/>
                    </a:lnTo>
                    <a:lnTo>
                      <a:pt x="1597" y="3100"/>
                    </a:lnTo>
                    <a:lnTo>
                      <a:pt x="1555" y="3036"/>
                    </a:lnTo>
                    <a:lnTo>
                      <a:pt x="1513" y="2973"/>
                    </a:lnTo>
                    <a:lnTo>
                      <a:pt x="1474" y="2912"/>
                    </a:lnTo>
                    <a:lnTo>
                      <a:pt x="1435" y="2850"/>
                    </a:lnTo>
                    <a:lnTo>
                      <a:pt x="1397" y="2791"/>
                    </a:lnTo>
                    <a:lnTo>
                      <a:pt x="1360" y="2733"/>
                    </a:lnTo>
                    <a:lnTo>
                      <a:pt x="1326" y="2676"/>
                    </a:lnTo>
                    <a:lnTo>
                      <a:pt x="1292" y="2619"/>
                    </a:lnTo>
                    <a:lnTo>
                      <a:pt x="1261" y="2564"/>
                    </a:lnTo>
                    <a:lnTo>
                      <a:pt x="1232" y="2510"/>
                    </a:lnTo>
                    <a:lnTo>
                      <a:pt x="1204" y="2458"/>
                    </a:lnTo>
                    <a:lnTo>
                      <a:pt x="1179" y="2407"/>
                    </a:lnTo>
                    <a:lnTo>
                      <a:pt x="1156" y="2356"/>
                    </a:lnTo>
                    <a:lnTo>
                      <a:pt x="1136" y="2306"/>
                    </a:lnTo>
                    <a:lnTo>
                      <a:pt x="1117" y="2259"/>
                    </a:lnTo>
                    <a:lnTo>
                      <a:pt x="1102" y="2211"/>
                    </a:lnTo>
                    <a:lnTo>
                      <a:pt x="1101" y="2206"/>
                    </a:lnTo>
                    <a:lnTo>
                      <a:pt x="1103" y="2202"/>
                    </a:lnTo>
                    <a:lnTo>
                      <a:pt x="1106" y="2197"/>
                    </a:lnTo>
                    <a:lnTo>
                      <a:pt x="1111" y="2195"/>
                    </a:lnTo>
                    <a:lnTo>
                      <a:pt x="1116" y="2194"/>
                    </a:lnTo>
                    <a:lnTo>
                      <a:pt x="1122" y="2196"/>
                    </a:lnTo>
                    <a:lnTo>
                      <a:pt x="1125" y="2200"/>
                    </a:lnTo>
                    <a:lnTo>
                      <a:pt x="1128" y="2204"/>
                    </a:lnTo>
                    <a:lnTo>
                      <a:pt x="1143" y="2250"/>
                    </a:lnTo>
                    <a:lnTo>
                      <a:pt x="1160" y="2298"/>
                    </a:lnTo>
                    <a:lnTo>
                      <a:pt x="1181" y="2346"/>
                    </a:lnTo>
                    <a:lnTo>
                      <a:pt x="1204" y="2396"/>
                    </a:lnTo>
                    <a:lnTo>
                      <a:pt x="1228" y="2448"/>
                    </a:lnTo>
                    <a:lnTo>
                      <a:pt x="1256" y="2500"/>
                    </a:lnTo>
                    <a:lnTo>
                      <a:pt x="1286" y="2552"/>
                    </a:lnTo>
                    <a:lnTo>
                      <a:pt x="1317" y="2608"/>
                    </a:lnTo>
                    <a:lnTo>
                      <a:pt x="1349" y="2664"/>
                    </a:lnTo>
                    <a:lnTo>
                      <a:pt x="1384" y="2720"/>
                    </a:lnTo>
                    <a:lnTo>
                      <a:pt x="1421" y="2778"/>
                    </a:lnTo>
                    <a:lnTo>
                      <a:pt x="1458" y="2837"/>
                    </a:lnTo>
                    <a:lnTo>
                      <a:pt x="1497" y="2898"/>
                    </a:lnTo>
                    <a:lnTo>
                      <a:pt x="1537" y="2959"/>
                    </a:lnTo>
                    <a:lnTo>
                      <a:pt x="1577" y="3022"/>
                    </a:lnTo>
                    <a:lnTo>
                      <a:pt x="1619" y="3085"/>
                    </a:lnTo>
                    <a:lnTo>
                      <a:pt x="1648" y="3130"/>
                    </a:lnTo>
                    <a:lnTo>
                      <a:pt x="1679" y="3176"/>
                    </a:lnTo>
                    <a:lnTo>
                      <a:pt x="1710" y="3223"/>
                    </a:lnTo>
                    <a:lnTo>
                      <a:pt x="1740" y="3270"/>
                    </a:lnTo>
                    <a:lnTo>
                      <a:pt x="1772" y="3319"/>
                    </a:lnTo>
                    <a:lnTo>
                      <a:pt x="1803" y="3368"/>
                    </a:lnTo>
                    <a:lnTo>
                      <a:pt x="1834" y="3416"/>
                    </a:lnTo>
                    <a:lnTo>
                      <a:pt x="1866" y="3466"/>
                    </a:lnTo>
                    <a:lnTo>
                      <a:pt x="1897" y="3516"/>
                    </a:lnTo>
                    <a:lnTo>
                      <a:pt x="1927" y="3567"/>
                    </a:lnTo>
                    <a:lnTo>
                      <a:pt x="1958" y="3618"/>
                    </a:lnTo>
                    <a:lnTo>
                      <a:pt x="1989" y="3670"/>
                    </a:lnTo>
                    <a:lnTo>
                      <a:pt x="2020" y="3722"/>
                    </a:lnTo>
                    <a:lnTo>
                      <a:pt x="2049" y="3774"/>
                    </a:lnTo>
                    <a:lnTo>
                      <a:pt x="2079" y="3826"/>
                    </a:lnTo>
                    <a:lnTo>
                      <a:pt x="2108" y="3879"/>
                    </a:lnTo>
                    <a:lnTo>
                      <a:pt x="2117" y="3895"/>
                    </a:lnTo>
                    <a:lnTo>
                      <a:pt x="2128" y="3914"/>
                    </a:lnTo>
                    <a:lnTo>
                      <a:pt x="2141" y="3936"/>
                    </a:lnTo>
                    <a:lnTo>
                      <a:pt x="2156" y="3960"/>
                    </a:lnTo>
                    <a:lnTo>
                      <a:pt x="2173" y="3987"/>
                    </a:lnTo>
                    <a:lnTo>
                      <a:pt x="2193" y="4017"/>
                    </a:lnTo>
                    <a:lnTo>
                      <a:pt x="2212" y="4049"/>
                    </a:lnTo>
                    <a:lnTo>
                      <a:pt x="2234" y="4082"/>
                    </a:lnTo>
                    <a:lnTo>
                      <a:pt x="2287" y="4165"/>
                    </a:lnTo>
                    <a:lnTo>
                      <a:pt x="2344" y="4255"/>
                    </a:lnTo>
                    <a:lnTo>
                      <a:pt x="2403" y="4350"/>
                    </a:lnTo>
                    <a:lnTo>
                      <a:pt x="2465" y="4450"/>
                    </a:lnTo>
                    <a:lnTo>
                      <a:pt x="2529" y="4555"/>
                    </a:lnTo>
                    <a:lnTo>
                      <a:pt x="2590" y="4662"/>
                    </a:lnTo>
                    <a:lnTo>
                      <a:pt x="2621" y="4717"/>
                    </a:lnTo>
                    <a:lnTo>
                      <a:pt x="2652" y="4771"/>
                    </a:lnTo>
                    <a:lnTo>
                      <a:pt x="2681" y="4826"/>
                    </a:lnTo>
                    <a:lnTo>
                      <a:pt x="2709" y="4880"/>
                    </a:lnTo>
                    <a:lnTo>
                      <a:pt x="2737" y="4934"/>
                    </a:lnTo>
                    <a:lnTo>
                      <a:pt x="2764" y="4988"/>
                    </a:lnTo>
                    <a:lnTo>
                      <a:pt x="2789" y="5042"/>
                    </a:lnTo>
                    <a:lnTo>
                      <a:pt x="2813" y="5095"/>
                    </a:lnTo>
                    <a:lnTo>
                      <a:pt x="2835" y="5146"/>
                    </a:lnTo>
                    <a:lnTo>
                      <a:pt x="2857" y="5197"/>
                    </a:lnTo>
                    <a:lnTo>
                      <a:pt x="2875" y="5247"/>
                    </a:lnTo>
                    <a:lnTo>
                      <a:pt x="2892" y="5297"/>
                    </a:lnTo>
                    <a:lnTo>
                      <a:pt x="2908" y="5344"/>
                    </a:lnTo>
                    <a:lnTo>
                      <a:pt x="2920" y="5389"/>
                    </a:lnTo>
                    <a:lnTo>
                      <a:pt x="2930" y="5434"/>
                    </a:lnTo>
                    <a:lnTo>
                      <a:pt x="2938" y="5477"/>
                    </a:lnTo>
                    <a:lnTo>
                      <a:pt x="2943" y="5517"/>
                    </a:lnTo>
                    <a:lnTo>
                      <a:pt x="2945" y="5556"/>
                    </a:lnTo>
                    <a:lnTo>
                      <a:pt x="2944" y="5591"/>
                    </a:lnTo>
                    <a:lnTo>
                      <a:pt x="2941" y="5626"/>
                    </a:lnTo>
                    <a:lnTo>
                      <a:pt x="2940" y="5630"/>
                    </a:lnTo>
                    <a:lnTo>
                      <a:pt x="2937" y="5633"/>
                    </a:lnTo>
                    <a:lnTo>
                      <a:pt x="2932" y="5635"/>
                    </a:lnTo>
                    <a:lnTo>
                      <a:pt x="2928" y="5637"/>
                    </a:lnTo>
                    <a:lnTo>
                      <a:pt x="2897" y="5638"/>
                    </a:lnTo>
                    <a:lnTo>
                      <a:pt x="2865" y="5639"/>
                    </a:lnTo>
                    <a:lnTo>
                      <a:pt x="2834" y="5639"/>
                    </a:lnTo>
                    <a:lnTo>
                      <a:pt x="2802" y="5640"/>
                    </a:lnTo>
                    <a:lnTo>
                      <a:pt x="2769" y="5640"/>
                    </a:lnTo>
                    <a:lnTo>
                      <a:pt x="2737" y="5641"/>
                    </a:lnTo>
                    <a:lnTo>
                      <a:pt x="2703" y="5641"/>
                    </a:lnTo>
                    <a:lnTo>
                      <a:pt x="2670" y="56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57"/>
              <p:cNvSpPr>
                <a:spLocks/>
              </p:cNvSpPr>
              <p:nvPr userDrawn="1"/>
            </p:nvSpPr>
            <p:spPr bwMode="auto">
              <a:xfrm>
                <a:off x="1743" y="1977"/>
                <a:ext cx="39" cy="179"/>
              </a:xfrm>
              <a:custGeom>
                <a:avLst/>
                <a:gdLst>
                  <a:gd name="T0" fmla="*/ 47 w 115"/>
                  <a:gd name="T1" fmla="*/ 537 h 537"/>
                  <a:gd name="T2" fmla="*/ 43 w 115"/>
                  <a:gd name="T3" fmla="*/ 537 h 537"/>
                  <a:gd name="T4" fmla="*/ 38 w 115"/>
                  <a:gd name="T5" fmla="*/ 535 h 537"/>
                  <a:gd name="T6" fmla="*/ 35 w 115"/>
                  <a:gd name="T7" fmla="*/ 532 h 537"/>
                  <a:gd name="T8" fmla="*/ 34 w 115"/>
                  <a:gd name="T9" fmla="*/ 527 h 537"/>
                  <a:gd name="T10" fmla="*/ 24 w 115"/>
                  <a:gd name="T11" fmla="*/ 495 h 537"/>
                  <a:gd name="T12" fmla="*/ 17 w 115"/>
                  <a:gd name="T13" fmla="*/ 460 h 537"/>
                  <a:gd name="T14" fmla="*/ 10 w 115"/>
                  <a:gd name="T15" fmla="*/ 426 h 537"/>
                  <a:gd name="T16" fmla="*/ 5 w 115"/>
                  <a:gd name="T17" fmla="*/ 390 h 537"/>
                  <a:gd name="T18" fmla="*/ 2 w 115"/>
                  <a:gd name="T19" fmla="*/ 355 h 537"/>
                  <a:gd name="T20" fmla="*/ 0 w 115"/>
                  <a:gd name="T21" fmla="*/ 318 h 537"/>
                  <a:gd name="T22" fmla="*/ 0 w 115"/>
                  <a:gd name="T23" fmla="*/ 282 h 537"/>
                  <a:gd name="T24" fmla="*/ 2 w 115"/>
                  <a:gd name="T25" fmla="*/ 247 h 537"/>
                  <a:gd name="T26" fmla="*/ 5 w 115"/>
                  <a:gd name="T27" fmla="*/ 212 h 537"/>
                  <a:gd name="T28" fmla="*/ 10 w 115"/>
                  <a:gd name="T29" fmla="*/ 178 h 537"/>
                  <a:gd name="T30" fmla="*/ 14 w 115"/>
                  <a:gd name="T31" fmla="*/ 161 h 537"/>
                  <a:gd name="T32" fmla="*/ 18 w 115"/>
                  <a:gd name="T33" fmla="*/ 144 h 537"/>
                  <a:gd name="T34" fmla="*/ 23 w 115"/>
                  <a:gd name="T35" fmla="*/ 128 h 537"/>
                  <a:gd name="T36" fmla="*/ 29 w 115"/>
                  <a:gd name="T37" fmla="*/ 113 h 537"/>
                  <a:gd name="T38" fmla="*/ 34 w 115"/>
                  <a:gd name="T39" fmla="*/ 98 h 537"/>
                  <a:gd name="T40" fmla="*/ 41 w 115"/>
                  <a:gd name="T41" fmla="*/ 83 h 537"/>
                  <a:gd name="T42" fmla="*/ 47 w 115"/>
                  <a:gd name="T43" fmla="*/ 68 h 537"/>
                  <a:gd name="T44" fmla="*/ 55 w 115"/>
                  <a:gd name="T45" fmla="*/ 55 h 537"/>
                  <a:gd name="T46" fmla="*/ 63 w 115"/>
                  <a:gd name="T47" fmla="*/ 41 h 537"/>
                  <a:gd name="T48" fmla="*/ 72 w 115"/>
                  <a:gd name="T49" fmla="*/ 28 h 537"/>
                  <a:gd name="T50" fmla="*/ 82 w 115"/>
                  <a:gd name="T51" fmla="*/ 16 h 537"/>
                  <a:gd name="T52" fmla="*/ 92 w 115"/>
                  <a:gd name="T53" fmla="*/ 4 h 537"/>
                  <a:gd name="T54" fmla="*/ 97 w 115"/>
                  <a:gd name="T55" fmla="*/ 1 h 537"/>
                  <a:gd name="T56" fmla="*/ 101 w 115"/>
                  <a:gd name="T57" fmla="*/ 0 h 537"/>
                  <a:gd name="T58" fmla="*/ 106 w 115"/>
                  <a:gd name="T59" fmla="*/ 0 h 537"/>
                  <a:gd name="T60" fmla="*/ 111 w 115"/>
                  <a:gd name="T61" fmla="*/ 3 h 537"/>
                  <a:gd name="T62" fmla="*/ 114 w 115"/>
                  <a:gd name="T63" fmla="*/ 7 h 537"/>
                  <a:gd name="T64" fmla="*/ 115 w 115"/>
                  <a:gd name="T65" fmla="*/ 12 h 537"/>
                  <a:gd name="T66" fmla="*/ 115 w 115"/>
                  <a:gd name="T67" fmla="*/ 17 h 537"/>
                  <a:gd name="T68" fmla="*/ 112 w 115"/>
                  <a:gd name="T69" fmla="*/ 22 h 537"/>
                  <a:gd name="T70" fmla="*/ 102 w 115"/>
                  <a:gd name="T71" fmla="*/ 33 h 537"/>
                  <a:gd name="T72" fmla="*/ 93 w 115"/>
                  <a:gd name="T73" fmla="*/ 45 h 537"/>
                  <a:gd name="T74" fmla="*/ 85 w 115"/>
                  <a:gd name="T75" fmla="*/ 57 h 537"/>
                  <a:gd name="T76" fmla="*/ 77 w 115"/>
                  <a:gd name="T77" fmla="*/ 70 h 537"/>
                  <a:gd name="T78" fmla="*/ 71 w 115"/>
                  <a:gd name="T79" fmla="*/ 83 h 537"/>
                  <a:gd name="T80" fmla="*/ 63 w 115"/>
                  <a:gd name="T81" fmla="*/ 96 h 537"/>
                  <a:gd name="T82" fmla="*/ 58 w 115"/>
                  <a:gd name="T83" fmla="*/ 111 h 537"/>
                  <a:gd name="T84" fmla="*/ 52 w 115"/>
                  <a:gd name="T85" fmla="*/ 125 h 537"/>
                  <a:gd name="T86" fmla="*/ 47 w 115"/>
                  <a:gd name="T87" fmla="*/ 140 h 537"/>
                  <a:gd name="T88" fmla="*/ 43 w 115"/>
                  <a:gd name="T89" fmla="*/ 155 h 537"/>
                  <a:gd name="T90" fmla="*/ 39 w 115"/>
                  <a:gd name="T91" fmla="*/ 170 h 537"/>
                  <a:gd name="T92" fmla="*/ 36 w 115"/>
                  <a:gd name="T93" fmla="*/ 186 h 537"/>
                  <a:gd name="T94" fmla="*/ 31 w 115"/>
                  <a:gd name="T95" fmla="*/ 219 h 537"/>
                  <a:gd name="T96" fmla="*/ 28 w 115"/>
                  <a:gd name="T97" fmla="*/ 252 h 537"/>
                  <a:gd name="T98" fmla="*/ 27 w 115"/>
                  <a:gd name="T99" fmla="*/ 286 h 537"/>
                  <a:gd name="T100" fmla="*/ 27 w 115"/>
                  <a:gd name="T101" fmla="*/ 320 h 537"/>
                  <a:gd name="T102" fmla="*/ 29 w 115"/>
                  <a:gd name="T103" fmla="*/ 355 h 537"/>
                  <a:gd name="T104" fmla="*/ 32 w 115"/>
                  <a:gd name="T105" fmla="*/ 388 h 537"/>
                  <a:gd name="T106" fmla="*/ 37 w 115"/>
                  <a:gd name="T107" fmla="*/ 423 h 537"/>
                  <a:gd name="T108" fmla="*/ 43 w 115"/>
                  <a:gd name="T109" fmla="*/ 456 h 537"/>
                  <a:gd name="T110" fmla="*/ 50 w 115"/>
                  <a:gd name="T111" fmla="*/ 489 h 537"/>
                  <a:gd name="T112" fmla="*/ 60 w 115"/>
                  <a:gd name="T113" fmla="*/ 520 h 537"/>
                  <a:gd name="T114" fmla="*/ 60 w 115"/>
                  <a:gd name="T115" fmla="*/ 525 h 537"/>
                  <a:gd name="T116" fmla="*/ 59 w 115"/>
                  <a:gd name="T117" fmla="*/ 531 h 537"/>
                  <a:gd name="T118" fmla="*/ 56 w 115"/>
                  <a:gd name="T119" fmla="*/ 534 h 537"/>
                  <a:gd name="T120" fmla="*/ 50 w 115"/>
                  <a:gd name="T121" fmla="*/ 537 h 537"/>
                  <a:gd name="T122" fmla="*/ 48 w 115"/>
                  <a:gd name="T123" fmla="*/ 537 h 537"/>
                  <a:gd name="T124" fmla="*/ 47 w 115"/>
                  <a:gd name="T125"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 h="537">
                    <a:moveTo>
                      <a:pt x="47" y="537"/>
                    </a:moveTo>
                    <a:lnTo>
                      <a:pt x="43" y="537"/>
                    </a:lnTo>
                    <a:lnTo>
                      <a:pt x="38" y="535"/>
                    </a:lnTo>
                    <a:lnTo>
                      <a:pt x="35" y="532"/>
                    </a:lnTo>
                    <a:lnTo>
                      <a:pt x="34" y="527"/>
                    </a:lnTo>
                    <a:lnTo>
                      <a:pt x="24" y="495"/>
                    </a:lnTo>
                    <a:lnTo>
                      <a:pt x="17" y="460"/>
                    </a:lnTo>
                    <a:lnTo>
                      <a:pt x="10" y="426"/>
                    </a:lnTo>
                    <a:lnTo>
                      <a:pt x="5" y="390"/>
                    </a:lnTo>
                    <a:lnTo>
                      <a:pt x="2" y="355"/>
                    </a:lnTo>
                    <a:lnTo>
                      <a:pt x="0" y="318"/>
                    </a:lnTo>
                    <a:lnTo>
                      <a:pt x="0" y="282"/>
                    </a:lnTo>
                    <a:lnTo>
                      <a:pt x="2" y="247"/>
                    </a:lnTo>
                    <a:lnTo>
                      <a:pt x="5" y="212"/>
                    </a:lnTo>
                    <a:lnTo>
                      <a:pt x="10" y="178"/>
                    </a:lnTo>
                    <a:lnTo>
                      <a:pt x="14" y="161"/>
                    </a:lnTo>
                    <a:lnTo>
                      <a:pt x="18" y="144"/>
                    </a:lnTo>
                    <a:lnTo>
                      <a:pt x="23" y="128"/>
                    </a:lnTo>
                    <a:lnTo>
                      <a:pt x="29" y="113"/>
                    </a:lnTo>
                    <a:lnTo>
                      <a:pt x="34" y="98"/>
                    </a:lnTo>
                    <a:lnTo>
                      <a:pt x="41" y="83"/>
                    </a:lnTo>
                    <a:lnTo>
                      <a:pt x="47" y="68"/>
                    </a:lnTo>
                    <a:lnTo>
                      <a:pt x="55" y="55"/>
                    </a:lnTo>
                    <a:lnTo>
                      <a:pt x="63" y="41"/>
                    </a:lnTo>
                    <a:lnTo>
                      <a:pt x="72" y="28"/>
                    </a:lnTo>
                    <a:lnTo>
                      <a:pt x="82" y="16"/>
                    </a:lnTo>
                    <a:lnTo>
                      <a:pt x="92" y="4"/>
                    </a:lnTo>
                    <a:lnTo>
                      <a:pt x="97" y="1"/>
                    </a:lnTo>
                    <a:lnTo>
                      <a:pt x="101" y="0"/>
                    </a:lnTo>
                    <a:lnTo>
                      <a:pt x="106" y="0"/>
                    </a:lnTo>
                    <a:lnTo>
                      <a:pt x="111" y="3"/>
                    </a:lnTo>
                    <a:lnTo>
                      <a:pt x="114" y="7"/>
                    </a:lnTo>
                    <a:lnTo>
                      <a:pt x="115" y="12"/>
                    </a:lnTo>
                    <a:lnTo>
                      <a:pt x="115" y="17"/>
                    </a:lnTo>
                    <a:lnTo>
                      <a:pt x="112" y="22"/>
                    </a:lnTo>
                    <a:lnTo>
                      <a:pt x="102" y="33"/>
                    </a:lnTo>
                    <a:lnTo>
                      <a:pt x="93" y="45"/>
                    </a:lnTo>
                    <a:lnTo>
                      <a:pt x="85" y="57"/>
                    </a:lnTo>
                    <a:lnTo>
                      <a:pt x="77" y="70"/>
                    </a:lnTo>
                    <a:lnTo>
                      <a:pt x="71" y="83"/>
                    </a:lnTo>
                    <a:lnTo>
                      <a:pt x="63" y="96"/>
                    </a:lnTo>
                    <a:lnTo>
                      <a:pt x="58" y="111"/>
                    </a:lnTo>
                    <a:lnTo>
                      <a:pt x="52" y="125"/>
                    </a:lnTo>
                    <a:lnTo>
                      <a:pt x="47" y="140"/>
                    </a:lnTo>
                    <a:lnTo>
                      <a:pt x="43" y="155"/>
                    </a:lnTo>
                    <a:lnTo>
                      <a:pt x="39" y="170"/>
                    </a:lnTo>
                    <a:lnTo>
                      <a:pt x="36" y="186"/>
                    </a:lnTo>
                    <a:lnTo>
                      <a:pt x="31" y="219"/>
                    </a:lnTo>
                    <a:lnTo>
                      <a:pt x="28" y="252"/>
                    </a:lnTo>
                    <a:lnTo>
                      <a:pt x="27" y="286"/>
                    </a:lnTo>
                    <a:lnTo>
                      <a:pt x="27" y="320"/>
                    </a:lnTo>
                    <a:lnTo>
                      <a:pt x="29" y="355"/>
                    </a:lnTo>
                    <a:lnTo>
                      <a:pt x="32" y="388"/>
                    </a:lnTo>
                    <a:lnTo>
                      <a:pt x="37" y="423"/>
                    </a:lnTo>
                    <a:lnTo>
                      <a:pt x="43" y="456"/>
                    </a:lnTo>
                    <a:lnTo>
                      <a:pt x="50" y="489"/>
                    </a:lnTo>
                    <a:lnTo>
                      <a:pt x="60" y="520"/>
                    </a:lnTo>
                    <a:lnTo>
                      <a:pt x="60" y="525"/>
                    </a:lnTo>
                    <a:lnTo>
                      <a:pt x="59" y="531"/>
                    </a:lnTo>
                    <a:lnTo>
                      <a:pt x="56" y="534"/>
                    </a:lnTo>
                    <a:lnTo>
                      <a:pt x="50" y="537"/>
                    </a:lnTo>
                    <a:lnTo>
                      <a:pt x="48" y="537"/>
                    </a:lnTo>
                    <a:lnTo>
                      <a:pt x="47" y="5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58"/>
              <p:cNvSpPr>
                <a:spLocks/>
              </p:cNvSpPr>
              <p:nvPr userDrawn="1"/>
            </p:nvSpPr>
            <p:spPr bwMode="auto">
              <a:xfrm>
                <a:off x="2057" y="1399"/>
                <a:ext cx="387" cy="114"/>
              </a:xfrm>
              <a:custGeom>
                <a:avLst/>
                <a:gdLst>
                  <a:gd name="T0" fmla="*/ 1143 w 1160"/>
                  <a:gd name="T1" fmla="*/ 343 h 344"/>
                  <a:gd name="T2" fmla="*/ 1137 w 1160"/>
                  <a:gd name="T3" fmla="*/ 341 h 344"/>
                  <a:gd name="T4" fmla="*/ 1117 w 1160"/>
                  <a:gd name="T5" fmla="*/ 311 h 344"/>
                  <a:gd name="T6" fmla="*/ 1076 w 1160"/>
                  <a:gd name="T7" fmla="*/ 261 h 344"/>
                  <a:gd name="T8" fmla="*/ 1030 w 1160"/>
                  <a:gd name="T9" fmla="*/ 217 h 344"/>
                  <a:gd name="T10" fmla="*/ 981 w 1160"/>
                  <a:gd name="T11" fmla="*/ 176 h 344"/>
                  <a:gd name="T12" fmla="*/ 928 w 1160"/>
                  <a:gd name="T13" fmla="*/ 141 h 344"/>
                  <a:gd name="T14" fmla="*/ 871 w 1160"/>
                  <a:gd name="T15" fmla="*/ 110 h 344"/>
                  <a:gd name="T16" fmla="*/ 808 w 1160"/>
                  <a:gd name="T17" fmla="*/ 84 h 344"/>
                  <a:gd name="T18" fmla="*/ 742 w 1160"/>
                  <a:gd name="T19" fmla="*/ 63 h 344"/>
                  <a:gd name="T20" fmla="*/ 672 w 1160"/>
                  <a:gd name="T21" fmla="*/ 47 h 344"/>
                  <a:gd name="T22" fmla="*/ 598 w 1160"/>
                  <a:gd name="T23" fmla="*/ 35 h 344"/>
                  <a:gd name="T24" fmla="*/ 520 w 1160"/>
                  <a:gd name="T25" fmla="*/ 29 h 344"/>
                  <a:gd name="T26" fmla="*/ 438 w 1160"/>
                  <a:gd name="T27" fmla="*/ 27 h 344"/>
                  <a:gd name="T28" fmla="*/ 351 w 1160"/>
                  <a:gd name="T29" fmla="*/ 30 h 344"/>
                  <a:gd name="T30" fmla="*/ 260 w 1160"/>
                  <a:gd name="T31" fmla="*/ 37 h 344"/>
                  <a:gd name="T32" fmla="*/ 166 w 1160"/>
                  <a:gd name="T33" fmla="*/ 49 h 344"/>
                  <a:gd name="T34" fmla="*/ 67 w 1160"/>
                  <a:gd name="T35" fmla="*/ 67 h 344"/>
                  <a:gd name="T36" fmla="*/ 11 w 1160"/>
                  <a:gd name="T37" fmla="*/ 77 h 344"/>
                  <a:gd name="T38" fmla="*/ 3 w 1160"/>
                  <a:gd name="T39" fmla="*/ 72 h 344"/>
                  <a:gd name="T40" fmla="*/ 0 w 1160"/>
                  <a:gd name="T41" fmla="*/ 62 h 344"/>
                  <a:gd name="T42" fmla="*/ 7 w 1160"/>
                  <a:gd name="T43" fmla="*/ 54 h 344"/>
                  <a:gd name="T44" fmla="*/ 63 w 1160"/>
                  <a:gd name="T45" fmla="*/ 41 h 344"/>
                  <a:gd name="T46" fmla="*/ 163 w 1160"/>
                  <a:gd name="T47" fmla="*/ 22 h 344"/>
                  <a:gd name="T48" fmla="*/ 260 w 1160"/>
                  <a:gd name="T49" fmla="*/ 11 h 344"/>
                  <a:gd name="T50" fmla="*/ 353 w 1160"/>
                  <a:gd name="T51" fmla="*/ 2 h 344"/>
                  <a:gd name="T52" fmla="*/ 441 w 1160"/>
                  <a:gd name="T53" fmla="*/ 0 h 344"/>
                  <a:gd name="T54" fmla="*/ 526 w 1160"/>
                  <a:gd name="T55" fmla="*/ 2 h 344"/>
                  <a:gd name="T56" fmla="*/ 606 w 1160"/>
                  <a:gd name="T57" fmla="*/ 9 h 344"/>
                  <a:gd name="T58" fmla="*/ 682 w 1160"/>
                  <a:gd name="T59" fmla="*/ 21 h 344"/>
                  <a:gd name="T60" fmla="*/ 754 w 1160"/>
                  <a:gd name="T61" fmla="*/ 37 h 344"/>
                  <a:gd name="T62" fmla="*/ 821 w 1160"/>
                  <a:gd name="T63" fmla="*/ 60 h 344"/>
                  <a:gd name="T64" fmla="*/ 885 w 1160"/>
                  <a:gd name="T65" fmla="*/ 87 h 344"/>
                  <a:gd name="T66" fmla="*/ 944 w 1160"/>
                  <a:gd name="T67" fmla="*/ 118 h 344"/>
                  <a:gd name="T68" fmla="*/ 999 w 1160"/>
                  <a:gd name="T69" fmla="*/ 155 h 344"/>
                  <a:gd name="T70" fmla="*/ 1050 w 1160"/>
                  <a:gd name="T71" fmla="*/ 197 h 344"/>
                  <a:gd name="T72" fmla="*/ 1096 w 1160"/>
                  <a:gd name="T73" fmla="*/ 244 h 344"/>
                  <a:gd name="T74" fmla="*/ 1138 w 1160"/>
                  <a:gd name="T75" fmla="*/ 295 h 344"/>
                  <a:gd name="T76" fmla="*/ 1160 w 1160"/>
                  <a:gd name="T77" fmla="*/ 328 h 344"/>
                  <a:gd name="T78" fmla="*/ 1158 w 1160"/>
                  <a:gd name="T79" fmla="*/ 338 h 344"/>
                  <a:gd name="T80" fmla="*/ 1150 w 1160"/>
                  <a:gd name="T81" fmla="*/ 3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60" h="344">
                    <a:moveTo>
                      <a:pt x="1146" y="344"/>
                    </a:moveTo>
                    <a:lnTo>
                      <a:pt x="1143" y="343"/>
                    </a:lnTo>
                    <a:lnTo>
                      <a:pt x="1140" y="342"/>
                    </a:lnTo>
                    <a:lnTo>
                      <a:pt x="1137" y="341"/>
                    </a:lnTo>
                    <a:lnTo>
                      <a:pt x="1135" y="338"/>
                    </a:lnTo>
                    <a:lnTo>
                      <a:pt x="1117" y="311"/>
                    </a:lnTo>
                    <a:lnTo>
                      <a:pt x="1096" y="286"/>
                    </a:lnTo>
                    <a:lnTo>
                      <a:pt x="1076" y="261"/>
                    </a:lnTo>
                    <a:lnTo>
                      <a:pt x="1053" y="238"/>
                    </a:lnTo>
                    <a:lnTo>
                      <a:pt x="1030" y="217"/>
                    </a:lnTo>
                    <a:lnTo>
                      <a:pt x="1007" y="196"/>
                    </a:lnTo>
                    <a:lnTo>
                      <a:pt x="981" y="176"/>
                    </a:lnTo>
                    <a:lnTo>
                      <a:pt x="955" y="157"/>
                    </a:lnTo>
                    <a:lnTo>
                      <a:pt x="928" y="141"/>
                    </a:lnTo>
                    <a:lnTo>
                      <a:pt x="900" y="125"/>
                    </a:lnTo>
                    <a:lnTo>
                      <a:pt x="871" y="110"/>
                    </a:lnTo>
                    <a:lnTo>
                      <a:pt x="839" y="97"/>
                    </a:lnTo>
                    <a:lnTo>
                      <a:pt x="808" y="84"/>
                    </a:lnTo>
                    <a:lnTo>
                      <a:pt x="776" y="73"/>
                    </a:lnTo>
                    <a:lnTo>
                      <a:pt x="742" y="63"/>
                    </a:lnTo>
                    <a:lnTo>
                      <a:pt x="707" y="55"/>
                    </a:lnTo>
                    <a:lnTo>
                      <a:pt x="672" y="47"/>
                    </a:lnTo>
                    <a:lnTo>
                      <a:pt x="636" y="41"/>
                    </a:lnTo>
                    <a:lnTo>
                      <a:pt x="598" y="35"/>
                    </a:lnTo>
                    <a:lnTo>
                      <a:pt x="560" y="31"/>
                    </a:lnTo>
                    <a:lnTo>
                      <a:pt x="520" y="29"/>
                    </a:lnTo>
                    <a:lnTo>
                      <a:pt x="480" y="27"/>
                    </a:lnTo>
                    <a:lnTo>
                      <a:pt x="438" y="27"/>
                    </a:lnTo>
                    <a:lnTo>
                      <a:pt x="394" y="28"/>
                    </a:lnTo>
                    <a:lnTo>
                      <a:pt x="351" y="30"/>
                    </a:lnTo>
                    <a:lnTo>
                      <a:pt x="307" y="33"/>
                    </a:lnTo>
                    <a:lnTo>
                      <a:pt x="260" y="37"/>
                    </a:lnTo>
                    <a:lnTo>
                      <a:pt x="214" y="43"/>
                    </a:lnTo>
                    <a:lnTo>
                      <a:pt x="166" y="49"/>
                    </a:lnTo>
                    <a:lnTo>
                      <a:pt x="117" y="58"/>
                    </a:lnTo>
                    <a:lnTo>
                      <a:pt x="67" y="67"/>
                    </a:lnTo>
                    <a:lnTo>
                      <a:pt x="16" y="77"/>
                    </a:lnTo>
                    <a:lnTo>
                      <a:pt x="11" y="77"/>
                    </a:lnTo>
                    <a:lnTo>
                      <a:pt x="7" y="75"/>
                    </a:lnTo>
                    <a:lnTo>
                      <a:pt x="3" y="72"/>
                    </a:lnTo>
                    <a:lnTo>
                      <a:pt x="0" y="68"/>
                    </a:lnTo>
                    <a:lnTo>
                      <a:pt x="0" y="62"/>
                    </a:lnTo>
                    <a:lnTo>
                      <a:pt x="2" y="57"/>
                    </a:lnTo>
                    <a:lnTo>
                      <a:pt x="7" y="54"/>
                    </a:lnTo>
                    <a:lnTo>
                      <a:pt x="11" y="52"/>
                    </a:lnTo>
                    <a:lnTo>
                      <a:pt x="63" y="41"/>
                    </a:lnTo>
                    <a:lnTo>
                      <a:pt x="114" y="31"/>
                    </a:lnTo>
                    <a:lnTo>
                      <a:pt x="163" y="22"/>
                    </a:lnTo>
                    <a:lnTo>
                      <a:pt x="213" y="16"/>
                    </a:lnTo>
                    <a:lnTo>
                      <a:pt x="260" y="11"/>
                    </a:lnTo>
                    <a:lnTo>
                      <a:pt x="307" y="5"/>
                    </a:lnTo>
                    <a:lnTo>
                      <a:pt x="353" y="2"/>
                    </a:lnTo>
                    <a:lnTo>
                      <a:pt x="398" y="1"/>
                    </a:lnTo>
                    <a:lnTo>
                      <a:pt x="441" y="0"/>
                    </a:lnTo>
                    <a:lnTo>
                      <a:pt x="484" y="0"/>
                    </a:lnTo>
                    <a:lnTo>
                      <a:pt x="526" y="2"/>
                    </a:lnTo>
                    <a:lnTo>
                      <a:pt x="566" y="5"/>
                    </a:lnTo>
                    <a:lnTo>
                      <a:pt x="606" y="9"/>
                    </a:lnTo>
                    <a:lnTo>
                      <a:pt x="644" y="15"/>
                    </a:lnTo>
                    <a:lnTo>
                      <a:pt x="682" y="21"/>
                    </a:lnTo>
                    <a:lnTo>
                      <a:pt x="718" y="29"/>
                    </a:lnTo>
                    <a:lnTo>
                      <a:pt x="754" y="37"/>
                    </a:lnTo>
                    <a:lnTo>
                      <a:pt x="787" y="48"/>
                    </a:lnTo>
                    <a:lnTo>
                      <a:pt x="821" y="60"/>
                    </a:lnTo>
                    <a:lnTo>
                      <a:pt x="853" y="73"/>
                    </a:lnTo>
                    <a:lnTo>
                      <a:pt x="885" y="87"/>
                    </a:lnTo>
                    <a:lnTo>
                      <a:pt x="915" y="102"/>
                    </a:lnTo>
                    <a:lnTo>
                      <a:pt x="944" y="118"/>
                    </a:lnTo>
                    <a:lnTo>
                      <a:pt x="972" y="137"/>
                    </a:lnTo>
                    <a:lnTo>
                      <a:pt x="999" y="155"/>
                    </a:lnTo>
                    <a:lnTo>
                      <a:pt x="1025" y="176"/>
                    </a:lnTo>
                    <a:lnTo>
                      <a:pt x="1050" y="197"/>
                    </a:lnTo>
                    <a:lnTo>
                      <a:pt x="1074" y="220"/>
                    </a:lnTo>
                    <a:lnTo>
                      <a:pt x="1096" y="244"/>
                    </a:lnTo>
                    <a:lnTo>
                      <a:pt x="1118" y="269"/>
                    </a:lnTo>
                    <a:lnTo>
                      <a:pt x="1138" y="295"/>
                    </a:lnTo>
                    <a:lnTo>
                      <a:pt x="1158" y="322"/>
                    </a:lnTo>
                    <a:lnTo>
                      <a:pt x="1160" y="328"/>
                    </a:lnTo>
                    <a:lnTo>
                      <a:pt x="1160" y="333"/>
                    </a:lnTo>
                    <a:lnTo>
                      <a:pt x="1158" y="338"/>
                    </a:lnTo>
                    <a:lnTo>
                      <a:pt x="1153" y="342"/>
                    </a:lnTo>
                    <a:lnTo>
                      <a:pt x="1150" y="343"/>
                    </a:lnTo>
                    <a:lnTo>
                      <a:pt x="1146" y="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59"/>
              <p:cNvSpPr>
                <a:spLocks noEditPoints="1"/>
              </p:cNvSpPr>
              <p:nvPr userDrawn="1"/>
            </p:nvSpPr>
            <p:spPr bwMode="auto">
              <a:xfrm>
                <a:off x="1514" y="1372"/>
                <a:ext cx="1162" cy="996"/>
              </a:xfrm>
              <a:custGeom>
                <a:avLst/>
                <a:gdLst>
                  <a:gd name="T0" fmla="*/ 1446 w 3484"/>
                  <a:gd name="T1" fmla="*/ 2952 h 2986"/>
                  <a:gd name="T2" fmla="*/ 1182 w 3484"/>
                  <a:gd name="T3" fmla="*/ 2797 h 2986"/>
                  <a:gd name="T4" fmla="*/ 789 w 3484"/>
                  <a:gd name="T5" fmla="*/ 2395 h 2986"/>
                  <a:gd name="T6" fmla="*/ 358 w 3484"/>
                  <a:gd name="T7" fmla="*/ 1822 h 2986"/>
                  <a:gd name="T8" fmla="*/ 87 w 3484"/>
                  <a:gd name="T9" fmla="*/ 1321 h 2986"/>
                  <a:gd name="T10" fmla="*/ 6 w 3484"/>
                  <a:gd name="T11" fmla="*/ 1042 h 2986"/>
                  <a:gd name="T12" fmla="*/ 157 w 3484"/>
                  <a:gd name="T13" fmla="*/ 781 h 2986"/>
                  <a:gd name="T14" fmla="*/ 476 w 3484"/>
                  <a:gd name="T15" fmla="*/ 436 h 2986"/>
                  <a:gd name="T16" fmla="*/ 749 w 3484"/>
                  <a:gd name="T17" fmla="*/ 240 h 2986"/>
                  <a:gd name="T18" fmla="*/ 1293 w 3484"/>
                  <a:gd name="T19" fmla="*/ 63 h 2986"/>
                  <a:gd name="T20" fmla="*/ 1832 w 3484"/>
                  <a:gd name="T21" fmla="*/ 0 h 2986"/>
                  <a:gd name="T22" fmla="*/ 2311 w 3484"/>
                  <a:gd name="T23" fmla="*/ 66 h 2986"/>
                  <a:gd name="T24" fmla="*/ 2628 w 3484"/>
                  <a:gd name="T25" fmla="*/ 233 h 2986"/>
                  <a:gd name="T26" fmla="*/ 2831 w 3484"/>
                  <a:gd name="T27" fmla="*/ 461 h 2986"/>
                  <a:gd name="T28" fmla="*/ 3043 w 3484"/>
                  <a:gd name="T29" fmla="*/ 747 h 2986"/>
                  <a:gd name="T30" fmla="*/ 3187 w 3484"/>
                  <a:gd name="T31" fmla="*/ 1003 h 2986"/>
                  <a:gd name="T32" fmla="*/ 3268 w 3484"/>
                  <a:gd name="T33" fmla="*/ 1212 h 2986"/>
                  <a:gd name="T34" fmla="*/ 3305 w 3484"/>
                  <a:gd name="T35" fmla="*/ 1464 h 2986"/>
                  <a:gd name="T36" fmla="*/ 3336 w 3484"/>
                  <a:gd name="T37" fmla="*/ 1815 h 2986"/>
                  <a:gd name="T38" fmla="*/ 3441 w 3484"/>
                  <a:gd name="T39" fmla="*/ 2207 h 2986"/>
                  <a:gd name="T40" fmla="*/ 3481 w 3484"/>
                  <a:gd name="T41" fmla="*/ 2460 h 2986"/>
                  <a:gd name="T42" fmla="*/ 3482 w 3484"/>
                  <a:gd name="T43" fmla="*/ 2502 h 2986"/>
                  <a:gd name="T44" fmla="*/ 3474 w 3484"/>
                  <a:gd name="T45" fmla="*/ 2569 h 2986"/>
                  <a:gd name="T46" fmla="*/ 3440 w 3484"/>
                  <a:gd name="T47" fmla="*/ 2660 h 2986"/>
                  <a:gd name="T48" fmla="*/ 3431 w 3484"/>
                  <a:gd name="T49" fmla="*/ 2522 h 2986"/>
                  <a:gd name="T50" fmla="*/ 3385 w 3484"/>
                  <a:gd name="T51" fmla="*/ 2369 h 2986"/>
                  <a:gd name="T52" fmla="*/ 3301 w 3484"/>
                  <a:gd name="T53" fmla="*/ 2310 h 2986"/>
                  <a:gd name="T54" fmla="*/ 3110 w 3484"/>
                  <a:gd name="T55" fmla="*/ 2301 h 2986"/>
                  <a:gd name="T56" fmla="*/ 2888 w 3484"/>
                  <a:gd name="T57" fmla="*/ 2383 h 2986"/>
                  <a:gd name="T58" fmla="*/ 2643 w 3484"/>
                  <a:gd name="T59" fmla="*/ 2573 h 2986"/>
                  <a:gd name="T60" fmla="*/ 2257 w 3484"/>
                  <a:gd name="T61" fmla="*/ 2829 h 2986"/>
                  <a:gd name="T62" fmla="*/ 1914 w 3484"/>
                  <a:gd name="T63" fmla="*/ 2951 h 2986"/>
                  <a:gd name="T64" fmla="*/ 1650 w 3484"/>
                  <a:gd name="T65" fmla="*/ 2986 h 2986"/>
                  <a:gd name="T66" fmla="*/ 80 w 3484"/>
                  <a:gd name="T67" fmla="*/ 1220 h 2986"/>
                  <a:gd name="T68" fmla="*/ 259 w 3484"/>
                  <a:gd name="T69" fmla="*/ 1614 h 2986"/>
                  <a:gd name="T70" fmla="*/ 669 w 3484"/>
                  <a:gd name="T71" fmla="*/ 2206 h 2986"/>
                  <a:gd name="T72" fmla="*/ 1081 w 3484"/>
                  <a:gd name="T73" fmla="*/ 2668 h 2986"/>
                  <a:gd name="T74" fmla="*/ 1369 w 3484"/>
                  <a:gd name="T75" fmla="*/ 2890 h 2986"/>
                  <a:gd name="T76" fmla="*/ 1625 w 3484"/>
                  <a:gd name="T77" fmla="*/ 2959 h 2986"/>
                  <a:gd name="T78" fmla="*/ 1896 w 3484"/>
                  <a:gd name="T79" fmla="*/ 2927 h 2986"/>
                  <a:gd name="T80" fmla="*/ 2245 w 3484"/>
                  <a:gd name="T81" fmla="*/ 2804 h 2986"/>
                  <a:gd name="T82" fmla="*/ 2626 w 3484"/>
                  <a:gd name="T83" fmla="*/ 2553 h 2986"/>
                  <a:gd name="T84" fmla="*/ 2876 w 3484"/>
                  <a:gd name="T85" fmla="*/ 2360 h 2986"/>
                  <a:gd name="T86" fmla="*/ 3107 w 3484"/>
                  <a:gd name="T87" fmla="*/ 2274 h 2986"/>
                  <a:gd name="T88" fmla="*/ 3309 w 3484"/>
                  <a:gd name="T89" fmla="*/ 2284 h 2986"/>
                  <a:gd name="T90" fmla="*/ 3422 w 3484"/>
                  <a:gd name="T91" fmla="*/ 2376 h 2986"/>
                  <a:gd name="T92" fmla="*/ 3453 w 3484"/>
                  <a:gd name="T93" fmla="*/ 2433 h 2986"/>
                  <a:gd name="T94" fmla="*/ 3373 w 3484"/>
                  <a:gd name="T95" fmla="*/ 2085 h 2986"/>
                  <a:gd name="T96" fmla="*/ 3290 w 3484"/>
                  <a:gd name="T97" fmla="*/ 1658 h 2986"/>
                  <a:gd name="T98" fmla="*/ 3274 w 3484"/>
                  <a:gd name="T99" fmla="*/ 1395 h 2986"/>
                  <a:gd name="T100" fmla="*/ 3208 w 3484"/>
                  <a:gd name="T101" fmla="*/ 1123 h 2986"/>
                  <a:gd name="T102" fmla="*/ 3127 w 3484"/>
                  <a:gd name="T103" fmla="*/ 935 h 2986"/>
                  <a:gd name="T104" fmla="*/ 2914 w 3484"/>
                  <a:gd name="T105" fmla="*/ 618 h 2986"/>
                  <a:gd name="T106" fmla="*/ 2736 w 3484"/>
                  <a:gd name="T107" fmla="*/ 382 h 2986"/>
                  <a:gd name="T108" fmla="*/ 2539 w 3484"/>
                  <a:gd name="T109" fmla="*/ 200 h 2986"/>
                  <a:gd name="T110" fmla="*/ 2157 w 3484"/>
                  <a:gd name="T111" fmla="*/ 55 h 2986"/>
                  <a:gd name="T112" fmla="*/ 1654 w 3484"/>
                  <a:gd name="T113" fmla="*/ 34 h 2986"/>
                  <a:gd name="T114" fmla="*/ 1121 w 3484"/>
                  <a:gd name="T115" fmla="*/ 135 h 2986"/>
                  <a:gd name="T116" fmla="*/ 676 w 3484"/>
                  <a:gd name="T117" fmla="*/ 311 h 2986"/>
                  <a:gd name="T118" fmla="*/ 407 w 3484"/>
                  <a:gd name="T119" fmla="*/ 541 h 2986"/>
                  <a:gd name="T120" fmla="*/ 36 w 3484"/>
                  <a:gd name="T121" fmla="*/ 993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84" h="2986">
                    <a:moveTo>
                      <a:pt x="1650" y="2986"/>
                    </a:moveTo>
                    <a:lnTo>
                      <a:pt x="1637" y="2986"/>
                    </a:lnTo>
                    <a:lnTo>
                      <a:pt x="1624" y="2986"/>
                    </a:lnTo>
                    <a:lnTo>
                      <a:pt x="1594" y="2984"/>
                    </a:lnTo>
                    <a:lnTo>
                      <a:pt x="1564" y="2980"/>
                    </a:lnTo>
                    <a:lnTo>
                      <a:pt x="1534" y="2976"/>
                    </a:lnTo>
                    <a:lnTo>
                      <a:pt x="1505" y="2970"/>
                    </a:lnTo>
                    <a:lnTo>
                      <a:pt x="1475" y="2962"/>
                    </a:lnTo>
                    <a:lnTo>
                      <a:pt x="1446" y="2952"/>
                    </a:lnTo>
                    <a:lnTo>
                      <a:pt x="1416" y="2941"/>
                    </a:lnTo>
                    <a:lnTo>
                      <a:pt x="1386" y="2929"/>
                    </a:lnTo>
                    <a:lnTo>
                      <a:pt x="1357" y="2915"/>
                    </a:lnTo>
                    <a:lnTo>
                      <a:pt x="1328" y="2899"/>
                    </a:lnTo>
                    <a:lnTo>
                      <a:pt x="1299" y="2882"/>
                    </a:lnTo>
                    <a:lnTo>
                      <a:pt x="1270" y="2863"/>
                    </a:lnTo>
                    <a:lnTo>
                      <a:pt x="1240" y="2843"/>
                    </a:lnTo>
                    <a:lnTo>
                      <a:pt x="1211" y="2821"/>
                    </a:lnTo>
                    <a:lnTo>
                      <a:pt x="1182" y="2797"/>
                    </a:lnTo>
                    <a:lnTo>
                      <a:pt x="1153" y="2772"/>
                    </a:lnTo>
                    <a:lnTo>
                      <a:pt x="1108" y="2731"/>
                    </a:lnTo>
                    <a:lnTo>
                      <a:pt x="1062" y="2688"/>
                    </a:lnTo>
                    <a:lnTo>
                      <a:pt x="1017" y="2644"/>
                    </a:lnTo>
                    <a:lnTo>
                      <a:pt x="972" y="2598"/>
                    </a:lnTo>
                    <a:lnTo>
                      <a:pt x="926" y="2550"/>
                    </a:lnTo>
                    <a:lnTo>
                      <a:pt x="881" y="2500"/>
                    </a:lnTo>
                    <a:lnTo>
                      <a:pt x="834" y="2449"/>
                    </a:lnTo>
                    <a:lnTo>
                      <a:pt x="789" y="2395"/>
                    </a:lnTo>
                    <a:lnTo>
                      <a:pt x="743" y="2340"/>
                    </a:lnTo>
                    <a:lnTo>
                      <a:pt x="695" y="2283"/>
                    </a:lnTo>
                    <a:lnTo>
                      <a:pt x="649" y="2224"/>
                    </a:lnTo>
                    <a:lnTo>
                      <a:pt x="601" y="2161"/>
                    </a:lnTo>
                    <a:lnTo>
                      <a:pt x="553" y="2097"/>
                    </a:lnTo>
                    <a:lnTo>
                      <a:pt x="504" y="2031"/>
                    </a:lnTo>
                    <a:lnTo>
                      <a:pt x="455" y="1962"/>
                    </a:lnTo>
                    <a:lnTo>
                      <a:pt x="406" y="1891"/>
                    </a:lnTo>
                    <a:lnTo>
                      <a:pt x="358" y="1822"/>
                    </a:lnTo>
                    <a:lnTo>
                      <a:pt x="314" y="1755"/>
                    </a:lnTo>
                    <a:lnTo>
                      <a:pt x="273" y="1689"/>
                    </a:lnTo>
                    <a:lnTo>
                      <a:pt x="236" y="1627"/>
                    </a:lnTo>
                    <a:lnTo>
                      <a:pt x="201" y="1564"/>
                    </a:lnTo>
                    <a:lnTo>
                      <a:pt x="169" y="1504"/>
                    </a:lnTo>
                    <a:lnTo>
                      <a:pt x="140" y="1444"/>
                    </a:lnTo>
                    <a:lnTo>
                      <a:pt x="113" y="1385"/>
                    </a:lnTo>
                    <a:lnTo>
                      <a:pt x="100" y="1354"/>
                    </a:lnTo>
                    <a:lnTo>
                      <a:pt x="87" y="1321"/>
                    </a:lnTo>
                    <a:lnTo>
                      <a:pt x="75" y="1290"/>
                    </a:lnTo>
                    <a:lnTo>
                      <a:pt x="65" y="1259"/>
                    </a:lnTo>
                    <a:lnTo>
                      <a:pt x="54" y="1228"/>
                    </a:lnTo>
                    <a:lnTo>
                      <a:pt x="44" y="1197"/>
                    </a:lnTo>
                    <a:lnTo>
                      <a:pt x="35" y="1167"/>
                    </a:lnTo>
                    <a:lnTo>
                      <a:pt x="27" y="1136"/>
                    </a:lnTo>
                    <a:lnTo>
                      <a:pt x="19" y="1104"/>
                    </a:lnTo>
                    <a:lnTo>
                      <a:pt x="12" y="1073"/>
                    </a:lnTo>
                    <a:lnTo>
                      <a:pt x="6" y="1042"/>
                    </a:lnTo>
                    <a:lnTo>
                      <a:pt x="0" y="1010"/>
                    </a:lnTo>
                    <a:lnTo>
                      <a:pt x="1" y="1005"/>
                    </a:lnTo>
                    <a:lnTo>
                      <a:pt x="4" y="996"/>
                    </a:lnTo>
                    <a:lnTo>
                      <a:pt x="11" y="984"/>
                    </a:lnTo>
                    <a:lnTo>
                      <a:pt x="18" y="970"/>
                    </a:lnTo>
                    <a:lnTo>
                      <a:pt x="42" y="935"/>
                    </a:lnTo>
                    <a:lnTo>
                      <a:pt x="73" y="890"/>
                    </a:lnTo>
                    <a:lnTo>
                      <a:pt x="112" y="839"/>
                    </a:lnTo>
                    <a:lnTo>
                      <a:pt x="157" y="781"/>
                    </a:lnTo>
                    <a:lnTo>
                      <a:pt x="207" y="721"/>
                    </a:lnTo>
                    <a:lnTo>
                      <a:pt x="262" y="657"/>
                    </a:lnTo>
                    <a:lnTo>
                      <a:pt x="291" y="625"/>
                    </a:lnTo>
                    <a:lnTo>
                      <a:pt x="320" y="593"/>
                    </a:lnTo>
                    <a:lnTo>
                      <a:pt x="351" y="560"/>
                    </a:lnTo>
                    <a:lnTo>
                      <a:pt x="382" y="528"/>
                    </a:lnTo>
                    <a:lnTo>
                      <a:pt x="413" y="496"/>
                    </a:lnTo>
                    <a:lnTo>
                      <a:pt x="445" y="466"/>
                    </a:lnTo>
                    <a:lnTo>
                      <a:pt x="476" y="436"/>
                    </a:lnTo>
                    <a:lnTo>
                      <a:pt x="507" y="408"/>
                    </a:lnTo>
                    <a:lnTo>
                      <a:pt x="540" y="380"/>
                    </a:lnTo>
                    <a:lnTo>
                      <a:pt x="571" y="354"/>
                    </a:lnTo>
                    <a:lnTo>
                      <a:pt x="602" y="330"/>
                    </a:lnTo>
                    <a:lnTo>
                      <a:pt x="633" y="308"/>
                    </a:lnTo>
                    <a:lnTo>
                      <a:pt x="663" y="287"/>
                    </a:lnTo>
                    <a:lnTo>
                      <a:pt x="692" y="269"/>
                    </a:lnTo>
                    <a:lnTo>
                      <a:pt x="721" y="254"/>
                    </a:lnTo>
                    <a:lnTo>
                      <a:pt x="749" y="240"/>
                    </a:lnTo>
                    <a:lnTo>
                      <a:pt x="810" y="215"/>
                    </a:lnTo>
                    <a:lnTo>
                      <a:pt x="870" y="191"/>
                    </a:lnTo>
                    <a:lnTo>
                      <a:pt x="931" y="168"/>
                    </a:lnTo>
                    <a:lnTo>
                      <a:pt x="992" y="147"/>
                    </a:lnTo>
                    <a:lnTo>
                      <a:pt x="1053" y="127"/>
                    </a:lnTo>
                    <a:lnTo>
                      <a:pt x="1113" y="109"/>
                    </a:lnTo>
                    <a:lnTo>
                      <a:pt x="1174" y="92"/>
                    </a:lnTo>
                    <a:lnTo>
                      <a:pt x="1234" y="77"/>
                    </a:lnTo>
                    <a:lnTo>
                      <a:pt x="1293" y="63"/>
                    </a:lnTo>
                    <a:lnTo>
                      <a:pt x="1354" y="50"/>
                    </a:lnTo>
                    <a:lnTo>
                      <a:pt x="1414" y="39"/>
                    </a:lnTo>
                    <a:lnTo>
                      <a:pt x="1474" y="28"/>
                    </a:lnTo>
                    <a:lnTo>
                      <a:pt x="1533" y="20"/>
                    </a:lnTo>
                    <a:lnTo>
                      <a:pt x="1592" y="13"/>
                    </a:lnTo>
                    <a:lnTo>
                      <a:pt x="1652" y="7"/>
                    </a:lnTo>
                    <a:lnTo>
                      <a:pt x="1711" y="3"/>
                    </a:lnTo>
                    <a:lnTo>
                      <a:pt x="1773" y="1"/>
                    </a:lnTo>
                    <a:lnTo>
                      <a:pt x="1832" y="0"/>
                    </a:lnTo>
                    <a:lnTo>
                      <a:pt x="1892" y="0"/>
                    </a:lnTo>
                    <a:lnTo>
                      <a:pt x="1949" y="2"/>
                    </a:lnTo>
                    <a:lnTo>
                      <a:pt x="2004" y="6"/>
                    </a:lnTo>
                    <a:lnTo>
                      <a:pt x="2059" y="12"/>
                    </a:lnTo>
                    <a:lnTo>
                      <a:pt x="2112" y="19"/>
                    </a:lnTo>
                    <a:lnTo>
                      <a:pt x="2164" y="29"/>
                    </a:lnTo>
                    <a:lnTo>
                      <a:pt x="2214" y="39"/>
                    </a:lnTo>
                    <a:lnTo>
                      <a:pt x="2263" y="52"/>
                    </a:lnTo>
                    <a:lnTo>
                      <a:pt x="2311" y="66"/>
                    </a:lnTo>
                    <a:lnTo>
                      <a:pt x="2357" y="81"/>
                    </a:lnTo>
                    <a:lnTo>
                      <a:pt x="2401" y="98"/>
                    </a:lnTo>
                    <a:lnTo>
                      <a:pt x="2444" y="118"/>
                    </a:lnTo>
                    <a:lnTo>
                      <a:pt x="2487" y="138"/>
                    </a:lnTo>
                    <a:lnTo>
                      <a:pt x="2527" y="161"/>
                    </a:lnTo>
                    <a:lnTo>
                      <a:pt x="2554" y="177"/>
                    </a:lnTo>
                    <a:lnTo>
                      <a:pt x="2579" y="195"/>
                    </a:lnTo>
                    <a:lnTo>
                      <a:pt x="2604" y="214"/>
                    </a:lnTo>
                    <a:lnTo>
                      <a:pt x="2628" y="233"/>
                    </a:lnTo>
                    <a:lnTo>
                      <a:pt x="2652" y="254"/>
                    </a:lnTo>
                    <a:lnTo>
                      <a:pt x="2673" y="274"/>
                    </a:lnTo>
                    <a:lnTo>
                      <a:pt x="2695" y="296"/>
                    </a:lnTo>
                    <a:lnTo>
                      <a:pt x="2715" y="318"/>
                    </a:lnTo>
                    <a:lnTo>
                      <a:pt x="2736" y="341"/>
                    </a:lnTo>
                    <a:lnTo>
                      <a:pt x="2755" y="364"/>
                    </a:lnTo>
                    <a:lnTo>
                      <a:pt x="2775" y="387"/>
                    </a:lnTo>
                    <a:lnTo>
                      <a:pt x="2794" y="412"/>
                    </a:lnTo>
                    <a:lnTo>
                      <a:pt x="2831" y="461"/>
                    </a:lnTo>
                    <a:lnTo>
                      <a:pt x="2869" y="512"/>
                    </a:lnTo>
                    <a:lnTo>
                      <a:pt x="2872" y="516"/>
                    </a:lnTo>
                    <a:lnTo>
                      <a:pt x="2887" y="537"/>
                    </a:lnTo>
                    <a:lnTo>
                      <a:pt x="2903" y="559"/>
                    </a:lnTo>
                    <a:lnTo>
                      <a:pt x="2920" y="581"/>
                    </a:lnTo>
                    <a:lnTo>
                      <a:pt x="2936" y="602"/>
                    </a:lnTo>
                    <a:lnTo>
                      <a:pt x="2971" y="650"/>
                    </a:lnTo>
                    <a:lnTo>
                      <a:pt x="3007" y="698"/>
                    </a:lnTo>
                    <a:lnTo>
                      <a:pt x="3043" y="747"/>
                    </a:lnTo>
                    <a:lnTo>
                      <a:pt x="3076" y="795"/>
                    </a:lnTo>
                    <a:lnTo>
                      <a:pt x="3092" y="821"/>
                    </a:lnTo>
                    <a:lnTo>
                      <a:pt x="3107" y="846"/>
                    </a:lnTo>
                    <a:lnTo>
                      <a:pt x="3123" y="872"/>
                    </a:lnTo>
                    <a:lnTo>
                      <a:pt x="3138" y="897"/>
                    </a:lnTo>
                    <a:lnTo>
                      <a:pt x="3152" y="923"/>
                    </a:lnTo>
                    <a:lnTo>
                      <a:pt x="3165" y="949"/>
                    </a:lnTo>
                    <a:lnTo>
                      <a:pt x="3177" y="976"/>
                    </a:lnTo>
                    <a:lnTo>
                      <a:pt x="3187" y="1003"/>
                    </a:lnTo>
                    <a:lnTo>
                      <a:pt x="3193" y="1014"/>
                    </a:lnTo>
                    <a:lnTo>
                      <a:pt x="3197" y="1025"/>
                    </a:lnTo>
                    <a:lnTo>
                      <a:pt x="3201" y="1036"/>
                    </a:lnTo>
                    <a:lnTo>
                      <a:pt x="3207" y="1048"/>
                    </a:lnTo>
                    <a:lnTo>
                      <a:pt x="3220" y="1080"/>
                    </a:lnTo>
                    <a:lnTo>
                      <a:pt x="3233" y="1114"/>
                    </a:lnTo>
                    <a:lnTo>
                      <a:pt x="3246" y="1146"/>
                    </a:lnTo>
                    <a:lnTo>
                      <a:pt x="3258" y="1179"/>
                    </a:lnTo>
                    <a:lnTo>
                      <a:pt x="3268" y="1212"/>
                    </a:lnTo>
                    <a:lnTo>
                      <a:pt x="3278" y="1247"/>
                    </a:lnTo>
                    <a:lnTo>
                      <a:pt x="3286" y="1282"/>
                    </a:lnTo>
                    <a:lnTo>
                      <a:pt x="3292" y="1319"/>
                    </a:lnTo>
                    <a:lnTo>
                      <a:pt x="3295" y="1343"/>
                    </a:lnTo>
                    <a:lnTo>
                      <a:pt x="3299" y="1368"/>
                    </a:lnTo>
                    <a:lnTo>
                      <a:pt x="3301" y="1391"/>
                    </a:lnTo>
                    <a:lnTo>
                      <a:pt x="3302" y="1415"/>
                    </a:lnTo>
                    <a:lnTo>
                      <a:pt x="3304" y="1440"/>
                    </a:lnTo>
                    <a:lnTo>
                      <a:pt x="3305" y="1464"/>
                    </a:lnTo>
                    <a:lnTo>
                      <a:pt x="3306" y="1487"/>
                    </a:lnTo>
                    <a:lnTo>
                      <a:pt x="3307" y="1511"/>
                    </a:lnTo>
                    <a:lnTo>
                      <a:pt x="3309" y="1547"/>
                    </a:lnTo>
                    <a:lnTo>
                      <a:pt x="3310" y="1584"/>
                    </a:lnTo>
                    <a:lnTo>
                      <a:pt x="3314" y="1619"/>
                    </a:lnTo>
                    <a:lnTo>
                      <a:pt x="3317" y="1655"/>
                    </a:lnTo>
                    <a:lnTo>
                      <a:pt x="3322" y="1705"/>
                    </a:lnTo>
                    <a:lnTo>
                      <a:pt x="3329" y="1758"/>
                    </a:lnTo>
                    <a:lnTo>
                      <a:pt x="3336" y="1815"/>
                    </a:lnTo>
                    <a:lnTo>
                      <a:pt x="3347" y="1872"/>
                    </a:lnTo>
                    <a:lnTo>
                      <a:pt x="3358" y="1930"/>
                    </a:lnTo>
                    <a:lnTo>
                      <a:pt x="3372" y="1989"/>
                    </a:lnTo>
                    <a:lnTo>
                      <a:pt x="3381" y="2019"/>
                    </a:lnTo>
                    <a:lnTo>
                      <a:pt x="3389" y="2048"/>
                    </a:lnTo>
                    <a:lnTo>
                      <a:pt x="3398" y="2077"/>
                    </a:lnTo>
                    <a:lnTo>
                      <a:pt x="3409" y="2106"/>
                    </a:lnTo>
                    <a:lnTo>
                      <a:pt x="3426" y="2158"/>
                    </a:lnTo>
                    <a:lnTo>
                      <a:pt x="3441" y="2207"/>
                    </a:lnTo>
                    <a:lnTo>
                      <a:pt x="3454" y="2255"/>
                    </a:lnTo>
                    <a:lnTo>
                      <a:pt x="3465" y="2302"/>
                    </a:lnTo>
                    <a:lnTo>
                      <a:pt x="3468" y="2326"/>
                    </a:lnTo>
                    <a:lnTo>
                      <a:pt x="3472" y="2349"/>
                    </a:lnTo>
                    <a:lnTo>
                      <a:pt x="3475" y="2372"/>
                    </a:lnTo>
                    <a:lnTo>
                      <a:pt x="3478" y="2393"/>
                    </a:lnTo>
                    <a:lnTo>
                      <a:pt x="3479" y="2416"/>
                    </a:lnTo>
                    <a:lnTo>
                      <a:pt x="3480" y="2437"/>
                    </a:lnTo>
                    <a:lnTo>
                      <a:pt x="3481" y="2460"/>
                    </a:lnTo>
                    <a:lnTo>
                      <a:pt x="3481" y="2482"/>
                    </a:lnTo>
                    <a:lnTo>
                      <a:pt x="3481" y="2482"/>
                    </a:lnTo>
                    <a:lnTo>
                      <a:pt x="3481" y="2482"/>
                    </a:lnTo>
                    <a:lnTo>
                      <a:pt x="3482" y="2483"/>
                    </a:lnTo>
                    <a:lnTo>
                      <a:pt x="3483" y="2485"/>
                    </a:lnTo>
                    <a:lnTo>
                      <a:pt x="3483" y="2487"/>
                    </a:lnTo>
                    <a:lnTo>
                      <a:pt x="3483" y="2492"/>
                    </a:lnTo>
                    <a:lnTo>
                      <a:pt x="3484" y="2492"/>
                    </a:lnTo>
                    <a:lnTo>
                      <a:pt x="3482" y="2502"/>
                    </a:lnTo>
                    <a:lnTo>
                      <a:pt x="3480" y="2525"/>
                    </a:lnTo>
                    <a:lnTo>
                      <a:pt x="3479" y="2532"/>
                    </a:lnTo>
                    <a:lnTo>
                      <a:pt x="3478" y="2541"/>
                    </a:lnTo>
                    <a:lnTo>
                      <a:pt x="3477" y="2551"/>
                    </a:lnTo>
                    <a:lnTo>
                      <a:pt x="3475" y="2562"/>
                    </a:lnTo>
                    <a:lnTo>
                      <a:pt x="3475" y="2563"/>
                    </a:lnTo>
                    <a:lnTo>
                      <a:pt x="3475" y="2564"/>
                    </a:lnTo>
                    <a:lnTo>
                      <a:pt x="3475" y="2567"/>
                    </a:lnTo>
                    <a:lnTo>
                      <a:pt x="3474" y="2569"/>
                    </a:lnTo>
                    <a:lnTo>
                      <a:pt x="3471" y="2590"/>
                    </a:lnTo>
                    <a:lnTo>
                      <a:pt x="3467" y="2609"/>
                    </a:lnTo>
                    <a:lnTo>
                      <a:pt x="3464" y="2630"/>
                    </a:lnTo>
                    <a:lnTo>
                      <a:pt x="3459" y="2650"/>
                    </a:lnTo>
                    <a:lnTo>
                      <a:pt x="3457" y="2655"/>
                    </a:lnTo>
                    <a:lnTo>
                      <a:pt x="3454" y="2659"/>
                    </a:lnTo>
                    <a:lnTo>
                      <a:pt x="3450" y="2661"/>
                    </a:lnTo>
                    <a:lnTo>
                      <a:pt x="3444" y="2661"/>
                    </a:lnTo>
                    <a:lnTo>
                      <a:pt x="3440" y="2660"/>
                    </a:lnTo>
                    <a:lnTo>
                      <a:pt x="3436" y="2657"/>
                    </a:lnTo>
                    <a:lnTo>
                      <a:pt x="3434" y="2652"/>
                    </a:lnTo>
                    <a:lnTo>
                      <a:pt x="3432" y="2648"/>
                    </a:lnTo>
                    <a:lnTo>
                      <a:pt x="3432" y="2639"/>
                    </a:lnTo>
                    <a:lnTo>
                      <a:pt x="3432" y="2632"/>
                    </a:lnTo>
                    <a:lnTo>
                      <a:pt x="3432" y="2623"/>
                    </a:lnTo>
                    <a:lnTo>
                      <a:pt x="3432" y="2614"/>
                    </a:lnTo>
                    <a:lnTo>
                      <a:pt x="3432" y="2568"/>
                    </a:lnTo>
                    <a:lnTo>
                      <a:pt x="3431" y="2522"/>
                    </a:lnTo>
                    <a:lnTo>
                      <a:pt x="3429" y="2499"/>
                    </a:lnTo>
                    <a:lnTo>
                      <a:pt x="3427" y="2476"/>
                    </a:lnTo>
                    <a:lnTo>
                      <a:pt x="3423" y="2455"/>
                    </a:lnTo>
                    <a:lnTo>
                      <a:pt x="3417" y="2434"/>
                    </a:lnTo>
                    <a:lnTo>
                      <a:pt x="3410" y="2414"/>
                    </a:lnTo>
                    <a:lnTo>
                      <a:pt x="3401" y="2395"/>
                    </a:lnTo>
                    <a:lnTo>
                      <a:pt x="3397" y="2387"/>
                    </a:lnTo>
                    <a:lnTo>
                      <a:pt x="3390" y="2377"/>
                    </a:lnTo>
                    <a:lnTo>
                      <a:pt x="3385" y="2369"/>
                    </a:lnTo>
                    <a:lnTo>
                      <a:pt x="3377" y="2361"/>
                    </a:lnTo>
                    <a:lnTo>
                      <a:pt x="3371" y="2353"/>
                    </a:lnTo>
                    <a:lnTo>
                      <a:pt x="3362" y="2346"/>
                    </a:lnTo>
                    <a:lnTo>
                      <a:pt x="3354" y="2339"/>
                    </a:lnTo>
                    <a:lnTo>
                      <a:pt x="3345" y="2332"/>
                    </a:lnTo>
                    <a:lnTo>
                      <a:pt x="3334" y="2326"/>
                    </a:lnTo>
                    <a:lnTo>
                      <a:pt x="3325" y="2320"/>
                    </a:lnTo>
                    <a:lnTo>
                      <a:pt x="3313" y="2314"/>
                    </a:lnTo>
                    <a:lnTo>
                      <a:pt x="3301" y="2310"/>
                    </a:lnTo>
                    <a:lnTo>
                      <a:pt x="3282" y="2304"/>
                    </a:lnTo>
                    <a:lnTo>
                      <a:pt x="3263" y="2299"/>
                    </a:lnTo>
                    <a:lnTo>
                      <a:pt x="3244" y="2295"/>
                    </a:lnTo>
                    <a:lnTo>
                      <a:pt x="3223" y="2293"/>
                    </a:lnTo>
                    <a:lnTo>
                      <a:pt x="3201" y="2292"/>
                    </a:lnTo>
                    <a:lnTo>
                      <a:pt x="3180" y="2293"/>
                    </a:lnTo>
                    <a:lnTo>
                      <a:pt x="3157" y="2294"/>
                    </a:lnTo>
                    <a:lnTo>
                      <a:pt x="3133" y="2297"/>
                    </a:lnTo>
                    <a:lnTo>
                      <a:pt x="3110" y="2301"/>
                    </a:lnTo>
                    <a:lnTo>
                      <a:pt x="3085" y="2307"/>
                    </a:lnTo>
                    <a:lnTo>
                      <a:pt x="3060" y="2313"/>
                    </a:lnTo>
                    <a:lnTo>
                      <a:pt x="3034" y="2321"/>
                    </a:lnTo>
                    <a:lnTo>
                      <a:pt x="3007" y="2331"/>
                    </a:lnTo>
                    <a:lnTo>
                      <a:pt x="2980" y="2340"/>
                    </a:lnTo>
                    <a:lnTo>
                      <a:pt x="2952" y="2352"/>
                    </a:lnTo>
                    <a:lnTo>
                      <a:pt x="2924" y="2365"/>
                    </a:lnTo>
                    <a:lnTo>
                      <a:pt x="2906" y="2374"/>
                    </a:lnTo>
                    <a:lnTo>
                      <a:pt x="2888" y="2383"/>
                    </a:lnTo>
                    <a:lnTo>
                      <a:pt x="2872" y="2393"/>
                    </a:lnTo>
                    <a:lnTo>
                      <a:pt x="2855" y="2403"/>
                    </a:lnTo>
                    <a:lnTo>
                      <a:pt x="2822" y="2424"/>
                    </a:lnTo>
                    <a:lnTo>
                      <a:pt x="2791" y="2447"/>
                    </a:lnTo>
                    <a:lnTo>
                      <a:pt x="2761" y="2472"/>
                    </a:lnTo>
                    <a:lnTo>
                      <a:pt x="2732" y="2497"/>
                    </a:lnTo>
                    <a:lnTo>
                      <a:pt x="2701" y="2522"/>
                    </a:lnTo>
                    <a:lnTo>
                      <a:pt x="2673" y="2547"/>
                    </a:lnTo>
                    <a:lnTo>
                      <a:pt x="2643" y="2573"/>
                    </a:lnTo>
                    <a:lnTo>
                      <a:pt x="2613" y="2599"/>
                    </a:lnTo>
                    <a:lnTo>
                      <a:pt x="2582" y="2625"/>
                    </a:lnTo>
                    <a:lnTo>
                      <a:pt x="2550" y="2650"/>
                    </a:lnTo>
                    <a:lnTo>
                      <a:pt x="2504" y="2685"/>
                    </a:lnTo>
                    <a:lnTo>
                      <a:pt x="2455" y="2717"/>
                    </a:lnTo>
                    <a:lnTo>
                      <a:pt x="2407" y="2747"/>
                    </a:lnTo>
                    <a:lnTo>
                      <a:pt x="2357" y="2776"/>
                    </a:lnTo>
                    <a:lnTo>
                      <a:pt x="2307" y="2803"/>
                    </a:lnTo>
                    <a:lnTo>
                      <a:pt x="2257" y="2829"/>
                    </a:lnTo>
                    <a:lnTo>
                      <a:pt x="2205" y="2853"/>
                    </a:lnTo>
                    <a:lnTo>
                      <a:pt x="2152" y="2873"/>
                    </a:lnTo>
                    <a:lnTo>
                      <a:pt x="2116" y="2888"/>
                    </a:lnTo>
                    <a:lnTo>
                      <a:pt x="2081" y="2900"/>
                    </a:lnTo>
                    <a:lnTo>
                      <a:pt x="2046" y="2912"/>
                    </a:lnTo>
                    <a:lnTo>
                      <a:pt x="2013" y="2923"/>
                    </a:lnTo>
                    <a:lnTo>
                      <a:pt x="1979" y="2933"/>
                    </a:lnTo>
                    <a:lnTo>
                      <a:pt x="1946" y="2943"/>
                    </a:lnTo>
                    <a:lnTo>
                      <a:pt x="1914" y="2951"/>
                    </a:lnTo>
                    <a:lnTo>
                      <a:pt x="1882" y="2958"/>
                    </a:lnTo>
                    <a:lnTo>
                      <a:pt x="1852" y="2964"/>
                    </a:lnTo>
                    <a:lnTo>
                      <a:pt x="1820" y="2971"/>
                    </a:lnTo>
                    <a:lnTo>
                      <a:pt x="1791" y="2975"/>
                    </a:lnTo>
                    <a:lnTo>
                      <a:pt x="1762" y="2979"/>
                    </a:lnTo>
                    <a:lnTo>
                      <a:pt x="1733" y="2983"/>
                    </a:lnTo>
                    <a:lnTo>
                      <a:pt x="1705" y="2985"/>
                    </a:lnTo>
                    <a:lnTo>
                      <a:pt x="1677" y="2986"/>
                    </a:lnTo>
                    <a:lnTo>
                      <a:pt x="1650" y="2986"/>
                    </a:lnTo>
                    <a:close/>
                    <a:moveTo>
                      <a:pt x="27" y="1008"/>
                    </a:moveTo>
                    <a:lnTo>
                      <a:pt x="27" y="1008"/>
                    </a:lnTo>
                    <a:lnTo>
                      <a:pt x="32" y="1038"/>
                    </a:lnTo>
                    <a:lnTo>
                      <a:pt x="39" y="1069"/>
                    </a:lnTo>
                    <a:lnTo>
                      <a:pt x="45" y="1099"/>
                    </a:lnTo>
                    <a:lnTo>
                      <a:pt x="53" y="1129"/>
                    </a:lnTo>
                    <a:lnTo>
                      <a:pt x="61" y="1159"/>
                    </a:lnTo>
                    <a:lnTo>
                      <a:pt x="70" y="1189"/>
                    </a:lnTo>
                    <a:lnTo>
                      <a:pt x="80" y="1220"/>
                    </a:lnTo>
                    <a:lnTo>
                      <a:pt x="90" y="1250"/>
                    </a:lnTo>
                    <a:lnTo>
                      <a:pt x="101" y="1281"/>
                    </a:lnTo>
                    <a:lnTo>
                      <a:pt x="113" y="1311"/>
                    </a:lnTo>
                    <a:lnTo>
                      <a:pt x="125" y="1343"/>
                    </a:lnTo>
                    <a:lnTo>
                      <a:pt x="138" y="1374"/>
                    </a:lnTo>
                    <a:lnTo>
                      <a:pt x="165" y="1432"/>
                    </a:lnTo>
                    <a:lnTo>
                      <a:pt x="194" y="1492"/>
                    </a:lnTo>
                    <a:lnTo>
                      <a:pt x="225" y="1552"/>
                    </a:lnTo>
                    <a:lnTo>
                      <a:pt x="259" y="1614"/>
                    </a:lnTo>
                    <a:lnTo>
                      <a:pt x="297" y="1676"/>
                    </a:lnTo>
                    <a:lnTo>
                      <a:pt x="337" y="1741"/>
                    </a:lnTo>
                    <a:lnTo>
                      <a:pt x="381" y="1807"/>
                    </a:lnTo>
                    <a:lnTo>
                      <a:pt x="427" y="1876"/>
                    </a:lnTo>
                    <a:lnTo>
                      <a:pt x="477" y="1947"/>
                    </a:lnTo>
                    <a:lnTo>
                      <a:pt x="526" y="2015"/>
                    </a:lnTo>
                    <a:lnTo>
                      <a:pt x="574" y="2081"/>
                    </a:lnTo>
                    <a:lnTo>
                      <a:pt x="622" y="2145"/>
                    </a:lnTo>
                    <a:lnTo>
                      <a:pt x="669" y="2206"/>
                    </a:lnTo>
                    <a:lnTo>
                      <a:pt x="717" y="2266"/>
                    </a:lnTo>
                    <a:lnTo>
                      <a:pt x="763" y="2323"/>
                    </a:lnTo>
                    <a:lnTo>
                      <a:pt x="809" y="2378"/>
                    </a:lnTo>
                    <a:lnTo>
                      <a:pt x="855" y="2431"/>
                    </a:lnTo>
                    <a:lnTo>
                      <a:pt x="900" y="2482"/>
                    </a:lnTo>
                    <a:lnTo>
                      <a:pt x="946" y="2531"/>
                    </a:lnTo>
                    <a:lnTo>
                      <a:pt x="991" y="2579"/>
                    </a:lnTo>
                    <a:lnTo>
                      <a:pt x="1035" y="2624"/>
                    </a:lnTo>
                    <a:lnTo>
                      <a:pt x="1081" y="2668"/>
                    </a:lnTo>
                    <a:lnTo>
                      <a:pt x="1126" y="2710"/>
                    </a:lnTo>
                    <a:lnTo>
                      <a:pt x="1171" y="2752"/>
                    </a:lnTo>
                    <a:lnTo>
                      <a:pt x="1199" y="2776"/>
                    </a:lnTo>
                    <a:lnTo>
                      <a:pt x="1228" y="2799"/>
                    </a:lnTo>
                    <a:lnTo>
                      <a:pt x="1256" y="2821"/>
                    </a:lnTo>
                    <a:lnTo>
                      <a:pt x="1284" y="2840"/>
                    </a:lnTo>
                    <a:lnTo>
                      <a:pt x="1312" y="2858"/>
                    </a:lnTo>
                    <a:lnTo>
                      <a:pt x="1340" y="2875"/>
                    </a:lnTo>
                    <a:lnTo>
                      <a:pt x="1369" y="2890"/>
                    </a:lnTo>
                    <a:lnTo>
                      <a:pt x="1397" y="2904"/>
                    </a:lnTo>
                    <a:lnTo>
                      <a:pt x="1425" y="2916"/>
                    </a:lnTo>
                    <a:lnTo>
                      <a:pt x="1453" y="2926"/>
                    </a:lnTo>
                    <a:lnTo>
                      <a:pt x="1481" y="2935"/>
                    </a:lnTo>
                    <a:lnTo>
                      <a:pt x="1510" y="2943"/>
                    </a:lnTo>
                    <a:lnTo>
                      <a:pt x="1539" y="2949"/>
                    </a:lnTo>
                    <a:lnTo>
                      <a:pt x="1568" y="2953"/>
                    </a:lnTo>
                    <a:lnTo>
                      <a:pt x="1596" y="2957"/>
                    </a:lnTo>
                    <a:lnTo>
                      <a:pt x="1625" y="2959"/>
                    </a:lnTo>
                    <a:lnTo>
                      <a:pt x="1653" y="2959"/>
                    </a:lnTo>
                    <a:lnTo>
                      <a:pt x="1681" y="2959"/>
                    </a:lnTo>
                    <a:lnTo>
                      <a:pt x="1710" y="2957"/>
                    </a:lnTo>
                    <a:lnTo>
                      <a:pt x="1739" y="2954"/>
                    </a:lnTo>
                    <a:lnTo>
                      <a:pt x="1770" y="2951"/>
                    </a:lnTo>
                    <a:lnTo>
                      <a:pt x="1801" y="2947"/>
                    </a:lnTo>
                    <a:lnTo>
                      <a:pt x="1832" y="2941"/>
                    </a:lnTo>
                    <a:lnTo>
                      <a:pt x="1864" y="2935"/>
                    </a:lnTo>
                    <a:lnTo>
                      <a:pt x="1896" y="2927"/>
                    </a:lnTo>
                    <a:lnTo>
                      <a:pt x="1929" y="2919"/>
                    </a:lnTo>
                    <a:lnTo>
                      <a:pt x="1963" y="2910"/>
                    </a:lnTo>
                    <a:lnTo>
                      <a:pt x="1997" y="2899"/>
                    </a:lnTo>
                    <a:lnTo>
                      <a:pt x="2032" y="2889"/>
                    </a:lnTo>
                    <a:lnTo>
                      <a:pt x="2069" y="2876"/>
                    </a:lnTo>
                    <a:lnTo>
                      <a:pt x="2105" y="2863"/>
                    </a:lnTo>
                    <a:lnTo>
                      <a:pt x="2142" y="2849"/>
                    </a:lnTo>
                    <a:lnTo>
                      <a:pt x="2194" y="2828"/>
                    </a:lnTo>
                    <a:lnTo>
                      <a:pt x="2245" y="2804"/>
                    </a:lnTo>
                    <a:lnTo>
                      <a:pt x="2294" y="2780"/>
                    </a:lnTo>
                    <a:lnTo>
                      <a:pt x="2344" y="2753"/>
                    </a:lnTo>
                    <a:lnTo>
                      <a:pt x="2393" y="2725"/>
                    </a:lnTo>
                    <a:lnTo>
                      <a:pt x="2441" y="2694"/>
                    </a:lnTo>
                    <a:lnTo>
                      <a:pt x="2488" y="2662"/>
                    </a:lnTo>
                    <a:lnTo>
                      <a:pt x="2534" y="2628"/>
                    </a:lnTo>
                    <a:lnTo>
                      <a:pt x="2565" y="2604"/>
                    </a:lnTo>
                    <a:lnTo>
                      <a:pt x="2596" y="2579"/>
                    </a:lnTo>
                    <a:lnTo>
                      <a:pt x="2626" y="2553"/>
                    </a:lnTo>
                    <a:lnTo>
                      <a:pt x="2655" y="2527"/>
                    </a:lnTo>
                    <a:lnTo>
                      <a:pt x="2684" y="2501"/>
                    </a:lnTo>
                    <a:lnTo>
                      <a:pt x="2714" y="2475"/>
                    </a:lnTo>
                    <a:lnTo>
                      <a:pt x="2745" y="2450"/>
                    </a:lnTo>
                    <a:lnTo>
                      <a:pt x="2776" y="2426"/>
                    </a:lnTo>
                    <a:lnTo>
                      <a:pt x="2808" y="2402"/>
                    </a:lnTo>
                    <a:lnTo>
                      <a:pt x="2842" y="2380"/>
                    </a:lnTo>
                    <a:lnTo>
                      <a:pt x="2858" y="2369"/>
                    </a:lnTo>
                    <a:lnTo>
                      <a:pt x="2876" y="2360"/>
                    </a:lnTo>
                    <a:lnTo>
                      <a:pt x="2894" y="2350"/>
                    </a:lnTo>
                    <a:lnTo>
                      <a:pt x="2912" y="2341"/>
                    </a:lnTo>
                    <a:lnTo>
                      <a:pt x="2942" y="2327"/>
                    </a:lnTo>
                    <a:lnTo>
                      <a:pt x="2971" y="2315"/>
                    </a:lnTo>
                    <a:lnTo>
                      <a:pt x="2999" y="2305"/>
                    </a:lnTo>
                    <a:lnTo>
                      <a:pt x="3028" y="2295"/>
                    </a:lnTo>
                    <a:lnTo>
                      <a:pt x="3055" y="2286"/>
                    </a:lnTo>
                    <a:lnTo>
                      <a:pt x="3082" y="2280"/>
                    </a:lnTo>
                    <a:lnTo>
                      <a:pt x="3107" y="2274"/>
                    </a:lnTo>
                    <a:lnTo>
                      <a:pt x="3132" y="2270"/>
                    </a:lnTo>
                    <a:lnTo>
                      <a:pt x="3157" y="2267"/>
                    </a:lnTo>
                    <a:lnTo>
                      <a:pt x="3181" y="2266"/>
                    </a:lnTo>
                    <a:lnTo>
                      <a:pt x="3205" y="2265"/>
                    </a:lnTo>
                    <a:lnTo>
                      <a:pt x="3227" y="2266"/>
                    </a:lnTo>
                    <a:lnTo>
                      <a:pt x="3249" y="2269"/>
                    </a:lnTo>
                    <a:lnTo>
                      <a:pt x="3271" y="2272"/>
                    </a:lnTo>
                    <a:lnTo>
                      <a:pt x="3290" y="2278"/>
                    </a:lnTo>
                    <a:lnTo>
                      <a:pt x="3309" y="2284"/>
                    </a:lnTo>
                    <a:lnTo>
                      <a:pt x="3328" y="2292"/>
                    </a:lnTo>
                    <a:lnTo>
                      <a:pt x="3344" y="2299"/>
                    </a:lnTo>
                    <a:lnTo>
                      <a:pt x="3358" y="2309"/>
                    </a:lnTo>
                    <a:lnTo>
                      <a:pt x="3372" y="2318"/>
                    </a:lnTo>
                    <a:lnTo>
                      <a:pt x="3384" y="2328"/>
                    </a:lnTo>
                    <a:lnTo>
                      <a:pt x="3395" y="2339"/>
                    </a:lnTo>
                    <a:lnTo>
                      <a:pt x="3404" y="2351"/>
                    </a:lnTo>
                    <a:lnTo>
                      <a:pt x="3414" y="2363"/>
                    </a:lnTo>
                    <a:lnTo>
                      <a:pt x="3422" y="2376"/>
                    </a:lnTo>
                    <a:lnTo>
                      <a:pt x="3428" y="2389"/>
                    </a:lnTo>
                    <a:lnTo>
                      <a:pt x="3435" y="2402"/>
                    </a:lnTo>
                    <a:lnTo>
                      <a:pt x="3440" y="2416"/>
                    </a:lnTo>
                    <a:lnTo>
                      <a:pt x="3444" y="2430"/>
                    </a:lnTo>
                    <a:lnTo>
                      <a:pt x="3448" y="2445"/>
                    </a:lnTo>
                    <a:lnTo>
                      <a:pt x="3451" y="2460"/>
                    </a:lnTo>
                    <a:lnTo>
                      <a:pt x="3454" y="2475"/>
                    </a:lnTo>
                    <a:lnTo>
                      <a:pt x="3454" y="2455"/>
                    </a:lnTo>
                    <a:lnTo>
                      <a:pt x="3453" y="2433"/>
                    </a:lnTo>
                    <a:lnTo>
                      <a:pt x="3452" y="2413"/>
                    </a:lnTo>
                    <a:lnTo>
                      <a:pt x="3450" y="2391"/>
                    </a:lnTo>
                    <a:lnTo>
                      <a:pt x="3444" y="2348"/>
                    </a:lnTo>
                    <a:lnTo>
                      <a:pt x="3437" y="2304"/>
                    </a:lnTo>
                    <a:lnTo>
                      <a:pt x="3427" y="2259"/>
                    </a:lnTo>
                    <a:lnTo>
                      <a:pt x="3415" y="2212"/>
                    </a:lnTo>
                    <a:lnTo>
                      <a:pt x="3400" y="2164"/>
                    </a:lnTo>
                    <a:lnTo>
                      <a:pt x="3383" y="2116"/>
                    </a:lnTo>
                    <a:lnTo>
                      <a:pt x="3373" y="2085"/>
                    </a:lnTo>
                    <a:lnTo>
                      <a:pt x="3363" y="2056"/>
                    </a:lnTo>
                    <a:lnTo>
                      <a:pt x="3355" y="2026"/>
                    </a:lnTo>
                    <a:lnTo>
                      <a:pt x="3346" y="1996"/>
                    </a:lnTo>
                    <a:lnTo>
                      <a:pt x="3332" y="1936"/>
                    </a:lnTo>
                    <a:lnTo>
                      <a:pt x="3320" y="1877"/>
                    </a:lnTo>
                    <a:lnTo>
                      <a:pt x="3310" y="1819"/>
                    </a:lnTo>
                    <a:lnTo>
                      <a:pt x="3302" y="1763"/>
                    </a:lnTo>
                    <a:lnTo>
                      <a:pt x="3295" y="1709"/>
                    </a:lnTo>
                    <a:lnTo>
                      <a:pt x="3290" y="1658"/>
                    </a:lnTo>
                    <a:lnTo>
                      <a:pt x="3287" y="1621"/>
                    </a:lnTo>
                    <a:lnTo>
                      <a:pt x="3283" y="1585"/>
                    </a:lnTo>
                    <a:lnTo>
                      <a:pt x="3282" y="1549"/>
                    </a:lnTo>
                    <a:lnTo>
                      <a:pt x="3280" y="1512"/>
                    </a:lnTo>
                    <a:lnTo>
                      <a:pt x="3279" y="1490"/>
                    </a:lnTo>
                    <a:lnTo>
                      <a:pt x="3278" y="1466"/>
                    </a:lnTo>
                    <a:lnTo>
                      <a:pt x="3277" y="1442"/>
                    </a:lnTo>
                    <a:lnTo>
                      <a:pt x="3275" y="1418"/>
                    </a:lnTo>
                    <a:lnTo>
                      <a:pt x="3274" y="1395"/>
                    </a:lnTo>
                    <a:lnTo>
                      <a:pt x="3272" y="1371"/>
                    </a:lnTo>
                    <a:lnTo>
                      <a:pt x="3268" y="1347"/>
                    </a:lnTo>
                    <a:lnTo>
                      <a:pt x="3265" y="1323"/>
                    </a:lnTo>
                    <a:lnTo>
                      <a:pt x="3259" y="1288"/>
                    </a:lnTo>
                    <a:lnTo>
                      <a:pt x="3251" y="1253"/>
                    </a:lnTo>
                    <a:lnTo>
                      <a:pt x="3242" y="1220"/>
                    </a:lnTo>
                    <a:lnTo>
                      <a:pt x="3232" y="1187"/>
                    </a:lnTo>
                    <a:lnTo>
                      <a:pt x="3220" y="1155"/>
                    </a:lnTo>
                    <a:lnTo>
                      <a:pt x="3208" y="1123"/>
                    </a:lnTo>
                    <a:lnTo>
                      <a:pt x="3195" y="1090"/>
                    </a:lnTo>
                    <a:lnTo>
                      <a:pt x="3182" y="1058"/>
                    </a:lnTo>
                    <a:lnTo>
                      <a:pt x="3177" y="1047"/>
                    </a:lnTo>
                    <a:lnTo>
                      <a:pt x="3172" y="1035"/>
                    </a:lnTo>
                    <a:lnTo>
                      <a:pt x="3168" y="1024"/>
                    </a:lnTo>
                    <a:lnTo>
                      <a:pt x="3163" y="1012"/>
                    </a:lnTo>
                    <a:lnTo>
                      <a:pt x="3152" y="987"/>
                    </a:lnTo>
                    <a:lnTo>
                      <a:pt x="3140" y="961"/>
                    </a:lnTo>
                    <a:lnTo>
                      <a:pt x="3127" y="935"/>
                    </a:lnTo>
                    <a:lnTo>
                      <a:pt x="3114" y="910"/>
                    </a:lnTo>
                    <a:lnTo>
                      <a:pt x="3099" y="884"/>
                    </a:lnTo>
                    <a:lnTo>
                      <a:pt x="3084" y="859"/>
                    </a:lnTo>
                    <a:lnTo>
                      <a:pt x="3069" y="834"/>
                    </a:lnTo>
                    <a:lnTo>
                      <a:pt x="3052" y="810"/>
                    </a:lnTo>
                    <a:lnTo>
                      <a:pt x="3020" y="761"/>
                    </a:lnTo>
                    <a:lnTo>
                      <a:pt x="2985" y="713"/>
                    </a:lnTo>
                    <a:lnTo>
                      <a:pt x="2950" y="666"/>
                    </a:lnTo>
                    <a:lnTo>
                      <a:pt x="2914" y="618"/>
                    </a:lnTo>
                    <a:lnTo>
                      <a:pt x="2898" y="597"/>
                    </a:lnTo>
                    <a:lnTo>
                      <a:pt x="2882" y="575"/>
                    </a:lnTo>
                    <a:lnTo>
                      <a:pt x="2866" y="554"/>
                    </a:lnTo>
                    <a:lnTo>
                      <a:pt x="2850" y="532"/>
                    </a:lnTo>
                    <a:lnTo>
                      <a:pt x="2846" y="528"/>
                    </a:lnTo>
                    <a:lnTo>
                      <a:pt x="2811" y="478"/>
                    </a:lnTo>
                    <a:lnTo>
                      <a:pt x="2774" y="430"/>
                    </a:lnTo>
                    <a:lnTo>
                      <a:pt x="2754" y="406"/>
                    </a:lnTo>
                    <a:lnTo>
                      <a:pt x="2736" y="382"/>
                    </a:lnTo>
                    <a:lnTo>
                      <a:pt x="2717" y="359"/>
                    </a:lnTo>
                    <a:lnTo>
                      <a:pt x="2697" y="338"/>
                    </a:lnTo>
                    <a:lnTo>
                      <a:pt x="2677" y="315"/>
                    </a:lnTo>
                    <a:lnTo>
                      <a:pt x="2656" y="295"/>
                    </a:lnTo>
                    <a:lnTo>
                      <a:pt x="2635" y="274"/>
                    </a:lnTo>
                    <a:lnTo>
                      <a:pt x="2612" y="255"/>
                    </a:lnTo>
                    <a:lnTo>
                      <a:pt x="2588" y="235"/>
                    </a:lnTo>
                    <a:lnTo>
                      <a:pt x="2564" y="217"/>
                    </a:lnTo>
                    <a:lnTo>
                      <a:pt x="2539" y="200"/>
                    </a:lnTo>
                    <a:lnTo>
                      <a:pt x="2512" y="183"/>
                    </a:lnTo>
                    <a:lnTo>
                      <a:pt x="2474" y="162"/>
                    </a:lnTo>
                    <a:lnTo>
                      <a:pt x="2433" y="142"/>
                    </a:lnTo>
                    <a:lnTo>
                      <a:pt x="2390" y="123"/>
                    </a:lnTo>
                    <a:lnTo>
                      <a:pt x="2347" y="107"/>
                    </a:lnTo>
                    <a:lnTo>
                      <a:pt x="2302" y="91"/>
                    </a:lnTo>
                    <a:lnTo>
                      <a:pt x="2255" y="78"/>
                    </a:lnTo>
                    <a:lnTo>
                      <a:pt x="2207" y="66"/>
                    </a:lnTo>
                    <a:lnTo>
                      <a:pt x="2157" y="55"/>
                    </a:lnTo>
                    <a:lnTo>
                      <a:pt x="2106" y="46"/>
                    </a:lnTo>
                    <a:lnTo>
                      <a:pt x="2055" y="39"/>
                    </a:lnTo>
                    <a:lnTo>
                      <a:pt x="2001" y="33"/>
                    </a:lnTo>
                    <a:lnTo>
                      <a:pt x="1946" y="29"/>
                    </a:lnTo>
                    <a:lnTo>
                      <a:pt x="1889" y="27"/>
                    </a:lnTo>
                    <a:lnTo>
                      <a:pt x="1832" y="27"/>
                    </a:lnTo>
                    <a:lnTo>
                      <a:pt x="1773" y="28"/>
                    </a:lnTo>
                    <a:lnTo>
                      <a:pt x="1712" y="30"/>
                    </a:lnTo>
                    <a:lnTo>
                      <a:pt x="1654" y="34"/>
                    </a:lnTo>
                    <a:lnTo>
                      <a:pt x="1596" y="40"/>
                    </a:lnTo>
                    <a:lnTo>
                      <a:pt x="1536" y="47"/>
                    </a:lnTo>
                    <a:lnTo>
                      <a:pt x="1478" y="55"/>
                    </a:lnTo>
                    <a:lnTo>
                      <a:pt x="1419" y="65"/>
                    </a:lnTo>
                    <a:lnTo>
                      <a:pt x="1359" y="77"/>
                    </a:lnTo>
                    <a:lnTo>
                      <a:pt x="1300" y="88"/>
                    </a:lnTo>
                    <a:lnTo>
                      <a:pt x="1239" y="102"/>
                    </a:lnTo>
                    <a:lnTo>
                      <a:pt x="1180" y="119"/>
                    </a:lnTo>
                    <a:lnTo>
                      <a:pt x="1121" y="135"/>
                    </a:lnTo>
                    <a:lnTo>
                      <a:pt x="1060" y="153"/>
                    </a:lnTo>
                    <a:lnTo>
                      <a:pt x="1000" y="173"/>
                    </a:lnTo>
                    <a:lnTo>
                      <a:pt x="940" y="194"/>
                    </a:lnTo>
                    <a:lnTo>
                      <a:pt x="880" y="216"/>
                    </a:lnTo>
                    <a:lnTo>
                      <a:pt x="819" y="240"/>
                    </a:lnTo>
                    <a:lnTo>
                      <a:pt x="759" y="264"/>
                    </a:lnTo>
                    <a:lnTo>
                      <a:pt x="732" y="277"/>
                    </a:lnTo>
                    <a:lnTo>
                      <a:pt x="704" y="294"/>
                    </a:lnTo>
                    <a:lnTo>
                      <a:pt x="676" y="311"/>
                    </a:lnTo>
                    <a:lnTo>
                      <a:pt x="647" y="330"/>
                    </a:lnTo>
                    <a:lnTo>
                      <a:pt x="616" y="352"/>
                    </a:lnTo>
                    <a:lnTo>
                      <a:pt x="587" y="374"/>
                    </a:lnTo>
                    <a:lnTo>
                      <a:pt x="557" y="399"/>
                    </a:lnTo>
                    <a:lnTo>
                      <a:pt x="527" y="426"/>
                    </a:lnTo>
                    <a:lnTo>
                      <a:pt x="496" y="453"/>
                    </a:lnTo>
                    <a:lnTo>
                      <a:pt x="466" y="481"/>
                    </a:lnTo>
                    <a:lnTo>
                      <a:pt x="436" y="512"/>
                    </a:lnTo>
                    <a:lnTo>
                      <a:pt x="407" y="541"/>
                    </a:lnTo>
                    <a:lnTo>
                      <a:pt x="349" y="602"/>
                    </a:lnTo>
                    <a:lnTo>
                      <a:pt x="293" y="664"/>
                    </a:lnTo>
                    <a:lnTo>
                      <a:pt x="242" y="725"/>
                    </a:lnTo>
                    <a:lnTo>
                      <a:pt x="193" y="784"/>
                    </a:lnTo>
                    <a:lnTo>
                      <a:pt x="149" y="839"/>
                    </a:lnTo>
                    <a:lnTo>
                      <a:pt x="110" y="888"/>
                    </a:lnTo>
                    <a:lnTo>
                      <a:pt x="79" y="932"/>
                    </a:lnTo>
                    <a:lnTo>
                      <a:pt x="54" y="967"/>
                    </a:lnTo>
                    <a:lnTo>
                      <a:pt x="36" y="993"/>
                    </a:lnTo>
                    <a:lnTo>
                      <a:pt x="27" y="10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60"/>
              <p:cNvSpPr>
                <a:spLocks/>
              </p:cNvSpPr>
              <p:nvPr userDrawn="1"/>
            </p:nvSpPr>
            <p:spPr bwMode="auto">
              <a:xfrm>
                <a:off x="1625" y="1657"/>
                <a:ext cx="1050" cy="713"/>
              </a:xfrm>
              <a:custGeom>
                <a:avLst/>
                <a:gdLst>
                  <a:gd name="T0" fmla="*/ 1172 w 3150"/>
                  <a:gd name="T1" fmla="*/ 2096 h 2140"/>
                  <a:gd name="T2" fmla="*/ 907 w 3150"/>
                  <a:gd name="T3" fmla="*/ 1938 h 2140"/>
                  <a:gd name="T4" fmla="*/ 607 w 3150"/>
                  <a:gd name="T5" fmla="*/ 1657 h 2140"/>
                  <a:gd name="T6" fmla="*/ 281 w 3150"/>
                  <a:gd name="T7" fmla="*/ 1280 h 2140"/>
                  <a:gd name="T8" fmla="*/ 35 w 3150"/>
                  <a:gd name="T9" fmla="*/ 981 h 2140"/>
                  <a:gd name="T10" fmla="*/ 22 w 3150"/>
                  <a:gd name="T11" fmla="*/ 4 h 2140"/>
                  <a:gd name="T12" fmla="*/ 212 w 3150"/>
                  <a:gd name="T13" fmla="*/ 1161 h 2140"/>
                  <a:gd name="T14" fmla="*/ 557 w 3150"/>
                  <a:gd name="T15" fmla="*/ 1562 h 2140"/>
                  <a:gd name="T16" fmla="*/ 939 w 3150"/>
                  <a:gd name="T17" fmla="*/ 1928 h 2140"/>
                  <a:gd name="T18" fmla="*/ 1219 w 3150"/>
                  <a:gd name="T19" fmla="*/ 2086 h 2140"/>
                  <a:gd name="T20" fmla="*/ 1429 w 3150"/>
                  <a:gd name="T21" fmla="*/ 2111 h 2140"/>
                  <a:gd name="T22" fmla="*/ 1700 w 3150"/>
                  <a:gd name="T23" fmla="*/ 2052 h 2140"/>
                  <a:gd name="T24" fmla="*/ 1966 w 3150"/>
                  <a:gd name="T25" fmla="*/ 1944 h 2140"/>
                  <a:gd name="T26" fmla="*/ 2203 w 3150"/>
                  <a:gd name="T27" fmla="*/ 1787 h 2140"/>
                  <a:gd name="T28" fmla="*/ 2417 w 3150"/>
                  <a:gd name="T29" fmla="*/ 1589 h 2140"/>
                  <a:gd name="T30" fmla="*/ 2626 w 3150"/>
                  <a:gd name="T31" fmla="*/ 1454 h 2140"/>
                  <a:gd name="T32" fmla="*/ 2835 w 3150"/>
                  <a:gd name="T33" fmla="*/ 1401 h 2140"/>
                  <a:gd name="T34" fmla="*/ 3005 w 3150"/>
                  <a:gd name="T35" fmla="*/ 1427 h 2140"/>
                  <a:gd name="T36" fmla="*/ 3114 w 3150"/>
                  <a:gd name="T37" fmla="*/ 1552 h 2140"/>
                  <a:gd name="T38" fmla="*/ 3094 w 3150"/>
                  <a:gd name="T39" fmla="*/ 1395 h 2140"/>
                  <a:gd name="T40" fmla="*/ 3038 w 3150"/>
                  <a:gd name="T41" fmla="*/ 1278 h 2140"/>
                  <a:gd name="T42" fmla="*/ 2902 w 3150"/>
                  <a:gd name="T43" fmla="*/ 1234 h 2140"/>
                  <a:gd name="T44" fmla="*/ 2737 w 3150"/>
                  <a:gd name="T45" fmla="*/ 1245 h 2140"/>
                  <a:gd name="T46" fmla="*/ 2487 w 3150"/>
                  <a:gd name="T47" fmla="*/ 1359 h 2140"/>
                  <a:gd name="T48" fmla="*/ 2111 w 3150"/>
                  <a:gd name="T49" fmla="*/ 1631 h 2140"/>
                  <a:gd name="T50" fmla="*/ 1839 w 3150"/>
                  <a:gd name="T51" fmla="*/ 1756 h 2140"/>
                  <a:gd name="T52" fmla="*/ 1449 w 3150"/>
                  <a:gd name="T53" fmla="*/ 1766 h 2140"/>
                  <a:gd name="T54" fmla="*/ 1106 w 3150"/>
                  <a:gd name="T55" fmla="*/ 1590 h 2140"/>
                  <a:gd name="T56" fmla="*/ 816 w 3150"/>
                  <a:gd name="T57" fmla="*/ 1231 h 2140"/>
                  <a:gd name="T58" fmla="*/ 619 w 3150"/>
                  <a:gd name="T59" fmla="*/ 779 h 2140"/>
                  <a:gd name="T60" fmla="*/ 573 w 3150"/>
                  <a:gd name="T61" fmla="*/ 454 h 2140"/>
                  <a:gd name="T62" fmla="*/ 606 w 3150"/>
                  <a:gd name="T63" fmla="*/ 244 h 2140"/>
                  <a:gd name="T64" fmla="*/ 649 w 3150"/>
                  <a:gd name="T65" fmla="*/ 208 h 2140"/>
                  <a:gd name="T66" fmla="*/ 605 w 3150"/>
                  <a:gd name="T67" fmla="*/ 378 h 2140"/>
                  <a:gd name="T68" fmla="*/ 613 w 3150"/>
                  <a:gd name="T69" fmla="*/ 617 h 2140"/>
                  <a:gd name="T70" fmla="*/ 741 w 3150"/>
                  <a:gd name="T71" fmla="*/ 1028 h 2140"/>
                  <a:gd name="T72" fmla="*/ 956 w 3150"/>
                  <a:gd name="T73" fmla="*/ 1391 h 2140"/>
                  <a:gd name="T74" fmla="*/ 1261 w 3150"/>
                  <a:gd name="T75" fmla="*/ 1664 h 2140"/>
                  <a:gd name="T76" fmla="*/ 1671 w 3150"/>
                  <a:gd name="T77" fmla="*/ 1755 h 2140"/>
                  <a:gd name="T78" fmla="*/ 2014 w 3150"/>
                  <a:gd name="T79" fmla="*/ 1657 h 2140"/>
                  <a:gd name="T80" fmla="*/ 2345 w 3150"/>
                  <a:gd name="T81" fmla="*/ 1426 h 2140"/>
                  <a:gd name="T82" fmla="*/ 2675 w 3150"/>
                  <a:gd name="T83" fmla="*/ 1236 h 2140"/>
                  <a:gd name="T84" fmla="*/ 2846 w 3150"/>
                  <a:gd name="T85" fmla="*/ 1203 h 2140"/>
                  <a:gd name="T86" fmla="*/ 3010 w 3150"/>
                  <a:gd name="T87" fmla="*/ 1234 h 2140"/>
                  <a:gd name="T88" fmla="*/ 3093 w 3150"/>
                  <a:gd name="T89" fmla="*/ 1298 h 2140"/>
                  <a:gd name="T90" fmla="*/ 3144 w 3150"/>
                  <a:gd name="T91" fmla="*/ 1504 h 2140"/>
                  <a:gd name="T92" fmla="*/ 3137 w 3150"/>
                  <a:gd name="T93" fmla="*/ 1754 h 2140"/>
                  <a:gd name="T94" fmla="*/ 3114 w 3150"/>
                  <a:gd name="T95" fmla="*/ 1808 h 2140"/>
                  <a:gd name="T96" fmla="*/ 3101 w 3150"/>
                  <a:gd name="T97" fmla="*/ 1678 h 2140"/>
                  <a:gd name="T98" fmla="*/ 3073 w 3150"/>
                  <a:gd name="T99" fmla="*/ 1524 h 2140"/>
                  <a:gd name="T100" fmla="*/ 2961 w 3150"/>
                  <a:gd name="T101" fmla="*/ 1439 h 2140"/>
                  <a:gd name="T102" fmla="*/ 2789 w 3150"/>
                  <a:gd name="T103" fmla="*/ 1434 h 2140"/>
                  <a:gd name="T104" fmla="*/ 2586 w 3150"/>
                  <a:gd name="T105" fmla="*/ 1503 h 2140"/>
                  <a:gd name="T106" fmla="*/ 2394 w 3150"/>
                  <a:gd name="T107" fmla="*/ 1648 h 2140"/>
                  <a:gd name="T108" fmla="*/ 2169 w 3150"/>
                  <a:gd name="T109" fmla="*/ 1848 h 2140"/>
                  <a:gd name="T110" fmla="*/ 1921 w 3150"/>
                  <a:gd name="T111" fmla="*/ 1996 h 2140"/>
                  <a:gd name="T112" fmla="*/ 1644 w 3150"/>
                  <a:gd name="T113" fmla="*/ 2096 h 2140"/>
                  <a:gd name="T114" fmla="*/ 1388 w 3150"/>
                  <a:gd name="T115" fmla="*/ 2140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50" h="2140">
                    <a:moveTo>
                      <a:pt x="1388" y="2140"/>
                    </a:moveTo>
                    <a:lnTo>
                      <a:pt x="1361" y="2139"/>
                    </a:lnTo>
                    <a:lnTo>
                      <a:pt x="1335" y="2137"/>
                    </a:lnTo>
                    <a:lnTo>
                      <a:pt x="1308" y="2134"/>
                    </a:lnTo>
                    <a:lnTo>
                      <a:pt x="1281" y="2130"/>
                    </a:lnTo>
                    <a:lnTo>
                      <a:pt x="1254" y="2123"/>
                    </a:lnTo>
                    <a:lnTo>
                      <a:pt x="1227" y="2115"/>
                    </a:lnTo>
                    <a:lnTo>
                      <a:pt x="1200" y="2107"/>
                    </a:lnTo>
                    <a:lnTo>
                      <a:pt x="1172" y="2096"/>
                    </a:lnTo>
                    <a:lnTo>
                      <a:pt x="1144" y="2084"/>
                    </a:lnTo>
                    <a:lnTo>
                      <a:pt x="1116" y="2071"/>
                    </a:lnTo>
                    <a:lnTo>
                      <a:pt x="1087" y="2057"/>
                    </a:lnTo>
                    <a:lnTo>
                      <a:pt x="1057" y="2041"/>
                    </a:lnTo>
                    <a:lnTo>
                      <a:pt x="1028" y="2023"/>
                    </a:lnTo>
                    <a:lnTo>
                      <a:pt x="998" y="2004"/>
                    </a:lnTo>
                    <a:lnTo>
                      <a:pt x="969" y="1984"/>
                    </a:lnTo>
                    <a:lnTo>
                      <a:pt x="938" y="1961"/>
                    </a:lnTo>
                    <a:lnTo>
                      <a:pt x="907" y="1938"/>
                    </a:lnTo>
                    <a:lnTo>
                      <a:pt x="876" y="1913"/>
                    </a:lnTo>
                    <a:lnTo>
                      <a:pt x="844" y="1887"/>
                    </a:lnTo>
                    <a:lnTo>
                      <a:pt x="811" y="1859"/>
                    </a:lnTo>
                    <a:lnTo>
                      <a:pt x="779" y="1828"/>
                    </a:lnTo>
                    <a:lnTo>
                      <a:pt x="745" y="1797"/>
                    </a:lnTo>
                    <a:lnTo>
                      <a:pt x="712" y="1765"/>
                    </a:lnTo>
                    <a:lnTo>
                      <a:pt x="677" y="1730"/>
                    </a:lnTo>
                    <a:lnTo>
                      <a:pt x="643" y="1694"/>
                    </a:lnTo>
                    <a:lnTo>
                      <a:pt x="607" y="1657"/>
                    </a:lnTo>
                    <a:lnTo>
                      <a:pt x="571" y="1618"/>
                    </a:lnTo>
                    <a:lnTo>
                      <a:pt x="535" y="1577"/>
                    </a:lnTo>
                    <a:lnTo>
                      <a:pt x="498" y="1535"/>
                    </a:lnTo>
                    <a:lnTo>
                      <a:pt x="460" y="1490"/>
                    </a:lnTo>
                    <a:lnTo>
                      <a:pt x="421" y="1445"/>
                    </a:lnTo>
                    <a:lnTo>
                      <a:pt x="383" y="1398"/>
                    </a:lnTo>
                    <a:lnTo>
                      <a:pt x="349" y="1358"/>
                    </a:lnTo>
                    <a:lnTo>
                      <a:pt x="316" y="1318"/>
                    </a:lnTo>
                    <a:lnTo>
                      <a:pt x="281" y="1280"/>
                    </a:lnTo>
                    <a:lnTo>
                      <a:pt x="248" y="1242"/>
                    </a:lnTo>
                    <a:lnTo>
                      <a:pt x="219" y="1210"/>
                    </a:lnTo>
                    <a:lnTo>
                      <a:pt x="190" y="1178"/>
                    </a:lnTo>
                    <a:lnTo>
                      <a:pt x="163" y="1146"/>
                    </a:lnTo>
                    <a:lnTo>
                      <a:pt x="135" y="1114"/>
                    </a:lnTo>
                    <a:lnTo>
                      <a:pt x="109" y="1081"/>
                    </a:lnTo>
                    <a:lnTo>
                      <a:pt x="83" y="1049"/>
                    </a:lnTo>
                    <a:lnTo>
                      <a:pt x="59" y="1015"/>
                    </a:lnTo>
                    <a:lnTo>
                      <a:pt x="35" y="981"/>
                    </a:lnTo>
                    <a:lnTo>
                      <a:pt x="34" y="978"/>
                    </a:lnTo>
                    <a:lnTo>
                      <a:pt x="33" y="974"/>
                    </a:lnTo>
                    <a:lnTo>
                      <a:pt x="0" y="14"/>
                    </a:lnTo>
                    <a:lnTo>
                      <a:pt x="0" y="8"/>
                    </a:lnTo>
                    <a:lnTo>
                      <a:pt x="4" y="4"/>
                    </a:lnTo>
                    <a:lnTo>
                      <a:pt x="8" y="2"/>
                    </a:lnTo>
                    <a:lnTo>
                      <a:pt x="13" y="0"/>
                    </a:lnTo>
                    <a:lnTo>
                      <a:pt x="18" y="1"/>
                    </a:lnTo>
                    <a:lnTo>
                      <a:pt x="22" y="4"/>
                    </a:lnTo>
                    <a:lnTo>
                      <a:pt x="25" y="8"/>
                    </a:lnTo>
                    <a:lnTo>
                      <a:pt x="27" y="13"/>
                    </a:lnTo>
                    <a:lnTo>
                      <a:pt x="60" y="969"/>
                    </a:lnTo>
                    <a:lnTo>
                      <a:pt x="83" y="1003"/>
                    </a:lnTo>
                    <a:lnTo>
                      <a:pt x="107" y="1035"/>
                    </a:lnTo>
                    <a:lnTo>
                      <a:pt x="132" y="1067"/>
                    </a:lnTo>
                    <a:lnTo>
                      <a:pt x="158" y="1099"/>
                    </a:lnTo>
                    <a:lnTo>
                      <a:pt x="185" y="1130"/>
                    </a:lnTo>
                    <a:lnTo>
                      <a:pt x="212" y="1161"/>
                    </a:lnTo>
                    <a:lnTo>
                      <a:pt x="240" y="1193"/>
                    </a:lnTo>
                    <a:lnTo>
                      <a:pt x="268" y="1224"/>
                    </a:lnTo>
                    <a:lnTo>
                      <a:pt x="302" y="1262"/>
                    </a:lnTo>
                    <a:lnTo>
                      <a:pt x="336" y="1300"/>
                    </a:lnTo>
                    <a:lnTo>
                      <a:pt x="370" y="1340"/>
                    </a:lnTo>
                    <a:lnTo>
                      <a:pt x="404" y="1380"/>
                    </a:lnTo>
                    <a:lnTo>
                      <a:pt x="456" y="1444"/>
                    </a:lnTo>
                    <a:lnTo>
                      <a:pt x="508" y="1504"/>
                    </a:lnTo>
                    <a:lnTo>
                      <a:pt x="557" y="1562"/>
                    </a:lnTo>
                    <a:lnTo>
                      <a:pt x="605" y="1615"/>
                    </a:lnTo>
                    <a:lnTo>
                      <a:pt x="652" y="1664"/>
                    </a:lnTo>
                    <a:lnTo>
                      <a:pt x="697" y="1711"/>
                    </a:lnTo>
                    <a:lnTo>
                      <a:pt x="741" y="1755"/>
                    </a:lnTo>
                    <a:lnTo>
                      <a:pt x="783" y="1795"/>
                    </a:lnTo>
                    <a:lnTo>
                      <a:pt x="824" y="1833"/>
                    </a:lnTo>
                    <a:lnTo>
                      <a:pt x="863" y="1867"/>
                    </a:lnTo>
                    <a:lnTo>
                      <a:pt x="901" y="1899"/>
                    </a:lnTo>
                    <a:lnTo>
                      <a:pt x="939" y="1928"/>
                    </a:lnTo>
                    <a:lnTo>
                      <a:pt x="974" y="1955"/>
                    </a:lnTo>
                    <a:lnTo>
                      <a:pt x="1009" y="1978"/>
                    </a:lnTo>
                    <a:lnTo>
                      <a:pt x="1042" y="2000"/>
                    </a:lnTo>
                    <a:lnTo>
                      <a:pt x="1074" y="2019"/>
                    </a:lnTo>
                    <a:lnTo>
                      <a:pt x="1105" y="2037"/>
                    </a:lnTo>
                    <a:lnTo>
                      <a:pt x="1135" y="2052"/>
                    </a:lnTo>
                    <a:lnTo>
                      <a:pt x="1164" y="2066"/>
                    </a:lnTo>
                    <a:lnTo>
                      <a:pt x="1192" y="2077"/>
                    </a:lnTo>
                    <a:lnTo>
                      <a:pt x="1219" y="2086"/>
                    </a:lnTo>
                    <a:lnTo>
                      <a:pt x="1246" y="2095"/>
                    </a:lnTo>
                    <a:lnTo>
                      <a:pt x="1271" y="2101"/>
                    </a:lnTo>
                    <a:lnTo>
                      <a:pt x="1296" y="2106"/>
                    </a:lnTo>
                    <a:lnTo>
                      <a:pt x="1320" y="2110"/>
                    </a:lnTo>
                    <a:lnTo>
                      <a:pt x="1344" y="2112"/>
                    </a:lnTo>
                    <a:lnTo>
                      <a:pt x="1365" y="2113"/>
                    </a:lnTo>
                    <a:lnTo>
                      <a:pt x="1388" y="2113"/>
                    </a:lnTo>
                    <a:lnTo>
                      <a:pt x="1408" y="2113"/>
                    </a:lnTo>
                    <a:lnTo>
                      <a:pt x="1429" y="2111"/>
                    </a:lnTo>
                    <a:lnTo>
                      <a:pt x="1449" y="2109"/>
                    </a:lnTo>
                    <a:lnTo>
                      <a:pt x="1469" y="2106"/>
                    </a:lnTo>
                    <a:lnTo>
                      <a:pt x="1503" y="2100"/>
                    </a:lnTo>
                    <a:lnTo>
                      <a:pt x="1537" y="2093"/>
                    </a:lnTo>
                    <a:lnTo>
                      <a:pt x="1570" y="2086"/>
                    </a:lnTo>
                    <a:lnTo>
                      <a:pt x="1604" y="2078"/>
                    </a:lnTo>
                    <a:lnTo>
                      <a:pt x="1636" y="2070"/>
                    </a:lnTo>
                    <a:lnTo>
                      <a:pt x="1669" y="2062"/>
                    </a:lnTo>
                    <a:lnTo>
                      <a:pt x="1700" y="2052"/>
                    </a:lnTo>
                    <a:lnTo>
                      <a:pt x="1731" y="2042"/>
                    </a:lnTo>
                    <a:lnTo>
                      <a:pt x="1763" y="2031"/>
                    </a:lnTo>
                    <a:lnTo>
                      <a:pt x="1793" y="2020"/>
                    </a:lnTo>
                    <a:lnTo>
                      <a:pt x="1822" y="2010"/>
                    </a:lnTo>
                    <a:lnTo>
                      <a:pt x="1852" y="1998"/>
                    </a:lnTo>
                    <a:lnTo>
                      <a:pt x="1880" y="1985"/>
                    </a:lnTo>
                    <a:lnTo>
                      <a:pt x="1909" y="1972"/>
                    </a:lnTo>
                    <a:lnTo>
                      <a:pt x="1937" y="1958"/>
                    </a:lnTo>
                    <a:lnTo>
                      <a:pt x="1966" y="1944"/>
                    </a:lnTo>
                    <a:lnTo>
                      <a:pt x="1994" y="1929"/>
                    </a:lnTo>
                    <a:lnTo>
                      <a:pt x="2021" y="1914"/>
                    </a:lnTo>
                    <a:lnTo>
                      <a:pt x="2048" y="1897"/>
                    </a:lnTo>
                    <a:lnTo>
                      <a:pt x="2075" y="1880"/>
                    </a:lnTo>
                    <a:lnTo>
                      <a:pt x="2101" y="1863"/>
                    </a:lnTo>
                    <a:lnTo>
                      <a:pt x="2126" y="1845"/>
                    </a:lnTo>
                    <a:lnTo>
                      <a:pt x="2152" y="1826"/>
                    </a:lnTo>
                    <a:lnTo>
                      <a:pt x="2178" y="1807"/>
                    </a:lnTo>
                    <a:lnTo>
                      <a:pt x="2203" y="1787"/>
                    </a:lnTo>
                    <a:lnTo>
                      <a:pt x="2228" y="1767"/>
                    </a:lnTo>
                    <a:lnTo>
                      <a:pt x="2253" y="1745"/>
                    </a:lnTo>
                    <a:lnTo>
                      <a:pt x="2278" y="1724"/>
                    </a:lnTo>
                    <a:lnTo>
                      <a:pt x="2302" y="1701"/>
                    </a:lnTo>
                    <a:lnTo>
                      <a:pt x="2326" y="1678"/>
                    </a:lnTo>
                    <a:lnTo>
                      <a:pt x="2351" y="1653"/>
                    </a:lnTo>
                    <a:lnTo>
                      <a:pt x="2375" y="1630"/>
                    </a:lnTo>
                    <a:lnTo>
                      <a:pt x="2395" y="1608"/>
                    </a:lnTo>
                    <a:lnTo>
                      <a:pt x="2417" y="1589"/>
                    </a:lnTo>
                    <a:lnTo>
                      <a:pt x="2438" y="1569"/>
                    </a:lnTo>
                    <a:lnTo>
                      <a:pt x="2461" y="1551"/>
                    </a:lnTo>
                    <a:lnTo>
                      <a:pt x="2484" y="1535"/>
                    </a:lnTo>
                    <a:lnTo>
                      <a:pt x="2508" y="1519"/>
                    </a:lnTo>
                    <a:lnTo>
                      <a:pt x="2530" y="1503"/>
                    </a:lnTo>
                    <a:lnTo>
                      <a:pt x="2554" y="1489"/>
                    </a:lnTo>
                    <a:lnTo>
                      <a:pt x="2578" y="1476"/>
                    </a:lnTo>
                    <a:lnTo>
                      <a:pt x="2602" y="1465"/>
                    </a:lnTo>
                    <a:lnTo>
                      <a:pt x="2626" y="1454"/>
                    </a:lnTo>
                    <a:lnTo>
                      <a:pt x="2650" y="1444"/>
                    </a:lnTo>
                    <a:lnTo>
                      <a:pt x="2674" y="1435"/>
                    </a:lnTo>
                    <a:lnTo>
                      <a:pt x="2698" y="1427"/>
                    </a:lnTo>
                    <a:lnTo>
                      <a:pt x="2721" y="1420"/>
                    </a:lnTo>
                    <a:lnTo>
                      <a:pt x="2745" y="1415"/>
                    </a:lnTo>
                    <a:lnTo>
                      <a:pt x="2768" y="1410"/>
                    </a:lnTo>
                    <a:lnTo>
                      <a:pt x="2791" y="1405"/>
                    </a:lnTo>
                    <a:lnTo>
                      <a:pt x="2813" y="1403"/>
                    </a:lnTo>
                    <a:lnTo>
                      <a:pt x="2835" y="1401"/>
                    </a:lnTo>
                    <a:lnTo>
                      <a:pt x="2856" y="1400"/>
                    </a:lnTo>
                    <a:lnTo>
                      <a:pt x="2878" y="1400"/>
                    </a:lnTo>
                    <a:lnTo>
                      <a:pt x="2898" y="1401"/>
                    </a:lnTo>
                    <a:lnTo>
                      <a:pt x="2918" y="1403"/>
                    </a:lnTo>
                    <a:lnTo>
                      <a:pt x="2937" y="1405"/>
                    </a:lnTo>
                    <a:lnTo>
                      <a:pt x="2956" y="1410"/>
                    </a:lnTo>
                    <a:lnTo>
                      <a:pt x="2973" y="1415"/>
                    </a:lnTo>
                    <a:lnTo>
                      <a:pt x="2990" y="1420"/>
                    </a:lnTo>
                    <a:lnTo>
                      <a:pt x="3005" y="1427"/>
                    </a:lnTo>
                    <a:lnTo>
                      <a:pt x="3021" y="1434"/>
                    </a:lnTo>
                    <a:lnTo>
                      <a:pt x="3035" y="1443"/>
                    </a:lnTo>
                    <a:lnTo>
                      <a:pt x="3048" y="1453"/>
                    </a:lnTo>
                    <a:lnTo>
                      <a:pt x="3064" y="1468"/>
                    </a:lnTo>
                    <a:lnTo>
                      <a:pt x="3078" y="1484"/>
                    </a:lnTo>
                    <a:lnTo>
                      <a:pt x="3090" y="1500"/>
                    </a:lnTo>
                    <a:lnTo>
                      <a:pt x="3099" y="1517"/>
                    </a:lnTo>
                    <a:lnTo>
                      <a:pt x="3108" y="1535"/>
                    </a:lnTo>
                    <a:lnTo>
                      <a:pt x="3114" y="1552"/>
                    </a:lnTo>
                    <a:lnTo>
                      <a:pt x="3120" y="1570"/>
                    </a:lnTo>
                    <a:lnTo>
                      <a:pt x="3123" y="1590"/>
                    </a:lnTo>
                    <a:lnTo>
                      <a:pt x="3122" y="1557"/>
                    </a:lnTo>
                    <a:lnTo>
                      <a:pt x="3119" y="1526"/>
                    </a:lnTo>
                    <a:lnTo>
                      <a:pt x="3116" y="1497"/>
                    </a:lnTo>
                    <a:lnTo>
                      <a:pt x="3110" y="1470"/>
                    </a:lnTo>
                    <a:lnTo>
                      <a:pt x="3106" y="1444"/>
                    </a:lnTo>
                    <a:lnTo>
                      <a:pt x="3099" y="1419"/>
                    </a:lnTo>
                    <a:lnTo>
                      <a:pt x="3094" y="1395"/>
                    </a:lnTo>
                    <a:lnTo>
                      <a:pt x="3089" y="1373"/>
                    </a:lnTo>
                    <a:lnTo>
                      <a:pt x="3081" y="1347"/>
                    </a:lnTo>
                    <a:lnTo>
                      <a:pt x="3079" y="1338"/>
                    </a:lnTo>
                    <a:lnTo>
                      <a:pt x="3073" y="1323"/>
                    </a:lnTo>
                    <a:lnTo>
                      <a:pt x="3069" y="1310"/>
                    </a:lnTo>
                    <a:lnTo>
                      <a:pt x="3065" y="1299"/>
                    </a:lnTo>
                    <a:lnTo>
                      <a:pt x="3057" y="1292"/>
                    </a:lnTo>
                    <a:lnTo>
                      <a:pt x="3049" y="1285"/>
                    </a:lnTo>
                    <a:lnTo>
                      <a:pt x="3038" y="1278"/>
                    </a:lnTo>
                    <a:lnTo>
                      <a:pt x="3026" y="1271"/>
                    </a:lnTo>
                    <a:lnTo>
                      <a:pt x="3014" y="1265"/>
                    </a:lnTo>
                    <a:lnTo>
                      <a:pt x="3000" y="1259"/>
                    </a:lnTo>
                    <a:lnTo>
                      <a:pt x="2985" y="1253"/>
                    </a:lnTo>
                    <a:lnTo>
                      <a:pt x="2970" y="1249"/>
                    </a:lnTo>
                    <a:lnTo>
                      <a:pt x="2954" y="1243"/>
                    </a:lnTo>
                    <a:lnTo>
                      <a:pt x="2937" y="1240"/>
                    </a:lnTo>
                    <a:lnTo>
                      <a:pt x="2920" y="1237"/>
                    </a:lnTo>
                    <a:lnTo>
                      <a:pt x="2902" y="1234"/>
                    </a:lnTo>
                    <a:lnTo>
                      <a:pt x="2884" y="1231"/>
                    </a:lnTo>
                    <a:lnTo>
                      <a:pt x="2866" y="1230"/>
                    </a:lnTo>
                    <a:lnTo>
                      <a:pt x="2848" y="1230"/>
                    </a:lnTo>
                    <a:lnTo>
                      <a:pt x="2829" y="1231"/>
                    </a:lnTo>
                    <a:lnTo>
                      <a:pt x="2810" y="1234"/>
                    </a:lnTo>
                    <a:lnTo>
                      <a:pt x="2792" y="1236"/>
                    </a:lnTo>
                    <a:lnTo>
                      <a:pt x="2772" y="1238"/>
                    </a:lnTo>
                    <a:lnTo>
                      <a:pt x="2755" y="1242"/>
                    </a:lnTo>
                    <a:lnTo>
                      <a:pt x="2737" y="1245"/>
                    </a:lnTo>
                    <a:lnTo>
                      <a:pt x="2718" y="1251"/>
                    </a:lnTo>
                    <a:lnTo>
                      <a:pt x="2701" y="1255"/>
                    </a:lnTo>
                    <a:lnTo>
                      <a:pt x="2684" y="1261"/>
                    </a:lnTo>
                    <a:lnTo>
                      <a:pt x="2649" y="1273"/>
                    </a:lnTo>
                    <a:lnTo>
                      <a:pt x="2616" y="1288"/>
                    </a:lnTo>
                    <a:lnTo>
                      <a:pt x="2583" y="1304"/>
                    </a:lnTo>
                    <a:lnTo>
                      <a:pt x="2551" y="1321"/>
                    </a:lnTo>
                    <a:lnTo>
                      <a:pt x="2518" y="1339"/>
                    </a:lnTo>
                    <a:lnTo>
                      <a:pt x="2487" y="1359"/>
                    </a:lnTo>
                    <a:lnTo>
                      <a:pt x="2456" y="1379"/>
                    </a:lnTo>
                    <a:lnTo>
                      <a:pt x="2424" y="1401"/>
                    </a:lnTo>
                    <a:lnTo>
                      <a:pt x="2362" y="1446"/>
                    </a:lnTo>
                    <a:lnTo>
                      <a:pt x="2300" y="1494"/>
                    </a:lnTo>
                    <a:lnTo>
                      <a:pt x="2247" y="1534"/>
                    </a:lnTo>
                    <a:lnTo>
                      <a:pt x="2193" y="1574"/>
                    </a:lnTo>
                    <a:lnTo>
                      <a:pt x="2166" y="1593"/>
                    </a:lnTo>
                    <a:lnTo>
                      <a:pt x="2139" y="1612"/>
                    </a:lnTo>
                    <a:lnTo>
                      <a:pt x="2111" y="1631"/>
                    </a:lnTo>
                    <a:lnTo>
                      <a:pt x="2083" y="1648"/>
                    </a:lnTo>
                    <a:lnTo>
                      <a:pt x="2054" y="1665"/>
                    </a:lnTo>
                    <a:lnTo>
                      <a:pt x="2026" y="1682"/>
                    </a:lnTo>
                    <a:lnTo>
                      <a:pt x="1996" y="1697"/>
                    </a:lnTo>
                    <a:lnTo>
                      <a:pt x="1966" y="1711"/>
                    </a:lnTo>
                    <a:lnTo>
                      <a:pt x="1935" y="1724"/>
                    </a:lnTo>
                    <a:lnTo>
                      <a:pt x="1904" y="1736"/>
                    </a:lnTo>
                    <a:lnTo>
                      <a:pt x="1872" y="1746"/>
                    </a:lnTo>
                    <a:lnTo>
                      <a:pt x="1839" y="1756"/>
                    </a:lnTo>
                    <a:lnTo>
                      <a:pt x="1794" y="1766"/>
                    </a:lnTo>
                    <a:lnTo>
                      <a:pt x="1748" y="1774"/>
                    </a:lnTo>
                    <a:lnTo>
                      <a:pt x="1704" y="1780"/>
                    </a:lnTo>
                    <a:lnTo>
                      <a:pt x="1661" y="1783"/>
                    </a:lnTo>
                    <a:lnTo>
                      <a:pt x="1617" y="1784"/>
                    </a:lnTo>
                    <a:lnTo>
                      <a:pt x="1575" y="1783"/>
                    </a:lnTo>
                    <a:lnTo>
                      <a:pt x="1533" y="1780"/>
                    </a:lnTo>
                    <a:lnTo>
                      <a:pt x="1490" y="1773"/>
                    </a:lnTo>
                    <a:lnTo>
                      <a:pt x="1449" y="1766"/>
                    </a:lnTo>
                    <a:lnTo>
                      <a:pt x="1409" y="1755"/>
                    </a:lnTo>
                    <a:lnTo>
                      <a:pt x="1369" y="1742"/>
                    </a:lnTo>
                    <a:lnTo>
                      <a:pt x="1330" y="1727"/>
                    </a:lnTo>
                    <a:lnTo>
                      <a:pt x="1291" y="1710"/>
                    </a:lnTo>
                    <a:lnTo>
                      <a:pt x="1253" y="1690"/>
                    </a:lnTo>
                    <a:lnTo>
                      <a:pt x="1215" y="1669"/>
                    </a:lnTo>
                    <a:lnTo>
                      <a:pt x="1178" y="1645"/>
                    </a:lnTo>
                    <a:lnTo>
                      <a:pt x="1142" y="1618"/>
                    </a:lnTo>
                    <a:lnTo>
                      <a:pt x="1106" y="1590"/>
                    </a:lnTo>
                    <a:lnTo>
                      <a:pt x="1071" y="1558"/>
                    </a:lnTo>
                    <a:lnTo>
                      <a:pt x="1037" y="1525"/>
                    </a:lnTo>
                    <a:lnTo>
                      <a:pt x="1003" y="1490"/>
                    </a:lnTo>
                    <a:lnTo>
                      <a:pt x="971" y="1453"/>
                    </a:lnTo>
                    <a:lnTo>
                      <a:pt x="939" y="1413"/>
                    </a:lnTo>
                    <a:lnTo>
                      <a:pt x="906" y="1371"/>
                    </a:lnTo>
                    <a:lnTo>
                      <a:pt x="876" y="1326"/>
                    </a:lnTo>
                    <a:lnTo>
                      <a:pt x="846" y="1280"/>
                    </a:lnTo>
                    <a:lnTo>
                      <a:pt x="816" y="1231"/>
                    </a:lnTo>
                    <a:lnTo>
                      <a:pt x="787" y="1181"/>
                    </a:lnTo>
                    <a:lnTo>
                      <a:pt x="759" y="1128"/>
                    </a:lnTo>
                    <a:lnTo>
                      <a:pt x="732" y="1073"/>
                    </a:lnTo>
                    <a:lnTo>
                      <a:pt x="705" y="1015"/>
                    </a:lnTo>
                    <a:lnTo>
                      <a:pt x="679" y="956"/>
                    </a:lnTo>
                    <a:lnTo>
                      <a:pt x="663" y="915"/>
                    </a:lnTo>
                    <a:lnTo>
                      <a:pt x="647" y="871"/>
                    </a:lnTo>
                    <a:lnTo>
                      <a:pt x="632" y="826"/>
                    </a:lnTo>
                    <a:lnTo>
                      <a:pt x="619" y="779"/>
                    </a:lnTo>
                    <a:lnTo>
                      <a:pt x="606" y="731"/>
                    </a:lnTo>
                    <a:lnTo>
                      <a:pt x="595" y="681"/>
                    </a:lnTo>
                    <a:lnTo>
                      <a:pt x="587" y="630"/>
                    </a:lnTo>
                    <a:lnTo>
                      <a:pt x="580" y="579"/>
                    </a:lnTo>
                    <a:lnTo>
                      <a:pt x="577" y="555"/>
                    </a:lnTo>
                    <a:lnTo>
                      <a:pt x="575" y="530"/>
                    </a:lnTo>
                    <a:lnTo>
                      <a:pt x="574" y="504"/>
                    </a:lnTo>
                    <a:lnTo>
                      <a:pt x="573" y="479"/>
                    </a:lnTo>
                    <a:lnTo>
                      <a:pt x="573" y="454"/>
                    </a:lnTo>
                    <a:lnTo>
                      <a:pt x="574" y="429"/>
                    </a:lnTo>
                    <a:lnTo>
                      <a:pt x="575" y="405"/>
                    </a:lnTo>
                    <a:lnTo>
                      <a:pt x="577" y="381"/>
                    </a:lnTo>
                    <a:lnTo>
                      <a:pt x="580" y="357"/>
                    </a:lnTo>
                    <a:lnTo>
                      <a:pt x="583" y="333"/>
                    </a:lnTo>
                    <a:lnTo>
                      <a:pt x="588" y="310"/>
                    </a:lnTo>
                    <a:lnTo>
                      <a:pt x="593" y="287"/>
                    </a:lnTo>
                    <a:lnTo>
                      <a:pt x="600" y="265"/>
                    </a:lnTo>
                    <a:lnTo>
                      <a:pt x="606" y="244"/>
                    </a:lnTo>
                    <a:lnTo>
                      <a:pt x="615" y="222"/>
                    </a:lnTo>
                    <a:lnTo>
                      <a:pt x="623" y="202"/>
                    </a:lnTo>
                    <a:lnTo>
                      <a:pt x="627" y="197"/>
                    </a:lnTo>
                    <a:lnTo>
                      <a:pt x="631" y="194"/>
                    </a:lnTo>
                    <a:lnTo>
                      <a:pt x="636" y="194"/>
                    </a:lnTo>
                    <a:lnTo>
                      <a:pt x="642" y="195"/>
                    </a:lnTo>
                    <a:lnTo>
                      <a:pt x="646" y="198"/>
                    </a:lnTo>
                    <a:lnTo>
                      <a:pt x="648" y="203"/>
                    </a:lnTo>
                    <a:lnTo>
                      <a:pt x="649" y="208"/>
                    </a:lnTo>
                    <a:lnTo>
                      <a:pt x="648" y="213"/>
                    </a:lnTo>
                    <a:lnTo>
                      <a:pt x="640" y="232"/>
                    </a:lnTo>
                    <a:lnTo>
                      <a:pt x="632" y="251"/>
                    </a:lnTo>
                    <a:lnTo>
                      <a:pt x="625" y="271"/>
                    </a:lnTo>
                    <a:lnTo>
                      <a:pt x="620" y="291"/>
                    </a:lnTo>
                    <a:lnTo>
                      <a:pt x="616" y="312"/>
                    </a:lnTo>
                    <a:lnTo>
                      <a:pt x="611" y="333"/>
                    </a:lnTo>
                    <a:lnTo>
                      <a:pt x="607" y="356"/>
                    </a:lnTo>
                    <a:lnTo>
                      <a:pt x="605" y="378"/>
                    </a:lnTo>
                    <a:lnTo>
                      <a:pt x="603" y="401"/>
                    </a:lnTo>
                    <a:lnTo>
                      <a:pt x="602" y="424"/>
                    </a:lnTo>
                    <a:lnTo>
                      <a:pt x="601" y="448"/>
                    </a:lnTo>
                    <a:lnTo>
                      <a:pt x="601" y="471"/>
                    </a:lnTo>
                    <a:lnTo>
                      <a:pt x="602" y="495"/>
                    </a:lnTo>
                    <a:lnTo>
                      <a:pt x="603" y="519"/>
                    </a:lnTo>
                    <a:lnTo>
                      <a:pt x="604" y="544"/>
                    </a:lnTo>
                    <a:lnTo>
                      <a:pt x="606" y="569"/>
                    </a:lnTo>
                    <a:lnTo>
                      <a:pt x="613" y="617"/>
                    </a:lnTo>
                    <a:lnTo>
                      <a:pt x="621" y="667"/>
                    </a:lnTo>
                    <a:lnTo>
                      <a:pt x="631" y="715"/>
                    </a:lnTo>
                    <a:lnTo>
                      <a:pt x="643" y="764"/>
                    </a:lnTo>
                    <a:lnTo>
                      <a:pt x="657" y="811"/>
                    </a:lnTo>
                    <a:lnTo>
                      <a:pt x="671" y="858"/>
                    </a:lnTo>
                    <a:lnTo>
                      <a:pt x="687" y="902"/>
                    </a:lnTo>
                    <a:lnTo>
                      <a:pt x="704" y="945"/>
                    </a:lnTo>
                    <a:lnTo>
                      <a:pt x="723" y="987"/>
                    </a:lnTo>
                    <a:lnTo>
                      <a:pt x="741" y="1028"/>
                    </a:lnTo>
                    <a:lnTo>
                      <a:pt x="760" y="1071"/>
                    </a:lnTo>
                    <a:lnTo>
                      <a:pt x="782" y="1112"/>
                    </a:lnTo>
                    <a:lnTo>
                      <a:pt x="804" y="1154"/>
                    </a:lnTo>
                    <a:lnTo>
                      <a:pt x="826" y="1195"/>
                    </a:lnTo>
                    <a:lnTo>
                      <a:pt x="850" y="1236"/>
                    </a:lnTo>
                    <a:lnTo>
                      <a:pt x="875" y="1276"/>
                    </a:lnTo>
                    <a:lnTo>
                      <a:pt x="901" y="1315"/>
                    </a:lnTo>
                    <a:lnTo>
                      <a:pt x="928" y="1353"/>
                    </a:lnTo>
                    <a:lnTo>
                      <a:pt x="956" y="1391"/>
                    </a:lnTo>
                    <a:lnTo>
                      <a:pt x="985" y="1427"/>
                    </a:lnTo>
                    <a:lnTo>
                      <a:pt x="1015" y="1462"/>
                    </a:lnTo>
                    <a:lnTo>
                      <a:pt x="1048" y="1496"/>
                    </a:lnTo>
                    <a:lnTo>
                      <a:pt x="1080" y="1528"/>
                    </a:lnTo>
                    <a:lnTo>
                      <a:pt x="1114" y="1560"/>
                    </a:lnTo>
                    <a:lnTo>
                      <a:pt x="1149" y="1589"/>
                    </a:lnTo>
                    <a:lnTo>
                      <a:pt x="1186" y="1616"/>
                    </a:lnTo>
                    <a:lnTo>
                      <a:pt x="1223" y="1641"/>
                    </a:lnTo>
                    <a:lnTo>
                      <a:pt x="1261" y="1664"/>
                    </a:lnTo>
                    <a:lnTo>
                      <a:pt x="1303" y="1685"/>
                    </a:lnTo>
                    <a:lnTo>
                      <a:pt x="1344" y="1703"/>
                    </a:lnTo>
                    <a:lnTo>
                      <a:pt x="1386" y="1719"/>
                    </a:lnTo>
                    <a:lnTo>
                      <a:pt x="1430" y="1732"/>
                    </a:lnTo>
                    <a:lnTo>
                      <a:pt x="1475" y="1743"/>
                    </a:lnTo>
                    <a:lnTo>
                      <a:pt x="1523" y="1751"/>
                    </a:lnTo>
                    <a:lnTo>
                      <a:pt x="1570" y="1756"/>
                    </a:lnTo>
                    <a:lnTo>
                      <a:pt x="1620" y="1757"/>
                    </a:lnTo>
                    <a:lnTo>
                      <a:pt x="1671" y="1755"/>
                    </a:lnTo>
                    <a:lnTo>
                      <a:pt x="1724" y="1751"/>
                    </a:lnTo>
                    <a:lnTo>
                      <a:pt x="1778" y="1742"/>
                    </a:lnTo>
                    <a:lnTo>
                      <a:pt x="1833" y="1729"/>
                    </a:lnTo>
                    <a:lnTo>
                      <a:pt x="1864" y="1720"/>
                    </a:lnTo>
                    <a:lnTo>
                      <a:pt x="1895" y="1711"/>
                    </a:lnTo>
                    <a:lnTo>
                      <a:pt x="1926" y="1699"/>
                    </a:lnTo>
                    <a:lnTo>
                      <a:pt x="1956" y="1686"/>
                    </a:lnTo>
                    <a:lnTo>
                      <a:pt x="1985" y="1672"/>
                    </a:lnTo>
                    <a:lnTo>
                      <a:pt x="2014" y="1657"/>
                    </a:lnTo>
                    <a:lnTo>
                      <a:pt x="2042" y="1641"/>
                    </a:lnTo>
                    <a:lnTo>
                      <a:pt x="2070" y="1624"/>
                    </a:lnTo>
                    <a:lnTo>
                      <a:pt x="2098" y="1607"/>
                    </a:lnTo>
                    <a:lnTo>
                      <a:pt x="2125" y="1589"/>
                    </a:lnTo>
                    <a:lnTo>
                      <a:pt x="2152" y="1570"/>
                    </a:lnTo>
                    <a:lnTo>
                      <a:pt x="2179" y="1551"/>
                    </a:lnTo>
                    <a:lnTo>
                      <a:pt x="2231" y="1512"/>
                    </a:lnTo>
                    <a:lnTo>
                      <a:pt x="2284" y="1472"/>
                    </a:lnTo>
                    <a:lnTo>
                      <a:pt x="2345" y="1426"/>
                    </a:lnTo>
                    <a:lnTo>
                      <a:pt x="2407" y="1380"/>
                    </a:lnTo>
                    <a:lnTo>
                      <a:pt x="2438" y="1359"/>
                    </a:lnTo>
                    <a:lnTo>
                      <a:pt x="2471" y="1337"/>
                    </a:lnTo>
                    <a:lnTo>
                      <a:pt x="2503" y="1317"/>
                    </a:lnTo>
                    <a:lnTo>
                      <a:pt x="2537" y="1297"/>
                    </a:lnTo>
                    <a:lnTo>
                      <a:pt x="2570" y="1280"/>
                    </a:lnTo>
                    <a:lnTo>
                      <a:pt x="2605" y="1264"/>
                    </a:lnTo>
                    <a:lnTo>
                      <a:pt x="2639" y="1249"/>
                    </a:lnTo>
                    <a:lnTo>
                      <a:pt x="2675" y="1236"/>
                    </a:lnTo>
                    <a:lnTo>
                      <a:pt x="2693" y="1229"/>
                    </a:lnTo>
                    <a:lnTo>
                      <a:pt x="2712" y="1224"/>
                    </a:lnTo>
                    <a:lnTo>
                      <a:pt x="2730" y="1220"/>
                    </a:lnTo>
                    <a:lnTo>
                      <a:pt x="2749" y="1215"/>
                    </a:lnTo>
                    <a:lnTo>
                      <a:pt x="2769" y="1212"/>
                    </a:lnTo>
                    <a:lnTo>
                      <a:pt x="2787" y="1209"/>
                    </a:lnTo>
                    <a:lnTo>
                      <a:pt x="2807" y="1207"/>
                    </a:lnTo>
                    <a:lnTo>
                      <a:pt x="2827" y="1204"/>
                    </a:lnTo>
                    <a:lnTo>
                      <a:pt x="2846" y="1203"/>
                    </a:lnTo>
                    <a:lnTo>
                      <a:pt x="2865" y="1203"/>
                    </a:lnTo>
                    <a:lnTo>
                      <a:pt x="2883" y="1204"/>
                    </a:lnTo>
                    <a:lnTo>
                      <a:pt x="2903" y="1207"/>
                    </a:lnTo>
                    <a:lnTo>
                      <a:pt x="2921" y="1210"/>
                    </a:lnTo>
                    <a:lnTo>
                      <a:pt x="2941" y="1213"/>
                    </a:lnTo>
                    <a:lnTo>
                      <a:pt x="2959" y="1217"/>
                    </a:lnTo>
                    <a:lnTo>
                      <a:pt x="2976" y="1222"/>
                    </a:lnTo>
                    <a:lnTo>
                      <a:pt x="2994" y="1228"/>
                    </a:lnTo>
                    <a:lnTo>
                      <a:pt x="3010" y="1234"/>
                    </a:lnTo>
                    <a:lnTo>
                      <a:pt x="3026" y="1241"/>
                    </a:lnTo>
                    <a:lnTo>
                      <a:pt x="3040" y="1249"/>
                    </a:lnTo>
                    <a:lnTo>
                      <a:pt x="3054" y="1256"/>
                    </a:lnTo>
                    <a:lnTo>
                      <a:pt x="3066" y="1265"/>
                    </a:lnTo>
                    <a:lnTo>
                      <a:pt x="3078" y="1273"/>
                    </a:lnTo>
                    <a:lnTo>
                      <a:pt x="3087" y="1283"/>
                    </a:lnTo>
                    <a:lnTo>
                      <a:pt x="3089" y="1286"/>
                    </a:lnTo>
                    <a:lnTo>
                      <a:pt x="3091" y="1290"/>
                    </a:lnTo>
                    <a:lnTo>
                      <a:pt x="3093" y="1298"/>
                    </a:lnTo>
                    <a:lnTo>
                      <a:pt x="3099" y="1315"/>
                    </a:lnTo>
                    <a:lnTo>
                      <a:pt x="3105" y="1331"/>
                    </a:lnTo>
                    <a:lnTo>
                      <a:pt x="3108" y="1339"/>
                    </a:lnTo>
                    <a:lnTo>
                      <a:pt x="3114" y="1366"/>
                    </a:lnTo>
                    <a:lnTo>
                      <a:pt x="3123" y="1402"/>
                    </a:lnTo>
                    <a:lnTo>
                      <a:pt x="3133" y="1441"/>
                    </a:lnTo>
                    <a:lnTo>
                      <a:pt x="3136" y="1461"/>
                    </a:lnTo>
                    <a:lnTo>
                      <a:pt x="3140" y="1483"/>
                    </a:lnTo>
                    <a:lnTo>
                      <a:pt x="3144" y="1504"/>
                    </a:lnTo>
                    <a:lnTo>
                      <a:pt x="3147" y="1527"/>
                    </a:lnTo>
                    <a:lnTo>
                      <a:pt x="3149" y="1552"/>
                    </a:lnTo>
                    <a:lnTo>
                      <a:pt x="3150" y="1577"/>
                    </a:lnTo>
                    <a:lnTo>
                      <a:pt x="3150" y="1604"/>
                    </a:lnTo>
                    <a:lnTo>
                      <a:pt x="3150" y="1631"/>
                    </a:lnTo>
                    <a:lnTo>
                      <a:pt x="3149" y="1660"/>
                    </a:lnTo>
                    <a:lnTo>
                      <a:pt x="3146" y="1690"/>
                    </a:lnTo>
                    <a:lnTo>
                      <a:pt x="3143" y="1721"/>
                    </a:lnTo>
                    <a:lnTo>
                      <a:pt x="3137" y="1754"/>
                    </a:lnTo>
                    <a:lnTo>
                      <a:pt x="3135" y="1764"/>
                    </a:lnTo>
                    <a:lnTo>
                      <a:pt x="3134" y="1773"/>
                    </a:lnTo>
                    <a:lnTo>
                      <a:pt x="3132" y="1782"/>
                    </a:lnTo>
                    <a:lnTo>
                      <a:pt x="3130" y="1792"/>
                    </a:lnTo>
                    <a:lnTo>
                      <a:pt x="3128" y="1797"/>
                    </a:lnTo>
                    <a:lnTo>
                      <a:pt x="3126" y="1802"/>
                    </a:lnTo>
                    <a:lnTo>
                      <a:pt x="3123" y="1806"/>
                    </a:lnTo>
                    <a:lnTo>
                      <a:pt x="3119" y="1808"/>
                    </a:lnTo>
                    <a:lnTo>
                      <a:pt x="3114" y="1808"/>
                    </a:lnTo>
                    <a:lnTo>
                      <a:pt x="3109" y="1807"/>
                    </a:lnTo>
                    <a:lnTo>
                      <a:pt x="3106" y="1804"/>
                    </a:lnTo>
                    <a:lnTo>
                      <a:pt x="3103" y="1800"/>
                    </a:lnTo>
                    <a:lnTo>
                      <a:pt x="3101" y="1795"/>
                    </a:lnTo>
                    <a:lnTo>
                      <a:pt x="3100" y="1774"/>
                    </a:lnTo>
                    <a:lnTo>
                      <a:pt x="3100" y="1754"/>
                    </a:lnTo>
                    <a:lnTo>
                      <a:pt x="3100" y="1733"/>
                    </a:lnTo>
                    <a:lnTo>
                      <a:pt x="3101" y="1712"/>
                    </a:lnTo>
                    <a:lnTo>
                      <a:pt x="3101" y="1678"/>
                    </a:lnTo>
                    <a:lnTo>
                      <a:pt x="3101" y="1646"/>
                    </a:lnTo>
                    <a:lnTo>
                      <a:pt x="3100" y="1629"/>
                    </a:lnTo>
                    <a:lnTo>
                      <a:pt x="3099" y="1614"/>
                    </a:lnTo>
                    <a:lnTo>
                      <a:pt x="3097" y="1597"/>
                    </a:lnTo>
                    <a:lnTo>
                      <a:pt x="3094" y="1582"/>
                    </a:lnTo>
                    <a:lnTo>
                      <a:pt x="3091" y="1567"/>
                    </a:lnTo>
                    <a:lnTo>
                      <a:pt x="3086" y="1552"/>
                    </a:lnTo>
                    <a:lnTo>
                      <a:pt x="3080" y="1538"/>
                    </a:lnTo>
                    <a:lnTo>
                      <a:pt x="3073" y="1524"/>
                    </a:lnTo>
                    <a:lnTo>
                      <a:pt x="3065" y="1511"/>
                    </a:lnTo>
                    <a:lnTo>
                      <a:pt x="3055" y="1498"/>
                    </a:lnTo>
                    <a:lnTo>
                      <a:pt x="3043" y="1486"/>
                    </a:lnTo>
                    <a:lnTo>
                      <a:pt x="3030" y="1474"/>
                    </a:lnTo>
                    <a:lnTo>
                      <a:pt x="3018" y="1465"/>
                    </a:lnTo>
                    <a:lnTo>
                      <a:pt x="3005" y="1457"/>
                    </a:lnTo>
                    <a:lnTo>
                      <a:pt x="2991" y="1451"/>
                    </a:lnTo>
                    <a:lnTo>
                      <a:pt x="2977" y="1444"/>
                    </a:lnTo>
                    <a:lnTo>
                      <a:pt x="2961" y="1439"/>
                    </a:lnTo>
                    <a:lnTo>
                      <a:pt x="2945" y="1435"/>
                    </a:lnTo>
                    <a:lnTo>
                      <a:pt x="2928" y="1431"/>
                    </a:lnTo>
                    <a:lnTo>
                      <a:pt x="2909" y="1429"/>
                    </a:lnTo>
                    <a:lnTo>
                      <a:pt x="2891" y="1428"/>
                    </a:lnTo>
                    <a:lnTo>
                      <a:pt x="2871" y="1427"/>
                    </a:lnTo>
                    <a:lnTo>
                      <a:pt x="2852" y="1428"/>
                    </a:lnTo>
                    <a:lnTo>
                      <a:pt x="2832" y="1429"/>
                    </a:lnTo>
                    <a:lnTo>
                      <a:pt x="2810" y="1431"/>
                    </a:lnTo>
                    <a:lnTo>
                      <a:pt x="2789" y="1434"/>
                    </a:lnTo>
                    <a:lnTo>
                      <a:pt x="2767" y="1438"/>
                    </a:lnTo>
                    <a:lnTo>
                      <a:pt x="2745" y="1443"/>
                    </a:lnTo>
                    <a:lnTo>
                      <a:pt x="2722" y="1448"/>
                    </a:lnTo>
                    <a:lnTo>
                      <a:pt x="2701" y="1456"/>
                    </a:lnTo>
                    <a:lnTo>
                      <a:pt x="2678" y="1463"/>
                    </a:lnTo>
                    <a:lnTo>
                      <a:pt x="2656" y="1472"/>
                    </a:lnTo>
                    <a:lnTo>
                      <a:pt x="2632" y="1482"/>
                    </a:lnTo>
                    <a:lnTo>
                      <a:pt x="2609" y="1492"/>
                    </a:lnTo>
                    <a:lnTo>
                      <a:pt x="2586" y="1503"/>
                    </a:lnTo>
                    <a:lnTo>
                      <a:pt x="2564" y="1515"/>
                    </a:lnTo>
                    <a:lnTo>
                      <a:pt x="2542" y="1529"/>
                    </a:lnTo>
                    <a:lnTo>
                      <a:pt x="2519" y="1543"/>
                    </a:lnTo>
                    <a:lnTo>
                      <a:pt x="2498" y="1558"/>
                    </a:lnTo>
                    <a:lnTo>
                      <a:pt x="2476" y="1575"/>
                    </a:lnTo>
                    <a:lnTo>
                      <a:pt x="2455" y="1592"/>
                    </a:lnTo>
                    <a:lnTo>
                      <a:pt x="2434" y="1609"/>
                    </a:lnTo>
                    <a:lnTo>
                      <a:pt x="2414" y="1629"/>
                    </a:lnTo>
                    <a:lnTo>
                      <a:pt x="2394" y="1648"/>
                    </a:lnTo>
                    <a:lnTo>
                      <a:pt x="2369" y="1673"/>
                    </a:lnTo>
                    <a:lnTo>
                      <a:pt x="2346" y="1698"/>
                    </a:lnTo>
                    <a:lnTo>
                      <a:pt x="2321" y="1721"/>
                    </a:lnTo>
                    <a:lnTo>
                      <a:pt x="2296" y="1744"/>
                    </a:lnTo>
                    <a:lnTo>
                      <a:pt x="2271" y="1766"/>
                    </a:lnTo>
                    <a:lnTo>
                      <a:pt x="2245" y="1787"/>
                    </a:lnTo>
                    <a:lnTo>
                      <a:pt x="2220" y="1809"/>
                    </a:lnTo>
                    <a:lnTo>
                      <a:pt x="2194" y="1828"/>
                    </a:lnTo>
                    <a:lnTo>
                      <a:pt x="2169" y="1848"/>
                    </a:lnTo>
                    <a:lnTo>
                      <a:pt x="2142" y="1867"/>
                    </a:lnTo>
                    <a:lnTo>
                      <a:pt x="2116" y="1886"/>
                    </a:lnTo>
                    <a:lnTo>
                      <a:pt x="2089" y="1903"/>
                    </a:lnTo>
                    <a:lnTo>
                      <a:pt x="2062" y="1920"/>
                    </a:lnTo>
                    <a:lnTo>
                      <a:pt x="2035" y="1936"/>
                    </a:lnTo>
                    <a:lnTo>
                      <a:pt x="2007" y="1952"/>
                    </a:lnTo>
                    <a:lnTo>
                      <a:pt x="1978" y="1968"/>
                    </a:lnTo>
                    <a:lnTo>
                      <a:pt x="1950" y="1982"/>
                    </a:lnTo>
                    <a:lnTo>
                      <a:pt x="1921" y="1996"/>
                    </a:lnTo>
                    <a:lnTo>
                      <a:pt x="1892" y="2010"/>
                    </a:lnTo>
                    <a:lnTo>
                      <a:pt x="1863" y="2023"/>
                    </a:lnTo>
                    <a:lnTo>
                      <a:pt x="1833" y="2035"/>
                    </a:lnTo>
                    <a:lnTo>
                      <a:pt x="1802" y="2046"/>
                    </a:lnTo>
                    <a:lnTo>
                      <a:pt x="1771" y="2057"/>
                    </a:lnTo>
                    <a:lnTo>
                      <a:pt x="1740" y="2068"/>
                    </a:lnTo>
                    <a:lnTo>
                      <a:pt x="1709" y="2078"/>
                    </a:lnTo>
                    <a:lnTo>
                      <a:pt x="1676" y="2087"/>
                    </a:lnTo>
                    <a:lnTo>
                      <a:pt x="1644" y="2096"/>
                    </a:lnTo>
                    <a:lnTo>
                      <a:pt x="1610" y="2105"/>
                    </a:lnTo>
                    <a:lnTo>
                      <a:pt x="1577" y="2112"/>
                    </a:lnTo>
                    <a:lnTo>
                      <a:pt x="1543" y="2120"/>
                    </a:lnTo>
                    <a:lnTo>
                      <a:pt x="1509" y="2126"/>
                    </a:lnTo>
                    <a:lnTo>
                      <a:pt x="1473" y="2133"/>
                    </a:lnTo>
                    <a:lnTo>
                      <a:pt x="1452" y="2136"/>
                    </a:lnTo>
                    <a:lnTo>
                      <a:pt x="1430" y="2138"/>
                    </a:lnTo>
                    <a:lnTo>
                      <a:pt x="1409" y="2139"/>
                    </a:lnTo>
                    <a:lnTo>
                      <a:pt x="1388" y="2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61"/>
              <p:cNvSpPr>
                <a:spLocks/>
              </p:cNvSpPr>
              <p:nvPr userDrawn="1"/>
            </p:nvSpPr>
            <p:spPr bwMode="auto">
              <a:xfrm>
                <a:off x="2457" y="3089"/>
                <a:ext cx="646" cy="266"/>
              </a:xfrm>
              <a:custGeom>
                <a:avLst/>
                <a:gdLst>
                  <a:gd name="T0" fmla="*/ 1919 w 1939"/>
                  <a:gd name="T1" fmla="*/ 797 h 799"/>
                  <a:gd name="T2" fmla="*/ 1891 w 1939"/>
                  <a:gd name="T3" fmla="*/ 749 h 799"/>
                  <a:gd name="T4" fmla="*/ 1811 w 1939"/>
                  <a:gd name="T5" fmla="*/ 615 h 799"/>
                  <a:gd name="T6" fmla="*/ 1716 w 1939"/>
                  <a:gd name="T7" fmla="*/ 481 h 799"/>
                  <a:gd name="T8" fmla="*/ 1643 w 1939"/>
                  <a:gd name="T9" fmla="*/ 396 h 799"/>
                  <a:gd name="T10" fmla="*/ 1585 w 1939"/>
                  <a:gd name="T11" fmla="*/ 336 h 799"/>
                  <a:gd name="T12" fmla="*/ 1523 w 1939"/>
                  <a:gd name="T13" fmla="*/ 282 h 799"/>
                  <a:gd name="T14" fmla="*/ 1458 w 1939"/>
                  <a:gd name="T15" fmla="*/ 233 h 799"/>
                  <a:gd name="T16" fmla="*/ 1388 w 1939"/>
                  <a:gd name="T17" fmla="*/ 191 h 799"/>
                  <a:gd name="T18" fmla="*/ 1300 w 1939"/>
                  <a:gd name="T19" fmla="*/ 152 h 799"/>
                  <a:gd name="T20" fmla="*/ 1174 w 1939"/>
                  <a:gd name="T21" fmla="*/ 110 h 799"/>
                  <a:gd name="T22" fmla="*/ 1041 w 1939"/>
                  <a:gd name="T23" fmla="*/ 76 h 799"/>
                  <a:gd name="T24" fmla="*/ 906 w 1939"/>
                  <a:gd name="T25" fmla="*/ 51 h 799"/>
                  <a:gd name="T26" fmla="*/ 771 w 1939"/>
                  <a:gd name="T27" fmla="*/ 36 h 799"/>
                  <a:gd name="T28" fmla="*/ 641 w 1939"/>
                  <a:gd name="T29" fmla="*/ 28 h 799"/>
                  <a:gd name="T30" fmla="*/ 518 w 1939"/>
                  <a:gd name="T31" fmla="*/ 29 h 799"/>
                  <a:gd name="T32" fmla="*/ 407 w 1939"/>
                  <a:gd name="T33" fmla="*/ 38 h 799"/>
                  <a:gd name="T34" fmla="*/ 310 w 1939"/>
                  <a:gd name="T35" fmla="*/ 54 h 799"/>
                  <a:gd name="T36" fmla="*/ 231 w 1939"/>
                  <a:gd name="T37" fmla="*/ 78 h 799"/>
                  <a:gd name="T38" fmla="*/ 173 w 1939"/>
                  <a:gd name="T39" fmla="*/ 110 h 799"/>
                  <a:gd name="T40" fmla="*/ 130 w 1939"/>
                  <a:gd name="T41" fmla="*/ 149 h 799"/>
                  <a:gd name="T42" fmla="*/ 83 w 1939"/>
                  <a:gd name="T43" fmla="*/ 194 h 799"/>
                  <a:gd name="T44" fmla="*/ 24 w 1939"/>
                  <a:gd name="T45" fmla="*/ 255 h 799"/>
                  <a:gd name="T46" fmla="*/ 8 w 1939"/>
                  <a:gd name="T47" fmla="*/ 258 h 799"/>
                  <a:gd name="T48" fmla="*/ 0 w 1939"/>
                  <a:gd name="T49" fmla="*/ 246 h 799"/>
                  <a:gd name="T50" fmla="*/ 24 w 1939"/>
                  <a:gd name="T51" fmla="*/ 215 h 799"/>
                  <a:gd name="T52" fmla="*/ 86 w 1939"/>
                  <a:gd name="T53" fmla="*/ 153 h 799"/>
                  <a:gd name="T54" fmla="*/ 125 w 1939"/>
                  <a:gd name="T55" fmla="*/ 117 h 799"/>
                  <a:gd name="T56" fmla="*/ 173 w 1939"/>
                  <a:gd name="T57" fmla="*/ 78 h 799"/>
                  <a:gd name="T58" fmla="*/ 240 w 1939"/>
                  <a:gd name="T59" fmla="*/ 46 h 799"/>
                  <a:gd name="T60" fmla="*/ 328 w 1939"/>
                  <a:gd name="T61" fmla="*/ 23 h 799"/>
                  <a:gd name="T62" fmla="*/ 432 w 1939"/>
                  <a:gd name="T63" fmla="*/ 8 h 799"/>
                  <a:gd name="T64" fmla="*/ 549 w 1939"/>
                  <a:gd name="T65" fmla="*/ 0 h 799"/>
                  <a:gd name="T66" fmla="*/ 677 w 1939"/>
                  <a:gd name="T67" fmla="*/ 1 h 799"/>
                  <a:gd name="T68" fmla="*/ 812 w 1939"/>
                  <a:gd name="T69" fmla="*/ 11 h 799"/>
                  <a:gd name="T70" fmla="*/ 950 w 1939"/>
                  <a:gd name="T71" fmla="*/ 30 h 799"/>
                  <a:gd name="T72" fmla="*/ 1088 w 1939"/>
                  <a:gd name="T73" fmla="*/ 58 h 799"/>
                  <a:gd name="T74" fmla="*/ 1223 w 1939"/>
                  <a:gd name="T75" fmla="*/ 96 h 799"/>
                  <a:gd name="T76" fmla="*/ 1352 w 1939"/>
                  <a:gd name="T77" fmla="*/ 144 h 799"/>
                  <a:gd name="T78" fmla="*/ 1425 w 1939"/>
                  <a:gd name="T79" fmla="*/ 180 h 799"/>
                  <a:gd name="T80" fmla="*/ 1494 w 1939"/>
                  <a:gd name="T81" fmla="*/ 226 h 799"/>
                  <a:gd name="T82" fmla="*/ 1560 w 1939"/>
                  <a:gd name="T83" fmla="*/ 277 h 799"/>
                  <a:gd name="T84" fmla="*/ 1623 w 1939"/>
                  <a:gd name="T85" fmla="*/ 335 h 799"/>
                  <a:gd name="T86" fmla="*/ 1681 w 1939"/>
                  <a:gd name="T87" fmla="*/ 397 h 799"/>
                  <a:gd name="T88" fmla="*/ 1770 w 1939"/>
                  <a:gd name="T89" fmla="*/ 508 h 799"/>
                  <a:gd name="T90" fmla="*/ 1861 w 1939"/>
                  <a:gd name="T91" fmla="*/ 646 h 799"/>
                  <a:gd name="T92" fmla="*/ 1937 w 1939"/>
                  <a:gd name="T93" fmla="*/ 778 h 799"/>
                  <a:gd name="T94" fmla="*/ 1936 w 1939"/>
                  <a:gd name="T95" fmla="*/ 793 h 799"/>
                  <a:gd name="T96" fmla="*/ 1925 w 1939"/>
                  <a:gd name="T97"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9" h="799">
                    <a:moveTo>
                      <a:pt x="1925" y="799"/>
                    </a:moveTo>
                    <a:lnTo>
                      <a:pt x="1922" y="798"/>
                    </a:lnTo>
                    <a:lnTo>
                      <a:pt x="1919" y="797"/>
                    </a:lnTo>
                    <a:lnTo>
                      <a:pt x="1915" y="795"/>
                    </a:lnTo>
                    <a:lnTo>
                      <a:pt x="1913" y="791"/>
                    </a:lnTo>
                    <a:lnTo>
                      <a:pt x="1891" y="749"/>
                    </a:lnTo>
                    <a:lnTo>
                      <a:pt x="1866" y="705"/>
                    </a:lnTo>
                    <a:lnTo>
                      <a:pt x="1839" y="661"/>
                    </a:lnTo>
                    <a:lnTo>
                      <a:pt x="1811" y="615"/>
                    </a:lnTo>
                    <a:lnTo>
                      <a:pt x="1780" y="570"/>
                    </a:lnTo>
                    <a:lnTo>
                      <a:pt x="1749" y="526"/>
                    </a:lnTo>
                    <a:lnTo>
                      <a:pt x="1716" y="481"/>
                    </a:lnTo>
                    <a:lnTo>
                      <a:pt x="1681" y="438"/>
                    </a:lnTo>
                    <a:lnTo>
                      <a:pt x="1663" y="417"/>
                    </a:lnTo>
                    <a:lnTo>
                      <a:pt x="1643" y="396"/>
                    </a:lnTo>
                    <a:lnTo>
                      <a:pt x="1625" y="376"/>
                    </a:lnTo>
                    <a:lnTo>
                      <a:pt x="1605" y="355"/>
                    </a:lnTo>
                    <a:lnTo>
                      <a:pt x="1585" y="336"/>
                    </a:lnTo>
                    <a:lnTo>
                      <a:pt x="1566" y="317"/>
                    </a:lnTo>
                    <a:lnTo>
                      <a:pt x="1545" y="299"/>
                    </a:lnTo>
                    <a:lnTo>
                      <a:pt x="1523" y="282"/>
                    </a:lnTo>
                    <a:lnTo>
                      <a:pt x="1502" y="264"/>
                    </a:lnTo>
                    <a:lnTo>
                      <a:pt x="1480" y="248"/>
                    </a:lnTo>
                    <a:lnTo>
                      <a:pt x="1458" y="233"/>
                    </a:lnTo>
                    <a:lnTo>
                      <a:pt x="1435" y="218"/>
                    </a:lnTo>
                    <a:lnTo>
                      <a:pt x="1412" y="204"/>
                    </a:lnTo>
                    <a:lnTo>
                      <a:pt x="1388" y="191"/>
                    </a:lnTo>
                    <a:lnTo>
                      <a:pt x="1365" y="179"/>
                    </a:lnTo>
                    <a:lnTo>
                      <a:pt x="1341" y="168"/>
                    </a:lnTo>
                    <a:lnTo>
                      <a:pt x="1300" y="152"/>
                    </a:lnTo>
                    <a:lnTo>
                      <a:pt x="1259" y="137"/>
                    </a:lnTo>
                    <a:lnTo>
                      <a:pt x="1217" y="123"/>
                    </a:lnTo>
                    <a:lnTo>
                      <a:pt x="1174" y="110"/>
                    </a:lnTo>
                    <a:lnTo>
                      <a:pt x="1129" y="97"/>
                    </a:lnTo>
                    <a:lnTo>
                      <a:pt x="1085" y="86"/>
                    </a:lnTo>
                    <a:lnTo>
                      <a:pt x="1041" y="76"/>
                    </a:lnTo>
                    <a:lnTo>
                      <a:pt x="995" y="67"/>
                    </a:lnTo>
                    <a:lnTo>
                      <a:pt x="950" y="58"/>
                    </a:lnTo>
                    <a:lnTo>
                      <a:pt x="906" y="51"/>
                    </a:lnTo>
                    <a:lnTo>
                      <a:pt x="860" y="45"/>
                    </a:lnTo>
                    <a:lnTo>
                      <a:pt x="815" y="40"/>
                    </a:lnTo>
                    <a:lnTo>
                      <a:pt x="771" y="36"/>
                    </a:lnTo>
                    <a:lnTo>
                      <a:pt x="728" y="32"/>
                    </a:lnTo>
                    <a:lnTo>
                      <a:pt x="683" y="29"/>
                    </a:lnTo>
                    <a:lnTo>
                      <a:pt x="641" y="28"/>
                    </a:lnTo>
                    <a:lnTo>
                      <a:pt x="599" y="27"/>
                    </a:lnTo>
                    <a:lnTo>
                      <a:pt x="558" y="28"/>
                    </a:lnTo>
                    <a:lnTo>
                      <a:pt x="518" y="29"/>
                    </a:lnTo>
                    <a:lnTo>
                      <a:pt x="480" y="31"/>
                    </a:lnTo>
                    <a:lnTo>
                      <a:pt x="443" y="33"/>
                    </a:lnTo>
                    <a:lnTo>
                      <a:pt x="407" y="38"/>
                    </a:lnTo>
                    <a:lnTo>
                      <a:pt x="373" y="42"/>
                    </a:lnTo>
                    <a:lnTo>
                      <a:pt x="341" y="48"/>
                    </a:lnTo>
                    <a:lnTo>
                      <a:pt x="310" y="54"/>
                    </a:lnTo>
                    <a:lnTo>
                      <a:pt x="282" y="62"/>
                    </a:lnTo>
                    <a:lnTo>
                      <a:pt x="255" y="69"/>
                    </a:lnTo>
                    <a:lnTo>
                      <a:pt x="231" y="78"/>
                    </a:lnTo>
                    <a:lnTo>
                      <a:pt x="209" y="87"/>
                    </a:lnTo>
                    <a:lnTo>
                      <a:pt x="190" y="98"/>
                    </a:lnTo>
                    <a:lnTo>
                      <a:pt x="173" y="110"/>
                    </a:lnTo>
                    <a:lnTo>
                      <a:pt x="159" y="122"/>
                    </a:lnTo>
                    <a:lnTo>
                      <a:pt x="144" y="136"/>
                    </a:lnTo>
                    <a:lnTo>
                      <a:pt x="130" y="149"/>
                    </a:lnTo>
                    <a:lnTo>
                      <a:pt x="117" y="161"/>
                    </a:lnTo>
                    <a:lnTo>
                      <a:pt x="105" y="173"/>
                    </a:lnTo>
                    <a:lnTo>
                      <a:pt x="83" y="194"/>
                    </a:lnTo>
                    <a:lnTo>
                      <a:pt x="62" y="214"/>
                    </a:lnTo>
                    <a:lnTo>
                      <a:pt x="43" y="233"/>
                    </a:lnTo>
                    <a:lnTo>
                      <a:pt x="24" y="255"/>
                    </a:lnTo>
                    <a:lnTo>
                      <a:pt x="19" y="258"/>
                    </a:lnTo>
                    <a:lnTo>
                      <a:pt x="14" y="259"/>
                    </a:lnTo>
                    <a:lnTo>
                      <a:pt x="8" y="258"/>
                    </a:lnTo>
                    <a:lnTo>
                      <a:pt x="4" y="256"/>
                    </a:lnTo>
                    <a:lnTo>
                      <a:pt x="1" y="252"/>
                    </a:lnTo>
                    <a:lnTo>
                      <a:pt x="0" y="246"/>
                    </a:lnTo>
                    <a:lnTo>
                      <a:pt x="0" y="241"/>
                    </a:lnTo>
                    <a:lnTo>
                      <a:pt x="3" y="236"/>
                    </a:lnTo>
                    <a:lnTo>
                      <a:pt x="24" y="215"/>
                    </a:lnTo>
                    <a:lnTo>
                      <a:pt x="44" y="194"/>
                    </a:lnTo>
                    <a:lnTo>
                      <a:pt x="65" y="174"/>
                    </a:lnTo>
                    <a:lnTo>
                      <a:pt x="86" y="153"/>
                    </a:lnTo>
                    <a:lnTo>
                      <a:pt x="98" y="141"/>
                    </a:lnTo>
                    <a:lnTo>
                      <a:pt x="111" y="130"/>
                    </a:lnTo>
                    <a:lnTo>
                      <a:pt x="125" y="117"/>
                    </a:lnTo>
                    <a:lnTo>
                      <a:pt x="140" y="103"/>
                    </a:lnTo>
                    <a:lnTo>
                      <a:pt x="154" y="90"/>
                    </a:lnTo>
                    <a:lnTo>
                      <a:pt x="173" y="78"/>
                    </a:lnTo>
                    <a:lnTo>
                      <a:pt x="192" y="66"/>
                    </a:lnTo>
                    <a:lnTo>
                      <a:pt x="215" y="56"/>
                    </a:lnTo>
                    <a:lnTo>
                      <a:pt x="240" y="46"/>
                    </a:lnTo>
                    <a:lnTo>
                      <a:pt x="268" y="38"/>
                    </a:lnTo>
                    <a:lnTo>
                      <a:pt x="297" y="30"/>
                    </a:lnTo>
                    <a:lnTo>
                      <a:pt x="328" y="23"/>
                    </a:lnTo>
                    <a:lnTo>
                      <a:pt x="360" y="17"/>
                    </a:lnTo>
                    <a:lnTo>
                      <a:pt x="396" y="12"/>
                    </a:lnTo>
                    <a:lnTo>
                      <a:pt x="432" y="8"/>
                    </a:lnTo>
                    <a:lnTo>
                      <a:pt x="470" y="4"/>
                    </a:lnTo>
                    <a:lnTo>
                      <a:pt x="509" y="2"/>
                    </a:lnTo>
                    <a:lnTo>
                      <a:pt x="549" y="0"/>
                    </a:lnTo>
                    <a:lnTo>
                      <a:pt x="592" y="0"/>
                    </a:lnTo>
                    <a:lnTo>
                      <a:pt x="634" y="0"/>
                    </a:lnTo>
                    <a:lnTo>
                      <a:pt x="677" y="1"/>
                    </a:lnTo>
                    <a:lnTo>
                      <a:pt x="721" y="3"/>
                    </a:lnTo>
                    <a:lnTo>
                      <a:pt x="766" y="7"/>
                    </a:lnTo>
                    <a:lnTo>
                      <a:pt x="812" y="11"/>
                    </a:lnTo>
                    <a:lnTo>
                      <a:pt x="857" y="16"/>
                    </a:lnTo>
                    <a:lnTo>
                      <a:pt x="904" y="23"/>
                    </a:lnTo>
                    <a:lnTo>
                      <a:pt x="950" y="30"/>
                    </a:lnTo>
                    <a:lnTo>
                      <a:pt x="995" y="39"/>
                    </a:lnTo>
                    <a:lnTo>
                      <a:pt x="1042" y="48"/>
                    </a:lnTo>
                    <a:lnTo>
                      <a:pt x="1088" y="58"/>
                    </a:lnTo>
                    <a:lnTo>
                      <a:pt x="1134" y="70"/>
                    </a:lnTo>
                    <a:lnTo>
                      <a:pt x="1178" y="83"/>
                    </a:lnTo>
                    <a:lnTo>
                      <a:pt x="1223" y="96"/>
                    </a:lnTo>
                    <a:lnTo>
                      <a:pt x="1266" y="111"/>
                    </a:lnTo>
                    <a:lnTo>
                      <a:pt x="1310" y="127"/>
                    </a:lnTo>
                    <a:lnTo>
                      <a:pt x="1352" y="144"/>
                    </a:lnTo>
                    <a:lnTo>
                      <a:pt x="1377" y="155"/>
                    </a:lnTo>
                    <a:lnTo>
                      <a:pt x="1400" y="167"/>
                    </a:lnTo>
                    <a:lnTo>
                      <a:pt x="1425" y="180"/>
                    </a:lnTo>
                    <a:lnTo>
                      <a:pt x="1449" y="194"/>
                    </a:lnTo>
                    <a:lnTo>
                      <a:pt x="1472" y="209"/>
                    </a:lnTo>
                    <a:lnTo>
                      <a:pt x="1494" y="226"/>
                    </a:lnTo>
                    <a:lnTo>
                      <a:pt x="1517" y="242"/>
                    </a:lnTo>
                    <a:lnTo>
                      <a:pt x="1539" y="259"/>
                    </a:lnTo>
                    <a:lnTo>
                      <a:pt x="1560" y="277"/>
                    </a:lnTo>
                    <a:lnTo>
                      <a:pt x="1582" y="296"/>
                    </a:lnTo>
                    <a:lnTo>
                      <a:pt x="1602" y="315"/>
                    </a:lnTo>
                    <a:lnTo>
                      <a:pt x="1623" y="335"/>
                    </a:lnTo>
                    <a:lnTo>
                      <a:pt x="1642" y="355"/>
                    </a:lnTo>
                    <a:lnTo>
                      <a:pt x="1662" y="376"/>
                    </a:lnTo>
                    <a:lnTo>
                      <a:pt x="1681" y="397"/>
                    </a:lnTo>
                    <a:lnTo>
                      <a:pt x="1699" y="419"/>
                    </a:lnTo>
                    <a:lnTo>
                      <a:pt x="1736" y="463"/>
                    </a:lnTo>
                    <a:lnTo>
                      <a:pt x="1770" y="508"/>
                    </a:lnTo>
                    <a:lnTo>
                      <a:pt x="1802" y="554"/>
                    </a:lnTo>
                    <a:lnTo>
                      <a:pt x="1833" y="600"/>
                    </a:lnTo>
                    <a:lnTo>
                      <a:pt x="1861" y="646"/>
                    </a:lnTo>
                    <a:lnTo>
                      <a:pt x="1888" y="691"/>
                    </a:lnTo>
                    <a:lnTo>
                      <a:pt x="1914" y="735"/>
                    </a:lnTo>
                    <a:lnTo>
                      <a:pt x="1937" y="778"/>
                    </a:lnTo>
                    <a:lnTo>
                      <a:pt x="1939" y="784"/>
                    </a:lnTo>
                    <a:lnTo>
                      <a:pt x="1938" y="789"/>
                    </a:lnTo>
                    <a:lnTo>
                      <a:pt x="1936" y="793"/>
                    </a:lnTo>
                    <a:lnTo>
                      <a:pt x="1932" y="797"/>
                    </a:lnTo>
                    <a:lnTo>
                      <a:pt x="1928" y="798"/>
                    </a:lnTo>
                    <a:lnTo>
                      <a:pt x="1925" y="7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62"/>
              <p:cNvSpPr>
                <a:spLocks noEditPoints="1"/>
              </p:cNvSpPr>
              <p:nvPr userDrawn="1"/>
            </p:nvSpPr>
            <p:spPr bwMode="auto">
              <a:xfrm>
                <a:off x="2424" y="1950"/>
                <a:ext cx="198" cy="79"/>
              </a:xfrm>
              <a:custGeom>
                <a:avLst/>
                <a:gdLst>
                  <a:gd name="T0" fmla="*/ 15 w 593"/>
                  <a:gd name="T1" fmla="*/ 234 h 237"/>
                  <a:gd name="T2" fmla="*/ 6 w 593"/>
                  <a:gd name="T3" fmla="*/ 227 h 237"/>
                  <a:gd name="T4" fmla="*/ 0 w 593"/>
                  <a:gd name="T5" fmla="*/ 212 h 237"/>
                  <a:gd name="T6" fmla="*/ 4 w 593"/>
                  <a:gd name="T7" fmla="*/ 183 h 237"/>
                  <a:gd name="T8" fmla="*/ 29 w 593"/>
                  <a:gd name="T9" fmla="*/ 140 h 237"/>
                  <a:gd name="T10" fmla="*/ 72 w 593"/>
                  <a:gd name="T11" fmla="*/ 92 h 237"/>
                  <a:gd name="T12" fmla="*/ 132 w 593"/>
                  <a:gd name="T13" fmla="*/ 49 h 237"/>
                  <a:gd name="T14" fmla="*/ 195 w 593"/>
                  <a:gd name="T15" fmla="*/ 20 h 237"/>
                  <a:gd name="T16" fmla="*/ 237 w 593"/>
                  <a:gd name="T17" fmla="*/ 8 h 237"/>
                  <a:gd name="T18" fmla="*/ 282 w 593"/>
                  <a:gd name="T19" fmla="*/ 2 h 237"/>
                  <a:gd name="T20" fmla="*/ 343 w 593"/>
                  <a:gd name="T21" fmla="*/ 0 h 237"/>
                  <a:gd name="T22" fmla="*/ 400 w 593"/>
                  <a:gd name="T23" fmla="*/ 5 h 237"/>
                  <a:gd name="T24" fmla="*/ 448 w 593"/>
                  <a:gd name="T25" fmla="*/ 13 h 237"/>
                  <a:gd name="T26" fmla="*/ 487 w 593"/>
                  <a:gd name="T27" fmla="*/ 26 h 237"/>
                  <a:gd name="T28" fmla="*/ 518 w 593"/>
                  <a:gd name="T29" fmla="*/ 43 h 237"/>
                  <a:gd name="T30" fmla="*/ 547 w 593"/>
                  <a:gd name="T31" fmla="*/ 66 h 237"/>
                  <a:gd name="T32" fmla="*/ 574 w 593"/>
                  <a:gd name="T33" fmla="*/ 101 h 237"/>
                  <a:gd name="T34" fmla="*/ 584 w 593"/>
                  <a:gd name="T35" fmla="*/ 128 h 237"/>
                  <a:gd name="T36" fmla="*/ 593 w 593"/>
                  <a:gd name="T37" fmla="*/ 188 h 237"/>
                  <a:gd name="T38" fmla="*/ 589 w 593"/>
                  <a:gd name="T39" fmla="*/ 197 h 237"/>
                  <a:gd name="T40" fmla="*/ 579 w 593"/>
                  <a:gd name="T41" fmla="*/ 200 h 237"/>
                  <a:gd name="T42" fmla="*/ 552 w 593"/>
                  <a:gd name="T43" fmla="*/ 193 h 237"/>
                  <a:gd name="T44" fmla="*/ 456 w 593"/>
                  <a:gd name="T45" fmla="*/ 171 h 237"/>
                  <a:gd name="T46" fmla="*/ 374 w 593"/>
                  <a:gd name="T47" fmla="*/ 161 h 237"/>
                  <a:gd name="T48" fmla="*/ 319 w 593"/>
                  <a:gd name="T49" fmla="*/ 162 h 237"/>
                  <a:gd name="T50" fmla="*/ 263 w 593"/>
                  <a:gd name="T51" fmla="*/ 175 h 237"/>
                  <a:gd name="T52" fmla="*/ 133 w 593"/>
                  <a:gd name="T53" fmla="*/ 214 h 237"/>
                  <a:gd name="T54" fmla="*/ 61 w 593"/>
                  <a:gd name="T55" fmla="*/ 234 h 237"/>
                  <a:gd name="T56" fmla="*/ 28 w 593"/>
                  <a:gd name="T57" fmla="*/ 209 h 237"/>
                  <a:gd name="T58" fmla="*/ 34 w 593"/>
                  <a:gd name="T59" fmla="*/ 210 h 237"/>
                  <a:gd name="T60" fmla="*/ 74 w 593"/>
                  <a:gd name="T61" fmla="*/ 203 h 237"/>
                  <a:gd name="T62" fmla="*/ 168 w 593"/>
                  <a:gd name="T63" fmla="*/ 175 h 237"/>
                  <a:gd name="T64" fmla="*/ 236 w 593"/>
                  <a:gd name="T65" fmla="*/ 155 h 237"/>
                  <a:gd name="T66" fmla="*/ 298 w 593"/>
                  <a:gd name="T67" fmla="*/ 139 h 237"/>
                  <a:gd name="T68" fmla="*/ 348 w 593"/>
                  <a:gd name="T69" fmla="*/ 133 h 237"/>
                  <a:gd name="T70" fmla="*/ 399 w 593"/>
                  <a:gd name="T71" fmla="*/ 135 h 237"/>
                  <a:gd name="T72" fmla="*/ 494 w 593"/>
                  <a:gd name="T73" fmla="*/ 151 h 237"/>
                  <a:gd name="T74" fmla="*/ 563 w 593"/>
                  <a:gd name="T75" fmla="*/ 168 h 237"/>
                  <a:gd name="T76" fmla="*/ 556 w 593"/>
                  <a:gd name="T77" fmla="*/ 127 h 237"/>
                  <a:gd name="T78" fmla="*/ 543 w 593"/>
                  <a:gd name="T79" fmla="*/ 102 h 237"/>
                  <a:gd name="T80" fmla="*/ 512 w 593"/>
                  <a:gd name="T81" fmla="*/ 72 h 237"/>
                  <a:gd name="T82" fmla="*/ 470 w 593"/>
                  <a:gd name="T83" fmla="*/ 49 h 237"/>
                  <a:gd name="T84" fmla="*/ 435 w 593"/>
                  <a:gd name="T85" fmla="*/ 38 h 237"/>
                  <a:gd name="T86" fmla="*/ 392 w 593"/>
                  <a:gd name="T87" fmla="*/ 31 h 237"/>
                  <a:gd name="T88" fmla="*/ 340 w 593"/>
                  <a:gd name="T89" fmla="*/ 27 h 237"/>
                  <a:gd name="T90" fmla="*/ 274 w 593"/>
                  <a:gd name="T91" fmla="*/ 30 h 237"/>
                  <a:gd name="T92" fmla="*/ 205 w 593"/>
                  <a:gd name="T93" fmla="*/ 46 h 237"/>
                  <a:gd name="T94" fmla="*/ 145 w 593"/>
                  <a:gd name="T95" fmla="*/ 72 h 237"/>
                  <a:gd name="T96" fmla="*/ 99 w 593"/>
                  <a:gd name="T97" fmla="*/ 105 h 237"/>
                  <a:gd name="T98" fmla="*/ 63 w 593"/>
                  <a:gd name="T99" fmla="*/ 140 h 237"/>
                  <a:gd name="T100" fmla="*/ 41 w 593"/>
                  <a:gd name="T101" fmla="*/ 171 h 237"/>
                  <a:gd name="T102" fmla="*/ 27 w 593"/>
                  <a:gd name="T103" fmla="*/ 206 h 237"/>
                  <a:gd name="T104" fmla="*/ 28 w 593"/>
                  <a:gd name="T105" fmla="*/ 20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3" h="237">
                    <a:moveTo>
                      <a:pt x="34" y="237"/>
                    </a:moveTo>
                    <a:lnTo>
                      <a:pt x="23" y="236"/>
                    </a:lnTo>
                    <a:lnTo>
                      <a:pt x="15" y="234"/>
                    </a:lnTo>
                    <a:lnTo>
                      <a:pt x="12" y="231"/>
                    </a:lnTo>
                    <a:lnTo>
                      <a:pt x="9" y="229"/>
                    </a:lnTo>
                    <a:lnTo>
                      <a:pt x="6" y="227"/>
                    </a:lnTo>
                    <a:lnTo>
                      <a:pt x="4" y="223"/>
                    </a:lnTo>
                    <a:lnTo>
                      <a:pt x="2" y="219"/>
                    </a:lnTo>
                    <a:lnTo>
                      <a:pt x="0" y="212"/>
                    </a:lnTo>
                    <a:lnTo>
                      <a:pt x="0" y="204"/>
                    </a:lnTo>
                    <a:lnTo>
                      <a:pt x="1" y="196"/>
                    </a:lnTo>
                    <a:lnTo>
                      <a:pt x="4" y="183"/>
                    </a:lnTo>
                    <a:lnTo>
                      <a:pt x="10" y="170"/>
                    </a:lnTo>
                    <a:lnTo>
                      <a:pt x="18" y="155"/>
                    </a:lnTo>
                    <a:lnTo>
                      <a:pt x="29" y="140"/>
                    </a:lnTo>
                    <a:lnTo>
                      <a:pt x="41" y="124"/>
                    </a:lnTo>
                    <a:lnTo>
                      <a:pt x="56" y="108"/>
                    </a:lnTo>
                    <a:lnTo>
                      <a:pt x="72" y="92"/>
                    </a:lnTo>
                    <a:lnTo>
                      <a:pt x="90" y="77"/>
                    </a:lnTo>
                    <a:lnTo>
                      <a:pt x="111" y="62"/>
                    </a:lnTo>
                    <a:lnTo>
                      <a:pt x="132" y="49"/>
                    </a:lnTo>
                    <a:lnTo>
                      <a:pt x="156" y="36"/>
                    </a:lnTo>
                    <a:lnTo>
                      <a:pt x="181" y="25"/>
                    </a:lnTo>
                    <a:lnTo>
                      <a:pt x="195" y="20"/>
                    </a:lnTo>
                    <a:lnTo>
                      <a:pt x="208" y="16"/>
                    </a:lnTo>
                    <a:lnTo>
                      <a:pt x="222" y="12"/>
                    </a:lnTo>
                    <a:lnTo>
                      <a:pt x="237" y="8"/>
                    </a:lnTo>
                    <a:lnTo>
                      <a:pt x="252" y="6"/>
                    </a:lnTo>
                    <a:lnTo>
                      <a:pt x="267" y="4"/>
                    </a:lnTo>
                    <a:lnTo>
                      <a:pt x="282" y="2"/>
                    </a:lnTo>
                    <a:lnTo>
                      <a:pt x="299" y="0"/>
                    </a:lnTo>
                    <a:lnTo>
                      <a:pt x="321" y="0"/>
                    </a:lnTo>
                    <a:lnTo>
                      <a:pt x="343" y="0"/>
                    </a:lnTo>
                    <a:lnTo>
                      <a:pt x="363" y="0"/>
                    </a:lnTo>
                    <a:lnTo>
                      <a:pt x="383" y="3"/>
                    </a:lnTo>
                    <a:lnTo>
                      <a:pt x="400" y="5"/>
                    </a:lnTo>
                    <a:lnTo>
                      <a:pt x="417" y="7"/>
                    </a:lnTo>
                    <a:lnTo>
                      <a:pt x="434" y="10"/>
                    </a:lnTo>
                    <a:lnTo>
                      <a:pt x="448" y="13"/>
                    </a:lnTo>
                    <a:lnTo>
                      <a:pt x="462" y="18"/>
                    </a:lnTo>
                    <a:lnTo>
                      <a:pt x="475" y="22"/>
                    </a:lnTo>
                    <a:lnTo>
                      <a:pt x="487" y="26"/>
                    </a:lnTo>
                    <a:lnTo>
                      <a:pt x="497" y="32"/>
                    </a:lnTo>
                    <a:lnTo>
                      <a:pt x="508" y="37"/>
                    </a:lnTo>
                    <a:lnTo>
                      <a:pt x="518" y="43"/>
                    </a:lnTo>
                    <a:lnTo>
                      <a:pt x="526" y="48"/>
                    </a:lnTo>
                    <a:lnTo>
                      <a:pt x="534" y="54"/>
                    </a:lnTo>
                    <a:lnTo>
                      <a:pt x="547" y="66"/>
                    </a:lnTo>
                    <a:lnTo>
                      <a:pt x="558" y="78"/>
                    </a:lnTo>
                    <a:lnTo>
                      <a:pt x="566" y="90"/>
                    </a:lnTo>
                    <a:lnTo>
                      <a:pt x="574" y="101"/>
                    </a:lnTo>
                    <a:lnTo>
                      <a:pt x="578" y="112"/>
                    </a:lnTo>
                    <a:lnTo>
                      <a:pt x="582" y="120"/>
                    </a:lnTo>
                    <a:lnTo>
                      <a:pt x="584" y="128"/>
                    </a:lnTo>
                    <a:lnTo>
                      <a:pt x="585" y="133"/>
                    </a:lnTo>
                    <a:lnTo>
                      <a:pt x="593" y="185"/>
                    </a:lnTo>
                    <a:lnTo>
                      <a:pt x="593" y="188"/>
                    </a:lnTo>
                    <a:lnTo>
                      <a:pt x="592" y="192"/>
                    </a:lnTo>
                    <a:lnTo>
                      <a:pt x="591" y="195"/>
                    </a:lnTo>
                    <a:lnTo>
                      <a:pt x="589" y="197"/>
                    </a:lnTo>
                    <a:lnTo>
                      <a:pt x="586" y="199"/>
                    </a:lnTo>
                    <a:lnTo>
                      <a:pt x="583" y="200"/>
                    </a:lnTo>
                    <a:lnTo>
                      <a:pt x="579" y="200"/>
                    </a:lnTo>
                    <a:lnTo>
                      <a:pt x="576" y="199"/>
                    </a:lnTo>
                    <a:lnTo>
                      <a:pt x="570" y="198"/>
                    </a:lnTo>
                    <a:lnTo>
                      <a:pt x="552" y="193"/>
                    </a:lnTo>
                    <a:lnTo>
                      <a:pt x="526" y="186"/>
                    </a:lnTo>
                    <a:lnTo>
                      <a:pt x="494" y="179"/>
                    </a:lnTo>
                    <a:lnTo>
                      <a:pt x="456" y="171"/>
                    </a:lnTo>
                    <a:lnTo>
                      <a:pt x="416" y="165"/>
                    </a:lnTo>
                    <a:lnTo>
                      <a:pt x="395" y="162"/>
                    </a:lnTo>
                    <a:lnTo>
                      <a:pt x="374" y="161"/>
                    </a:lnTo>
                    <a:lnTo>
                      <a:pt x="354" y="160"/>
                    </a:lnTo>
                    <a:lnTo>
                      <a:pt x="334" y="161"/>
                    </a:lnTo>
                    <a:lnTo>
                      <a:pt x="319" y="162"/>
                    </a:lnTo>
                    <a:lnTo>
                      <a:pt x="302" y="166"/>
                    </a:lnTo>
                    <a:lnTo>
                      <a:pt x="282" y="170"/>
                    </a:lnTo>
                    <a:lnTo>
                      <a:pt x="263" y="175"/>
                    </a:lnTo>
                    <a:lnTo>
                      <a:pt x="220" y="187"/>
                    </a:lnTo>
                    <a:lnTo>
                      <a:pt x="176" y="201"/>
                    </a:lnTo>
                    <a:lnTo>
                      <a:pt x="133" y="214"/>
                    </a:lnTo>
                    <a:lnTo>
                      <a:pt x="95" y="226"/>
                    </a:lnTo>
                    <a:lnTo>
                      <a:pt x="77" y="230"/>
                    </a:lnTo>
                    <a:lnTo>
                      <a:pt x="61" y="234"/>
                    </a:lnTo>
                    <a:lnTo>
                      <a:pt x="46" y="236"/>
                    </a:lnTo>
                    <a:lnTo>
                      <a:pt x="34" y="237"/>
                    </a:lnTo>
                    <a:close/>
                    <a:moveTo>
                      <a:pt x="28" y="209"/>
                    </a:moveTo>
                    <a:lnTo>
                      <a:pt x="28" y="209"/>
                    </a:lnTo>
                    <a:lnTo>
                      <a:pt x="30" y="210"/>
                    </a:lnTo>
                    <a:lnTo>
                      <a:pt x="34" y="210"/>
                    </a:lnTo>
                    <a:lnTo>
                      <a:pt x="45" y="209"/>
                    </a:lnTo>
                    <a:lnTo>
                      <a:pt x="58" y="207"/>
                    </a:lnTo>
                    <a:lnTo>
                      <a:pt x="74" y="203"/>
                    </a:lnTo>
                    <a:lnTo>
                      <a:pt x="90" y="199"/>
                    </a:lnTo>
                    <a:lnTo>
                      <a:pt x="128" y="188"/>
                    </a:lnTo>
                    <a:lnTo>
                      <a:pt x="168" y="175"/>
                    </a:lnTo>
                    <a:lnTo>
                      <a:pt x="191" y="169"/>
                    </a:lnTo>
                    <a:lnTo>
                      <a:pt x="213" y="161"/>
                    </a:lnTo>
                    <a:lnTo>
                      <a:pt x="236" y="155"/>
                    </a:lnTo>
                    <a:lnTo>
                      <a:pt x="258" y="148"/>
                    </a:lnTo>
                    <a:lnTo>
                      <a:pt x="278" y="143"/>
                    </a:lnTo>
                    <a:lnTo>
                      <a:pt x="298" y="139"/>
                    </a:lnTo>
                    <a:lnTo>
                      <a:pt x="316" y="135"/>
                    </a:lnTo>
                    <a:lnTo>
                      <a:pt x="332" y="134"/>
                    </a:lnTo>
                    <a:lnTo>
                      <a:pt x="348" y="133"/>
                    </a:lnTo>
                    <a:lnTo>
                      <a:pt x="366" y="133"/>
                    </a:lnTo>
                    <a:lnTo>
                      <a:pt x="382" y="134"/>
                    </a:lnTo>
                    <a:lnTo>
                      <a:pt x="399" y="135"/>
                    </a:lnTo>
                    <a:lnTo>
                      <a:pt x="431" y="140"/>
                    </a:lnTo>
                    <a:lnTo>
                      <a:pt x="464" y="144"/>
                    </a:lnTo>
                    <a:lnTo>
                      <a:pt x="494" y="151"/>
                    </a:lnTo>
                    <a:lnTo>
                      <a:pt x="521" y="156"/>
                    </a:lnTo>
                    <a:lnTo>
                      <a:pt x="544" y="162"/>
                    </a:lnTo>
                    <a:lnTo>
                      <a:pt x="563" y="168"/>
                    </a:lnTo>
                    <a:lnTo>
                      <a:pt x="558" y="138"/>
                    </a:lnTo>
                    <a:lnTo>
                      <a:pt x="557" y="133"/>
                    </a:lnTo>
                    <a:lnTo>
                      <a:pt x="556" y="127"/>
                    </a:lnTo>
                    <a:lnTo>
                      <a:pt x="552" y="119"/>
                    </a:lnTo>
                    <a:lnTo>
                      <a:pt x="548" y="111"/>
                    </a:lnTo>
                    <a:lnTo>
                      <a:pt x="543" y="102"/>
                    </a:lnTo>
                    <a:lnTo>
                      <a:pt x="534" y="92"/>
                    </a:lnTo>
                    <a:lnTo>
                      <a:pt x="524" y="81"/>
                    </a:lnTo>
                    <a:lnTo>
                      <a:pt x="512" y="72"/>
                    </a:lnTo>
                    <a:lnTo>
                      <a:pt x="497" y="62"/>
                    </a:lnTo>
                    <a:lnTo>
                      <a:pt x="480" y="53"/>
                    </a:lnTo>
                    <a:lnTo>
                      <a:pt x="470" y="49"/>
                    </a:lnTo>
                    <a:lnTo>
                      <a:pt x="460" y="45"/>
                    </a:lnTo>
                    <a:lnTo>
                      <a:pt x="448" y="41"/>
                    </a:lnTo>
                    <a:lnTo>
                      <a:pt x="435" y="38"/>
                    </a:lnTo>
                    <a:lnTo>
                      <a:pt x="422" y="35"/>
                    </a:lnTo>
                    <a:lnTo>
                      <a:pt x="408" y="33"/>
                    </a:lnTo>
                    <a:lnTo>
                      <a:pt x="392" y="31"/>
                    </a:lnTo>
                    <a:lnTo>
                      <a:pt x="375" y="29"/>
                    </a:lnTo>
                    <a:lnTo>
                      <a:pt x="358" y="27"/>
                    </a:lnTo>
                    <a:lnTo>
                      <a:pt x="340" y="27"/>
                    </a:lnTo>
                    <a:lnTo>
                      <a:pt x="320" y="27"/>
                    </a:lnTo>
                    <a:lnTo>
                      <a:pt x="300" y="27"/>
                    </a:lnTo>
                    <a:lnTo>
                      <a:pt x="274" y="30"/>
                    </a:lnTo>
                    <a:lnTo>
                      <a:pt x="249" y="34"/>
                    </a:lnTo>
                    <a:lnTo>
                      <a:pt x="226" y="38"/>
                    </a:lnTo>
                    <a:lnTo>
                      <a:pt x="205" y="46"/>
                    </a:lnTo>
                    <a:lnTo>
                      <a:pt x="183" y="53"/>
                    </a:lnTo>
                    <a:lnTo>
                      <a:pt x="164" y="62"/>
                    </a:lnTo>
                    <a:lnTo>
                      <a:pt x="145" y="72"/>
                    </a:lnTo>
                    <a:lnTo>
                      <a:pt x="129" y="83"/>
                    </a:lnTo>
                    <a:lnTo>
                      <a:pt x="113" y="93"/>
                    </a:lnTo>
                    <a:lnTo>
                      <a:pt x="99" y="105"/>
                    </a:lnTo>
                    <a:lnTo>
                      <a:pt x="86" y="116"/>
                    </a:lnTo>
                    <a:lnTo>
                      <a:pt x="74" y="128"/>
                    </a:lnTo>
                    <a:lnTo>
                      <a:pt x="63" y="140"/>
                    </a:lnTo>
                    <a:lnTo>
                      <a:pt x="55" y="151"/>
                    </a:lnTo>
                    <a:lnTo>
                      <a:pt x="47" y="161"/>
                    </a:lnTo>
                    <a:lnTo>
                      <a:pt x="41" y="171"/>
                    </a:lnTo>
                    <a:lnTo>
                      <a:pt x="32" y="186"/>
                    </a:lnTo>
                    <a:lnTo>
                      <a:pt x="28" y="198"/>
                    </a:lnTo>
                    <a:lnTo>
                      <a:pt x="27" y="206"/>
                    </a:lnTo>
                    <a:lnTo>
                      <a:pt x="27" y="209"/>
                    </a:lnTo>
                    <a:lnTo>
                      <a:pt x="28" y="209"/>
                    </a:lnTo>
                    <a:lnTo>
                      <a:pt x="28"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63"/>
              <p:cNvSpPr>
                <a:spLocks noEditPoints="1"/>
              </p:cNvSpPr>
              <p:nvPr userDrawn="1"/>
            </p:nvSpPr>
            <p:spPr bwMode="auto">
              <a:xfrm>
                <a:off x="1771" y="2599"/>
                <a:ext cx="21" cy="19"/>
              </a:xfrm>
              <a:custGeom>
                <a:avLst/>
                <a:gdLst>
                  <a:gd name="T0" fmla="*/ 32 w 64"/>
                  <a:gd name="T1" fmla="*/ 58 h 58"/>
                  <a:gd name="T2" fmla="*/ 26 w 64"/>
                  <a:gd name="T3" fmla="*/ 58 h 58"/>
                  <a:gd name="T4" fmla="*/ 19 w 64"/>
                  <a:gd name="T5" fmla="*/ 56 h 58"/>
                  <a:gd name="T6" fmla="*/ 14 w 64"/>
                  <a:gd name="T7" fmla="*/ 53 h 58"/>
                  <a:gd name="T8" fmla="*/ 9 w 64"/>
                  <a:gd name="T9" fmla="*/ 49 h 58"/>
                  <a:gd name="T10" fmla="*/ 5 w 64"/>
                  <a:gd name="T11" fmla="*/ 45 h 58"/>
                  <a:gd name="T12" fmla="*/ 2 w 64"/>
                  <a:gd name="T13" fmla="*/ 41 h 58"/>
                  <a:gd name="T14" fmla="*/ 0 w 64"/>
                  <a:gd name="T15" fmla="*/ 34 h 58"/>
                  <a:gd name="T16" fmla="*/ 0 w 64"/>
                  <a:gd name="T17" fmla="*/ 29 h 58"/>
                  <a:gd name="T18" fmla="*/ 0 w 64"/>
                  <a:gd name="T19" fmla="*/ 22 h 58"/>
                  <a:gd name="T20" fmla="*/ 2 w 64"/>
                  <a:gd name="T21" fmla="*/ 17 h 58"/>
                  <a:gd name="T22" fmla="*/ 5 w 64"/>
                  <a:gd name="T23" fmla="*/ 13 h 58"/>
                  <a:gd name="T24" fmla="*/ 9 w 64"/>
                  <a:gd name="T25" fmla="*/ 8 h 58"/>
                  <a:gd name="T26" fmla="*/ 14 w 64"/>
                  <a:gd name="T27" fmla="*/ 4 h 58"/>
                  <a:gd name="T28" fmla="*/ 19 w 64"/>
                  <a:gd name="T29" fmla="*/ 2 h 58"/>
                  <a:gd name="T30" fmla="*/ 26 w 64"/>
                  <a:gd name="T31" fmla="*/ 0 h 58"/>
                  <a:gd name="T32" fmla="*/ 32 w 64"/>
                  <a:gd name="T33" fmla="*/ 0 h 58"/>
                  <a:gd name="T34" fmla="*/ 39 w 64"/>
                  <a:gd name="T35" fmla="*/ 0 h 58"/>
                  <a:gd name="T36" fmla="*/ 45 w 64"/>
                  <a:gd name="T37" fmla="*/ 2 h 58"/>
                  <a:gd name="T38" fmla="*/ 50 w 64"/>
                  <a:gd name="T39" fmla="*/ 4 h 58"/>
                  <a:gd name="T40" fmla="*/ 55 w 64"/>
                  <a:gd name="T41" fmla="*/ 8 h 58"/>
                  <a:gd name="T42" fmla="*/ 59 w 64"/>
                  <a:gd name="T43" fmla="*/ 13 h 58"/>
                  <a:gd name="T44" fmla="*/ 62 w 64"/>
                  <a:gd name="T45" fmla="*/ 17 h 58"/>
                  <a:gd name="T46" fmla="*/ 64 w 64"/>
                  <a:gd name="T47" fmla="*/ 22 h 58"/>
                  <a:gd name="T48" fmla="*/ 64 w 64"/>
                  <a:gd name="T49" fmla="*/ 29 h 58"/>
                  <a:gd name="T50" fmla="*/ 64 w 64"/>
                  <a:gd name="T51" fmla="*/ 34 h 58"/>
                  <a:gd name="T52" fmla="*/ 62 w 64"/>
                  <a:gd name="T53" fmla="*/ 41 h 58"/>
                  <a:gd name="T54" fmla="*/ 59 w 64"/>
                  <a:gd name="T55" fmla="*/ 45 h 58"/>
                  <a:gd name="T56" fmla="*/ 55 w 64"/>
                  <a:gd name="T57" fmla="*/ 49 h 58"/>
                  <a:gd name="T58" fmla="*/ 50 w 64"/>
                  <a:gd name="T59" fmla="*/ 53 h 58"/>
                  <a:gd name="T60" fmla="*/ 45 w 64"/>
                  <a:gd name="T61" fmla="*/ 56 h 58"/>
                  <a:gd name="T62" fmla="*/ 39 w 64"/>
                  <a:gd name="T63" fmla="*/ 58 h 58"/>
                  <a:gd name="T64" fmla="*/ 32 w 64"/>
                  <a:gd name="T65" fmla="*/ 58 h 58"/>
                  <a:gd name="T66" fmla="*/ 32 w 64"/>
                  <a:gd name="T67" fmla="*/ 27 h 58"/>
                  <a:gd name="T68" fmla="*/ 32 w 64"/>
                  <a:gd name="T69" fmla="*/ 27 h 58"/>
                  <a:gd name="T70" fmla="*/ 28 w 64"/>
                  <a:gd name="T71" fmla="*/ 28 h 58"/>
                  <a:gd name="T72" fmla="*/ 27 w 64"/>
                  <a:gd name="T73" fmla="*/ 29 h 58"/>
                  <a:gd name="T74" fmla="*/ 28 w 64"/>
                  <a:gd name="T75" fmla="*/ 30 h 58"/>
                  <a:gd name="T76" fmla="*/ 32 w 64"/>
                  <a:gd name="T77" fmla="*/ 31 h 58"/>
                  <a:gd name="T78" fmla="*/ 36 w 64"/>
                  <a:gd name="T79" fmla="*/ 30 h 58"/>
                  <a:gd name="T80" fmla="*/ 37 w 64"/>
                  <a:gd name="T81" fmla="*/ 29 h 58"/>
                  <a:gd name="T82" fmla="*/ 36 w 64"/>
                  <a:gd name="T83" fmla="*/ 28 h 58"/>
                  <a:gd name="T84" fmla="*/ 32 w 64"/>
                  <a:gd name="T8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58">
                    <a:moveTo>
                      <a:pt x="32" y="58"/>
                    </a:moveTo>
                    <a:lnTo>
                      <a:pt x="26" y="58"/>
                    </a:lnTo>
                    <a:lnTo>
                      <a:pt x="19" y="56"/>
                    </a:lnTo>
                    <a:lnTo>
                      <a:pt x="14" y="53"/>
                    </a:lnTo>
                    <a:lnTo>
                      <a:pt x="9" y="49"/>
                    </a:lnTo>
                    <a:lnTo>
                      <a:pt x="5" y="45"/>
                    </a:lnTo>
                    <a:lnTo>
                      <a:pt x="2" y="41"/>
                    </a:lnTo>
                    <a:lnTo>
                      <a:pt x="0" y="34"/>
                    </a:lnTo>
                    <a:lnTo>
                      <a:pt x="0" y="29"/>
                    </a:lnTo>
                    <a:lnTo>
                      <a:pt x="0" y="22"/>
                    </a:lnTo>
                    <a:lnTo>
                      <a:pt x="2" y="17"/>
                    </a:lnTo>
                    <a:lnTo>
                      <a:pt x="5" y="13"/>
                    </a:lnTo>
                    <a:lnTo>
                      <a:pt x="9" y="8"/>
                    </a:lnTo>
                    <a:lnTo>
                      <a:pt x="14" y="4"/>
                    </a:lnTo>
                    <a:lnTo>
                      <a:pt x="19" y="2"/>
                    </a:lnTo>
                    <a:lnTo>
                      <a:pt x="26" y="0"/>
                    </a:lnTo>
                    <a:lnTo>
                      <a:pt x="32" y="0"/>
                    </a:lnTo>
                    <a:lnTo>
                      <a:pt x="39" y="0"/>
                    </a:lnTo>
                    <a:lnTo>
                      <a:pt x="45" y="2"/>
                    </a:lnTo>
                    <a:lnTo>
                      <a:pt x="50" y="4"/>
                    </a:lnTo>
                    <a:lnTo>
                      <a:pt x="55" y="8"/>
                    </a:lnTo>
                    <a:lnTo>
                      <a:pt x="59" y="13"/>
                    </a:lnTo>
                    <a:lnTo>
                      <a:pt x="62" y="17"/>
                    </a:lnTo>
                    <a:lnTo>
                      <a:pt x="64" y="22"/>
                    </a:lnTo>
                    <a:lnTo>
                      <a:pt x="64" y="29"/>
                    </a:lnTo>
                    <a:lnTo>
                      <a:pt x="64" y="34"/>
                    </a:lnTo>
                    <a:lnTo>
                      <a:pt x="62" y="41"/>
                    </a:lnTo>
                    <a:lnTo>
                      <a:pt x="59" y="45"/>
                    </a:lnTo>
                    <a:lnTo>
                      <a:pt x="55" y="49"/>
                    </a:lnTo>
                    <a:lnTo>
                      <a:pt x="50" y="53"/>
                    </a:lnTo>
                    <a:lnTo>
                      <a:pt x="45" y="56"/>
                    </a:lnTo>
                    <a:lnTo>
                      <a:pt x="39" y="58"/>
                    </a:lnTo>
                    <a:lnTo>
                      <a:pt x="32" y="58"/>
                    </a:lnTo>
                    <a:close/>
                    <a:moveTo>
                      <a:pt x="32" y="27"/>
                    </a:moveTo>
                    <a:lnTo>
                      <a:pt x="32" y="27"/>
                    </a:lnTo>
                    <a:lnTo>
                      <a:pt x="28" y="28"/>
                    </a:lnTo>
                    <a:lnTo>
                      <a:pt x="27" y="29"/>
                    </a:lnTo>
                    <a:lnTo>
                      <a:pt x="28" y="30"/>
                    </a:lnTo>
                    <a:lnTo>
                      <a:pt x="32" y="31"/>
                    </a:lnTo>
                    <a:lnTo>
                      <a:pt x="36" y="30"/>
                    </a:lnTo>
                    <a:lnTo>
                      <a:pt x="37" y="29"/>
                    </a:lnTo>
                    <a:lnTo>
                      <a:pt x="36" y="28"/>
                    </a:lnTo>
                    <a:lnTo>
                      <a:pt x="3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64"/>
              <p:cNvSpPr>
                <a:spLocks noEditPoints="1"/>
              </p:cNvSpPr>
              <p:nvPr userDrawn="1"/>
            </p:nvSpPr>
            <p:spPr bwMode="auto">
              <a:xfrm>
                <a:off x="1788" y="2526"/>
                <a:ext cx="27" cy="28"/>
              </a:xfrm>
              <a:custGeom>
                <a:avLst/>
                <a:gdLst>
                  <a:gd name="T0" fmla="*/ 33 w 82"/>
                  <a:gd name="T1" fmla="*/ 82 h 83"/>
                  <a:gd name="T2" fmla="*/ 19 w 82"/>
                  <a:gd name="T3" fmla="*/ 75 h 83"/>
                  <a:gd name="T4" fmla="*/ 7 w 82"/>
                  <a:gd name="T5" fmla="*/ 65 h 83"/>
                  <a:gd name="T6" fmla="*/ 0 w 82"/>
                  <a:gd name="T7" fmla="*/ 49 h 83"/>
                  <a:gd name="T8" fmla="*/ 0 w 82"/>
                  <a:gd name="T9" fmla="*/ 33 h 83"/>
                  <a:gd name="T10" fmla="*/ 7 w 82"/>
                  <a:gd name="T11" fmla="*/ 18 h 83"/>
                  <a:gd name="T12" fmla="*/ 19 w 82"/>
                  <a:gd name="T13" fmla="*/ 7 h 83"/>
                  <a:gd name="T14" fmla="*/ 33 w 82"/>
                  <a:gd name="T15" fmla="*/ 1 h 83"/>
                  <a:gd name="T16" fmla="*/ 50 w 82"/>
                  <a:gd name="T17" fmla="*/ 1 h 83"/>
                  <a:gd name="T18" fmla="*/ 64 w 82"/>
                  <a:gd name="T19" fmla="*/ 7 h 83"/>
                  <a:gd name="T20" fmla="*/ 76 w 82"/>
                  <a:gd name="T21" fmla="*/ 18 h 83"/>
                  <a:gd name="T22" fmla="*/ 81 w 82"/>
                  <a:gd name="T23" fmla="*/ 33 h 83"/>
                  <a:gd name="T24" fmla="*/ 81 w 82"/>
                  <a:gd name="T25" fmla="*/ 49 h 83"/>
                  <a:gd name="T26" fmla="*/ 76 w 82"/>
                  <a:gd name="T27" fmla="*/ 65 h 83"/>
                  <a:gd name="T28" fmla="*/ 64 w 82"/>
                  <a:gd name="T29" fmla="*/ 75 h 83"/>
                  <a:gd name="T30" fmla="*/ 50 w 82"/>
                  <a:gd name="T31" fmla="*/ 82 h 83"/>
                  <a:gd name="T32" fmla="*/ 41 w 82"/>
                  <a:gd name="T33" fmla="*/ 27 h 83"/>
                  <a:gd name="T34" fmla="*/ 38 w 82"/>
                  <a:gd name="T35" fmla="*/ 27 h 83"/>
                  <a:gd name="T36" fmla="*/ 33 w 82"/>
                  <a:gd name="T37" fmla="*/ 29 h 83"/>
                  <a:gd name="T38" fmla="*/ 30 w 82"/>
                  <a:gd name="T39" fmla="*/ 33 h 83"/>
                  <a:gd name="T40" fmla="*/ 27 w 82"/>
                  <a:gd name="T41" fmla="*/ 39 h 83"/>
                  <a:gd name="T42" fmla="*/ 27 w 82"/>
                  <a:gd name="T43" fmla="*/ 44 h 83"/>
                  <a:gd name="T44" fmla="*/ 30 w 82"/>
                  <a:gd name="T45" fmla="*/ 49 h 83"/>
                  <a:gd name="T46" fmla="*/ 33 w 82"/>
                  <a:gd name="T47" fmla="*/ 53 h 83"/>
                  <a:gd name="T48" fmla="*/ 38 w 82"/>
                  <a:gd name="T49" fmla="*/ 55 h 83"/>
                  <a:gd name="T50" fmla="*/ 45 w 82"/>
                  <a:gd name="T51" fmla="*/ 55 h 83"/>
                  <a:gd name="T52" fmla="*/ 49 w 82"/>
                  <a:gd name="T53" fmla="*/ 53 h 83"/>
                  <a:gd name="T54" fmla="*/ 53 w 82"/>
                  <a:gd name="T55" fmla="*/ 49 h 83"/>
                  <a:gd name="T56" fmla="*/ 55 w 82"/>
                  <a:gd name="T57" fmla="*/ 44 h 83"/>
                  <a:gd name="T58" fmla="*/ 55 w 82"/>
                  <a:gd name="T59" fmla="*/ 39 h 83"/>
                  <a:gd name="T60" fmla="*/ 53 w 82"/>
                  <a:gd name="T61" fmla="*/ 33 h 83"/>
                  <a:gd name="T62" fmla="*/ 49 w 82"/>
                  <a:gd name="T63" fmla="*/ 29 h 83"/>
                  <a:gd name="T64" fmla="*/ 45 w 82"/>
                  <a:gd name="T65" fmla="*/ 2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83">
                    <a:moveTo>
                      <a:pt x="41" y="83"/>
                    </a:moveTo>
                    <a:lnTo>
                      <a:pt x="33" y="82"/>
                    </a:lnTo>
                    <a:lnTo>
                      <a:pt x="25" y="80"/>
                    </a:lnTo>
                    <a:lnTo>
                      <a:pt x="19" y="75"/>
                    </a:lnTo>
                    <a:lnTo>
                      <a:pt x="12" y="71"/>
                    </a:lnTo>
                    <a:lnTo>
                      <a:pt x="7" y="65"/>
                    </a:lnTo>
                    <a:lnTo>
                      <a:pt x="4" y="57"/>
                    </a:lnTo>
                    <a:lnTo>
                      <a:pt x="0" y="49"/>
                    </a:lnTo>
                    <a:lnTo>
                      <a:pt x="0" y="41"/>
                    </a:lnTo>
                    <a:lnTo>
                      <a:pt x="0" y="33"/>
                    </a:lnTo>
                    <a:lnTo>
                      <a:pt x="4" y="26"/>
                    </a:lnTo>
                    <a:lnTo>
                      <a:pt x="7" y="18"/>
                    </a:lnTo>
                    <a:lnTo>
                      <a:pt x="12" y="12"/>
                    </a:lnTo>
                    <a:lnTo>
                      <a:pt x="19" y="7"/>
                    </a:lnTo>
                    <a:lnTo>
                      <a:pt x="25" y="3"/>
                    </a:lnTo>
                    <a:lnTo>
                      <a:pt x="33" y="1"/>
                    </a:lnTo>
                    <a:lnTo>
                      <a:pt x="41" y="0"/>
                    </a:lnTo>
                    <a:lnTo>
                      <a:pt x="50" y="1"/>
                    </a:lnTo>
                    <a:lnTo>
                      <a:pt x="58" y="3"/>
                    </a:lnTo>
                    <a:lnTo>
                      <a:pt x="64" y="7"/>
                    </a:lnTo>
                    <a:lnTo>
                      <a:pt x="71" y="12"/>
                    </a:lnTo>
                    <a:lnTo>
                      <a:pt x="76" y="18"/>
                    </a:lnTo>
                    <a:lnTo>
                      <a:pt x="79" y="26"/>
                    </a:lnTo>
                    <a:lnTo>
                      <a:pt x="81" y="33"/>
                    </a:lnTo>
                    <a:lnTo>
                      <a:pt x="82" y="41"/>
                    </a:lnTo>
                    <a:lnTo>
                      <a:pt x="81" y="49"/>
                    </a:lnTo>
                    <a:lnTo>
                      <a:pt x="79" y="57"/>
                    </a:lnTo>
                    <a:lnTo>
                      <a:pt x="76" y="65"/>
                    </a:lnTo>
                    <a:lnTo>
                      <a:pt x="71" y="71"/>
                    </a:lnTo>
                    <a:lnTo>
                      <a:pt x="64" y="75"/>
                    </a:lnTo>
                    <a:lnTo>
                      <a:pt x="58" y="80"/>
                    </a:lnTo>
                    <a:lnTo>
                      <a:pt x="50" y="82"/>
                    </a:lnTo>
                    <a:lnTo>
                      <a:pt x="41" y="83"/>
                    </a:lnTo>
                    <a:close/>
                    <a:moveTo>
                      <a:pt x="41" y="27"/>
                    </a:moveTo>
                    <a:lnTo>
                      <a:pt x="41" y="27"/>
                    </a:lnTo>
                    <a:lnTo>
                      <a:pt x="38" y="27"/>
                    </a:lnTo>
                    <a:lnTo>
                      <a:pt x="36" y="28"/>
                    </a:lnTo>
                    <a:lnTo>
                      <a:pt x="33" y="29"/>
                    </a:lnTo>
                    <a:lnTo>
                      <a:pt x="32" y="31"/>
                    </a:lnTo>
                    <a:lnTo>
                      <a:pt x="30" y="33"/>
                    </a:lnTo>
                    <a:lnTo>
                      <a:pt x="29" y="35"/>
                    </a:lnTo>
                    <a:lnTo>
                      <a:pt x="27" y="39"/>
                    </a:lnTo>
                    <a:lnTo>
                      <a:pt x="27" y="41"/>
                    </a:lnTo>
                    <a:lnTo>
                      <a:pt x="27" y="44"/>
                    </a:lnTo>
                    <a:lnTo>
                      <a:pt x="29" y="47"/>
                    </a:lnTo>
                    <a:lnTo>
                      <a:pt x="30" y="49"/>
                    </a:lnTo>
                    <a:lnTo>
                      <a:pt x="32" y="52"/>
                    </a:lnTo>
                    <a:lnTo>
                      <a:pt x="33" y="53"/>
                    </a:lnTo>
                    <a:lnTo>
                      <a:pt x="36" y="55"/>
                    </a:lnTo>
                    <a:lnTo>
                      <a:pt x="38" y="55"/>
                    </a:lnTo>
                    <a:lnTo>
                      <a:pt x="41" y="56"/>
                    </a:lnTo>
                    <a:lnTo>
                      <a:pt x="45" y="55"/>
                    </a:lnTo>
                    <a:lnTo>
                      <a:pt x="47" y="55"/>
                    </a:lnTo>
                    <a:lnTo>
                      <a:pt x="49" y="53"/>
                    </a:lnTo>
                    <a:lnTo>
                      <a:pt x="51" y="52"/>
                    </a:lnTo>
                    <a:lnTo>
                      <a:pt x="53" y="49"/>
                    </a:lnTo>
                    <a:lnTo>
                      <a:pt x="54" y="47"/>
                    </a:lnTo>
                    <a:lnTo>
                      <a:pt x="55" y="44"/>
                    </a:lnTo>
                    <a:lnTo>
                      <a:pt x="55" y="41"/>
                    </a:lnTo>
                    <a:lnTo>
                      <a:pt x="55" y="39"/>
                    </a:lnTo>
                    <a:lnTo>
                      <a:pt x="54" y="35"/>
                    </a:lnTo>
                    <a:lnTo>
                      <a:pt x="53" y="33"/>
                    </a:lnTo>
                    <a:lnTo>
                      <a:pt x="51" y="31"/>
                    </a:lnTo>
                    <a:lnTo>
                      <a:pt x="49" y="29"/>
                    </a:lnTo>
                    <a:lnTo>
                      <a:pt x="47" y="28"/>
                    </a:lnTo>
                    <a:lnTo>
                      <a:pt x="45" y="27"/>
                    </a:lnTo>
                    <a:lnTo>
                      <a:pt x="4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65"/>
              <p:cNvSpPr>
                <a:spLocks noEditPoints="1"/>
              </p:cNvSpPr>
              <p:nvPr userDrawn="1"/>
            </p:nvSpPr>
            <p:spPr bwMode="auto">
              <a:xfrm>
                <a:off x="1775" y="2417"/>
                <a:ext cx="28" cy="27"/>
              </a:xfrm>
              <a:custGeom>
                <a:avLst/>
                <a:gdLst>
                  <a:gd name="T0" fmla="*/ 33 w 83"/>
                  <a:gd name="T1" fmla="*/ 82 h 82"/>
                  <a:gd name="T2" fmla="*/ 18 w 83"/>
                  <a:gd name="T3" fmla="*/ 75 h 82"/>
                  <a:gd name="T4" fmla="*/ 7 w 83"/>
                  <a:gd name="T5" fmla="*/ 63 h 82"/>
                  <a:gd name="T6" fmla="*/ 1 w 83"/>
                  <a:gd name="T7" fmla="*/ 49 h 82"/>
                  <a:gd name="T8" fmla="*/ 1 w 83"/>
                  <a:gd name="T9" fmla="*/ 32 h 82"/>
                  <a:gd name="T10" fmla="*/ 7 w 83"/>
                  <a:gd name="T11" fmla="*/ 18 h 82"/>
                  <a:gd name="T12" fmla="*/ 18 w 83"/>
                  <a:gd name="T13" fmla="*/ 6 h 82"/>
                  <a:gd name="T14" fmla="*/ 33 w 83"/>
                  <a:gd name="T15" fmla="*/ 0 h 82"/>
                  <a:gd name="T16" fmla="*/ 49 w 83"/>
                  <a:gd name="T17" fmla="*/ 0 h 82"/>
                  <a:gd name="T18" fmla="*/ 64 w 83"/>
                  <a:gd name="T19" fmla="*/ 6 h 82"/>
                  <a:gd name="T20" fmla="*/ 75 w 83"/>
                  <a:gd name="T21" fmla="*/ 18 h 82"/>
                  <a:gd name="T22" fmla="*/ 82 w 83"/>
                  <a:gd name="T23" fmla="*/ 32 h 82"/>
                  <a:gd name="T24" fmla="*/ 82 w 83"/>
                  <a:gd name="T25" fmla="*/ 49 h 82"/>
                  <a:gd name="T26" fmla="*/ 75 w 83"/>
                  <a:gd name="T27" fmla="*/ 63 h 82"/>
                  <a:gd name="T28" fmla="*/ 64 w 83"/>
                  <a:gd name="T29" fmla="*/ 75 h 82"/>
                  <a:gd name="T30" fmla="*/ 49 w 83"/>
                  <a:gd name="T31" fmla="*/ 82 h 82"/>
                  <a:gd name="T32" fmla="*/ 41 w 83"/>
                  <a:gd name="T33" fmla="*/ 27 h 82"/>
                  <a:gd name="T34" fmla="*/ 38 w 83"/>
                  <a:gd name="T35" fmla="*/ 27 h 82"/>
                  <a:gd name="T36" fmla="*/ 33 w 83"/>
                  <a:gd name="T37" fmla="*/ 29 h 82"/>
                  <a:gd name="T38" fmla="*/ 29 w 83"/>
                  <a:gd name="T39" fmla="*/ 33 h 82"/>
                  <a:gd name="T40" fmla="*/ 27 w 83"/>
                  <a:gd name="T41" fmla="*/ 37 h 82"/>
                  <a:gd name="T42" fmla="*/ 27 w 83"/>
                  <a:gd name="T43" fmla="*/ 44 h 82"/>
                  <a:gd name="T44" fmla="*/ 29 w 83"/>
                  <a:gd name="T45" fmla="*/ 48 h 82"/>
                  <a:gd name="T46" fmla="*/ 33 w 83"/>
                  <a:gd name="T47" fmla="*/ 52 h 82"/>
                  <a:gd name="T48" fmla="*/ 38 w 83"/>
                  <a:gd name="T49" fmla="*/ 55 h 82"/>
                  <a:gd name="T50" fmla="*/ 44 w 83"/>
                  <a:gd name="T51" fmla="*/ 55 h 82"/>
                  <a:gd name="T52" fmla="*/ 49 w 83"/>
                  <a:gd name="T53" fmla="*/ 52 h 82"/>
                  <a:gd name="T54" fmla="*/ 54 w 83"/>
                  <a:gd name="T55" fmla="*/ 48 h 82"/>
                  <a:gd name="T56" fmla="*/ 56 w 83"/>
                  <a:gd name="T57" fmla="*/ 44 h 82"/>
                  <a:gd name="T58" fmla="*/ 56 w 83"/>
                  <a:gd name="T59" fmla="*/ 37 h 82"/>
                  <a:gd name="T60" fmla="*/ 54 w 83"/>
                  <a:gd name="T61" fmla="*/ 33 h 82"/>
                  <a:gd name="T62" fmla="*/ 49 w 83"/>
                  <a:gd name="T63" fmla="*/ 29 h 82"/>
                  <a:gd name="T64" fmla="*/ 44 w 83"/>
                  <a:gd name="T65" fmla="*/ 2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3" h="82">
                    <a:moveTo>
                      <a:pt x="41" y="82"/>
                    </a:moveTo>
                    <a:lnTo>
                      <a:pt x="33" y="82"/>
                    </a:lnTo>
                    <a:lnTo>
                      <a:pt x="25" y="78"/>
                    </a:lnTo>
                    <a:lnTo>
                      <a:pt x="18" y="75"/>
                    </a:lnTo>
                    <a:lnTo>
                      <a:pt x="11" y="70"/>
                    </a:lnTo>
                    <a:lnTo>
                      <a:pt x="7" y="63"/>
                    </a:lnTo>
                    <a:lnTo>
                      <a:pt x="3" y="57"/>
                    </a:lnTo>
                    <a:lnTo>
                      <a:pt x="1" y="49"/>
                    </a:lnTo>
                    <a:lnTo>
                      <a:pt x="0" y="41"/>
                    </a:lnTo>
                    <a:lnTo>
                      <a:pt x="1" y="32"/>
                    </a:lnTo>
                    <a:lnTo>
                      <a:pt x="3" y="24"/>
                    </a:lnTo>
                    <a:lnTo>
                      <a:pt x="7" y="18"/>
                    </a:lnTo>
                    <a:lnTo>
                      <a:pt x="11" y="11"/>
                    </a:lnTo>
                    <a:lnTo>
                      <a:pt x="18" y="6"/>
                    </a:lnTo>
                    <a:lnTo>
                      <a:pt x="25" y="3"/>
                    </a:lnTo>
                    <a:lnTo>
                      <a:pt x="33" y="0"/>
                    </a:lnTo>
                    <a:lnTo>
                      <a:pt x="41" y="0"/>
                    </a:lnTo>
                    <a:lnTo>
                      <a:pt x="49" y="0"/>
                    </a:lnTo>
                    <a:lnTo>
                      <a:pt x="57" y="3"/>
                    </a:lnTo>
                    <a:lnTo>
                      <a:pt x="64" y="6"/>
                    </a:lnTo>
                    <a:lnTo>
                      <a:pt x="71" y="11"/>
                    </a:lnTo>
                    <a:lnTo>
                      <a:pt x="75" y="18"/>
                    </a:lnTo>
                    <a:lnTo>
                      <a:pt x="79" y="24"/>
                    </a:lnTo>
                    <a:lnTo>
                      <a:pt x="82" y="32"/>
                    </a:lnTo>
                    <a:lnTo>
                      <a:pt x="83" y="41"/>
                    </a:lnTo>
                    <a:lnTo>
                      <a:pt x="82" y="49"/>
                    </a:lnTo>
                    <a:lnTo>
                      <a:pt x="79" y="57"/>
                    </a:lnTo>
                    <a:lnTo>
                      <a:pt x="75" y="63"/>
                    </a:lnTo>
                    <a:lnTo>
                      <a:pt x="71" y="70"/>
                    </a:lnTo>
                    <a:lnTo>
                      <a:pt x="64" y="75"/>
                    </a:lnTo>
                    <a:lnTo>
                      <a:pt x="57" y="78"/>
                    </a:lnTo>
                    <a:lnTo>
                      <a:pt x="49" y="82"/>
                    </a:lnTo>
                    <a:lnTo>
                      <a:pt x="41" y="82"/>
                    </a:lnTo>
                    <a:close/>
                    <a:moveTo>
                      <a:pt x="41" y="27"/>
                    </a:moveTo>
                    <a:lnTo>
                      <a:pt x="41" y="27"/>
                    </a:lnTo>
                    <a:lnTo>
                      <a:pt x="38" y="27"/>
                    </a:lnTo>
                    <a:lnTo>
                      <a:pt x="35" y="28"/>
                    </a:lnTo>
                    <a:lnTo>
                      <a:pt x="33" y="29"/>
                    </a:lnTo>
                    <a:lnTo>
                      <a:pt x="31" y="31"/>
                    </a:lnTo>
                    <a:lnTo>
                      <a:pt x="29" y="33"/>
                    </a:lnTo>
                    <a:lnTo>
                      <a:pt x="28" y="35"/>
                    </a:lnTo>
                    <a:lnTo>
                      <a:pt x="27" y="37"/>
                    </a:lnTo>
                    <a:lnTo>
                      <a:pt x="27" y="41"/>
                    </a:lnTo>
                    <a:lnTo>
                      <a:pt x="27" y="44"/>
                    </a:lnTo>
                    <a:lnTo>
                      <a:pt x="28" y="46"/>
                    </a:lnTo>
                    <a:lnTo>
                      <a:pt x="29" y="48"/>
                    </a:lnTo>
                    <a:lnTo>
                      <a:pt x="31" y="50"/>
                    </a:lnTo>
                    <a:lnTo>
                      <a:pt x="33" y="52"/>
                    </a:lnTo>
                    <a:lnTo>
                      <a:pt x="35" y="54"/>
                    </a:lnTo>
                    <a:lnTo>
                      <a:pt x="38" y="55"/>
                    </a:lnTo>
                    <a:lnTo>
                      <a:pt x="41" y="55"/>
                    </a:lnTo>
                    <a:lnTo>
                      <a:pt x="44" y="55"/>
                    </a:lnTo>
                    <a:lnTo>
                      <a:pt x="47" y="54"/>
                    </a:lnTo>
                    <a:lnTo>
                      <a:pt x="49" y="52"/>
                    </a:lnTo>
                    <a:lnTo>
                      <a:pt x="51" y="50"/>
                    </a:lnTo>
                    <a:lnTo>
                      <a:pt x="54" y="48"/>
                    </a:lnTo>
                    <a:lnTo>
                      <a:pt x="55" y="46"/>
                    </a:lnTo>
                    <a:lnTo>
                      <a:pt x="56" y="44"/>
                    </a:lnTo>
                    <a:lnTo>
                      <a:pt x="56" y="41"/>
                    </a:lnTo>
                    <a:lnTo>
                      <a:pt x="56" y="37"/>
                    </a:lnTo>
                    <a:lnTo>
                      <a:pt x="55" y="35"/>
                    </a:lnTo>
                    <a:lnTo>
                      <a:pt x="54" y="33"/>
                    </a:lnTo>
                    <a:lnTo>
                      <a:pt x="51" y="31"/>
                    </a:lnTo>
                    <a:lnTo>
                      <a:pt x="49" y="29"/>
                    </a:lnTo>
                    <a:lnTo>
                      <a:pt x="47" y="28"/>
                    </a:lnTo>
                    <a:lnTo>
                      <a:pt x="44" y="27"/>
                    </a:lnTo>
                    <a:lnTo>
                      <a:pt x="4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66"/>
              <p:cNvSpPr>
                <a:spLocks noEditPoints="1"/>
              </p:cNvSpPr>
              <p:nvPr userDrawn="1"/>
            </p:nvSpPr>
            <p:spPr bwMode="auto">
              <a:xfrm>
                <a:off x="1710" y="2266"/>
                <a:ext cx="33" cy="33"/>
              </a:xfrm>
              <a:custGeom>
                <a:avLst/>
                <a:gdLst>
                  <a:gd name="T0" fmla="*/ 40 w 99"/>
                  <a:gd name="T1" fmla="*/ 98 h 99"/>
                  <a:gd name="T2" fmla="*/ 22 w 99"/>
                  <a:gd name="T3" fmla="*/ 90 h 99"/>
                  <a:gd name="T4" fmla="*/ 9 w 99"/>
                  <a:gd name="T5" fmla="*/ 77 h 99"/>
                  <a:gd name="T6" fmla="*/ 1 w 99"/>
                  <a:gd name="T7" fmla="*/ 60 h 99"/>
                  <a:gd name="T8" fmla="*/ 1 w 99"/>
                  <a:gd name="T9" fmla="*/ 39 h 99"/>
                  <a:gd name="T10" fmla="*/ 9 w 99"/>
                  <a:gd name="T11" fmla="*/ 22 h 99"/>
                  <a:gd name="T12" fmla="*/ 22 w 99"/>
                  <a:gd name="T13" fmla="*/ 9 h 99"/>
                  <a:gd name="T14" fmla="*/ 40 w 99"/>
                  <a:gd name="T15" fmla="*/ 1 h 99"/>
                  <a:gd name="T16" fmla="*/ 59 w 99"/>
                  <a:gd name="T17" fmla="*/ 1 h 99"/>
                  <a:gd name="T18" fmla="*/ 77 w 99"/>
                  <a:gd name="T19" fmla="*/ 9 h 99"/>
                  <a:gd name="T20" fmla="*/ 91 w 99"/>
                  <a:gd name="T21" fmla="*/ 22 h 99"/>
                  <a:gd name="T22" fmla="*/ 98 w 99"/>
                  <a:gd name="T23" fmla="*/ 39 h 99"/>
                  <a:gd name="T24" fmla="*/ 98 w 99"/>
                  <a:gd name="T25" fmla="*/ 60 h 99"/>
                  <a:gd name="T26" fmla="*/ 91 w 99"/>
                  <a:gd name="T27" fmla="*/ 77 h 99"/>
                  <a:gd name="T28" fmla="*/ 77 w 99"/>
                  <a:gd name="T29" fmla="*/ 90 h 99"/>
                  <a:gd name="T30" fmla="*/ 59 w 99"/>
                  <a:gd name="T31" fmla="*/ 98 h 99"/>
                  <a:gd name="T32" fmla="*/ 50 w 99"/>
                  <a:gd name="T33" fmla="*/ 27 h 99"/>
                  <a:gd name="T34" fmla="*/ 45 w 99"/>
                  <a:gd name="T35" fmla="*/ 27 h 99"/>
                  <a:gd name="T36" fmla="*/ 37 w 99"/>
                  <a:gd name="T37" fmla="*/ 31 h 99"/>
                  <a:gd name="T38" fmla="*/ 31 w 99"/>
                  <a:gd name="T39" fmla="*/ 37 h 99"/>
                  <a:gd name="T40" fmla="*/ 28 w 99"/>
                  <a:gd name="T41" fmla="*/ 45 h 99"/>
                  <a:gd name="T42" fmla="*/ 28 w 99"/>
                  <a:gd name="T43" fmla="*/ 54 h 99"/>
                  <a:gd name="T44" fmla="*/ 31 w 99"/>
                  <a:gd name="T45" fmla="*/ 62 h 99"/>
                  <a:gd name="T46" fmla="*/ 37 w 99"/>
                  <a:gd name="T47" fmla="*/ 68 h 99"/>
                  <a:gd name="T48" fmla="*/ 45 w 99"/>
                  <a:gd name="T49" fmla="*/ 72 h 99"/>
                  <a:gd name="T50" fmla="*/ 54 w 99"/>
                  <a:gd name="T51" fmla="*/ 72 h 99"/>
                  <a:gd name="T52" fmla="*/ 62 w 99"/>
                  <a:gd name="T53" fmla="*/ 68 h 99"/>
                  <a:gd name="T54" fmla="*/ 68 w 99"/>
                  <a:gd name="T55" fmla="*/ 62 h 99"/>
                  <a:gd name="T56" fmla="*/ 71 w 99"/>
                  <a:gd name="T57" fmla="*/ 54 h 99"/>
                  <a:gd name="T58" fmla="*/ 71 w 99"/>
                  <a:gd name="T59" fmla="*/ 45 h 99"/>
                  <a:gd name="T60" fmla="*/ 68 w 99"/>
                  <a:gd name="T61" fmla="*/ 37 h 99"/>
                  <a:gd name="T62" fmla="*/ 62 w 99"/>
                  <a:gd name="T63" fmla="*/ 31 h 99"/>
                  <a:gd name="T64" fmla="*/ 54 w 99"/>
                  <a:gd name="T65" fmla="*/ 2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99">
                    <a:moveTo>
                      <a:pt x="50" y="99"/>
                    </a:moveTo>
                    <a:lnTo>
                      <a:pt x="40" y="98"/>
                    </a:lnTo>
                    <a:lnTo>
                      <a:pt x="30" y="95"/>
                    </a:lnTo>
                    <a:lnTo>
                      <a:pt x="22" y="90"/>
                    </a:lnTo>
                    <a:lnTo>
                      <a:pt x="15" y="85"/>
                    </a:lnTo>
                    <a:lnTo>
                      <a:pt x="9" y="77"/>
                    </a:lnTo>
                    <a:lnTo>
                      <a:pt x="4" y="68"/>
                    </a:lnTo>
                    <a:lnTo>
                      <a:pt x="1" y="60"/>
                    </a:lnTo>
                    <a:lnTo>
                      <a:pt x="0" y="50"/>
                    </a:lnTo>
                    <a:lnTo>
                      <a:pt x="1" y="39"/>
                    </a:lnTo>
                    <a:lnTo>
                      <a:pt x="4" y="31"/>
                    </a:lnTo>
                    <a:lnTo>
                      <a:pt x="9" y="22"/>
                    </a:lnTo>
                    <a:lnTo>
                      <a:pt x="15" y="14"/>
                    </a:lnTo>
                    <a:lnTo>
                      <a:pt x="22" y="9"/>
                    </a:lnTo>
                    <a:lnTo>
                      <a:pt x="30" y="4"/>
                    </a:lnTo>
                    <a:lnTo>
                      <a:pt x="40" y="1"/>
                    </a:lnTo>
                    <a:lnTo>
                      <a:pt x="50" y="0"/>
                    </a:lnTo>
                    <a:lnTo>
                      <a:pt x="59" y="1"/>
                    </a:lnTo>
                    <a:lnTo>
                      <a:pt x="69" y="4"/>
                    </a:lnTo>
                    <a:lnTo>
                      <a:pt x="77" y="9"/>
                    </a:lnTo>
                    <a:lnTo>
                      <a:pt x="84" y="14"/>
                    </a:lnTo>
                    <a:lnTo>
                      <a:pt x="91" y="22"/>
                    </a:lnTo>
                    <a:lnTo>
                      <a:pt x="95" y="31"/>
                    </a:lnTo>
                    <a:lnTo>
                      <a:pt x="98" y="39"/>
                    </a:lnTo>
                    <a:lnTo>
                      <a:pt x="99" y="50"/>
                    </a:lnTo>
                    <a:lnTo>
                      <a:pt x="98" y="60"/>
                    </a:lnTo>
                    <a:lnTo>
                      <a:pt x="95" y="68"/>
                    </a:lnTo>
                    <a:lnTo>
                      <a:pt x="91" y="77"/>
                    </a:lnTo>
                    <a:lnTo>
                      <a:pt x="84" y="85"/>
                    </a:lnTo>
                    <a:lnTo>
                      <a:pt x="77" y="90"/>
                    </a:lnTo>
                    <a:lnTo>
                      <a:pt x="69" y="95"/>
                    </a:lnTo>
                    <a:lnTo>
                      <a:pt x="59" y="98"/>
                    </a:lnTo>
                    <a:lnTo>
                      <a:pt x="50" y="99"/>
                    </a:lnTo>
                    <a:close/>
                    <a:moveTo>
                      <a:pt x="50" y="27"/>
                    </a:moveTo>
                    <a:lnTo>
                      <a:pt x="50" y="27"/>
                    </a:lnTo>
                    <a:lnTo>
                      <a:pt x="45" y="27"/>
                    </a:lnTo>
                    <a:lnTo>
                      <a:pt x="41" y="28"/>
                    </a:lnTo>
                    <a:lnTo>
                      <a:pt x="37" y="31"/>
                    </a:lnTo>
                    <a:lnTo>
                      <a:pt x="34" y="34"/>
                    </a:lnTo>
                    <a:lnTo>
                      <a:pt x="31" y="37"/>
                    </a:lnTo>
                    <a:lnTo>
                      <a:pt x="29" y="40"/>
                    </a:lnTo>
                    <a:lnTo>
                      <a:pt x="28" y="45"/>
                    </a:lnTo>
                    <a:lnTo>
                      <a:pt x="27" y="50"/>
                    </a:lnTo>
                    <a:lnTo>
                      <a:pt x="28" y="54"/>
                    </a:lnTo>
                    <a:lnTo>
                      <a:pt x="29" y="59"/>
                    </a:lnTo>
                    <a:lnTo>
                      <a:pt x="31" y="62"/>
                    </a:lnTo>
                    <a:lnTo>
                      <a:pt x="34" y="65"/>
                    </a:lnTo>
                    <a:lnTo>
                      <a:pt x="37" y="68"/>
                    </a:lnTo>
                    <a:lnTo>
                      <a:pt x="41" y="71"/>
                    </a:lnTo>
                    <a:lnTo>
                      <a:pt x="45" y="72"/>
                    </a:lnTo>
                    <a:lnTo>
                      <a:pt x="50" y="72"/>
                    </a:lnTo>
                    <a:lnTo>
                      <a:pt x="54" y="72"/>
                    </a:lnTo>
                    <a:lnTo>
                      <a:pt x="58" y="71"/>
                    </a:lnTo>
                    <a:lnTo>
                      <a:pt x="62" y="68"/>
                    </a:lnTo>
                    <a:lnTo>
                      <a:pt x="66" y="65"/>
                    </a:lnTo>
                    <a:lnTo>
                      <a:pt x="68" y="62"/>
                    </a:lnTo>
                    <a:lnTo>
                      <a:pt x="70" y="59"/>
                    </a:lnTo>
                    <a:lnTo>
                      <a:pt x="71" y="54"/>
                    </a:lnTo>
                    <a:lnTo>
                      <a:pt x="72" y="50"/>
                    </a:lnTo>
                    <a:lnTo>
                      <a:pt x="71" y="45"/>
                    </a:lnTo>
                    <a:lnTo>
                      <a:pt x="70" y="40"/>
                    </a:lnTo>
                    <a:lnTo>
                      <a:pt x="68" y="37"/>
                    </a:lnTo>
                    <a:lnTo>
                      <a:pt x="66" y="34"/>
                    </a:lnTo>
                    <a:lnTo>
                      <a:pt x="62" y="31"/>
                    </a:lnTo>
                    <a:lnTo>
                      <a:pt x="58" y="28"/>
                    </a:lnTo>
                    <a:lnTo>
                      <a:pt x="54"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67"/>
              <p:cNvSpPr>
                <a:spLocks noEditPoints="1"/>
              </p:cNvSpPr>
              <p:nvPr userDrawn="1"/>
            </p:nvSpPr>
            <p:spPr bwMode="auto">
              <a:xfrm>
                <a:off x="1803" y="2144"/>
                <a:ext cx="23" cy="22"/>
              </a:xfrm>
              <a:custGeom>
                <a:avLst/>
                <a:gdLst>
                  <a:gd name="T0" fmla="*/ 34 w 68"/>
                  <a:gd name="T1" fmla="*/ 68 h 68"/>
                  <a:gd name="T2" fmla="*/ 27 w 68"/>
                  <a:gd name="T3" fmla="*/ 68 h 68"/>
                  <a:gd name="T4" fmla="*/ 20 w 68"/>
                  <a:gd name="T5" fmla="*/ 66 h 68"/>
                  <a:gd name="T6" fmla="*/ 15 w 68"/>
                  <a:gd name="T7" fmla="*/ 63 h 68"/>
                  <a:gd name="T8" fmla="*/ 10 w 68"/>
                  <a:gd name="T9" fmla="*/ 59 h 68"/>
                  <a:gd name="T10" fmla="*/ 5 w 68"/>
                  <a:gd name="T11" fmla="*/ 53 h 68"/>
                  <a:gd name="T12" fmla="*/ 2 w 68"/>
                  <a:gd name="T13" fmla="*/ 48 h 68"/>
                  <a:gd name="T14" fmla="*/ 1 w 68"/>
                  <a:gd name="T15" fmla="*/ 41 h 68"/>
                  <a:gd name="T16" fmla="*/ 0 w 68"/>
                  <a:gd name="T17" fmla="*/ 34 h 68"/>
                  <a:gd name="T18" fmla="*/ 1 w 68"/>
                  <a:gd name="T19" fmla="*/ 27 h 68"/>
                  <a:gd name="T20" fmla="*/ 2 w 68"/>
                  <a:gd name="T21" fmla="*/ 21 h 68"/>
                  <a:gd name="T22" fmla="*/ 5 w 68"/>
                  <a:gd name="T23" fmla="*/ 15 h 68"/>
                  <a:gd name="T24" fmla="*/ 10 w 68"/>
                  <a:gd name="T25" fmla="*/ 10 h 68"/>
                  <a:gd name="T26" fmla="*/ 15 w 68"/>
                  <a:gd name="T27" fmla="*/ 6 h 68"/>
                  <a:gd name="T28" fmla="*/ 20 w 68"/>
                  <a:gd name="T29" fmla="*/ 2 h 68"/>
                  <a:gd name="T30" fmla="*/ 27 w 68"/>
                  <a:gd name="T31" fmla="*/ 0 h 68"/>
                  <a:gd name="T32" fmla="*/ 34 w 68"/>
                  <a:gd name="T33" fmla="*/ 0 h 68"/>
                  <a:gd name="T34" fmla="*/ 41 w 68"/>
                  <a:gd name="T35" fmla="*/ 0 h 68"/>
                  <a:gd name="T36" fmla="*/ 47 w 68"/>
                  <a:gd name="T37" fmla="*/ 2 h 68"/>
                  <a:gd name="T38" fmla="*/ 53 w 68"/>
                  <a:gd name="T39" fmla="*/ 6 h 68"/>
                  <a:gd name="T40" fmla="*/ 58 w 68"/>
                  <a:gd name="T41" fmla="*/ 10 h 68"/>
                  <a:gd name="T42" fmla="*/ 62 w 68"/>
                  <a:gd name="T43" fmla="*/ 15 h 68"/>
                  <a:gd name="T44" fmla="*/ 66 w 68"/>
                  <a:gd name="T45" fmla="*/ 21 h 68"/>
                  <a:gd name="T46" fmla="*/ 68 w 68"/>
                  <a:gd name="T47" fmla="*/ 27 h 68"/>
                  <a:gd name="T48" fmla="*/ 68 w 68"/>
                  <a:gd name="T49" fmla="*/ 34 h 68"/>
                  <a:gd name="T50" fmla="*/ 68 w 68"/>
                  <a:gd name="T51" fmla="*/ 41 h 68"/>
                  <a:gd name="T52" fmla="*/ 66 w 68"/>
                  <a:gd name="T53" fmla="*/ 48 h 68"/>
                  <a:gd name="T54" fmla="*/ 62 w 68"/>
                  <a:gd name="T55" fmla="*/ 53 h 68"/>
                  <a:gd name="T56" fmla="*/ 58 w 68"/>
                  <a:gd name="T57" fmla="*/ 59 h 68"/>
                  <a:gd name="T58" fmla="*/ 53 w 68"/>
                  <a:gd name="T59" fmla="*/ 63 h 68"/>
                  <a:gd name="T60" fmla="*/ 47 w 68"/>
                  <a:gd name="T61" fmla="*/ 66 h 68"/>
                  <a:gd name="T62" fmla="*/ 41 w 68"/>
                  <a:gd name="T63" fmla="*/ 68 h 68"/>
                  <a:gd name="T64" fmla="*/ 34 w 68"/>
                  <a:gd name="T65" fmla="*/ 68 h 68"/>
                  <a:gd name="T66" fmla="*/ 34 w 68"/>
                  <a:gd name="T67" fmla="*/ 27 h 68"/>
                  <a:gd name="T68" fmla="*/ 34 w 68"/>
                  <a:gd name="T69" fmla="*/ 27 h 68"/>
                  <a:gd name="T70" fmla="*/ 31 w 68"/>
                  <a:gd name="T71" fmla="*/ 27 h 68"/>
                  <a:gd name="T72" fmla="*/ 29 w 68"/>
                  <a:gd name="T73" fmla="*/ 29 h 68"/>
                  <a:gd name="T74" fmla="*/ 27 w 68"/>
                  <a:gd name="T75" fmla="*/ 32 h 68"/>
                  <a:gd name="T76" fmla="*/ 27 w 68"/>
                  <a:gd name="T77" fmla="*/ 34 h 68"/>
                  <a:gd name="T78" fmla="*/ 27 w 68"/>
                  <a:gd name="T79" fmla="*/ 37 h 68"/>
                  <a:gd name="T80" fmla="*/ 29 w 68"/>
                  <a:gd name="T81" fmla="*/ 39 h 68"/>
                  <a:gd name="T82" fmla="*/ 31 w 68"/>
                  <a:gd name="T83" fmla="*/ 40 h 68"/>
                  <a:gd name="T84" fmla="*/ 34 w 68"/>
                  <a:gd name="T85" fmla="*/ 40 h 68"/>
                  <a:gd name="T86" fmla="*/ 37 w 68"/>
                  <a:gd name="T87" fmla="*/ 40 h 68"/>
                  <a:gd name="T88" fmla="*/ 39 w 68"/>
                  <a:gd name="T89" fmla="*/ 39 h 68"/>
                  <a:gd name="T90" fmla="*/ 41 w 68"/>
                  <a:gd name="T91" fmla="*/ 37 h 68"/>
                  <a:gd name="T92" fmla="*/ 41 w 68"/>
                  <a:gd name="T93" fmla="*/ 34 h 68"/>
                  <a:gd name="T94" fmla="*/ 41 w 68"/>
                  <a:gd name="T95" fmla="*/ 32 h 68"/>
                  <a:gd name="T96" fmla="*/ 39 w 68"/>
                  <a:gd name="T97" fmla="*/ 29 h 68"/>
                  <a:gd name="T98" fmla="*/ 37 w 68"/>
                  <a:gd name="T99" fmla="*/ 27 h 68"/>
                  <a:gd name="T100" fmla="*/ 34 w 68"/>
                  <a:gd name="T101"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68">
                    <a:moveTo>
                      <a:pt x="34" y="68"/>
                    </a:moveTo>
                    <a:lnTo>
                      <a:pt x="27" y="68"/>
                    </a:lnTo>
                    <a:lnTo>
                      <a:pt x="20" y="66"/>
                    </a:lnTo>
                    <a:lnTo>
                      <a:pt x="15" y="63"/>
                    </a:lnTo>
                    <a:lnTo>
                      <a:pt x="10" y="59"/>
                    </a:lnTo>
                    <a:lnTo>
                      <a:pt x="5" y="53"/>
                    </a:lnTo>
                    <a:lnTo>
                      <a:pt x="2" y="48"/>
                    </a:lnTo>
                    <a:lnTo>
                      <a:pt x="1" y="41"/>
                    </a:lnTo>
                    <a:lnTo>
                      <a:pt x="0" y="34"/>
                    </a:lnTo>
                    <a:lnTo>
                      <a:pt x="1" y="27"/>
                    </a:lnTo>
                    <a:lnTo>
                      <a:pt x="2" y="21"/>
                    </a:lnTo>
                    <a:lnTo>
                      <a:pt x="5" y="15"/>
                    </a:lnTo>
                    <a:lnTo>
                      <a:pt x="10" y="10"/>
                    </a:lnTo>
                    <a:lnTo>
                      <a:pt x="15" y="6"/>
                    </a:lnTo>
                    <a:lnTo>
                      <a:pt x="20" y="2"/>
                    </a:lnTo>
                    <a:lnTo>
                      <a:pt x="27" y="0"/>
                    </a:lnTo>
                    <a:lnTo>
                      <a:pt x="34" y="0"/>
                    </a:lnTo>
                    <a:lnTo>
                      <a:pt x="41" y="0"/>
                    </a:lnTo>
                    <a:lnTo>
                      <a:pt x="47" y="2"/>
                    </a:lnTo>
                    <a:lnTo>
                      <a:pt x="53" y="6"/>
                    </a:lnTo>
                    <a:lnTo>
                      <a:pt x="58" y="10"/>
                    </a:lnTo>
                    <a:lnTo>
                      <a:pt x="62" y="15"/>
                    </a:lnTo>
                    <a:lnTo>
                      <a:pt x="66" y="21"/>
                    </a:lnTo>
                    <a:lnTo>
                      <a:pt x="68" y="27"/>
                    </a:lnTo>
                    <a:lnTo>
                      <a:pt x="68" y="34"/>
                    </a:lnTo>
                    <a:lnTo>
                      <a:pt x="68" y="41"/>
                    </a:lnTo>
                    <a:lnTo>
                      <a:pt x="66" y="48"/>
                    </a:lnTo>
                    <a:lnTo>
                      <a:pt x="62" y="53"/>
                    </a:lnTo>
                    <a:lnTo>
                      <a:pt x="58" y="59"/>
                    </a:lnTo>
                    <a:lnTo>
                      <a:pt x="53" y="63"/>
                    </a:lnTo>
                    <a:lnTo>
                      <a:pt x="47" y="66"/>
                    </a:lnTo>
                    <a:lnTo>
                      <a:pt x="41" y="68"/>
                    </a:lnTo>
                    <a:lnTo>
                      <a:pt x="34" y="68"/>
                    </a:lnTo>
                    <a:close/>
                    <a:moveTo>
                      <a:pt x="34" y="27"/>
                    </a:moveTo>
                    <a:lnTo>
                      <a:pt x="34" y="27"/>
                    </a:lnTo>
                    <a:lnTo>
                      <a:pt x="31" y="27"/>
                    </a:lnTo>
                    <a:lnTo>
                      <a:pt x="29" y="29"/>
                    </a:lnTo>
                    <a:lnTo>
                      <a:pt x="27" y="32"/>
                    </a:lnTo>
                    <a:lnTo>
                      <a:pt x="27" y="34"/>
                    </a:lnTo>
                    <a:lnTo>
                      <a:pt x="27" y="37"/>
                    </a:lnTo>
                    <a:lnTo>
                      <a:pt x="29" y="39"/>
                    </a:lnTo>
                    <a:lnTo>
                      <a:pt x="31" y="40"/>
                    </a:lnTo>
                    <a:lnTo>
                      <a:pt x="34" y="40"/>
                    </a:lnTo>
                    <a:lnTo>
                      <a:pt x="37" y="40"/>
                    </a:lnTo>
                    <a:lnTo>
                      <a:pt x="39" y="39"/>
                    </a:lnTo>
                    <a:lnTo>
                      <a:pt x="41" y="37"/>
                    </a:lnTo>
                    <a:lnTo>
                      <a:pt x="41" y="34"/>
                    </a:lnTo>
                    <a:lnTo>
                      <a:pt x="41" y="32"/>
                    </a:lnTo>
                    <a:lnTo>
                      <a:pt x="39" y="29"/>
                    </a:lnTo>
                    <a:lnTo>
                      <a:pt x="37" y="27"/>
                    </a:ln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68"/>
              <p:cNvSpPr>
                <a:spLocks noEditPoints="1"/>
              </p:cNvSpPr>
              <p:nvPr userDrawn="1"/>
            </p:nvSpPr>
            <p:spPr bwMode="auto">
              <a:xfrm>
                <a:off x="1621" y="2128"/>
                <a:ext cx="32" cy="32"/>
              </a:xfrm>
              <a:custGeom>
                <a:avLst/>
                <a:gdLst>
                  <a:gd name="T0" fmla="*/ 38 w 95"/>
                  <a:gd name="T1" fmla="*/ 94 h 95"/>
                  <a:gd name="T2" fmla="*/ 21 w 95"/>
                  <a:gd name="T3" fmla="*/ 87 h 95"/>
                  <a:gd name="T4" fmla="*/ 8 w 95"/>
                  <a:gd name="T5" fmla="*/ 74 h 95"/>
                  <a:gd name="T6" fmla="*/ 2 w 95"/>
                  <a:gd name="T7" fmla="*/ 57 h 95"/>
                  <a:gd name="T8" fmla="*/ 2 w 95"/>
                  <a:gd name="T9" fmla="*/ 38 h 95"/>
                  <a:gd name="T10" fmla="*/ 8 w 95"/>
                  <a:gd name="T11" fmla="*/ 21 h 95"/>
                  <a:gd name="T12" fmla="*/ 21 w 95"/>
                  <a:gd name="T13" fmla="*/ 8 h 95"/>
                  <a:gd name="T14" fmla="*/ 38 w 95"/>
                  <a:gd name="T15" fmla="*/ 1 h 95"/>
                  <a:gd name="T16" fmla="*/ 58 w 95"/>
                  <a:gd name="T17" fmla="*/ 1 h 95"/>
                  <a:gd name="T18" fmla="*/ 74 w 95"/>
                  <a:gd name="T19" fmla="*/ 8 h 95"/>
                  <a:gd name="T20" fmla="*/ 87 w 95"/>
                  <a:gd name="T21" fmla="*/ 21 h 95"/>
                  <a:gd name="T22" fmla="*/ 94 w 95"/>
                  <a:gd name="T23" fmla="*/ 38 h 95"/>
                  <a:gd name="T24" fmla="*/ 94 w 95"/>
                  <a:gd name="T25" fmla="*/ 57 h 95"/>
                  <a:gd name="T26" fmla="*/ 87 w 95"/>
                  <a:gd name="T27" fmla="*/ 74 h 95"/>
                  <a:gd name="T28" fmla="*/ 74 w 95"/>
                  <a:gd name="T29" fmla="*/ 87 h 95"/>
                  <a:gd name="T30" fmla="*/ 58 w 95"/>
                  <a:gd name="T31" fmla="*/ 94 h 95"/>
                  <a:gd name="T32" fmla="*/ 48 w 95"/>
                  <a:gd name="T33" fmla="*/ 27 h 95"/>
                  <a:gd name="T34" fmla="*/ 44 w 95"/>
                  <a:gd name="T35" fmla="*/ 28 h 95"/>
                  <a:gd name="T36" fmla="*/ 36 w 95"/>
                  <a:gd name="T37" fmla="*/ 30 h 95"/>
                  <a:gd name="T38" fmla="*/ 31 w 95"/>
                  <a:gd name="T39" fmla="*/ 37 h 95"/>
                  <a:gd name="T40" fmla="*/ 27 w 95"/>
                  <a:gd name="T41" fmla="*/ 43 h 95"/>
                  <a:gd name="T42" fmla="*/ 27 w 95"/>
                  <a:gd name="T43" fmla="*/ 52 h 95"/>
                  <a:gd name="T44" fmla="*/ 31 w 95"/>
                  <a:gd name="T45" fmla="*/ 59 h 95"/>
                  <a:gd name="T46" fmla="*/ 36 w 95"/>
                  <a:gd name="T47" fmla="*/ 65 h 95"/>
                  <a:gd name="T48" fmla="*/ 44 w 95"/>
                  <a:gd name="T49" fmla="*/ 68 h 95"/>
                  <a:gd name="T50" fmla="*/ 52 w 95"/>
                  <a:gd name="T51" fmla="*/ 68 h 95"/>
                  <a:gd name="T52" fmla="*/ 59 w 95"/>
                  <a:gd name="T53" fmla="*/ 65 h 95"/>
                  <a:gd name="T54" fmla="*/ 65 w 95"/>
                  <a:gd name="T55" fmla="*/ 59 h 95"/>
                  <a:gd name="T56" fmla="*/ 67 w 95"/>
                  <a:gd name="T57" fmla="*/ 52 h 95"/>
                  <a:gd name="T58" fmla="*/ 67 w 95"/>
                  <a:gd name="T59" fmla="*/ 43 h 95"/>
                  <a:gd name="T60" fmla="*/ 65 w 95"/>
                  <a:gd name="T61" fmla="*/ 37 h 95"/>
                  <a:gd name="T62" fmla="*/ 59 w 95"/>
                  <a:gd name="T63" fmla="*/ 30 h 95"/>
                  <a:gd name="T64" fmla="*/ 52 w 95"/>
                  <a:gd name="T65"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8" y="95"/>
                    </a:moveTo>
                    <a:lnTo>
                      <a:pt x="38" y="94"/>
                    </a:lnTo>
                    <a:lnTo>
                      <a:pt x="30" y="92"/>
                    </a:lnTo>
                    <a:lnTo>
                      <a:pt x="21" y="87"/>
                    </a:lnTo>
                    <a:lnTo>
                      <a:pt x="15" y="81"/>
                    </a:lnTo>
                    <a:lnTo>
                      <a:pt x="8" y="74"/>
                    </a:lnTo>
                    <a:lnTo>
                      <a:pt x="4" y="66"/>
                    </a:lnTo>
                    <a:lnTo>
                      <a:pt x="2" y="57"/>
                    </a:lnTo>
                    <a:lnTo>
                      <a:pt x="0" y="47"/>
                    </a:lnTo>
                    <a:lnTo>
                      <a:pt x="2" y="38"/>
                    </a:lnTo>
                    <a:lnTo>
                      <a:pt x="4" y="29"/>
                    </a:lnTo>
                    <a:lnTo>
                      <a:pt x="8" y="21"/>
                    </a:lnTo>
                    <a:lnTo>
                      <a:pt x="15" y="14"/>
                    </a:lnTo>
                    <a:lnTo>
                      <a:pt x="21" y="8"/>
                    </a:lnTo>
                    <a:lnTo>
                      <a:pt x="30" y="4"/>
                    </a:lnTo>
                    <a:lnTo>
                      <a:pt x="38" y="1"/>
                    </a:lnTo>
                    <a:lnTo>
                      <a:pt x="48" y="0"/>
                    </a:lnTo>
                    <a:lnTo>
                      <a:pt x="58" y="1"/>
                    </a:lnTo>
                    <a:lnTo>
                      <a:pt x="66" y="4"/>
                    </a:lnTo>
                    <a:lnTo>
                      <a:pt x="74" y="8"/>
                    </a:lnTo>
                    <a:lnTo>
                      <a:pt x="81" y="14"/>
                    </a:lnTo>
                    <a:lnTo>
                      <a:pt x="87" y="21"/>
                    </a:lnTo>
                    <a:lnTo>
                      <a:pt x="91" y="29"/>
                    </a:lnTo>
                    <a:lnTo>
                      <a:pt x="94" y="38"/>
                    </a:lnTo>
                    <a:lnTo>
                      <a:pt x="95" y="47"/>
                    </a:lnTo>
                    <a:lnTo>
                      <a:pt x="94" y="57"/>
                    </a:lnTo>
                    <a:lnTo>
                      <a:pt x="91" y="66"/>
                    </a:lnTo>
                    <a:lnTo>
                      <a:pt x="87" y="74"/>
                    </a:lnTo>
                    <a:lnTo>
                      <a:pt x="81" y="81"/>
                    </a:lnTo>
                    <a:lnTo>
                      <a:pt x="74" y="87"/>
                    </a:lnTo>
                    <a:lnTo>
                      <a:pt x="66" y="92"/>
                    </a:lnTo>
                    <a:lnTo>
                      <a:pt x="58" y="94"/>
                    </a:lnTo>
                    <a:lnTo>
                      <a:pt x="48" y="95"/>
                    </a:lnTo>
                    <a:close/>
                    <a:moveTo>
                      <a:pt x="48" y="27"/>
                    </a:moveTo>
                    <a:lnTo>
                      <a:pt x="48" y="27"/>
                    </a:lnTo>
                    <a:lnTo>
                      <a:pt x="44" y="28"/>
                    </a:lnTo>
                    <a:lnTo>
                      <a:pt x="40" y="29"/>
                    </a:lnTo>
                    <a:lnTo>
                      <a:pt x="36" y="30"/>
                    </a:lnTo>
                    <a:lnTo>
                      <a:pt x="34" y="33"/>
                    </a:lnTo>
                    <a:lnTo>
                      <a:pt x="31" y="37"/>
                    </a:lnTo>
                    <a:lnTo>
                      <a:pt x="29" y="40"/>
                    </a:lnTo>
                    <a:lnTo>
                      <a:pt x="27" y="43"/>
                    </a:lnTo>
                    <a:lnTo>
                      <a:pt x="27" y="47"/>
                    </a:lnTo>
                    <a:lnTo>
                      <a:pt x="27" y="52"/>
                    </a:lnTo>
                    <a:lnTo>
                      <a:pt x="29" y="55"/>
                    </a:lnTo>
                    <a:lnTo>
                      <a:pt x="31" y="59"/>
                    </a:lnTo>
                    <a:lnTo>
                      <a:pt x="34" y="62"/>
                    </a:lnTo>
                    <a:lnTo>
                      <a:pt x="36" y="65"/>
                    </a:lnTo>
                    <a:lnTo>
                      <a:pt x="40" y="67"/>
                    </a:lnTo>
                    <a:lnTo>
                      <a:pt x="44" y="68"/>
                    </a:lnTo>
                    <a:lnTo>
                      <a:pt x="48" y="68"/>
                    </a:lnTo>
                    <a:lnTo>
                      <a:pt x="52" y="68"/>
                    </a:lnTo>
                    <a:lnTo>
                      <a:pt x="56" y="67"/>
                    </a:lnTo>
                    <a:lnTo>
                      <a:pt x="59" y="65"/>
                    </a:lnTo>
                    <a:lnTo>
                      <a:pt x="62" y="62"/>
                    </a:lnTo>
                    <a:lnTo>
                      <a:pt x="65" y="59"/>
                    </a:lnTo>
                    <a:lnTo>
                      <a:pt x="66" y="55"/>
                    </a:lnTo>
                    <a:lnTo>
                      <a:pt x="67" y="52"/>
                    </a:lnTo>
                    <a:lnTo>
                      <a:pt x="69" y="47"/>
                    </a:lnTo>
                    <a:lnTo>
                      <a:pt x="67" y="43"/>
                    </a:lnTo>
                    <a:lnTo>
                      <a:pt x="66" y="40"/>
                    </a:lnTo>
                    <a:lnTo>
                      <a:pt x="65" y="37"/>
                    </a:lnTo>
                    <a:lnTo>
                      <a:pt x="62" y="33"/>
                    </a:lnTo>
                    <a:lnTo>
                      <a:pt x="59" y="30"/>
                    </a:lnTo>
                    <a:lnTo>
                      <a:pt x="56" y="29"/>
                    </a:lnTo>
                    <a:lnTo>
                      <a:pt x="52" y="28"/>
                    </a:lnTo>
                    <a:lnTo>
                      <a:pt x="4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69"/>
              <p:cNvSpPr>
                <a:spLocks noEditPoints="1"/>
              </p:cNvSpPr>
              <p:nvPr userDrawn="1"/>
            </p:nvSpPr>
            <p:spPr bwMode="auto">
              <a:xfrm>
                <a:off x="1621" y="2010"/>
                <a:ext cx="31" cy="31"/>
              </a:xfrm>
              <a:custGeom>
                <a:avLst/>
                <a:gdLst>
                  <a:gd name="T0" fmla="*/ 37 w 92"/>
                  <a:gd name="T1" fmla="*/ 92 h 92"/>
                  <a:gd name="T2" fmla="*/ 21 w 92"/>
                  <a:gd name="T3" fmla="*/ 84 h 92"/>
                  <a:gd name="T4" fmla="*/ 8 w 92"/>
                  <a:gd name="T5" fmla="*/ 72 h 92"/>
                  <a:gd name="T6" fmla="*/ 2 w 92"/>
                  <a:gd name="T7" fmla="*/ 55 h 92"/>
                  <a:gd name="T8" fmla="*/ 2 w 92"/>
                  <a:gd name="T9" fmla="*/ 37 h 92"/>
                  <a:gd name="T10" fmla="*/ 8 w 92"/>
                  <a:gd name="T11" fmla="*/ 20 h 92"/>
                  <a:gd name="T12" fmla="*/ 21 w 92"/>
                  <a:gd name="T13" fmla="*/ 7 h 92"/>
                  <a:gd name="T14" fmla="*/ 37 w 92"/>
                  <a:gd name="T15" fmla="*/ 1 h 92"/>
                  <a:gd name="T16" fmla="*/ 56 w 92"/>
                  <a:gd name="T17" fmla="*/ 1 h 92"/>
                  <a:gd name="T18" fmla="*/ 72 w 92"/>
                  <a:gd name="T19" fmla="*/ 7 h 92"/>
                  <a:gd name="T20" fmla="*/ 85 w 92"/>
                  <a:gd name="T21" fmla="*/ 20 h 92"/>
                  <a:gd name="T22" fmla="*/ 91 w 92"/>
                  <a:gd name="T23" fmla="*/ 37 h 92"/>
                  <a:gd name="T24" fmla="*/ 91 w 92"/>
                  <a:gd name="T25" fmla="*/ 55 h 92"/>
                  <a:gd name="T26" fmla="*/ 85 w 92"/>
                  <a:gd name="T27" fmla="*/ 72 h 92"/>
                  <a:gd name="T28" fmla="*/ 72 w 92"/>
                  <a:gd name="T29" fmla="*/ 84 h 92"/>
                  <a:gd name="T30" fmla="*/ 56 w 92"/>
                  <a:gd name="T31" fmla="*/ 92 h 92"/>
                  <a:gd name="T32" fmla="*/ 47 w 92"/>
                  <a:gd name="T33" fmla="*/ 27 h 92"/>
                  <a:gd name="T34" fmla="*/ 43 w 92"/>
                  <a:gd name="T35" fmla="*/ 28 h 92"/>
                  <a:gd name="T36" fmla="*/ 36 w 92"/>
                  <a:gd name="T37" fmla="*/ 30 h 92"/>
                  <a:gd name="T38" fmla="*/ 31 w 92"/>
                  <a:gd name="T39" fmla="*/ 35 h 92"/>
                  <a:gd name="T40" fmla="*/ 27 w 92"/>
                  <a:gd name="T41" fmla="*/ 42 h 92"/>
                  <a:gd name="T42" fmla="*/ 27 w 92"/>
                  <a:gd name="T43" fmla="*/ 49 h 92"/>
                  <a:gd name="T44" fmla="*/ 31 w 92"/>
                  <a:gd name="T45" fmla="*/ 57 h 92"/>
                  <a:gd name="T46" fmla="*/ 36 w 92"/>
                  <a:gd name="T47" fmla="*/ 61 h 92"/>
                  <a:gd name="T48" fmla="*/ 43 w 92"/>
                  <a:gd name="T49" fmla="*/ 65 h 92"/>
                  <a:gd name="T50" fmla="*/ 50 w 92"/>
                  <a:gd name="T51" fmla="*/ 65 h 92"/>
                  <a:gd name="T52" fmla="*/ 57 w 92"/>
                  <a:gd name="T53" fmla="*/ 61 h 92"/>
                  <a:gd name="T54" fmla="*/ 62 w 92"/>
                  <a:gd name="T55" fmla="*/ 57 h 92"/>
                  <a:gd name="T56" fmla="*/ 65 w 92"/>
                  <a:gd name="T57" fmla="*/ 49 h 92"/>
                  <a:gd name="T58" fmla="*/ 65 w 92"/>
                  <a:gd name="T59" fmla="*/ 42 h 92"/>
                  <a:gd name="T60" fmla="*/ 62 w 92"/>
                  <a:gd name="T61" fmla="*/ 35 h 92"/>
                  <a:gd name="T62" fmla="*/ 57 w 92"/>
                  <a:gd name="T63" fmla="*/ 30 h 92"/>
                  <a:gd name="T64" fmla="*/ 50 w 92"/>
                  <a:gd name="T65" fmla="*/ 2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2">
                    <a:moveTo>
                      <a:pt x="47" y="92"/>
                    </a:moveTo>
                    <a:lnTo>
                      <a:pt x="37" y="92"/>
                    </a:lnTo>
                    <a:lnTo>
                      <a:pt x="29" y="88"/>
                    </a:lnTo>
                    <a:lnTo>
                      <a:pt x="21" y="84"/>
                    </a:lnTo>
                    <a:lnTo>
                      <a:pt x="13" y="79"/>
                    </a:lnTo>
                    <a:lnTo>
                      <a:pt x="8" y="72"/>
                    </a:lnTo>
                    <a:lnTo>
                      <a:pt x="4" y="64"/>
                    </a:lnTo>
                    <a:lnTo>
                      <a:pt x="2" y="55"/>
                    </a:lnTo>
                    <a:lnTo>
                      <a:pt x="0" y="46"/>
                    </a:lnTo>
                    <a:lnTo>
                      <a:pt x="2" y="37"/>
                    </a:lnTo>
                    <a:lnTo>
                      <a:pt x="4" y="28"/>
                    </a:lnTo>
                    <a:lnTo>
                      <a:pt x="8" y="20"/>
                    </a:lnTo>
                    <a:lnTo>
                      <a:pt x="13" y="14"/>
                    </a:lnTo>
                    <a:lnTo>
                      <a:pt x="21" y="7"/>
                    </a:lnTo>
                    <a:lnTo>
                      <a:pt x="29" y="4"/>
                    </a:lnTo>
                    <a:lnTo>
                      <a:pt x="37" y="1"/>
                    </a:lnTo>
                    <a:lnTo>
                      <a:pt x="47" y="0"/>
                    </a:lnTo>
                    <a:lnTo>
                      <a:pt x="56" y="1"/>
                    </a:lnTo>
                    <a:lnTo>
                      <a:pt x="64" y="4"/>
                    </a:lnTo>
                    <a:lnTo>
                      <a:pt x="72" y="7"/>
                    </a:lnTo>
                    <a:lnTo>
                      <a:pt x="79" y="14"/>
                    </a:lnTo>
                    <a:lnTo>
                      <a:pt x="85" y="20"/>
                    </a:lnTo>
                    <a:lnTo>
                      <a:pt x="89" y="28"/>
                    </a:lnTo>
                    <a:lnTo>
                      <a:pt x="91" y="37"/>
                    </a:lnTo>
                    <a:lnTo>
                      <a:pt x="92" y="46"/>
                    </a:lnTo>
                    <a:lnTo>
                      <a:pt x="91" y="55"/>
                    </a:lnTo>
                    <a:lnTo>
                      <a:pt x="89" y="64"/>
                    </a:lnTo>
                    <a:lnTo>
                      <a:pt x="85" y="72"/>
                    </a:lnTo>
                    <a:lnTo>
                      <a:pt x="79" y="79"/>
                    </a:lnTo>
                    <a:lnTo>
                      <a:pt x="72" y="84"/>
                    </a:lnTo>
                    <a:lnTo>
                      <a:pt x="64" y="88"/>
                    </a:lnTo>
                    <a:lnTo>
                      <a:pt x="56" y="92"/>
                    </a:lnTo>
                    <a:lnTo>
                      <a:pt x="47" y="92"/>
                    </a:lnTo>
                    <a:close/>
                    <a:moveTo>
                      <a:pt x="47" y="27"/>
                    </a:moveTo>
                    <a:lnTo>
                      <a:pt x="47" y="27"/>
                    </a:lnTo>
                    <a:lnTo>
                      <a:pt x="43" y="28"/>
                    </a:lnTo>
                    <a:lnTo>
                      <a:pt x="39" y="29"/>
                    </a:lnTo>
                    <a:lnTo>
                      <a:pt x="36" y="30"/>
                    </a:lnTo>
                    <a:lnTo>
                      <a:pt x="33" y="32"/>
                    </a:lnTo>
                    <a:lnTo>
                      <a:pt x="31" y="35"/>
                    </a:lnTo>
                    <a:lnTo>
                      <a:pt x="29" y="39"/>
                    </a:lnTo>
                    <a:lnTo>
                      <a:pt x="27" y="42"/>
                    </a:lnTo>
                    <a:lnTo>
                      <a:pt x="27" y="46"/>
                    </a:lnTo>
                    <a:lnTo>
                      <a:pt x="27" y="49"/>
                    </a:lnTo>
                    <a:lnTo>
                      <a:pt x="29" y="54"/>
                    </a:lnTo>
                    <a:lnTo>
                      <a:pt x="31" y="57"/>
                    </a:lnTo>
                    <a:lnTo>
                      <a:pt x="33" y="59"/>
                    </a:lnTo>
                    <a:lnTo>
                      <a:pt x="36" y="61"/>
                    </a:lnTo>
                    <a:lnTo>
                      <a:pt x="39" y="64"/>
                    </a:lnTo>
                    <a:lnTo>
                      <a:pt x="43" y="65"/>
                    </a:lnTo>
                    <a:lnTo>
                      <a:pt x="47" y="65"/>
                    </a:lnTo>
                    <a:lnTo>
                      <a:pt x="50" y="65"/>
                    </a:lnTo>
                    <a:lnTo>
                      <a:pt x="53" y="64"/>
                    </a:lnTo>
                    <a:lnTo>
                      <a:pt x="57" y="61"/>
                    </a:lnTo>
                    <a:lnTo>
                      <a:pt x="60" y="59"/>
                    </a:lnTo>
                    <a:lnTo>
                      <a:pt x="62" y="57"/>
                    </a:lnTo>
                    <a:lnTo>
                      <a:pt x="64" y="54"/>
                    </a:lnTo>
                    <a:lnTo>
                      <a:pt x="65" y="49"/>
                    </a:lnTo>
                    <a:lnTo>
                      <a:pt x="65" y="46"/>
                    </a:lnTo>
                    <a:lnTo>
                      <a:pt x="65" y="42"/>
                    </a:lnTo>
                    <a:lnTo>
                      <a:pt x="64" y="39"/>
                    </a:lnTo>
                    <a:lnTo>
                      <a:pt x="62" y="35"/>
                    </a:lnTo>
                    <a:lnTo>
                      <a:pt x="60" y="32"/>
                    </a:lnTo>
                    <a:lnTo>
                      <a:pt x="57" y="30"/>
                    </a:lnTo>
                    <a:lnTo>
                      <a:pt x="53" y="29"/>
                    </a:lnTo>
                    <a:lnTo>
                      <a:pt x="50" y="28"/>
                    </a:lnTo>
                    <a:lnTo>
                      <a:pt x="4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70"/>
              <p:cNvSpPr>
                <a:spLocks noEditPoints="1"/>
              </p:cNvSpPr>
              <p:nvPr userDrawn="1"/>
            </p:nvSpPr>
            <p:spPr bwMode="auto">
              <a:xfrm>
                <a:off x="1520" y="2058"/>
                <a:ext cx="24" cy="24"/>
              </a:xfrm>
              <a:custGeom>
                <a:avLst/>
                <a:gdLst>
                  <a:gd name="T0" fmla="*/ 37 w 72"/>
                  <a:gd name="T1" fmla="*/ 72 h 72"/>
                  <a:gd name="T2" fmla="*/ 29 w 72"/>
                  <a:gd name="T3" fmla="*/ 72 h 72"/>
                  <a:gd name="T4" fmla="*/ 23 w 72"/>
                  <a:gd name="T5" fmla="*/ 70 h 72"/>
                  <a:gd name="T6" fmla="*/ 16 w 72"/>
                  <a:gd name="T7" fmla="*/ 66 h 72"/>
                  <a:gd name="T8" fmla="*/ 11 w 72"/>
                  <a:gd name="T9" fmla="*/ 62 h 72"/>
                  <a:gd name="T10" fmla="*/ 7 w 72"/>
                  <a:gd name="T11" fmla="*/ 57 h 72"/>
                  <a:gd name="T12" fmla="*/ 3 w 72"/>
                  <a:gd name="T13" fmla="*/ 50 h 72"/>
                  <a:gd name="T14" fmla="*/ 1 w 72"/>
                  <a:gd name="T15" fmla="*/ 44 h 72"/>
                  <a:gd name="T16" fmla="*/ 0 w 72"/>
                  <a:gd name="T17" fmla="*/ 36 h 72"/>
                  <a:gd name="T18" fmla="*/ 1 w 72"/>
                  <a:gd name="T19" fmla="*/ 29 h 72"/>
                  <a:gd name="T20" fmla="*/ 3 w 72"/>
                  <a:gd name="T21" fmla="*/ 22 h 72"/>
                  <a:gd name="T22" fmla="*/ 7 w 72"/>
                  <a:gd name="T23" fmla="*/ 17 h 72"/>
                  <a:gd name="T24" fmla="*/ 11 w 72"/>
                  <a:gd name="T25" fmla="*/ 11 h 72"/>
                  <a:gd name="T26" fmla="*/ 16 w 72"/>
                  <a:gd name="T27" fmla="*/ 7 h 72"/>
                  <a:gd name="T28" fmla="*/ 23 w 72"/>
                  <a:gd name="T29" fmla="*/ 4 h 72"/>
                  <a:gd name="T30" fmla="*/ 29 w 72"/>
                  <a:gd name="T31" fmla="*/ 2 h 72"/>
                  <a:gd name="T32" fmla="*/ 37 w 72"/>
                  <a:gd name="T33" fmla="*/ 0 h 72"/>
                  <a:gd name="T34" fmla="*/ 43 w 72"/>
                  <a:gd name="T35" fmla="*/ 2 h 72"/>
                  <a:gd name="T36" fmla="*/ 51 w 72"/>
                  <a:gd name="T37" fmla="*/ 4 h 72"/>
                  <a:gd name="T38" fmla="*/ 56 w 72"/>
                  <a:gd name="T39" fmla="*/ 7 h 72"/>
                  <a:gd name="T40" fmla="*/ 62 w 72"/>
                  <a:gd name="T41" fmla="*/ 11 h 72"/>
                  <a:gd name="T42" fmla="*/ 66 w 72"/>
                  <a:gd name="T43" fmla="*/ 17 h 72"/>
                  <a:gd name="T44" fmla="*/ 69 w 72"/>
                  <a:gd name="T45" fmla="*/ 22 h 72"/>
                  <a:gd name="T46" fmla="*/ 71 w 72"/>
                  <a:gd name="T47" fmla="*/ 29 h 72"/>
                  <a:gd name="T48" fmla="*/ 72 w 72"/>
                  <a:gd name="T49" fmla="*/ 36 h 72"/>
                  <a:gd name="T50" fmla="*/ 71 w 72"/>
                  <a:gd name="T51" fmla="*/ 44 h 72"/>
                  <a:gd name="T52" fmla="*/ 69 w 72"/>
                  <a:gd name="T53" fmla="*/ 50 h 72"/>
                  <a:gd name="T54" fmla="*/ 66 w 72"/>
                  <a:gd name="T55" fmla="*/ 57 h 72"/>
                  <a:gd name="T56" fmla="*/ 62 w 72"/>
                  <a:gd name="T57" fmla="*/ 62 h 72"/>
                  <a:gd name="T58" fmla="*/ 56 w 72"/>
                  <a:gd name="T59" fmla="*/ 66 h 72"/>
                  <a:gd name="T60" fmla="*/ 51 w 72"/>
                  <a:gd name="T61" fmla="*/ 70 h 72"/>
                  <a:gd name="T62" fmla="*/ 43 w 72"/>
                  <a:gd name="T63" fmla="*/ 72 h 72"/>
                  <a:gd name="T64" fmla="*/ 37 w 72"/>
                  <a:gd name="T65" fmla="*/ 72 h 72"/>
                  <a:gd name="T66" fmla="*/ 37 w 72"/>
                  <a:gd name="T67" fmla="*/ 27 h 72"/>
                  <a:gd name="T68" fmla="*/ 37 w 72"/>
                  <a:gd name="T69" fmla="*/ 27 h 72"/>
                  <a:gd name="T70" fmla="*/ 33 w 72"/>
                  <a:gd name="T71" fmla="*/ 29 h 72"/>
                  <a:gd name="T72" fmla="*/ 30 w 72"/>
                  <a:gd name="T73" fmla="*/ 30 h 72"/>
                  <a:gd name="T74" fmla="*/ 28 w 72"/>
                  <a:gd name="T75" fmla="*/ 33 h 72"/>
                  <a:gd name="T76" fmla="*/ 27 w 72"/>
                  <a:gd name="T77" fmla="*/ 36 h 72"/>
                  <a:gd name="T78" fmla="*/ 28 w 72"/>
                  <a:gd name="T79" fmla="*/ 39 h 72"/>
                  <a:gd name="T80" fmla="*/ 30 w 72"/>
                  <a:gd name="T81" fmla="*/ 43 h 72"/>
                  <a:gd name="T82" fmla="*/ 33 w 72"/>
                  <a:gd name="T83" fmla="*/ 45 h 72"/>
                  <a:gd name="T84" fmla="*/ 37 w 72"/>
                  <a:gd name="T85" fmla="*/ 45 h 72"/>
                  <a:gd name="T86" fmla="*/ 40 w 72"/>
                  <a:gd name="T87" fmla="*/ 45 h 72"/>
                  <a:gd name="T88" fmla="*/ 42 w 72"/>
                  <a:gd name="T89" fmla="*/ 43 h 72"/>
                  <a:gd name="T90" fmla="*/ 44 w 72"/>
                  <a:gd name="T91" fmla="*/ 39 h 72"/>
                  <a:gd name="T92" fmla="*/ 45 w 72"/>
                  <a:gd name="T93" fmla="*/ 36 h 72"/>
                  <a:gd name="T94" fmla="*/ 44 w 72"/>
                  <a:gd name="T95" fmla="*/ 33 h 72"/>
                  <a:gd name="T96" fmla="*/ 42 w 72"/>
                  <a:gd name="T97" fmla="*/ 30 h 72"/>
                  <a:gd name="T98" fmla="*/ 40 w 72"/>
                  <a:gd name="T99" fmla="*/ 29 h 72"/>
                  <a:gd name="T100" fmla="*/ 37 w 72"/>
                  <a:gd name="T101"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 h="72">
                    <a:moveTo>
                      <a:pt x="37" y="72"/>
                    </a:moveTo>
                    <a:lnTo>
                      <a:pt x="29" y="72"/>
                    </a:lnTo>
                    <a:lnTo>
                      <a:pt x="23" y="70"/>
                    </a:lnTo>
                    <a:lnTo>
                      <a:pt x="16" y="66"/>
                    </a:lnTo>
                    <a:lnTo>
                      <a:pt x="11" y="62"/>
                    </a:lnTo>
                    <a:lnTo>
                      <a:pt x="7" y="57"/>
                    </a:lnTo>
                    <a:lnTo>
                      <a:pt x="3" y="50"/>
                    </a:lnTo>
                    <a:lnTo>
                      <a:pt x="1" y="44"/>
                    </a:lnTo>
                    <a:lnTo>
                      <a:pt x="0" y="36"/>
                    </a:lnTo>
                    <a:lnTo>
                      <a:pt x="1" y="29"/>
                    </a:lnTo>
                    <a:lnTo>
                      <a:pt x="3" y="22"/>
                    </a:lnTo>
                    <a:lnTo>
                      <a:pt x="7" y="17"/>
                    </a:lnTo>
                    <a:lnTo>
                      <a:pt x="11" y="11"/>
                    </a:lnTo>
                    <a:lnTo>
                      <a:pt x="16" y="7"/>
                    </a:lnTo>
                    <a:lnTo>
                      <a:pt x="23" y="4"/>
                    </a:lnTo>
                    <a:lnTo>
                      <a:pt x="29" y="2"/>
                    </a:lnTo>
                    <a:lnTo>
                      <a:pt x="37" y="0"/>
                    </a:lnTo>
                    <a:lnTo>
                      <a:pt x="43" y="2"/>
                    </a:lnTo>
                    <a:lnTo>
                      <a:pt x="51" y="4"/>
                    </a:lnTo>
                    <a:lnTo>
                      <a:pt x="56" y="7"/>
                    </a:lnTo>
                    <a:lnTo>
                      <a:pt x="62" y="11"/>
                    </a:lnTo>
                    <a:lnTo>
                      <a:pt x="66" y="17"/>
                    </a:lnTo>
                    <a:lnTo>
                      <a:pt x="69" y="22"/>
                    </a:lnTo>
                    <a:lnTo>
                      <a:pt x="71" y="29"/>
                    </a:lnTo>
                    <a:lnTo>
                      <a:pt x="72" y="36"/>
                    </a:lnTo>
                    <a:lnTo>
                      <a:pt x="71" y="44"/>
                    </a:lnTo>
                    <a:lnTo>
                      <a:pt x="69" y="50"/>
                    </a:lnTo>
                    <a:lnTo>
                      <a:pt x="66" y="57"/>
                    </a:lnTo>
                    <a:lnTo>
                      <a:pt x="62" y="62"/>
                    </a:lnTo>
                    <a:lnTo>
                      <a:pt x="56" y="66"/>
                    </a:lnTo>
                    <a:lnTo>
                      <a:pt x="51" y="70"/>
                    </a:lnTo>
                    <a:lnTo>
                      <a:pt x="43" y="72"/>
                    </a:lnTo>
                    <a:lnTo>
                      <a:pt x="37" y="72"/>
                    </a:lnTo>
                    <a:close/>
                    <a:moveTo>
                      <a:pt x="37" y="27"/>
                    </a:moveTo>
                    <a:lnTo>
                      <a:pt x="37" y="27"/>
                    </a:lnTo>
                    <a:lnTo>
                      <a:pt x="33" y="29"/>
                    </a:lnTo>
                    <a:lnTo>
                      <a:pt x="30" y="30"/>
                    </a:lnTo>
                    <a:lnTo>
                      <a:pt x="28" y="33"/>
                    </a:lnTo>
                    <a:lnTo>
                      <a:pt x="27" y="36"/>
                    </a:lnTo>
                    <a:lnTo>
                      <a:pt x="28" y="39"/>
                    </a:lnTo>
                    <a:lnTo>
                      <a:pt x="30" y="43"/>
                    </a:lnTo>
                    <a:lnTo>
                      <a:pt x="33" y="45"/>
                    </a:lnTo>
                    <a:lnTo>
                      <a:pt x="37" y="45"/>
                    </a:lnTo>
                    <a:lnTo>
                      <a:pt x="40" y="45"/>
                    </a:lnTo>
                    <a:lnTo>
                      <a:pt x="42" y="43"/>
                    </a:lnTo>
                    <a:lnTo>
                      <a:pt x="44" y="39"/>
                    </a:lnTo>
                    <a:lnTo>
                      <a:pt x="45" y="36"/>
                    </a:lnTo>
                    <a:lnTo>
                      <a:pt x="44" y="33"/>
                    </a:lnTo>
                    <a:lnTo>
                      <a:pt x="42" y="30"/>
                    </a:lnTo>
                    <a:lnTo>
                      <a:pt x="40" y="29"/>
                    </a:lnTo>
                    <a:lnTo>
                      <a:pt x="3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71"/>
              <p:cNvSpPr>
                <a:spLocks noEditPoints="1"/>
              </p:cNvSpPr>
              <p:nvPr userDrawn="1"/>
            </p:nvSpPr>
            <p:spPr bwMode="auto">
              <a:xfrm>
                <a:off x="1463" y="2040"/>
                <a:ext cx="22" cy="22"/>
              </a:xfrm>
              <a:custGeom>
                <a:avLst/>
                <a:gdLst>
                  <a:gd name="T0" fmla="*/ 34 w 67"/>
                  <a:gd name="T1" fmla="*/ 68 h 68"/>
                  <a:gd name="T2" fmla="*/ 27 w 67"/>
                  <a:gd name="T3" fmla="*/ 67 h 68"/>
                  <a:gd name="T4" fmla="*/ 21 w 67"/>
                  <a:gd name="T5" fmla="*/ 66 h 68"/>
                  <a:gd name="T6" fmla="*/ 14 w 67"/>
                  <a:gd name="T7" fmla="*/ 63 h 68"/>
                  <a:gd name="T8" fmla="*/ 10 w 67"/>
                  <a:gd name="T9" fmla="*/ 59 h 68"/>
                  <a:gd name="T10" fmla="*/ 6 w 67"/>
                  <a:gd name="T11" fmla="*/ 53 h 68"/>
                  <a:gd name="T12" fmla="*/ 3 w 67"/>
                  <a:gd name="T13" fmla="*/ 48 h 68"/>
                  <a:gd name="T14" fmla="*/ 0 w 67"/>
                  <a:gd name="T15" fmla="*/ 41 h 68"/>
                  <a:gd name="T16" fmla="*/ 0 w 67"/>
                  <a:gd name="T17" fmla="*/ 35 h 68"/>
                  <a:gd name="T18" fmla="*/ 0 w 67"/>
                  <a:gd name="T19" fmla="*/ 27 h 68"/>
                  <a:gd name="T20" fmla="*/ 3 w 67"/>
                  <a:gd name="T21" fmla="*/ 22 h 68"/>
                  <a:gd name="T22" fmla="*/ 6 w 67"/>
                  <a:gd name="T23" fmla="*/ 15 h 68"/>
                  <a:gd name="T24" fmla="*/ 10 w 67"/>
                  <a:gd name="T25" fmla="*/ 11 h 68"/>
                  <a:gd name="T26" fmla="*/ 14 w 67"/>
                  <a:gd name="T27" fmla="*/ 7 h 68"/>
                  <a:gd name="T28" fmla="*/ 21 w 67"/>
                  <a:gd name="T29" fmla="*/ 4 h 68"/>
                  <a:gd name="T30" fmla="*/ 27 w 67"/>
                  <a:gd name="T31" fmla="*/ 1 h 68"/>
                  <a:gd name="T32" fmla="*/ 34 w 67"/>
                  <a:gd name="T33" fmla="*/ 0 h 68"/>
                  <a:gd name="T34" fmla="*/ 40 w 67"/>
                  <a:gd name="T35" fmla="*/ 1 h 68"/>
                  <a:gd name="T36" fmla="*/ 47 w 67"/>
                  <a:gd name="T37" fmla="*/ 4 h 68"/>
                  <a:gd name="T38" fmla="*/ 52 w 67"/>
                  <a:gd name="T39" fmla="*/ 7 h 68"/>
                  <a:gd name="T40" fmla="*/ 58 w 67"/>
                  <a:gd name="T41" fmla="*/ 11 h 68"/>
                  <a:gd name="T42" fmla="*/ 62 w 67"/>
                  <a:gd name="T43" fmla="*/ 15 h 68"/>
                  <a:gd name="T44" fmla="*/ 65 w 67"/>
                  <a:gd name="T45" fmla="*/ 22 h 68"/>
                  <a:gd name="T46" fmla="*/ 67 w 67"/>
                  <a:gd name="T47" fmla="*/ 27 h 68"/>
                  <a:gd name="T48" fmla="*/ 67 w 67"/>
                  <a:gd name="T49" fmla="*/ 35 h 68"/>
                  <a:gd name="T50" fmla="*/ 67 w 67"/>
                  <a:gd name="T51" fmla="*/ 41 h 68"/>
                  <a:gd name="T52" fmla="*/ 65 w 67"/>
                  <a:gd name="T53" fmla="*/ 48 h 68"/>
                  <a:gd name="T54" fmla="*/ 62 w 67"/>
                  <a:gd name="T55" fmla="*/ 53 h 68"/>
                  <a:gd name="T56" fmla="*/ 58 w 67"/>
                  <a:gd name="T57" fmla="*/ 59 h 68"/>
                  <a:gd name="T58" fmla="*/ 52 w 67"/>
                  <a:gd name="T59" fmla="*/ 63 h 68"/>
                  <a:gd name="T60" fmla="*/ 47 w 67"/>
                  <a:gd name="T61" fmla="*/ 66 h 68"/>
                  <a:gd name="T62" fmla="*/ 40 w 67"/>
                  <a:gd name="T63" fmla="*/ 67 h 68"/>
                  <a:gd name="T64" fmla="*/ 34 w 67"/>
                  <a:gd name="T65" fmla="*/ 68 h 68"/>
                  <a:gd name="T66" fmla="*/ 34 w 67"/>
                  <a:gd name="T67" fmla="*/ 27 h 68"/>
                  <a:gd name="T68" fmla="*/ 34 w 67"/>
                  <a:gd name="T69" fmla="*/ 27 h 68"/>
                  <a:gd name="T70" fmla="*/ 31 w 67"/>
                  <a:gd name="T71" fmla="*/ 28 h 68"/>
                  <a:gd name="T72" fmla="*/ 29 w 67"/>
                  <a:gd name="T73" fmla="*/ 29 h 68"/>
                  <a:gd name="T74" fmla="*/ 27 w 67"/>
                  <a:gd name="T75" fmla="*/ 32 h 68"/>
                  <a:gd name="T76" fmla="*/ 27 w 67"/>
                  <a:gd name="T77" fmla="*/ 35 h 68"/>
                  <a:gd name="T78" fmla="*/ 27 w 67"/>
                  <a:gd name="T79" fmla="*/ 37 h 68"/>
                  <a:gd name="T80" fmla="*/ 30 w 67"/>
                  <a:gd name="T81" fmla="*/ 39 h 68"/>
                  <a:gd name="T82" fmla="*/ 32 w 67"/>
                  <a:gd name="T83" fmla="*/ 40 h 68"/>
                  <a:gd name="T84" fmla="*/ 34 w 67"/>
                  <a:gd name="T85" fmla="*/ 40 h 68"/>
                  <a:gd name="T86" fmla="*/ 36 w 67"/>
                  <a:gd name="T87" fmla="*/ 40 h 68"/>
                  <a:gd name="T88" fmla="*/ 38 w 67"/>
                  <a:gd name="T89" fmla="*/ 39 h 68"/>
                  <a:gd name="T90" fmla="*/ 40 w 67"/>
                  <a:gd name="T91" fmla="*/ 37 h 68"/>
                  <a:gd name="T92" fmla="*/ 40 w 67"/>
                  <a:gd name="T93" fmla="*/ 35 h 68"/>
                  <a:gd name="T94" fmla="*/ 40 w 67"/>
                  <a:gd name="T95" fmla="*/ 32 h 68"/>
                  <a:gd name="T96" fmla="*/ 38 w 67"/>
                  <a:gd name="T97" fmla="*/ 29 h 68"/>
                  <a:gd name="T98" fmla="*/ 36 w 67"/>
                  <a:gd name="T99" fmla="*/ 28 h 68"/>
                  <a:gd name="T100" fmla="*/ 34 w 67"/>
                  <a:gd name="T101"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34" y="68"/>
                    </a:moveTo>
                    <a:lnTo>
                      <a:pt x="27" y="67"/>
                    </a:lnTo>
                    <a:lnTo>
                      <a:pt x="21" y="66"/>
                    </a:lnTo>
                    <a:lnTo>
                      <a:pt x="14" y="63"/>
                    </a:lnTo>
                    <a:lnTo>
                      <a:pt x="10" y="59"/>
                    </a:lnTo>
                    <a:lnTo>
                      <a:pt x="6" y="53"/>
                    </a:lnTo>
                    <a:lnTo>
                      <a:pt x="3" y="48"/>
                    </a:lnTo>
                    <a:lnTo>
                      <a:pt x="0" y="41"/>
                    </a:lnTo>
                    <a:lnTo>
                      <a:pt x="0" y="35"/>
                    </a:lnTo>
                    <a:lnTo>
                      <a:pt x="0" y="27"/>
                    </a:lnTo>
                    <a:lnTo>
                      <a:pt x="3" y="22"/>
                    </a:lnTo>
                    <a:lnTo>
                      <a:pt x="6" y="15"/>
                    </a:lnTo>
                    <a:lnTo>
                      <a:pt x="10" y="11"/>
                    </a:lnTo>
                    <a:lnTo>
                      <a:pt x="14" y="7"/>
                    </a:lnTo>
                    <a:lnTo>
                      <a:pt x="21" y="4"/>
                    </a:lnTo>
                    <a:lnTo>
                      <a:pt x="27" y="1"/>
                    </a:lnTo>
                    <a:lnTo>
                      <a:pt x="34" y="0"/>
                    </a:lnTo>
                    <a:lnTo>
                      <a:pt x="40" y="1"/>
                    </a:lnTo>
                    <a:lnTo>
                      <a:pt x="47" y="4"/>
                    </a:lnTo>
                    <a:lnTo>
                      <a:pt x="52" y="7"/>
                    </a:lnTo>
                    <a:lnTo>
                      <a:pt x="58" y="11"/>
                    </a:lnTo>
                    <a:lnTo>
                      <a:pt x="62" y="15"/>
                    </a:lnTo>
                    <a:lnTo>
                      <a:pt x="65" y="22"/>
                    </a:lnTo>
                    <a:lnTo>
                      <a:pt x="67" y="27"/>
                    </a:lnTo>
                    <a:lnTo>
                      <a:pt x="67" y="35"/>
                    </a:lnTo>
                    <a:lnTo>
                      <a:pt x="67" y="41"/>
                    </a:lnTo>
                    <a:lnTo>
                      <a:pt x="65" y="48"/>
                    </a:lnTo>
                    <a:lnTo>
                      <a:pt x="62" y="53"/>
                    </a:lnTo>
                    <a:lnTo>
                      <a:pt x="58" y="59"/>
                    </a:lnTo>
                    <a:lnTo>
                      <a:pt x="52" y="63"/>
                    </a:lnTo>
                    <a:lnTo>
                      <a:pt x="47" y="66"/>
                    </a:lnTo>
                    <a:lnTo>
                      <a:pt x="40" y="67"/>
                    </a:lnTo>
                    <a:lnTo>
                      <a:pt x="34" y="68"/>
                    </a:lnTo>
                    <a:close/>
                    <a:moveTo>
                      <a:pt x="34" y="27"/>
                    </a:moveTo>
                    <a:lnTo>
                      <a:pt x="34" y="27"/>
                    </a:lnTo>
                    <a:lnTo>
                      <a:pt x="31" y="28"/>
                    </a:lnTo>
                    <a:lnTo>
                      <a:pt x="29" y="29"/>
                    </a:lnTo>
                    <a:lnTo>
                      <a:pt x="27" y="32"/>
                    </a:lnTo>
                    <a:lnTo>
                      <a:pt x="27" y="35"/>
                    </a:lnTo>
                    <a:lnTo>
                      <a:pt x="27" y="37"/>
                    </a:lnTo>
                    <a:lnTo>
                      <a:pt x="30" y="39"/>
                    </a:lnTo>
                    <a:lnTo>
                      <a:pt x="32" y="40"/>
                    </a:lnTo>
                    <a:lnTo>
                      <a:pt x="34" y="40"/>
                    </a:lnTo>
                    <a:lnTo>
                      <a:pt x="36" y="40"/>
                    </a:lnTo>
                    <a:lnTo>
                      <a:pt x="38" y="39"/>
                    </a:lnTo>
                    <a:lnTo>
                      <a:pt x="40" y="37"/>
                    </a:lnTo>
                    <a:lnTo>
                      <a:pt x="40" y="35"/>
                    </a:lnTo>
                    <a:lnTo>
                      <a:pt x="40" y="32"/>
                    </a:lnTo>
                    <a:lnTo>
                      <a:pt x="38" y="29"/>
                    </a:lnTo>
                    <a:lnTo>
                      <a:pt x="36" y="28"/>
                    </a:ln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72"/>
              <p:cNvSpPr>
                <a:spLocks noEditPoints="1"/>
              </p:cNvSpPr>
              <p:nvPr userDrawn="1"/>
            </p:nvSpPr>
            <p:spPr bwMode="auto">
              <a:xfrm>
                <a:off x="2473" y="3099"/>
                <a:ext cx="24" cy="23"/>
              </a:xfrm>
              <a:custGeom>
                <a:avLst/>
                <a:gdLst>
                  <a:gd name="T0" fmla="*/ 36 w 72"/>
                  <a:gd name="T1" fmla="*/ 71 h 71"/>
                  <a:gd name="T2" fmla="*/ 29 w 72"/>
                  <a:gd name="T3" fmla="*/ 70 h 71"/>
                  <a:gd name="T4" fmla="*/ 22 w 72"/>
                  <a:gd name="T5" fmla="*/ 68 h 71"/>
                  <a:gd name="T6" fmla="*/ 16 w 72"/>
                  <a:gd name="T7" fmla="*/ 65 h 71"/>
                  <a:gd name="T8" fmla="*/ 11 w 72"/>
                  <a:gd name="T9" fmla="*/ 61 h 71"/>
                  <a:gd name="T10" fmla="*/ 7 w 72"/>
                  <a:gd name="T11" fmla="*/ 55 h 71"/>
                  <a:gd name="T12" fmla="*/ 4 w 72"/>
                  <a:gd name="T13" fmla="*/ 50 h 71"/>
                  <a:gd name="T14" fmla="*/ 2 w 72"/>
                  <a:gd name="T15" fmla="*/ 43 h 71"/>
                  <a:gd name="T16" fmla="*/ 0 w 72"/>
                  <a:gd name="T17" fmla="*/ 36 h 71"/>
                  <a:gd name="T18" fmla="*/ 2 w 72"/>
                  <a:gd name="T19" fmla="*/ 28 h 71"/>
                  <a:gd name="T20" fmla="*/ 4 w 72"/>
                  <a:gd name="T21" fmla="*/ 22 h 71"/>
                  <a:gd name="T22" fmla="*/ 7 w 72"/>
                  <a:gd name="T23" fmla="*/ 15 h 71"/>
                  <a:gd name="T24" fmla="*/ 11 w 72"/>
                  <a:gd name="T25" fmla="*/ 11 h 71"/>
                  <a:gd name="T26" fmla="*/ 16 w 72"/>
                  <a:gd name="T27" fmla="*/ 7 h 71"/>
                  <a:gd name="T28" fmla="*/ 22 w 72"/>
                  <a:gd name="T29" fmla="*/ 3 h 71"/>
                  <a:gd name="T30" fmla="*/ 29 w 72"/>
                  <a:gd name="T31" fmla="*/ 1 h 71"/>
                  <a:gd name="T32" fmla="*/ 36 w 72"/>
                  <a:gd name="T33" fmla="*/ 0 h 71"/>
                  <a:gd name="T34" fmla="*/ 43 w 72"/>
                  <a:gd name="T35" fmla="*/ 1 h 71"/>
                  <a:gd name="T36" fmla="*/ 50 w 72"/>
                  <a:gd name="T37" fmla="*/ 3 h 71"/>
                  <a:gd name="T38" fmla="*/ 56 w 72"/>
                  <a:gd name="T39" fmla="*/ 7 h 71"/>
                  <a:gd name="T40" fmla="*/ 61 w 72"/>
                  <a:gd name="T41" fmla="*/ 11 h 71"/>
                  <a:gd name="T42" fmla="*/ 65 w 72"/>
                  <a:gd name="T43" fmla="*/ 15 h 71"/>
                  <a:gd name="T44" fmla="*/ 68 w 72"/>
                  <a:gd name="T45" fmla="*/ 22 h 71"/>
                  <a:gd name="T46" fmla="*/ 71 w 72"/>
                  <a:gd name="T47" fmla="*/ 28 h 71"/>
                  <a:gd name="T48" fmla="*/ 72 w 72"/>
                  <a:gd name="T49" fmla="*/ 36 h 71"/>
                  <a:gd name="T50" fmla="*/ 71 w 72"/>
                  <a:gd name="T51" fmla="*/ 43 h 71"/>
                  <a:gd name="T52" fmla="*/ 68 w 72"/>
                  <a:gd name="T53" fmla="*/ 50 h 71"/>
                  <a:gd name="T54" fmla="*/ 65 w 72"/>
                  <a:gd name="T55" fmla="*/ 55 h 71"/>
                  <a:gd name="T56" fmla="*/ 61 w 72"/>
                  <a:gd name="T57" fmla="*/ 61 h 71"/>
                  <a:gd name="T58" fmla="*/ 56 w 72"/>
                  <a:gd name="T59" fmla="*/ 65 h 71"/>
                  <a:gd name="T60" fmla="*/ 50 w 72"/>
                  <a:gd name="T61" fmla="*/ 68 h 71"/>
                  <a:gd name="T62" fmla="*/ 43 w 72"/>
                  <a:gd name="T63" fmla="*/ 70 h 71"/>
                  <a:gd name="T64" fmla="*/ 36 w 72"/>
                  <a:gd name="T65" fmla="*/ 71 h 71"/>
                  <a:gd name="T66" fmla="*/ 36 w 72"/>
                  <a:gd name="T67" fmla="*/ 27 h 71"/>
                  <a:gd name="T68" fmla="*/ 36 w 72"/>
                  <a:gd name="T69" fmla="*/ 27 h 71"/>
                  <a:gd name="T70" fmla="*/ 33 w 72"/>
                  <a:gd name="T71" fmla="*/ 28 h 71"/>
                  <a:gd name="T72" fmla="*/ 30 w 72"/>
                  <a:gd name="T73" fmla="*/ 29 h 71"/>
                  <a:gd name="T74" fmla="*/ 29 w 72"/>
                  <a:gd name="T75" fmla="*/ 33 h 71"/>
                  <a:gd name="T76" fmla="*/ 27 w 72"/>
                  <a:gd name="T77" fmla="*/ 36 h 71"/>
                  <a:gd name="T78" fmla="*/ 29 w 72"/>
                  <a:gd name="T79" fmla="*/ 39 h 71"/>
                  <a:gd name="T80" fmla="*/ 30 w 72"/>
                  <a:gd name="T81" fmla="*/ 41 h 71"/>
                  <a:gd name="T82" fmla="*/ 33 w 72"/>
                  <a:gd name="T83" fmla="*/ 43 h 71"/>
                  <a:gd name="T84" fmla="*/ 36 w 72"/>
                  <a:gd name="T85" fmla="*/ 45 h 71"/>
                  <a:gd name="T86" fmla="*/ 39 w 72"/>
                  <a:gd name="T87" fmla="*/ 43 h 71"/>
                  <a:gd name="T88" fmla="*/ 42 w 72"/>
                  <a:gd name="T89" fmla="*/ 41 h 71"/>
                  <a:gd name="T90" fmla="*/ 44 w 72"/>
                  <a:gd name="T91" fmla="*/ 39 h 71"/>
                  <a:gd name="T92" fmla="*/ 45 w 72"/>
                  <a:gd name="T93" fmla="*/ 36 h 71"/>
                  <a:gd name="T94" fmla="*/ 44 w 72"/>
                  <a:gd name="T95" fmla="*/ 33 h 71"/>
                  <a:gd name="T96" fmla="*/ 42 w 72"/>
                  <a:gd name="T97" fmla="*/ 29 h 71"/>
                  <a:gd name="T98" fmla="*/ 39 w 72"/>
                  <a:gd name="T99" fmla="*/ 28 h 71"/>
                  <a:gd name="T100" fmla="*/ 36 w 72"/>
                  <a:gd name="T101" fmla="*/ 2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 h="71">
                    <a:moveTo>
                      <a:pt x="36" y="71"/>
                    </a:moveTo>
                    <a:lnTo>
                      <a:pt x="29" y="70"/>
                    </a:lnTo>
                    <a:lnTo>
                      <a:pt x="22" y="68"/>
                    </a:lnTo>
                    <a:lnTo>
                      <a:pt x="16" y="65"/>
                    </a:lnTo>
                    <a:lnTo>
                      <a:pt x="11" y="61"/>
                    </a:lnTo>
                    <a:lnTo>
                      <a:pt x="7" y="55"/>
                    </a:lnTo>
                    <a:lnTo>
                      <a:pt x="4" y="50"/>
                    </a:lnTo>
                    <a:lnTo>
                      <a:pt x="2" y="43"/>
                    </a:lnTo>
                    <a:lnTo>
                      <a:pt x="0" y="36"/>
                    </a:lnTo>
                    <a:lnTo>
                      <a:pt x="2" y="28"/>
                    </a:lnTo>
                    <a:lnTo>
                      <a:pt x="4" y="22"/>
                    </a:lnTo>
                    <a:lnTo>
                      <a:pt x="7" y="15"/>
                    </a:lnTo>
                    <a:lnTo>
                      <a:pt x="11" y="11"/>
                    </a:lnTo>
                    <a:lnTo>
                      <a:pt x="16" y="7"/>
                    </a:lnTo>
                    <a:lnTo>
                      <a:pt x="22" y="3"/>
                    </a:lnTo>
                    <a:lnTo>
                      <a:pt x="29" y="1"/>
                    </a:lnTo>
                    <a:lnTo>
                      <a:pt x="36" y="0"/>
                    </a:lnTo>
                    <a:lnTo>
                      <a:pt x="43" y="1"/>
                    </a:lnTo>
                    <a:lnTo>
                      <a:pt x="50" y="3"/>
                    </a:lnTo>
                    <a:lnTo>
                      <a:pt x="56" y="7"/>
                    </a:lnTo>
                    <a:lnTo>
                      <a:pt x="61" y="11"/>
                    </a:lnTo>
                    <a:lnTo>
                      <a:pt x="65" y="15"/>
                    </a:lnTo>
                    <a:lnTo>
                      <a:pt x="68" y="22"/>
                    </a:lnTo>
                    <a:lnTo>
                      <a:pt x="71" y="28"/>
                    </a:lnTo>
                    <a:lnTo>
                      <a:pt x="72" y="36"/>
                    </a:lnTo>
                    <a:lnTo>
                      <a:pt x="71" y="43"/>
                    </a:lnTo>
                    <a:lnTo>
                      <a:pt x="68" y="50"/>
                    </a:lnTo>
                    <a:lnTo>
                      <a:pt x="65" y="55"/>
                    </a:lnTo>
                    <a:lnTo>
                      <a:pt x="61" y="61"/>
                    </a:lnTo>
                    <a:lnTo>
                      <a:pt x="56" y="65"/>
                    </a:lnTo>
                    <a:lnTo>
                      <a:pt x="50" y="68"/>
                    </a:lnTo>
                    <a:lnTo>
                      <a:pt x="43" y="70"/>
                    </a:lnTo>
                    <a:lnTo>
                      <a:pt x="36" y="71"/>
                    </a:lnTo>
                    <a:close/>
                    <a:moveTo>
                      <a:pt x="36" y="27"/>
                    </a:moveTo>
                    <a:lnTo>
                      <a:pt x="36" y="27"/>
                    </a:lnTo>
                    <a:lnTo>
                      <a:pt x="33" y="28"/>
                    </a:lnTo>
                    <a:lnTo>
                      <a:pt x="30" y="29"/>
                    </a:lnTo>
                    <a:lnTo>
                      <a:pt x="29" y="33"/>
                    </a:lnTo>
                    <a:lnTo>
                      <a:pt x="27" y="36"/>
                    </a:lnTo>
                    <a:lnTo>
                      <a:pt x="29" y="39"/>
                    </a:lnTo>
                    <a:lnTo>
                      <a:pt x="30" y="41"/>
                    </a:lnTo>
                    <a:lnTo>
                      <a:pt x="33" y="43"/>
                    </a:lnTo>
                    <a:lnTo>
                      <a:pt x="36" y="45"/>
                    </a:lnTo>
                    <a:lnTo>
                      <a:pt x="39" y="43"/>
                    </a:lnTo>
                    <a:lnTo>
                      <a:pt x="42" y="41"/>
                    </a:lnTo>
                    <a:lnTo>
                      <a:pt x="44" y="39"/>
                    </a:lnTo>
                    <a:lnTo>
                      <a:pt x="45" y="36"/>
                    </a:lnTo>
                    <a:lnTo>
                      <a:pt x="44" y="33"/>
                    </a:lnTo>
                    <a:lnTo>
                      <a:pt x="42" y="29"/>
                    </a:lnTo>
                    <a:lnTo>
                      <a:pt x="39" y="28"/>
                    </a:lnTo>
                    <a:lnTo>
                      <a:pt x="3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73"/>
              <p:cNvSpPr>
                <a:spLocks noEditPoints="1"/>
              </p:cNvSpPr>
              <p:nvPr userDrawn="1"/>
            </p:nvSpPr>
            <p:spPr bwMode="auto">
              <a:xfrm>
                <a:off x="2527" y="3082"/>
                <a:ext cx="22" cy="21"/>
              </a:xfrm>
              <a:custGeom>
                <a:avLst/>
                <a:gdLst>
                  <a:gd name="T0" fmla="*/ 33 w 64"/>
                  <a:gd name="T1" fmla="*/ 63 h 63"/>
                  <a:gd name="T2" fmla="*/ 26 w 64"/>
                  <a:gd name="T3" fmla="*/ 63 h 63"/>
                  <a:gd name="T4" fmla="*/ 20 w 64"/>
                  <a:gd name="T5" fmla="*/ 61 h 63"/>
                  <a:gd name="T6" fmla="*/ 14 w 64"/>
                  <a:gd name="T7" fmla="*/ 58 h 63"/>
                  <a:gd name="T8" fmla="*/ 10 w 64"/>
                  <a:gd name="T9" fmla="*/ 55 h 63"/>
                  <a:gd name="T10" fmla="*/ 6 w 64"/>
                  <a:gd name="T11" fmla="*/ 49 h 63"/>
                  <a:gd name="T12" fmla="*/ 3 w 64"/>
                  <a:gd name="T13" fmla="*/ 44 h 63"/>
                  <a:gd name="T14" fmla="*/ 2 w 64"/>
                  <a:gd name="T15" fmla="*/ 38 h 63"/>
                  <a:gd name="T16" fmla="*/ 0 w 64"/>
                  <a:gd name="T17" fmla="*/ 32 h 63"/>
                  <a:gd name="T18" fmla="*/ 2 w 64"/>
                  <a:gd name="T19" fmla="*/ 26 h 63"/>
                  <a:gd name="T20" fmla="*/ 3 w 64"/>
                  <a:gd name="T21" fmla="*/ 19 h 63"/>
                  <a:gd name="T22" fmla="*/ 6 w 64"/>
                  <a:gd name="T23" fmla="*/ 14 h 63"/>
                  <a:gd name="T24" fmla="*/ 10 w 64"/>
                  <a:gd name="T25" fmla="*/ 9 h 63"/>
                  <a:gd name="T26" fmla="*/ 14 w 64"/>
                  <a:gd name="T27" fmla="*/ 5 h 63"/>
                  <a:gd name="T28" fmla="*/ 20 w 64"/>
                  <a:gd name="T29" fmla="*/ 2 h 63"/>
                  <a:gd name="T30" fmla="*/ 26 w 64"/>
                  <a:gd name="T31" fmla="*/ 1 h 63"/>
                  <a:gd name="T32" fmla="*/ 33 w 64"/>
                  <a:gd name="T33" fmla="*/ 0 h 63"/>
                  <a:gd name="T34" fmla="*/ 39 w 64"/>
                  <a:gd name="T35" fmla="*/ 1 h 63"/>
                  <a:gd name="T36" fmla="*/ 45 w 64"/>
                  <a:gd name="T37" fmla="*/ 2 h 63"/>
                  <a:gd name="T38" fmla="*/ 50 w 64"/>
                  <a:gd name="T39" fmla="*/ 5 h 63"/>
                  <a:gd name="T40" fmla="*/ 56 w 64"/>
                  <a:gd name="T41" fmla="*/ 9 h 63"/>
                  <a:gd name="T42" fmla="*/ 59 w 64"/>
                  <a:gd name="T43" fmla="*/ 14 h 63"/>
                  <a:gd name="T44" fmla="*/ 62 w 64"/>
                  <a:gd name="T45" fmla="*/ 19 h 63"/>
                  <a:gd name="T46" fmla="*/ 64 w 64"/>
                  <a:gd name="T47" fmla="*/ 26 h 63"/>
                  <a:gd name="T48" fmla="*/ 64 w 64"/>
                  <a:gd name="T49" fmla="*/ 32 h 63"/>
                  <a:gd name="T50" fmla="*/ 64 w 64"/>
                  <a:gd name="T51" fmla="*/ 38 h 63"/>
                  <a:gd name="T52" fmla="*/ 62 w 64"/>
                  <a:gd name="T53" fmla="*/ 44 h 63"/>
                  <a:gd name="T54" fmla="*/ 59 w 64"/>
                  <a:gd name="T55" fmla="*/ 49 h 63"/>
                  <a:gd name="T56" fmla="*/ 56 w 64"/>
                  <a:gd name="T57" fmla="*/ 55 h 63"/>
                  <a:gd name="T58" fmla="*/ 50 w 64"/>
                  <a:gd name="T59" fmla="*/ 58 h 63"/>
                  <a:gd name="T60" fmla="*/ 45 w 64"/>
                  <a:gd name="T61" fmla="*/ 61 h 63"/>
                  <a:gd name="T62" fmla="*/ 39 w 64"/>
                  <a:gd name="T63" fmla="*/ 63 h 63"/>
                  <a:gd name="T64" fmla="*/ 33 w 64"/>
                  <a:gd name="T65" fmla="*/ 63 h 63"/>
                  <a:gd name="T66" fmla="*/ 33 w 64"/>
                  <a:gd name="T67" fmla="*/ 27 h 63"/>
                  <a:gd name="T68" fmla="*/ 33 w 64"/>
                  <a:gd name="T69" fmla="*/ 27 h 63"/>
                  <a:gd name="T70" fmla="*/ 31 w 64"/>
                  <a:gd name="T71" fmla="*/ 27 h 63"/>
                  <a:gd name="T72" fmla="*/ 29 w 64"/>
                  <a:gd name="T73" fmla="*/ 28 h 63"/>
                  <a:gd name="T74" fmla="*/ 27 w 64"/>
                  <a:gd name="T75" fmla="*/ 30 h 63"/>
                  <a:gd name="T76" fmla="*/ 27 w 64"/>
                  <a:gd name="T77" fmla="*/ 32 h 63"/>
                  <a:gd name="T78" fmla="*/ 27 w 64"/>
                  <a:gd name="T79" fmla="*/ 33 h 63"/>
                  <a:gd name="T80" fmla="*/ 29 w 64"/>
                  <a:gd name="T81" fmla="*/ 35 h 63"/>
                  <a:gd name="T82" fmla="*/ 31 w 64"/>
                  <a:gd name="T83" fmla="*/ 35 h 63"/>
                  <a:gd name="T84" fmla="*/ 33 w 64"/>
                  <a:gd name="T85" fmla="*/ 36 h 63"/>
                  <a:gd name="T86" fmla="*/ 34 w 64"/>
                  <a:gd name="T87" fmla="*/ 35 h 63"/>
                  <a:gd name="T88" fmla="*/ 36 w 64"/>
                  <a:gd name="T89" fmla="*/ 35 h 63"/>
                  <a:gd name="T90" fmla="*/ 37 w 64"/>
                  <a:gd name="T91" fmla="*/ 33 h 63"/>
                  <a:gd name="T92" fmla="*/ 37 w 64"/>
                  <a:gd name="T93" fmla="*/ 32 h 63"/>
                  <a:gd name="T94" fmla="*/ 37 w 64"/>
                  <a:gd name="T95" fmla="*/ 30 h 63"/>
                  <a:gd name="T96" fmla="*/ 36 w 64"/>
                  <a:gd name="T97" fmla="*/ 28 h 63"/>
                  <a:gd name="T98" fmla="*/ 35 w 64"/>
                  <a:gd name="T99" fmla="*/ 27 h 63"/>
                  <a:gd name="T100" fmla="*/ 33 w 64"/>
                  <a:gd name="T101"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 h="63">
                    <a:moveTo>
                      <a:pt x="33" y="63"/>
                    </a:moveTo>
                    <a:lnTo>
                      <a:pt x="26" y="63"/>
                    </a:lnTo>
                    <a:lnTo>
                      <a:pt x="20" y="61"/>
                    </a:lnTo>
                    <a:lnTo>
                      <a:pt x="14" y="58"/>
                    </a:lnTo>
                    <a:lnTo>
                      <a:pt x="10" y="55"/>
                    </a:lnTo>
                    <a:lnTo>
                      <a:pt x="6" y="49"/>
                    </a:lnTo>
                    <a:lnTo>
                      <a:pt x="3" y="44"/>
                    </a:lnTo>
                    <a:lnTo>
                      <a:pt x="2" y="38"/>
                    </a:lnTo>
                    <a:lnTo>
                      <a:pt x="0" y="32"/>
                    </a:lnTo>
                    <a:lnTo>
                      <a:pt x="2" y="26"/>
                    </a:lnTo>
                    <a:lnTo>
                      <a:pt x="3" y="19"/>
                    </a:lnTo>
                    <a:lnTo>
                      <a:pt x="6" y="14"/>
                    </a:lnTo>
                    <a:lnTo>
                      <a:pt x="10" y="9"/>
                    </a:lnTo>
                    <a:lnTo>
                      <a:pt x="14" y="5"/>
                    </a:lnTo>
                    <a:lnTo>
                      <a:pt x="20" y="2"/>
                    </a:lnTo>
                    <a:lnTo>
                      <a:pt x="26" y="1"/>
                    </a:lnTo>
                    <a:lnTo>
                      <a:pt x="33" y="0"/>
                    </a:lnTo>
                    <a:lnTo>
                      <a:pt x="39" y="1"/>
                    </a:lnTo>
                    <a:lnTo>
                      <a:pt x="45" y="2"/>
                    </a:lnTo>
                    <a:lnTo>
                      <a:pt x="50" y="5"/>
                    </a:lnTo>
                    <a:lnTo>
                      <a:pt x="56" y="9"/>
                    </a:lnTo>
                    <a:lnTo>
                      <a:pt x="59" y="14"/>
                    </a:lnTo>
                    <a:lnTo>
                      <a:pt x="62" y="19"/>
                    </a:lnTo>
                    <a:lnTo>
                      <a:pt x="64" y="26"/>
                    </a:lnTo>
                    <a:lnTo>
                      <a:pt x="64" y="32"/>
                    </a:lnTo>
                    <a:lnTo>
                      <a:pt x="64" y="38"/>
                    </a:lnTo>
                    <a:lnTo>
                      <a:pt x="62" y="44"/>
                    </a:lnTo>
                    <a:lnTo>
                      <a:pt x="59" y="49"/>
                    </a:lnTo>
                    <a:lnTo>
                      <a:pt x="56" y="55"/>
                    </a:lnTo>
                    <a:lnTo>
                      <a:pt x="50" y="58"/>
                    </a:lnTo>
                    <a:lnTo>
                      <a:pt x="45" y="61"/>
                    </a:lnTo>
                    <a:lnTo>
                      <a:pt x="39" y="63"/>
                    </a:lnTo>
                    <a:lnTo>
                      <a:pt x="33" y="63"/>
                    </a:lnTo>
                    <a:close/>
                    <a:moveTo>
                      <a:pt x="33" y="27"/>
                    </a:moveTo>
                    <a:lnTo>
                      <a:pt x="33" y="27"/>
                    </a:lnTo>
                    <a:lnTo>
                      <a:pt x="31" y="27"/>
                    </a:lnTo>
                    <a:lnTo>
                      <a:pt x="29" y="28"/>
                    </a:lnTo>
                    <a:lnTo>
                      <a:pt x="27" y="30"/>
                    </a:lnTo>
                    <a:lnTo>
                      <a:pt x="27" y="32"/>
                    </a:lnTo>
                    <a:lnTo>
                      <a:pt x="27" y="33"/>
                    </a:lnTo>
                    <a:lnTo>
                      <a:pt x="29" y="35"/>
                    </a:lnTo>
                    <a:lnTo>
                      <a:pt x="31" y="35"/>
                    </a:lnTo>
                    <a:lnTo>
                      <a:pt x="33" y="36"/>
                    </a:lnTo>
                    <a:lnTo>
                      <a:pt x="34" y="35"/>
                    </a:lnTo>
                    <a:lnTo>
                      <a:pt x="36" y="35"/>
                    </a:lnTo>
                    <a:lnTo>
                      <a:pt x="37" y="33"/>
                    </a:lnTo>
                    <a:lnTo>
                      <a:pt x="37" y="32"/>
                    </a:lnTo>
                    <a:lnTo>
                      <a:pt x="37" y="30"/>
                    </a:lnTo>
                    <a:lnTo>
                      <a:pt x="36" y="28"/>
                    </a:lnTo>
                    <a:lnTo>
                      <a:pt x="35" y="27"/>
                    </a:lnTo>
                    <a:lnTo>
                      <a:pt x="3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74"/>
              <p:cNvSpPr>
                <a:spLocks noEditPoints="1"/>
              </p:cNvSpPr>
              <p:nvPr userDrawn="1"/>
            </p:nvSpPr>
            <p:spPr bwMode="auto">
              <a:xfrm>
                <a:off x="2557" y="3074"/>
                <a:ext cx="24" cy="25"/>
              </a:xfrm>
              <a:custGeom>
                <a:avLst/>
                <a:gdLst>
                  <a:gd name="T0" fmla="*/ 37 w 73"/>
                  <a:gd name="T1" fmla="*/ 74 h 74"/>
                  <a:gd name="T2" fmla="*/ 30 w 73"/>
                  <a:gd name="T3" fmla="*/ 73 h 74"/>
                  <a:gd name="T4" fmla="*/ 25 w 73"/>
                  <a:gd name="T5" fmla="*/ 72 h 74"/>
                  <a:gd name="T6" fmla="*/ 19 w 73"/>
                  <a:gd name="T7" fmla="*/ 70 h 74"/>
                  <a:gd name="T8" fmla="*/ 15 w 73"/>
                  <a:gd name="T9" fmla="*/ 67 h 74"/>
                  <a:gd name="T10" fmla="*/ 11 w 73"/>
                  <a:gd name="T11" fmla="*/ 64 h 74"/>
                  <a:gd name="T12" fmla="*/ 6 w 73"/>
                  <a:gd name="T13" fmla="*/ 59 h 74"/>
                  <a:gd name="T14" fmla="*/ 3 w 73"/>
                  <a:gd name="T15" fmla="*/ 54 h 74"/>
                  <a:gd name="T16" fmla="*/ 1 w 73"/>
                  <a:gd name="T17" fmla="*/ 48 h 74"/>
                  <a:gd name="T18" fmla="*/ 0 w 73"/>
                  <a:gd name="T19" fmla="*/ 42 h 74"/>
                  <a:gd name="T20" fmla="*/ 0 w 73"/>
                  <a:gd name="T21" fmla="*/ 34 h 74"/>
                  <a:gd name="T22" fmla="*/ 1 w 73"/>
                  <a:gd name="T23" fmla="*/ 27 h 74"/>
                  <a:gd name="T24" fmla="*/ 3 w 73"/>
                  <a:gd name="T25" fmla="*/ 20 h 74"/>
                  <a:gd name="T26" fmla="*/ 8 w 73"/>
                  <a:gd name="T27" fmla="*/ 14 h 74"/>
                  <a:gd name="T28" fmla="*/ 13 w 73"/>
                  <a:gd name="T29" fmla="*/ 10 h 74"/>
                  <a:gd name="T30" fmla="*/ 18 w 73"/>
                  <a:gd name="T31" fmla="*/ 5 h 74"/>
                  <a:gd name="T32" fmla="*/ 25 w 73"/>
                  <a:gd name="T33" fmla="*/ 2 h 74"/>
                  <a:gd name="T34" fmla="*/ 32 w 73"/>
                  <a:gd name="T35" fmla="*/ 1 h 74"/>
                  <a:gd name="T36" fmla="*/ 40 w 73"/>
                  <a:gd name="T37" fmla="*/ 0 h 74"/>
                  <a:gd name="T38" fmla="*/ 46 w 73"/>
                  <a:gd name="T39" fmla="*/ 2 h 74"/>
                  <a:gd name="T40" fmla="*/ 53 w 73"/>
                  <a:gd name="T41" fmla="*/ 4 h 74"/>
                  <a:gd name="T42" fmla="*/ 59 w 73"/>
                  <a:gd name="T43" fmla="*/ 8 h 74"/>
                  <a:gd name="T44" fmla="*/ 65 w 73"/>
                  <a:gd name="T45" fmla="*/ 13 h 74"/>
                  <a:gd name="T46" fmla="*/ 69 w 73"/>
                  <a:gd name="T47" fmla="*/ 19 h 74"/>
                  <a:gd name="T48" fmla="*/ 72 w 73"/>
                  <a:gd name="T49" fmla="*/ 26 h 74"/>
                  <a:gd name="T50" fmla="*/ 73 w 73"/>
                  <a:gd name="T51" fmla="*/ 32 h 74"/>
                  <a:gd name="T52" fmla="*/ 73 w 73"/>
                  <a:gd name="T53" fmla="*/ 40 h 74"/>
                  <a:gd name="T54" fmla="*/ 72 w 73"/>
                  <a:gd name="T55" fmla="*/ 47 h 74"/>
                  <a:gd name="T56" fmla="*/ 70 w 73"/>
                  <a:gd name="T57" fmla="*/ 54 h 74"/>
                  <a:gd name="T58" fmla="*/ 66 w 73"/>
                  <a:gd name="T59" fmla="*/ 60 h 74"/>
                  <a:gd name="T60" fmla="*/ 60 w 73"/>
                  <a:gd name="T61" fmla="*/ 66 h 74"/>
                  <a:gd name="T62" fmla="*/ 55 w 73"/>
                  <a:gd name="T63" fmla="*/ 69 h 74"/>
                  <a:gd name="T64" fmla="*/ 49 w 73"/>
                  <a:gd name="T65" fmla="*/ 72 h 74"/>
                  <a:gd name="T66" fmla="*/ 42 w 73"/>
                  <a:gd name="T67" fmla="*/ 73 h 74"/>
                  <a:gd name="T68" fmla="*/ 37 w 73"/>
                  <a:gd name="T69" fmla="*/ 74 h 74"/>
                  <a:gd name="T70" fmla="*/ 37 w 73"/>
                  <a:gd name="T71" fmla="*/ 27 h 74"/>
                  <a:gd name="T72" fmla="*/ 37 w 73"/>
                  <a:gd name="T73" fmla="*/ 27 h 74"/>
                  <a:gd name="T74" fmla="*/ 35 w 73"/>
                  <a:gd name="T75" fmla="*/ 27 h 74"/>
                  <a:gd name="T76" fmla="*/ 33 w 73"/>
                  <a:gd name="T77" fmla="*/ 28 h 74"/>
                  <a:gd name="T78" fmla="*/ 30 w 73"/>
                  <a:gd name="T79" fmla="*/ 30 h 74"/>
                  <a:gd name="T80" fmla="*/ 28 w 73"/>
                  <a:gd name="T81" fmla="*/ 32 h 74"/>
                  <a:gd name="T82" fmla="*/ 27 w 73"/>
                  <a:gd name="T83" fmla="*/ 37 h 74"/>
                  <a:gd name="T84" fmla="*/ 27 w 73"/>
                  <a:gd name="T85" fmla="*/ 40 h 74"/>
                  <a:gd name="T86" fmla="*/ 29 w 73"/>
                  <a:gd name="T87" fmla="*/ 44 h 74"/>
                  <a:gd name="T88" fmla="*/ 32 w 73"/>
                  <a:gd name="T89" fmla="*/ 46 h 74"/>
                  <a:gd name="T90" fmla="*/ 36 w 73"/>
                  <a:gd name="T91" fmla="*/ 47 h 74"/>
                  <a:gd name="T92" fmla="*/ 40 w 73"/>
                  <a:gd name="T93" fmla="*/ 46 h 74"/>
                  <a:gd name="T94" fmla="*/ 43 w 73"/>
                  <a:gd name="T95" fmla="*/ 45 h 74"/>
                  <a:gd name="T96" fmla="*/ 45 w 73"/>
                  <a:gd name="T97" fmla="*/ 42 h 74"/>
                  <a:gd name="T98" fmla="*/ 46 w 73"/>
                  <a:gd name="T99" fmla="*/ 38 h 74"/>
                  <a:gd name="T100" fmla="*/ 46 w 73"/>
                  <a:gd name="T101" fmla="*/ 34 h 74"/>
                  <a:gd name="T102" fmla="*/ 44 w 73"/>
                  <a:gd name="T103" fmla="*/ 31 h 74"/>
                  <a:gd name="T104" fmla="*/ 42 w 73"/>
                  <a:gd name="T105" fmla="*/ 29 h 74"/>
                  <a:gd name="T106" fmla="*/ 40 w 73"/>
                  <a:gd name="T107" fmla="*/ 28 h 74"/>
                  <a:gd name="T108" fmla="*/ 37 w 73"/>
                  <a:gd name="T109" fmla="*/ 2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 h="74">
                    <a:moveTo>
                      <a:pt x="37" y="74"/>
                    </a:moveTo>
                    <a:lnTo>
                      <a:pt x="30" y="73"/>
                    </a:lnTo>
                    <a:lnTo>
                      <a:pt x="25" y="72"/>
                    </a:lnTo>
                    <a:lnTo>
                      <a:pt x="19" y="70"/>
                    </a:lnTo>
                    <a:lnTo>
                      <a:pt x="15" y="67"/>
                    </a:lnTo>
                    <a:lnTo>
                      <a:pt x="11" y="64"/>
                    </a:lnTo>
                    <a:lnTo>
                      <a:pt x="6" y="59"/>
                    </a:lnTo>
                    <a:lnTo>
                      <a:pt x="3" y="54"/>
                    </a:lnTo>
                    <a:lnTo>
                      <a:pt x="1" y="48"/>
                    </a:lnTo>
                    <a:lnTo>
                      <a:pt x="0" y="42"/>
                    </a:lnTo>
                    <a:lnTo>
                      <a:pt x="0" y="34"/>
                    </a:lnTo>
                    <a:lnTo>
                      <a:pt x="1" y="27"/>
                    </a:lnTo>
                    <a:lnTo>
                      <a:pt x="3" y="20"/>
                    </a:lnTo>
                    <a:lnTo>
                      <a:pt x="8" y="14"/>
                    </a:lnTo>
                    <a:lnTo>
                      <a:pt x="13" y="10"/>
                    </a:lnTo>
                    <a:lnTo>
                      <a:pt x="18" y="5"/>
                    </a:lnTo>
                    <a:lnTo>
                      <a:pt x="25" y="2"/>
                    </a:lnTo>
                    <a:lnTo>
                      <a:pt x="32" y="1"/>
                    </a:lnTo>
                    <a:lnTo>
                      <a:pt x="40" y="0"/>
                    </a:lnTo>
                    <a:lnTo>
                      <a:pt x="46" y="2"/>
                    </a:lnTo>
                    <a:lnTo>
                      <a:pt x="53" y="4"/>
                    </a:lnTo>
                    <a:lnTo>
                      <a:pt x="59" y="8"/>
                    </a:lnTo>
                    <a:lnTo>
                      <a:pt x="65" y="13"/>
                    </a:lnTo>
                    <a:lnTo>
                      <a:pt x="69" y="19"/>
                    </a:lnTo>
                    <a:lnTo>
                      <a:pt x="72" y="26"/>
                    </a:lnTo>
                    <a:lnTo>
                      <a:pt x="73" y="32"/>
                    </a:lnTo>
                    <a:lnTo>
                      <a:pt x="73" y="40"/>
                    </a:lnTo>
                    <a:lnTo>
                      <a:pt x="72" y="47"/>
                    </a:lnTo>
                    <a:lnTo>
                      <a:pt x="70" y="54"/>
                    </a:lnTo>
                    <a:lnTo>
                      <a:pt x="66" y="60"/>
                    </a:lnTo>
                    <a:lnTo>
                      <a:pt x="60" y="66"/>
                    </a:lnTo>
                    <a:lnTo>
                      <a:pt x="55" y="69"/>
                    </a:lnTo>
                    <a:lnTo>
                      <a:pt x="49" y="72"/>
                    </a:lnTo>
                    <a:lnTo>
                      <a:pt x="42" y="73"/>
                    </a:lnTo>
                    <a:lnTo>
                      <a:pt x="37" y="74"/>
                    </a:lnTo>
                    <a:close/>
                    <a:moveTo>
                      <a:pt x="37" y="27"/>
                    </a:moveTo>
                    <a:lnTo>
                      <a:pt x="37" y="27"/>
                    </a:lnTo>
                    <a:lnTo>
                      <a:pt x="35" y="27"/>
                    </a:lnTo>
                    <a:lnTo>
                      <a:pt x="33" y="28"/>
                    </a:lnTo>
                    <a:lnTo>
                      <a:pt x="30" y="30"/>
                    </a:lnTo>
                    <a:lnTo>
                      <a:pt x="28" y="32"/>
                    </a:lnTo>
                    <a:lnTo>
                      <a:pt x="27" y="37"/>
                    </a:lnTo>
                    <a:lnTo>
                      <a:pt x="27" y="40"/>
                    </a:lnTo>
                    <a:lnTo>
                      <a:pt x="29" y="44"/>
                    </a:lnTo>
                    <a:lnTo>
                      <a:pt x="32" y="46"/>
                    </a:lnTo>
                    <a:lnTo>
                      <a:pt x="36" y="47"/>
                    </a:lnTo>
                    <a:lnTo>
                      <a:pt x="40" y="46"/>
                    </a:lnTo>
                    <a:lnTo>
                      <a:pt x="43" y="45"/>
                    </a:lnTo>
                    <a:lnTo>
                      <a:pt x="45" y="42"/>
                    </a:lnTo>
                    <a:lnTo>
                      <a:pt x="46" y="38"/>
                    </a:lnTo>
                    <a:lnTo>
                      <a:pt x="46" y="34"/>
                    </a:lnTo>
                    <a:lnTo>
                      <a:pt x="44" y="31"/>
                    </a:lnTo>
                    <a:lnTo>
                      <a:pt x="42" y="29"/>
                    </a:lnTo>
                    <a:lnTo>
                      <a:pt x="40" y="28"/>
                    </a:lnTo>
                    <a:lnTo>
                      <a:pt x="3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75"/>
              <p:cNvSpPr>
                <a:spLocks noEditPoints="1"/>
              </p:cNvSpPr>
              <p:nvPr userDrawn="1"/>
            </p:nvSpPr>
            <p:spPr bwMode="auto">
              <a:xfrm>
                <a:off x="2232" y="3076"/>
                <a:ext cx="24" cy="23"/>
              </a:xfrm>
              <a:custGeom>
                <a:avLst/>
                <a:gdLst>
                  <a:gd name="T0" fmla="*/ 36 w 71"/>
                  <a:gd name="T1" fmla="*/ 70 h 70"/>
                  <a:gd name="T2" fmla="*/ 28 w 71"/>
                  <a:gd name="T3" fmla="*/ 70 h 70"/>
                  <a:gd name="T4" fmla="*/ 22 w 71"/>
                  <a:gd name="T5" fmla="*/ 68 h 70"/>
                  <a:gd name="T6" fmla="*/ 16 w 71"/>
                  <a:gd name="T7" fmla="*/ 65 h 70"/>
                  <a:gd name="T8" fmla="*/ 11 w 71"/>
                  <a:gd name="T9" fmla="*/ 61 h 70"/>
                  <a:gd name="T10" fmla="*/ 6 w 71"/>
                  <a:gd name="T11" fmla="*/ 55 h 70"/>
                  <a:gd name="T12" fmla="*/ 3 w 71"/>
                  <a:gd name="T13" fmla="*/ 49 h 70"/>
                  <a:gd name="T14" fmla="*/ 1 w 71"/>
                  <a:gd name="T15" fmla="*/ 42 h 70"/>
                  <a:gd name="T16" fmla="*/ 0 w 71"/>
                  <a:gd name="T17" fmla="*/ 36 h 70"/>
                  <a:gd name="T18" fmla="*/ 1 w 71"/>
                  <a:gd name="T19" fmla="*/ 28 h 70"/>
                  <a:gd name="T20" fmla="*/ 3 w 71"/>
                  <a:gd name="T21" fmla="*/ 22 h 70"/>
                  <a:gd name="T22" fmla="*/ 6 w 71"/>
                  <a:gd name="T23" fmla="*/ 15 h 70"/>
                  <a:gd name="T24" fmla="*/ 11 w 71"/>
                  <a:gd name="T25" fmla="*/ 11 h 70"/>
                  <a:gd name="T26" fmla="*/ 16 w 71"/>
                  <a:gd name="T27" fmla="*/ 7 h 70"/>
                  <a:gd name="T28" fmla="*/ 22 w 71"/>
                  <a:gd name="T29" fmla="*/ 3 h 70"/>
                  <a:gd name="T30" fmla="*/ 28 w 71"/>
                  <a:gd name="T31" fmla="*/ 1 h 70"/>
                  <a:gd name="T32" fmla="*/ 36 w 71"/>
                  <a:gd name="T33" fmla="*/ 0 h 70"/>
                  <a:gd name="T34" fmla="*/ 42 w 71"/>
                  <a:gd name="T35" fmla="*/ 1 h 70"/>
                  <a:gd name="T36" fmla="*/ 50 w 71"/>
                  <a:gd name="T37" fmla="*/ 3 h 70"/>
                  <a:gd name="T38" fmla="*/ 55 w 71"/>
                  <a:gd name="T39" fmla="*/ 7 h 70"/>
                  <a:gd name="T40" fmla="*/ 60 w 71"/>
                  <a:gd name="T41" fmla="*/ 11 h 70"/>
                  <a:gd name="T42" fmla="*/ 65 w 71"/>
                  <a:gd name="T43" fmla="*/ 15 h 70"/>
                  <a:gd name="T44" fmla="*/ 68 w 71"/>
                  <a:gd name="T45" fmla="*/ 22 h 70"/>
                  <a:gd name="T46" fmla="*/ 70 w 71"/>
                  <a:gd name="T47" fmla="*/ 28 h 70"/>
                  <a:gd name="T48" fmla="*/ 71 w 71"/>
                  <a:gd name="T49" fmla="*/ 36 h 70"/>
                  <a:gd name="T50" fmla="*/ 70 w 71"/>
                  <a:gd name="T51" fmla="*/ 42 h 70"/>
                  <a:gd name="T52" fmla="*/ 68 w 71"/>
                  <a:gd name="T53" fmla="*/ 49 h 70"/>
                  <a:gd name="T54" fmla="*/ 65 w 71"/>
                  <a:gd name="T55" fmla="*/ 55 h 70"/>
                  <a:gd name="T56" fmla="*/ 60 w 71"/>
                  <a:gd name="T57" fmla="*/ 61 h 70"/>
                  <a:gd name="T58" fmla="*/ 55 w 71"/>
                  <a:gd name="T59" fmla="*/ 65 h 70"/>
                  <a:gd name="T60" fmla="*/ 50 w 71"/>
                  <a:gd name="T61" fmla="*/ 68 h 70"/>
                  <a:gd name="T62" fmla="*/ 42 w 71"/>
                  <a:gd name="T63" fmla="*/ 70 h 70"/>
                  <a:gd name="T64" fmla="*/ 36 w 71"/>
                  <a:gd name="T65" fmla="*/ 70 h 70"/>
                  <a:gd name="T66" fmla="*/ 36 w 71"/>
                  <a:gd name="T67" fmla="*/ 27 h 70"/>
                  <a:gd name="T68" fmla="*/ 36 w 71"/>
                  <a:gd name="T69" fmla="*/ 27 h 70"/>
                  <a:gd name="T70" fmla="*/ 32 w 71"/>
                  <a:gd name="T71" fmla="*/ 28 h 70"/>
                  <a:gd name="T72" fmla="*/ 29 w 71"/>
                  <a:gd name="T73" fmla="*/ 29 h 70"/>
                  <a:gd name="T74" fmla="*/ 28 w 71"/>
                  <a:gd name="T75" fmla="*/ 33 h 70"/>
                  <a:gd name="T76" fmla="*/ 27 w 71"/>
                  <a:gd name="T77" fmla="*/ 36 h 70"/>
                  <a:gd name="T78" fmla="*/ 28 w 71"/>
                  <a:gd name="T79" fmla="*/ 39 h 70"/>
                  <a:gd name="T80" fmla="*/ 29 w 71"/>
                  <a:gd name="T81" fmla="*/ 41 h 70"/>
                  <a:gd name="T82" fmla="*/ 32 w 71"/>
                  <a:gd name="T83" fmla="*/ 43 h 70"/>
                  <a:gd name="T84" fmla="*/ 36 w 71"/>
                  <a:gd name="T85" fmla="*/ 43 h 70"/>
                  <a:gd name="T86" fmla="*/ 39 w 71"/>
                  <a:gd name="T87" fmla="*/ 43 h 70"/>
                  <a:gd name="T88" fmla="*/ 41 w 71"/>
                  <a:gd name="T89" fmla="*/ 41 h 70"/>
                  <a:gd name="T90" fmla="*/ 43 w 71"/>
                  <a:gd name="T91" fmla="*/ 39 h 70"/>
                  <a:gd name="T92" fmla="*/ 44 w 71"/>
                  <a:gd name="T93" fmla="*/ 36 h 70"/>
                  <a:gd name="T94" fmla="*/ 43 w 71"/>
                  <a:gd name="T95" fmla="*/ 33 h 70"/>
                  <a:gd name="T96" fmla="*/ 41 w 71"/>
                  <a:gd name="T97" fmla="*/ 29 h 70"/>
                  <a:gd name="T98" fmla="*/ 39 w 71"/>
                  <a:gd name="T99" fmla="*/ 28 h 70"/>
                  <a:gd name="T100" fmla="*/ 36 w 71"/>
                  <a:gd name="T10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 h="70">
                    <a:moveTo>
                      <a:pt x="36" y="70"/>
                    </a:moveTo>
                    <a:lnTo>
                      <a:pt x="28" y="70"/>
                    </a:lnTo>
                    <a:lnTo>
                      <a:pt x="22" y="68"/>
                    </a:lnTo>
                    <a:lnTo>
                      <a:pt x="16" y="65"/>
                    </a:lnTo>
                    <a:lnTo>
                      <a:pt x="11" y="61"/>
                    </a:lnTo>
                    <a:lnTo>
                      <a:pt x="6" y="55"/>
                    </a:lnTo>
                    <a:lnTo>
                      <a:pt x="3" y="49"/>
                    </a:lnTo>
                    <a:lnTo>
                      <a:pt x="1" y="42"/>
                    </a:lnTo>
                    <a:lnTo>
                      <a:pt x="0" y="36"/>
                    </a:lnTo>
                    <a:lnTo>
                      <a:pt x="1" y="28"/>
                    </a:lnTo>
                    <a:lnTo>
                      <a:pt x="3" y="22"/>
                    </a:lnTo>
                    <a:lnTo>
                      <a:pt x="6" y="15"/>
                    </a:lnTo>
                    <a:lnTo>
                      <a:pt x="11" y="11"/>
                    </a:lnTo>
                    <a:lnTo>
                      <a:pt x="16" y="7"/>
                    </a:lnTo>
                    <a:lnTo>
                      <a:pt x="22" y="3"/>
                    </a:lnTo>
                    <a:lnTo>
                      <a:pt x="28" y="1"/>
                    </a:lnTo>
                    <a:lnTo>
                      <a:pt x="36" y="0"/>
                    </a:lnTo>
                    <a:lnTo>
                      <a:pt x="42" y="1"/>
                    </a:lnTo>
                    <a:lnTo>
                      <a:pt x="50" y="3"/>
                    </a:lnTo>
                    <a:lnTo>
                      <a:pt x="55" y="7"/>
                    </a:lnTo>
                    <a:lnTo>
                      <a:pt x="60" y="11"/>
                    </a:lnTo>
                    <a:lnTo>
                      <a:pt x="65" y="15"/>
                    </a:lnTo>
                    <a:lnTo>
                      <a:pt x="68" y="22"/>
                    </a:lnTo>
                    <a:lnTo>
                      <a:pt x="70" y="28"/>
                    </a:lnTo>
                    <a:lnTo>
                      <a:pt x="71" y="36"/>
                    </a:lnTo>
                    <a:lnTo>
                      <a:pt x="70" y="42"/>
                    </a:lnTo>
                    <a:lnTo>
                      <a:pt x="68" y="49"/>
                    </a:lnTo>
                    <a:lnTo>
                      <a:pt x="65" y="55"/>
                    </a:lnTo>
                    <a:lnTo>
                      <a:pt x="60" y="61"/>
                    </a:lnTo>
                    <a:lnTo>
                      <a:pt x="55" y="65"/>
                    </a:lnTo>
                    <a:lnTo>
                      <a:pt x="50" y="68"/>
                    </a:lnTo>
                    <a:lnTo>
                      <a:pt x="42" y="70"/>
                    </a:lnTo>
                    <a:lnTo>
                      <a:pt x="36" y="70"/>
                    </a:lnTo>
                    <a:close/>
                    <a:moveTo>
                      <a:pt x="36" y="27"/>
                    </a:moveTo>
                    <a:lnTo>
                      <a:pt x="36" y="27"/>
                    </a:lnTo>
                    <a:lnTo>
                      <a:pt x="32" y="28"/>
                    </a:lnTo>
                    <a:lnTo>
                      <a:pt x="29" y="29"/>
                    </a:lnTo>
                    <a:lnTo>
                      <a:pt x="28" y="33"/>
                    </a:lnTo>
                    <a:lnTo>
                      <a:pt x="27" y="36"/>
                    </a:lnTo>
                    <a:lnTo>
                      <a:pt x="28" y="39"/>
                    </a:lnTo>
                    <a:lnTo>
                      <a:pt x="29" y="41"/>
                    </a:lnTo>
                    <a:lnTo>
                      <a:pt x="32" y="43"/>
                    </a:lnTo>
                    <a:lnTo>
                      <a:pt x="36" y="43"/>
                    </a:lnTo>
                    <a:lnTo>
                      <a:pt x="39" y="43"/>
                    </a:lnTo>
                    <a:lnTo>
                      <a:pt x="41" y="41"/>
                    </a:lnTo>
                    <a:lnTo>
                      <a:pt x="43" y="39"/>
                    </a:lnTo>
                    <a:lnTo>
                      <a:pt x="44" y="36"/>
                    </a:lnTo>
                    <a:lnTo>
                      <a:pt x="43" y="33"/>
                    </a:lnTo>
                    <a:lnTo>
                      <a:pt x="41" y="29"/>
                    </a:lnTo>
                    <a:lnTo>
                      <a:pt x="39" y="28"/>
                    </a:lnTo>
                    <a:lnTo>
                      <a:pt x="3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76"/>
              <p:cNvSpPr>
                <a:spLocks noEditPoints="1"/>
              </p:cNvSpPr>
              <p:nvPr userDrawn="1"/>
            </p:nvSpPr>
            <p:spPr bwMode="auto">
              <a:xfrm>
                <a:off x="2171" y="3061"/>
                <a:ext cx="25" cy="26"/>
              </a:xfrm>
              <a:custGeom>
                <a:avLst/>
                <a:gdLst>
                  <a:gd name="T0" fmla="*/ 39 w 77"/>
                  <a:gd name="T1" fmla="*/ 77 h 77"/>
                  <a:gd name="T2" fmla="*/ 32 w 77"/>
                  <a:gd name="T3" fmla="*/ 76 h 77"/>
                  <a:gd name="T4" fmla="*/ 24 w 77"/>
                  <a:gd name="T5" fmla="*/ 73 h 77"/>
                  <a:gd name="T6" fmla="*/ 18 w 77"/>
                  <a:gd name="T7" fmla="*/ 70 h 77"/>
                  <a:gd name="T8" fmla="*/ 12 w 77"/>
                  <a:gd name="T9" fmla="*/ 66 h 77"/>
                  <a:gd name="T10" fmla="*/ 7 w 77"/>
                  <a:gd name="T11" fmla="*/ 60 h 77"/>
                  <a:gd name="T12" fmla="*/ 4 w 77"/>
                  <a:gd name="T13" fmla="*/ 54 h 77"/>
                  <a:gd name="T14" fmla="*/ 1 w 77"/>
                  <a:gd name="T15" fmla="*/ 46 h 77"/>
                  <a:gd name="T16" fmla="*/ 0 w 77"/>
                  <a:gd name="T17" fmla="*/ 39 h 77"/>
                  <a:gd name="T18" fmla="*/ 1 w 77"/>
                  <a:gd name="T19" fmla="*/ 31 h 77"/>
                  <a:gd name="T20" fmla="*/ 4 w 77"/>
                  <a:gd name="T21" fmla="*/ 24 h 77"/>
                  <a:gd name="T22" fmla="*/ 7 w 77"/>
                  <a:gd name="T23" fmla="*/ 17 h 77"/>
                  <a:gd name="T24" fmla="*/ 12 w 77"/>
                  <a:gd name="T25" fmla="*/ 12 h 77"/>
                  <a:gd name="T26" fmla="*/ 18 w 77"/>
                  <a:gd name="T27" fmla="*/ 8 h 77"/>
                  <a:gd name="T28" fmla="*/ 24 w 77"/>
                  <a:gd name="T29" fmla="*/ 3 h 77"/>
                  <a:gd name="T30" fmla="*/ 32 w 77"/>
                  <a:gd name="T31" fmla="*/ 1 h 77"/>
                  <a:gd name="T32" fmla="*/ 39 w 77"/>
                  <a:gd name="T33" fmla="*/ 0 h 77"/>
                  <a:gd name="T34" fmla="*/ 47 w 77"/>
                  <a:gd name="T35" fmla="*/ 1 h 77"/>
                  <a:gd name="T36" fmla="*/ 54 w 77"/>
                  <a:gd name="T37" fmla="*/ 3 h 77"/>
                  <a:gd name="T38" fmla="*/ 61 w 77"/>
                  <a:gd name="T39" fmla="*/ 8 h 77"/>
                  <a:gd name="T40" fmla="*/ 66 w 77"/>
                  <a:gd name="T41" fmla="*/ 12 h 77"/>
                  <a:gd name="T42" fmla="*/ 71 w 77"/>
                  <a:gd name="T43" fmla="*/ 17 h 77"/>
                  <a:gd name="T44" fmla="*/ 74 w 77"/>
                  <a:gd name="T45" fmla="*/ 24 h 77"/>
                  <a:gd name="T46" fmla="*/ 76 w 77"/>
                  <a:gd name="T47" fmla="*/ 31 h 77"/>
                  <a:gd name="T48" fmla="*/ 77 w 77"/>
                  <a:gd name="T49" fmla="*/ 39 h 77"/>
                  <a:gd name="T50" fmla="*/ 76 w 77"/>
                  <a:gd name="T51" fmla="*/ 46 h 77"/>
                  <a:gd name="T52" fmla="*/ 74 w 77"/>
                  <a:gd name="T53" fmla="*/ 54 h 77"/>
                  <a:gd name="T54" fmla="*/ 71 w 77"/>
                  <a:gd name="T55" fmla="*/ 60 h 77"/>
                  <a:gd name="T56" fmla="*/ 66 w 77"/>
                  <a:gd name="T57" fmla="*/ 66 h 77"/>
                  <a:gd name="T58" fmla="*/ 61 w 77"/>
                  <a:gd name="T59" fmla="*/ 70 h 77"/>
                  <a:gd name="T60" fmla="*/ 54 w 77"/>
                  <a:gd name="T61" fmla="*/ 73 h 77"/>
                  <a:gd name="T62" fmla="*/ 47 w 77"/>
                  <a:gd name="T63" fmla="*/ 76 h 77"/>
                  <a:gd name="T64" fmla="*/ 39 w 77"/>
                  <a:gd name="T65" fmla="*/ 77 h 77"/>
                  <a:gd name="T66" fmla="*/ 39 w 77"/>
                  <a:gd name="T67" fmla="*/ 27 h 77"/>
                  <a:gd name="T68" fmla="*/ 39 w 77"/>
                  <a:gd name="T69" fmla="*/ 27 h 77"/>
                  <a:gd name="T70" fmla="*/ 35 w 77"/>
                  <a:gd name="T71" fmla="*/ 28 h 77"/>
                  <a:gd name="T72" fmla="*/ 31 w 77"/>
                  <a:gd name="T73" fmla="*/ 31 h 77"/>
                  <a:gd name="T74" fmla="*/ 28 w 77"/>
                  <a:gd name="T75" fmla="*/ 35 h 77"/>
                  <a:gd name="T76" fmla="*/ 27 w 77"/>
                  <a:gd name="T77" fmla="*/ 39 h 77"/>
                  <a:gd name="T78" fmla="*/ 28 w 77"/>
                  <a:gd name="T79" fmla="*/ 43 h 77"/>
                  <a:gd name="T80" fmla="*/ 31 w 77"/>
                  <a:gd name="T81" fmla="*/ 46 h 77"/>
                  <a:gd name="T82" fmla="*/ 35 w 77"/>
                  <a:gd name="T83" fmla="*/ 49 h 77"/>
                  <a:gd name="T84" fmla="*/ 39 w 77"/>
                  <a:gd name="T85" fmla="*/ 50 h 77"/>
                  <a:gd name="T86" fmla="*/ 44 w 77"/>
                  <a:gd name="T87" fmla="*/ 49 h 77"/>
                  <a:gd name="T88" fmla="*/ 47 w 77"/>
                  <a:gd name="T89" fmla="*/ 46 h 77"/>
                  <a:gd name="T90" fmla="*/ 49 w 77"/>
                  <a:gd name="T91" fmla="*/ 43 h 77"/>
                  <a:gd name="T92" fmla="*/ 50 w 77"/>
                  <a:gd name="T93" fmla="*/ 39 h 77"/>
                  <a:gd name="T94" fmla="*/ 49 w 77"/>
                  <a:gd name="T95" fmla="*/ 35 h 77"/>
                  <a:gd name="T96" fmla="*/ 47 w 77"/>
                  <a:gd name="T97" fmla="*/ 31 h 77"/>
                  <a:gd name="T98" fmla="*/ 44 w 77"/>
                  <a:gd name="T99" fmla="*/ 28 h 77"/>
                  <a:gd name="T100" fmla="*/ 39 w 77"/>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77">
                    <a:moveTo>
                      <a:pt x="39" y="77"/>
                    </a:moveTo>
                    <a:lnTo>
                      <a:pt x="32" y="76"/>
                    </a:lnTo>
                    <a:lnTo>
                      <a:pt x="24" y="73"/>
                    </a:lnTo>
                    <a:lnTo>
                      <a:pt x="18" y="70"/>
                    </a:lnTo>
                    <a:lnTo>
                      <a:pt x="12" y="66"/>
                    </a:lnTo>
                    <a:lnTo>
                      <a:pt x="7" y="60"/>
                    </a:lnTo>
                    <a:lnTo>
                      <a:pt x="4" y="54"/>
                    </a:lnTo>
                    <a:lnTo>
                      <a:pt x="1" y="46"/>
                    </a:lnTo>
                    <a:lnTo>
                      <a:pt x="0" y="39"/>
                    </a:lnTo>
                    <a:lnTo>
                      <a:pt x="1" y="31"/>
                    </a:lnTo>
                    <a:lnTo>
                      <a:pt x="4" y="24"/>
                    </a:lnTo>
                    <a:lnTo>
                      <a:pt x="7" y="17"/>
                    </a:lnTo>
                    <a:lnTo>
                      <a:pt x="12" y="12"/>
                    </a:lnTo>
                    <a:lnTo>
                      <a:pt x="18" y="8"/>
                    </a:lnTo>
                    <a:lnTo>
                      <a:pt x="24" y="3"/>
                    </a:lnTo>
                    <a:lnTo>
                      <a:pt x="32" y="1"/>
                    </a:lnTo>
                    <a:lnTo>
                      <a:pt x="39" y="0"/>
                    </a:lnTo>
                    <a:lnTo>
                      <a:pt x="47" y="1"/>
                    </a:lnTo>
                    <a:lnTo>
                      <a:pt x="54" y="3"/>
                    </a:lnTo>
                    <a:lnTo>
                      <a:pt x="61" y="8"/>
                    </a:lnTo>
                    <a:lnTo>
                      <a:pt x="66" y="12"/>
                    </a:lnTo>
                    <a:lnTo>
                      <a:pt x="71" y="17"/>
                    </a:lnTo>
                    <a:lnTo>
                      <a:pt x="74" y="24"/>
                    </a:lnTo>
                    <a:lnTo>
                      <a:pt x="76" y="31"/>
                    </a:lnTo>
                    <a:lnTo>
                      <a:pt x="77" y="39"/>
                    </a:lnTo>
                    <a:lnTo>
                      <a:pt x="76" y="46"/>
                    </a:lnTo>
                    <a:lnTo>
                      <a:pt x="74" y="54"/>
                    </a:lnTo>
                    <a:lnTo>
                      <a:pt x="71" y="60"/>
                    </a:lnTo>
                    <a:lnTo>
                      <a:pt x="66" y="66"/>
                    </a:lnTo>
                    <a:lnTo>
                      <a:pt x="61" y="70"/>
                    </a:lnTo>
                    <a:lnTo>
                      <a:pt x="54" y="73"/>
                    </a:lnTo>
                    <a:lnTo>
                      <a:pt x="47" y="76"/>
                    </a:lnTo>
                    <a:lnTo>
                      <a:pt x="39" y="77"/>
                    </a:lnTo>
                    <a:close/>
                    <a:moveTo>
                      <a:pt x="39" y="27"/>
                    </a:moveTo>
                    <a:lnTo>
                      <a:pt x="39" y="27"/>
                    </a:lnTo>
                    <a:lnTo>
                      <a:pt x="35" y="28"/>
                    </a:lnTo>
                    <a:lnTo>
                      <a:pt x="31" y="31"/>
                    </a:lnTo>
                    <a:lnTo>
                      <a:pt x="28" y="35"/>
                    </a:lnTo>
                    <a:lnTo>
                      <a:pt x="27" y="39"/>
                    </a:lnTo>
                    <a:lnTo>
                      <a:pt x="28" y="43"/>
                    </a:lnTo>
                    <a:lnTo>
                      <a:pt x="31" y="46"/>
                    </a:lnTo>
                    <a:lnTo>
                      <a:pt x="35" y="49"/>
                    </a:lnTo>
                    <a:lnTo>
                      <a:pt x="39" y="50"/>
                    </a:lnTo>
                    <a:lnTo>
                      <a:pt x="44" y="49"/>
                    </a:lnTo>
                    <a:lnTo>
                      <a:pt x="47" y="46"/>
                    </a:lnTo>
                    <a:lnTo>
                      <a:pt x="49" y="43"/>
                    </a:lnTo>
                    <a:lnTo>
                      <a:pt x="50" y="39"/>
                    </a:lnTo>
                    <a:lnTo>
                      <a:pt x="49" y="35"/>
                    </a:lnTo>
                    <a:lnTo>
                      <a:pt x="47" y="31"/>
                    </a:lnTo>
                    <a:lnTo>
                      <a:pt x="44" y="28"/>
                    </a:lnTo>
                    <a:lnTo>
                      <a:pt x="3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77"/>
              <p:cNvSpPr>
                <a:spLocks noEditPoints="1"/>
              </p:cNvSpPr>
              <p:nvPr userDrawn="1"/>
            </p:nvSpPr>
            <p:spPr bwMode="auto">
              <a:xfrm>
                <a:off x="2080" y="3048"/>
                <a:ext cx="34" cy="34"/>
              </a:xfrm>
              <a:custGeom>
                <a:avLst/>
                <a:gdLst>
                  <a:gd name="T0" fmla="*/ 40 w 102"/>
                  <a:gd name="T1" fmla="*/ 101 h 102"/>
                  <a:gd name="T2" fmla="*/ 23 w 102"/>
                  <a:gd name="T3" fmla="*/ 93 h 102"/>
                  <a:gd name="T4" fmla="*/ 9 w 102"/>
                  <a:gd name="T5" fmla="*/ 80 h 102"/>
                  <a:gd name="T6" fmla="*/ 1 w 102"/>
                  <a:gd name="T7" fmla="*/ 62 h 102"/>
                  <a:gd name="T8" fmla="*/ 1 w 102"/>
                  <a:gd name="T9" fmla="*/ 41 h 102"/>
                  <a:gd name="T10" fmla="*/ 9 w 102"/>
                  <a:gd name="T11" fmla="*/ 23 h 102"/>
                  <a:gd name="T12" fmla="*/ 23 w 102"/>
                  <a:gd name="T13" fmla="*/ 9 h 102"/>
                  <a:gd name="T14" fmla="*/ 40 w 102"/>
                  <a:gd name="T15" fmla="*/ 1 h 102"/>
                  <a:gd name="T16" fmla="*/ 61 w 102"/>
                  <a:gd name="T17" fmla="*/ 1 h 102"/>
                  <a:gd name="T18" fmla="*/ 79 w 102"/>
                  <a:gd name="T19" fmla="*/ 9 h 102"/>
                  <a:gd name="T20" fmla="*/ 93 w 102"/>
                  <a:gd name="T21" fmla="*/ 23 h 102"/>
                  <a:gd name="T22" fmla="*/ 101 w 102"/>
                  <a:gd name="T23" fmla="*/ 41 h 102"/>
                  <a:gd name="T24" fmla="*/ 101 w 102"/>
                  <a:gd name="T25" fmla="*/ 62 h 102"/>
                  <a:gd name="T26" fmla="*/ 93 w 102"/>
                  <a:gd name="T27" fmla="*/ 80 h 102"/>
                  <a:gd name="T28" fmla="*/ 79 w 102"/>
                  <a:gd name="T29" fmla="*/ 93 h 102"/>
                  <a:gd name="T30" fmla="*/ 61 w 102"/>
                  <a:gd name="T31" fmla="*/ 101 h 102"/>
                  <a:gd name="T32" fmla="*/ 51 w 102"/>
                  <a:gd name="T33" fmla="*/ 27 h 102"/>
                  <a:gd name="T34" fmla="*/ 46 w 102"/>
                  <a:gd name="T35" fmla="*/ 28 h 102"/>
                  <a:gd name="T36" fmla="*/ 38 w 102"/>
                  <a:gd name="T37" fmla="*/ 31 h 102"/>
                  <a:gd name="T38" fmla="*/ 32 w 102"/>
                  <a:gd name="T39" fmla="*/ 38 h 102"/>
                  <a:gd name="T40" fmla="*/ 27 w 102"/>
                  <a:gd name="T41" fmla="*/ 47 h 102"/>
                  <a:gd name="T42" fmla="*/ 27 w 102"/>
                  <a:gd name="T43" fmla="*/ 56 h 102"/>
                  <a:gd name="T44" fmla="*/ 32 w 102"/>
                  <a:gd name="T45" fmla="*/ 65 h 102"/>
                  <a:gd name="T46" fmla="*/ 38 w 102"/>
                  <a:gd name="T47" fmla="*/ 70 h 102"/>
                  <a:gd name="T48" fmla="*/ 46 w 102"/>
                  <a:gd name="T49" fmla="*/ 75 h 102"/>
                  <a:gd name="T50" fmla="*/ 55 w 102"/>
                  <a:gd name="T51" fmla="*/ 75 h 102"/>
                  <a:gd name="T52" fmla="*/ 64 w 102"/>
                  <a:gd name="T53" fmla="*/ 70 h 102"/>
                  <a:gd name="T54" fmla="*/ 71 w 102"/>
                  <a:gd name="T55" fmla="*/ 65 h 102"/>
                  <a:gd name="T56" fmla="*/ 74 w 102"/>
                  <a:gd name="T57" fmla="*/ 56 h 102"/>
                  <a:gd name="T58" fmla="*/ 74 w 102"/>
                  <a:gd name="T59" fmla="*/ 47 h 102"/>
                  <a:gd name="T60" fmla="*/ 71 w 102"/>
                  <a:gd name="T61" fmla="*/ 38 h 102"/>
                  <a:gd name="T62" fmla="*/ 64 w 102"/>
                  <a:gd name="T63" fmla="*/ 31 h 102"/>
                  <a:gd name="T64" fmla="*/ 55 w 102"/>
                  <a:gd name="T65"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 h="102">
                    <a:moveTo>
                      <a:pt x="51" y="102"/>
                    </a:moveTo>
                    <a:lnTo>
                      <a:pt x="40" y="101"/>
                    </a:lnTo>
                    <a:lnTo>
                      <a:pt x="32" y="98"/>
                    </a:lnTo>
                    <a:lnTo>
                      <a:pt x="23" y="93"/>
                    </a:lnTo>
                    <a:lnTo>
                      <a:pt x="15" y="86"/>
                    </a:lnTo>
                    <a:lnTo>
                      <a:pt x="9" y="80"/>
                    </a:lnTo>
                    <a:lnTo>
                      <a:pt x="5" y="71"/>
                    </a:lnTo>
                    <a:lnTo>
                      <a:pt x="1" y="62"/>
                    </a:lnTo>
                    <a:lnTo>
                      <a:pt x="0" y="51"/>
                    </a:lnTo>
                    <a:lnTo>
                      <a:pt x="1" y="41"/>
                    </a:lnTo>
                    <a:lnTo>
                      <a:pt x="5" y="31"/>
                    </a:lnTo>
                    <a:lnTo>
                      <a:pt x="9" y="23"/>
                    </a:lnTo>
                    <a:lnTo>
                      <a:pt x="15" y="15"/>
                    </a:lnTo>
                    <a:lnTo>
                      <a:pt x="23" y="9"/>
                    </a:lnTo>
                    <a:lnTo>
                      <a:pt x="32" y="4"/>
                    </a:lnTo>
                    <a:lnTo>
                      <a:pt x="40" y="1"/>
                    </a:lnTo>
                    <a:lnTo>
                      <a:pt x="51" y="0"/>
                    </a:lnTo>
                    <a:lnTo>
                      <a:pt x="61" y="1"/>
                    </a:lnTo>
                    <a:lnTo>
                      <a:pt x="71" y="4"/>
                    </a:lnTo>
                    <a:lnTo>
                      <a:pt x="79" y="9"/>
                    </a:lnTo>
                    <a:lnTo>
                      <a:pt x="87" y="15"/>
                    </a:lnTo>
                    <a:lnTo>
                      <a:pt x="93" y="23"/>
                    </a:lnTo>
                    <a:lnTo>
                      <a:pt x="97" y="31"/>
                    </a:lnTo>
                    <a:lnTo>
                      <a:pt x="101" y="41"/>
                    </a:lnTo>
                    <a:lnTo>
                      <a:pt x="102" y="51"/>
                    </a:lnTo>
                    <a:lnTo>
                      <a:pt x="101" y="62"/>
                    </a:lnTo>
                    <a:lnTo>
                      <a:pt x="97" y="71"/>
                    </a:lnTo>
                    <a:lnTo>
                      <a:pt x="93" y="80"/>
                    </a:lnTo>
                    <a:lnTo>
                      <a:pt x="87" y="86"/>
                    </a:lnTo>
                    <a:lnTo>
                      <a:pt x="79" y="93"/>
                    </a:lnTo>
                    <a:lnTo>
                      <a:pt x="71" y="98"/>
                    </a:lnTo>
                    <a:lnTo>
                      <a:pt x="61" y="101"/>
                    </a:lnTo>
                    <a:lnTo>
                      <a:pt x="51" y="102"/>
                    </a:lnTo>
                    <a:close/>
                    <a:moveTo>
                      <a:pt x="51" y="27"/>
                    </a:moveTo>
                    <a:lnTo>
                      <a:pt x="51" y="27"/>
                    </a:lnTo>
                    <a:lnTo>
                      <a:pt x="46" y="28"/>
                    </a:lnTo>
                    <a:lnTo>
                      <a:pt x="41" y="29"/>
                    </a:lnTo>
                    <a:lnTo>
                      <a:pt x="38" y="31"/>
                    </a:lnTo>
                    <a:lnTo>
                      <a:pt x="34" y="35"/>
                    </a:lnTo>
                    <a:lnTo>
                      <a:pt x="32" y="38"/>
                    </a:lnTo>
                    <a:lnTo>
                      <a:pt x="29" y="42"/>
                    </a:lnTo>
                    <a:lnTo>
                      <a:pt x="27" y="47"/>
                    </a:lnTo>
                    <a:lnTo>
                      <a:pt x="27" y="51"/>
                    </a:lnTo>
                    <a:lnTo>
                      <a:pt x="27" y="56"/>
                    </a:lnTo>
                    <a:lnTo>
                      <a:pt x="29" y="61"/>
                    </a:lnTo>
                    <a:lnTo>
                      <a:pt x="32" y="65"/>
                    </a:lnTo>
                    <a:lnTo>
                      <a:pt x="34" y="68"/>
                    </a:lnTo>
                    <a:lnTo>
                      <a:pt x="38" y="70"/>
                    </a:lnTo>
                    <a:lnTo>
                      <a:pt x="41" y="72"/>
                    </a:lnTo>
                    <a:lnTo>
                      <a:pt x="46" y="75"/>
                    </a:lnTo>
                    <a:lnTo>
                      <a:pt x="51" y="75"/>
                    </a:lnTo>
                    <a:lnTo>
                      <a:pt x="55" y="75"/>
                    </a:lnTo>
                    <a:lnTo>
                      <a:pt x="60" y="72"/>
                    </a:lnTo>
                    <a:lnTo>
                      <a:pt x="64" y="70"/>
                    </a:lnTo>
                    <a:lnTo>
                      <a:pt x="67" y="68"/>
                    </a:lnTo>
                    <a:lnTo>
                      <a:pt x="71" y="65"/>
                    </a:lnTo>
                    <a:lnTo>
                      <a:pt x="73" y="61"/>
                    </a:lnTo>
                    <a:lnTo>
                      <a:pt x="74" y="56"/>
                    </a:lnTo>
                    <a:lnTo>
                      <a:pt x="75" y="51"/>
                    </a:lnTo>
                    <a:lnTo>
                      <a:pt x="74" y="47"/>
                    </a:lnTo>
                    <a:lnTo>
                      <a:pt x="73" y="42"/>
                    </a:lnTo>
                    <a:lnTo>
                      <a:pt x="71" y="38"/>
                    </a:lnTo>
                    <a:lnTo>
                      <a:pt x="67" y="35"/>
                    </a:lnTo>
                    <a:lnTo>
                      <a:pt x="64" y="31"/>
                    </a:lnTo>
                    <a:lnTo>
                      <a:pt x="60" y="29"/>
                    </a:lnTo>
                    <a:lnTo>
                      <a:pt x="55" y="28"/>
                    </a:lnTo>
                    <a:lnTo>
                      <a:pt x="5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78"/>
              <p:cNvSpPr>
                <a:spLocks noEditPoints="1"/>
              </p:cNvSpPr>
              <p:nvPr userDrawn="1"/>
            </p:nvSpPr>
            <p:spPr bwMode="auto">
              <a:xfrm>
                <a:off x="2002" y="3044"/>
                <a:ext cx="35" cy="35"/>
              </a:xfrm>
              <a:custGeom>
                <a:avLst/>
                <a:gdLst>
                  <a:gd name="T0" fmla="*/ 42 w 105"/>
                  <a:gd name="T1" fmla="*/ 104 h 105"/>
                  <a:gd name="T2" fmla="*/ 24 w 105"/>
                  <a:gd name="T3" fmla="*/ 96 h 105"/>
                  <a:gd name="T4" fmla="*/ 9 w 105"/>
                  <a:gd name="T5" fmla="*/ 82 h 105"/>
                  <a:gd name="T6" fmla="*/ 1 w 105"/>
                  <a:gd name="T7" fmla="*/ 63 h 105"/>
                  <a:gd name="T8" fmla="*/ 1 w 105"/>
                  <a:gd name="T9" fmla="*/ 42 h 105"/>
                  <a:gd name="T10" fmla="*/ 9 w 105"/>
                  <a:gd name="T11" fmla="*/ 24 h 105"/>
                  <a:gd name="T12" fmla="*/ 24 w 105"/>
                  <a:gd name="T13" fmla="*/ 9 h 105"/>
                  <a:gd name="T14" fmla="*/ 42 w 105"/>
                  <a:gd name="T15" fmla="*/ 1 h 105"/>
                  <a:gd name="T16" fmla="*/ 64 w 105"/>
                  <a:gd name="T17" fmla="*/ 1 h 105"/>
                  <a:gd name="T18" fmla="*/ 82 w 105"/>
                  <a:gd name="T19" fmla="*/ 9 h 105"/>
                  <a:gd name="T20" fmla="*/ 96 w 105"/>
                  <a:gd name="T21" fmla="*/ 24 h 105"/>
                  <a:gd name="T22" fmla="*/ 104 w 105"/>
                  <a:gd name="T23" fmla="*/ 42 h 105"/>
                  <a:gd name="T24" fmla="*/ 104 w 105"/>
                  <a:gd name="T25" fmla="*/ 63 h 105"/>
                  <a:gd name="T26" fmla="*/ 96 w 105"/>
                  <a:gd name="T27" fmla="*/ 82 h 105"/>
                  <a:gd name="T28" fmla="*/ 82 w 105"/>
                  <a:gd name="T29" fmla="*/ 96 h 105"/>
                  <a:gd name="T30" fmla="*/ 64 w 105"/>
                  <a:gd name="T31" fmla="*/ 104 h 105"/>
                  <a:gd name="T32" fmla="*/ 53 w 105"/>
                  <a:gd name="T33" fmla="*/ 27 h 105"/>
                  <a:gd name="T34" fmla="*/ 47 w 105"/>
                  <a:gd name="T35" fmla="*/ 28 h 105"/>
                  <a:gd name="T36" fmla="*/ 39 w 105"/>
                  <a:gd name="T37" fmla="*/ 31 h 105"/>
                  <a:gd name="T38" fmla="*/ 31 w 105"/>
                  <a:gd name="T39" fmla="*/ 39 h 105"/>
                  <a:gd name="T40" fmla="*/ 28 w 105"/>
                  <a:gd name="T41" fmla="*/ 48 h 105"/>
                  <a:gd name="T42" fmla="*/ 28 w 105"/>
                  <a:gd name="T43" fmla="*/ 57 h 105"/>
                  <a:gd name="T44" fmla="*/ 31 w 105"/>
                  <a:gd name="T45" fmla="*/ 67 h 105"/>
                  <a:gd name="T46" fmla="*/ 39 w 105"/>
                  <a:gd name="T47" fmla="*/ 74 h 105"/>
                  <a:gd name="T48" fmla="*/ 47 w 105"/>
                  <a:gd name="T49" fmla="*/ 78 h 105"/>
                  <a:gd name="T50" fmla="*/ 57 w 105"/>
                  <a:gd name="T51" fmla="*/ 78 h 105"/>
                  <a:gd name="T52" fmla="*/ 67 w 105"/>
                  <a:gd name="T53" fmla="*/ 74 h 105"/>
                  <a:gd name="T54" fmla="*/ 73 w 105"/>
                  <a:gd name="T55" fmla="*/ 67 h 105"/>
                  <a:gd name="T56" fmla="*/ 78 w 105"/>
                  <a:gd name="T57" fmla="*/ 57 h 105"/>
                  <a:gd name="T58" fmla="*/ 78 w 105"/>
                  <a:gd name="T59" fmla="*/ 48 h 105"/>
                  <a:gd name="T60" fmla="*/ 73 w 105"/>
                  <a:gd name="T61" fmla="*/ 39 h 105"/>
                  <a:gd name="T62" fmla="*/ 67 w 105"/>
                  <a:gd name="T63" fmla="*/ 31 h 105"/>
                  <a:gd name="T64" fmla="*/ 57 w 105"/>
                  <a:gd name="T65" fmla="*/ 2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05">
                    <a:moveTo>
                      <a:pt x="53" y="105"/>
                    </a:moveTo>
                    <a:lnTo>
                      <a:pt x="42" y="104"/>
                    </a:lnTo>
                    <a:lnTo>
                      <a:pt x="32" y="101"/>
                    </a:lnTo>
                    <a:lnTo>
                      <a:pt x="24" y="96"/>
                    </a:lnTo>
                    <a:lnTo>
                      <a:pt x="15" y="90"/>
                    </a:lnTo>
                    <a:lnTo>
                      <a:pt x="9" y="82"/>
                    </a:lnTo>
                    <a:lnTo>
                      <a:pt x="4" y="74"/>
                    </a:lnTo>
                    <a:lnTo>
                      <a:pt x="1" y="63"/>
                    </a:lnTo>
                    <a:lnTo>
                      <a:pt x="0" y="53"/>
                    </a:lnTo>
                    <a:lnTo>
                      <a:pt x="1" y="42"/>
                    </a:lnTo>
                    <a:lnTo>
                      <a:pt x="4" y="33"/>
                    </a:lnTo>
                    <a:lnTo>
                      <a:pt x="9" y="24"/>
                    </a:lnTo>
                    <a:lnTo>
                      <a:pt x="15" y="15"/>
                    </a:lnTo>
                    <a:lnTo>
                      <a:pt x="24" y="9"/>
                    </a:lnTo>
                    <a:lnTo>
                      <a:pt x="32" y="4"/>
                    </a:lnTo>
                    <a:lnTo>
                      <a:pt x="42" y="1"/>
                    </a:lnTo>
                    <a:lnTo>
                      <a:pt x="53" y="0"/>
                    </a:lnTo>
                    <a:lnTo>
                      <a:pt x="64" y="1"/>
                    </a:lnTo>
                    <a:lnTo>
                      <a:pt x="73" y="4"/>
                    </a:lnTo>
                    <a:lnTo>
                      <a:pt x="82" y="9"/>
                    </a:lnTo>
                    <a:lnTo>
                      <a:pt x="90" y="15"/>
                    </a:lnTo>
                    <a:lnTo>
                      <a:pt x="96" y="24"/>
                    </a:lnTo>
                    <a:lnTo>
                      <a:pt x="101" y="33"/>
                    </a:lnTo>
                    <a:lnTo>
                      <a:pt x="104" y="42"/>
                    </a:lnTo>
                    <a:lnTo>
                      <a:pt x="105" y="53"/>
                    </a:lnTo>
                    <a:lnTo>
                      <a:pt x="104" y="63"/>
                    </a:lnTo>
                    <a:lnTo>
                      <a:pt x="101" y="74"/>
                    </a:lnTo>
                    <a:lnTo>
                      <a:pt x="96" y="82"/>
                    </a:lnTo>
                    <a:lnTo>
                      <a:pt x="90" y="90"/>
                    </a:lnTo>
                    <a:lnTo>
                      <a:pt x="82" y="96"/>
                    </a:lnTo>
                    <a:lnTo>
                      <a:pt x="73" y="101"/>
                    </a:lnTo>
                    <a:lnTo>
                      <a:pt x="64" y="104"/>
                    </a:lnTo>
                    <a:lnTo>
                      <a:pt x="53" y="105"/>
                    </a:lnTo>
                    <a:close/>
                    <a:moveTo>
                      <a:pt x="53" y="27"/>
                    </a:moveTo>
                    <a:lnTo>
                      <a:pt x="53" y="27"/>
                    </a:lnTo>
                    <a:lnTo>
                      <a:pt x="47" y="28"/>
                    </a:lnTo>
                    <a:lnTo>
                      <a:pt x="43" y="29"/>
                    </a:lnTo>
                    <a:lnTo>
                      <a:pt x="39" y="31"/>
                    </a:lnTo>
                    <a:lnTo>
                      <a:pt x="34" y="35"/>
                    </a:lnTo>
                    <a:lnTo>
                      <a:pt x="31" y="39"/>
                    </a:lnTo>
                    <a:lnTo>
                      <a:pt x="29" y="43"/>
                    </a:lnTo>
                    <a:lnTo>
                      <a:pt x="28" y="48"/>
                    </a:lnTo>
                    <a:lnTo>
                      <a:pt x="27" y="53"/>
                    </a:lnTo>
                    <a:lnTo>
                      <a:pt x="28" y="57"/>
                    </a:lnTo>
                    <a:lnTo>
                      <a:pt x="29" y="63"/>
                    </a:lnTo>
                    <a:lnTo>
                      <a:pt x="31" y="67"/>
                    </a:lnTo>
                    <a:lnTo>
                      <a:pt x="34" y="70"/>
                    </a:lnTo>
                    <a:lnTo>
                      <a:pt x="39" y="74"/>
                    </a:lnTo>
                    <a:lnTo>
                      <a:pt x="43" y="76"/>
                    </a:lnTo>
                    <a:lnTo>
                      <a:pt x="47" y="78"/>
                    </a:lnTo>
                    <a:lnTo>
                      <a:pt x="53" y="78"/>
                    </a:lnTo>
                    <a:lnTo>
                      <a:pt x="57" y="78"/>
                    </a:lnTo>
                    <a:lnTo>
                      <a:pt x="63" y="76"/>
                    </a:lnTo>
                    <a:lnTo>
                      <a:pt x="67" y="74"/>
                    </a:lnTo>
                    <a:lnTo>
                      <a:pt x="70" y="70"/>
                    </a:lnTo>
                    <a:lnTo>
                      <a:pt x="73" y="67"/>
                    </a:lnTo>
                    <a:lnTo>
                      <a:pt x="76" y="63"/>
                    </a:lnTo>
                    <a:lnTo>
                      <a:pt x="78" y="57"/>
                    </a:lnTo>
                    <a:lnTo>
                      <a:pt x="78" y="53"/>
                    </a:lnTo>
                    <a:lnTo>
                      <a:pt x="78" y="48"/>
                    </a:lnTo>
                    <a:lnTo>
                      <a:pt x="76" y="43"/>
                    </a:lnTo>
                    <a:lnTo>
                      <a:pt x="73" y="39"/>
                    </a:lnTo>
                    <a:lnTo>
                      <a:pt x="70" y="35"/>
                    </a:lnTo>
                    <a:lnTo>
                      <a:pt x="67" y="31"/>
                    </a:lnTo>
                    <a:lnTo>
                      <a:pt x="63" y="29"/>
                    </a:lnTo>
                    <a:lnTo>
                      <a:pt x="57" y="28"/>
                    </a:lnTo>
                    <a:lnTo>
                      <a:pt x="5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79"/>
              <p:cNvSpPr>
                <a:spLocks noEditPoints="1"/>
              </p:cNvSpPr>
              <p:nvPr userDrawn="1"/>
            </p:nvSpPr>
            <p:spPr bwMode="auto">
              <a:xfrm>
                <a:off x="1936" y="3045"/>
                <a:ext cx="33" cy="33"/>
              </a:xfrm>
              <a:custGeom>
                <a:avLst/>
                <a:gdLst>
                  <a:gd name="T0" fmla="*/ 40 w 100"/>
                  <a:gd name="T1" fmla="*/ 99 h 100"/>
                  <a:gd name="T2" fmla="*/ 22 w 100"/>
                  <a:gd name="T3" fmla="*/ 91 h 100"/>
                  <a:gd name="T4" fmla="*/ 9 w 100"/>
                  <a:gd name="T5" fmla="*/ 78 h 100"/>
                  <a:gd name="T6" fmla="*/ 1 w 100"/>
                  <a:gd name="T7" fmla="*/ 60 h 100"/>
                  <a:gd name="T8" fmla="*/ 1 w 100"/>
                  <a:gd name="T9" fmla="*/ 40 h 100"/>
                  <a:gd name="T10" fmla="*/ 9 w 100"/>
                  <a:gd name="T11" fmla="*/ 22 h 100"/>
                  <a:gd name="T12" fmla="*/ 22 w 100"/>
                  <a:gd name="T13" fmla="*/ 8 h 100"/>
                  <a:gd name="T14" fmla="*/ 40 w 100"/>
                  <a:gd name="T15" fmla="*/ 1 h 100"/>
                  <a:gd name="T16" fmla="*/ 60 w 100"/>
                  <a:gd name="T17" fmla="*/ 1 h 100"/>
                  <a:gd name="T18" fmla="*/ 78 w 100"/>
                  <a:gd name="T19" fmla="*/ 8 h 100"/>
                  <a:gd name="T20" fmla="*/ 91 w 100"/>
                  <a:gd name="T21" fmla="*/ 22 h 100"/>
                  <a:gd name="T22" fmla="*/ 98 w 100"/>
                  <a:gd name="T23" fmla="*/ 40 h 100"/>
                  <a:gd name="T24" fmla="*/ 98 w 100"/>
                  <a:gd name="T25" fmla="*/ 60 h 100"/>
                  <a:gd name="T26" fmla="*/ 91 w 100"/>
                  <a:gd name="T27" fmla="*/ 78 h 100"/>
                  <a:gd name="T28" fmla="*/ 78 w 100"/>
                  <a:gd name="T29" fmla="*/ 91 h 100"/>
                  <a:gd name="T30" fmla="*/ 60 w 100"/>
                  <a:gd name="T31" fmla="*/ 99 h 100"/>
                  <a:gd name="T32" fmla="*/ 50 w 100"/>
                  <a:gd name="T33" fmla="*/ 27 h 100"/>
                  <a:gd name="T34" fmla="*/ 46 w 100"/>
                  <a:gd name="T35" fmla="*/ 27 h 100"/>
                  <a:gd name="T36" fmla="*/ 37 w 100"/>
                  <a:gd name="T37" fmla="*/ 31 h 100"/>
                  <a:gd name="T38" fmla="*/ 30 w 100"/>
                  <a:gd name="T39" fmla="*/ 37 h 100"/>
                  <a:gd name="T40" fmla="*/ 27 w 100"/>
                  <a:gd name="T41" fmla="*/ 46 h 100"/>
                  <a:gd name="T42" fmla="*/ 27 w 100"/>
                  <a:gd name="T43" fmla="*/ 54 h 100"/>
                  <a:gd name="T44" fmla="*/ 30 w 100"/>
                  <a:gd name="T45" fmla="*/ 63 h 100"/>
                  <a:gd name="T46" fmla="*/ 37 w 100"/>
                  <a:gd name="T47" fmla="*/ 68 h 100"/>
                  <a:gd name="T48" fmla="*/ 46 w 100"/>
                  <a:gd name="T49" fmla="*/ 73 h 100"/>
                  <a:gd name="T50" fmla="*/ 54 w 100"/>
                  <a:gd name="T51" fmla="*/ 73 h 100"/>
                  <a:gd name="T52" fmla="*/ 63 w 100"/>
                  <a:gd name="T53" fmla="*/ 68 h 100"/>
                  <a:gd name="T54" fmla="*/ 69 w 100"/>
                  <a:gd name="T55" fmla="*/ 63 h 100"/>
                  <a:gd name="T56" fmla="*/ 73 w 100"/>
                  <a:gd name="T57" fmla="*/ 54 h 100"/>
                  <a:gd name="T58" fmla="*/ 73 w 100"/>
                  <a:gd name="T59" fmla="*/ 46 h 100"/>
                  <a:gd name="T60" fmla="*/ 69 w 100"/>
                  <a:gd name="T61" fmla="*/ 37 h 100"/>
                  <a:gd name="T62" fmla="*/ 63 w 100"/>
                  <a:gd name="T63" fmla="*/ 31 h 100"/>
                  <a:gd name="T64" fmla="*/ 54 w 100"/>
                  <a:gd name="T65" fmla="*/ 2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50" y="100"/>
                    </a:moveTo>
                    <a:lnTo>
                      <a:pt x="40" y="99"/>
                    </a:lnTo>
                    <a:lnTo>
                      <a:pt x="30" y="95"/>
                    </a:lnTo>
                    <a:lnTo>
                      <a:pt x="22" y="91"/>
                    </a:lnTo>
                    <a:lnTo>
                      <a:pt x="14" y="86"/>
                    </a:lnTo>
                    <a:lnTo>
                      <a:pt x="9" y="78"/>
                    </a:lnTo>
                    <a:lnTo>
                      <a:pt x="3" y="69"/>
                    </a:lnTo>
                    <a:lnTo>
                      <a:pt x="1" y="60"/>
                    </a:lnTo>
                    <a:lnTo>
                      <a:pt x="0" y="50"/>
                    </a:lnTo>
                    <a:lnTo>
                      <a:pt x="1" y="40"/>
                    </a:lnTo>
                    <a:lnTo>
                      <a:pt x="3" y="31"/>
                    </a:lnTo>
                    <a:lnTo>
                      <a:pt x="9" y="22"/>
                    </a:lnTo>
                    <a:lnTo>
                      <a:pt x="14" y="14"/>
                    </a:lnTo>
                    <a:lnTo>
                      <a:pt x="22" y="8"/>
                    </a:lnTo>
                    <a:lnTo>
                      <a:pt x="30" y="4"/>
                    </a:lnTo>
                    <a:lnTo>
                      <a:pt x="40" y="1"/>
                    </a:lnTo>
                    <a:lnTo>
                      <a:pt x="50" y="0"/>
                    </a:lnTo>
                    <a:lnTo>
                      <a:pt x="60" y="1"/>
                    </a:lnTo>
                    <a:lnTo>
                      <a:pt x="69" y="4"/>
                    </a:lnTo>
                    <a:lnTo>
                      <a:pt x="78" y="8"/>
                    </a:lnTo>
                    <a:lnTo>
                      <a:pt x="86" y="14"/>
                    </a:lnTo>
                    <a:lnTo>
                      <a:pt x="91" y="22"/>
                    </a:lnTo>
                    <a:lnTo>
                      <a:pt x="96" y="31"/>
                    </a:lnTo>
                    <a:lnTo>
                      <a:pt x="98" y="40"/>
                    </a:lnTo>
                    <a:lnTo>
                      <a:pt x="100" y="50"/>
                    </a:lnTo>
                    <a:lnTo>
                      <a:pt x="98" y="60"/>
                    </a:lnTo>
                    <a:lnTo>
                      <a:pt x="96" y="69"/>
                    </a:lnTo>
                    <a:lnTo>
                      <a:pt x="91" y="78"/>
                    </a:lnTo>
                    <a:lnTo>
                      <a:pt x="86" y="86"/>
                    </a:lnTo>
                    <a:lnTo>
                      <a:pt x="78" y="91"/>
                    </a:lnTo>
                    <a:lnTo>
                      <a:pt x="69" y="95"/>
                    </a:lnTo>
                    <a:lnTo>
                      <a:pt x="60" y="99"/>
                    </a:lnTo>
                    <a:lnTo>
                      <a:pt x="50" y="100"/>
                    </a:lnTo>
                    <a:close/>
                    <a:moveTo>
                      <a:pt x="50" y="27"/>
                    </a:moveTo>
                    <a:lnTo>
                      <a:pt x="50" y="27"/>
                    </a:lnTo>
                    <a:lnTo>
                      <a:pt x="46" y="27"/>
                    </a:lnTo>
                    <a:lnTo>
                      <a:pt x="41" y="28"/>
                    </a:lnTo>
                    <a:lnTo>
                      <a:pt x="37" y="31"/>
                    </a:lnTo>
                    <a:lnTo>
                      <a:pt x="34" y="34"/>
                    </a:lnTo>
                    <a:lnTo>
                      <a:pt x="30" y="37"/>
                    </a:lnTo>
                    <a:lnTo>
                      <a:pt x="28" y="41"/>
                    </a:lnTo>
                    <a:lnTo>
                      <a:pt x="27" y="46"/>
                    </a:lnTo>
                    <a:lnTo>
                      <a:pt x="27" y="50"/>
                    </a:lnTo>
                    <a:lnTo>
                      <a:pt x="27" y="54"/>
                    </a:lnTo>
                    <a:lnTo>
                      <a:pt x="28" y="59"/>
                    </a:lnTo>
                    <a:lnTo>
                      <a:pt x="30" y="63"/>
                    </a:lnTo>
                    <a:lnTo>
                      <a:pt x="34" y="66"/>
                    </a:lnTo>
                    <a:lnTo>
                      <a:pt x="37" y="68"/>
                    </a:lnTo>
                    <a:lnTo>
                      <a:pt x="41" y="71"/>
                    </a:lnTo>
                    <a:lnTo>
                      <a:pt x="46" y="73"/>
                    </a:lnTo>
                    <a:lnTo>
                      <a:pt x="50" y="73"/>
                    </a:lnTo>
                    <a:lnTo>
                      <a:pt x="54" y="73"/>
                    </a:lnTo>
                    <a:lnTo>
                      <a:pt x="59" y="71"/>
                    </a:lnTo>
                    <a:lnTo>
                      <a:pt x="63" y="68"/>
                    </a:lnTo>
                    <a:lnTo>
                      <a:pt x="66" y="66"/>
                    </a:lnTo>
                    <a:lnTo>
                      <a:pt x="69" y="63"/>
                    </a:lnTo>
                    <a:lnTo>
                      <a:pt x="71" y="59"/>
                    </a:lnTo>
                    <a:lnTo>
                      <a:pt x="73" y="54"/>
                    </a:lnTo>
                    <a:lnTo>
                      <a:pt x="73" y="50"/>
                    </a:lnTo>
                    <a:lnTo>
                      <a:pt x="73" y="46"/>
                    </a:lnTo>
                    <a:lnTo>
                      <a:pt x="71" y="41"/>
                    </a:lnTo>
                    <a:lnTo>
                      <a:pt x="69" y="37"/>
                    </a:lnTo>
                    <a:lnTo>
                      <a:pt x="66" y="34"/>
                    </a:lnTo>
                    <a:lnTo>
                      <a:pt x="63" y="31"/>
                    </a:lnTo>
                    <a:lnTo>
                      <a:pt x="59" y="28"/>
                    </a:lnTo>
                    <a:lnTo>
                      <a:pt x="54"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80"/>
              <p:cNvSpPr>
                <a:spLocks noEditPoints="1"/>
              </p:cNvSpPr>
              <p:nvPr userDrawn="1"/>
            </p:nvSpPr>
            <p:spPr bwMode="auto">
              <a:xfrm>
                <a:off x="1810" y="3032"/>
                <a:ext cx="45" cy="46"/>
              </a:xfrm>
              <a:custGeom>
                <a:avLst/>
                <a:gdLst>
                  <a:gd name="T0" fmla="*/ 62 w 137"/>
                  <a:gd name="T1" fmla="*/ 137 h 137"/>
                  <a:gd name="T2" fmla="*/ 49 w 137"/>
                  <a:gd name="T3" fmla="*/ 133 h 137"/>
                  <a:gd name="T4" fmla="*/ 36 w 137"/>
                  <a:gd name="T5" fmla="*/ 128 h 137"/>
                  <a:gd name="T6" fmla="*/ 25 w 137"/>
                  <a:gd name="T7" fmla="*/ 120 h 137"/>
                  <a:gd name="T8" fmla="*/ 16 w 137"/>
                  <a:gd name="T9" fmla="*/ 112 h 137"/>
                  <a:gd name="T10" fmla="*/ 9 w 137"/>
                  <a:gd name="T11" fmla="*/ 101 h 137"/>
                  <a:gd name="T12" fmla="*/ 4 w 137"/>
                  <a:gd name="T13" fmla="*/ 88 h 137"/>
                  <a:gd name="T14" fmla="*/ 0 w 137"/>
                  <a:gd name="T15" fmla="*/ 75 h 137"/>
                  <a:gd name="T16" fmla="*/ 0 w 137"/>
                  <a:gd name="T17" fmla="*/ 61 h 137"/>
                  <a:gd name="T18" fmla="*/ 4 w 137"/>
                  <a:gd name="T19" fmla="*/ 47 h 137"/>
                  <a:gd name="T20" fmla="*/ 9 w 137"/>
                  <a:gd name="T21" fmla="*/ 35 h 137"/>
                  <a:gd name="T22" fmla="*/ 16 w 137"/>
                  <a:gd name="T23" fmla="*/ 24 h 137"/>
                  <a:gd name="T24" fmla="*/ 25 w 137"/>
                  <a:gd name="T25" fmla="*/ 15 h 137"/>
                  <a:gd name="T26" fmla="*/ 36 w 137"/>
                  <a:gd name="T27" fmla="*/ 7 h 137"/>
                  <a:gd name="T28" fmla="*/ 49 w 137"/>
                  <a:gd name="T29" fmla="*/ 2 h 137"/>
                  <a:gd name="T30" fmla="*/ 62 w 137"/>
                  <a:gd name="T31" fmla="*/ 0 h 137"/>
                  <a:gd name="T32" fmla="*/ 76 w 137"/>
                  <a:gd name="T33" fmla="*/ 0 h 137"/>
                  <a:gd name="T34" fmla="*/ 90 w 137"/>
                  <a:gd name="T35" fmla="*/ 2 h 137"/>
                  <a:gd name="T36" fmla="*/ 102 w 137"/>
                  <a:gd name="T37" fmla="*/ 7 h 137"/>
                  <a:gd name="T38" fmla="*/ 113 w 137"/>
                  <a:gd name="T39" fmla="*/ 15 h 137"/>
                  <a:gd name="T40" fmla="*/ 122 w 137"/>
                  <a:gd name="T41" fmla="*/ 24 h 137"/>
                  <a:gd name="T42" fmla="*/ 130 w 137"/>
                  <a:gd name="T43" fmla="*/ 35 h 137"/>
                  <a:gd name="T44" fmla="*/ 134 w 137"/>
                  <a:gd name="T45" fmla="*/ 47 h 137"/>
                  <a:gd name="T46" fmla="*/ 137 w 137"/>
                  <a:gd name="T47" fmla="*/ 61 h 137"/>
                  <a:gd name="T48" fmla="*/ 137 w 137"/>
                  <a:gd name="T49" fmla="*/ 75 h 137"/>
                  <a:gd name="T50" fmla="*/ 134 w 137"/>
                  <a:gd name="T51" fmla="*/ 88 h 137"/>
                  <a:gd name="T52" fmla="*/ 130 w 137"/>
                  <a:gd name="T53" fmla="*/ 101 h 137"/>
                  <a:gd name="T54" fmla="*/ 122 w 137"/>
                  <a:gd name="T55" fmla="*/ 112 h 137"/>
                  <a:gd name="T56" fmla="*/ 113 w 137"/>
                  <a:gd name="T57" fmla="*/ 120 h 137"/>
                  <a:gd name="T58" fmla="*/ 102 w 137"/>
                  <a:gd name="T59" fmla="*/ 128 h 137"/>
                  <a:gd name="T60" fmla="*/ 90 w 137"/>
                  <a:gd name="T61" fmla="*/ 133 h 137"/>
                  <a:gd name="T62" fmla="*/ 76 w 137"/>
                  <a:gd name="T63" fmla="*/ 137 h 137"/>
                  <a:gd name="T64" fmla="*/ 69 w 137"/>
                  <a:gd name="T65" fmla="*/ 27 h 137"/>
                  <a:gd name="T66" fmla="*/ 61 w 137"/>
                  <a:gd name="T67" fmla="*/ 27 h 137"/>
                  <a:gd name="T68" fmla="*/ 46 w 137"/>
                  <a:gd name="T69" fmla="*/ 33 h 137"/>
                  <a:gd name="T70" fmla="*/ 35 w 137"/>
                  <a:gd name="T71" fmla="*/ 45 h 137"/>
                  <a:gd name="T72" fmla="*/ 28 w 137"/>
                  <a:gd name="T73" fmla="*/ 59 h 137"/>
                  <a:gd name="T74" fmla="*/ 28 w 137"/>
                  <a:gd name="T75" fmla="*/ 76 h 137"/>
                  <a:gd name="T76" fmla="*/ 35 w 137"/>
                  <a:gd name="T77" fmla="*/ 91 h 137"/>
                  <a:gd name="T78" fmla="*/ 46 w 137"/>
                  <a:gd name="T79" fmla="*/ 102 h 137"/>
                  <a:gd name="T80" fmla="*/ 61 w 137"/>
                  <a:gd name="T81" fmla="*/ 109 h 137"/>
                  <a:gd name="T82" fmla="*/ 77 w 137"/>
                  <a:gd name="T83" fmla="*/ 109 h 137"/>
                  <a:gd name="T84" fmla="*/ 92 w 137"/>
                  <a:gd name="T85" fmla="*/ 102 h 137"/>
                  <a:gd name="T86" fmla="*/ 104 w 137"/>
                  <a:gd name="T87" fmla="*/ 91 h 137"/>
                  <a:gd name="T88" fmla="*/ 109 w 137"/>
                  <a:gd name="T89" fmla="*/ 76 h 137"/>
                  <a:gd name="T90" fmla="*/ 109 w 137"/>
                  <a:gd name="T91" fmla="*/ 59 h 137"/>
                  <a:gd name="T92" fmla="*/ 104 w 137"/>
                  <a:gd name="T93" fmla="*/ 45 h 137"/>
                  <a:gd name="T94" fmla="*/ 92 w 137"/>
                  <a:gd name="T95" fmla="*/ 33 h 137"/>
                  <a:gd name="T96" fmla="*/ 77 w 137"/>
                  <a:gd name="T97" fmla="*/ 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7" h="137">
                    <a:moveTo>
                      <a:pt x="69" y="137"/>
                    </a:moveTo>
                    <a:lnTo>
                      <a:pt x="62" y="137"/>
                    </a:lnTo>
                    <a:lnTo>
                      <a:pt x="55" y="136"/>
                    </a:lnTo>
                    <a:lnTo>
                      <a:pt x="49" y="133"/>
                    </a:lnTo>
                    <a:lnTo>
                      <a:pt x="42" y="131"/>
                    </a:lnTo>
                    <a:lnTo>
                      <a:pt x="36" y="128"/>
                    </a:lnTo>
                    <a:lnTo>
                      <a:pt x="31" y="125"/>
                    </a:lnTo>
                    <a:lnTo>
                      <a:pt x="25" y="120"/>
                    </a:lnTo>
                    <a:lnTo>
                      <a:pt x="21" y="116"/>
                    </a:lnTo>
                    <a:lnTo>
                      <a:pt x="16" y="112"/>
                    </a:lnTo>
                    <a:lnTo>
                      <a:pt x="12" y="106"/>
                    </a:lnTo>
                    <a:lnTo>
                      <a:pt x="9" y="101"/>
                    </a:lnTo>
                    <a:lnTo>
                      <a:pt x="6" y="95"/>
                    </a:lnTo>
                    <a:lnTo>
                      <a:pt x="4" y="88"/>
                    </a:lnTo>
                    <a:lnTo>
                      <a:pt x="1" y="82"/>
                    </a:lnTo>
                    <a:lnTo>
                      <a:pt x="0" y="75"/>
                    </a:lnTo>
                    <a:lnTo>
                      <a:pt x="0" y="68"/>
                    </a:lnTo>
                    <a:lnTo>
                      <a:pt x="0" y="61"/>
                    </a:lnTo>
                    <a:lnTo>
                      <a:pt x="1" y="54"/>
                    </a:lnTo>
                    <a:lnTo>
                      <a:pt x="4" y="47"/>
                    </a:lnTo>
                    <a:lnTo>
                      <a:pt x="6" y="41"/>
                    </a:lnTo>
                    <a:lnTo>
                      <a:pt x="9" y="35"/>
                    </a:lnTo>
                    <a:lnTo>
                      <a:pt x="12" y="30"/>
                    </a:lnTo>
                    <a:lnTo>
                      <a:pt x="16" y="24"/>
                    </a:lnTo>
                    <a:lnTo>
                      <a:pt x="21" y="19"/>
                    </a:lnTo>
                    <a:lnTo>
                      <a:pt x="25" y="15"/>
                    </a:lnTo>
                    <a:lnTo>
                      <a:pt x="31" y="10"/>
                    </a:lnTo>
                    <a:lnTo>
                      <a:pt x="36" y="7"/>
                    </a:lnTo>
                    <a:lnTo>
                      <a:pt x="42" y="5"/>
                    </a:lnTo>
                    <a:lnTo>
                      <a:pt x="49" y="2"/>
                    </a:lnTo>
                    <a:lnTo>
                      <a:pt x="55" y="1"/>
                    </a:lnTo>
                    <a:lnTo>
                      <a:pt x="62" y="0"/>
                    </a:lnTo>
                    <a:lnTo>
                      <a:pt x="69" y="0"/>
                    </a:lnTo>
                    <a:lnTo>
                      <a:pt x="76" y="0"/>
                    </a:lnTo>
                    <a:lnTo>
                      <a:pt x="82" y="1"/>
                    </a:lnTo>
                    <a:lnTo>
                      <a:pt x="90" y="2"/>
                    </a:lnTo>
                    <a:lnTo>
                      <a:pt x="95" y="5"/>
                    </a:lnTo>
                    <a:lnTo>
                      <a:pt x="102" y="7"/>
                    </a:lnTo>
                    <a:lnTo>
                      <a:pt x="107" y="10"/>
                    </a:lnTo>
                    <a:lnTo>
                      <a:pt x="113" y="15"/>
                    </a:lnTo>
                    <a:lnTo>
                      <a:pt x="118" y="19"/>
                    </a:lnTo>
                    <a:lnTo>
                      <a:pt x="122" y="24"/>
                    </a:lnTo>
                    <a:lnTo>
                      <a:pt x="126" y="30"/>
                    </a:lnTo>
                    <a:lnTo>
                      <a:pt x="130" y="35"/>
                    </a:lnTo>
                    <a:lnTo>
                      <a:pt x="132" y="41"/>
                    </a:lnTo>
                    <a:lnTo>
                      <a:pt x="134" y="47"/>
                    </a:lnTo>
                    <a:lnTo>
                      <a:pt x="136" y="54"/>
                    </a:lnTo>
                    <a:lnTo>
                      <a:pt x="137" y="61"/>
                    </a:lnTo>
                    <a:lnTo>
                      <a:pt x="137" y="68"/>
                    </a:lnTo>
                    <a:lnTo>
                      <a:pt x="137" y="75"/>
                    </a:lnTo>
                    <a:lnTo>
                      <a:pt x="136" y="82"/>
                    </a:lnTo>
                    <a:lnTo>
                      <a:pt x="134" y="88"/>
                    </a:lnTo>
                    <a:lnTo>
                      <a:pt x="132" y="95"/>
                    </a:lnTo>
                    <a:lnTo>
                      <a:pt x="130" y="101"/>
                    </a:lnTo>
                    <a:lnTo>
                      <a:pt x="126" y="106"/>
                    </a:lnTo>
                    <a:lnTo>
                      <a:pt x="122" y="112"/>
                    </a:lnTo>
                    <a:lnTo>
                      <a:pt x="118" y="116"/>
                    </a:lnTo>
                    <a:lnTo>
                      <a:pt x="113" y="120"/>
                    </a:lnTo>
                    <a:lnTo>
                      <a:pt x="107" y="125"/>
                    </a:lnTo>
                    <a:lnTo>
                      <a:pt x="102" y="128"/>
                    </a:lnTo>
                    <a:lnTo>
                      <a:pt x="95" y="131"/>
                    </a:lnTo>
                    <a:lnTo>
                      <a:pt x="90" y="133"/>
                    </a:lnTo>
                    <a:lnTo>
                      <a:pt x="82" y="136"/>
                    </a:lnTo>
                    <a:lnTo>
                      <a:pt x="76" y="137"/>
                    </a:lnTo>
                    <a:lnTo>
                      <a:pt x="69" y="137"/>
                    </a:lnTo>
                    <a:close/>
                    <a:moveTo>
                      <a:pt x="69" y="27"/>
                    </a:moveTo>
                    <a:lnTo>
                      <a:pt x="69" y="27"/>
                    </a:lnTo>
                    <a:lnTo>
                      <a:pt x="61" y="27"/>
                    </a:lnTo>
                    <a:lnTo>
                      <a:pt x="53" y="30"/>
                    </a:lnTo>
                    <a:lnTo>
                      <a:pt x="46" y="33"/>
                    </a:lnTo>
                    <a:lnTo>
                      <a:pt x="39" y="38"/>
                    </a:lnTo>
                    <a:lnTo>
                      <a:pt x="35" y="45"/>
                    </a:lnTo>
                    <a:lnTo>
                      <a:pt x="31" y="51"/>
                    </a:lnTo>
                    <a:lnTo>
                      <a:pt x="28" y="59"/>
                    </a:lnTo>
                    <a:lnTo>
                      <a:pt x="27" y="68"/>
                    </a:lnTo>
                    <a:lnTo>
                      <a:pt x="28" y="76"/>
                    </a:lnTo>
                    <a:lnTo>
                      <a:pt x="31" y="84"/>
                    </a:lnTo>
                    <a:lnTo>
                      <a:pt x="35" y="91"/>
                    </a:lnTo>
                    <a:lnTo>
                      <a:pt x="39" y="98"/>
                    </a:lnTo>
                    <a:lnTo>
                      <a:pt x="46" y="102"/>
                    </a:lnTo>
                    <a:lnTo>
                      <a:pt x="53" y="106"/>
                    </a:lnTo>
                    <a:lnTo>
                      <a:pt x="61" y="109"/>
                    </a:lnTo>
                    <a:lnTo>
                      <a:pt x="69" y="110"/>
                    </a:lnTo>
                    <a:lnTo>
                      <a:pt x="77" y="109"/>
                    </a:lnTo>
                    <a:lnTo>
                      <a:pt x="86" y="106"/>
                    </a:lnTo>
                    <a:lnTo>
                      <a:pt x="92" y="102"/>
                    </a:lnTo>
                    <a:lnTo>
                      <a:pt x="99" y="98"/>
                    </a:lnTo>
                    <a:lnTo>
                      <a:pt x="104" y="91"/>
                    </a:lnTo>
                    <a:lnTo>
                      <a:pt x="107" y="84"/>
                    </a:lnTo>
                    <a:lnTo>
                      <a:pt x="109" y="76"/>
                    </a:lnTo>
                    <a:lnTo>
                      <a:pt x="110" y="68"/>
                    </a:lnTo>
                    <a:lnTo>
                      <a:pt x="109" y="59"/>
                    </a:lnTo>
                    <a:lnTo>
                      <a:pt x="107" y="51"/>
                    </a:lnTo>
                    <a:lnTo>
                      <a:pt x="104" y="45"/>
                    </a:lnTo>
                    <a:lnTo>
                      <a:pt x="99" y="38"/>
                    </a:lnTo>
                    <a:lnTo>
                      <a:pt x="92" y="33"/>
                    </a:lnTo>
                    <a:lnTo>
                      <a:pt x="86" y="30"/>
                    </a:lnTo>
                    <a:lnTo>
                      <a:pt x="77" y="27"/>
                    </a:lnTo>
                    <a:lnTo>
                      <a:pt x="6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81"/>
              <p:cNvSpPr>
                <a:spLocks noEditPoints="1"/>
              </p:cNvSpPr>
              <p:nvPr userDrawn="1"/>
            </p:nvSpPr>
            <p:spPr bwMode="auto">
              <a:xfrm>
                <a:off x="1666" y="2994"/>
                <a:ext cx="46" cy="46"/>
              </a:xfrm>
              <a:custGeom>
                <a:avLst/>
                <a:gdLst>
                  <a:gd name="T0" fmla="*/ 62 w 138"/>
                  <a:gd name="T1" fmla="*/ 138 h 138"/>
                  <a:gd name="T2" fmla="*/ 49 w 138"/>
                  <a:gd name="T3" fmla="*/ 135 h 138"/>
                  <a:gd name="T4" fmla="*/ 36 w 138"/>
                  <a:gd name="T5" fmla="*/ 130 h 138"/>
                  <a:gd name="T6" fmla="*/ 25 w 138"/>
                  <a:gd name="T7" fmla="*/ 122 h 138"/>
                  <a:gd name="T8" fmla="*/ 15 w 138"/>
                  <a:gd name="T9" fmla="*/ 114 h 138"/>
                  <a:gd name="T10" fmla="*/ 8 w 138"/>
                  <a:gd name="T11" fmla="*/ 103 h 138"/>
                  <a:gd name="T12" fmla="*/ 4 w 138"/>
                  <a:gd name="T13" fmla="*/ 90 h 138"/>
                  <a:gd name="T14" fmla="*/ 0 w 138"/>
                  <a:gd name="T15" fmla="*/ 77 h 138"/>
                  <a:gd name="T16" fmla="*/ 0 w 138"/>
                  <a:gd name="T17" fmla="*/ 63 h 138"/>
                  <a:gd name="T18" fmla="*/ 4 w 138"/>
                  <a:gd name="T19" fmla="*/ 49 h 138"/>
                  <a:gd name="T20" fmla="*/ 8 w 138"/>
                  <a:gd name="T21" fmla="*/ 37 h 138"/>
                  <a:gd name="T22" fmla="*/ 15 w 138"/>
                  <a:gd name="T23" fmla="*/ 26 h 138"/>
                  <a:gd name="T24" fmla="*/ 25 w 138"/>
                  <a:gd name="T25" fmla="*/ 16 h 138"/>
                  <a:gd name="T26" fmla="*/ 36 w 138"/>
                  <a:gd name="T27" fmla="*/ 9 h 138"/>
                  <a:gd name="T28" fmla="*/ 49 w 138"/>
                  <a:gd name="T29" fmla="*/ 3 h 138"/>
                  <a:gd name="T30" fmla="*/ 62 w 138"/>
                  <a:gd name="T31" fmla="*/ 1 h 138"/>
                  <a:gd name="T32" fmla="*/ 76 w 138"/>
                  <a:gd name="T33" fmla="*/ 1 h 138"/>
                  <a:gd name="T34" fmla="*/ 89 w 138"/>
                  <a:gd name="T35" fmla="*/ 3 h 138"/>
                  <a:gd name="T36" fmla="*/ 102 w 138"/>
                  <a:gd name="T37" fmla="*/ 9 h 138"/>
                  <a:gd name="T38" fmla="*/ 113 w 138"/>
                  <a:gd name="T39" fmla="*/ 16 h 138"/>
                  <a:gd name="T40" fmla="*/ 122 w 138"/>
                  <a:gd name="T41" fmla="*/ 26 h 138"/>
                  <a:gd name="T42" fmla="*/ 130 w 138"/>
                  <a:gd name="T43" fmla="*/ 37 h 138"/>
                  <a:gd name="T44" fmla="*/ 134 w 138"/>
                  <a:gd name="T45" fmla="*/ 49 h 138"/>
                  <a:gd name="T46" fmla="*/ 138 w 138"/>
                  <a:gd name="T47" fmla="*/ 63 h 138"/>
                  <a:gd name="T48" fmla="*/ 138 w 138"/>
                  <a:gd name="T49" fmla="*/ 77 h 138"/>
                  <a:gd name="T50" fmla="*/ 134 w 138"/>
                  <a:gd name="T51" fmla="*/ 90 h 138"/>
                  <a:gd name="T52" fmla="*/ 130 w 138"/>
                  <a:gd name="T53" fmla="*/ 103 h 138"/>
                  <a:gd name="T54" fmla="*/ 122 w 138"/>
                  <a:gd name="T55" fmla="*/ 114 h 138"/>
                  <a:gd name="T56" fmla="*/ 113 w 138"/>
                  <a:gd name="T57" fmla="*/ 122 h 138"/>
                  <a:gd name="T58" fmla="*/ 102 w 138"/>
                  <a:gd name="T59" fmla="*/ 130 h 138"/>
                  <a:gd name="T60" fmla="*/ 89 w 138"/>
                  <a:gd name="T61" fmla="*/ 135 h 138"/>
                  <a:gd name="T62" fmla="*/ 76 w 138"/>
                  <a:gd name="T63" fmla="*/ 138 h 138"/>
                  <a:gd name="T64" fmla="*/ 69 w 138"/>
                  <a:gd name="T65" fmla="*/ 27 h 138"/>
                  <a:gd name="T66" fmla="*/ 61 w 138"/>
                  <a:gd name="T67" fmla="*/ 28 h 138"/>
                  <a:gd name="T68" fmla="*/ 46 w 138"/>
                  <a:gd name="T69" fmla="*/ 35 h 138"/>
                  <a:gd name="T70" fmla="*/ 34 w 138"/>
                  <a:gd name="T71" fmla="*/ 47 h 138"/>
                  <a:gd name="T72" fmla="*/ 28 w 138"/>
                  <a:gd name="T73" fmla="*/ 61 h 138"/>
                  <a:gd name="T74" fmla="*/ 28 w 138"/>
                  <a:gd name="T75" fmla="*/ 78 h 138"/>
                  <a:gd name="T76" fmla="*/ 34 w 138"/>
                  <a:gd name="T77" fmla="*/ 93 h 138"/>
                  <a:gd name="T78" fmla="*/ 46 w 138"/>
                  <a:gd name="T79" fmla="*/ 104 h 138"/>
                  <a:gd name="T80" fmla="*/ 61 w 138"/>
                  <a:gd name="T81" fmla="*/ 110 h 138"/>
                  <a:gd name="T82" fmla="*/ 77 w 138"/>
                  <a:gd name="T83" fmla="*/ 110 h 138"/>
                  <a:gd name="T84" fmla="*/ 92 w 138"/>
                  <a:gd name="T85" fmla="*/ 104 h 138"/>
                  <a:gd name="T86" fmla="*/ 104 w 138"/>
                  <a:gd name="T87" fmla="*/ 93 h 138"/>
                  <a:gd name="T88" fmla="*/ 111 w 138"/>
                  <a:gd name="T89" fmla="*/ 78 h 138"/>
                  <a:gd name="T90" fmla="*/ 111 w 138"/>
                  <a:gd name="T91" fmla="*/ 61 h 138"/>
                  <a:gd name="T92" fmla="*/ 104 w 138"/>
                  <a:gd name="T93" fmla="*/ 47 h 138"/>
                  <a:gd name="T94" fmla="*/ 92 w 138"/>
                  <a:gd name="T95" fmla="*/ 35 h 138"/>
                  <a:gd name="T96" fmla="*/ 77 w 138"/>
                  <a:gd name="T9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 h="138">
                    <a:moveTo>
                      <a:pt x="69" y="138"/>
                    </a:moveTo>
                    <a:lnTo>
                      <a:pt x="62" y="138"/>
                    </a:lnTo>
                    <a:lnTo>
                      <a:pt x="55" y="137"/>
                    </a:lnTo>
                    <a:lnTo>
                      <a:pt x="49" y="135"/>
                    </a:lnTo>
                    <a:lnTo>
                      <a:pt x="42" y="133"/>
                    </a:lnTo>
                    <a:lnTo>
                      <a:pt x="36" y="130"/>
                    </a:lnTo>
                    <a:lnTo>
                      <a:pt x="31" y="127"/>
                    </a:lnTo>
                    <a:lnTo>
                      <a:pt x="25" y="122"/>
                    </a:lnTo>
                    <a:lnTo>
                      <a:pt x="20" y="118"/>
                    </a:lnTo>
                    <a:lnTo>
                      <a:pt x="15" y="114"/>
                    </a:lnTo>
                    <a:lnTo>
                      <a:pt x="12" y="108"/>
                    </a:lnTo>
                    <a:lnTo>
                      <a:pt x="8" y="103"/>
                    </a:lnTo>
                    <a:lnTo>
                      <a:pt x="6" y="96"/>
                    </a:lnTo>
                    <a:lnTo>
                      <a:pt x="4" y="90"/>
                    </a:lnTo>
                    <a:lnTo>
                      <a:pt x="1" y="83"/>
                    </a:lnTo>
                    <a:lnTo>
                      <a:pt x="0" y="77"/>
                    </a:lnTo>
                    <a:lnTo>
                      <a:pt x="0" y="69"/>
                    </a:lnTo>
                    <a:lnTo>
                      <a:pt x="0" y="63"/>
                    </a:lnTo>
                    <a:lnTo>
                      <a:pt x="1" y="55"/>
                    </a:lnTo>
                    <a:lnTo>
                      <a:pt x="4" y="49"/>
                    </a:lnTo>
                    <a:lnTo>
                      <a:pt x="6" y="42"/>
                    </a:lnTo>
                    <a:lnTo>
                      <a:pt x="8" y="37"/>
                    </a:lnTo>
                    <a:lnTo>
                      <a:pt x="12" y="32"/>
                    </a:lnTo>
                    <a:lnTo>
                      <a:pt x="15" y="26"/>
                    </a:lnTo>
                    <a:lnTo>
                      <a:pt x="20" y="21"/>
                    </a:lnTo>
                    <a:lnTo>
                      <a:pt x="25" y="16"/>
                    </a:lnTo>
                    <a:lnTo>
                      <a:pt x="31" y="12"/>
                    </a:lnTo>
                    <a:lnTo>
                      <a:pt x="36" y="9"/>
                    </a:lnTo>
                    <a:lnTo>
                      <a:pt x="42" y="6"/>
                    </a:lnTo>
                    <a:lnTo>
                      <a:pt x="49" y="3"/>
                    </a:lnTo>
                    <a:lnTo>
                      <a:pt x="55" y="2"/>
                    </a:lnTo>
                    <a:lnTo>
                      <a:pt x="62" y="1"/>
                    </a:lnTo>
                    <a:lnTo>
                      <a:pt x="69" y="0"/>
                    </a:lnTo>
                    <a:lnTo>
                      <a:pt x="76" y="1"/>
                    </a:lnTo>
                    <a:lnTo>
                      <a:pt x="82" y="2"/>
                    </a:lnTo>
                    <a:lnTo>
                      <a:pt x="89" y="3"/>
                    </a:lnTo>
                    <a:lnTo>
                      <a:pt x="95" y="6"/>
                    </a:lnTo>
                    <a:lnTo>
                      <a:pt x="102" y="9"/>
                    </a:lnTo>
                    <a:lnTo>
                      <a:pt x="107" y="12"/>
                    </a:lnTo>
                    <a:lnTo>
                      <a:pt x="113" y="16"/>
                    </a:lnTo>
                    <a:lnTo>
                      <a:pt x="118" y="21"/>
                    </a:lnTo>
                    <a:lnTo>
                      <a:pt x="122" y="26"/>
                    </a:lnTo>
                    <a:lnTo>
                      <a:pt x="126" y="32"/>
                    </a:lnTo>
                    <a:lnTo>
                      <a:pt x="130" y="37"/>
                    </a:lnTo>
                    <a:lnTo>
                      <a:pt x="132" y="42"/>
                    </a:lnTo>
                    <a:lnTo>
                      <a:pt x="134" y="49"/>
                    </a:lnTo>
                    <a:lnTo>
                      <a:pt x="136" y="55"/>
                    </a:lnTo>
                    <a:lnTo>
                      <a:pt x="138" y="63"/>
                    </a:lnTo>
                    <a:lnTo>
                      <a:pt x="138" y="69"/>
                    </a:lnTo>
                    <a:lnTo>
                      <a:pt x="138" y="77"/>
                    </a:lnTo>
                    <a:lnTo>
                      <a:pt x="136" y="83"/>
                    </a:lnTo>
                    <a:lnTo>
                      <a:pt x="134" y="90"/>
                    </a:lnTo>
                    <a:lnTo>
                      <a:pt x="132" y="96"/>
                    </a:lnTo>
                    <a:lnTo>
                      <a:pt x="130" y="103"/>
                    </a:lnTo>
                    <a:lnTo>
                      <a:pt x="126" y="108"/>
                    </a:lnTo>
                    <a:lnTo>
                      <a:pt x="122" y="114"/>
                    </a:lnTo>
                    <a:lnTo>
                      <a:pt x="118" y="118"/>
                    </a:lnTo>
                    <a:lnTo>
                      <a:pt x="113" y="122"/>
                    </a:lnTo>
                    <a:lnTo>
                      <a:pt x="107" y="127"/>
                    </a:lnTo>
                    <a:lnTo>
                      <a:pt x="102" y="130"/>
                    </a:lnTo>
                    <a:lnTo>
                      <a:pt x="95" y="133"/>
                    </a:lnTo>
                    <a:lnTo>
                      <a:pt x="89" y="135"/>
                    </a:lnTo>
                    <a:lnTo>
                      <a:pt x="82" y="137"/>
                    </a:lnTo>
                    <a:lnTo>
                      <a:pt x="76" y="138"/>
                    </a:lnTo>
                    <a:lnTo>
                      <a:pt x="69" y="138"/>
                    </a:lnTo>
                    <a:close/>
                    <a:moveTo>
                      <a:pt x="69" y="27"/>
                    </a:moveTo>
                    <a:lnTo>
                      <a:pt x="69" y="27"/>
                    </a:lnTo>
                    <a:lnTo>
                      <a:pt x="61" y="28"/>
                    </a:lnTo>
                    <a:lnTo>
                      <a:pt x="52" y="30"/>
                    </a:lnTo>
                    <a:lnTo>
                      <a:pt x="46" y="35"/>
                    </a:lnTo>
                    <a:lnTo>
                      <a:pt x="39" y="40"/>
                    </a:lnTo>
                    <a:lnTo>
                      <a:pt x="34" y="47"/>
                    </a:lnTo>
                    <a:lnTo>
                      <a:pt x="31" y="53"/>
                    </a:lnTo>
                    <a:lnTo>
                      <a:pt x="28" y="61"/>
                    </a:lnTo>
                    <a:lnTo>
                      <a:pt x="27" y="69"/>
                    </a:lnTo>
                    <a:lnTo>
                      <a:pt x="28" y="78"/>
                    </a:lnTo>
                    <a:lnTo>
                      <a:pt x="31" y="85"/>
                    </a:lnTo>
                    <a:lnTo>
                      <a:pt x="34" y="93"/>
                    </a:lnTo>
                    <a:lnTo>
                      <a:pt x="39" y="100"/>
                    </a:lnTo>
                    <a:lnTo>
                      <a:pt x="46" y="104"/>
                    </a:lnTo>
                    <a:lnTo>
                      <a:pt x="52" y="108"/>
                    </a:lnTo>
                    <a:lnTo>
                      <a:pt x="61" y="110"/>
                    </a:lnTo>
                    <a:lnTo>
                      <a:pt x="69" y="111"/>
                    </a:lnTo>
                    <a:lnTo>
                      <a:pt x="77" y="110"/>
                    </a:lnTo>
                    <a:lnTo>
                      <a:pt x="86" y="108"/>
                    </a:lnTo>
                    <a:lnTo>
                      <a:pt x="92" y="104"/>
                    </a:lnTo>
                    <a:lnTo>
                      <a:pt x="99" y="100"/>
                    </a:lnTo>
                    <a:lnTo>
                      <a:pt x="104" y="93"/>
                    </a:lnTo>
                    <a:lnTo>
                      <a:pt x="107" y="85"/>
                    </a:lnTo>
                    <a:lnTo>
                      <a:pt x="111" y="78"/>
                    </a:lnTo>
                    <a:lnTo>
                      <a:pt x="111" y="69"/>
                    </a:lnTo>
                    <a:lnTo>
                      <a:pt x="111" y="61"/>
                    </a:lnTo>
                    <a:lnTo>
                      <a:pt x="107" y="53"/>
                    </a:lnTo>
                    <a:lnTo>
                      <a:pt x="104" y="47"/>
                    </a:lnTo>
                    <a:lnTo>
                      <a:pt x="99" y="40"/>
                    </a:lnTo>
                    <a:lnTo>
                      <a:pt x="92" y="35"/>
                    </a:lnTo>
                    <a:lnTo>
                      <a:pt x="86" y="30"/>
                    </a:lnTo>
                    <a:lnTo>
                      <a:pt x="77" y="28"/>
                    </a:lnTo>
                    <a:lnTo>
                      <a:pt x="6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82"/>
              <p:cNvSpPr>
                <a:spLocks noEditPoints="1"/>
              </p:cNvSpPr>
              <p:nvPr userDrawn="1"/>
            </p:nvSpPr>
            <p:spPr bwMode="auto">
              <a:xfrm>
                <a:off x="1559" y="2965"/>
                <a:ext cx="47" cy="48"/>
              </a:xfrm>
              <a:custGeom>
                <a:avLst/>
                <a:gdLst>
                  <a:gd name="T0" fmla="*/ 63 w 141"/>
                  <a:gd name="T1" fmla="*/ 141 h 142"/>
                  <a:gd name="T2" fmla="*/ 49 w 141"/>
                  <a:gd name="T3" fmla="*/ 139 h 142"/>
                  <a:gd name="T4" fmla="*/ 36 w 141"/>
                  <a:gd name="T5" fmla="*/ 134 h 142"/>
                  <a:gd name="T6" fmla="*/ 26 w 141"/>
                  <a:gd name="T7" fmla="*/ 126 h 142"/>
                  <a:gd name="T8" fmla="*/ 16 w 141"/>
                  <a:gd name="T9" fmla="*/ 116 h 142"/>
                  <a:gd name="T10" fmla="*/ 7 w 141"/>
                  <a:gd name="T11" fmla="*/ 104 h 142"/>
                  <a:gd name="T12" fmla="*/ 2 w 141"/>
                  <a:gd name="T13" fmla="*/ 92 h 142"/>
                  <a:gd name="T14" fmla="*/ 0 w 141"/>
                  <a:gd name="T15" fmla="*/ 79 h 142"/>
                  <a:gd name="T16" fmla="*/ 0 w 141"/>
                  <a:gd name="T17" fmla="*/ 63 h 142"/>
                  <a:gd name="T18" fmla="*/ 2 w 141"/>
                  <a:gd name="T19" fmla="*/ 49 h 142"/>
                  <a:gd name="T20" fmla="*/ 7 w 141"/>
                  <a:gd name="T21" fmla="*/ 38 h 142"/>
                  <a:gd name="T22" fmla="*/ 16 w 141"/>
                  <a:gd name="T23" fmla="*/ 26 h 142"/>
                  <a:gd name="T24" fmla="*/ 26 w 141"/>
                  <a:gd name="T25" fmla="*/ 16 h 142"/>
                  <a:gd name="T26" fmla="*/ 36 w 141"/>
                  <a:gd name="T27" fmla="*/ 8 h 142"/>
                  <a:gd name="T28" fmla="*/ 49 w 141"/>
                  <a:gd name="T29" fmla="*/ 3 h 142"/>
                  <a:gd name="T30" fmla="*/ 63 w 141"/>
                  <a:gd name="T31" fmla="*/ 0 h 142"/>
                  <a:gd name="T32" fmla="*/ 77 w 141"/>
                  <a:gd name="T33" fmla="*/ 0 h 142"/>
                  <a:gd name="T34" fmla="*/ 91 w 141"/>
                  <a:gd name="T35" fmla="*/ 3 h 142"/>
                  <a:gd name="T36" fmla="*/ 104 w 141"/>
                  <a:gd name="T37" fmla="*/ 8 h 142"/>
                  <a:gd name="T38" fmla="*/ 115 w 141"/>
                  <a:gd name="T39" fmla="*/ 16 h 142"/>
                  <a:gd name="T40" fmla="*/ 125 w 141"/>
                  <a:gd name="T41" fmla="*/ 26 h 142"/>
                  <a:gd name="T42" fmla="*/ 132 w 141"/>
                  <a:gd name="T43" fmla="*/ 38 h 142"/>
                  <a:gd name="T44" fmla="*/ 138 w 141"/>
                  <a:gd name="T45" fmla="*/ 49 h 142"/>
                  <a:gd name="T46" fmla="*/ 141 w 141"/>
                  <a:gd name="T47" fmla="*/ 63 h 142"/>
                  <a:gd name="T48" fmla="*/ 141 w 141"/>
                  <a:gd name="T49" fmla="*/ 79 h 142"/>
                  <a:gd name="T50" fmla="*/ 138 w 141"/>
                  <a:gd name="T51" fmla="*/ 92 h 142"/>
                  <a:gd name="T52" fmla="*/ 132 w 141"/>
                  <a:gd name="T53" fmla="*/ 104 h 142"/>
                  <a:gd name="T54" fmla="*/ 125 w 141"/>
                  <a:gd name="T55" fmla="*/ 116 h 142"/>
                  <a:gd name="T56" fmla="*/ 115 w 141"/>
                  <a:gd name="T57" fmla="*/ 126 h 142"/>
                  <a:gd name="T58" fmla="*/ 104 w 141"/>
                  <a:gd name="T59" fmla="*/ 134 h 142"/>
                  <a:gd name="T60" fmla="*/ 91 w 141"/>
                  <a:gd name="T61" fmla="*/ 139 h 142"/>
                  <a:gd name="T62" fmla="*/ 77 w 141"/>
                  <a:gd name="T63" fmla="*/ 141 h 142"/>
                  <a:gd name="T64" fmla="*/ 70 w 141"/>
                  <a:gd name="T65" fmla="*/ 27 h 142"/>
                  <a:gd name="T66" fmla="*/ 61 w 141"/>
                  <a:gd name="T67" fmla="*/ 28 h 142"/>
                  <a:gd name="T68" fmla="*/ 46 w 141"/>
                  <a:gd name="T69" fmla="*/ 34 h 142"/>
                  <a:gd name="T70" fmla="*/ 34 w 141"/>
                  <a:gd name="T71" fmla="*/ 46 h 142"/>
                  <a:gd name="T72" fmla="*/ 27 w 141"/>
                  <a:gd name="T73" fmla="*/ 62 h 142"/>
                  <a:gd name="T74" fmla="*/ 27 w 141"/>
                  <a:gd name="T75" fmla="*/ 80 h 142"/>
                  <a:gd name="T76" fmla="*/ 34 w 141"/>
                  <a:gd name="T77" fmla="*/ 96 h 142"/>
                  <a:gd name="T78" fmla="*/ 46 w 141"/>
                  <a:gd name="T79" fmla="*/ 108 h 142"/>
                  <a:gd name="T80" fmla="*/ 61 w 141"/>
                  <a:gd name="T81" fmla="*/ 114 h 142"/>
                  <a:gd name="T82" fmla="*/ 79 w 141"/>
                  <a:gd name="T83" fmla="*/ 114 h 142"/>
                  <a:gd name="T84" fmla="*/ 95 w 141"/>
                  <a:gd name="T85" fmla="*/ 108 h 142"/>
                  <a:gd name="T86" fmla="*/ 106 w 141"/>
                  <a:gd name="T87" fmla="*/ 96 h 142"/>
                  <a:gd name="T88" fmla="*/ 113 w 141"/>
                  <a:gd name="T89" fmla="*/ 80 h 142"/>
                  <a:gd name="T90" fmla="*/ 113 w 141"/>
                  <a:gd name="T91" fmla="*/ 62 h 142"/>
                  <a:gd name="T92" fmla="*/ 106 w 141"/>
                  <a:gd name="T93" fmla="*/ 46 h 142"/>
                  <a:gd name="T94" fmla="*/ 95 w 141"/>
                  <a:gd name="T95" fmla="*/ 34 h 142"/>
                  <a:gd name="T96" fmla="*/ 79 w 141"/>
                  <a:gd name="T97" fmla="*/ 2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lnTo>
                      <a:pt x="63" y="141"/>
                    </a:lnTo>
                    <a:lnTo>
                      <a:pt x="56" y="140"/>
                    </a:lnTo>
                    <a:lnTo>
                      <a:pt x="49" y="139"/>
                    </a:lnTo>
                    <a:lnTo>
                      <a:pt x="43" y="137"/>
                    </a:lnTo>
                    <a:lnTo>
                      <a:pt x="36" y="134"/>
                    </a:lnTo>
                    <a:lnTo>
                      <a:pt x="31" y="129"/>
                    </a:lnTo>
                    <a:lnTo>
                      <a:pt x="26" y="126"/>
                    </a:lnTo>
                    <a:lnTo>
                      <a:pt x="20" y="121"/>
                    </a:lnTo>
                    <a:lnTo>
                      <a:pt x="16" y="116"/>
                    </a:lnTo>
                    <a:lnTo>
                      <a:pt x="11" y="111"/>
                    </a:lnTo>
                    <a:lnTo>
                      <a:pt x="7" y="104"/>
                    </a:lnTo>
                    <a:lnTo>
                      <a:pt x="5" y="98"/>
                    </a:lnTo>
                    <a:lnTo>
                      <a:pt x="2" y="92"/>
                    </a:lnTo>
                    <a:lnTo>
                      <a:pt x="1" y="85"/>
                    </a:lnTo>
                    <a:lnTo>
                      <a:pt x="0" y="79"/>
                    </a:lnTo>
                    <a:lnTo>
                      <a:pt x="0" y="71"/>
                    </a:lnTo>
                    <a:lnTo>
                      <a:pt x="0" y="63"/>
                    </a:lnTo>
                    <a:lnTo>
                      <a:pt x="1" y="57"/>
                    </a:lnTo>
                    <a:lnTo>
                      <a:pt x="2" y="49"/>
                    </a:lnTo>
                    <a:lnTo>
                      <a:pt x="5" y="43"/>
                    </a:lnTo>
                    <a:lnTo>
                      <a:pt x="7" y="38"/>
                    </a:lnTo>
                    <a:lnTo>
                      <a:pt x="11" y="31"/>
                    </a:lnTo>
                    <a:lnTo>
                      <a:pt x="16" y="26"/>
                    </a:lnTo>
                    <a:lnTo>
                      <a:pt x="20" y="20"/>
                    </a:lnTo>
                    <a:lnTo>
                      <a:pt x="26" y="16"/>
                    </a:lnTo>
                    <a:lnTo>
                      <a:pt x="31" y="12"/>
                    </a:lnTo>
                    <a:lnTo>
                      <a:pt x="36" y="8"/>
                    </a:lnTo>
                    <a:lnTo>
                      <a:pt x="43" y="5"/>
                    </a:lnTo>
                    <a:lnTo>
                      <a:pt x="49" y="3"/>
                    </a:lnTo>
                    <a:lnTo>
                      <a:pt x="56" y="1"/>
                    </a:lnTo>
                    <a:lnTo>
                      <a:pt x="63" y="0"/>
                    </a:lnTo>
                    <a:lnTo>
                      <a:pt x="70" y="0"/>
                    </a:lnTo>
                    <a:lnTo>
                      <a:pt x="77" y="0"/>
                    </a:lnTo>
                    <a:lnTo>
                      <a:pt x="85" y="1"/>
                    </a:lnTo>
                    <a:lnTo>
                      <a:pt x="91" y="3"/>
                    </a:lnTo>
                    <a:lnTo>
                      <a:pt x="98" y="5"/>
                    </a:lnTo>
                    <a:lnTo>
                      <a:pt x="104" y="8"/>
                    </a:lnTo>
                    <a:lnTo>
                      <a:pt x="110" y="12"/>
                    </a:lnTo>
                    <a:lnTo>
                      <a:pt x="115" y="16"/>
                    </a:lnTo>
                    <a:lnTo>
                      <a:pt x="121" y="20"/>
                    </a:lnTo>
                    <a:lnTo>
                      <a:pt x="125" y="26"/>
                    </a:lnTo>
                    <a:lnTo>
                      <a:pt x="129" y="31"/>
                    </a:lnTo>
                    <a:lnTo>
                      <a:pt x="132" y="38"/>
                    </a:lnTo>
                    <a:lnTo>
                      <a:pt x="136" y="43"/>
                    </a:lnTo>
                    <a:lnTo>
                      <a:pt x="138" y="49"/>
                    </a:lnTo>
                    <a:lnTo>
                      <a:pt x="140" y="57"/>
                    </a:lnTo>
                    <a:lnTo>
                      <a:pt x="141" y="63"/>
                    </a:lnTo>
                    <a:lnTo>
                      <a:pt x="141" y="71"/>
                    </a:lnTo>
                    <a:lnTo>
                      <a:pt x="141" y="79"/>
                    </a:lnTo>
                    <a:lnTo>
                      <a:pt x="140" y="85"/>
                    </a:lnTo>
                    <a:lnTo>
                      <a:pt x="138" y="92"/>
                    </a:lnTo>
                    <a:lnTo>
                      <a:pt x="136" y="98"/>
                    </a:lnTo>
                    <a:lnTo>
                      <a:pt x="132" y="104"/>
                    </a:lnTo>
                    <a:lnTo>
                      <a:pt x="129" y="111"/>
                    </a:lnTo>
                    <a:lnTo>
                      <a:pt x="125" y="116"/>
                    </a:lnTo>
                    <a:lnTo>
                      <a:pt x="121" y="121"/>
                    </a:lnTo>
                    <a:lnTo>
                      <a:pt x="115" y="126"/>
                    </a:lnTo>
                    <a:lnTo>
                      <a:pt x="110" y="129"/>
                    </a:lnTo>
                    <a:lnTo>
                      <a:pt x="104" y="134"/>
                    </a:lnTo>
                    <a:lnTo>
                      <a:pt x="98" y="137"/>
                    </a:lnTo>
                    <a:lnTo>
                      <a:pt x="91" y="139"/>
                    </a:lnTo>
                    <a:lnTo>
                      <a:pt x="85" y="140"/>
                    </a:lnTo>
                    <a:lnTo>
                      <a:pt x="77" y="141"/>
                    </a:lnTo>
                    <a:lnTo>
                      <a:pt x="70" y="142"/>
                    </a:lnTo>
                    <a:close/>
                    <a:moveTo>
                      <a:pt x="70" y="27"/>
                    </a:moveTo>
                    <a:lnTo>
                      <a:pt x="70" y="27"/>
                    </a:lnTo>
                    <a:lnTo>
                      <a:pt x="61" y="28"/>
                    </a:lnTo>
                    <a:lnTo>
                      <a:pt x="52" y="30"/>
                    </a:lnTo>
                    <a:lnTo>
                      <a:pt x="46" y="34"/>
                    </a:lnTo>
                    <a:lnTo>
                      <a:pt x="40" y="40"/>
                    </a:lnTo>
                    <a:lnTo>
                      <a:pt x="34" y="46"/>
                    </a:lnTo>
                    <a:lnTo>
                      <a:pt x="30" y="54"/>
                    </a:lnTo>
                    <a:lnTo>
                      <a:pt x="27" y="62"/>
                    </a:lnTo>
                    <a:lnTo>
                      <a:pt x="27" y="71"/>
                    </a:lnTo>
                    <a:lnTo>
                      <a:pt x="27" y="80"/>
                    </a:lnTo>
                    <a:lnTo>
                      <a:pt x="30" y="88"/>
                    </a:lnTo>
                    <a:lnTo>
                      <a:pt x="34" y="96"/>
                    </a:lnTo>
                    <a:lnTo>
                      <a:pt x="40" y="102"/>
                    </a:lnTo>
                    <a:lnTo>
                      <a:pt x="46" y="108"/>
                    </a:lnTo>
                    <a:lnTo>
                      <a:pt x="52" y="111"/>
                    </a:lnTo>
                    <a:lnTo>
                      <a:pt x="61" y="114"/>
                    </a:lnTo>
                    <a:lnTo>
                      <a:pt x="70" y="115"/>
                    </a:lnTo>
                    <a:lnTo>
                      <a:pt x="79" y="114"/>
                    </a:lnTo>
                    <a:lnTo>
                      <a:pt x="87" y="111"/>
                    </a:lnTo>
                    <a:lnTo>
                      <a:pt x="95" y="108"/>
                    </a:lnTo>
                    <a:lnTo>
                      <a:pt x="101" y="102"/>
                    </a:lnTo>
                    <a:lnTo>
                      <a:pt x="106" y="96"/>
                    </a:lnTo>
                    <a:lnTo>
                      <a:pt x="111" y="88"/>
                    </a:lnTo>
                    <a:lnTo>
                      <a:pt x="113" y="80"/>
                    </a:lnTo>
                    <a:lnTo>
                      <a:pt x="114" y="71"/>
                    </a:lnTo>
                    <a:lnTo>
                      <a:pt x="113" y="62"/>
                    </a:lnTo>
                    <a:lnTo>
                      <a:pt x="111" y="54"/>
                    </a:lnTo>
                    <a:lnTo>
                      <a:pt x="106" y="46"/>
                    </a:lnTo>
                    <a:lnTo>
                      <a:pt x="101" y="40"/>
                    </a:lnTo>
                    <a:lnTo>
                      <a:pt x="95" y="34"/>
                    </a:lnTo>
                    <a:lnTo>
                      <a:pt x="87" y="30"/>
                    </a:lnTo>
                    <a:lnTo>
                      <a:pt x="79" y="28"/>
                    </a:lnTo>
                    <a:lnTo>
                      <a:pt x="7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83"/>
              <p:cNvSpPr>
                <a:spLocks noEditPoints="1"/>
              </p:cNvSpPr>
              <p:nvPr userDrawn="1"/>
            </p:nvSpPr>
            <p:spPr bwMode="auto">
              <a:xfrm>
                <a:off x="1357" y="2944"/>
                <a:ext cx="22" cy="22"/>
              </a:xfrm>
              <a:custGeom>
                <a:avLst/>
                <a:gdLst>
                  <a:gd name="T0" fmla="*/ 33 w 66"/>
                  <a:gd name="T1" fmla="*/ 66 h 66"/>
                  <a:gd name="T2" fmla="*/ 26 w 66"/>
                  <a:gd name="T3" fmla="*/ 65 h 66"/>
                  <a:gd name="T4" fmla="*/ 20 w 66"/>
                  <a:gd name="T5" fmla="*/ 64 h 66"/>
                  <a:gd name="T6" fmla="*/ 14 w 66"/>
                  <a:gd name="T7" fmla="*/ 61 h 66"/>
                  <a:gd name="T8" fmla="*/ 10 w 66"/>
                  <a:gd name="T9" fmla="*/ 56 h 66"/>
                  <a:gd name="T10" fmla="*/ 5 w 66"/>
                  <a:gd name="T11" fmla="*/ 51 h 66"/>
                  <a:gd name="T12" fmla="*/ 2 w 66"/>
                  <a:gd name="T13" fmla="*/ 45 h 66"/>
                  <a:gd name="T14" fmla="*/ 1 w 66"/>
                  <a:gd name="T15" fmla="*/ 40 h 66"/>
                  <a:gd name="T16" fmla="*/ 0 w 66"/>
                  <a:gd name="T17" fmla="*/ 33 h 66"/>
                  <a:gd name="T18" fmla="*/ 1 w 66"/>
                  <a:gd name="T19" fmla="*/ 26 h 66"/>
                  <a:gd name="T20" fmla="*/ 2 w 66"/>
                  <a:gd name="T21" fmla="*/ 20 h 66"/>
                  <a:gd name="T22" fmla="*/ 5 w 66"/>
                  <a:gd name="T23" fmla="*/ 14 h 66"/>
                  <a:gd name="T24" fmla="*/ 10 w 66"/>
                  <a:gd name="T25" fmla="*/ 10 h 66"/>
                  <a:gd name="T26" fmla="*/ 14 w 66"/>
                  <a:gd name="T27" fmla="*/ 6 h 66"/>
                  <a:gd name="T28" fmla="*/ 20 w 66"/>
                  <a:gd name="T29" fmla="*/ 2 h 66"/>
                  <a:gd name="T30" fmla="*/ 26 w 66"/>
                  <a:gd name="T31" fmla="*/ 0 h 66"/>
                  <a:gd name="T32" fmla="*/ 33 w 66"/>
                  <a:gd name="T33" fmla="*/ 0 h 66"/>
                  <a:gd name="T34" fmla="*/ 40 w 66"/>
                  <a:gd name="T35" fmla="*/ 0 h 66"/>
                  <a:gd name="T36" fmla="*/ 45 w 66"/>
                  <a:gd name="T37" fmla="*/ 2 h 66"/>
                  <a:gd name="T38" fmla="*/ 52 w 66"/>
                  <a:gd name="T39" fmla="*/ 6 h 66"/>
                  <a:gd name="T40" fmla="*/ 56 w 66"/>
                  <a:gd name="T41" fmla="*/ 10 h 66"/>
                  <a:gd name="T42" fmla="*/ 60 w 66"/>
                  <a:gd name="T43" fmla="*/ 14 h 66"/>
                  <a:gd name="T44" fmla="*/ 64 w 66"/>
                  <a:gd name="T45" fmla="*/ 20 h 66"/>
                  <a:gd name="T46" fmla="*/ 65 w 66"/>
                  <a:gd name="T47" fmla="*/ 26 h 66"/>
                  <a:gd name="T48" fmla="*/ 66 w 66"/>
                  <a:gd name="T49" fmla="*/ 33 h 66"/>
                  <a:gd name="T50" fmla="*/ 65 w 66"/>
                  <a:gd name="T51" fmla="*/ 40 h 66"/>
                  <a:gd name="T52" fmla="*/ 64 w 66"/>
                  <a:gd name="T53" fmla="*/ 45 h 66"/>
                  <a:gd name="T54" fmla="*/ 60 w 66"/>
                  <a:gd name="T55" fmla="*/ 51 h 66"/>
                  <a:gd name="T56" fmla="*/ 56 w 66"/>
                  <a:gd name="T57" fmla="*/ 56 h 66"/>
                  <a:gd name="T58" fmla="*/ 52 w 66"/>
                  <a:gd name="T59" fmla="*/ 61 h 66"/>
                  <a:gd name="T60" fmla="*/ 45 w 66"/>
                  <a:gd name="T61" fmla="*/ 64 h 66"/>
                  <a:gd name="T62" fmla="*/ 40 w 66"/>
                  <a:gd name="T63" fmla="*/ 65 h 66"/>
                  <a:gd name="T64" fmla="*/ 33 w 66"/>
                  <a:gd name="T65" fmla="*/ 66 h 66"/>
                  <a:gd name="T66" fmla="*/ 33 w 66"/>
                  <a:gd name="T67" fmla="*/ 27 h 66"/>
                  <a:gd name="T68" fmla="*/ 33 w 66"/>
                  <a:gd name="T69" fmla="*/ 27 h 66"/>
                  <a:gd name="T70" fmla="*/ 30 w 66"/>
                  <a:gd name="T71" fmla="*/ 27 h 66"/>
                  <a:gd name="T72" fmla="*/ 29 w 66"/>
                  <a:gd name="T73" fmla="*/ 28 h 66"/>
                  <a:gd name="T74" fmla="*/ 27 w 66"/>
                  <a:gd name="T75" fmla="*/ 30 h 66"/>
                  <a:gd name="T76" fmla="*/ 27 w 66"/>
                  <a:gd name="T77" fmla="*/ 33 h 66"/>
                  <a:gd name="T78" fmla="*/ 27 w 66"/>
                  <a:gd name="T79" fmla="*/ 35 h 66"/>
                  <a:gd name="T80" fmla="*/ 29 w 66"/>
                  <a:gd name="T81" fmla="*/ 37 h 66"/>
                  <a:gd name="T82" fmla="*/ 30 w 66"/>
                  <a:gd name="T83" fmla="*/ 38 h 66"/>
                  <a:gd name="T84" fmla="*/ 33 w 66"/>
                  <a:gd name="T85" fmla="*/ 38 h 66"/>
                  <a:gd name="T86" fmla="*/ 36 w 66"/>
                  <a:gd name="T87" fmla="*/ 38 h 66"/>
                  <a:gd name="T88" fmla="*/ 37 w 66"/>
                  <a:gd name="T89" fmla="*/ 37 h 66"/>
                  <a:gd name="T90" fmla="*/ 39 w 66"/>
                  <a:gd name="T91" fmla="*/ 35 h 66"/>
                  <a:gd name="T92" fmla="*/ 39 w 66"/>
                  <a:gd name="T93" fmla="*/ 33 h 66"/>
                  <a:gd name="T94" fmla="*/ 39 w 66"/>
                  <a:gd name="T95" fmla="*/ 30 h 66"/>
                  <a:gd name="T96" fmla="*/ 37 w 66"/>
                  <a:gd name="T97" fmla="*/ 28 h 66"/>
                  <a:gd name="T98" fmla="*/ 36 w 66"/>
                  <a:gd name="T99" fmla="*/ 27 h 66"/>
                  <a:gd name="T100" fmla="*/ 33 w 66"/>
                  <a:gd name="T101"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6" h="66">
                    <a:moveTo>
                      <a:pt x="33" y="66"/>
                    </a:moveTo>
                    <a:lnTo>
                      <a:pt x="26" y="65"/>
                    </a:lnTo>
                    <a:lnTo>
                      <a:pt x="20" y="64"/>
                    </a:lnTo>
                    <a:lnTo>
                      <a:pt x="14" y="61"/>
                    </a:lnTo>
                    <a:lnTo>
                      <a:pt x="10" y="56"/>
                    </a:lnTo>
                    <a:lnTo>
                      <a:pt x="5" y="51"/>
                    </a:lnTo>
                    <a:lnTo>
                      <a:pt x="2" y="45"/>
                    </a:lnTo>
                    <a:lnTo>
                      <a:pt x="1" y="40"/>
                    </a:lnTo>
                    <a:lnTo>
                      <a:pt x="0" y="33"/>
                    </a:lnTo>
                    <a:lnTo>
                      <a:pt x="1" y="26"/>
                    </a:lnTo>
                    <a:lnTo>
                      <a:pt x="2" y="20"/>
                    </a:lnTo>
                    <a:lnTo>
                      <a:pt x="5" y="14"/>
                    </a:lnTo>
                    <a:lnTo>
                      <a:pt x="10" y="10"/>
                    </a:lnTo>
                    <a:lnTo>
                      <a:pt x="14" y="6"/>
                    </a:lnTo>
                    <a:lnTo>
                      <a:pt x="20" y="2"/>
                    </a:lnTo>
                    <a:lnTo>
                      <a:pt x="26" y="0"/>
                    </a:lnTo>
                    <a:lnTo>
                      <a:pt x="33" y="0"/>
                    </a:lnTo>
                    <a:lnTo>
                      <a:pt x="40" y="0"/>
                    </a:lnTo>
                    <a:lnTo>
                      <a:pt x="45" y="2"/>
                    </a:lnTo>
                    <a:lnTo>
                      <a:pt x="52" y="6"/>
                    </a:lnTo>
                    <a:lnTo>
                      <a:pt x="56" y="10"/>
                    </a:lnTo>
                    <a:lnTo>
                      <a:pt x="60" y="14"/>
                    </a:lnTo>
                    <a:lnTo>
                      <a:pt x="64" y="20"/>
                    </a:lnTo>
                    <a:lnTo>
                      <a:pt x="65" y="26"/>
                    </a:lnTo>
                    <a:lnTo>
                      <a:pt x="66" y="33"/>
                    </a:lnTo>
                    <a:lnTo>
                      <a:pt x="65" y="40"/>
                    </a:lnTo>
                    <a:lnTo>
                      <a:pt x="64" y="45"/>
                    </a:lnTo>
                    <a:lnTo>
                      <a:pt x="60" y="51"/>
                    </a:lnTo>
                    <a:lnTo>
                      <a:pt x="56" y="56"/>
                    </a:lnTo>
                    <a:lnTo>
                      <a:pt x="52" y="61"/>
                    </a:lnTo>
                    <a:lnTo>
                      <a:pt x="45" y="64"/>
                    </a:lnTo>
                    <a:lnTo>
                      <a:pt x="40" y="65"/>
                    </a:lnTo>
                    <a:lnTo>
                      <a:pt x="33" y="66"/>
                    </a:lnTo>
                    <a:close/>
                    <a:moveTo>
                      <a:pt x="33" y="27"/>
                    </a:moveTo>
                    <a:lnTo>
                      <a:pt x="33" y="27"/>
                    </a:lnTo>
                    <a:lnTo>
                      <a:pt x="30" y="27"/>
                    </a:lnTo>
                    <a:lnTo>
                      <a:pt x="29" y="28"/>
                    </a:lnTo>
                    <a:lnTo>
                      <a:pt x="27" y="30"/>
                    </a:lnTo>
                    <a:lnTo>
                      <a:pt x="27" y="33"/>
                    </a:lnTo>
                    <a:lnTo>
                      <a:pt x="27" y="35"/>
                    </a:lnTo>
                    <a:lnTo>
                      <a:pt x="29" y="37"/>
                    </a:lnTo>
                    <a:lnTo>
                      <a:pt x="30" y="38"/>
                    </a:lnTo>
                    <a:lnTo>
                      <a:pt x="33" y="38"/>
                    </a:lnTo>
                    <a:lnTo>
                      <a:pt x="36" y="38"/>
                    </a:lnTo>
                    <a:lnTo>
                      <a:pt x="37" y="37"/>
                    </a:lnTo>
                    <a:lnTo>
                      <a:pt x="39" y="35"/>
                    </a:lnTo>
                    <a:lnTo>
                      <a:pt x="39" y="33"/>
                    </a:lnTo>
                    <a:lnTo>
                      <a:pt x="39" y="30"/>
                    </a:lnTo>
                    <a:lnTo>
                      <a:pt x="37" y="28"/>
                    </a:lnTo>
                    <a:lnTo>
                      <a:pt x="36" y="27"/>
                    </a:lnTo>
                    <a:lnTo>
                      <a:pt x="3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84"/>
              <p:cNvSpPr>
                <a:spLocks noEditPoints="1"/>
              </p:cNvSpPr>
              <p:nvPr userDrawn="1"/>
            </p:nvSpPr>
            <p:spPr bwMode="auto">
              <a:xfrm>
                <a:off x="2773" y="3488"/>
                <a:ext cx="26" cy="26"/>
              </a:xfrm>
              <a:custGeom>
                <a:avLst/>
                <a:gdLst>
                  <a:gd name="T0" fmla="*/ 38 w 77"/>
                  <a:gd name="T1" fmla="*/ 77 h 77"/>
                  <a:gd name="T2" fmla="*/ 30 w 77"/>
                  <a:gd name="T3" fmla="*/ 76 h 77"/>
                  <a:gd name="T4" fmla="*/ 24 w 77"/>
                  <a:gd name="T5" fmla="*/ 74 h 77"/>
                  <a:gd name="T6" fmla="*/ 17 w 77"/>
                  <a:gd name="T7" fmla="*/ 70 h 77"/>
                  <a:gd name="T8" fmla="*/ 11 w 77"/>
                  <a:gd name="T9" fmla="*/ 65 h 77"/>
                  <a:gd name="T10" fmla="*/ 6 w 77"/>
                  <a:gd name="T11" fmla="*/ 60 h 77"/>
                  <a:gd name="T12" fmla="*/ 3 w 77"/>
                  <a:gd name="T13" fmla="*/ 53 h 77"/>
                  <a:gd name="T14" fmla="*/ 1 w 77"/>
                  <a:gd name="T15" fmla="*/ 47 h 77"/>
                  <a:gd name="T16" fmla="*/ 0 w 77"/>
                  <a:gd name="T17" fmla="*/ 39 h 77"/>
                  <a:gd name="T18" fmla="*/ 1 w 77"/>
                  <a:gd name="T19" fmla="*/ 31 h 77"/>
                  <a:gd name="T20" fmla="*/ 3 w 77"/>
                  <a:gd name="T21" fmla="*/ 24 h 77"/>
                  <a:gd name="T22" fmla="*/ 6 w 77"/>
                  <a:gd name="T23" fmla="*/ 18 h 77"/>
                  <a:gd name="T24" fmla="*/ 11 w 77"/>
                  <a:gd name="T25" fmla="*/ 12 h 77"/>
                  <a:gd name="T26" fmla="*/ 17 w 77"/>
                  <a:gd name="T27" fmla="*/ 7 h 77"/>
                  <a:gd name="T28" fmla="*/ 24 w 77"/>
                  <a:gd name="T29" fmla="*/ 4 h 77"/>
                  <a:gd name="T30" fmla="*/ 30 w 77"/>
                  <a:gd name="T31" fmla="*/ 1 h 77"/>
                  <a:gd name="T32" fmla="*/ 38 w 77"/>
                  <a:gd name="T33" fmla="*/ 0 h 77"/>
                  <a:gd name="T34" fmla="*/ 46 w 77"/>
                  <a:gd name="T35" fmla="*/ 1 h 77"/>
                  <a:gd name="T36" fmla="*/ 53 w 77"/>
                  <a:gd name="T37" fmla="*/ 4 h 77"/>
                  <a:gd name="T38" fmla="*/ 59 w 77"/>
                  <a:gd name="T39" fmla="*/ 7 h 77"/>
                  <a:gd name="T40" fmla="*/ 65 w 77"/>
                  <a:gd name="T41" fmla="*/ 12 h 77"/>
                  <a:gd name="T42" fmla="*/ 70 w 77"/>
                  <a:gd name="T43" fmla="*/ 18 h 77"/>
                  <a:gd name="T44" fmla="*/ 73 w 77"/>
                  <a:gd name="T45" fmla="*/ 24 h 77"/>
                  <a:gd name="T46" fmla="*/ 75 w 77"/>
                  <a:gd name="T47" fmla="*/ 31 h 77"/>
                  <a:gd name="T48" fmla="*/ 77 w 77"/>
                  <a:gd name="T49" fmla="*/ 39 h 77"/>
                  <a:gd name="T50" fmla="*/ 75 w 77"/>
                  <a:gd name="T51" fmla="*/ 47 h 77"/>
                  <a:gd name="T52" fmla="*/ 73 w 77"/>
                  <a:gd name="T53" fmla="*/ 53 h 77"/>
                  <a:gd name="T54" fmla="*/ 70 w 77"/>
                  <a:gd name="T55" fmla="*/ 60 h 77"/>
                  <a:gd name="T56" fmla="*/ 65 w 77"/>
                  <a:gd name="T57" fmla="*/ 65 h 77"/>
                  <a:gd name="T58" fmla="*/ 59 w 77"/>
                  <a:gd name="T59" fmla="*/ 70 h 77"/>
                  <a:gd name="T60" fmla="*/ 53 w 77"/>
                  <a:gd name="T61" fmla="*/ 74 h 77"/>
                  <a:gd name="T62" fmla="*/ 46 w 77"/>
                  <a:gd name="T63" fmla="*/ 76 h 77"/>
                  <a:gd name="T64" fmla="*/ 38 w 77"/>
                  <a:gd name="T65" fmla="*/ 77 h 77"/>
                  <a:gd name="T66" fmla="*/ 38 w 77"/>
                  <a:gd name="T67" fmla="*/ 27 h 77"/>
                  <a:gd name="T68" fmla="*/ 38 w 77"/>
                  <a:gd name="T69" fmla="*/ 27 h 77"/>
                  <a:gd name="T70" fmla="*/ 33 w 77"/>
                  <a:gd name="T71" fmla="*/ 28 h 77"/>
                  <a:gd name="T72" fmla="*/ 30 w 77"/>
                  <a:gd name="T73" fmla="*/ 31 h 77"/>
                  <a:gd name="T74" fmla="*/ 28 w 77"/>
                  <a:gd name="T75" fmla="*/ 35 h 77"/>
                  <a:gd name="T76" fmla="*/ 27 w 77"/>
                  <a:gd name="T77" fmla="*/ 39 h 77"/>
                  <a:gd name="T78" fmla="*/ 28 w 77"/>
                  <a:gd name="T79" fmla="*/ 44 h 77"/>
                  <a:gd name="T80" fmla="*/ 30 w 77"/>
                  <a:gd name="T81" fmla="*/ 47 h 77"/>
                  <a:gd name="T82" fmla="*/ 33 w 77"/>
                  <a:gd name="T83" fmla="*/ 49 h 77"/>
                  <a:gd name="T84" fmla="*/ 38 w 77"/>
                  <a:gd name="T85" fmla="*/ 50 h 77"/>
                  <a:gd name="T86" fmla="*/ 42 w 77"/>
                  <a:gd name="T87" fmla="*/ 49 h 77"/>
                  <a:gd name="T88" fmla="*/ 46 w 77"/>
                  <a:gd name="T89" fmla="*/ 47 h 77"/>
                  <a:gd name="T90" fmla="*/ 48 w 77"/>
                  <a:gd name="T91" fmla="*/ 44 h 77"/>
                  <a:gd name="T92" fmla="*/ 50 w 77"/>
                  <a:gd name="T93" fmla="*/ 39 h 77"/>
                  <a:gd name="T94" fmla="*/ 48 w 77"/>
                  <a:gd name="T95" fmla="*/ 35 h 77"/>
                  <a:gd name="T96" fmla="*/ 46 w 77"/>
                  <a:gd name="T97" fmla="*/ 31 h 77"/>
                  <a:gd name="T98" fmla="*/ 42 w 77"/>
                  <a:gd name="T99" fmla="*/ 28 h 77"/>
                  <a:gd name="T100" fmla="*/ 38 w 77"/>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77">
                    <a:moveTo>
                      <a:pt x="38" y="77"/>
                    </a:moveTo>
                    <a:lnTo>
                      <a:pt x="30" y="76"/>
                    </a:lnTo>
                    <a:lnTo>
                      <a:pt x="24" y="74"/>
                    </a:lnTo>
                    <a:lnTo>
                      <a:pt x="17" y="70"/>
                    </a:lnTo>
                    <a:lnTo>
                      <a:pt x="11" y="65"/>
                    </a:lnTo>
                    <a:lnTo>
                      <a:pt x="6" y="60"/>
                    </a:lnTo>
                    <a:lnTo>
                      <a:pt x="3" y="53"/>
                    </a:lnTo>
                    <a:lnTo>
                      <a:pt x="1" y="47"/>
                    </a:lnTo>
                    <a:lnTo>
                      <a:pt x="0" y="39"/>
                    </a:lnTo>
                    <a:lnTo>
                      <a:pt x="1" y="31"/>
                    </a:lnTo>
                    <a:lnTo>
                      <a:pt x="3" y="24"/>
                    </a:lnTo>
                    <a:lnTo>
                      <a:pt x="6" y="18"/>
                    </a:lnTo>
                    <a:lnTo>
                      <a:pt x="11" y="12"/>
                    </a:lnTo>
                    <a:lnTo>
                      <a:pt x="17" y="7"/>
                    </a:lnTo>
                    <a:lnTo>
                      <a:pt x="24" y="4"/>
                    </a:lnTo>
                    <a:lnTo>
                      <a:pt x="30" y="1"/>
                    </a:lnTo>
                    <a:lnTo>
                      <a:pt x="38" y="0"/>
                    </a:lnTo>
                    <a:lnTo>
                      <a:pt x="46" y="1"/>
                    </a:lnTo>
                    <a:lnTo>
                      <a:pt x="53" y="4"/>
                    </a:lnTo>
                    <a:lnTo>
                      <a:pt x="59" y="7"/>
                    </a:lnTo>
                    <a:lnTo>
                      <a:pt x="65" y="12"/>
                    </a:lnTo>
                    <a:lnTo>
                      <a:pt x="70" y="18"/>
                    </a:lnTo>
                    <a:lnTo>
                      <a:pt x="73" y="24"/>
                    </a:lnTo>
                    <a:lnTo>
                      <a:pt x="75" y="31"/>
                    </a:lnTo>
                    <a:lnTo>
                      <a:pt x="77" y="39"/>
                    </a:lnTo>
                    <a:lnTo>
                      <a:pt x="75" y="47"/>
                    </a:lnTo>
                    <a:lnTo>
                      <a:pt x="73" y="53"/>
                    </a:lnTo>
                    <a:lnTo>
                      <a:pt x="70" y="60"/>
                    </a:lnTo>
                    <a:lnTo>
                      <a:pt x="65" y="65"/>
                    </a:lnTo>
                    <a:lnTo>
                      <a:pt x="59" y="70"/>
                    </a:lnTo>
                    <a:lnTo>
                      <a:pt x="53" y="74"/>
                    </a:lnTo>
                    <a:lnTo>
                      <a:pt x="46" y="76"/>
                    </a:lnTo>
                    <a:lnTo>
                      <a:pt x="38" y="77"/>
                    </a:lnTo>
                    <a:close/>
                    <a:moveTo>
                      <a:pt x="38" y="27"/>
                    </a:moveTo>
                    <a:lnTo>
                      <a:pt x="38" y="27"/>
                    </a:lnTo>
                    <a:lnTo>
                      <a:pt x="33" y="28"/>
                    </a:lnTo>
                    <a:lnTo>
                      <a:pt x="30" y="31"/>
                    </a:lnTo>
                    <a:lnTo>
                      <a:pt x="28" y="35"/>
                    </a:lnTo>
                    <a:lnTo>
                      <a:pt x="27" y="39"/>
                    </a:lnTo>
                    <a:lnTo>
                      <a:pt x="28" y="44"/>
                    </a:lnTo>
                    <a:lnTo>
                      <a:pt x="30" y="47"/>
                    </a:lnTo>
                    <a:lnTo>
                      <a:pt x="33" y="49"/>
                    </a:lnTo>
                    <a:lnTo>
                      <a:pt x="38" y="50"/>
                    </a:lnTo>
                    <a:lnTo>
                      <a:pt x="42" y="49"/>
                    </a:lnTo>
                    <a:lnTo>
                      <a:pt x="46" y="47"/>
                    </a:lnTo>
                    <a:lnTo>
                      <a:pt x="48" y="44"/>
                    </a:lnTo>
                    <a:lnTo>
                      <a:pt x="50" y="39"/>
                    </a:lnTo>
                    <a:lnTo>
                      <a:pt x="48" y="35"/>
                    </a:lnTo>
                    <a:lnTo>
                      <a:pt x="46" y="31"/>
                    </a:lnTo>
                    <a:lnTo>
                      <a:pt x="42" y="28"/>
                    </a:lnTo>
                    <a:lnTo>
                      <a:pt x="3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85"/>
              <p:cNvSpPr>
                <a:spLocks noEditPoints="1"/>
              </p:cNvSpPr>
              <p:nvPr userDrawn="1"/>
            </p:nvSpPr>
            <p:spPr bwMode="auto">
              <a:xfrm>
                <a:off x="2708" y="3402"/>
                <a:ext cx="33" cy="33"/>
              </a:xfrm>
              <a:custGeom>
                <a:avLst/>
                <a:gdLst>
                  <a:gd name="T0" fmla="*/ 40 w 101"/>
                  <a:gd name="T1" fmla="*/ 99 h 101"/>
                  <a:gd name="T2" fmla="*/ 22 w 101"/>
                  <a:gd name="T3" fmla="*/ 92 h 101"/>
                  <a:gd name="T4" fmla="*/ 9 w 101"/>
                  <a:gd name="T5" fmla="*/ 78 h 101"/>
                  <a:gd name="T6" fmla="*/ 2 w 101"/>
                  <a:gd name="T7" fmla="*/ 61 h 101"/>
                  <a:gd name="T8" fmla="*/ 2 w 101"/>
                  <a:gd name="T9" fmla="*/ 40 h 101"/>
                  <a:gd name="T10" fmla="*/ 9 w 101"/>
                  <a:gd name="T11" fmla="*/ 22 h 101"/>
                  <a:gd name="T12" fmla="*/ 22 w 101"/>
                  <a:gd name="T13" fmla="*/ 9 h 101"/>
                  <a:gd name="T14" fmla="*/ 40 w 101"/>
                  <a:gd name="T15" fmla="*/ 1 h 101"/>
                  <a:gd name="T16" fmla="*/ 61 w 101"/>
                  <a:gd name="T17" fmla="*/ 1 h 101"/>
                  <a:gd name="T18" fmla="*/ 78 w 101"/>
                  <a:gd name="T19" fmla="*/ 9 h 101"/>
                  <a:gd name="T20" fmla="*/ 92 w 101"/>
                  <a:gd name="T21" fmla="*/ 22 h 101"/>
                  <a:gd name="T22" fmla="*/ 100 w 101"/>
                  <a:gd name="T23" fmla="*/ 40 h 101"/>
                  <a:gd name="T24" fmla="*/ 100 w 101"/>
                  <a:gd name="T25" fmla="*/ 61 h 101"/>
                  <a:gd name="T26" fmla="*/ 92 w 101"/>
                  <a:gd name="T27" fmla="*/ 78 h 101"/>
                  <a:gd name="T28" fmla="*/ 78 w 101"/>
                  <a:gd name="T29" fmla="*/ 92 h 101"/>
                  <a:gd name="T30" fmla="*/ 61 w 101"/>
                  <a:gd name="T31" fmla="*/ 99 h 101"/>
                  <a:gd name="T32" fmla="*/ 50 w 101"/>
                  <a:gd name="T33" fmla="*/ 27 h 101"/>
                  <a:gd name="T34" fmla="*/ 46 w 101"/>
                  <a:gd name="T35" fmla="*/ 27 h 101"/>
                  <a:gd name="T36" fmla="*/ 37 w 101"/>
                  <a:gd name="T37" fmla="*/ 31 h 101"/>
                  <a:gd name="T38" fmla="*/ 32 w 101"/>
                  <a:gd name="T39" fmla="*/ 37 h 101"/>
                  <a:gd name="T40" fmla="*/ 27 w 101"/>
                  <a:gd name="T41" fmla="*/ 46 h 101"/>
                  <a:gd name="T42" fmla="*/ 27 w 101"/>
                  <a:gd name="T43" fmla="*/ 55 h 101"/>
                  <a:gd name="T44" fmla="*/ 32 w 101"/>
                  <a:gd name="T45" fmla="*/ 63 h 101"/>
                  <a:gd name="T46" fmla="*/ 37 w 101"/>
                  <a:gd name="T47" fmla="*/ 69 h 101"/>
                  <a:gd name="T48" fmla="*/ 46 w 101"/>
                  <a:gd name="T49" fmla="*/ 72 h 101"/>
                  <a:gd name="T50" fmla="*/ 55 w 101"/>
                  <a:gd name="T51" fmla="*/ 72 h 101"/>
                  <a:gd name="T52" fmla="*/ 63 w 101"/>
                  <a:gd name="T53" fmla="*/ 69 h 101"/>
                  <a:gd name="T54" fmla="*/ 70 w 101"/>
                  <a:gd name="T55" fmla="*/ 63 h 101"/>
                  <a:gd name="T56" fmla="*/ 73 w 101"/>
                  <a:gd name="T57" fmla="*/ 55 h 101"/>
                  <a:gd name="T58" fmla="*/ 73 w 101"/>
                  <a:gd name="T59" fmla="*/ 46 h 101"/>
                  <a:gd name="T60" fmla="*/ 70 w 101"/>
                  <a:gd name="T61" fmla="*/ 37 h 101"/>
                  <a:gd name="T62" fmla="*/ 63 w 101"/>
                  <a:gd name="T63" fmla="*/ 31 h 101"/>
                  <a:gd name="T64" fmla="*/ 55 w 101"/>
                  <a:gd name="T65" fmla="*/ 2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50" y="101"/>
                    </a:moveTo>
                    <a:lnTo>
                      <a:pt x="40" y="99"/>
                    </a:lnTo>
                    <a:lnTo>
                      <a:pt x="31" y="96"/>
                    </a:lnTo>
                    <a:lnTo>
                      <a:pt x="22" y="92"/>
                    </a:lnTo>
                    <a:lnTo>
                      <a:pt x="16" y="85"/>
                    </a:lnTo>
                    <a:lnTo>
                      <a:pt x="9" y="78"/>
                    </a:lnTo>
                    <a:lnTo>
                      <a:pt x="5" y="69"/>
                    </a:lnTo>
                    <a:lnTo>
                      <a:pt x="2" y="61"/>
                    </a:lnTo>
                    <a:lnTo>
                      <a:pt x="0" y="50"/>
                    </a:lnTo>
                    <a:lnTo>
                      <a:pt x="2" y="40"/>
                    </a:lnTo>
                    <a:lnTo>
                      <a:pt x="5" y="30"/>
                    </a:lnTo>
                    <a:lnTo>
                      <a:pt x="9" y="22"/>
                    </a:lnTo>
                    <a:lnTo>
                      <a:pt x="16" y="15"/>
                    </a:lnTo>
                    <a:lnTo>
                      <a:pt x="22" y="9"/>
                    </a:lnTo>
                    <a:lnTo>
                      <a:pt x="31" y="4"/>
                    </a:lnTo>
                    <a:lnTo>
                      <a:pt x="40" y="1"/>
                    </a:lnTo>
                    <a:lnTo>
                      <a:pt x="50" y="0"/>
                    </a:lnTo>
                    <a:lnTo>
                      <a:pt x="61" y="1"/>
                    </a:lnTo>
                    <a:lnTo>
                      <a:pt x="71" y="4"/>
                    </a:lnTo>
                    <a:lnTo>
                      <a:pt x="78" y="9"/>
                    </a:lnTo>
                    <a:lnTo>
                      <a:pt x="86" y="15"/>
                    </a:lnTo>
                    <a:lnTo>
                      <a:pt x="92" y="22"/>
                    </a:lnTo>
                    <a:lnTo>
                      <a:pt x="97" y="30"/>
                    </a:lnTo>
                    <a:lnTo>
                      <a:pt x="100" y="40"/>
                    </a:lnTo>
                    <a:lnTo>
                      <a:pt x="101" y="50"/>
                    </a:lnTo>
                    <a:lnTo>
                      <a:pt x="100" y="61"/>
                    </a:lnTo>
                    <a:lnTo>
                      <a:pt x="97" y="69"/>
                    </a:lnTo>
                    <a:lnTo>
                      <a:pt x="92" y="78"/>
                    </a:lnTo>
                    <a:lnTo>
                      <a:pt x="86" y="85"/>
                    </a:lnTo>
                    <a:lnTo>
                      <a:pt x="78" y="92"/>
                    </a:lnTo>
                    <a:lnTo>
                      <a:pt x="71" y="96"/>
                    </a:lnTo>
                    <a:lnTo>
                      <a:pt x="61" y="99"/>
                    </a:lnTo>
                    <a:lnTo>
                      <a:pt x="50" y="101"/>
                    </a:lnTo>
                    <a:close/>
                    <a:moveTo>
                      <a:pt x="50" y="27"/>
                    </a:moveTo>
                    <a:lnTo>
                      <a:pt x="50" y="27"/>
                    </a:lnTo>
                    <a:lnTo>
                      <a:pt x="46" y="27"/>
                    </a:lnTo>
                    <a:lnTo>
                      <a:pt x="41" y="29"/>
                    </a:lnTo>
                    <a:lnTo>
                      <a:pt x="37" y="31"/>
                    </a:lnTo>
                    <a:lnTo>
                      <a:pt x="34" y="34"/>
                    </a:lnTo>
                    <a:lnTo>
                      <a:pt x="32" y="37"/>
                    </a:lnTo>
                    <a:lnTo>
                      <a:pt x="30" y="41"/>
                    </a:lnTo>
                    <a:lnTo>
                      <a:pt x="27" y="46"/>
                    </a:lnTo>
                    <a:lnTo>
                      <a:pt x="27" y="50"/>
                    </a:lnTo>
                    <a:lnTo>
                      <a:pt x="27" y="55"/>
                    </a:lnTo>
                    <a:lnTo>
                      <a:pt x="30" y="60"/>
                    </a:lnTo>
                    <a:lnTo>
                      <a:pt x="32" y="63"/>
                    </a:lnTo>
                    <a:lnTo>
                      <a:pt x="34" y="67"/>
                    </a:lnTo>
                    <a:lnTo>
                      <a:pt x="37" y="69"/>
                    </a:lnTo>
                    <a:lnTo>
                      <a:pt x="41" y="71"/>
                    </a:lnTo>
                    <a:lnTo>
                      <a:pt x="46" y="72"/>
                    </a:lnTo>
                    <a:lnTo>
                      <a:pt x="50" y="74"/>
                    </a:lnTo>
                    <a:lnTo>
                      <a:pt x="55" y="72"/>
                    </a:lnTo>
                    <a:lnTo>
                      <a:pt x="60" y="71"/>
                    </a:lnTo>
                    <a:lnTo>
                      <a:pt x="63" y="69"/>
                    </a:lnTo>
                    <a:lnTo>
                      <a:pt x="67" y="67"/>
                    </a:lnTo>
                    <a:lnTo>
                      <a:pt x="70" y="63"/>
                    </a:lnTo>
                    <a:lnTo>
                      <a:pt x="72" y="60"/>
                    </a:lnTo>
                    <a:lnTo>
                      <a:pt x="73" y="55"/>
                    </a:lnTo>
                    <a:lnTo>
                      <a:pt x="74" y="50"/>
                    </a:lnTo>
                    <a:lnTo>
                      <a:pt x="73" y="46"/>
                    </a:lnTo>
                    <a:lnTo>
                      <a:pt x="72" y="41"/>
                    </a:lnTo>
                    <a:lnTo>
                      <a:pt x="70" y="37"/>
                    </a:lnTo>
                    <a:lnTo>
                      <a:pt x="67" y="34"/>
                    </a:lnTo>
                    <a:lnTo>
                      <a:pt x="63" y="31"/>
                    </a:lnTo>
                    <a:lnTo>
                      <a:pt x="60" y="29"/>
                    </a:lnTo>
                    <a:lnTo>
                      <a:pt x="55"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86"/>
              <p:cNvSpPr>
                <a:spLocks noEditPoints="1"/>
              </p:cNvSpPr>
              <p:nvPr userDrawn="1"/>
            </p:nvSpPr>
            <p:spPr bwMode="auto">
              <a:xfrm>
                <a:off x="2657" y="3341"/>
                <a:ext cx="34" cy="34"/>
              </a:xfrm>
              <a:custGeom>
                <a:avLst/>
                <a:gdLst>
                  <a:gd name="T0" fmla="*/ 40 w 101"/>
                  <a:gd name="T1" fmla="*/ 99 h 100"/>
                  <a:gd name="T2" fmla="*/ 22 w 101"/>
                  <a:gd name="T3" fmla="*/ 92 h 100"/>
                  <a:gd name="T4" fmla="*/ 9 w 101"/>
                  <a:gd name="T5" fmla="*/ 79 h 100"/>
                  <a:gd name="T6" fmla="*/ 1 w 101"/>
                  <a:gd name="T7" fmla="*/ 60 h 100"/>
                  <a:gd name="T8" fmla="*/ 1 w 101"/>
                  <a:gd name="T9" fmla="*/ 40 h 100"/>
                  <a:gd name="T10" fmla="*/ 9 w 101"/>
                  <a:gd name="T11" fmla="*/ 22 h 100"/>
                  <a:gd name="T12" fmla="*/ 22 w 101"/>
                  <a:gd name="T13" fmla="*/ 8 h 100"/>
                  <a:gd name="T14" fmla="*/ 40 w 101"/>
                  <a:gd name="T15" fmla="*/ 1 h 100"/>
                  <a:gd name="T16" fmla="*/ 61 w 101"/>
                  <a:gd name="T17" fmla="*/ 1 h 100"/>
                  <a:gd name="T18" fmla="*/ 78 w 101"/>
                  <a:gd name="T19" fmla="*/ 8 h 100"/>
                  <a:gd name="T20" fmla="*/ 92 w 101"/>
                  <a:gd name="T21" fmla="*/ 22 h 100"/>
                  <a:gd name="T22" fmla="*/ 100 w 101"/>
                  <a:gd name="T23" fmla="*/ 40 h 100"/>
                  <a:gd name="T24" fmla="*/ 100 w 101"/>
                  <a:gd name="T25" fmla="*/ 60 h 100"/>
                  <a:gd name="T26" fmla="*/ 92 w 101"/>
                  <a:gd name="T27" fmla="*/ 79 h 100"/>
                  <a:gd name="T28" fmla="*/ 78 w 101"/>
                  <a:gd name="T29" fmla="*/ 92 h 100"/>
                  <a:gd name="T30" fmla="*/ 61 w 101"/>
                  <a:gd name="T31" fmla="*/ 99 h 100"/>
                  <a:gd name="T32" fmla="*/ 50 w 101"/>
                  <a:gd name="T33" fmla="*/ 27 h 100"/>
                  <a:gd name="T34" fmla="*/ 46 w 101"/>
                  <a:gd name="T35" fmla="*/ 28 h 100"/>
                  <a:gd name="T36" fmla="*/ 37 w 101"/>
                  <a:gd name="T37" fmla="*/ 31 h 100"/>
                  <a:gd name="T38" fmla="*/ 32 w 101"/>
                  <a:gd name="T39" fmla="*/ 38 h 100"/>
                  <a:gd name="T40" fmla="*/ 27 w 101"/>
                  <a:gd name="T41" fmla="*/ 45 h 100"/>
                  <a:gd name="T42" fmla="*/ 27 w 101"/>
                  <a:gd name="T43" fmla="*/ 55 h 100"/>
                  <a:gd name="T44" fmla="*/ 32 w 101"/>
                  <a:gd name="T45" fmla="*/ 64 h 100"/>
                  <a:gd name="T46" fmla="*/ 37 w 101"/>
                  <a:gd name="T47" fmla="*/ 70 h 100"/>
                  <a:gd name="T48" fmla="*/ 46 w 101"/>
                  <a:gd name="T49" fmla="*/ 73 h 100"/>
                  <a:gd name="T50" fmla="*/ 55 w 101"/>
                  <a:gd name="T51" fmla="*/ 73 h 100"/>
                  <a:gd name="T52" fmla="*/ 63 w 101"/>
                  <a:gd name="T53" fmla="*/ 70 h 100"/>
                  <a:gd name="T54" fmla="*/ 69 w 101"/>
                  <a:gd name="T55" fmla="*/ 64 h 100"/>
                  <a:gd name="T56" fmla="*/ 73 w 101"/>
                  <a:gd name="T57" fmla="*/ 55 h 100"/>
                  <a:gd name="T58" fmla="*/ 73 w 101"/>
                  <a:gd name="T59" fmla="*/ 45 h 100"/>
                  <a:gd name="T60" fmla="*/ 69 w 101"/>
                  <a:gd name="T61" fmla="*/ 38 h 100"/>
                  <a:gd name="T62" fmla="*/ 63 w 101"/>
                  <a:gd name="T63" fmla="*/ 31 h 100"/>
                  <a:gd name="T64" fmla="*/ 55 w 101"/>
                  <a:gd name="T65" fmla="*/ 2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50" y="100"/>
                    </a:moveTo>
                    <a:lnTo>
                      <a:pt x="40" y="99"/>
                    </a:lnTo>
                    <a:lnTo>
                      <a:pt x="30" y="97"/>
                    </a:lnTo>
                    <a:lnTo>
                      <a:pt x="22" y="92"/>
                    </a:lnTo>
                    <a:lnTo>
                      <a:pt x="14" y="86"/>
                    </a:lnTo>
                    <a:lnTo>
                      <a:pt x="9" y="79"/>
                    </a:lnTo>
                    <a:lnTo>
                      <a:pt x="3" y="70"/>
                    </a:lnTo>
                    <a:lnTo>
                      <a:pt x="1" y="60"/>
                    </a:lnTo>
                    <a:lnTo>
                      <a:pt x="0" y="51"/>
                    </a:lnTo>
                    <a:lnTo>
                      <a:pt x="1" y="40"/>
                    </a:lnTo>
                    <a:lnTo>
                      <a:pt x="3" y="31"/>
                    </a:lnTo>
                    <a:lnTo>
                      <a:pt x="9" y="22"/>
                    </a:lnTo>
                    <a:lnTo>
                      <a:pt x="14" y="15"/>
                    </a:lnTo>
                    <a:lnTo>
                      <a:pt x="22" y="8"/>
                    </a:lnTo>
                    <a:lnTo>
                      <a:pt x="30" y="4"/>
                    </a:lnTo>
                    <a:lnTo>
                      <a:pt x="40" y="1"/>
                    </a:lnTo>
                    <a:lnTo>
                      <a:pt x="50" y="0"/>
                    </a:lnTo>
                    <a:lnTo>
                      <a:pt x="61" y="1"/>
                    </a:lnTo>
                    <a:lnTo>
                      <a:pt x="69" y="4"/>
                    </a:lnTo>
                    <a:lnTo>
                      <a:pt x="78" y="8"/>
                    </a:lnTo>
                    <a:lnTo>
                      <a:pt x="86" y="15"/>
                    </a:lnTo>
                    <a:lnTo>
                      <a:pt x="92" y="22"/>
                    </a:lnTo>
                    <a:lnTo>
                      <a:pt x="96" y="31"/>
                    </a:lnTo>
                    <a:lnTo>
                      <a:pt x="100" y="40"/>
                    </a:lnTo>
                    <a:lnTo>
                      <a:pt x="101" y="51"/>
                    </a:lnTo>
                    <a:lnTo>
                      <a:pt x="100" y="60"/>
                    </a:lnTo>
                    <a:lnTo>
                      <a:pt x="96" y="70"/>
                    </a:lnTo>
                    <a:lnTo>
                      <a:pt x="92" y="79"/>
                    </a:lnTo>
                    <a:lnTo>
                      <a:pt x="86" y="86"/>
                    </a:lnTo>
                    <a:lnTo>
                      <a:pt x="78" y="92"/>
                    </a:lnTo>
                    <a:lnTo>
                      <a:pt x="69" y="97"/>
                    </a:lnTo>
                    <a:lnTo>
                      <a:pt x="61" y="99"/>
                    </a:lnTo>
                    <a:lnTo>
                      <a:pt x="50" y="100"/>
                    </a:lnTo>
                    <a:close/>
                    <a:moveTo>
                      <a:pt x="50" y="27"/>
                    </a:moveTo>
                    <a:lnTo>
                      <a:pt x="50" y="27"/>
                    </a:lnTo>
                    <a:lnTo>
                      <a:pt x="46" y="28"/>
                    </a:lnTo>
                    <a:lnTo>
                      <a:pt x="41" y="29"/>
                    </a:lnTo>
                    <a:lnTo>
                      <a:pt x="37" y="31"/>
                    </a:lnTo>
                    <a:lnTo>
                      <a:pt x="34" y="34"/>
                    </a:lnTo>
                    <a:lnTo>
                      <a:pt x="32" y="38"/>
                    </a:lnTo>
                    <a:lnTo>
                      <a:pt x="29" y="41"/>
                    </a:lnTo>
                    <a:lnTo>
                      <a:pt x="27" y="45"/>
                    </a:lnTo>
                    <a:lnTo>
                      <a:pt x="27" y="51"/>
                    </a:lnTo>
                    <a:lnTo>
                      <a:pt x="27" y="55"/>
                    </a:lnTo>
                    <a:lnTo>
                      <a:pt x="29" y="59"/>
                    </a:lnTo>
                    <a:lnTo>
                      <a:pt x="32" y="64"/>
                    </a:lnTo>
                    <a:lnTo>
                      <a:pt x="34" y="67"/>
                    </a:lnTo>
                    <a:lnTo>
                      <a:pt x="37" y="70"/>
                    </a:lnTo>
                    <a:lnTo>
                      <a:pt x="41" y="72"/>
                    </a:lnTo>
                    <a:lnTo>
                      <a:pt x="46" y="73"/>
                    </a:lnTo>
                    <a:lnTo>
                      <a:pt x="50" y="73"/>
                    </a:lnTo>
                    <a:lnTo>
                      <a:pt x="55" y="73"/>
                    </a:lnTo>
                    <a:lnTo>
                      <a:pt x="60" y="72"/>
                    </a:lnTo>
                    <a:lnTo>
                      <a:pt x="63" y="70"/>
                    </a:lnTo>
                    <a:lnTo>
                      <a:pt x="66" y="67"/>
                    </a:lnTo>
                    <a:lnTo>
                      <a:pt x="69" y="64"/>
                    </a:lnTo>
                    <a:lnTo>
                      <a:pt x="72" y="59"/>
                    </a:lnTo>
                    <a:lnTo>
                      <a:pt x="73" y="55"/>
                    </a:lnTo>
                    <a:lnTo>
                      <a:pt x="74" y="51"/>
                    </a:lnTo>
                    <a:lnTo>
                      <a:pt x="73" y="45"/>
                    </a:lnTo>
                    <a:lnTo>
                      <a:pt x="72" y="41"/>
                    </a:lnTo>
                    <a:lnTo>
                      <a:pt x="69" y="38"/>
                    </a:lnTo>
                    <a:lnTo>
                      <a:pt x="66" y="34"/>
                    </a:lnTo>
                    <a:lnTo>
                      <a:pt x="63" y="31"/>
                    </a:lnTo>
                    <a:lnTo>
                      <a:pt x="60" y="29"/>
                    </a:lnTo>
                    <a:lnTo>
                      <a:pt x="55" y="28"/>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87"/>
              <p:cNvSpPr>
                <a:spLocks noEditPoints="1"/>
              </p:cNvSpPr>
              <p:nvPr userDrawn="1"/>
            </p:nvSpPr>
            <p:spPr bwMode="auto">
              <a:xfrm>
                <a:off x="2958" y="3891"/>
                <a:ext cx="49" cy="50"/>
              </a:xfrm>
              <a:custGeom>
                <a:avLst/>
                <a:gdLst>
                  <a:gd name="T0" fmla="*/ 67 w 148"/>
                  <a:gd name="T1" fmla="*/ 148 h 148"/>
                  <a:gd name="T2" fmla="*/ 52 w 148"/>
                  <a:gd name="T3" fmla="*/ 145 h 148"/>
                  <a:gd name="T4" fmla="*/ 39 w 148"/>
                  <a:gd name="T5" fmla="*/ 140 h 148"/>
                  <a:gd name="T6" fmla="*/ 27 w 148"/>
                  <a:gd name="T7" fmla="*/ 132 h 148"/>
                  <a:gd name="T8" fmla="*/ 17 w 148"/>
                  <a:gd name="T9" fmla="*/ 121 h 148"/>
                  <a:gd name="T10" fmla="*/ 8 w 148"/>
                  <a:gd name="T11" fmla="*/ 109 h 148"/>
                  <a:gd name="T12" fmla="*/ 3 w 148"/>
                  <a:gd name="T13" fmla="*/ 96 h 148"/>
                  <a:gd name="T14" fmla="*/ 0 w 148"/>
                  <a:gd name="T15" fmla="*/ 82 h 148"/>
                  <a:gd name="T16" fmla="*/ 0 w 148"/>
                  <a:gd name="T17" fmla="*/ 67 h 148"/>
                  <a:gd name="T18" fmla="*/ 3 w 148"/>
                  <a:gd name="T19" fmla="*/ 52 h 148"/>
                  <a:gd name="T20" fmla="*/ 8 w 148"/>
                  <a:gd name="T21" fmla="*/ 39 h 148"/>
                  <a:gd name="T22" fmla="*/ 17 w 148"/>
                  <a:gd name="T23" fmla="*/ 27 h 148"/>
                  <a:gd name="T24" fmla="*/ 27 w 148"/>
                  <a:gd name="T25" fmla="*/ 18 h 148"/>
                  <a:gd name="T26" fmla="*/ 39 w 148"/>
                  <a:gd name="T27" fmla="*/ 9 h 148"/>
                  <a:gd name="T28" fmla="*/ 52 w 148"/>
                  <a:gd name="T29" fmla="*/ 4 h 148"/>
                  <a:gd name="T30" fmla="*/ 67 w 148"/>
                  <a:gd name="T31" fmla="*/ 0 h 148"/>
                  <a:gd name="T32" fmla="*/ 82 w 148"/>
                  <a:gd name="T33" fmla="*/ 0 h 148"/>
                  <a:gd name="T34" fmla="*/ 96 w 148"/>
                  <a:gd name="T35" fmla="*/ 4 h 148"/>
                  <a:gd name="T36" fmla="*/ 109 w 148"/>
                  <a:gd name="T37" fmla="*/ 9 h 148"/>
                  <a:gd name="T38" fmla="*/ 121 w 148"/>
                  <a:gd name="T39" fmla="*/ 18 h 148"/>
                  <a:gd name="T40" fmla="*/ 132 w 148"/>
                  <a:gd name="T41" fmla="*/ 27 h 148"/>
                  <a:gd name="T42" fmla="*/ 139 w 148"/>
                  <a:gd name="T43" fmla="*/ 39 h 148"/>
                  <a:gd name="T44" fmla="*/ 145 w 148"/>
                  <a:gd name="T45" fmla="*/ 52 h 148"/>
                  <a:gd name="T46" fmla="*/ 148 w 148"/>
                  <a:gd name="T47" fmla="*/ 67 h 148"/>
                  <a:gd name="T48" fmla="*/ 148 w 148"/>
                  <a:gd name="T49" fmla="*/ 82 h 148"/>
                  <a:gd name="T50" fmla="*/ 145 w 148"/>
                  <a:gd name="T51" fmla="*/ 96 h 148"/>
                  <a:gd name="T52" fmla="*/ 139 w 148"/>
                  <a:gd name="T53" fmla="*/ 109 h 148"/>
                  <a:gd name="T54" fmla="*/ 132 w 148"/>
                  <a:gd name="T55" fmla="*/ 121 h 148"/>
                  <a:gd name="T56" fmla="*/ 121 w 148"/>
                  <a:gd name="T57" fmla="*/ 132 h 148"/>
                  <a:gd name="T58" fmla="*/ 109 w 148"/>
                  <a:gd name="T59" fmla="*/ 140 h 148"/>
                  <a:gd name="T60" fmla="*/ 96 w 148"/>
                  <a:gd name="T61" fmla="*/ 145 h 148"/>
                  <a:gd name="T62" fmla="*/ 82 w 148"/>
                  <a:gd name="T63" fmla="*/ 148 h 148"/>
                  <a:gd name="T64" fmla="*/ 74 w 148"/>
                  <a:gd name="T65" fmla="*/ 27 h 148"/>
                  <a:gd name="T66" fmla="*/ 65 w 148"/>
                  <a:gd name="T67" fmla="*/ 28 h 148"/>
                  <a:gd name="T68" fmla="*/ 47 w 148"/>
                  <a:gd name="T69" fmla="*/ 35 h 148"/>
                  <a:gd name="T70" fmla="*/ 34 w 148"/>
                  <a:gd name="T71" fmla="*/ 48 h 148"/>
                  <a:gd name="T72" fmla="*/ 28 w 148"/>
                  <a:gd name="T73" fmla="*/ 65 h 148"/>
                  <a:gd name="T74" fmla="*/ 28 w 148"/>
                  <a:gd name="T75" fmla="*/ 83 h 148"/>
                  <a:gd name="T76" fmla="*/ 34 w 148"/>
                  <a:gd name="T77" fmla="*/ 101 h 148"/>
                  <a:gd name="T78" fmla="*/ 47 w 148"/>
                  <a:gd name="T79" fmla="*/ 114 h 148"/>
                  <a:gd name="T80" fmla="*/ 65 w 148"/>
                  <a:gd name="T81" fmla="*/ 121 h 148"/>
                  <a:gd name="T82" fmla="*/ 83 w 148"/>
                  <a:gd name="T83" fmla="*/ 121 h 148"/>
                  <a:gd name="T84" fmla="*/ 100 w 148"/>
                  <a:gd name="T85" fmla="*/ 114 h 148"/>
                  <a:gd name="T86" fmla="*/ 113 w 148"/>
                  <a:gd name="T87" fmla="*/ 101 h 148"/>
                  <a:gd name="T88" fmla="*/ 121 w 148"/>
                  <a:gd name="T89" fmla="*/ 83 h 148"/>
                  <a:gd name="T90" fmla="*/ 121 w 148"/>
                  <a:gd name="T91" fmla="*/ 65 h 148"/>
                  <a:gd name="T92" fmla="*/ 113 w 148"/>
                  <a:gd name="T93" fmla="*/ 48 h 148"/>
                  <a:gd name="T94" fmla="*/ 100 w 148"/>
                  <a:gd name="T95" fmla="*/ 35 h 148"/>
                  <a:gd name="T96" fmla="*/ 83 w 148"/>
                  <a:gd name="T97" fmla="*/ 2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48">
                    <a:moveTo>
                      <a:pt x="74" y="148"/>
                    </a:moveTo>
                    <a:lnTo>
                      <a:pt x="67" y="148"/>
                    </a:lnTo>
                    <a:lnTo>
                      <a:pt x="59" y="147"/>
                    </a:lnTo>
                    <a:lnTo>
                      <a:pt x="52" y="145"/>
                    </a:lnTo>
                    <a:lnTo>
                      <a:pt x="45" y="143"/>
                    </a:lnTo>
                    <a:lnTo>
                      <a:pt x="39" y="140"/>
                    </a:lnTo>
                    <a:lnTo>
                      <a:pt x="32" y="136"/>
                    </a:lnTo>
                    <a:lnTo>
                      <a:pt x="27" y="132"/>
                    </a:lnTo>
                    <a:lnTo>
                      <a:pt x="21" y="127"/>
                    </a:lnTo>
                    <a:lnTo>
                      <a:pt x="17" y="121"/>
                    </a:lnTo>
                    <a:lnTo>
                      <a:pt x="13" y="116"/>
                    </a:lnTo>
                    <a:lnTo>
                      <a:pt x="8" y="109"/>
                    </a:lnTo>
                    <a:lnTo>
                      <a:pt x="5" y="103"/>
                    </a:lnTo>
                    <a:lnTo>
                      <a:pt x="3" y="96"/>
                    </a:lnTo>
                    <a:lnTo>
                      <a:pt x="1" y="89"/>
                    </a:lnTo>
                    <a:lnTo>
                      <a:pt x="0" y="82"/>
                    </a:lnTo>
                    <a:lnTo>
                      <a:pt x="0" y="75"/>
                    </a:lnTo>
                    <a:lnTo>
                      <a:pt x="0" y="67"/>
                    </a:lnTo>
                    <a:lnTo>
                      <a:pt x="1" y="60"/>
                    </a:lnTo>
                    <a:lnTo>
                      <a:pt x="3" y="52"/>
                    </a:lnTo>
                    <a:lnTo>
                      <a:pt x="5" y="46"/>
                    </a:lnTo>
                    <a:lnTo>
                      <a:pt x="8" y="39"/>
                    </a:lnTo>
                    <a:lnTo>
                      <a:pt x="13" y="33"/>
                    </a:lnTo>
                    <a:lnTo>
                      <a:pt x="17" y="27"/>
                    </a:lnTo>
                    <a:lnTo>
                      <a:pt x="21" y="22"/>
                    </a:lnTo>
                    <a:lnTo>
                      <a:pt x="27" y="18"/>
                    </a:lnTo>
                    <a:lnTo>
                      <a:pt x="32" y="13"/>
                    </a:lnTo>
                    <a:lnTo>
                      <a:pt x="39" y="9"/>
                    </a:lnTo>
                    <a:lnTo>
                      <a:pt x="45" y="6"/>
                    </a:lnTo>
                    <a:lnTo>
                      <a:pt x="52" y="4"/>
                    </a:lnTo>
                    <a:lnTo>
                      <a:pt x="59" y="1"/>
                    </a:lnTo>
                    <a:lnTo>
                      <a:pt x="67" y="0"/>
                    </a:lnTo>
                    <a:lnTo>
                      <a:pt x="74" y="0"/>
                    </a:lnTo>
                    <a:lnTo>
                      <a:pt x="82" y="0"/>
                    </a:lnTo>
                    <a:lnTo>
                      <a:pt x="88" y="1"/>
                    </a:lnTo>
                    <a:lnTo>
                      <a:pt x="96" y="4"/>
                    </a:lnTo>
                    <a:lnTo>
                      <a:pt x="102" y="6"/>
                    </a:lnTo>
                    <a:lnTo>
                      <a:pt x="109" y="9"/>
                    </a:lnTo>
                    <a:lnTo>
                      <a:pt x="115" y="13"/>
                    </a:lnTo>
                    <a:lnTo>
                      <a:pt x="121" y="18"/>
                    </a:lnTo>
                    <a:lnTo>
                      <a:pt x="126" y="22"/>
                    </a:lnTo>
                    <a:lnTo>
                      <a:pt x="132" y="27"/>
                    </a:lnTo>
                    <a:lnTo>
                      <a:pt x="136" y="33"/>
                    </a:lnTo>
                    <a:lnTo>
                      <a:pt x="139" y="39"/>
                    </a:lnTo>
                    <a:lnTo>
                      <a:pt x="142" y="46"/>
                    </a:lnTo>
                    <a:lnTo>
                      <a:pt x="145" y="52"/>
                    </a:lnTo>
                    <a:lnTo>
                      <a:pt x="147" y="60"/>
                    </a:lnTo>
                    <a:lnTo>
                      <a:pt x="148" y="67"/>
                    </a:lnTo>
                    <a:lnTo>
                      <a:pt x="148" y="75"/>
                    </a:lnTo>
                    <a:lnTo>
                      <a:pt x="148" y="82"/>
                    </a:lnTo>
                    <a:lnTo>
                      <a:pt x="147" y="89"/>
                    </a:lnTo>
                    <a:lnTo>
                      <a:pt x="145" y="96"/>
                    </a:lnTo>
                    <a:lnTo>
                      <a:pt x="142" y="103"/>
                    </a:lnTo>
                    <a:lnTo>
                      <a:pt x="139" y="109"/>
                    </a:lnTo>
                    <a:lnTo>
                      <a:pt x="136" y="116"/>
                    </a:lnTo>
                    <a:lnTo>
                      <a:pt x="132" y="121"/>
                    </a:lnTo>
                    <a:lnTo>
                      <a:pt x="126" y="127"/>
                    </a:lnTo>
                    <a:lnTo>
                      <a:pt x="121" y="132"/>
                    </a:lnTo>
                    <a:lnTo>
                      <a:pt x="115" y="136"/>
                    </a:lnTo>
                    <a:lnTo>
                      <a:pt x="109" y="140"/>
                    </a:lnTo>
                    <a:lnTo>
                      <a:pt x="102" y="143"/>
                    </a:lnTo>
                    <a:lnTo>
                      <a:pt x="96" y="145"/>
                    </a:lnTo>
                    <a:lnTo>
                      <a:pt x="88" y="147"/>
                    </a:lnTo>
                    <a:lnTo>
                      <a:pt x="82" y="148"/>
                    </a:lnTo>
                    <a:lnTo>
                      <a:pt x="74" y="148"/>
                    </a:lnTo>
                    <a:close/>
                    <a:moveTo>
                      <a:pt x="74" y="27"/>
                    </a:moveTo>
                    <a:lnTo>
                      <a:pt x="74" y="27"/>
                    </a:lnTo>
                    <a:lnTo>
                      <a:pt x="65" y="28"/>
                    </a:lnTo>
                    <a:lnTo>
                      <a:pt x="56" y="31"/>
                    </a:lnTo>
                    <a:lnTo>
                      <a:pt x="47" y="35"/>
                    </a:lnTo>
                    <a:lnTo>
                      <a:pt x="41" y="41"/>
                    </a:lnTo>
                    <a:lnTo>
                      <a:pt x="34" y="48"/>
                    </a:lnTo>
                    <a:lnTo>
                      <a:pt x="30" y="56"/>
                    </a:lnTo>
                    <a:lnTo>
                      <a:pt x="28" y="65"/>
                    </a:lnTo>
                    <a:lnTo>
                      <a:pt x="27" y="75"/>
                    </a:lnTo>
                    <a:lnTo>
                      <a:pt x="28" y="83"/>
                    </a:lnTo>
                    <a:lnTo>
                      <a:pt x="30" y="93"/>
                    </a:lnTo>
                    <a:lnTo>
                      <a:pt x="34" y="101"/>
                    </a:lnTo>
                    <a:lnTo>
                      <a:pt x="41" y="108"/>
                    </a:lnTo>
                    <a:lnTo>
                      <a:pt x="47" y="114"/>
                    </a:lnTo>
                    <a:lnTo>
                      <a:pt x="56" y="118"/>
                    </a:lnTo>
                    <a:lnTo>
                      <a:pt x="65" y="121"/>
                    </a:lnTo>
                    <a:lnTo>
                      <a:pt x="74" y="121"/>
                    </a:lnTo>
                    <a:lnTo>
                      <a:pt x="83" y="121"/>
                    </a:lnTo>
                    <a:lnTo>
                      <a:pt x="93" y="118"/>
                    </a:lnTo>
                    <a:lnTo>
                      <a:pt x="100" y="114"/>
                    </a:lnTo>
                    <a:lnTo>
                      <a:pt x="108" y="108"/>
                    </a:lnTo>
                    <a:lnTo>
                      <a:pt x="113" y="101"/>
                    </a:lnTo>
                    <a:lnTo>
                      <a:pt x="118" y="93"/>
                    </a:lnTo>
                    <a:lnTo>
                      <a:pt x="121" y="83"/>
                    </a:lnTo>
                    <a:lnTo>
                      <a:pt x="121" y="75"/>
                    </a:lnTo>
                    <a:lnTo>
                      <a:pt x="121" y="65"/>
                    </a:lnTo>
                    <a:lnTo>
                      <a:pt x="118" y="56"/>
                    </a:lnTo>
                    <a:lnTo>
                      <a:pt x="113" y="48"/>
                    </a:lnTo>
                    <a:lnTo>
                      <a:pt x="108" y="41"/>
                    </a:lnTo>
                    <a:lnTo>
                      <a:pt x="100" y="35"/>
                    </a:lnTo>
                    <a:lnTo>
                      <a:pt x="93" y="31"/>
                    </a:lnTo>
                    <a:lnTo>
                      <a:pt x="83" y="28"/>
                    </a:lnTo>
                    <a:lnTo>
                      <a:pt x="7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88"/>
              <p:cNvSpPr>
                <a:spLocks noEditPoints="1"/>
              </p:cNvSpPr>
              <p:nvPr userDrawn="1"/>
            </p:nvSpPr>
            <p:spPr bwMode="auto">
              <a:xfrm>
                <a:off x="2310" y="1956"/>
                <a:ext cx="42" cy="41"/>
              </a:xfrm>
              <a:custGeom>
                <a:avLst/>
                <a:gdLst>
                  <a:gd name="T0" fmla="*/ 56 w 124"/>
                  <a:gd name="T1" fmla="*/ 123 h 123"/>
                  <a:gd name="T2" fmla="*/ 45 w 124"/>
                  <a:gd name="T3" fmla="*/ 121 h 123"/>
                  <a:gd name="T4" fmla="*/ 33 w 124"/>
                  <a:gd name="T5" fmla="*/ 115 h 123"/>
                  <a:gd name="T6" fmla="*/ 23 w 124"/>
                  <a:gd name="T7" fmla="*/ 109 h 123"/>
                  <a:gd name="T8" fmla="*/ 14 w 124"/>
                  <a:gd name="T9" fmla="*/ 100 h 123"/>
                  <a:gd name="T10" fmla="*/ 8 w 124"/>
                  <a:gd name="T11" fmla="*/ 91 h 123"/>
                  <a:gd name="T12" fmla="*/ 4 w 124"/>
                  <a:gd name="T13" fmla="*/ 80 h 123"/>
                  <a:gd name="T14" fmla="*/ 1 w 124"/>
                  <a:gd name="T15" fmla="*/ 68 h 123"/>
                  <a:gd name="T16" fmla="*/ 1 w 124"/>
                  <a:gd name="T17" fmla="*/ 55 h 123"/>
                  <a:gd name="T18" fmla="*/ 4 w 124"/>
                  <a:gd name="T19" fmla="*/ 43 h 123"/>
                  <a:gd name="T20" fmla="*/ 8 w 124"/>
                  <a:gd name="T21" fmla="*/ 32 h 123"/>
                  <a:gd name="T22" fmla="*/ 14 w 124"/>
                  <a:gd name="T23" fmla="*/ 21 h 123"/>
                  <a:gd name="T24" fmla="*/ 23 w 124"/>
                  <a:gd name="T25" fmla="*/ 14 h 123"/>
                  <a:gd name="T26" fmla="*/ 33 w 124"/>
                  <a:gd name="T27" fmla="*/ 6 h 123"/>
                  <a:gd name="T28" fmla="*/ 45 w 124"/>
                  <a:gd name="T29" fmla="*/ 2 h 123"/>
                  <a:gd name="T30" fmla="*/ 56 w 124"/>
                  <a:gd name="T31" fmla="*/ 0 h 123"/>
                  <a:gd name="T32" fmla="*/ 69 w 124"/>
                  <a:gd name="T33" fmla="*/ 0 h 123"/>
                  <a:gd name="T34" fmla="*/ 81 w 124"/>
                  <a:gd name="T35" fmla="*/ 2 h 123"/>
                  <a:gd name="T36" fmla="*/ 92 w 124"/>
                  <a:gd name="T37" fmla="*/ 6 h 123"/>
                  <a:gd name="T38" fmla="*/ 102 w 124"/>
                  <a:gd name="T39" fmla="*/ 14 h 123"/>
                  <a:gd name="T40" fmla="*/ 110 w 124"/>
                  <a:gd name="T41" fmla="*/ 21 h 123"/>
                  <a:gd name="T42" fmla="*/ 117 w 124"/>
                  <a:gd name="T43" fmla="*/ 32 h 123"/>
                  <a:gd name="T44" fmla="*/ 121 w 124"/>
                  <a:gd name="T45" fmla="*/ 43 h 123"/>
                  <a:gd name="T46" fmla="*/ 124 w 124"/>
                  <a:gd name="T47" fmla="*/ 55 h 123"/>
                  <a:gd name="T48" fmla="*/ 124 w 124"/>
                  <a:gd name="T49" fmla="*/ 68 h 123"/>
                  <a:gd name="T50" fmla="*/ 121 w 124"/>
                  <a:gd name="T51" fmla="*/ 80 h 123"/>
                  <a:gd name="T52" fmla="*/ 117 w 124"/>
                  <a:gd name="T53" fmla="*/ 91 h 123"/>
                  <a:gd name="T54" fmla="*/ 110 w 124"/>
                  <a:gd name="T55" fmla="*/ 100 h 123"/>
                  <a:gd name="T56" fmla="*/ 102 w 124"/>
                  <a:gd name="T57" fmla="*/ 109 h 123"/>
                  <a:gd name="T58" fmla="*/ 92 w 124"/>
                  <a:gd name="T59" fmla="*/ 115 h 123"/>
                  <a:gd name="T60" fmla="*/ 81 w 124"/>
                  <a:gd name="T61" fmla="*/ 121 h 123"/>
                  <a:gd name="T62" fmla="*/ 69 w 124"/>
                  <a:gd name="T63" fmla="*/ 123 h 123"/>
                  <a:gd name="T64" fmla="*/ 63 w 124"/>
                  <a:gd name="T65" fmla="*/ 27 h 123"/>
                  <a:gd name="T66" fmla="*/ 55 w 124"/>
                  <a:gd name="T67" fmla="*/ 27 h 123"/>
                  <a:gd name="T68" fmla="*/ 44 w 124"/>
                  <a:gd name="T69" fmla="*/ 32 h 123"/>
                  <a:gd name="T70" fmla="*/ 34 w 124"/>
                  <a:gd name="T71" fmla="*/ 42 h 123"/>
                  <a:gd name="T72" fmla="*/ 28 w 124"/>
                  <a:gd name="T73" fmla="*/ 54 h 123"/>
                  <a:gd name="T74" fmla="*/ 28 w 124"/>
                  <a:gd name="T75" fmla="*/ 68 h 123"/>
                  <a:gd name="T76" fmla="*/ 34 w 124"/>
                  <a:gd name="T77" fmla="*/ 81 h 123"/>
                  <a:gd name="T78" fmla="*/ 44 w 124"/>
                  <a:gd name="T79" fmla="*/ 91 h 123"/>
                  <a:gd name="T80" fmla="*/ 55 w 124"/>
                  <a:gd name="T81" fmla="*/ 96 h 123"/>
                  <a:gd name="T82" fmla="*/ 69 w 124"/>
                  <a:gd name="T83" fmla="*/ 96 h 123"/>
                  <a:gd name="T84" fmla="*/ 82 w 124"/>
                  <a:gd name="T85" fmla="*/ 91 h 123"/>
                  <a:gd name="T86" fmla="*/ 92 w 124"/>
                  <a:gd name="T87" fmla="*/ 81 h 123"/>
                  <a:gd name="T88" fmla="*/ 96 w 124"/>
                  <a:gd name="T89" fmla="*/ 68 h 123"/>
                  <a:gd name="T90" fmla="*/ 96 w 124"/>
                  <a:gd name="T91" fmla="*/ 54 h 123"/>
                  <a:gd name="T92" fmla="*/ 92 w 124"/>
                  <a:gd name="T93" fmla="*/ 42 h 123"/>
                  <a:gd name="T94" fmla="*/ 82 w 124"/>
                  <a:gd name="T95" fmla="*/ 32 h 123"/>
                  <a:gd name="T96" fmla="*/ 69 w 124"/>
                  <a:gd name="T97"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3">
                    <a:moveTo>
                      <a:pt x="63" y="123"/>
                    </a:moveTo>
                    <a:lnTo>
                      <a:pt x="56" y="123"/>
                    </a:lnTo>
                    <a:lnTo>
                      <a:pt x="50" y="122"/>
                    </a:lnTo>
                    <a:lnTo>
                      <a:pt x="45" y="121"/>
                    </a:lnTo>
                    <a:lnTo>
                      <a:pt x="38" y="119"/>
                    </a:lnTo>
                    <a:lnTo>
                      <a:pt x="33" y="115"/>
                    </a:lnTo>
                    <a:lnTo>
                      <a:pt x="28" y="112"/>
                    </a:lnTo>
                    <a:lnTo>
                      <a:pt x="23" y="109"/>
                    </a:lnTo>
                    <a:lnTo>
                      <a:pt x="19" y="105"/>
                    </a:lnTo>
                    <a:lnTo>
                      <a:pt x="14" y="100"/>
                    </a:lnTo>
                    <a:lnTo>
                      <a:pt x="11" y="96"/>
                    </a:lnTo>
                    <a:lnTo>
                      <a:pt x="8" y="91"/>
                    </a:lnTo>
                    <a:lnTo>
                      <a:pt x="6" y="85"/>
                    </a:lnTo>
                    <a:lnTo>
                      <a:pt x="4" y="80"/>
                    </a:lnTo>
                    <a:lnTo>
                      <a:pt x="2" y="73"/>
                    </a:lnTo>
                    <a:lnTo>
                      <a:pt x="1" y="68"/>
                    </a:lnTo>
                    <a:lnTo>
                      <a:pt x="0" y="61"/>
                    </a:lnTo>
                    <a:lnTo>
                      <a:pt x="1" y="55"/>
                    </a:lnTo>
                    <a:lnTo>
                      <a:pt x="2" y="48"/>
                    </a:lnTo>
                    <a:lnTo>
                      <a:pt x="4" y="43"/>
                    </a:lnTo>
                    <a:lnTo>
                      <a:pt x="6" y="38"/>
                    </a:lnTo>
                    <a:lnTo>
                      <a:pt x="8" y="32"/>
                    </a:lnTo>
                    <a:lnTo>
                      <a:pt x="11" y="27"/>
                    </a:lnTo>
                    <a:lnTo>
                      <a:pt x="14" y="21"/>
                    </a:lnTo>
                    <a:lnTo>
                      <a:pt x="19" y="17"/>
                    </a:lnTo>
                    <a:lnTo>
                      <a:pt x="23" y="14"/>
                    </a:lnTo>
                    <a:lnTo>
                      <a:pt x="28" y="10"/>
                    </a:lnTo>
                    <a:lnTo>
                      <a:pt x="33" y="6"/>
                    </a:lnTo>
                    <a:lnTo>
                      <a:pt x="38" y="4"/>
                    </a:lnTo>
                    <a:lnTo>
                      <a:pt x="45" y="2"/>
                    </a:lnTo>
                    <a:lnTo>
                      <a:pt x="50" y="1"/>
                    </a:lnTo>
                    <a:lnTo>
                      <a:pt x="56" y="0"/>
                    </a:lnTo>
                    <a:lnTo>
                      <a:pt x="63" y="0"/>
                    </a:lnTo>
                    <a:lnTo>
                      <a:pt x="69" y="0"/>
                    </a:lnTo>
                    <a:lnTo>
                      <a:pt x="75" y="1"/>
                    </a:lnTo>
                    <a:lnTo>
                      <a:pt x="81" y="2"/>
                    </a:lnTo>
                    <a:lnTo>
                      <a:pt x="87" y="4"/>
                    </a:lnTo>
                    <a:lnTo>
                      <a:pt x="92" y="6"/>
                    </a:lnTo>
                    <a:lnTo>
                      <a:pt x="97" y="10"/>
                    </a:lnTo>
                    <a:lnTo>
                      <a:pt x="102" y="14"/>
                    </a:lnTo>
                    <a:lnTo>
                      <a:pt x="106" y="17"/>
                    </a:lnTo>
                    <a:lnTo>
                      <a:pt x="110" y="21"/>
                    </a:lnTo>
                    <a:lnTo>
                      <a:pt x="114" y="27"/>
                    </a:lnTo>
                    <a:lnTo>
                      <a:pt x="117" y="32"/>
                    </a:lnTo>
                    <a:lnTo>
                      <a:pt x="120" y="38"/>
                    </a:lnTo>
                    <a:lnTo>
                      <a:pt x="121" y="43"/>
                    </a:lnTo>
                    <a:lnTo>
                      <a:pt x="123" y="48"/>
                    </a:lnTo>
                    <a:lnTo>
                      <a:pt x="124" y="55"/>
                    </a:lnTo>
                    <a:lnTo>
                      <a:pt x="124" y="61"/>
                    </a:lnTo>
                    <a:lnTo>
                      <a:pt x="124" y="68"/>
                    </a:lnTo>
                    <a:lnTo>
                      <a:pt x="123" y="73"/>
                    </a:lnTo>
                    <a:lnTo>
                      <a:pt x="121" y="80"/>
                    </a:lnTo>
                    <a:lnTo>
                      <a:pt x="120" y="85"/>
                    </a:lnTo>
                    <a:lnTo>
                      <a:pt x="117" y="91"/>
                    </a:lnTo>
                    <a:lnTo>
                      <a:pt x="114" y="96"/>
                    </a:lnTo>
                    <a:lnTo>
                      <a:pt x="110" y="100"/>
                    </a:lnTo>
                    <a:lnTo>
                      <a:pt x="106" y="105"/>
                    </a:lnTo>
                    <a:lnTo>
                      <a:pt x="102" y="109"/>
                    </a:lnTo>
                    <a:lnTo>
                      <a:pt x="97" y="112"/>
                    </a:lnTo>
                    <a:lnTo>
                      <a:pt x="92" y="115"/>
                    </a:lnTo>
                    <a:lnTo>
                      <a:pt x="87" y="119"/>
                    </a:lnTo>
                    <a:lnTo>
                      <a:pt x="81" y="121"/>
                    </a:lnTo>
                    <a:lnTo>
                      <a:pt x="75" y="122"/>
                    </a:lnTo>
                    <a:lnTo>
                      <a:pt x="69" y="123"/>
                    </a:lnTo>
                    <a:lnTo>
                      <a:pt x="63" y="123"/>
                    </a:lnTo>
                    <a:close/>
                    <a:moveTo>
                      <a:pt x="63" y="27"/>
                    </a:moveTo>
                    <a:lnTo>
                      <a:pt x="63" y="27"/>
                    </a:lnTo>
                    <a:lnTo>
                      <a:pt x="55" y="27"/>
                    </a:lnTo>
                    <a:lnTo>
                      <a:pt x="49" y="29"/>
                    </a:lnTo>
                    <a:lnTo>
                      <a:pt x="44" y="32"/>
                    </a:lnTo>
                    <a:lnTo>
                      <a:pt x="38" y="37"/>
                    </a:lnTo>
                    <a:lnTo>
                      <a:pt x="34" y="42"/>
                    </a:lnTo>
                    <a:lnTo>
                      <a:pt x="31" y="47"/>
                    </a:lnTo>
                    <a:lnTo>
                      <a:pt x="28" y="54"/>
                    </a:lnTo>
                    <a:lnTo>
                      <a:pt x="27" y="61"/>
                    </a:lnTo>
                    <a:lnTo>
                      <a:pt x="28" y="68"/>
                    </a:lnTo>
                    <a:lnTo>
                      <a:pt x="31" y="74"/>
                    </a:lnTo>
                    <a:lnTo>
                      <a:pt x="34" y="81"/>
                    </a:lnTo>
                    <a:lnTo>
                      <a:pt x="38" y="86"/>
                    </a:lnTo>
                    <a:lnTo>
                      <a:pt x="44" y="91"/>
                    </a:lnTo>
                    <a:lnTo>
                      <a:pt x="49" y="94"/>
                    </a:lnTo>
                    <a:lnTo>
                      <a:pt x="55" y="96"/>
                    </a:lnTo>
                    <a:lnTo>
                      <a:pt x="63" y="96"/>
                    </a:lnTo>
                    <a:lnTo>
                      <a:pt x="69" y="96"/>
                    </a:lnTo>
                    <a:lnTo>
                      <a:pt x="76" y="94"/>
                    </a:lnTo>
                    <a:lnTo>
                      <a:pt x="82" y="91"/>
                    </a:lnTo>
                    <a:lnTo>
                      <a:pt x="88" y="86"/>
                    </a:lnTo>
                    <a:lnTo>
                      <a:pt x="92" y="81"/>
                    </a:lnTo>
                    <a:lnTo>
                      <a:pt x="95" y="74"/>
                    </a:lnTo>
                    <a:lnTo>
                      <a:pt x="96" y="68"/>
                    </a:lnTo>
                    <a:lnTo>
                      <a:pt x="97" y="61"/>
                    </a:lnTo>
                    <a:lnTo>
                      <a:pt x="96" y="54"/>
                    </a:lnTo>
                    <a:lnTo>
                      <a:pt x="95" y="47"/>
                    </a:lnTo>
                    <a:lnTo>
                      <a:pt x="92" y="42"/>
                    </a:lnTo>
                    <a:lnTo>
                      <a:pt x="88" y="37"/>
                    </a:lnTo>
                    <a:lnTo>
                      <a:pt x="82" y="32"/>
                    </a:lnTo>
                    <a:lnTo>
                      <a:pt x="76" y="29"/>
                    </a:lnTo>
                    <a:lnTo>
                      <a:pt x="69" y="27"/>
                    </a:lnTo>
                    <a:lnTo>
                      <a:pt x="6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89"/>
              <p:cNvSpPr>
                <a:spLocks noEditPoints="1"/>
              </p:cNvSpPr>
              <p:nvPr userDrawn="1"/>
            </p:nvSpPr>
            <p:spPr bwMode="auto">
              <a:xfrm>
                <a:off x="1786" y="2171"/>
                <a:ext cx="41" cy="42"/>
              </a:xfrm>
              <a:custGeom>
                <a:avLst/>
                <a:gdLst>
                  <a:gd name="T0" fmla="*/ 56 w 124"/>
                  <a:gd name="T1" fmla="*/ 123 h 125"/>
                  <a:gd name="T2" fmla="*/ 44 w 124"/>
                  <a:gd name="T3" fmla="*/ 121 h 125"/>
                  <a:gd name="T4" fmla="*/ 32 w 124"/>
                  <a:gd name="T5" fmla="*/ 117 h 125"/>
                  <a:gd name="T6" fmla="*/ 23 w 124"/>
                  <a:gd name="T7" fmla="*/ 111 h 125"/>
                  <a:gd name="T8" fmla="*/ 15 w 124"/>
                  <a:gd name="T9" fmla="*/ 102 h 125"/>
                  <a:gd name="T10" fmla="*/ 8 w 124"/>
                  <a:gd name="T11" fmla="*/ 92 h 125"/>
                  <a:gd name="T12" fmla="*/ 3 w 124"/>
                  <a:gd name="T13" fmla="*/ 80 h 125"/>
                  <a:gd name="T14" fmla="*/ 1 w 124"/>
                  <a:gd name="T15" fmla="*/ 68 h 125"/>
                  <a:gd name="T16" fmla="*/ 1 w 124"/>
                  <a:gd name="T17" fmla="*/ 55 h 125"/>
                  <a:gd name="T18" fmla="*/ 3 w 124"/>
                  <a:gd name="T19" fmla="*/ 44 h 125"/>
                  <a:gd name="T20" fmla="*/ 8 w 124"/>
                  <a:gd name="T21" fmla="*/ 33 h 125"/>
                  <a:gd name="T22" fmla="*/ 15 w 124"/>
                  <a:gd name="T23" fmla="*/ 23 h 125"/>
                  <a:gd name="T24" fmla="*/ 23 w 124"/>
                  <a:gd name="T25" fmla="*/ 14 h 125"/>
                  <a:gd name="T26" fmla="*/ 32 w 124"/>
                  <a:gd name="T27" fmla="*/ 8 h 125"/>
                  <a:gd name="T28" fmla="*/ 44 w 124"/>
                  <a:gd name="T29" fmla="*/ 4 h 125"/>
                  <a:gd name="T30" fmla="*/ 56 w 124"/>
                  <a:gd name="T31" fmla="*/ 0 h 125"/>
                  <a:gd name="T32" fmla="*/ 69 w 124"/>
                  <a:gd name="T33" fmla="*/ 0 h 125"/>
                  <a:gd name="T34" fmla="*/ 81 w 124"/>
                  <a:gd name="T35" fmla="*/ 4 h 125"/>
                  <a:gd name="T36" fmla="*/ 92 w 124"/>
                  <a:gd name="T37" fmla="*/ 8 h 125"/>
                  <a:gd name="T38" fmla="*/ 102 w 124"/>
                  <a:gd name="T39" fmla="*/ 14 h 125"/>
                  <a:gd name="T40" fmla="*/ 110 w 124"/>
                  <a:gd name="T41" fmla="*/ 23 h 125"/>
                  <a:gd name="T42" fmla="*/ 117 w 124"/>
                  <a:gd name="T43" fmla="*/ 33 h 125"/>
                  <a:gd name="T44" fmla="*/ 122 w 124"/>
                  <a:gd name="T45" fmla="*/ 44 h 125"/>
                  <a:gd name="T46" fmla="*/ 124 w 124"/>
                  <a:gd name="T47" fmla="*/ 55 h 125"/>
                  <a:gd name="T48" fmla="*/ 124 w 124"/>
                  <a:gd name="T49" fmla="*/ 68 h 125"/>
                  <a:gd name="T50" fmla="*/ 122 w 124"/>
                  <a:gd name="T51" fmla="*/ 80 h 125"/>
                  <a:gd name="T52" fmla="*/ 117 w 124"/>
                  <a:gd name="T53" fmla="*/ 92 h 125"/>
                  <a:gd name="T54" fmla="*/ 110 w 124"/>
                  <a:gd name="T55" fmla="*/ 102 h 125"/>
                  <a:gd name="T56" fmla="*/ 102 w 124"/>
                  <a:gd name="T57" fmla="*/ 111 h 125"/>
                  <a:gd name="T58" fmla="*/ 92 w 124"/>
                  <a:gd name="T59" fmla="*/ 117 h 125"/>
                  <a:gd name="T60" fmla="*/ 81 w 124"/>
                  <a:gd name="T61" fmla="*/ 121 h 125"/>
                  <a:gd name="T62" fmla="*/ 69 w 124"/>
                  <a:gd name="T63" fmla="*/ 123 h 125"/>
                  <a:gd name="T64" fmla="*/ 63 w 124"/>
                  <a:gd name="T65" fmla="*/ 27 h 125"/>
                  <a:gd name="T66" fmla="*/ 55 w 124"/>
                  <a:gd name="T67" fmla="*/ 29 h 125"/>
                  <a:gd name="T68" fmla="*/ 43 w 124"/>
                  <a:gd name="T69" fmla="*/ 34 h 125"/>
                  <a:gd name="T70" fmla="*/ 34 w 124"/>
                  <a:gd name="T71" fmla="*/ 43 h 125"/>
                  <a:gd name="T72" fmla="*/ 28 w 124"/>
                  <a:gd name="T73" fmla="*/ 55 h 125"/>
                  <a:gd name="T74" fmla="*/ 28 w 124"/>
                  <a:gd name="T75" fmla="*/ 70 h 125"/>
                  <a:gd name="T76" fmla="*/ 34 w 124"/>
                  <a:gd name="T77" fmla="*/ 81 h 125"/>
                  <a:gd name="T78" fmla="*/ 43 w 124"/>
                  <a:gd name="T79" fmla="*/ 91 h 125"/>
                  <a:gd name="T80" fmla="*/ 55 w 124"/>
                  <a:gd name="T81" fmla="*/ 97 h 125"/>
                  <a:gd name="T82" fmla="*/ 69 w 124"/>
                  <a:gd name="T83" fmla="*/ 97 h 125"/>
                  <a:gd name="T84" fmla="*/ 82 w 124"/>
                  <a:gd name="T85" fmla="*/ 91 h 125"/>
                  <a:gd name="T86" fmla="*/ 92 w 124"/>
                  <a:gd name="T87" fmla="*/ 81 h 125"/>
                  <a:gd name="T88" fmla="*/ 96 w 124"/>
                  <a:gd name="T89" fmla="*/ 70 h 125"/>
                  <a:gd name="T90" fmla="*/ 96 w 124"/>
                  <a:gd name="T91" fmla="*/ 55 h 125"/>
                  <a:gd name="T92" fmla="*/ 92 w 124"/>
                  <a:gd name="T93" fmla="*/ 43 h 125"/>
                  <a:gd name="T94" fmla="*/ 82 w 124"/>
                  <a:gd name="T95" fmla="*/ 34 h 125"/>
                  <a:gd name="T96" fmla="*/ 69 w 124"/>
                  <a:gd name="T97" fmla="*/ 2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5">
                    <a:moveTo>
                      <a:pt x="63" y="125"/>
                    </a:moveTo>
                    <a:lnTo>
                      <a:pt x="56" y="123"/>
                    </a:lnTo>
                    <a:lnTo>
                      <a:pt x="50" y="122"/>
                    </a:lnTo>
                    <a:lnTo>
                      <a:pt x="44" y="121"/>
                    </a:lnTo>
                    <a:lnTo>
                      <a:pt x="38" y="119"/>
                    </a:lnTo>
                    <a:lnTo>
                      <a:pt x="32" y="117"/>
                    </a:lnTo>
                    <a:lnTo>
                      <a:pt x="28" y="114"/>
                    </a:lnTo>
                    <a:lnTo>
                      <a:pt x="23" y="111"/>
                    </a:lnTo>
                    <a:lnTo>
                      <a:pt x="18" y="106"/>
                    </a:lnTo>
                    <a:lnTo>
                      <a:pt x="15" y="102"/>
                    </a:lnTo>
                    <a:lnTo>
                      <a:pt x="11" y="97"/>
                    </a:lnTo>
                    <a:lnTo>
                      <a:pt x="8" y="92"/>
                    </a:lnTo>
                    <a:lnTo>
                      <a:pt x="5" y="87"/>
                    </a:lnTo>
                    <a:lnTo>
                      <a:pt x="3" y="80"/>
                    </a:lnTo>
                    <a:lnTo>
                      <a:pt x="2" y="75"/>
                    </a:lnTo>
                    <a:lnTo>
                      <a:pt x="1" y="68"/>
                    </a:lnTo>
                    <a:lnTo>
                      <a:pt x="0" y="62"/>
                    </a:lnTo>
                    <a:lnTo>
                      <a:pt x="1" y="55"/>
                    </a:lnTo>
                    <a:lnTo>
                      <a:pt x="2" y="50"/>
                    </a:lnTo>
                    <a:lnTo>
                      <a:pt x="3" y="44"/>
                    </a:lnTo>
                    <a:lnTo>
                      <a:pt x="5" y="38"/>
                    </a:lnTo>
                    <a:lnTo>
                      <a:pt x="8" y="33"/>
                    </a:lnTo>
                    <a:lnTo>
                      <a:pt x="11" y="27"/>
                    </a:lnTo>
                    <a:lnTo>
                      <a:pt x="15" y="23"/>
                    </a:lnTo>
                    <a:lnTo>
                      <a:pt x="18" y="19"/>
                    </a:lnTo>
                    <a:lnTo>
                      <a:pt x="23" y="14"/>
                    </a:lnTo>
                    <a:lnTo>
                      <a:pt x="28" y="11"/>
                    </a:lnTo>
                    <a:lnTo>
                      <a:pt x="32" y="8"/>
                    </a:lnTo>
                    <a:lnTo>
                      <a:pt x="38" y="5"/>
                    </a:lnTo>
                    <a:lnTo>
                      <a:pt x="44" y="4"/>
                    </a:lnTo>
                    <a:lnTo>
                      <a:pt x="50" y="2"/>
                    </a:lnTo>
                    <a:lnTo>
                      <a:pt x="56" y="0"/>
                    </a:lnTo>
                    <a:lnTo>
                      <a:pt x="63" y="0"/>
                    </a:lnTo>
                    <a:lnTo>
                      <a:pt x="69" y="0"/>
                    </a:lnTo>
                    <a:lnTo>
                      <a:pt x="75" y="2"/>
                    </a:lnTo>
                    <a:lnTo>
                      <a:pt x="81" y="4"/>
                    </a:lnTo>
                    <a:lnTo>
                      <a:pt x="86" y="5"/>
                    </a:lnTo>
                    <a:lnTo>
                      <a:pt x="92" y="8"/>
                    </a:lnTo>
                    <a:lnTo>
                      <a:pt x="97" y="11"/>
                    </a:lnTo>
                    <a:lnTo>
                      <a:pt x="102" y="14"/>
                    </a:lnTo>
                    <a:lnTo>
                      <a:pt x="106" y="19"/>
                    </a:lnTo>
                    <a:lnTo>
                      <a:pt x="110" y="23"/>
                    </a:lnTo>
                    <a:lnTo>
                      <a:pt x="113" y="27"/>
                    </a:lnTo>
                    <a:lnTo>
                      <a:pt x="117" y="33"/>
                    </a:lnTo>
                    <a:lnTo>
                      <a:pt x="120" y="38"/>
                    </a:lnTo>
                    <a:lnTo>
                      <a:pt x="122" y="44"/>
                    </a:lnTo>
                    <a:lnTo>
                      <a:pt x="123" y="50"/>
                    </a:lnTo>
                    <a:lnTo>
                      <a:pt x="124" y="55"/>
                    </a:lnTo>
                    <a:lnTo>
                      <a:pt x="124" y="62"/>
                    </a:lnTo>
                    <a:lnTo>
                      <a:pt x="124" y="68"/>
                    </a:lnTo>
                    <a:lnTo>
                      <a:pt x="123" y="75"/>
                    </a:lnTo>
                    <a:lnTo>
                      <a:pt x="122" y="80"/>
                    </a:lnTo>
                    <a:lnTo>
                      <a:pt x="120" y="87"/>
                    </a:lnTo>
                    <a:lnTo>
                      <a:pt x="117" y="92"/>
                    </a:lnTo>
                    <a:lnTo>
                      <a:pt x="113" y="97"/>
                    </a:lnTo>
                    <a:lnTo>
                      <a:pt x="110" y="102"/>
                    </a:lnTo>
                    <a:lnTo>
                      <a:pt x="106" y="106"/>
                    </a:lnTo>
                    <a:lnTo>
                      <a:pt x="102" y="111"/>
                    </a:lnTo>
                    <a:lnTo>
                      <a:pt x="97" y="114"/>
                    </a:lnTo>
                    <a:lnTo>
                      <a:pt x="92" y="117"/>
                    </a:lnTo>
                    <a:lnTo>
                      <a:pt x="86" y="119"/>
                    </a:lnTo>
                    <a:lnTo>
                      <a:pt x="81" y="121"/>
                    </a:lnTo>
                    <a:lnTo>
                      <a:pt x="75" y="122"/>
                    </a:lnTo>
                    <a:lnTo>
                      <a:pt x="69" y="123"/>
                    </a:lnTo>
                    <a:lnTo>
                      <a:pt x="63" y="125"/>
                    </a:lnTo>
                    <a:close/>
                    <a:moveTo>
                      <a:pt x="63" y="27"/>
                    </a:moveTo>
                    <a:lnTo>
                      <a:pt x="63" y="27"/>
                    </a:lnTo>
                    <a:lnTo>
                      <a:pt x="55" y="29"/>
                    </a:lnTo>
                    <a:lnTo>
                      <a:pt x="49" y="31"/>
                    </a:lnTo>
                    <a:lnTo>
                      <a:pt x="43" y="34"/>
                    </a:lnTo>
                    <a:lnTo>
                      <a:pt x="38" y="37"/>
                    </a:lnTo>
                    <a:lnTo>
                      <a:pt x="34" y="43"/>
                    </a:lnTo>
                    <a:lnTo>
                      <a:pt x="30" y="49"/>
                    </a:lnTo>
                    <a:lnTo>
                      <a:pt x="28" y="55"/>
                    </a:lnTo>
                    <a:lnTo>
                      <a:pt x="27" y="62"/>
                    </a:lnTo>
                    <a:lnTo>
                      <a:pt x="28" y="70"/>
                    </a:lnTo>
                    <a:lnTo>
                      <a:pt x="30" y="76"/>
                    </a:lnTo>
                    <a:lnTo>
                      <a:pt x="34" y="81"/>
                    </a:lnTo>
                    <a:lnTo>
                      <a:pt x="38" y="87"/>
                    </a:lnTo>
                    <a:lnTo>
                      <a:pt x="43" y="91"/>
                    </a:lnTo>
                    <a:lnTo>
                      <a:pt x="49" y="94"/>
                    </a:lnTo>
                    <a:lnTo>
                      <a:pt x="55" y="97"/>
                    </a:lnTo>
                    <a:lnTo>
                      <a:pt x="63" y="98"/>
                    </a:lnTo>
                    <a:lnTo>
                      <a:pt x="69" y="97"/>
                    </a:lnTo>
                    <a:lnTo>
                      <a:pt x="76" y="94"/>
                    </a:lnTo>
                    <a:lnTo>
                      <a:pt x="82" y="91"/>
                    </a:lnTo>
                    <a:lnTo>
                      <a:pt x="87" y="87"/>
                    </a:lnTo>
                    <a:lnTo>
                      <a:pt x="92" y="81"/>
                    </a:lnTo>
                    <a:lnTo>
                      <a:pt x="95" y="76"/>
                    </a:lnTo>
                    <a:lnTo>
                      <a:pt x="96" y="70"/>
                    </a:lnTo>
                    <a:lnTo>
                      <a:pt x="97" y="62"/>
                    </a:lnTo>
                    <a:lnTo>
                      <a:pt x="96" y="55"/>
                    </a:lnTo>
                    <a:lnTo>
                      <a:pt x="95" y="49"/>
                    </a:lnTo>
                    <a:lnTo>
                      <a:pt x="92" y="43"/>
                    </a:lnTo>
                    <a:lnTo>
                      <a:pt x="87" y="37"/>
                    </a:lnTo>
                    <a:lnTo>
                      <a:pt x="82" y="34"/>
                    </a:lnTo>
                    <a:lnTo>
                      <a:pt x="76" y="31"/>
                    </a:lnTo>
                    <a:lnTo>
                      <a:pt x="69" y="29"/>
                    </a:lnTo>
                    <a:lnTo>
                      <a:pt x="6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90"/>
              <p:cNvSpPr>
                <a:spLocks noEditPoints="1"/>
              </p:cNvSpPr>
              <p:nvPr userDrawn="1"/>
            </p:nvSpPr>
            <p:spPr bwMode="auto">
              <a:xfrm>
                <a:off x="1816" y="2075"/>
                <a:ext cx="41" cy="41"/>
              </a:xfrm>
              <a:custGeom>
                <a:avLst/>
                <a:gdLst>
                  <a:gd name="T0" fmla="*/ 56 w 124"/>
                  <a:gd name="T1" fmla="*/ 123 h 123"/>
                  <a:gd name="T2" fmla="*/ 44 w 124"/>
                  <a:gd name="T3" fmla="*/ 121 h 123"/>
                  <a:gd name="T4" fmla="*/ 32 w 124"/>
                  <a:gd name="T5" fmla="*/ 116 h 123"/>
                  <a:gd name="T6" fmla="*/ 22 w 124"/>
                  <a:gd name="T7" fmla="*/ 109 h 123"/>
                  <a:gd name="T8" fmla="*/ 14 w 124"/>
                  <a:gd name="T9" fmla="*/ 100 h 123"/>
                  <a:gd name="T10" fmla="*/ 7 w 124"/>
                  <a:gd name="T11" fmla="*/ 91 h 123"/>
                  <a:gd name="T12" fmla="*/ 3 w 124"/>
                  <a:gd name="T13" fmla="*/ 80 h 123"/>
                  <a:gd name="T14" fmla="*/ 1 w 124"/>
                  <a:gd name="T15" fmla="*/ 68 h 123"/>
                  <a:gd name="T16" fmla="*/ 1 w 124"/>
                  <a:gd name="T17" fmla="*/ 55 h 123"/>
                  <a:gd name="T18" fmla="*/ 3 w 124"/>
                  <a:gd name="T19" fmla="*/ 43 h 123"/>
                  <a:gd name="T20" fmla="*/ 7 w 124"/>
                  <a:gd name="T21" fmla="*/ 32 h 123"/>
                  <a:gd name="T22" fmla="*/ 14 w 124"/>
                  <a:gd name="T23" fmla="*/ 22 h 123"/>
                  <a:gd name="T24" fmla="*/ 22 w 124"/>
                  <a:gd name="T25" fmla="*/ 14 h 123"/>
                  <a:gd name="T26" fmla="*/ 32 w 124"/>
                  <a:gd name="T27" fmla="*/ 8 h 123"/>
                  <a:gd name="T28" fmla="*/ 44 w 124"/>
                  <a:gd name="T29" fmla="*/ 2 h 123"/>
                  <a:gd name="T30" fmla="*/ 56 w 124"/>
                  <a:gd name="T31" fmla="*/ 0 h 123"/>
                  <a:gd name="T32" fmla="*/ 68 w 124"/>
                  <a:gd name="T33" fmla="*/ 0 h 123"/>
                  <a:gd name="T34" fmla="*/ 81 w 124"/>
                  <a:gd name="T35" fmla="*/ 2 h 123"/>
                  <a:gd name="T36" fmla="*/ 91 w 124"/>
                  <a:gd name="T37" fmla="*/ 8 h 123"/>
                  <a:gd name="T38" fmla="*/ 101 w 124"/>
                  <a:gd name="T39" fmla="*/ 14 h 123"/>
                  <a:gd name="T40" fmla="*/ 110 w 124"/>
                  <a:gd name="T41" fmla="*/ 22 h 123"/>
                  <a:gd name="T42" fmla="*/ 116 w 124"/>
                  <a:gd name="T43" fmla="*/ 32 h 123"/>
                  <a:gd name="T44" fmla="*/ 121 w 124"/>
                  <a:gd name="T45" fmla="*/ 43 h 123"/>
                  <a:gd name="T46" fmla="*/ 124 w 124"/>
                  <a:gd name="T47" fmla="*/ 55 h 123"/>
                  <a:gd name="T48" fmla="*/ 124 w 124"/>
                  <a:gd name="T49" fmla="*/ 68 h 123"/>
                  <a:gd name="T50" fmla="*/ 121 w 124"/>
                  <a:gd name="T51" fmla="*/ 80 h 123"/>
                  <a:gd name="T52" fmla="*/ 116 w 124"/>
                  <a:gd name="T53" fmla="*/ 91 h 123"/>
                  <a:gd name="T54" fmla="*/ 110 w 124"/>
                  <a:gd name="T55" fmla="*/ 100 h 123"/>
                  <a:gd name="T56" fmla="*/ 101 w 124"/>
                  <a:gd name="T57" fmla="*/ 109 h 123"/>
                  <a:gd name="T58" fmla="*/ 91 w 124"/>
                  <a:gd name="T59" fmla="*/ 116 h 123"/>
                  <a:gd name="T60" fmla="*/ 81 w 124"/>
                  <a:gd name="T61" fmla="*/ 121 h 123"/>
                  <a:gd name="T62" fmla="*/ 68 w 124"/>
                  <a:gd name="T63" fmla="*/ 123 h 123"/>
                  <a:gd name="T64" fmla="*/ 62 w 124"/>
                  <a:gd name="T65" fmla="*/ 27 h 123"/>
                  <a:gd name="T66" fmla="*/ 55 w 124"/>
                  <a:gd name="T67" fmla="*/ 27 h 123"/>
                  <a:gd name="T68" fmla="*/ 42 w 124"/>
                  <a:gd name="T69" fmla="*/ 32 h 123"/>
                  <a:gd name="T70" fmla="*/ 33 w 124"/>
                  <a:gd name="T71" fmla="*/ 42 h 123"/>
                  <a:gd name="T72" fmla="*/ 28 w 124"/>
                  <a:gd name="T73" fmla="*/ 54 h 123"/>
                  <a:gd name="T74" fmla="*/ 28 w 124"/>
                  <a:gd name="T75" fmla="*/ 68 h 123"/>
                  <a:gd name="T76" fmla="*/ 33 w 124"/>
                  <a:gd name="T77" fmla="*/ 81 h 123"/>
                  <a:gd name="T78" fmla="*/ 42 w 124"/>
                  <a:gd name="T79" fmla="*/ 91 h 123"/>
                  <a:gd name="T80" fmla="*/ 55 w 124"/>
                  <a:gd name="T81" fmla="*/ 96 h 123"/>
                  <a:gd name="T82" fmla="*/ 69 w 124"/>
                  <a:gd name="T83" fmla="*/ 96 h 123"/>
                  <a:gd name="T84" fmla="*/ 82 w 124"/>
                  <a:gd name="T85" fmla="*/ 91 h 123"/>
                  <a:gd name="T86" fmla="*/ 90 w 124"/>
                  <a:gd name="T87" fmla="*/ 81 h 123"/>
                  <a:gd name="T88" fmla="*/ 96 w 124"/>
                  <a:gd name="T89" fmla="*/ 68 h 123"/>
                  <a:gd name="T90" fmla="*/ 96 w 124"/>
                  <a:gd name="T91" fmla="*/ 54 h 123"/>
                  <a:gd name="T92" fmla="*/ 90 w 124"/>
                  <a:gd name="T93" fmla="*/ 42 h 123"/>
                  <a:gd name="T94" fmla="*/ 82 w 124"/>
                  <a:gd name="T95" fmla="*/ 32 h 123"/>
                  <a:gd name="T96" fmla="*/ 69 w 124"/>
                  <a:gd name="T97"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3">
                    <a:moveTo>
                      <a:pt x="62" y="123"/>
                    </a:moveTo>
                    <a:lnTo>
                      <a:pt x="56" y="123"/>
                    </a:lnTo>
                    <a:lnTo>
                      <a:pt x="49" y="122"/>
                    </a:lnTo>
                    <a:lnTo>
                      <a:pt x="44" y="121"/>
                    </a:lnTo>
                    <a:lnTo>
                      <a:pt x="37" y="119"/>
                    </a:lnTo>
                    <a:lnTo>
                      <a:pt x="32" y="116"/>
                    </a:lnTo>
                    <a:lnTo>
                      <a:pt x="28" y="112"/>
                    </a:lnTo>
                    <a:lnTo>
                      <a:pt x="22" y="109"/>
                    </a:lnTo>
                    <a:lnTo>
                      <a:pt x="18" y="105"/>
                    </a:lnTo>
                    <a:lnTo>
                      <a:pt x="14" y="100"/>
                    </a:lnTo>
                    <a:lnTo>
                      <a:pt x="10" y="96"/>
                    </a:lnTo>
                    <a:lnTo>
                      <a:pt x="7" y="91"/>
                    </a:lnTo>
                    <a:lnTo>
                      <a:pt x="5" y="85"/>
                    </a:lnTo>
                    <a:lnTo>
                      <a:pt x="3" y="80"/>
                    </a:lnTo>
                    <a:lnTo>
                      <a:pt x="1" y="73"/>
                    </a:lnTo>
                    <a:lnTo>
                      <a:pt x="1" y="68"/>
                    </a:lnTo>
                    <a:lnTo>
                      <a:pt x="0" y="62"/>
                    </a:lnTo>
                    <a:lnTo>
                      <a:pt x="1" y="55"/>
                    </a:lnTo>
                    <a:lnTo>
                      <a:pt x="1" y="49"/>
                    </a:lnTo>
                    <a:lnTo>
                      <a:pt x="3" y="43"/>
                    </a:lnTo>
                    <a:lnTo>
                      <a:pt x="5" y="38"/>
                    </a:lnTo>
                    <a:lnTo>
                      <a:pt x="7" y="32"/>
                    </a:lnTo>
                    <a:lnTo>
                      <a:pt x="10" y="27"/>
                    </a:lnTo>
                    <a:lnTo>
                      <a:pt x="14" y="22"/>
                    </a:lnTo>
                    <a:lnTo>
                      <a:pt x="18" y="17"/>
                    </a:lnTo>
                    <a:lnTo>
                      <a:pt x="22" y="14"/>
                    </a:lnTo>
                    <a:lnTo>
                      <a:pt x="28" y="10"/>
                    </a:lnTo>
                    <a:lnTo>
                      <a:pt x="32" y="8"/>
                    </a:lnTo>
                    <a:lnTo>
                      <a:pt x="37" y="4"/>
                    </a:lnTo>
                    <a:lnTo>
                      <a:pt x="44" y="2"/>
                    </a:lnTo>
                    <a:lnTo>
                      <a:pt x="49" y="1"/>
                    </a:lnTo>
                    <a:lnTo>
                      <a:pt x="56" y="0"/>
                    </a:lnTo>
                    <a:lnTo>
                      <a:pt x="62" y="0"/>
                    </a:lnTo>
                    <a:lnTo>
                      <a:pt x="68" y="0"/>
                    </a:lnTo>
                    <a:lnTo>
                      <a:pt x="74" y="1"/>
                    </a:lnTo>
                    <a:lnTo>
                      <a:pt x="81" y="2"/>
                    </a:lnTo>
                    <a:lnTo>
                      <a:pt x="86" y="4"/>
                    </a:lnTo>
                    <a:lnTo>
                      <a:pt x="91" y="8"/>
                    </a:lnTo>
                    <a:lnTo>
                      <a:pt x="97" y="10"/>
                    </a:lnTo>
                    <a:lnTo>
                      <a:pt x="101" y="14"/>
                    </a:lnTo>
                    <a:lnTo>
                      <a:pt x="105" y="17"/>
                    </a:lnTo>
                    <a:lnTo>
                      <a:pt x="110" y="22"/>
                    </a:lnTo>
                    <a:lnTo>
                      <a:pt x="113" y="27"/>
                    </a:lnTo>
                    <a:lnTo>
                      <a:pt x="116" y="32"/>
                    </a:lnTo>
                    <a:lnTo>
                      <a:pt x="118" y="38"/>
                    </a:lnTo>
                    <a:lnTo>
                      <a:pt x="121" y="43"/>
                    </a:lnTo>
                    <a:lnTo>
                      <a:pt x="123" y="49"/>
                    </a:lnTo>
                    <a:lnTo>
                      <a:pt x="124" y="55"/>
                    </a:lnTo>
                    <a:lnTo>
                      <a:pt x="124" y="62"/>
                    </a:lnTo>
                    <a:lnTo>
                      <a:pt x="124" y="68"/>
                    </a:lnTo>
                    <a:lnTo>
                      <a:pt x="123" y="73"/>
                    </a:lnTo>
                    <a:lnTo>
                      <a:pt x="121" y="80"/>
                    </a:lnTo>
                    <a:lnTo>
                      <a:pt x="118" y="85"/>
                    </a:lnTo>
                    <a:lnTo>
                      <a:pt x="116" y="91"/>
                    </a:lnTo>
                    <a:lnTo>
                      <a:pt x="113" y="96"/>
                    </a:lnTo>
                    <a:lnTo>
                      <a:pt x="110" y="100"/>
                    </a:lnTo>
                    <a:lnTo>
                      <a:pt x="105" y="105"/>
                    </a:lnTo>
                    <a:lnTo>
                      <a:pt x="101" y="109"/>
                    </a:lnTo>
                    <a:lnTo>
                      <a:pt x="97" y="112"/>
                    </a:lnTo>
                    <a:lnTo>
                      <a:pt x="91" y="116"/>
                    </a:lnTo>
                    <a:lnTo>
                      <a:pt x="86" y="119"/>
                    </a:lnTo>
                    <a:lnTo>
                      <a:pt x="81" y="121"/>
                    </a:lnTo>
                    <a:lnTo>
                      <a:pt x="74" y="122"/>
                    </a:lnTo>
                    <a:lnTo>
                      <a:pt x="68" y="123"/>
                    </a:lnTo>
                    <a:lnTo>
                      <a:pt x="62" y="123"/>
                    </a:lnTo>
                    <a:close/>
                    <a:moveTo>
                      <a:pt x="62" y="27"/>
                    </a:moveTo>
                    <a:lnTo>
                      <a:pt x="62" y="27"/>
                    </a:lnTo>
                    <a:lnTo>
                      <a:pt x="55" y="27"/>
                    </a:lnTo>
                    <a:lnTo>
                      <a:pt x="48" y="29"/>
                    </a:lnTo>
                    <a:lnTo>
                      <a:pt x="42" y="32"/>
                    </a:lnTo>
                    <a:lnTo>
                      <a:pt x="37" y="37"/>
                    </a:lnTo>
                    <a:lnTo>
                      <a:pt x="33" y="42"/>
                    </a:lnTo>
                    <a:lnTo>
                      <a:pt x="30" y="48"/>
                    </a:lnTo>
                    <a:lnTo>
                      <a:pt x="28" y="54"/>
                    </a:lnTo>
                    <a:lnTo>
                      <a:pt x="27" y="62"/>
                    </a:lnTo>
                    <a:lnTo>
                      <a:pt x="28" y="68"/>
                    </a:lnTo>
                    <a:lnTo>
                      <a:pt x="30" y="76"/>
                    </a:lnTo>
                    <a:lnTo>
                      <a:pt x="33" y="81"/>
                    </a:lnTo>
                    <a:lnTo>
                      <a:pt x="37" y="86"/>
                    </a:lnTo>
                    <a:lnTo>
                      <a:pt x="42" y="91"/>
                    </a:lnTo>
                    <a:lnTo>
                      <a:pt x="48" y="94"/>
                    </a:lnTo>
                    <a:lnTo>
                      <a:pt x="55" y="96"/>
                    </a:lnTo>
                    <a:lnTo>
                      <a:pt x="62" y="96"/>
                    </a:lnTo>
                    <a:lnTo>
                      <a:pt x="69" y="96"/>
                    </a:lnTo>
                    <a:lnTo>
                      <a:pt x="75" y="94"/>
                    </a:lnTo>
                    <a:lnTo>
                      <a:pt x="82" y="91"/>
                    </a:lnTo>
                    <a:lnTo>
                      <a:pt x="86" y="86"/>
                    </a:lnTo>
                    <a:lnTo>
                      <a:pt x="90" y="81"/>
                    </a:lnTo>
                    <a:lnTo>
                      <a:pt x="94" y="76"/>
                    </a:lnTo>
                    <a:lnTo>
                      <a:pt x="96" y="68"/>
                    </a:lnTo>
                    <a:lnTo>
                      <a:pt x="97" y="62"/>
                    </a:lnTo>
                    <a:lnTo>
                      <a:pt x="96" y="54"/>
                    </a:lnTo>
                    <a:lnTo>
                      <a:pt x="94" y="48"/>
                    </a:lnTo>
                    <a:lnTo>
                      <a:pt x="90" y="42"/>
                    </a:lnTo>
                    <a:lnTo>
                      <a:pt x="86" y="37"/>
                    </a:lnTo>
                    <a:lnTo>
                      <a:pt x="82" y="32"/>
                    </a:lnTo>
                    <a:lnTo>
                      <a:pt x="75" y="29"/>
                    </a:lnTo>
                    <a:lnTo>
                      <a:pt x="69" y="27"/>
                    </a:lnTo>
                    <a:lnTo>
                      <a:pt x="6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91"/>
              <p:cNvSpPr>
                <a:spLocks noEditPoints="1"/>
              </p:cNvSpPr>
              <p:nvPr userDrawn="1"/>
            </p:nvSpPr>
            <p:spPr bwMode="auto">
              <a:xfrm>
                <a:off x="1784" y="2170"/>
                <a:ext cx="41" cy="41"/>
              </a:xfrm>
              <a:custGeom>
                <a:avLst/>
                <a:gdLst>
                  <a:gd name="T0" fmla="*/ 55 w 123"/>
                  <a:gd name="T1" fmla="*/ 123 h 124"/>
                  <a:gd name="T2" fmla="*/ 43 w 123"/>
                  <a:gd name="T3" fmla="*/ 121 h 124"/>
                  <a:gd name="T4" fmla="*/ 32 w 123"/>
                  <a:gd name="T5" fmla="*/ 117 h 124"/>
                  <a:gd name="T6" fmla="*/ 21 w 123"/>
                  <a:gd name="T7" fmla="*/ 109 h 124"/>
                  <a:gd name="T8" fmla="*/ 14 w 123"/>
                  <a:gd name="T9" fmla="*/ 102 h 124"/>
                  <a:gd name="T10" fmla="*/ 6 w 123"/>
                  <a:gd name="T11" fmla="*/ 92 h 124"/>
                  <a:gd name="T12" fmla="*/ 2 w 123"/>
                  <a:gd name="T13" fmla="*/ 80 h 124"/>
                  <a:gd name="T14" fmla="*/ 0 w 123"/>
                  <a:gd name="T15" fmla="*/ 68 h 124"/>
                  <a:gd name="T16" fmla="*/ 0 w 123"/>
                  <a:gd name="T17" fmla="*/ 55 h 124"/>
                  <a:gd name="T18" fmla="*/ 2 w 123"/>
                  <a:gd name="T19" fmla="*/ 43 h 124"/>
                  <a:gd name="T20" fmla="*/ 6 w 123"/>
                  <a:gd name="T21" fmla="*/ 32 h 124"/>
                  <a:gd name="T22" fmla="*/ 14 w 123"/>
                  <a:gd name="T23" fmla="*/ 23 h 124"/>
                  <a:gd name="T24" fmla="*/ 21 w 123"/>
                  <a:gd name="T25" fmla="*/ 14 h 124"/>
                  <a:gd name="T26" fmla="*/ 32 w 123"/>
                  <a:gd name="T27" fmla="*/ 8 h 124"/>
                  <a:gd name="T28" fmla="*/ 43 w 123"/>
                  <a:gd name="T29" fmla="*/ 2 h 124"/>
                  <a:gd name="T30" fmla="*/ 55 w 123"/>
                  <a:gd name="T31" fmla="*/ 0 h 124"/>
                  <a:gd name="T32" fmla="*/ 68 w 123"/>
                  <a:gd name="T33" fmla="*/ 0 h 124"/>
                  <a:gd name="T34" fmla="*/ 79 w 123"/>
                  <a:gd name="T35" fmla="*/ 2 h 124"/>
                  <a:gd name="T36" fmla="*/ 90 w 123"/>
                  <a:gd name="T37" fmla="*/ 8 h 124"/>
                  <a:gd name="T38" fmla="*/ 100 w 123"/>
                  <a:gd name="T39" fmla="*/ 14 h 124"/>
                  <a:gd name="T40" fmla="*/ 109 w 123"/>
                  <a:gd name="T41" fmla="*/ 23 h 124"/>
                  <a:gd name="T42" fmla="*/ 115 w 123"/>
                  <a:gd name="T43" fmla="*/ 32 h 124"/>
                  <a:gd name="T44" fmla="*/ 120 w 123"/>
                  <a:gd name="T45" fmla="*/ 43 h 124"/>
                  <a:gd name="T46" fmla="*/ 123 w 123"/>
                  <a:gd name="T47" fmla="*/ 55 h 124"/>
                  <a:gd name="T48" fmla="*/ 123 w 123"/>
                  <a:gd name="T49" fmla="*/ 68 h 124"/>
                  <a:gd name="T50" fmla="*/ 120 w 123"/>
                  <a:gd name="T51" fmla="*/ 80 h 124"/>
                  <a:gd name="T52" fmla="*/ 115 w 123"/>
                  <a:gd name="T53" fmla="*/ 92 h 124"/>
                  <a:gd name="T54" fmla="*/ 109 w 123"/>
                  <a:gd name="T55" fmla="*/ 102 h 124"/>
                  <a:gd name="T56" fmla="*/ 100 w 123"/>
                  <a:gd name="T57" fmla="*/ 109 h 124"/>
                  <a:gd name="T58" fmla="*/ 90 w 123"/>
                  <a:gd name="T59" fmla="*/ 117 h 124"/>
                  <a:gd name="T60" fmla="*/ 79 w 123"/>
                  <a:gd name="T61" fmla="*/ 121 h 124"/>
                  <a:gd name="T62" fmla="*/ 68 w 123"/>
                  <a:gd name="T63" fmla="*/ 123 h 124"/>
                  <a:gd name="T64" fmla="*/ 61 w 123"/>
                  <a:gd name="T65" fmla="*/ 27 h 124"/>
                  <a:gd name="T66" fmla="*/ 54 w 123"/>
                  <a:gd name="T67" fmla="*/ 28 h 124"/>
                  <a:gd name="T68" fmla="*/ 42 w 123"/>
                  <a:gd name="T69" fmla="*/ 32 h 124"/>
                  <a:gd name="T70" fmla="*/ 32 w 123"/>
                  <a:gd name="T71" fmla="*/ 42 h 124"/>
                  <a:gd name="T72" fmla="*/ 27 w 123"/>
                  <a:gd name="T73" fmla="*/ 55 h 124"/>
                  <a:gd name="T74" fmla="*/ 27 w 123"/>
                  <a:gd name="T75" fmla="*/ 69 h 124"/>
                  <a:gd name="T76" fmla="*/ 32 w 123"/>
                  <a:gd name="T77" fmla="*/ 81 h 124"/>
                  <a:gd name="T78" fmla="*/ 42 w 123"/>
                  <a:gd name="T79" fmla="*/ 91 h 124"/>
                  <a:gd name="T80" fmla="*/ 54 w 123"/>
                  <a:gd name="T81" fmla="*/ 96 h 124"/>
                  <a:gd name="T82" fmla="*/ 68 w 123"/>
                  <a:gd name="T83" fmla="*/ 96 h 124"/>
                  <a:gd name="T84" fmla="*/ 81 w 123"/>
                  <a:gd name="T85" fmla="*/ 91 h 124"/>
                  <a:gd name="T86" fmla="*/ 90 w 123"/>
                  <a:gd name="T87" fmla="*/ 81 h 124"/>
                  <a:gd name="T88" fmla="*/ 96 w 123"/>
                  <a:gd name="T89" fmla="*/ 69 h 124"/>
                  <a:gd name="T90" fmla="*/ 96 w 123"/>
                  <a:gd name="T91" fmla="*/ 55 h 124"/>
                  <a:gd name="T92" fmla="*/ 90 w 123"/>
                  <a:gd name="T93" fmla="*/ 42 h 124"/>
                  <a:gd name="T94" fmla="*/ 81 w 123"/>
                  <a:gd name="T95" fmla="*/ 32 h 124"/>
                  <a:gd name="T96" fmla="*/ 68 w 123"/>
                  <a:gd name="T97" fmla="*/ 2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3" h="124">
                    <a:moveTo>
                      <a:pt x="61" y="124"/>
                    </a:moveTo>
                    <a:lnTo>
                      <a:pt x="55" y="123"/>
                    </a:lnTo>
                    <a:lnTo>
                      <a:pt x="48" y="122"/>
                    </a:lnTo>
                    <a:lnTo>
                      <a:pt x="43" y="121"/>
                    </a:lnTo>
                    <a:lnTo>
                      <a:pt x="37" y="119"/>
                    </a:lnTo>
                    <a:lnTo>
                      <a:pt x="32" y="117"/>
                    </a:lnTo>
                    <a:lnTo>
                      <a:pt x="27" y="113"/>
                    </a:lnTo>
                    <a:lnTo>
                      <a:pt x="21" y="109"/>
                    </a:lnTo>
                    <a:lnTo>
                      <a:pt x="17" y="106"/>
                    </a:lnTo>
                    <a:lnTo>
                      <a:pt x="14" y="102"/>
                    </a:lnTo>
                    <a:lnTo>
                      <a:pt x="9" y="96"/>
                    </a:lnTo>
                    <a:lnTo>
                      <a:pt x="6" y="92"/>
                    </a:lnTo>
                    <a:lnTo>
                      <a:pt x="4" y="86"/>
                    </a:lnTo>
                    <a:lnTo>
                      <a:pt x="2" y="80"/>
                    </a:lnTo>
                    <a:lnTo>
                      <a:pt x="1" y="75"/>
                    </a:lnTo>
                    <a:lnTo>
                      <a:pt x="0" y="68"/>
                    </a:lnTo>
                    <a:lnTo>
                      <a:pt x="0" y="62"/>
                    </a:lnTo>
                    <a:lnTo>
                      <a:pt x="0" y="55"/>
                    </a:lnTo>
                    <a:lnTo>
                      <a:pt x="1" y="50"/>
                    </a:lnTo>
                    <a:lnTo>
                      <a:pt x="2" y="43"/>
                    </a:lnTo>
                    <a:lnTo>
                      <a:pt x="4" y="38"/>
                    </a:lnTo>
                    <a:lnTo>
                      <a:pt x="6" y="32"/>
                    </a:lnTo>
                    <a:lnTo>
                      <a:pt x="9" y="27"/>
                    </a:lnTo>
                    <a:lnTo>
                      <a:pt x="14" y="23"/>
                    </a:lnTo>
                    <a:lnTo>
                      <a:pt x="17" y="18"/>
                    </a:lnTo>
                    <a:lnTo>
                      <a:pt x="21" y="14"/>
                    </a:lnTo>
                    <a:lnTo>
                      <a:pt x="27" y="11"/>
                    </a:lnTo>
                    <a:lnTo>
                      <a:pt x="32" y="8"/>
                    </a:lnTo>
                    <a:lnTo>
                      <a:pt x="37" y="4"/>
                    </a:lnTo>
                    <a:lnTo>
                      <a:pt x="43" y="2"/>
                    </a:lnTo>
                    <a:lnTo>
                      <a:pt x="48" y="1"/>
                    </a:lnTo>
                    <a:lnTo>
                      <a:pt x="55" y="0"/>
                    </a:lnTo>
                    <a:lnTo>
                      <a:pt x="61" y="0"/>
                    </a:lnTo>
                    <a:lnTo>
                      <a:pt x="68" y="0"/>
                    </a:lnTo>
                    <a:lnTo>
                      <a:pt x="73" y="1"/>
                    </a:lnTo>
                    <a:lnTo>
                      <a:pt x="79" y="2"/>
                    </a:lnTo>
                    <a:lnTo>
                      <a:pt x="85" y="4"/>
                    </a:lnTo>
                    <a:lnTo>
                      <a:pt x="90" y="8"/>
                    </a:lnTo>
                    <a:lnTo>
                      <a:pt x="96" y="11"/>
                    </a:lnTo>
                    <a:lnTo>
                      <a:pt x="100" y="14"/>
                    </a:lnTo>
                    <a:lnTo>
                      <a:pt x="104" y="18"/>
                    </a:lnTo>
                    <a:lnTo>
                      <a:pt x="109" y="23"/>
                    </a:lnTo>
                    <a:lnTo>
                      <a:pt x="112" y="27"/>
                    </a:lnTo>
                    <a:lnTo>
                      <a:pt x="115" y="32"/>
                    </a:lnTo>
                    <a:lnTo>
                      <a:pt x="118" y="38"/>
                    </a:lnTo>
                    <a:lnTo>
                      <a:pt x="120" y="43"/>
                    </a:lnTo>
                    <a:lnTo>
                      <a:pt x="122" y="50"/>
                    </a:lnTo>
                    <a:lnTo>
                      <a:pt x="123" y="55"/>
                    </a:lnTo>
                    <a:lnTo>
                      <a:pt x="123" y="62"/>
                    </a:lnTo>
                    <a:lnTo>
                      <a:pt x="123" y="68"/>
                    </a:lnTo>
                    <a:lnTo>
                      <a:pt x="122" y="75"/>
                    </a:lnTo>
                    <a:lnTo>
                      <a:pt x="120" y="80"/>
                    </a:lnTo>
                    <a:lnTo>
                      <a:pt x="118" y="86"/>
                    </a:lnTo>
                    <a:lnTo>
                      <a:pt x="115" y="92"/>
                    </a:lnTo>
                    <a:lnTo>
                      <a:pt x="112" y="96"/>
                    </a:lnTo>
                    <a:lnTo>
                      <a:pt x="109" y="102"/>
                    </a:lnTo>
                    <a:lnTo>
                      <a:pt x="104" y="106"/>
                    </a:lnTo>
                    <a:lnTo>
                      <a:pt x="100" y="109"/>
                    </a:lnTo>
                    <a:lnTo>
                      <a:pt x="96" y="113"/>
                    </a:lnTo>
                    <a:lnTo>
                      <a:pt x="90" y="117"/>
                    </a:lnTo>
                    <a:lnTo>
                      <a:pt x="85" y="119"/>
                    </a:lnTo>
                    <a:lnTo>
                      <a:pt x="79" y="121"/>
                    </a:lnTo>
                    <a:lnTo>
                      <a:pt x="73" y="122"/>
                    </a:lnTo>
                    <a:lnTo>
                      <a:pt x="68" y="123"/>
                    </a:lnTo>
                    <a:lnTo>
                      <a:pt x="61" y="124"/>
                    </a:lnTo>
                    <a:close/>
                    <a:moveTo>
                      <a:pt x="61" y="27"/>
                    </a:moveTo>
                    <a:lnTo>
                      <a:pt x="61" y="27"/>
                    </a:lnTo>
                    <a:lnTo>
                      <a:pt x="54" y="28"/>
                    </a:lnTo>
                    <a:lnTo>
                      <a:pt x="47" y="29"/>
                    </a:lnTo>
                    <a:lnTo>
                      <a:pt x="42" y="32"/>
                    </a:lnTo>
                    <a:lnTo>
                      <a:pt x="36" y="37"/>
                    </a:lnTo>
                    <a:lnTo>
                      <a:pt x="32" y="42"/>
                    </a:lnTo>
                    <a:lnTo>
                      <a:pt x="29" y="49"/>
                    </a:lnTo>
                    <a:lnTo>
                      <a:pt x="27" y="55"/>
                    </a:lnTo>
                    <a:lnTo>
                      <a:pt x="27" y="62"/>
                    </a:lnTo>
                    <a:lnTo>
                      <a:pt x="27" y="69"/>
                    </a:lnTo>
                    <a:lnTo>
                      <a:pt x="29" y="76"/>
                    </a:lnTo>
                    <a:lnTo>
                      <a:pt x="32" y="81"/>
                    </a:lnTo>
                    <a:lnTo>
                      <a:pt x="36" y="86"/>
                    </a:lnTo>
                    <a:lnTo>
                      <a:pt x="42" y="91"/>
                    </a:lnTo>
                    <a:lnTo>
                      <a:pt x="47" y="94"/>
                    </a:lnTo>
                    <a:lnTo>
                      <a:pt x="54" y="96"/>
                    </a:lnTo>
                    <a:lnTo>
                      <a:pt x="61" y="97"/>
                    </a:lnTo>
                    <a:lnTo>
                      <a:pt x="68" y="96"/>
                    </a:lnTo>
                    <a:lnTo>
                      <a:pt x="74" y="94"/>
                    </a:lnTo>
                    <a:lnTo>
                      <a:pt x="81" y="91"/>
                    </a:lnTo>
                    <a:lnTo>
                      <a:pt x="86" y="86"/>
                    </a:lnTo>
                    <a:lnTo>
                      <a:pt x="90" y="81"/>
                    </a:lnTo>
                    <a:lnTo>
                      <a:pt x="93" y="76"/>
                    </a:lnTo>
                    <a:lnTo>
                      <a:pt x="96" y="69"/>
                    </a:lnTo>
                    <a:lnTo>
                      <a:pt x="96" y="62"/>
                    </a:lnTo>
                    <a:lnTo>
                      <a:pt x="96" y="55"/>
                    </a:lnTo>
                    <a:lnTo>
                      <a:pt x="93" y="49"/>
                    </a:lnTo>
                    <a:lnTo>
                      <a:pt x="90" y="42"/>
                    </a:lnTo>
                    <a:lnTo>
                      <a:pt x="86" y="37"/>
                    </a:lnTo>
                    <a:lnTo>
                      <a:pt x="81" y="32"/>
                    </a:lnTo>
                    <a:lnTo>
                      <a:pt x="74" y="29"/>
                    </a:lnTo>
                    <a:lnTo>
                      <a:pt x="68" y="28"/>
                    </a:lnTo>
                    <a:lnTo>
                      <a:pt x="6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92"/>
              <p:cNvSpPr>
                <a:spLocks noEditPoints="1"/>
              </p:cNvSpPr>
              <p:nvPr userDrawn="1"/>
            </p:nvSpPr>
            <p:spPr bwMode="auto">
              <a:xfrm>
                <a:off x="1816" y="2075"/>
                <a:ext cx="41" cy="41"/>
              </a:xfrm>
              <a:custGeom>
                <a:avLst/>
                <a:gdLst>
                  <a:gd name="T0" fmla="*/ 56 w 124"/>
                  <a:gd name="T1" fmla="*/ 123 h 123"/>
                  <a:gd name="T2" fmla="*/ 44 w 124"/>
                  <a:gd name="T3" fmla="*/ 121 h 123"/>
                  <a:gd name="T4" fmla="*/ 32 w 124"/>
                  <a:gd name="T5" fmla="*/ 116 h 123"/>
                  <a:gd name="T6" fmla="*/ 22 w 124"/>
                  <a:gd name="T7" fmla="*/ 109 h 123"/>
                  <a:gd name="T8" fmla="*/ 14 w 124"/>
                  <a:gd name="T9" fmla="*/ 100 h 123"/>
                  <a:gd name="T10" fmla="*/ 7 w 124"/>
                  <a:gd name="T11" fmla="*/ 91 h 123"/>
                  <a:gd name="T12" fmla="*/ 3 w 124"/>
                  <a:gd name="T13" fmla="*/ 80 h 123"/>
                  <a:gd name="T14" fmla="*/ 1 w 124"/>
                  <a:gd name="T15" fmla="*/ 68 h 123"/>
                  <a:gd name="T16" fmla="*/ 1 w 124"/>
                  <a:gd name="T17" fmla="*/ 55 h 123"/>
                  <a:gd name="T18" fmla="*/ 3 w 124"/>
                  <a:gd name="T19" fmla="*/ 43 h 123"/>
                  <a:gd name="T20" fmla="*/ 7 w 124"/>
                  <a:gd name="T21" fmla="*/ 32 h 123"/>
                  <a:gd name="T22" fmla="*/ 14 w 124"/>
                  <a:gd name="T23" fmla="*/ 22 h 123"/>
                  <a:gd name="T24" fmla="*/ 22 w 124"/>
                  <a:gd name="T25" fmla="*/ 14 h 123"/>
                  <a:gd name="T26" fmla="*/ 32 w 124"/>
                  <a:gd name="T27" fmla="*/ 8 h 123"/>
                  <a:gd name="T28" fmla="*/ 44 w 124"/>
                  <a:gd name="T29" fmla="*/ 2 h 123"/>
                  <a:gd name="T30" fmla="*/ 56 w 124"/>
                  <a:gd name="T31" fmla="*/ 0 h 123"/>
                  <a:gd name="T32" fmla="*/ 68 w 124"/>
                  <a:gd name="T33" fmla="*/ 0 h 123"/>
                  <a:gd name="T34" fmla="*/ 81 w 124"/>
                  <a:gd name="T35" fmla="*/ 2 h 123"/>
                  <a:gd name="T36" fmla="*/ 91 w 124"/>
                  <a:gd name="T37" fmla="*/ 8 h 123"/>
                  <a:gd name="T38" fmla="*/ 101 w 124"/>
                  <a:gd name="T39" fmla="*/ 14 h 123"/>
                  <a:gd name="T40" fmla="*/ 110 w 124"/>
                  <a:gd name="T41" fmla="*/ 22 h 123"/>
                  <a:gd name="T42" fmla="*/ 116 w 124"/>
                  <a:gd name="T43" fmla="*/ 32 h 123"/>
                  <a:gd name="T44" fmla="*/ 121 w 124"/>
                  <a:gd name="T45" fmla="*/ 43 h 123"/>
                  <a:gd name="T46" fmla="*/ 124 w 124"/>
                  <a:gd name="T47" fmla="*/ 55 h 123"/>
                  <a:gd name="T48" fmla="*/ 124 w 124"/>
                  <a:gd name="T49" fmla="*/ 68 h 123"/>
                  <a:gd name="T50" fmla="*/ 121 w 124"/>
                  <a:gd name="T51" fmla="*/ 80 h 123"/>
                  <a:gd name="T52" fmla="*/ 116 w 124"/>
                  <a:gd name="T53" fmla="*/ 91 h 123"/>
                  <a:gd name="T54" fmla="*/ 110 w 124"/>
                  <a:gd name="T55" fmla="*/ 100 h 123"/>
                  <a:gd name="T56" fmla="*/ 101 w 124"/>
                  <a:gd name="T57" fmla="*/ 109 h 123"/>
                  <a:gd name="T58" fmla="*/ 91 w 124"/>
                  <a:gd name="T59" fmla="*/ 116 h 123"/>
                  <a:gd name="T60" fmla="*/ 81 w 124"/>
                  <a:gd name="T61" fmla="*/ 121 h 123"/>
                  <a:gd name="T62" fmla="*/ 68 w 124"/>
                  <a:gd name="T63" fmla="*/ 123 h 123"/>
                  <a:gd name="T64" fmla="*/ 62 w 124"/>
                  <a:gd name="T65" fmla="*/ 27 h 123"/>
                  <a:gd name="T66" fmla="*/ 55 w 124"/>
                  <a:gd name="T67" fmla="*/ 27 h 123"/>
                  <a:gd name="T68" fmla="*/ 42 w 124"/>
                  <a:gd name="T69" fmla="*/ 32 h 123"/>
                  <a:gd name="T70" fmla="*/ 33 w 124"/>
                  <a:gd name="T71" fmla="*/ 42 h 123"/>
                  <a:gd name="T72" fmla="*/ 28 w 124"/>
                  <a:gd name="T73" fmla="*/ 54 h 123"/>
                  <a:gd name="T74" fmla="*/ 28 w 124"/>
                  <a:gd name="T75" fmla="*/ 68 h 123"/>
                  <a:gd name="T76" fmla="*/ 33 w 124"/>
                  <a:gd name="T77" fmla="*/ 81 h 123"/>
                  <a:gd name="T78" fmla="*/ 42 w 124"/>
                  <a:gd name="T79" fmla="*/ 91 h 123"/>
                  <a:gd name="T80" fmla="*/ 55 w 124"/>
                  <a:gd name="T81" fmla="*/ 96 h 123"/>
                  <a:gd name="T82" fmla="*/ 69 w 124"/>
                  <a:gd name="T83" fmla="*/ 96 h 123"/>
                  <a:gd name="T84" fmla="*/ 82 w 124"/>
                  <a:gd name="T85" fmla="*/ 91 h 123"/>
                  <a:gd name="T86" fmla="*/ 90 w 124"/>
                  <a:gd name="T87" fmla="*/ 81 h 123"/>
                  <a:gd name="T88" fmla="*/ 96 w 124"/>
                  <a:gd name="T89" fmla="*/ 68 h 123"/>
                  <a:gd name="T90" fmla="*/ 96 w 124"/>
                  <a:gd name="T91" fmla="*/ 54 h 123"/>
                  <a:gd name="T92" fmla="*/ 90 w 124"/>
                  <a:gd name="T93" fmla="*/ 42 h 123"/>
                  <a:gd name="T94" fmla="*/ 82 w 124"/>
                  <a:gd name="T95" fmla="*/ 32 h 123"/>
                  <a:gd name="T96" fmla="*/ 69 w 124"/>
                  <a:gd name="T97"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3">
                    <a:moveTo>
                      <a:pt x="62" y="123"/>
                    </a:moveTo>
                    <a:lnTo>
                      <a:pt x="56" y="123"/>
                    </a:lnTo>
                    <a:lnTo>
                      <a:pt x="49" y="122"/>
                    </a:lnTo>
                    <a:lnTo>
                      <a:pt x="44" y="121"/>
                    </a:lnTo>
                    <a:lnTo>
                      <a:pt x="37" y="119"/>
                    </a:lnTo>
                    <a:lnTo>
                      <a:pt x="32" y="116"/>
                    </a:lnTo>
                    <a:lnTo>
                      <a:pt x="28" y="112"/>
                    </a:lnTo>
                    <a:lnTo>
                      <a:pt x="22" y="109"/>
                    </a:lnTo>
                    <a:lnTo>
                      <a:pt x="18" y="105"/>
                    </a:lnTo>
                    <a:lnTo>
                      <a:pt x="14" y="100"/>
                    </a:lnTo>
                    <a:lnTo>
                      <a:pt x="10" y="96"/>
                    </a:lnTo>
                    <a:lnTo>
                      <a:pt x="7" y="91"/>
                    </a:lnTo>
                    <a:lnTo>
                      <a:pt x="5" y="85"/>
                    </a:lnTo>
                    <a:lnTo>
                      <a:pt x="3" y="80"/>
                    </a:lnTo>
                    <a:lnTo>
                      <a:pt x="1" y="73"/>
                    </a:lnTo>
                    <a:lnTo>
                      <a:pt x="1" y="68"/>
                    </a:lnTo>
                    <a:lnTo>
                      <a:pt x="0" y="62"/>
                    </a:lnTo>
                    <a:lnTo>
                      <a:pt x="1" y="55"/>
                    </a:lnTo>
                    <a:lnTo>
                      <a:pt x="1" y="49"/>
                    </a:lnTo>
                    <a:lnTo>
                      <a:pt x="3" y="43"/>
                    </a:lnTo>
                    <a:lnTo>
                      <a:pt x="5" y="38"/>
                    </a:lnTo>
                    <a:lnTo>
                      <a:pt x="7" y="32"/>
                    </a:lnTo>
                    <a:lnTo>
                      <a:pt x="10" y="27"/>
                    </a:lnTo>
                    <a:lnTo>
                      <a:pt x="14" y="22"/>
                    </a:lnTo>
                    <a:lnTo>
                      <a:pt x="18" y="17"/>
                    </a:lnTo>
                    <a:lnTo>
                      <a:pt x="22" y="14"/>
                    </a:lnTo>
                    <a:lnTo>
                      <a:pt x="28" y="10"/>
                    </a:lnTo>
                    <a:lnTo>
                      <a:pt x="32" y="8"/>
                    </a:lnTo>
                    <a:lnTo>
                      <a:pt x="37" y="4"/>
                    </a:lnTo>
                    <a:lnTo>
                      <a:pt x="44" y="2"/>
                    </a:lnTo>
                    <a:lnTo>
                      <a:pt x="49" y="1"/>
                    </a:lnTo>
                    <a:lnTo>
                      <a:pt x="56" y="0"/>
                    </a:lnTo>
                    <a:lnTo>
                      <a:pt x="62" y="0"/>
                    </a:lnTo>
                    <a:lnTo>
                      <a:pt x="68" y="0"/>
                    </a:lnTo>
                    <a:lnTo>
                      <a:pt x="74" y="1"/>
                    </a:lnTo>
                    <a:lnTo>
                      <a:pt x="81" y="2"/>
                    </a:lnTo>
                    <a:lnTo>
                      <a:pt x="86" y="4"/>
                    </a:lnTo>
                    <a:lnTo>
                      <a:pt x="91" y="8"/>
                    </a:lnTo>
                    <a:lnTo>
                      <a:pt x="97" y="10"/>
                    </a:lnTo>
                    <a:lnTo>
                      <a:pt x="101" y="14"/>
                    </a:lnTo>
                    <a:lnTo>
                      <a:pt x="105" y="17"/>
                    </a:lnTo>
                    <a:lnTo>
                      <a:pt x="110" y="22"/>
                    </a:lnTo>
                    <a:lnTo>
                      <a:pt x="113" y="27"/>
                    </a:lnTo>
                    <a:lnTo>
                      <a:pt x="116" y="32"/>
                    </a:lnTo>
                    <a:lnTo>
                      <a:pt x="118" y="38"/>
                    </a:lnTo>
                    <a:lnTo>
                      <a:pt x="121" y="43"/>
                    </a:lnTo>
                    <a:lnTo>
                      <a:pt x="123" y="49"/>
                    </a:lnTo>
                    <a:lnTo>
                      <a:pt x="124" y="55"/>
                    </a:lnTo>
                    <a:lnTo>
                      <a:pt x="124" y="62"/>
                    </a:lnTo>
                    <a:lnTo>
                      <a:pt x="124" y="68"/>
                    </a:lnTo>
                    <a:lnTo>
                      <a:pt x="123" y="73"/>
                    </a:lnTo>
                    <a:lnTo>
                      <a:pt x="121" y="80"/>
                    </a:lnTo>
                    <a:lnTo>
                      <a:pt x="118" y="85"/>
                    </a:lnTo>
                    <a:lnTo>
                      <a:pt x="116" y="91"/>
                    </a:lnTo>
                    <a:lnTo>
                      <a:pt x="113" y="96"/>
                    </a:lnTo>
                    <a:lnTo>
                      <a:pt x="110" y="100"/>
                    </a:lnTo>
                    <a:lnTo>
                      <a:pt x="105" y="105"/>
                    </a:lnTo>
                    <a:lnTo>
                      <a:pt x="101" y="109"/>
                    </a:lnTo>
                    <a:lnTo>
                      <a:pt x="97" y="112"/>
                    </a:lnTo>
                    <a:lnTo>
                      <a:pt x="91" y="116"/>
                    </a:lnTo>
                    <a:lnTo>
                      <a:pt x="86" y="119"/>
                    </a:lnTo>
                    <a:lnTo>
                      <a:pt x="81" y="121"/>
                    </a:lnTo>
                    <a:lnTo>
                      <a:pt x="74" y="122"/>
                    </a:lnTo>
                    <a:lnTo>
                      <a:pt x="68" y="123"/>
                    </a:lnTo>
                    <a:lnTo>
                      <a:pt x="62" y="123"/>
                    </a:lnTo>
                    <a:close/>
                    <a:moveTo>
                      <a:pt x="62" y="27"/>
                    </a:moveTo>
                    <a:lnTo>
                      <a:pt x="62" y="27"/>
                    </a:lnTo>
                    <a:lnTo>
                      <a:pt x="55" y="27"/>
                    </a:lnTo>
                    <a:lnTo>
                      <a:pt x="48" y="29"/>
                    </a:lnTo>
                    <a:lnTo>
                      <a:pt x="42" y="32"/>
                    </a:lnTo>
                    <a:lnTo>
                      <a:pt x="37" y="37"/>
                    </a:lnTo>
                    <a:lnTo>
                      <a:pt x="33" y="42"/>
                    </a:lnTo>
                    <a:lnTo>
                      <a:pt x="30" y="48"/>
                    </a:lnTo>
                    <a:lnTo>
                      <a:pt x="28" y="54"/>
                    </a:lnTo>
                    <a:lnTo>
                      <a:pt x="27" y="62"/>
                    </a:lnTo>
                    <a:lnTo>
                      <a:pt x="28" y="68"/>
                    </a:lnTo>
                    <a:lnTo>
                      <a:pt x="30" y="76"/>
                    </a:lnTo>
                    <a:lnTo>
                      <a:pt x="33" y="81"/>
                    </a:lnTo>
                    <a:lnTo>
                      <a:pt x="37" y="86"/>
                    </a:lnTo>
                    <a:lnTo>
                      <a:pt x="42" y="91"/>
                    </a:lnTo>
                    <a:lnTo>
                      <a:pt x="48" y="94"/>
                    </a:lnTo>
                    <a:lnTo>
                      <a:pt x="55" y="96"/>
                    </a:lnTo>
                    <a:lnTo>
                      <a:pt x="62" y="96"/>
                    </a:lnTo>
                    <a:lnTo>
                      <a:pt x="69" y="96"/>
                    </a:lnTo>
                    <a:lnTo>
                      <a:pt x="75" y="94"/>
                    </a:lnTo>
                    <a:lnTo>
                      <a:pt x="82" y="91"/>
                    </a:lnTo>
                    <a:lnTo>
                      <a:pt x="86" y="86"/>
                    </a:lnTo>
                    <a:lnTo>
                      <a:pt x="90" y="81"/>
                    </a:lnTo>
                    <a:lnTo>
                      <a:pt x="94" y="76"/>
                    </a:lnTo>
                    <a:lnTo>
                      <a:pt x="96" y="68"/>
                    </a:lnTo>
                    <a:lnTo>
                      <a:pt x="97" y="62"/>
                    </a:lnTo>
                    <a:lnTo>
                      <a:pt x="96" y="54"/>
                    </a:lnTo>
                    <a:lnTo>
                      <a:pt x="94" y="48"/>
                    </a:lnTo>
                    <a:lnTo>
                      <a:pt x="90" y="42"/>
                    </a:lnTo>
                    <a:lnTo>
                      <a:pt x="86" y="37"/>
                    </a:lnTo>
                    <a:lnTo>
                      <a:pt x="82" y="32"/>
                    </a:lnTo>
                    <a:lnTo>
                      <a:pt x="75" y="29"/>
                    </a:lnTo>
                    <a:lnTo>
                      <a:pt x="69" y="27"/>
                    </a:lnTo>
                    <a:lnTo>
                      <a:pt x="6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93"/>
              <p:cNvSpPr>
                <a:spLocks/>
              </p:cNvSpPr>
              <p:nvPr userDrawn="1"/>
            </p:nvSpPr>
            <p:spPr bwMode="auto">
              <a:xfrm>
                <a:off x="270" y="2980"/>
                <a:ext cx="1155" cy="1340"/>
              </a:xfrm>
              <a:custGeom>
                <a:avLst/>
                <a:gdLst>
                  <a:gd name="T0" fmla="*/ 98 w 3465"/>
                  <a:gd name="T1" fmla="*/ 3820 h 4020"/>
                  <a:gd name="T2" fmla="*/ 273 w 3465"/>
                  <a:gd name="T3" fmla="*/ 3491 h 4020"/>
                  <a:gd name="T4" fmla="*/ 452 w 3465"/>
                  <a:gd name="T5" fmla="*/ 3189 h 4020"/>
                  <a:gd name="T6" fmla="*/ 561 w 3465"/>
                  <a:gd name="T7" fmla="*/ 3028 h 4020"/>
                  <a:gd name="T8" fmla="*/ 670 w 3465"/>
                  <a:gd name="T9" fmla="*/ 2888 h 4020"/>
                  <a:gd name="T10" fmla="*/ 779 w 3465"/>
                  <a:gd name="T11" fmla="*/ 2770 h 4020"/>
                  <a:gd name="T12" fmla="*/ 879 w 3465"/>
                  <a:gd name="T13" fmla="*/ 2651 h 4020"/>
                  <a:gd name="T14" fmla="*/ 959 w 3465"/>
                  <a:gd name="T15" fmla="*/ 2529 h 4020"/>
                  <a:gd name="T16" fmla="*/ 1022 w 3465"/>
                  <a:gd name="T17" fmla="*/ 2404 h 4020"/>
                  <a:gd name="T18" fmla="*/ 1072 w 3465"/>
                  <a:gd name="T19" fmla="*/ 2278 h 4020"/>
                  <a:gd name="T20" fmla="*/ 1119 w 3465"/>
                  <a:gd name="T21" fmla="*/ 2118 h 4020"/>
                  <a:gd name="T22" fmla="*/ 1171 w 3465"/>
                  <a:gd name="T23" fmla="*/ 1861 h 4020"/>
                  <a:gd name="T24" fmla="*/ 1197 w 3465"/>
                  <a:gd name="T25" fmla="*/ 1719 h 4020"/>
                  <a:gd name="T26" fmla="*/ 1217 w 3465"/>
                  <a:gd name="T27" fmla="*/ 1612 h 4020"/>
                  <a:gd name="T28" fmla="*/ 1256 w 3465"/>
                  <a:gd name="T29" fmla="*/ 1452 h 4020"/>
                  <a:gd name="T30" fmla="*/ 1314 w 3465"/>
                  <a:gd name="T31" fmla="*/ 1276 h 4020"/>
                  <a:gd name="T32" fmla="*/ 1388 w 3465"/>
                  <a:gd name="T33" fmla="*/ 1105 h 4020"/>
                  <a:gd name="T34" fmla="*/ 1479 w 3465"/>
                  <a:gd name="T35" fmla="*/ 940 h 4020"/>
                  <a:gd name="T36" fmla="*/ 1584 w 3465"/>
                  <a:gd name="T37" fmla="*/ 783 h 4020"/>
                  <a:gd name="T38" fmla="*/ 1703 w 3465"/>
                  <a:gd name="T39" fmla="*/ 634 h 4020"/>
                  <a:gd name="T40" fmla="*/ 1833 w 3465"/>
                  <a:gd name="T41" fmla="*/ 494 h 4020"/>
                  <a:gd name="T42" fmla="*/ 1977 w 3465"/>
                  <a:gd name="T43" fmla="*/ 367 h 4020"/>
                  <a:gd name="T44" fmla="*/ 2154 w 3465"/>
                  <a:gd name="T45" fmla="*/ 248 h 4020"/>
                  <a:gd name="T46" fmla="*/ 2370 w 3465"/>
                  <a:gd name="T47" fmla="*/ 155 h 4020"/>
                  <a:gd name="T48" fmla="*/ 2604 w 3465"/>
                  <a:gd name="T49" fmla="*/ 90 h 4020"/>
                  <a:gd name="T50" fmla="*/ 2841 w 3465"/>
                  <a:gd name="T51" fmla="*/ 45 h 4020"/>
                  <a:gd name="T52" fmla="*/ 3060 w 3465"/>
                  <a:gd name="T53" fmla="*/ 18 h 4020"/>
                  <a:gd name="T54" fmla="*/ 3354 w 3465"/>
                  <a:gd name="T55" fmla="*/ 1 h 4020"/>
                  <a:gd name="T56" fmla="*/ 3456 w 3465"/>
                  <a:gd name="T57" fmla="*/ 1 h 4020"/>
                  <a:gd name="T58" fmla="*/ 3464 w 3465"/>
                  <a:gd name="T59" fmla="*/ 18 h 4020"/>
                  <a:gd name="T60" fmla="*/ 3438 w 3465"/>
                  <a:gd name="T61" fmla="*/ 27 h 4020"/>
                  <a:gd name="T62" fmla="*/ 3206 w 3465"/>
                  <a:gd name="T63" fmla="*/ 35 h 4020"/>
                  <a:gd name="T64" fmla="*/ 2959 w 3465"/>
                  <a:gd name="T65" fmla="*/ 56 h 4020"/>
                  <a:gd name="T66" fmla="*/ 2731 w 3465"/>
                  <a:gd name="T67" fmla="*/ 91 h 4020"/>
                  <a:gd name="T68" fmla="*/ 2495 w 3465"/>
                  <a:gd name="T69" fmla="*/ 145 h 4020"/>
                  <a:gd name="T70" fmla="*/ 2271 w 3465"/>
                  <a:gd name="T71" fmla="*/ 222 h 4020"/>
                  <a:gd name="T72" fmla="*/ 2074 w 3465"/>
                  <a:gd name="T73" fmla="*/ 327 h 4020"/>
                  <a:gd name="T74" fmla="*/ 1922 w 3465"/>
                  <a:gd name="T75" fmla="*/ 450 h 4020"/>
                  <a:gd name="T76" fmla="*/ 1786 w 3465"/>
                  <a:gd name="T77" fmla="*/ 582 h 4020"/>
                  <a:gd name="T78" fmla="*/ 1663 w 3465"/>
                  <a:gd name="T79" fmla="*/ 724 h 4020"/>
                  <a:gd name="T80" fmla="*/ 1553 w 3465"/>
                  <a:gd name="T81" fmla="*/ 875 h 4020"/>
                  <a:gd name="T82" fmla="*/ 1455 w 3465"/>
                  <a:gd name="T83" fmla="*/ 1035 h 4020"/>
                  <a:gd name="T84" fmla="*/ 1374 w 3465"/>
                  <a:gd name="T85" fmla="*/ 1200 h 4020"/>
                  <a:gd name="T86" fmla="*/ 1309 w 3465"/>
                  <a:gd name="T87" fmla="*/ 1372 h 4020"/>
                  <a:gd name="T88" fmla="*/ 1259 w 3465"/>
                  <a:gd name="T89" fmla="*/ 1547 h 4020"/>
                  <a:gd name="T90" fmla="*/ 1233 w 3465"/>
                  <a:gd name="T91" fmla="*/ 1670 h 4020"/>
                  <a:gd name="T92" fmla="*/ 1214 w 3465"/>
                  <a:gd name="T93" fmla="*/ 1776 h 4020"/>
                  <a:gd name="T94" fmla="*/ 1174 w 3465"/>
                  <a:gd name="T95" fmla="*/ 1997 h 4020"/>
                  <a:gd name="T96" fmla="*/ 1117 w 3465"/>
                  <a:gd name="T97" fmla="*/ 2224 h 4020"/>
                  <a:gd name="T98" fmla="*/ 1073 w 3465"/>
                  <a:gd name="T99" fmla="*/ 2353 h 4020"/>
                  <a:gd name="T100" fmla="*/ 1016 w 3465"/>
                  <a:gd name="T101" fmla="*/ 2481 h 4020"/>
                  <a:gd name="T102" fmla="*/ 944 w 3465"/>
                  <a:gd name="T103" fmla="*/ 2606 h 4020"/>
                  <a:gd name="T104" fmla="*/ 852 w 3465"/>
                  <a:gd name="T105" fmla="*/ 2728 h 4020"/>
                  <a:gd name="T106" fmla="*/ 744 w 3465"/>
                  <a:gd name="T107" fmla="*/ 2844 h 4020"/>
                  <a:gd name="T108" fmla="*/ 638 w 3465"/>
                  <a:gd name="T109" fmla="*/ 2971 h 4020"/>
                  <a:gd name="T110" fmla="*/ 531 w 3465"/>
                  <a:gd name="T111" fmla="*/ 3119 h 4020"/>
                  <a:gd name="T112" fmla="*/ 400 w 3465"/>
                  <a:gd name="T113" fmla="*/ 3324 h 4020"/>
                  <a:gd name="T114" fmla="*/ 209 w 3465"/>
                  <a:gd name="T115" fmla="*/ 3664 h 4020"/>
                  <a:gd name="T116" fmla="*/ 58 w 3465"/>
                  <a:gd name="T117" fmla="*/ 3960 h 4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65" h="4020">
                    <a:moveTo>
                      <a:pt x="0" y="4020"/>
                    </a:moveTo>
                    <a:lnTo>
                      <a:pt x="28" y="3961"/>
                    </a:lnTo>
                    <a:lnTo>
                      <a:pt x="61" y="3894"/>
                    </a:lnTo>
                    <a:lnTo>
                      <a:pt x="98" y="3820"/>
                    </a:lnTo>
                    <a:lnTo>
                      <a:pt x="137" y="3744"/>
                    </a:lnTo>
                    <a:lnTo>
                      <a:pt x="180" y="3662"/>
                    </a:lnTo>
                    <a:lnTo>
                      <a:pt x="226" y="3577"/>
                    </a:lnTo>
                    <a:lnTo>
                      <a:pt x="273" y="3491"/>
                    </a:lnTo>
                    <a:lnTo>
                      <a:pt x="323" y="3404"/>
                    </a:lnTo>
                    <a:lnTo>
                      <a:pt x="373" y="3316"/>
                    </a:lnTo>
                    <a:lnTo>
                      <a:pt x="426" y="3231"/>
                    </a:lnTo>
                    <a:lnTo>
                      <a:pt x="452" y="3189"/>
                    </a:lnTo>
                    <a:lnTo>
                      <a:pt x="479" y="3148"/>
                    </a:lnTo>
                    <a:lnTo>
                      <a:pt x="506" y="3107"/>
                    </a:lnTo>
                    <a:lnTo>
                      <a:pt x="534" y="3067"/>
                    </a:lnTo>
                    <a:lnTo>
                      <a:pt x="561" y="3028"/>
                    </a:lnTo>
                    <a:lnTo>
                      <a:pt x="588" y="2991"/>
                    </a:lnTo>
                    <a:lnTo>
                      <a:pt x="615" y="2955"/>
                    </a:lnTo>
                    <a:lnTo>
                      <a:pt x="643" y="2920"/>
                    </a:lnTo>
                    <a:lnTo>
                      <a:pt x="670" y="2888"/>
                    </a:lnTo>
                    <a:lnTo>
                      <a:pt x="697" y="2856"/>
                    </a:lnTo>
                    <a:lnTo>
                      <a:pt x="724" y="2826"/>
                    </a:lnTo>
                    <a:lnTo>
                      <a:pt x="750" y="2799"/>
                    </a:lnTo>
                    <a:lnTo>
                      <a:pt x="779" y="2770"/>
                    </a:lnTo>
                    <a:lnTo>
                      <a:pt x="805" y="2741"/>
                    </a:lnTo>
                    <a:lnTo>
                      <a:pt x="831" y="2711"/>
                    </a:lnTo>
                    <a:lnTo>
                      <a:pt x="856" y="2681"/>
                    </a:lnTo>
                    <a:lnTo>
                      <a:pt x="879" y="2651"/>
                    </a:lnTo>
                    <a:lnTo>
                      <a:pt x="900" y="2621"/>
                    </a:lnTo>
                    <a:lnTo>
                      <a:pt x="921" y="2591"/>
                    </a:lnTo>
                    <a:lnTo>
                      <a:pt x="940" y="2559"/>
                    </a:lnTo>
                    <a:lnTo>
                      <a:pt x="959" y="2529"/>
                    </a:lnTo>
                    <a:lnTo>
                      <a:pt x="976" y="2498"/>
                    </a:lnTo>
                    <a:lnTo>
                      <a:pt x="992" y="2467"/>
                    </a:lnTo>
                    <a:lnTo>
                      <a:pt x="1007" y="2435"/>
                    </a:lnTo>
                    <a:lnTo>
                      <a:pt x="1022" y="2404"/>
                    </a:lnTo>
                    <a:lnTo>
                      <a:pt x="1035" y="2373"/>
                    </a:lnTo>
                    <a:lnTo>
                      <a:pt x="1048" y="2341"/>
                    </a:lnTo>
                    <a:lnTo>
                      <a:pt x="1060" y="2310"/>
                    </a:lnTo>
                    <a:lnTo>
                      <a:pt x="1072" y="2278"/>
                    </a:lnTo>
                    <a:lnTo>
                      <a:pt x="1082" y="2246"/>
                    </a:lnTo>
                    <a:lnTo>
                      <a:pt x="1093" y="2214"/>
                    </a:lnTo>
                    <a:lnTo>
                      <a:pt x="1101" y="2183"/>
                    </a:lnTo>
                    <a:lnTo>
                      <a:pt x="1119" y="2118"/>
                    </a:lnTo>
                    <a:lnTo>
                      <a:pt x="1134" y="2054"/>
                    </a:lnTo>
                    <a:lnTo>
                      <a:pt x="1148" y="1990"/>
                    </a:lnTo>
                    <a:lnTo>
                      <a:pt x="1160" y="1926"/>
                    </a:lnTo>
                    <a:lnTo>
                      <a:pt x="1171" y="1861"/>
                    </a:lnTo>
                    <a:lnTo>
                      <a:pt x="1182" y="1797"/>
                    </a:lnTo>
                    <a:lnTo>
                      <a:pt x="1188" y="1771"/>
                    </a:lnTo>
                    <a:lnTo>
                      <a:pt x="1192" y="1744"/>
                    </a:lnTo>
                    <a:lnTo>
                      <a:pt x="1197" y="1719"/>
                    </a:lnTo>
                    <a:lnTo>
                      <a:pt x="1202" y="1692"/>
                    </a:lnTo>
                    <a:lnTo>
                      <a:pt x="1207" y="1666"/>
                    </a:lnTo>
                    <a:lnTo>
                      <a:pt x="1211" y="1639"/>
                    </a:lnTo>
                    <a:lnTo>
                      <a:pt x="1217" y="1612"/>
                    </a:lnTo>
                    <a:lnTo>
                      <a:pt x="1222" y="1586"/>
                    </a:lnTo>
                    <a:lnTo>
                      <a:pt x="1232" y="1540"/>
                    </a:lnTo>
                    <a:lnTo>
                      <a:pt x="1243" y="1496"/>
                    </a:lnTo>
                    <a:lnTo>
                      <a:pt x="1256" y="1452"/>
                    </a:lnTo>
                    <a:lnTo>
                      <a:pt x="1269" y="1408"/>
                    </a:lnTo>
                    <a:lnTo>
                      <a:pt x="1283" y="1363"/>
                    </a:lnTo>
                    <a:lnTo>
                      <a:pt x="1298" y="1320"/>
                    </a:lnTo>
                    <a:lnTo>
                      <a:pt x="1314" y="1276"/>
                    </a:lnTo>
                    <a:lnTo>
                      <a:pt x="1331" y="1233"/>
                    </a:lnTo>
                    <a:lnTo>
                      <a:pt x="1350" y="1191"/>
                    </a:lnTo>
                    <a:lnTo>
                      <a:pt x="1369" y="1148"/>
                    </a:lnTo>
                    <a:lnTo>
                      <a:pt x="1388" y="1105"/>
                    </a:lnTo>
                    <a:lnTo>
                      <a:pt x="1410" y="1063"/>
                    </a:lnTo>
                    <a:lnTo>
                      <a:pt x="1432" y="1022"/>
                    </a:lnTo>
                    <a:lnTo>
                      <a:pt x="1455" y="981"/>
                    </a:lnTo>
                    <a:lnTo>
                      <a:pt x="1479" y="940"/>
                    </a:lnTo>
                    <a:lnTo>
                      <a:pt x="1504" y="900"/>
                    </a:lnTo>
                    <a:lnTo>
                      <a:pt x="1530" y="860"/>
                    </a:lnTo>
                    <a:lnTo>
                      <a:pt x="1557" y="822"/>
                    </a:lnTo>
                    <a:lnTo>
                      <a:pt x="1584" y="783"/>
                    </a:lnTo>
                    <a:lnTo>
                      <a:pt x="1612" y="745"/>
                    </a:lnTo>
                    <a:lnTo>
                      <a:pt x="1641" y="707"/>
                    </a:lnTo>
                    <a:lnTo>
                      <a:pt x="1671" y="670"/>
                    </a:lnTo>
                    <a:lnTo>
                      <a:pt x="1703" y="634"/>
                    </a:lnTo>
                    <a:lnTo>
                      <a:pt x="1734" y="598"/>
                    </a:lnTo>
                    <a:lnTo>
                      <a:pt x="1766" y="564"/>
                    </a:lnTo>
                    <a:lnTo>
                      <a:pt x="1800" y="529"/>
                    </a:lnTo>
                    <a:lnTo>
                      <a:pt x="1833" y="494"/>
                    </a:lnTo>
                    <a:lnTo>
                      <a:pt x="1869" y="462"/>
                    </a:lnTo>
                    <a:lnTo>
                      <a:pt x="1904" y="430"/>
                    </a:lnTo>
                    <a:lnTo>
                      <a:pt x="1940" y="398"/>
                    </a:lnTo>
                    <a:lnTo>
                      <a:pt x="1977" y="367"/>
                    </a:lnTo>
                    <a:lnTo>
                      <a:pt x="2015" y="337"/>
                    </a:lnTo>
                    <a:lnTo>
                      <a:pt x="2058" y="306"/>
                    </a:lnTo>
                    <a:lnTo>
                      <a:pt x="2104" y="275"/>
                    </a:lnTo>
                    <a:lnTo>
                      <a:pt x="2154" y="248"/>
                    </a:lnTo>
                    <a:lnTo>
                      <a:pt x="2205" y="222"/>
                    </a:lnTo>
                    <a:lnTo>
                      <a:pt x="2258" y="199"/>
                    </a:lnTo>
                    <a:lnTo>
                      <a:pt x="2313" y="176"/>
                    </a:lnTo>
                    <a:lnTo>
                      <a:pt x="2370" y="155"/>
                    </a:lnTo>
                    <a:lnTo>
                      <a:pt x="2427" y="137"/>
                    </a:lnTo>
                    <a:lnTo>
                      <a:pt x="2486" y="120"/>
                    </a:lnTo>
                    <a:lnTo>
                      <a:pt x="2545" y="104"/>
                    </a:lnTo>
                    <a:lnTo>
                      <a:pt x="2604" y="90"/>
                    </a:lnTo>
                    <a:lnTo>
                      <a:pt x="2664" y="77"/>
                    </a:lnTo>
                    <a:lnTo>
                      <a:pt x="2723" y="65"/>
                    </a:lnTo>
                    <a:lnTo>
                      <a:pt x="2783" y="55"/>
                    </a:lnTo>
                    <a:lnTo>
                      <a:pt x="2841" y="45"/>
                    </a:lnTo>
                    <a:lnTo>
                      <a:pt x="2898" y="37"/>
                    </a:lnTo>
                    <a:lnTo>
                      <a:pt x="2953" y="30"/>
                    </a:lnTo>
                    <a:lnTo>
                      <a:pt x="3008" y="24"/>
                    </a:lnTo>
                    <a:lnTo>
                      <a:pt x="3060" y="18"/>
                    </a:lnTo>
                    <a:lnTo>
                      <a:pt x="3111" y="14"/>
                    </a:lnTo>
                    <a:lnTo>
                      <a:pt x="3204" y="8"/>
                    </a:lnTo>
                    <a:lnTo>
                      <a:pt x="3286" y="3"/>
                    </a:lnTo>
                    <a:lnTo>
                      <a:pt x="3354" y="1"/>
                    </a:lnTo>
                    <a:lnTo>
                      <a:pt x="3406" y="0"/>
                    </a:lnTo>
                    <a:lnTo>
                      <a:pt x="3438" y="0"/>
                    </a:lnTo>
                    <a:lnTo>
                      <a:pt x="3451" y="0"/>
                    </a:lnTo>
                    <a:lnTo>
                      <a:pt x="3456" y="1"/>
                    </a:lnTo>
                    <a:lnTo>
                      <a:pt x="3461" y="4"/>
                    </a:lnTo>
                    <a:lnTo>
                      <a:pt x="3464" y="9"/>
                    </a:lnTo>
                    <a:lnTo>
                      <a:pt x="3465" y="13"/>
                    </a:lnTo>
                    <a:lnTo>
                      <a:pt x="3464" y="18"/>
                    </a:lnTo>
                    <a:lnTo>
                      <a:pt x="3461" y="23"/>
                    </a:lnTo>
                    <a:lnTo>
                      <a:pt x="3456" y="26"/>
                    </a:lnTo>
                    <a:lnTo>
                      <a:pt x="3451" y="27"/>
                    </a:lnTo>
                    <a:lnTo>
                      <a:pt x="3438" y="27"/>
                    </a:lnTo>
                    <a:lnTo>
                      <a:pt x="3406" y="27"/>
                    </a:lnTo>
                    <a:lnTo>
                      <a:pt x="3354" y="28"/>
                    </a:lnTo>
                    <a:lnTo>
                      <a:pt x="3287" y="30"/>
                    </a:lnTo>
                    <a:lnTo>
                      <a:pt x="3206" y="35"/>
                    </a:lnTo>
                    <a:lnTo>
                      <a:pt x="3114" y="41"/>
                    </a:lnTo>
                    <a:lnTo>
                      <a:pt x="3064" y="45"/>
                    </a:lnTo>
                    <a:lnTo>
                      <a:pt x="3013" y="51"/>
                    </a:lnTo>
                    <a:lnTo>
                      <a:pt x="2959" y="56"/>
                    </a:lnTo>
                    <a:lnTo>
                      <a:pt x="2903" y="64"/>
                    </a:lnTo>
                    <a:lnTo>
                      <a:pt x="2846" y="71"/>
                    </a:lnTo>
                    <a:lnTo>
                      <a:pt x="2789" y="81"/>
                    </a:lnTo>
                    <a:lnTo>
                      <a:pt x="2731" y="91"/>
                    </a:lnTo>
                    <a:lnTo>
                      <a:pt x="2672" y="103"/>
                    </a:lnTo>
                    <a:lnTo>
                      <a:pt x="2613" y="116"/>
                    </a:lnTo>
                    <a:lnTo>
                      <a:pt x="2555" y="130"/>
                    </a:lnTo>
                    <a:lnTo>
                      <a:pt x="2495" y="145"/>
                    </a:lnTo>
                    <a:lnTo>
                      <a:pt x="2438" y="162"/>
                    </a:lnTo>
                    <a:lnTo>
                      <a:pt x="2381" y="180"/>
                    </a:lnTo>
                    <a:lnTo>
                      <a:pt x="2326" y="200"/>
                    </a:lnTo>
                    <a:lnTo>
                      <a:pt x="2271" y="222"/>
                    </a:lnTo>
                    <a:lnTo>
                      <a:pt x="2219" y="245"/>
                    </a:lnTo>
                    <a:lnTo>
                      <a:pt x="2168" y="271"/>
                    </a:lnTo>
                    <a:lnTo>
                      <a:pt x="2120" y="298"/>
                    </a:lnTo>
                    <a:lnTo>
                      <a:pt x="2074" y="327"/>
                    </a:lnTo>
                    <a:lnTo>
                      <a:pt x="2031" y="358"/>
                    </a:lnTo>
                    <a:lnTo>
                      <a:pt x="1994" y="389"/>
                    </a:lnTo>
                    <a:lnTo>
                      <a:pt x="1958" y="419"/>
                    </a:lnTo>
                    <a:lnTo>
                      <a:pt x="1922" y="450"/>
                    </a:lnTo>
                    <a:lnTo>
                      <a:pt x="1887" y="481"/>
                    </a:lnTo>
                    <a:lnTo>
                      <a:pt x="1853" y="514"/>
                    </a:lnTo>
                    <a:lnTo>
                      <a:pt x="1819" y="547"/>
                    </a:lnTo>
                    <a:lnTo>
                      <a:pt x="1786" y="582"/>
                    </a:lnTo>
                    <a:lnTo>
                      <a:pt x="1755" y="616"/>
                    </a:lnTo>
                    <a:lnTo>
                      <a:pt x="1723" y="652"/>
                    </a:lnTo>
                    <a:lnTo>
                      <a:pt x="1693" y="688"/>
                    </a:lnTo>
                    <a:lnTo>
                      <a:pt x="1663" y="724"/>
                    </a:lnTo>
                    <a:lnTo>
                      <a:pt x="1634" y="761"/>
                    </a:lnTo>
                    <a:lnTo>
                      <a:pt x="1606" y="799"/>
                    </a:lnTo>
                    <a:lnTo>
                      <a:pt x="1579" y="837"/>
                    </a:lnTo>
                    <a:lnTo>
                      <a:pt x="1553" y="875"/>
                    </a:lnTo>
                    <a:lnTo>
                      <a:pt x="1527" y="914"/>
                    </a:lnTo>
                    <a:lnTo>
                      <a:pt x="1502" y="954"/>
                    </a:lnTo>
                    <a:lnTo>
                      <a:pt x="1479" y="994"/>
                    </a:lnTo>
                    <a:lnTo>
                      <a:pt x="1455" y="1035"/>
                    </a:lnTo>
                    <a:lnTo>
                      <a:pt x="1434" y="1076"/>
                    </a:lnTo>
                    <a:lnTo>
                      <a:pt x="1413" y="1117"/>
                    </a:lnTo>
                    <a:lnTo>
                      <a:pt x="1393" y="1158"/>
                    </a:lnTo>
                    <a:lnTo>
                      <a:pt x="1374" y="1200"/>
                    </a:lnTo>
                    <a:lnTo>
                      <a:pt x="1356" y="1244"/>
                    </a:lnTo>
                    <a:lnTo>
                      <a:pt x="1339" y="1286"/>
                    </a:lnTo>
                    <a:lnTo>
                      <a:pt x="1323" y="1329"/>
                    </a:lnTo>
                    <a:lnTo>
                      <a:pt x="1309" y="1372"/>
                    </a:lnTo>
                    <a:lnTo>
                      <a:pt x="1295" y="1415"/>
                    </a:lnTo>
                    <a:lnTo>
                      <a:pt x="1282" y="1459"/>
                    </a:lnTo>
                    <a:lnTo>
                      <a:pt x="1270" y="1503"/>
                    </a:lnTo>
                    <a:lnTo>
                      <a:pt x="1259" y="1547"/>
                    </a:lnTo>
                    <a:lnTo>
                      <a:pt x="1249" y="1591"/>
                    </a:lnTo>
                    <a:lnTo>
                      <a:pt x="1244" y="1617"/>
                    </a:lnTo>
                    <a:lnTo>
                      <a:pt x="1238" y="1644"/>
                    </a:lnTo>
                    <a:lnTo>
                      <a:pt x="1233" y="1670"/>
                    </a:lnTo>
                    <a:lnTo>
                      <a:pt x="1229" y="1697"/>
                    </a:lnTo>
                    <a:lnTo>
                      <a:pt x="1223" y="1723"/>
                    </a:lnTo>
                    <a:lnTo>
                      <a:pt x="1219" y="1750"/>
                    </a:lnTo>
                    <a:lnTo>
                      <a:pt x="1214" y="1776"/>
                    </a:lnTo>
                    <a:lnTo>
                      <a:pt x="1209" y="1802"/>
                    </a:lnTo>
                    <a:lnTo>
                      <a:pt x="1198" y="1866"/>
                    </a:lnTo>
                    <a:lnTo>
                      <a:pt x="1185" y="1931"/>
                    </a:lnTo>
                    <a:lnTo>
                      <a:pt x="1174" y="1997"/>
                    </a:lnTo>
                    <a:lnTo>
                      <a:pt x="1160" y="2062"/>
                    </a:lnTo>
                    <a:lnTo>
                      <a:pt x="1144" y="2127"/>
                    </a:lnTo>
                    <a:lnTo>
                      <a:pt x="1127" y="2191"/>
                    </a:lnTo>
                    <a:lnTo>
                      <a:pt x="1117" y="2224"/>
                    </a:lnTo>
                    <a:lnTo>
                      <a:pt x="1108" y="2256"/>
                    </a:lnTo>
                    <a:lnTo>
                      <a:pt x="1097" y="2289"/>
                    </a:lnTo>
                    <a:lnTo>
                      <a:pt x="1085" y="2321"/>
                    </a:lnTo>
                    <a:lnTo>
                      <a:pt x="1073" y="2353"/>
                    </a:lnTo>
                    <a:lnTo>
                      <a:pt x="1060" y="2385"/>
                    </a:lnTo>
                    <a:lnTo>
                      <a:pt x="1046" y="2417"/>
                    </a:lnTo>
                    <a:lnTo>
                      <a:pt x="1032" y="2448"/>
                    </a:lnTo>
                    <a:lnTo>
                      <a:pt x="1016" y="2481"/>
                    </a:lnTo>
                    <a:lnTo>
                      <a:pt x="1000" y="2512"/>
                    </a:lnTo>
                    <a:lnTo>
                      <a:pt x="981" y="2543"/>
                    </a:lnTo>
                    <a:lnTo>
                      <a:pt x="963" y="2575"/>
                    </a:lnTo>
                    <a:lnTo>
                      <a:pt x="944" y="2606"/>
                    </a:lnTo>
                    <a:lnTo>
                      <a:pt x="922" y="2636"/>
                    </a:lnTo>
                    <a:lnTo>
                      <a:pt x="900" y="2667"/>
                    </a:lnTo>
                    <a:lnTo>
                      <a:pt x="877" y="2698"/>
                    </a:lnTo>
                    <a:lnTo>
                      <a:pt x="852" y="2728"/>
                    </a:lnTo>
                    <a:lnTo>
                      <a:pt x="826" y="2758"/>
                    </a:lnTo>
                    <a:lnTo>
                      <a:pt x="799" y="2788"/>
                    </a:lnTo>
                    <a:lnTo>
                      <a:pt x="770" y="2817"/>
                    </a:lnTo>
                    <a:lnTo>
                      <a:pt x="744" y="2844"/>
                    </a:lnTo>
                    <a:lnTo>
                      <a:pt x="717" y="2874"/>
                    </a:lnTo>
                    <a:lnTo>
                      <a:pt x="691" y="2904"/>
                    </a:lnTo>
                    <a:lnTo>
                      <a:pt x="664" y="2936"/>
                    </a:lnTo>
                    <a:lnTo>
                      <a:pt x="638" y="2971"/>
                    </a:lnTo>
                    <a:lnTo>
                      <a:pt x="611" y="3005"/>
                    </a:lnTo>
                    <a:lnTo>
                      <a:pt x="584" y="3042"/>
                    </a:lnTo>
                    <a:lnTo>
                      <a:pt x="558" y="3080"/>
                    </a:lnTo>
                    <a:lnTo>
                      <a:pt x="531" y="3119"/>
                    </a:lnTo>
                    <a:lnTo>
                      <a:pt x="504" y="3159"/>
                    </a:lnTo>
                    <a:lnTo>
                      <a:pt x="478" y="3199"/>
                    </a:lnTo>
                    <a:lnTo>
                      <a:pt x="452" y="3241"/>
                    </a:lnTo>
                    <a:lnTo>
                      <a:pt x="400" y="3324"/>
                    </a:lnTo>
                    <a:lnTo>
                      <a:pt x="350" y="3409"/>
                    </a:lnTo>
                    <a:lnTo>
                      <a:pt x="301" y="3495"/>
                    </a:lnTo>
                    <a:lnTo>
                      <a:pt x="255" y="3580"/>
                    </a:lnTo>
                    <a:lnTo>
                      <a:pt x="209" y="3664"/>
                    </a:lnTo>
                    <a:lnTo>
                      <a:pt x="167" y="3744"/>
                    </a:lnTo>
                    <a:lnTo>
                      <a:pt x="128" y="3820"/>
                    </a:lnTo>
                    <a:lnTo>
                      <a:pt x="92" y="3893"/>
                    </a:lnTo>
                    <a:lnTo>
                      <a:pt x="58" y="3960"/>
                    </a:lnTo>
                    <a:lnTo>
                      <a:pt x="29" y="4020"/>
                    </a:lnTo>
                    <a:lnTo>
                      <a:pt x="0" y="4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94"/>
              <p:cNvSpPr>
                <a:spLocks noEditPoints="1"/>
              </p:cNvSpPr>
              <p:nvPr userDrawn="1"/>
            </p:nvSpPr>
            <p:spPr bwMode="auto">
              <a:xfrm>
                <a:off x="2737" y="3461"/>
                <a:ext cx="26" cy="26"/>
              </a:xfrm>
              <a:custGeom>
                <a:avLst/>
                <a:gdLst>
                  <a:gd name="T0" fmla="*/ 38 w 77"/>
                  <a:gd name="T1" fmla="*/ 77 h 77"/>
                  <a:gd name="T2" fmla="*/ 30 w 77"/>
                  <a:gd name="T3" fmla="*/ 76 h 77"/>
                  <a:gd name="T4" fmla="*/ 24 w 77"/>
                  <a:gd name="T5" fmla="*/ 74 h 77"/>
                  <a:gd name="T6" fmla="*/ 17 w 77"/>
                  <a:gd name="T7" fmla="*/ 71 h 77"/>
                  <a:gd name="T8" fmla="*/ 11 w 77"/>
                  <a:gd name="T9" fmla="*/ 65 h 77"/>
                  <a:gd name="T10" fmla="*/ 6 w 77"/>
                  <a:gd name="T11" fmla="*/ 60 h 77"/>
                  <a:gd name="T12" fmla="*/ 3 w 77"/>
                  <a:gd name="T13" fmla="*/ 53 h 77"/>
                  <a:gd name="T14" fmla="*/ 1 w 77"/>
                  <a:gd name="T15" fmla="*/ 47 h 77"/>
                  <a:gd name="T16" fmla="*/ 0 w 77"/>
                  <a:gd name="T17" fmla="*/ 38 h 77"/>
                  <a:gd name="T18" fmla="*/ 1 w 77"/>
                  <a:gd name="T19" fmla="*/ 31 h 77"/>
                  <a:gd name="T20" fmla="*/ 3 w 77"/>
                  <a:gd name="T21" fmla="*/ 24 h 77"/>
                  <a:gd name="T22" fmla="*/ 6 w 77"/>
                  <a:gd name="T23" fmla="*/ 18 h 77"/>
                  <a:gd name="T24" fmla="*/ 11 w 77"/>
                  <a:gd name="T25" fmla="*/ 11 h 77"/>
                  <a:gd name="T26" fmla="*/ 17 w 77"/>
                  <a:gd name="T27" fmla="*/ 7 h 77"/>
                  <a:gd name="T28" fmla="*/ 24 w 77"/>
                  <a:gd name="T29" fmla="*/ 4 h 77"/>
                  <a:gd name="T30" fmla="*/ 30 w 77"/>
                  <a:gd name="T31" fmla="*/ 1 h 77"/>
                  <a:gd name="T32" fmla="*/ 38 w 77"/>
                  <a:gd name="T33" fmla="*/ 0 h 77"/>
                  <a:gd name="T34" fmla="*/ 45 w 77"/>
                  <a:gd name="T35" fmla="*/ 1 h 77"/>
                  <a:gd name="T36" fmla="*/ 53 w 77"/>
                  <a:gd name="T37" fmla="*/ 4 h 77"/>
                  <a:gd name="T38" fmla="*/ 59 w 77"/>
                  <a:gd name="T39" fmla="*/ 7 h 77"/>
                  <a:gd name="T40" fmla="*/ 65 w 77"/>
                  <a:gd name="T41" fmla="*/ 11 h 77"/>
                  <a:gd name="T42" fmla="*/ 70 w 77"/>
                  <a:gd name="T43" fmla="*/ 18 h 77"/>
                  <a:gd name="T44" fmla="*/ 73 w 77"/>
                  <a:gd name="T45" fmla="*/ 24 h 77"/>
                  <a:gd name="T46" fmla="*/ 75 w 77"/>
                  <a:gd name="T47" fmla="*/ 31 h 77"/>
                  <a:gd name="T48" fmla="*/ 77 w 77"/>
                  <a:gd name="T49" fmla="*/ 38 h 77"/>
                  <a:gd name="T50" fmla="*/ 75 w 77"/>
                  <a:gd name="T51" fmla="*/ 47 h 77"/>
                  <a:gd name="T52" fmla="*/ 73 w 77"/>
                  <a:gd name="T53" fmla="*/ 53 h 77"/>
                  <a:gd name="T54" fmla="*/ 70 w 77"/>
                  <a:gd name="T55" fmla="*/ 60 h 77"/>
                  <a:gd name="T56" fmla="*/ 65 w 77"/>
                  <a:gd name="T57" fmla="*/ 65 h 77"/>
                  <a:gd name="T58" fmla="*/ 59 w 77"/>
                  <a:gd name="T59" fmla="*/ 71 h 77"/>
                  <a:gd name="T60" fmla="*/ 53 w 77"/>
                  <a:gd name="T61" fmla="*/ 74 h 77"/>
                  <a:gd name="T62" fmla="*/ 45 w 77"/>
                  <a:gd name="T63" fmla="*/ 76 h 77"/>
                  <a:gd name="T64" fmla="*/ 38 w 77"/>
                  <a:gd name="T65" fmla="*/ 77 h 77"/>
                  <a:gd name="T66" fmla="*/ 38 w 77"/>
                  <a:gd name="T67" fmla="*/ 27 h 77"/>
                  <a:gd name="T68" fmla="*/ 38 w 77"/>
                  <a:gd name="T69" fmla="*/ 27 h 77"/>
                  <a:gd name="T70" fmla="*/ 33 w 77"/>
                  <a:gd name="T71" fmla="*/ 28 h 77"/>
                  <a:gd name="T72" fmla="*/ 30 w 77"/>
                  <a:gd name="T73" fmla="*/ 31 h 77"/>
                  <a:gd name="T74" fmla="*/ 28 w 77"/>
                  <a:gd name="T75" fmla="*/ 34 h 77"/>
                  <a:gd name="T76" fmla="*/ 27 w 77"/>
                  <a:gd name="T77" fmla="*/ 38 h 77"/>
                  <a:gd name="T78" fmla="*/ 28 w 77"/>
                  <a:gd name="T79" fmla="*/ 42 h 77"/>
                  <a:gd name="T80" fmla="*/ 30 w 77"/>
                  <a:gd name="T81" fmla="*/ 47 h 77"/>
                  <a:gd name="T82" fmla="*/ 33 w 77"/>
                  <a:gd name="T83" fmla="*/ 49 h 77"/>
                  <a:gd name="T84" fmla="*/ 38 w 77"/>
                  <a:gd name="T85" fmla="*/ 50 h 77"/>
                  <a:gd name="T86" fmla="*/ 42 w 77"/>
                  <a:gd name="T87" fmla="*/ 49 h 77"/>
                  <a:gd name="T88" fmla="*/ 46 w 77"/>
                  <a:gd name="T89" fmla="*/ 47 h 77"/>
                  <a:gd name="T90" fmla="*/ 48 w 77"/>
                  <a:gd name="T91" fmla="*/ 42 h 77"/>
                  <a:gd name="T92" fmla="*/ 50 w 77"/>
                  <a:gd name="T93" fmla="*/ 38 h 77"/>
                  <a:gd name="T94" fmla="*/ 48 w 77"/>
                  <a:gd name="T95" fmla="*/ 34 h 77"/>
                  <a:gd name="T96" fmla="*/ 46 w 77"/>
                  <a:gd name="T97" fmla="*/ 31 h 77"/>
                  <a:gd name="T98" fmla="*/ 42 w 77"/>
                  <a:gd name="T99" fmla="*/ 28 h 77"/>
                  <a:gd name="T100" fmla="*/ 38 w 77"/>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77">
                    <a:moveTo>
                      <a:pt x="38" y="77"/>
                    </a:moveTo>
                    <a:lnTo>
                      <a:pt x="30" y="76"/>
                    </a:lnTo>
                    <a:lnTo>
                      <a:pt x="24" y="74"/>
                    </a:lnTo>
                    <a:lnTo>
                      <a:pt x="17" y="71"/>
                    </a:lnTo>
                    <a:lnTo>
                      <a:pt x="11" y="65"/>
                    </a:lnTo>
                    <a:lnTo>
                      <a:pt x="6" y="60"/>
                    </a:lnTo>
                    <a:lnTo>
                      <a:pt x="3" y="53"/>
                    </a:lnTo>
                    <a:lnTo>
                      <a:pt x="1" y="47"/>
                    </a:lnTo>
                    <a:lnTo>
                      <a:pt x="0" y="38"/>
                    </a:lnTo>
                    <a:lnTo>
                      <a:pt x="1" y="31"/>
                    </a:lnTo>
                    <a:lnTo>
                      <a:pt x="3" y="24"/>
                    </a:lnTo>
                    <a:lnTo>
                      <a:pt x="6" y="18"/>
                    </a:lnTo>
                    <a:lnTo>
                      <a:pt x="11" y="11"/>
                    </a:lnTo>
                    <a:lnTo>
                      <a:pt x="17" y="7"/>
                    </a:lnTo>
                    <a:lnTo>
                      <a:pt x="24" y="4"/>
                    </a:lnTo>
                    <a:lnTo>
                      <a:pt x="30" y="1"/>
                    </a:lnTo>
                    <a:lnTo>
                      <a:pt x="38" y="0"/>
                    </a:lnTo>
                    <a:lnTo>
                      <a:pt x="45" y="1"/>
                    </a:lnTo>
                    <a:lnTo>
                      <a:pt x="53" y="4"/>
                    </a:lnTo>
                    <a:lnTo>
                      <a:pt x="59" y="7"/>
                    </a:lnTo>
                    <a:lnTo>
                      <a:pt x="65" y="11"/>
                    </a:lnTo>
                    <a:lnTo>
                      <a:pt x="70" y="18"/>
                    </a:lnTo>
                    <a:lnTo>
                      <a:pt x="73" y="24"/>
                    </a:lnTo>
                    <a:lnTo>
                      <a:pt x="75" y="31"/>
                    </a:lnTo>
                    <a:lnTo>
                      <a:pt x="77" y="38"/>
                    </a:lnTo>
                    <a:lnTo>
                      <a:pt x="75" y="47"/>
                    </a:lnTo>
                    <a:lnTo>
                      <a:pt x="73" y="53"/>
                    </a:lnTo>
                    <a:lnTo>
                      <a:pt x="70" y="60"/>
                    </a:lnTo>
                    <a:lnTo>
                      <a:pt x="65" y="65"/>
                    </a:lnTo>
                    <a:lnTo>
                      <a:pt x="59" y="71"/>
                    </a:lnTo>
                    <a:lnTo>
                      <a:pt x="53" y="74"/>
                    </a:lnTo>
                    <a:lnTo>
                      <a:pt x="45" y="76"/>
                    </a:lnTo>
                    <a:lnTo>
                      <a:pt x="38" y="77"/>
                    </a:lnTo>
                    <a:close/>
                    <a:moveTo>
                      <a:pt x="38" y="27"/>
                    </a:moveTo>
                    <a:lnTo>
                      <a:pt x="38" y="27"/>
                    </a:lnTo>
                    <a:lnTo>
                      <a:pt x="33" y="28"/>
                    </a:lnTo>
                    <a:lnTo>
                      <a:pt x="30" y="31"/>
                    </a:lnTo>
                    <a:lnTo>
                      <a:pt x="28" y="34"/>
                    </a:lnTo>
                    <a:lnTo>
                      <a:pt x="27" y="38"/>
                    </a:lnTo>
                    <a:lnTo>
                      <a:pt x="28" y="42"/>
                    </a:lnTo>
                    <a:lnTo>
                      <a:pt x="30" y="47"/>
                    </a:lnTo>
                    <a:lnTo>
                      <a:pt x="33" y="49"/>
                    </a:lnTo>
                    <a:lnTo>
                      <a:pt x="38" y="50"/>
                    </a:lnTo>
                    <a:lnTo>
                      <a:pt x="42" y="49"/>
                    </a:lnTo>
                    <a:lnTo>
                      <a:pt x="46" y="47"/>
                    </a:lnTo>
                    <a:lnTo>
                      <a:pt x="48" y="42"/>
                    </a:lnTo>
                    <a:lnTo>
                      <a:pt x="50" y="38"/>
                    </a:lnTo>
                    <a:lnTo>
                      <a:pt x="48" y="34"/>
                    </a:lnTo>
                    <a:lnTo>
                      <a:pt x="46" y="31"/>
                    </a:lnTo>
                    <a:lnTo>
                      <a:pt x="42" y="28"/>
                    </a:lnTo>
                    <a:lnTo>
                      <a:pt x="3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95"/>
              <p:cNvSpPr>
                <a:spLocks noEditPoints="1"/>
              </p:cNvSpPr>
              <p:nvPr userDrawn="1"/>
            </p:nvSpPr>
            <p:spPr bwMode="auto">
              <a:xfrm>
                <a:off x="2672" y="3375"/>
                <a:ext cx="33" cy="33"/>
              </a:xfrm>
              <a:custGeom>
                <a:avLst/>
                <a:gdLst>
                  <a:gd name="T0" fmla="*/ 40 w 101"/>
                  <a:gd name="T1" fmla="*/ 100 h 101"/>
                  <a:gd name="T2" fmla="*/ 22 w 101"/>
                  <a:gd name="T3" fmla="*/ 92 h 101"/>
                  <a:gd name="T4" fmla="*/ 9 w 101"/>
                  <a:gd name="T5" fmla="*/ 78 h 101"/>
                  <a:gd name="T6" fmla="*/ 2 w 101"/>
                  <a:gd name="T7" fmla="*/ 61 h 101"/>
                  <a:gd name="T8" fmla="*/ 2 w 101"/>
                  <a:gd name="T9" fmla="*/ 40 h 101"/>
                  <a:gd name="T10" fmla="*/ 9 w 101"/>
                  <a:gd name="T11" fmla="*/ 22 h 101"/>
                  <a:gd name="T12" fmla="*/ 22 w 101"/>
                  <a:gd name="T13" fmla="*/ 9 h 101"/>
                  <a:gd name="T14" fmla="*/ 40 w 101"/>
                  <a:gd name="T15" fmla="*/ 1 h 101"/>
                  <a:gd name="T16" fmla="*/ 61 w 101"/>
                  <a:gd name="T17" fmla="*/ 1 h 101"/>
                  <a:gd name="T18" fmla="*/ 78 w 101"/>
                  <a:gd name="T19" fmla="*/ 9 h 101"/>
                  <a:gd name="T20" fmla="*/ 92 w 101"/>
                  <a:gd name="T21" fmla="*/ 22 h 101"/>
                  <a:gd name="T22" fmla="*/ 100 w 101"/>
                  <a:gd name="T23" fmla="*/ 40 h 101"/>
                  <a:gd name="T24" fmla="*/ 100 w 101"/>
                  <a:gd name="T25" fmla="*/ 61 h 101"/>
                  <a:gd name="T26" fmla="*/ 92 w 101"/>
                  <a:gd name="T27" fmla="*/ 78 h 101"/>
                  <a:gd name="T28" fmla="*/ 78 w 101"/>
                  <a:gd name="T29" fmla="*/ 92 h 101"/>
                  <a:gd name="T30" fmla="*/ 61 w 101"/>
                  <a:gd name="T31" fmla="*/ 100 h 101"/>
                  <a:gd name="T32" fmla="*/ 50 w 101"/>
                  <a:gd name="T33" fmla="*/ 27 h 101"/>
                  <a:gd name="T34" fmla="*/ 46 w 101"/>
                  <a:gd name="T35" fmla="*/ 27 h 101"/>
                  <a:gd name="T36" fmla="*/ 37 w 101"/>
                  <a:gd name="T37" fmla="*/ 32 h 101"/>
                  <a:gd name="T38" fmla="*/ 32 w 101"/>
                  <a:gd name="T39" fmla="*/ 37 h 101"/>
                  <a:gd name="T40" fmla="*/ 27 w 101"/>
                  <a:gd name="T41" fmla="*/ 46 h 101"/>
                  <a:gd name="T42" fmla="*/ 27 w 101"/>
                  <a:gd name="T43" fmla="*/ 55 h 101"/>
                  <a:gd name="T44" fmla="*/ 32 w 101"/>
                  <a:gd name="T45" fmla="*/ 63 h 101"/>
                  <a:gd name="T46" fmla="*/ 37 w 101"/>
                  <a:gd name="T47" fmla="*/ 69 h 101"/>
                  <a:gd name="T48" fmla="*/ 46 w 101"/>
                  <a:gd name="T49" fmla="*/ 73 h 101"/>
                  <a:gd name="T50" fmla="*/ 56 w 101"/>
                  <a:gd name="T51" fmla="*/ 73 h 101"/>
                  <a:gd name="T52" fmla="*/ 63 w 101"/>
                  <a:gd name="T53" fmla="*/ 69 h 101"/>
                  <a:gd name="T54" fmla="*/ 70 w 101"/>
                  <a:gd name="T55" fmla="*/ 63 h 101"/>
                  <a:gd name="T56" fmla="*/ 73 w 101"/>
                  <a:gd name="T57" fmla="*/ 55 h 101"/>
                  <a:gd name="T58" fmla="*/ 73 w 101"/>
                  <a:gd name="T59" fmla="*/ 46 h 101"/>
                  <a:gd name="T60" fmla="*/ 70 w 101"/>
                  <a:gd name="T61" fmla="*/ 37 h 101"/>
                  <a:gd name="T62" fmla="*/ 63 w 101"/>
                  <a:gd name="T63" fmla="*/ 32 h 101"/>
                  <a:gd name="T64" fmla="*/ 56 w 101"/>
                  <a:gd name="T65" fmla="*/ 2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50" y="101"/>
                    </a:moveTo>
                    <a:lnTo>
                      <a:pt x="40" y="100"/>
                    </a:lnTo>
                    <a:lnTo>
                      <a:pt x="31" y="96"/>
                    </a:lnTo>
                    <a:lnTo>
                      <a:pt x="22" y="92"/>
                    </a:lnTo>
                    <a:lnTo>
                      <a:pt x="14" y="85"/>
                    </a:lnTo>
                    <a:lnTo>
                      <a:pt x="9" y="78"/>
                    </a:lnTo>
                    <a:lnTo>
                      <a:pt x="5" y="69"/>
                    </a:lnTo>
                    <a:lnTo>
                      <a:pt x="2" y="61"/>
                    </a:lnTo>
                    <a:lnTo>
                      <a:pt x="0" y="50"/>
                    </a:lnTo>
                    <a:lnTo>
                      <a:pt x="2" y="40"/>
                    </a:lnTo>
                    <a:lnTo>
                      <a:pt x="5" y="30"/>
                    </a:lnTo>
                    <a:lnTo>
                      <a:pt x="9" y="22"/>
                    </a:lnTo>
                    <a:lnTo>
                      <a:pt x="14" y="14"/>
                    </a:lnTo>
                    <a:lnTo>
                      <a:pt x="22" y="9"/>
                    </a:lnTo>
                    <a:lnTo>
                      <a:pt x="31" y="3"/>
                    </a:lnTo>
                    <a:lnTo>
                      <a:pt x="40" y="1"/>
                    </a:lnTo>
                    <a:lnTo>
                      <a:pt x="50" y="0"/>
                    </a:lnTo>
                    <a:lnTo>
                      <a:pt x="61" y="1"/>
                    </a:lnTo>
                    <a:lnTo>
                      <a:pt x="70" y="3"/>
                    </a:lnTo>
                    <a:lnTo>
                      <a:pt x="78" y="9"/>
                    </a:lnTo>
                    <a:lnTo>
                      <a:pt x="86" y="14"/>
                    </a:lnTo>
                    <a:lnTo>
                      <a:pt x="92" y="22"/>
                    </a:lnTo>
                    <a:lnTo>
                      <a:pt x="97" y="30"/>
                    </a:lnTo>
                    <a:lnTo>
                      <a:pt x="100" y="40"/>
                    </a:lnTo>
                    <a:lnTo>
                      <a:pt x="101" y="50"/>
                    </a:lnTo>
                    <a:lnTo>
                      <a:pt x="100" y="61"/>
                    </a:lnTo>
                    <a:lnTo>
                      <a:pt x="97" y="69"/>
                    </a:lnTo>
                    <a:lnTo>
                      <a:pt x="92" y="78"/>
                    </a:lnTo>
                    <a:lnTo>
                      <a:pt x="86" y="85"/>
                    </a:lnTo>
                    <a:lnTo>
                      <a:pt x="78" y="92"/>
                    </a:lnTo>
                    <a:lnTo>
                      <a:pt x="70" y="96"/>
                    </a:lnTo>
                    <a:lnTo>
                      <a:pt x="61" y="100"/>
                    </a:lnTo>
                    <a:lnTo>
                      <a:pt x="50" y="101"/>
                    </a:lnTo>
                    <a:close/>
                    <a:moveTo>
                      <a:pt x="50" y="27"/>
                    </a:moveTo>
                    <a:lnTo>
                      <a:pt x="50" y="27"/>
                    </a:lnTo>
                    <a:lnTo>
                      <a:pt x="46" y="27"/>
                    </a:lnTo>
                    <a:lnTo>
                      <a:pt x="41" y="29"/>
                    </a:lnTo>
                    <a:lnTo>
                      <a:pt x="37" y="32"/>
                    </a:lnTo>
                    <a:lnTo>
                      <a:pt x="34" y="34"/>
                    </a:lnTo>
                    <a:lnTo>
                      <a:pt x="32" y="37"/>
                    </a:lnTo>
                    <a:lnTo>
                      <a:pt x="30" y="41"/>
                    </a:lnTo>
                    <a:lnTo>
                      <a:pt x="27" y="46"/>
                    </a:lnTo>
                    <a:lnTo>
                      <a:pt x="27" y="50"/>
                    </a:lnTo>
                    <a:lnTo>
                      <a:pt x="27" y="55"/>
                    </a:lnTo>
                    <a:lnTo>
                      <a:pt x="30" y="60"/>
                    </a:lnTo>
                    <a:lnTo>
                      <a:pt x="32" y="63"/>
                    </a:lnTo>
                    <a:lnTo>
                      <a:pt x="34" y="66"/>
                    </a:lnTo>
                    <a:lnTo>
                      <a:pt x="37" y="69"/>
                    </a:lnTo>
                    <a:lnTo>
                      <a:pt x="41" y="71"/>
                    </a:lnTo>
                    <a:lnTo>
                      <a:pt x="46" y="73"/>
                    </a:lnTo>
                    <a:lnTo>
                      <a:pt x="50" y="74"/>
                    </a:lnTo>
                    <a:lnTo>
                      <a:pt x="56" y="73"/>
                    </a:lnTo>
                    <a:lnTo>
                      <a:pt x="60" y="71"/>
                    </a:lnTo>
                    <a:lnTo>
                      <a:pt x="63" y="69"/>
                    </a:lnTo>
                    <a:lnTo>
                      <a:pt x="67" y="66"/>
                    </a:lnTo>
                    <a:lnTo>
                      <a:pt x="70" y="63"/>
                    </a:lnTo>
                    <a:lnTo>
                      <a:pt x="72" y="60"/>
                    </a:lnTo>
                    <a:lnTo>
                      <a:pt x="73" y="55"/>
                    </a:lnTo>
                    <a:lnTo>
                      <a:pt x="74" y="50"/>
                    </a:lnTo>
                    <a:lnTo>
                      <a:pt x="73" y="46"/>
                    </a:lnTo>
                    <a:lnTo>
                      <a:pt x="72" y="41"/>
                    </a:lnTo>
                    <a:lnTo>
                      <a:pt x="70" y="37"/>
                    </a:lnTo>
                    <a:lnTo>
                      <a:pt x="67" y="34"/>
                    </a:lnTo>
                    <a:lnTo>
                      <a:pt x="63" y="32"/>
                    </a:lnTo>
                    <a:lnTo>
                      <a:pt x="60" y="29"/>
                    </a:lnTo>
                    <a:lnTo>
                      <a:pt x="56"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96"/>
              <p:cNvSpPr>
                <a:spLocks noEditPoints="1"/>
              </p:cNvSpPr>
              <p:nvPr userDrawn="1"/>
            </p:nvSpPr>
            <p:spPr bwMode="auto">
              <a:xfrm>
                <a:off x="2922" y="3864"/>
                <a:ext cx="49" cy="50"/>
              </a:xfrm>
              <a:custGeom>
                <a:avLst/>
                <a:gdLst>
                  <a:gd name="T0" fmla="*/ 67 w 148"/>
                  <a:gd name="T1" fmla="*/ 148 h 148"/>
                  <a:gd name="T2" fmla="*/ 52 w 148"/>
                  <a:gd name="T3" fmla="*/ 145 h 148"/>
                  <a:gd name="T4" fmla="*/ 39 w 148"/>
                  <a:gd name="T5" fmla="*/ 140 h 148"/>
                  <a:gd name="T6" fmla="*/ 27 w 148"/>
                  <a:gd name="T7" fmla="*/ 132 h 148"/>
                  <a:gd name="T8" fmla="*/ 16 w 148"/>
                  <a:gd name="T9" fmla="*/ 121 h 148"/>
                  <a:gd name="T10" fmla="*/ 8 w 148"/>
                  <a:gd name="T11" fmla="*/ 109 h 148"/>
                  <a:gd name="T12" fmla="*/ 3 w 148"/>
                  <a:gd name="T13" fmla="*/ 96 h 148"/>
                  <a:gd name="T14" fmla="*/ 0 w 148"/>
                  <a:gd name="T15" fmla="*/ 82 h 148"/>
                  <a:gd name="T16" fmla="*/ 0 w 148"/>
                  <a:gd name="T17" fmla="*/ 67 h 148"/>
                  <a:gd name="T18" fmla="*/ 3 w 148"/>
                  <a:gd name="T19" fmla="*/ 52 h 148"/>
                  <a:gd name="T20" fmla="*/ 8 w 148"/>
                  <a:gd name="T21" fmla="*/ 39 h 148"/>
                  <a:gd name="T22" fmla="*/ 16 w 148"/>
                  <a:gd name="T23" fmla="*/ 27 h 148"/>
                  <a:gd name="T24" fmla="*/ 27 w 148"/>
                  <a:gd name="T25" fmla="*/ 17 h 148"/>
                  <a:gd name="T26" fmla="*/ 39 w 148"/>
                  <a:gd name="T27" fmla="*/ 9 h 148"/>
                  <a:gd name="T28" fmla="*/ 52 w 148"/>
                  <a:gd name="T29" fmla="*/ 4 h 148"/>
                  <a:gd name="T30" fmla="*/ 67 w 148"/>
                  <a:gd name="T31" fmla="*/ 0 h 148"/>
                  <a:gd name="T32" fmla="*/ 82 w 148"/>
                  <a:gd name="T33" fmla="*/ 0 h 148"/>
                  <a:gd name="T34" fmla="*/ 96 w 148"/>
                  <a:gd name="T35" fmla="*/ 4 h 148"/>
                  <a:gd name="T36" fmla="*/ 109 w 148"/>
                  <a:gd name="T37" fmla="*/ 9 h 148"/>
                  <a:gd name="T38" fmla="*/ 121 w 148"/>
                  <a:gd name="T39" fmla="*/ 17 h 148"/>
                  <a:gd name="T40" fmla="*/ 132 w 148"/>
                  <a:gd name="T41" fmla="*/ 27 h 148"/>
                  <a:gd name="T42" fmla="*/ 139 w 148"/>
                  <a:gd name="T43" fmla="*/ 39 h 148"/>
                  <a:gd name="T44" fmla="*/ 145 w 148"/>
                  <a:gd name="T45" fmla="*/ 52 h 148"/>
                  <a:gd name="T46" fmla="*/ 148 w 148"/>
                  <a:gd name="T47" fmla="*/ 67 h 148"/>
                  <a:gd name="T48" fmla="*/ 148 w 148"/>
                  <a:gd name="T49" fmla="*/ 82 h 148"/>
                  <a:gd name="T50" fmla="*/ 145 w 148"/>
                  <a:gd name="T51" fmla="*/ 96 h 148"/>
                  <a:gd name="T52" fmla="*/ 139 w 148"/>
                  <a:gd name="T53" fmla="*/ 109 h 148"/>
                  <a:gd name="T54" fmla="*/ 132 w 148"/>
                  <a:gd name="T55" fmla="*/ 121 h 148"/>
                  <a:gd name="T56" fmla="*/ 121 w 148"/>
                  <a:gd name="T57" fmla="*/ 132 h 148"/>
                  <a:gd name="T58" fmla="*/ 109 w 148"/>
                  <a:gd name="T59" fmla="*/ 140 h 148"/>
                  <a:gd name="T60" fmla="*/ 96 w 148"/>
                  <a:gd name="T61" fmla="*/ 145 h 148"/>
                  <a:gd name="T62" fmla="*/ 82 w 148"/>
                  <a:gd name="T63" fmla="*/ 148 h 148"/>
                  <a:gd name="T64" fmla="*/ 74 w 148"/>
                  <a:gd name="T65" fmla="*/ 27 h 148"/>
                  <a:gd name="T66" fmla="*/ 65 w 148"/>
                  <a:gd name="T67" fmla="*/ 28 h 148"/>
                  <a:gd name="T68" fmla="*/ 47 w 148"/>
                  <a:gd name="T69" fmla="*/ 35 h 148"/>
                  <a:gd name="T70" fmla="*/ 34 w 148"/>
                  <a:gd name="T71" fmla="*/ 48 h 148"/>
                  <a:gd name="T72" fmla="*/ 28 w 148"/>
                  <a:gd name="T73" fmla="*/ 65 h 148"/>
                  <a:gd name="T74" fmla="*/ 28 w 148"/>
                  <a:gd name="T75" fmla="*/ 84 h 148"/>
                  <a:gd name="T76" fmla="*/ 34 w 148"/>
                  <a:gd name="T77" fmla="*/ 101 h 148"/>
                  <a:gd name="T78" fmla="*/ 47 w 148"/>
                  <a:gd name="T79" fmla="*/ 114 h 148"/>
                  <a:gd name="T80" fmla="*/ 65 w 148"/>
                  <a:gd name="T81" fmla="*/ 120 h 148"/>
                  <a:gd name="T82" fmla="*/ 83 w 148"/>
                  <a:gd name="T83" fmla="*/ 120 h 148"/>
                  <a:gd name="T84" fmla="*/ 100 w 148"/>
                  <a:gd name="T85" fmla="*/ 114 h 148"/>
                  <a:gd name="T86" fmla="*/ 113 w 148"/>
                  <a:gd name="T87" fmla="*/ 101 h 148"/>
                  <a:gd name="T88" fmla="*/ 120 w 148"/>
                  <a:gd name="T89" fmla="*/ 84 h 148"/>
                  <a:gd name="T90" fmla="*/ 120 w 148"/>
                  <a:gd name="T91" fmla="*/ 65 h 148"/>
                  <a:gd name="T92" fmla="*/ 113 w 148"/>
                  <a:gd name="T93" fmla="*/ 48 h 148"/>
                  <a:gd name="T94" fmla="*/ 100 w 148"/>
                  <a:gd name="T95" fmla="*/ 35 h 148"/>
                  <a:gd name="T96" fmla="*/ 83 w 148"/>
                  <a:gd name="T97" fmla="*/ 2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48">
                    <a:moveTo>
                      <a:pt x="74" y="148"/>
                    </a:moveTo>
                    <a:lnTo>
                      <a:pt x="67" y="148"/>
                    </a:lnTo>
                    <a:lnTo>
                      <a:pt x="59" y="147"/>
                    </a:lnTo>
                    <a:lnTo>
                      <a:pt x="52" y="145"/>
                    </a:lnTo>
                    <a:lnTo>
                      <a:pt x="45" y="143"/>
                    </a:lnTo>
                    <a:lnTo>
                      <a:pt x="39" y="140"/>
                    </a:lnTo>
                    <a:lnTo>
                      <a:pt x="32" y="136"/>
                    </a:lnTo>
                    <a:lnTo>
                      <a:pt x="27" y="132"/>
                    </a:lnTo>
                    <a:lnTo>
                      <a:pt x="21" y="127"/>
                    </a:lnTo>
                    <a:lnTo>
                      <a:pt x="16" y="121"/>
                    </a:lnTo>
                    <a:lnTo>
                      <a:pt x="12" y="116"/>
                    </a:lnTo>
                    <a:lnTo>
                      <a:pt x="8" y="109"/>
                    </a:lnTo>
                    <a:lnTo>
                      <a:pt x="5" y="103"/>
                    </a:lnTo>
                    <a:lnTo>
                      <a:pt x="3" y="96"/>
                    </a:lnTo>
                    <a:lnTo>
                      <a:pt x="1" y="89"/>
                    </a:lnTo>
                    <a:lnTo>
                      <a:pt x="0" y="82"/>
                    </a:lnTo>
                    <a:lnTo>
                      <a:pt x="0" y="75"/>
                    </a:lnTo>
                    <a:lnTo>
                      <a:pt x="0" y="67"/>
                    </a:lnTo>
                    <a:lnTo>
                      <a:pt x="1" y="60"/>
                    </a:lnTo>
                    <a:lnTo>
                      <a:pt x="3" y="52"/>
                    </a:lnTo>
                    <a:lnTo>
                      <a:pt x="5" y="46"/>
                    </a:lnTo>
                    <a:lnTo>
                      <a:pt x="8" y="39"/>
                    </a:lnTo>
                    <a:lnTo>
                      <a:pt x="12" y="33"/>
                    </a:lnTo>
                    <a:lnTo>
                      <a:pt x="16" y="27"/>
                    </a:lnTo>
                    <a:lnTo>
                      <a:pt x="21" y="22"/>
                    </a:lnTo>
                    <a:lnTo>
                      <a:pt x="27" y="17"/>
                    </a:lnTo>
                    <a:lnTo>
                      <a:pt x="32" y="12"/>
                    </a:lnTo>
                    <a:lnTo>
                      <a:pt x="39" y="9"/>
                    </a:lnTo>
                    <a:lnTo>
                      <a:pt x="45" y="6"/>
                    </a:lnTo>
                    <a:lnTo>
                      <a:pt x="52" y="4"/>
                    </a:lnTo>
                    <a:lnTo>
                      <a:pt x="59" y="1"/>
                    </a:lnTo>
                    <a:lnTo>
                      <a:pt x="67" y="0"/>
                    </a:lnTo>
                    <a:lnTo>
                      <a:pt x="74" y="0"/>
                    </a:lnTo>
                    <a:lnTo>
                      <a:pt x="82" y="0"/>
                    </a:lnTo>
                    <a:lnTo>
                      <a:pt x="88" y="1"/>
                    </a:lnTo>
                    <a:lnTo>
                      <a:pt x="96" y="4"/>
                    </a:lnTo>
                    <a:lnTo>
                      <a:pt x="102" y="6"/>
                    </a:lnTo>
                    <a:lnTo>
                      <a:pt x="109" y="9"/>
                    </a:lnTo>
                    <a:lnTo>
                      <a:pt x="115" y="12"/>
                    </a:lnTo>
                    <a:lnTo>
                      <a:pt x="121" y="17"/>
                    </a:lnTo>
                    <a:lnTo>
                      <a:pt x="126" y="22"/>
                    </a:lnTo>
                    <a:lnTo>
                      <a:pt x="132" y="27"/>
                    </a:lnTo>
                    <a:lnTo>
                      <a:pt x="136" y="33"/>
                    </a:lnTo>
                    <a:lnTo>
                      <a:pt x="139" y="39"/>
                    </a:lnTo>
                    <a:lnTo>
                      <a:pt x="142" y="46"/>
                    </a:lnTo>
                    <a:lnTo>
                      <a:pt x="145" y="52"/>
                    </a:lnTo>
                    <a:lnTo>
                      <a:pt x="147" y="60"/>
                    </a:lnTo>
                    <a:lnTo>
                      <a:pt x="148" y="67"/>
                    </a:lnTo>
                    <a:lnTo>
                      <a:pt x="148" y="75"/>
                    </a:lnTo>
                    <a:lnTo>
                      <a:pt x="148" y="82"/>
                    </a:lnTo>
                    <a:lnTo>
                      <a:pt x="147" y="89"/>
                    </a:lnTo>
                    <a:lnTo>
                      <a:pt x="145" y="96"/>
                    </a:lnTo>
                    <a:lnTo>
                      <a:pt x="142" y="103"/>
                    </a:lnTo>
                    <a:lnTo>
                      <a:pt x="139" y="109"/>
                    </a:lnTo>
                    <a:lnTo>
                      <a:pt x="136" y="116"/>
                    </a:lnTo>
                    <a:lnTo>
                      <a:pt x="132" y="121"/>
                    </a:lnTo>
                    <a:lnTo>
                      <a:pt x="126" y="127"/>
                    </a:lnTo>
                    <a:lnTo>
                      <a:pt x="121" y="132"/>
                    </a:lnTo>
                    <a:lnTo>
                      <a:pt x="115" y="136"/>
                    </a:lnTo>
                    <a:lnTo>
                      <a:pt x="109" y="140"/>
                    </a:lnTo>
                    <a:lnTo>
                      <a:pt x="102" y="143"/>
                    </a:lnTo>
                    <a:lnTo>
                      <a:pt x="96" y="145"/>
                    </a:lnTo>
                    <a:lnTo>
                      <a:pt x="88" y="147"/>
                    </a:lnTo>
                    <a:lnTo>
                      <a:pt x="82" y="148"/>
                    </a:lnTo>
                    <a:lnTo>
                      <a:pt x="74" y="148"/>
                    </a:lnTo>
                    <a:close/>
                    <a:moveTo>
                      <a:pt x="74" y="27"/>
                    </a:moveTo>
                    <a:lnTo>
                      <a:pt x="74" y="27"/>
                    </a:lnTo>
                    <a:lnTo>
                      <a:pt x="65" y="28"/>
                    </a:lnTo>
                    <a:lnTo>
                      <a:pt x="56" y="31"/>
                    </a:lnTo>
                    <a:lnTo>
                      <a:pt x="47" y="35"/>
                    </a:lnTo>
                    <a:lnTo>
                      <a:pt x="41" y="41"/>
                    </a:lnTo>
                    <a:lnTo>
                      <a:pt x="34" y="48"/>
                    </a:lnTo>
                    <a:lnTo>
                      <a:pt x="30" y="57"/>
                    </a:lnTo>
                    <a:lnTo>
                      <a:pt x="28" y="65"/>
                    </a:lnTo>
                    <a:lnTo>
                      <a:pt x="27" y="75"/>
                    </a:lnTo>
                    <a:lnTo>
                      <a:pt x="28" y="84"/>
                    </a:lnTo>
                    <a:lnTo>
                      <a:pt x="30" y="93"/>
                    </a:lnTo>
                    <a:lnTo>
                      <a:pt x="34" y="101"/>
                    </a:lnTo>
                    <a:lnTo>
                      <a:pt x="41" y="108"/>
                    </a:lnTo>
                    <a:lnTo>
                      <a:pt x="47" y="114"/>
                    </a:lnTo>
                    <a:lnTo>
                      <a:pt x="56" y="118"/>
                    </a:lnTo>
                    <a:lnTo>
                      <a:pt x="65" y="120"/>
                    </a:lnTo>
                    <a:lnTo>
                      <a:pt x="74" y="121"/>
                    </a:lnTo>
                    <a:lnTo>
                      <a:pt x="83" y="120"/>
                    </a:lnTo>
                    <a:lnTo>
                      <a:pt x="93" y="118"/>
                    </a:lnTo>
                    <a:lnTo>
                      <a:pt x="100" y="114"/>
                    </a:lnTo>
                    <a:lnTo>
                      <a:pt x="107" y="108"/>
                    </a:lnTo>
                    <a:lnTo>
                      <a:pt x="113" y="101"/>
                    </a:lnTo>
                    <a:lnTo>
                      <a:pt x="118" y="93"/>
                    </a:lnTo>
                    <a:lnTo>
                      <a:pt x="120" y="84"/>
                    </a:lnTo>
                    <a:lnTo>
                      <a:pt x="121" y="75"/>
                    </a:lnTo>
                    <a:lnTo>
                      <a:pt x="120" y="65"/>
                    </a:lnTo>
                    <a:lnTo>
                      <a:pt x="118" y="57"/>
                    </a:lnTo>
                    <a:lnTo>
                      <a:pt x="113" y="48"/>
                    </a:lnTo>
                    <a:lnTo>
                      <a:pt x="107" y="41"/>
                    </a:lnTo>
                    <a:lnTo>
                      <a:pt x="100" y="35"/>
                    </a:lnTo>
                    <a:lnTo>
                      <a:pt x="93" y="31"/>
                    </a:lnTo>
                    <a:lnTo>
                      <a:pt x="83" y="28"/>
                    </a:lnTo>
                    <a:lnTo>
                      <a:pt x="7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97"/>
              <p:cNvSpPr>
                <a:spLocks/>
              </p:cNvSpPr>
              <p:nvPr userDrawn="1"/>
            </p:nvSpPr>
            <p:spPr bwMode="auto">
              <a:xfrm>
                <a:off x="216" y="2953"/>
                <a:ext cx="1173" cy="1367"/>
              </a:xfrm>
              <a:custGeom>
                <a:avLst/>
                <a:gdLst>
                  <a:gd name="T0" fmla="*/ 121 w 3520"/>
                  <a:gd name="T1" fmla="*/ 3867 h 4101"/>
                  <a:gd name="T2" fmla="*/ 318 w 3520"/>
                  <a:gd name="T3" fmla="*/ 3504 h 4101"/>
                  <a:gd name="T4" fmla="*/ 511 w 3520"/>
                  <a:gd name="T5" fmla="*/ 3187 h 4101"/>
                  <a:gd name="T6" fmla="*/ 621 w 3520"/>
                  <a:gd name="T7" fmla="*/ 3024 h 4101"/>
                  <a:gd name="T8" fmla="*/ 729 w 3520"/>
                  <a:gd name="T9" fmla="*/ 2883 h 4101"/>
                  <a:gd name="T10" fmla="*/ 833 w 3520"/>
                  <a:gd name="T11" fmla="*/ 2770 h 4101"/>
                  <a:gd name="T12" fmla="*/ 934 w 3520"/>
                  <a:gd name="T13" fmla="*/ 2651 h 4101"/>
                  <a:gd name="T14" fmla="*/ 1014 w 3520"/>
                  <a:gd name="T15" fmla="*/ 2529 h 4101"/>
                  <a:gd name="T16" fmla="*/ 1077 w 3520"/>
                  <a:gd name="T17" fmla="*/ 2404 h 4101"/>
                  <a:gd name="T18" fmla="*/ 1126 w 3520"/>
                  <a:gd name="T19" fmla="*/ 2278 h 4101"/>
                  <a:gd name="T20" fmla="*/ 1174 w 3520"/>
                  <a:gd name="T21" fmla="*/ 2118 h 4101"/>
                  <a:gd name="T22" fmla="*/ 1226 w 3520"/>
                  <a:gd name="T23" fmla="*/ 1861 h 4101"/>
                  <a:gd name="T24" fmla="*/ 1251 w 3520"/>
                  <a:gd name="T25" fmla="*/ 1719 h 4101"/>
                  <a:gd name="T26" fmla="*/ 1272 w 3520"/>
                  <a:gd name="T27" fmla="*/ 1612 h 4101"/>
                  <a:gd name="T28" fmla="*/ 1310 w 3520"/>
                  <a:gd name="T29" fmla="*/ 1452 h 4101"/>
                  <a:gd name="T30" fmla="*/ 1369 w 3520"/>
                  <a:gd name="T31" fmla="*/ 1276 h 4101"/>
                  <a:gd name="T32" fmla="*/ 1444 w 3520"/>
                  <a:gd name="T33" fmla="*/ 1105 h 4101"/>
                  <a:gd name="T34" fmla="*/ 1534 w 3520"/>
                  <a:gd name="T35" fmla="*/ 940 h 4101"/>
                  <a:gd name="T36" fmla="*/ 1639 w 3520"/>
                  <a:gd name="T37" fmla="*/ 783 h 4101"/>
                  <a:gd name="T38" fmla="*/ 1758 w 3520"/>
                  <a:gd name="T39" fmla="*/ 634 h 4101"/>
                  <a:gd name="T40" fmla="*/ 1888 w 3520"/>
                  <a:gd name="T41" fmla="*/ 494 h 4101"/>
                  <a:gd name="T42" fmla="*/ 2032 w 3520"/>
                  <a:gd name="T43" fmla="*/ 367 h 4101"/>
                  <a:gd name="T44" fmla="*/ 2209 w 3520"/>
                  <a:gd name="T45" fmla="*/ 248 h 4101"/>
                  <a:gd name="T46" fmla="*/ 2424 w 3520"/>
                  <a:gd name="T47" fmla="*/ 156 h 4101"/>
                  <a:gd name="T48" fmla="*/ 2659 w 3520"/>
                  <a:gd name="T49" fmla="*/ 90 h 4101"/>
                  <a:gd name="T50" fmla="*/ 2896 w 3520"/>
                  <a:gd name="T51" fmla="*/ 45 h 4101"/>
                  <a:gd name="T52" fmla="*/ 3115 w 3520"/>
                  <a:gd name="T53" fmla="*/ 18 h 4101"/>
                  <a:gd name="T54" fmla="*/ 3409 w 3520"/>
                  <a:gd name="T55" fmla="*/ 1 h 4101"/>
                  <a:gd name="T56" fmla="*/ 3511 w 3520"/>
                  <a:gd name="T57" fmla="*/ 1 h 4101"/>
                  <a:gd name="T58" fmla="*/ 3519 w 3520"/>
                  <a:gd name="T59" fmla="*/ 18 h 4101"/>
                  <a:gd name="T60" fmla="*/ 3493 w 3520"/>
                  <a:gd name="T61" fmla="*/ 27 h 4101"/>
                  <a:gd name="T62" fmla="*/ 3261 w 3520"/>
                  <a:gd name="T63" fmla="*/ 35 h 4101"/>
                  <a:gd name="T64" fmla="*/ 3014 w 3520"/>
                  <a:gd name="T65" fmla="*/ 56 h 4101"/>
                  <a:gd name="T66" fmla="*/ 2786 w 3520"/>
                  <a:gd name="T67" fmla="*/ 91 h 4101"/>
                  <a:gd name="T68" fmla="*/ 2550 w 3520"/>
                  <a:gd name="T69" fmla="*/ 145 h 4101"/>
                  <a:gd name="T70" fmla="*/ 2326 w 3520"/>
                  <a:gd name="T71" fmla="*/ 222 h 4101"/>
                  <a:gd name="T72" fmla="*/ 2129 w 3520"/>
                  <a:gd name="T73" fmla="*/ 327 h 4101"/>
                  <a:gd name="T74" fmla="*/ 1977 w 3520"/>
                  <a:gd name="T75" fmla="*/ 450 h 4101"/>
                  <a:gd name="T76" fmla="*/ 1841 w 3520"/>
                  <a:gd name="T77" fmla="*/ 582 h 4101"/>
                  <a:gd name="T78" fmla="*/ 1718 w 3520"/>
                  <a:gd name="T79" fmla="*/ 724 h 4101"/>
                  <a:gd name="T80" fmla="*/ 1608 w 3520"/>
                  <a:gd name="T81" fmla="*/ 876 h 4101"/>
                  <a:gd name="T82" fmla="*/ 1510 w 3520"/>
                  <a:gd name="T83" fmla="*/ 1035 h 4101"/>
                  <a:gd name="T84" fmla="*/ 1429 w 3520"/>
                  <a:gd name="T85" fmla="*/ 1200 h 4101"/>
                  <a:gd name="T86" fmla="*/ 1363 w 3520"/>
                  <a:gd name="T87" fmla="*/ 1372 h 4101"/>
                  <a:gd name="T88" fmla="*/ 1314 w 3520"/>
                  <a:gd name="T89" fmla="*/ 1547 h 4101"/>
                  <a:gd name="T90" fmla="*/ 1288 w 3520"/>
                  <a:gd name="T91" fmla="*/ 1670 h 4101"/>
                  <a:gd name="T92" fmla="*/ 1269 w 3520"/>
                  <a:gd name="T93" fmla="*/ 1776 h 4101"/>
                  <a:gd name="T94" fmla="*/ 1229 w 3520"/>
                  <a:gd name="T95" fmla="*/ 1997 h 4101"/>
                  <a:gd name="T96" fmla="*/ 1172 w 3520"/>
                  <a:gd name="T97" fmla="*/ 2224 h 4101"/>
                  <a:gd name="T98" fmla="*/ 1128 w 3520"/>
                  <a:gd name="T99" fmla="*/ 2353 h 4101"/>
                  <a:gd name="T100" fmla="*/ 1071 w 3520"/>
                  <a:gd name="T101" fmla="*/ 2481 h 4101"/>
                  <a:gd name="T102" fmla="*/ 999 w 3520"/>
                  <a:gd name="T103" fmla="*/ 2606 h 4101"/>
                  <a:gd name="T104" fmla="*/ 907 w 3520"/>
                  <a:gd name="T105" fmla="*/ 2728 h 4101"/>
                  <a:gd name="T106" fmla="*/ 800 w 3520"/>
                  <a:gd name="T107" fmla="*/ 2843 h 4101"/>
                  <a:gd name="T108" fmla="*/ 697 w 3520"/>
                  <a:gd name="T109" fmla="*/ 2966 h 4101"/>
                  <a:gd name="T110" fmla="*/ 589 w 3520"/>
                  <a:gd name="T111" fmla="*/ 3115 h 4101"/>
                  <a:gd name="T112" fmla="*/ 453 w 3520"/>
                  <a:gd name="T113" fmla="*/ 3328 h 4101"/>
                  <a:gd name="T114" fmla="*/ 245 w 3520"/>
                  <a:gd name="T115" fmla="*/ 3692 h 4101"/>
                  <a:gd name="T116" fmla="*/ 67 w 3520"/>
                  <a:gd name="T117" fmla="*/ 4029 h 4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20" h="4101">
                    <a:moveTo>
                      <a:pt x="0" y="4101"/>
                    </a:moveTo>
                    <a:lnTo>
                      <a:pt x="37" y="4029"/>
                    </a:lnTo>
                    <a:lnTo>
                      <a:pt x="78" y="3950"/>
                    </a:lnTo>
                    <a:lnTo>
                      <a:pt x="121" y="3867"/>
                    </a:lnTo>
                    <a:lnTo>
                      <a:pt x="167" y="3779"/>
                    </a:lnTo>
                    <a:lnTo>
                      <a:pt x="216" y="3689"/>
                    </a:lnTo>
                    <a:lnTo>
                      <a:pt x="267" y="3597"/>
                    </a:lnTo>
                    <a:lnTo>
                      <a:pt x="318" y="3504"/>
                    </a:lnTo>
                    <a:lnTo>
                      <a:pt x="372" y="3411"/>
                    </a:lnTo>
                    <a:lnTo>
                      <a:pt x="427" y="3319"/>
                    </a:lnTo>
                    <a:lnTo>
                      <a:pt x="482" y="3230"/>
                    </a:lnTo>
                    <a:lnTo>
                      <a:pt x="511" y="3187"/>
                    </a:lnTo>
                    <a:lnTo>
                      <a:pt x="539" y="3144"/>
                    </a:lnTo>
                    <a:lnTo>
                      <a:pt x="566" y="3102"/>
                    </a:lnTo>
                    <a:lnTo>
                      <a:pt x="594" y="3063"/>
                    </a:lnTo>
                    <a:lnTo>
                      <a:pt x="621" y="3024"/>
                    </a:lnTo>
                    <a:lnTo>
                      <a:pt x="649" y="2986"/>
                    </a:lnTo>
                    <a:lnTo>
                      <a:pt x="676" y="2950"/>
                    </a:lnTo>
                    <a:lnTo>
                      <a:pt x="703" y="2916"/>
                    </a:lnTo>
                    <a:lnTo>
                      <a:pt x="729" y="2883"/>
                    </a:lnTo>
                    <a:lnTo>
                      <a:pt x="755" y="2853"/>
                    </a:lnTo>
                    <a:lnTo>
                      <a:pt x="781" y="2825"/>
                    </a:lnTo>
                    <a:lnTo>
                      <a:pt x="805" y="2799"/>
                    </a:lnTo>
                    <a:lnTo>
                      <a:pt x="833" y="2770"/>
                    </a:lnTo>
                    <a:lnTo>
                      <a:pt x="860" y="2740"/>
                    </a:lnTo>
                    <a:lnTo>
                      <a:pt x="886" y="2711"/>
                    </a:lnTo>
                    <a:lnTo>
                      <a:pt x="911" y="2680"/>
                    </a:lnTo>
                    <a:lnTo>
                      <a:pt x="934" y="2651"/>
                    </a:lnTo>
                    <a:lnTo>
                      <a:pt x="955" y="2621"/>
                    </a:lnTo>
                    <a:lnTo>
                      <a:pt x="976" y="2590"/>
                    </a:lnTo>
                    <a:lnTo>
                      <a:pt x="995" y="2560"/>
                    </a:lnTo>
                    <a:lnTo>
                      <a:pt x="1014" y="2529"/>
                    </a:lnTo>
                    <a:lnTo>
                      <a:pt x="1031" y="2498"/>
                    </a:lnTo>
                    <a:lnTo>
                      <a:pt x="1047" y="2467"/>
                    </a:lnTo>
                    <a:lnTo>
                      <a:pt x="1062" y="2435"/>
                    </a:lnTo>
                    <a:lnTo>
                      <a:pt x="1077" y="2404"/>
                    </a:lnTo>
                    <a:lnTo>
                      <a:pt x="1090" y="2373"/>
                    </a:lnTo>
                    <a:lnTo>
                      <a:pt x="1103" y="2341"/>
                    </a:lnTo>
                    <a:lnTo>
                      <a:pt x="1115" y="2310"/>
                    </a:lnTo>
                    <a:lnTo>
                      <a:pt x="1126" y="2278"/>
                    </a:lnTo>
                    <a:lnTo>
                      <a:pt x="1137" y="2246"/>
                    </a:lnTo>
                    <a:lnTo>
                      <a:pt x="1147" y="2214"/>
                    </a:lnTo>
                    <a:lnTo>
                      <a:pt x="1156" y="2182"/>
                    </a:lnTo>
                    <a:lnTo>
                      <a:pt x="1174" y="2118"/>
                    </a:lnTo>
                    <a:lnTo>
                      <a:pt x="1189" y="2054"/>
                    </a:lnTo>
                    <a:lnTo>
                      <a:pt x="1202" y="1990"/>
                    </a:lnTo>
                    <a:lnTo>
                      <a:pt x="1215" y="1926"/>
                    </a:lnTo>
                    <a:lnTo>
                      <a:pt x="1226" y="1861"/>
                    </a:lnTo>
                    <a:lnTo>
                      <a:pt x="1237" y="1797"/>
                    </a:lnTo>
                    <a:lnTo>
                      <a:pt x="1243" y="1771"/>
                    </a:lnTo>
                    <a:lnTo>
                      <a:pt x="1247" y="1744"/>
                    </a:lnTo>
                    <a:lnTo>
                      <a:pt x="1251" y="1719"/>
                    </a:lnTo>
                    <a:lnTo>
                      <a:pt x="1257" y="1692"/>
                    </a:lnTo>
                    <a:lnTo>
                      <a:pt x="1262" y="1666"/>
                    </a:lnTo>
                    <a:lnTo>
                      <a:pt x="1266" y="1639"/>
                    </a:lnTo>
                    <a:lnTo>
                      <a:pt x="1272" y="1612"/>
                    </a:lnTo>
                    <a:lnTo>
                      <a:pt x="1277" y="1586"/>
                    </a:lnTo>
                    <a:lnTo>
                      <a:pt x="1287" y="1540"/>
                    </a:lnTo>
                    <a:lnTo>
                      <a:pt x="1298" y="1496"/>
                    </a:lnTo>
                    <a:lnTo>
                      <a:pt x="1310" y="1452"/>
                    </a:lnTo>
                    <a:lnTo>
                      <a:pt x="1324" y="1408"/>
                    </a:lnTo>
                    <a:lnTo>
                      <a:pt x="1338" y="1363"/>
                    </a:lnTo>
                    <a:lnTo>
                      <a:pt x="1353" y="1320"/>
                    </a:lnTo>
                    <a:lnTo>
                      <a:pt x="1369" y="1276"/>
                    </a:lnTo>
                    <a:lnTo>
                      <a:pt x="1386" y="1233"/>
                    </a:lnTo>
                    <a:lnTo>
                      <a:pt x="1405" y="1191"/>
                    </a:lnTo>
                    <a:lnTo>
                      <a:pt x="1423" y="1148"/>
                    </a:lnTo>
                    <a:lnTo>
                      <a:pt x="1444" y="1105"/>
                    </a:lnTo>
                    <a:lnTo>
                      <a:pt x="1465" y="1063"/>
                    </a:lnTo>
                    <a:lnTo>
                      <a:pt x="1487" y="1022"/>
                    </a:lnTo>
                    <a:lnTo>
                      <a:pt x="1510" y="981"/>
                    </a:lnTo>
                    <a:lnTo>
                      <a:pt x="1534" y="940"/>
                    </a:lnTo>
                    <a:lnTo>
                      <a:pt x="1559" y="900"/>
                    </a:lnTo>
                    <a:lnTo>
                      <a:pt x="1585" y="860"/>
                    </a:lnTo>
                    <a:lnTo>
                      <a:pt x="1611" y="822"/>
                    </a:lnTo>
                    <a:lnTo>
                      <a:pt x="1639" y="783"/>
                    </a:lnTo>
                    <a:lnTo>
                      <a:pt x="1667" y="745"/>
                    </a:lnTo>
                    <a:lnTo>
                      <a:pt x="1696" y="707"/>
                    </a:lnTo>
                    <a:lnTo>
                      <a:pt x="1726" y="670"/>
                    </a:lnTo>
                    <a:lnTo>
                      <a:pt x="1758" y="634"/>
                    </a:lnTo>
                    <a:lnTo>
                      <a:pt x="1789" y="598"/>
                    </a:lnTo>
                    <a:lnTo>
                      <a:pt x="1821" y="562"/>
                    </a:lnTo>
                    <a:lnTo>
                      <a:pt x="1855" y="529"/>
                    </a:lnTo>
                    <a:lnTo>
                      <a:pt x="1888" y="494"/>
                    </a:lnTo>
                    <a:lnTo>
                      <a:pt x="1924" y="462"/>
                    </a:lnTo>
                    <a:lnTo>
                      <a:pt x="1959" y="430"/>
                    </a:lnTo>
                    <a:lnTo>
                      <a:pt x="1995" y="398"/>
                    </a:lnTo>
                    <a:lnTo>
                      <a:pt x="2032" y="367"/>
                    </a:lnTo>
                    <a:lnTo>
                      <a:pt x="2070" y="337"/>
                    </a:lnTo>
                    <a:lnTo>
                      <a:pt x="2113" y="306"/>
                    </a:lnTo>
                    <a:lnTo>
                      <a:pt x="2159" y="275"/>
                    </a:lnTo>
                    <a:lnTo>
                      <a:pt x="2209" y="248"/>
                    </a:lnTo>
                    <a:lnTo>
                      <a:pt x="2260" y="222"/>
                    </a:lnTo>
                    <a:lnTo>
                      <a:pt x="2313" y="199"/>
                    </a:lnTo>
                    <a:lnTo>
                      <a:pt x="2368" y="176"/>
                    </a:lnTo>
                    <a:lnTo>
                      <a:pt x="2424" y="156"/>
                    </a:lnTo>
                    <a:lnTo>
                      <a:pt x="2482" y="137"/>
                    </a:lnTo>
                    <a:lnTo>
                      <a:pt x="2541" y="120"/>
                    </a:lnTo>
                    <a:lnTo>
                      <a:pt x="2600" y="104"/>
                    </a:lnTo>
                    <a:lnTo>
                      <a:pt x="2659" y="90"/>
                    </a:lnTo>
                    <a:lnTo>
                      <a:pt x="2719" y="77"/>
                    </a:lnTo>
                    <a:lnTo>
                      <a:pt x="2778" y="65"/>
                    </a:lnTo>
                    <a:lnTo>
                      <a:pt x="2838" y="55"/>
                    </a:lnTo>
                    <a:lnTo>
                      <a:pt x="2896" y="45"/>
                    </a:lnTo>
                    <a:lnTo>
                      <a:pt x="2953" y="37"/>
                    </a:lnTo>
                    <a:lnTo>
                      <a:pt x="3008" y="30"/>
                    </a:lnTo>
                    <a:lnTo>
                      <a:pt x="3063" y="24"/>
                    </a:lnTo>
                    <a:lnTo>
                      <a:pt x="3115" y="18"/>
                    </a:lnTo>
                    <a:lnTo>
                      <a:pt x="3166" y="14"/>
                    </a:lnTo>
                    <a:lnTo>
                      <a:pt x="3259" y="8"/>
                    </a:lnTo>
                    <a:lnTo>
                      <a:pt x="3341" y="3"/>
                    </a:lnTo>
                    <a:lnTo>
                      <a:pt x="3409" y="1"/>
                    </a:lnTo>
                    <a:lnTo>
                      <a:pt x="3460" y="0"/>
                    </a:lnTo>
                    <a:lnTo>
                      <a:pt x="3493" y="0"/>
                    </a:lnTo>
                    <a:lnTo>
                      <a:pt x="3506" y="0"/>
                    </a:lnTo>
                    <a:lnTo>
                      <a:pt x="3511" y="1"/>
                    </a:lnTo>
                    <a:lnTo>
                      <a:pt x="3516" y="3"/>
                    </a:lnTo>
                    <a:lnTo>
                      <a:pt x="3519" y="8"/>
                    </a:lnTo>
                    <a:lnTo>
                      <a:pt x="3520" y="13"/>
                    </a:lnTo>
                    <a:lnTo>
                      <a:pt x="3519" y="18"/>
                    </a:lnTo>
                    <a:lnTo>
                      <a:pt x="3516" y="23"/>
                    </a:lnTo>
                    <a:lnTo>
                      <a:pt x="3511" y="26"/>
                    </a:lnTo>
                    <a:lnTo>
                      <a:pt x="3506" y="27"/>
                    </a:lnTo>
                    <a:lnTo>
                      <a:pt x="3493" y="27"/>
                    </a:lnTo>
                    <a:lnTo>
                      <a:pt x="3460" y="27"/>
                    </a:lnTo>
                    <a:lnTo>
                      <a:pt x="3409" y="28"/>
                    </a:lnTo>
                    <a:lnTo>
                      <a:pt x="3342" y="30"/>
                    </a:lnTo>
                    <a:lnTo>
                      <a:pt x="3261" y="35"/>
                    </a:lnTo>
                    <a:lnTo>
                      <a:pt x="3169" y="41"/>
                    </a:lnTo>
                    <a:lnTo>
                      <a:pt x="3118" y="45"/>
                    </a:lnTo>
                    <a:lnTo>
                      <a:pt x="3066" y="51"/>
                    </a:lnTo>
                    <a:lnTo>
                      <a:pt x="3014" y="56"/>
                    </a:lnTo>
                    <a:lnTo>
                      <a:pt x="2957" y="64"/>
                    </a:lnTo>
                    <a:lnTo>
                      <a:pt x="2901" y="71"/>
                    </a:lnTo>
                    <a:lnTo>
                      <a:pt x="2844" y="81"/>
                    </a:lnTo>
                    <a:lnTo>
                      <a:pt x="2786" y="91"/>
                    </a:lnTo>
                    <a:lnTo>
                      <a:pt x="2726" y="103"/>
                    </a:lnTo>
                    <a:lnTo>
                      <a:pt x="2668" y="114"/>
                    </a:lnTo>
                    <a:lnTo>
                      <a:pt x="2609" y="129"/>
                    </a:lnTo>
                    <a:lnTo>
                      <a:pt x="2550" y="145"/>
                    </a:lnTo>
                    <a:lnTo>
                      <a:pt x="2493" y="162"/>
                    </a:lnTo>
                    <a:lnTo>
                      <a:pt x="2436" y="180"/>
                    </a:lnTo>
                    <a:lnTo>
                      <a:pt x="2381" y="200"/>
                    </a:lnTo>
                    <a:lnTo>
                      <a:pt x="2326" y="222"/>
                    </a:lnTo>
                    <a:lnTo>
                      <a:pt x="2274" y="245"/>
                    </a:lnTo>
                    <a:lnTo>
                      <a:pt x="2223" y="271"/>
                    </a:lnTo>
                    <a:lnTo>
                      <a:pt x="2175" y="298"/>
                    </a:lnTo>
                    <a:lnTo>
                      <a:pt x="2129" y="327"/>
                    </a:lnTo>
                    <a:lnTo>
                      <a:pt x="2086" y="358"/>
                    </a:lnTo>
                    <a:lnTo>
                      <a:pt x="2049" y="389"/>
                    </a:lnTo>
                    <a:lnTo>
                      <a:pt x="2013" y="419"/>
                    </a:lnTo>
                    <a:lnTo>
                      <a:pt x="1977" y="450"/>
                    </a:lnTo>
                    <a:lnTo>
                      <a:pt x="1942" y="482"/>
                    </a:lnTo>
                    <a:lnTo>
                      <a:pt x="1908" y="514"/>
                    </a:lnTo>
                    <a:lnTo>
                      <a:pt x="1874" y="547"/>
                    </a:lnTo>
                    <a:lnTo>
                      <a:pt x="1841" y="582"/>
                    </a:lnTo>
                    <a:lnTo>
                      <a:pt x="1810" y="616"/>
                    </a:lnTo>
                    <a:lnTo>
                      <a:pt x="1778" y="651"/>
                    </a:lnTo>
                    <a:lnTo>
                      <a:pt x="1747" y="688"/>
                    </a:lnTo>
                    <a:lnTo>
                      <a:pt x="1718" y="724"/>
                    </a:lnTo>
                    <a:lnTo>
                      <a:pt x="1689" y="761"/>
                    </a:lnTo>
                    <a:lnTo>
                      <a:pt x="1661" y="799"/>
                    </a:lnTo>
                    <a:lnTo>
                      <a:pt x="1634" y="837"/>
                    </a:lnTo>
                    <a:lnTo>
                      <a:pt x="1608" y="876"/>
                    </a:lnTo>
                    <a:lnTo>
                      <a:pt x="1582" y="914"/>
                    </a:lnTo>
                    <a:lnTo>
                      <a:pt x="1557" y="954"/>
                    </a:lnTo>
                    <a:lnTo>
                      <a:pt x="1533" y="994"/>
                    </a:lnTo>
                    <a:lnTo>
                      <a:pt x="1510" y="1035"/>
                    </a:lnTo>
                    <a:lnTo>
                      <a:pt x="1489" y="1076"/>
                    </a:lnTo>
                    <a:lnTo>
                      <a:pt x="1468" y="1117"/>
                    </a:lnTo>
                    <a:lnTo>
                      <a:pt x="1448" y="1158"/>
                    </a:lnTo>
                    <a:lnTo>
                      <a:pt x="1429" y="1200"/>
                    </a:lnTo>
                    <a:lnTo>
                      <a:pt x="1411" y="1244"/>
                    </a:lnTo>
                    <a:lnTo>
                      <a:pt x="1394" y="1286"/>
                    </a:lnTo>
                    <a:lnTo>
                      <a:pt x="1378" y="1329"/>
                    </a:lnTo>
                    <a:lnTo>
                      <a:pt x="1363" y="1372"/>
                    </a:lnTo>
                    <a:lnTo>
                      <a:pt x="1350" y="1415"/>
                    </a:lnTo>
                    <a:lnTo>
                      <a:pt x="1337" y="1458"/>
                    </a:lnTo>
                    <a:lnTo>
                      <a:pt x="1325" y="1503"/>
                    </a:lnTo>
                    <a:lnTo>
                      <a:pt x="1314" y="1547"/>
                    </a:lnTo>
                    <a:lnTo>
                      <a:pt x="1304" y="1591"/>
                    </a:lnTo>
                    <a:lnTo>
                      <a:pt x="1299" y="1617"/>
                    </a:lnTo>
                    <a:lnTo>
                      <a:pt x="1293" y="1644"/>
                    </a:lnTo>
                    <a:lnTo>
                      <a:pt x="1288" y="1670"/>
                    </a:lnTo>
                    <a:lnTo>
                      <a:pt x="1284" y="1697"/>
                    </a:lnTo>
                    <a:lnTo>
                      <a:pt x="1278" y="1723"/>
                    </a:lnTo>
                    <a:lnTo>
                      <a:pt x="1274" y="1750"/>
                    </a:lnTo>
                    <a:lnTo>
                      <a:pt x="1269" y="1776"/>
                    </a:lnTo>
                    <a:lnTo>
                      <a:pt x="1264" y="1802"/>
                    </a:lnTo>
                    <a:lnTo>
                      <a:pt x="1252" y="1866"/>
                    </a:lnTo>
                    <a:lnTo>
                      <a:pt x="1241" y="1931"/>
                    </a:lnTo>
                    <a:lnTo>
                      <a:pt x="1229" y="1997"/>
                    </a:lnTo>
                    <a:lnTo>
                      <a:pt x="1215" y="2062"/>
                    </a:lnTo>
                    <a:lnTo>
                      <a:pt x="1199" y="2127"/>
                    </a:lnTo>
                    <a:lnTo>
                      <a:pt x="1182" y="2191"/>
                    </a:lnTo>
                    <a:lnTo>
                      <a:pt x="1172" y="2224"/>
                    </a:lnTo>
                    <a:lnTo>
                      <a:pt x="1163" y="2256"/>
                    </a:lnTo>
                    <a:lnTo>
                      <a:pt x="1152" y="2289"/>
                    </a:lnTo>
                    <a:lnTo>
                      <a:pt x="1140" y="2321"/>
                    </a:lnTo>
                    <a:lnTo>
                      <a:pt x="1128" y="2353"/>
                    </a:lnTo>
                    <a:lnTo>
                      <a:pt x="1115" y="2385"/>
                    </a:lnTo>
                    <a:lnTo>
                      <a:pt x="1101" y="2417"/>
                    </a:lnTo>
                    <a:lnTo>
                      <a:pt x="1086" y="2448"/>
                    </a:lnTo>
                    <a:lnTo>
                      <a:pt x="1071" y="2481"/>
                    </a:lnTo>
                    <a:lnTo>
                      <a:pt x="1055" y="2512"/>
                    </a:lnTo>
                    <a:lnTo>
                      <a:pt x="1036" y="2543"/>
                    </a:lnTo>
                    <a:lnTo>
                      <a:pt x="1018" y="2575"/>
                    </a:lnTo>
                    <a:lnTo>
                      <a:pt x="999" y="2606"/>
                    </a:lnTo>
                    <a:lnTo>
                      <a:pt x="977" y="2636"/>
                    </a:lnTo>
                    <a:lnTo>
                      <a:pt x="955" y="2667"/>
                    </a:lnTo>
                    <a:lnTo>
                      <a:pt x="932" y="2698"/>
                    </a:lnTo>
                    <a:lnTo>
                      <a:pt x="907" y="2728"/>
                    </a:lnTo>
                    <a:lnTo>
                      <a:pt x="881" y="2758"/>
                    </a:lnTo>
                    <a:lnTo>
                      <a:pt x="854" y="2788"/>
                    </a:lnTo>
                    <a:lnTo>
                      <a:pt x="825" y="2818"/>
                    </a:lnTo>
                    <a:lnTo>
                      <a:pt x="800" y="2843"/>
                    </a:lnTo>
                    <a:lnTo>
                      <a:pt x="775" y="2871"/>
                    </a:lnTo>
                    <a:lnTo>
                      <a:pt x="749" y="2901"/>
                    </a:lnTo>
                    <a:lnTo>
                      <a:pt x="723" y="2933"/>
                    </a:lnTo>
                    <a:lnTo>
                      <a:pt x="697" y="2966"/>
                    </a:lnTo>
                    <a:lnTo>
                      <a:pt x="670" y="3001"/>
                    </a:lnTo>
                    <a:lnTo>
                      <a:pt x="643" y="3038"/>
                    </a:lnTo>
                    <a:lnTo>
                      <a:pt x="616" y="3075"/>
                    </a:lnTo>
                    <a:lnTo>
                      <a:pt x="589" y="3115"/>
                    </a:lnTo>
                    <a:lnTo>
                      <a:pt x="562" y="3156"/>
                    </a:lnTo>
                    <a:lnTo>
                      <a:pt x="535" y="3197"/>
                    </a:lnTo>
                    <a:lnTo>
                      <a:pt x="508" y="3241"/>
                    </a:lnTo>
                    <a:lnTo>
                      <a:pt x="453" y="3328"/>
                    </a:lnTo>
                    <a:lnTo>
                      <a:pt x="399" y="3418"/>
                    </a:lnTo>
                    <a:lnTo>
                      <a:pt x="346" y="3509"/>
                    </a:lnTo>
                    <a:lnTo>
                      <a:pt x="295" y="3601"/>
                    </a:lnTo>
                    <a:lnTo>
                      <a:pt x="245" y="3692"/>
                    </a:lnTo>
                    <a:lnTo>
                      <a:pt x="196" y="3781"/>
                    </a:lnTo>
                    <a:lnTo>
                      <a:pt x="150" y="3868"/>
                    </a:lnTo>
                    <a:lnTo>
                      <a:pt x="107" y="3950"/>
                    </a:lnTo>
                    <a:lnTo>
                      <a:pt x="67" y="4029"/>
                    </a:lnTo>
                    <a:lnTo>
                      <a:pt x="30" y="4101"/>
                    </a:lnTo>
                    <a:lnTo>
                      <a:pt x="0" y="4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98"/>
              <p:cNvSpPr>
                <a:spLocks noEditPoints="1"/>
              </p:cNvSpPr>
              <p:nvPr userDrawn="1"/>
            </p:nvSpPr>
            <p:spPr bwMode="auto">
              <a:xfrm>
                <a:off x="2718" y="3461"/>
                <a:ext cx="25" cy="26"/>
              </a:xfrm>
              <a:custGeom>
                <a:avLst/>
                <a:gdLst>
                  <a:gd name="T0" fmla="*/ 39 w 76"/>
                  <a:gd name="T1" fmla="*/ 77 h 77"/>
                  <a:gd name="T2" fmla="*/ 31 w 76"/>
                  <a:gd name="T3" fmla="*/ 76 h 77"/>
                  <a:gd name="T4" fmla="*/ 23 w 76"/>
                  <a:gd name="T5" fmla="*/ 74 h 77"/>
                  <a:gd name="T6" fmla="*/ 17 w 76"/>
                  <a:gd name="T7" fmla="*/ 71 h 77"/>
                  <a:gd name="T8" fmla="*/ 12 w 76"/>
                  <a:gd name="T9" fmla="*/ 65 h 77"/>
                  <a:gd name="T10" fmla="*/ 6 w 76"/>
                  <a:gd name="T11" fmla="*/ 60 h 77"/>
                  <a:gd name="T12" fmla="*/ 3 w 76"/>
                  <a:gd name="T13" fmla="*/ 53 h 77"/>
                  <a:gd name="T14" fmla="*/ 1 w 76"/>
                  <a:gd name="T15" fmla="*/ 47 h 77"/>
                  <a:gd name="T16" fmla="*/ 0 w 76"/>
                  <a:gd name="T17" fmla="*/ 38 h 77"/>
                  <a:gd name="T18" fmla="*/ 1 w 76"/>
                  <a:gd name="T19" fmla="*/ 31 h 77"/>
                  <a:gd name="T20" fmla="*/ 3 w 76"/>
                  <a:gd name="T21" fmla="*/ 24 h 77"/>
                  <a:gd name="T22" fmla="*/ 6 w 76"/>
                  <a:gd name="T23" fmla="*/ 18 h 77"/>
                  <a:gd name="T24" fmla="*/ 12 w 76"/>
                  <a:gd name="T25" fmla="*/ 11 h 77"/>
                  <a:gd name="T26" fmla="*/ 17 w 76"/>
                  <a:gd name="T27" fmla="*/ 7 h 77"/>
                  <a:gd name="T28" fmla="*/ 23 w 76"/>
                  <a:gd name="T29" fmla="*/ 4 h 77"/>
                  <a:gd name="T30" fmla="*/ 31 w 76"/>
                  <a:gd name="T31" fmla="*/ 1 h 77"/>
                  <a:gd name="T32" fmla="*/ 39 w 76"/>
                  <a:gd name="T33" fmla="*/ 0 h 77"/>
                  <a:gd name="T34" fmla="*/ 46 w 76"/>
                  <a:gd name="T35" fmla="*/ 1 h 77"/>
                  <a:gd name="T36" fmla="*/ 53 w 76"/>
                  <a:gd name="T37" fmla="*/ 4 h 77"/>
                  <a:gd name="T38" fmla="*/ 59 w 76"/>
                  <a:gd name="T39" fmla="*/ 7 h 77"/>
                  <a:gd name="T40" fmla="*/ 66 w 76"/>
                  <a:gd name="T41" fmla="*/ 11 h 77"/>
                  <a:gd name="T42" fmla="*/ 70 w 76"/>
                  <a:gd name="T43" fmla="*/ 18 h 77"/>
                  <a:gd name="T44" fmla="*/ 73 w 76"/>
                  <a:gd name="T45" fmla="*/ 24 h 77"/>
                  <a:gd name="T46" fmla="*/ 75 w 76"/>
                  <a:gd name="T47" fmla="*/ 31 h 77"/>
                  <a:gd name="T48" fmla="*/ 76 w 76"/>
                  <a:gd name="T49" fmla="*/ 38 h 77"/>
                  <a:gd name="T50" fmla="*/ 75 w 76"/>
                  <a:gd name="T51" fmla="*/ 47 h 77"/>
                  <a:gd name="T52" fmla="*/ 73 w 76"/>
                  <a:gd name="T53" fmla="*/ 53 h 77"/>
                  <a:gd name="T54" fmla="*/ 70 w 76"/>
                  <a:gd name="T55" fmla="*/ 60 h 77"/>
                  <a:gd name="T56" fmla="*/ 66 w 76"/>
                  <a:gd name="T57" fmla="*/ 65 h 77"/>
                  <a:gd name="T58" fmla="*/ 59 w 76"/>
                  <a:gd name="T59" fmla="*/ 71 h 77"/>
                  <a:gd name="T60" fmla="*/ 53 w 76"/>
                  <a:gd name="T61" fmla="*/ 74 h 77"/>
                  <a:gd name="T62" fmla="*/ 46 w 76"/>
                  <a:gd name="T63" fmla="*/ 76 h 77"/>
                  <a:gd name="T64" fmla="*/ 39 w 76"/>
                  <a:gd name="T65" fmla="*/ 77 h 77"/>
                  <a:gd name="T66" fmla="*/ 39 w 76"/>
                  <a:gd name="T67" fmla="*/ 27 h 77"/>
                  <a:gd name="T68" fmla="*/ 39 w 76"/>
                  <a:gd name="T69" fmla="*/ 27 h 77"/>
                  <a:gd name="T70" fmla="*/ 34 w 76"/>
                  <a:gd name="T71" fmla="*/ 28 h 77"/>
                  <a:gd name="T72" fmla="*/ 30 w 76"/>
                  <a:gd name="T73" fmla="*/ 31 h 77"/>
                  <a:gd name="T74" fmla="*/ 28 w 76"/>
                  <a:gd name="T75" fmla="*/ 34 h 77"/>
                  <a:gd name="T76" fmla="*/ 27 w 76"/>
                  <a:gd name="T77" fmla="*/ 38 h 77"/>
                  <a:gd name="T78" fmla="*/ 28 w 76"/>
                  <a:gd name="T79" fmla="*/ 42 h 77"/>
                  <a:gd name="T80" fmla="*/ 30 w 76"/>
                  <a:gd name="T81" fmla="*/ 47 h 77"/>
                  <a:gd name="T82" fmla="*/ 34 w 76"/>
                  <a:gd name="T83" fmla="*/ 49 h 77"/>
                  <a:gd name="T84" fmla="*/ 39 w 76"/>
                  <a:gd name="T85" fmla="*/ 50 h 77"/>
                  <a:gd name="T86" fmla="*/ 43 w 76"/>
                  <a:gd name="T87" fmla="*/ 49 h 77"/>
                  <a:gd name="T88" fmla="*/ 46 w 76"/>
                  <a:gd name="T89" fmla="*/ 47 h 77"/>
                  <a:gd name="T90" fmla="*/ 48 w 76"/>
                  <a:gd name="T91" fmla="*/ 42 h 77"/>
                  <a:gd name="T92" fmla="*/ 49 w 76"/>
                  <a:gd name="T93" fmla="*/ 38 h 77"/>
                  <a:gd name="T94" fmla="*/ 48 w 76"/>
                  <a:gd name="T95" fmla="*/ 34 h 77"/>
                  <a:gd name="T96" fmla="*/ 46 w 76"/>
                  <a:gd name="T97" fmla="*/ 31 h 77"/>
                  <a:gd name="T98" fmla="*/ 43 w 76"/>
                  <a:gd name="T99" fmla="*/ 28 h 77"/>
                  <a:gd name="T100" fmla="*/ 39 w 76"/>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 h="77">
                    <a:moveTo>
                      <a:pt x="39" y="77"/>
                    </a:moveTo>
                    <a:lnTo>
                      <a:pt x="31" y="76"/>
                    </a:lnTo>
                    <a:lnTo>
                      <a:pt x="23" y="74"/>
                    </a:lnTo>
                    <a:lnTo>
                      <a:pt x="17" y="71"/>
                    </a:lnTo>
                    <a:lnTo>
                      <a:pt x="12" y="65"/>
                    </a:lnTo>
                    <a:lnTo>
                      <a:pt x="6" y="60"/>
                    </a:lnTo>
                    <a:lnTo>
                      <a:pt x="3" y="53"/>
                    </a:lnTo>
                    <a:lnTo>
                      <a:pt x="1" y="47"/>
                    </a:lnTo>
                    <a:lnTo>
                      <a:pt x="0" y="38"/>
                    </a:lnTo>
                    <a:lnTo>
                      <a:pt x="1" y="31"/>
                    </a:lnTo>
                    <a:lnTo>
                      <a:pt x="3" y="24"/>
                    </a:lnTo>
                    <a:lnTo>
                      <a:pt x="6" y="18"/>
                    </a:lnTo>
                    <a:lnTo>
                      <a:pt x="12" y="11"/>
                    </a:lnTo>
                    <a:lnTo>
                      <a:pt x="17" y="7"/>
                    </a:lnTo>
                    <a:lnTo>
                      <a:pt x="23" y="4"/>
                    </a:lnTo>
                    <a:lnTo>
                      <a:pt x="31" y="1"/>
                    </a:lnTo>
                    <a:lnTo>
                      <a:pt x="39" y="0"/>
                    </a:lnTo>
                    <a:lnTo>
                      <a:pt x="46" y="1"/>
                    </a:lnTo>
                    <a:lnTo>
                      <a:pt x="53" y="4"/>
                    </a:lnTo>
                    <a:lnTo>
                      <a:pt x="59" y="7"/>
                    </a:lnTo>
                    <a:lnTo>
                      <a:pt x="66" y="11"/>
                    </a:lnTo>
                    <a:lnTo>
                      <a:pt x="70" y="18"/>
                    </a:lnTo>
                    <a:lnTo>
                      <a:pt x="73" y="24"/>
                    </a:lnTo>
                    <a:lnTo>
                      <a:pt x="75" y="31"/>
                    </a:lnTo>
                    <a:lnTo>
                      <a:pt x="76" y="38"/>
                    </a:lnTo>
                    <a:lnTo>
                      <a:pt x="75" y="47"/>
                    </a:lnTo>
                    <a:lnTo>
                      <a:pt x="73" y="53"/>
                    </a:lnTo>
                    <a:lnTo>
                      <a:pt x="70" y="60"/>
                    </a:lnTo>
                    <a:lnTo>
                      <a:pt x="66" y="65"/>
                    </a:lnTo>
                    <a:lnTo>
                      <a:pt x="59" y="71"/>
                    </a:lnTo>
                    <a:lnTo>
                      <a:pt x="53" y="74"/>
                    </a:lnTo>
                    <a:lnTo>
                      <a:pt x="46" y="76"/>
                    </a:lnTo>
                    <a:lnTo>
                      <a:pt x="39" y="77"/>
                    </a:lnTo>
                    <a:close/>
                    <a:moveTo>
                      <a:pt x="39" y="27"/>
                    </a:moveTo>
                    <a:lnTo>
                      <a:pt x="39" y="27"/>
                    </a:lnTo>
                    <a:lnTo>
                      <a:pt x="34" y="28"/>
                    </a:lnTo>
                    <a:lnTo>
                      <a:pt x="30" y="31"/>
                    </a:lnTo>
                    <a:lnTo>
                      <a:pt x="28" y="34"/>
                    </a:lnTo>
                    <a:lnTo>
                      <a:pt x="27" y="38"/>
                    </a:lnTo>
                    <a:lnTo>
                      <a:pt x="28" y="42"/>
                    </a:lnTo>
                    <a:lnTo>
                      <a:pt x="30" y="47"/>
                    </a:lnTo>
                    <a:lnTo>
                      <a:pt x="34" y="49"/>
                    </a:lnTo>
                    <a:lnTo>
                      <a:pt x="39" y="50"/>
                    </a:lnTo>
                    <a:lnTo>
                      <a:pt x="43" y="49"/>
                    </a:lnTo>
                    <a:lnTo>
                      <a:pt x="46" y="47"/>
                    </a:lnTo>
                    <a:lnTo>
                      <a:pt x="48" y="42"/>
                    </a:lnTo>
                    <a:lnTo>
                      <a:pt x="49" y="38"/>
                    </a:lnTo>
                    <a:lnTo>
                      <a:pt x="48" y="34"/>
                    </a:lnTo>
                    <a:lnTo>
                      <a:pt x="46" y="31"/>
                    </a:lnTo>
                    <a:lnTo>
                      <a:pt x="43" y="28"/>
                    </a:lnTo>
                    <a:lnTo>
                      <a:pt x="3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99"/>
              <p:cNvSpPr>
                <a:spLocks noEditPoints="1"/>
              </p:cNvSpPr>
              <p:nvPr userDrawn="1"/>
            </p:nvSpPr>
            <p:spPr bwMode="auto">
              <a:xfrm>
                <a:off x="2653" y="3375"/>
                <a:ext cx="33" cy="33"/>
              </a:xfrm>
              <a:custGeom>
                <a:avLst/>
                <a:gdLst>
                  <a:gd name="T0" fmla="*/ 40 w 101"/>
                  <a:gd name="T1" fmla="*/ 100 h 101"/>
                  <a:gd name="T2" fmla="*/ 23 w 101"/>
                  <a:gd name="T3" fmla="*/ 92 h 101"/>
                  <a:gd name="T4" fmla="*/ 9 w 101"/>
                  <a:gd name="T5" fmla="*/ 78 h 101"/>
                  <a:gd name="T6" fmla="*/ 1 w 101"/>
                  <a:gd name="T7" fmla="*/ 61 h 101"/>
                  <a:gd name="T8" fmla="*/ 1 w 101"/>
                  <a:gd name="T9" fmla="*/ 40 h 101"/>
                  <a:gd name="T10" fmla="*/ 9 w 101"/>
                  <a:gd name="T11" fmla="*/ 22 h 101"/>
                  <a:gd name="T12" fmla="*/ 23 w 101"/>
                  <a:gd name="T13" fmla="*/ 9 h 101"/>
                  <a:gd name="T14" fmla="*/ 40 w 101"/>
                  <a:gd name="T15" fmla="*/ 1 h 101"/>
                  <a:gd name="T16" fmla="*/ 61 w 101"/>
                  <a:gd name="T17" fmla="*/ 1 h 101"/>
                  <a:gd name="T18" fmla="*/ 79 w 101"/>
                  <a:gd name="T19" fmla="*/ 9 h 101"/>
                  <a:gd name="T20" fmla="*/ 92 w 101"/>
                  <a:gd name="T21" fmla="*/ 22 h 101"/>
                  <a:gd name="T22" fmla="*/ 100 w 101"/>
                  <a:gd name="T23" fmla="*/ 40 h 101"/>
                  <a:gd name="T24" fmla="*/ 100 w 101"/>
                  <a:gd name="T25" fmla="*/ 61 h 101"/>
                  <a:gd name="T26" fmla="*/ 92 w 101"/>
                  <a:gd name="T27" fmla="*/ 78 h 101"/>
                  <a:gd name="T28" fmla="*/ 79 w 101"/>
                  <a:gd name="T29" fmla="*/ 92 h 101"/>
                  <a:gd name="T30" fmla="*/ 61 w 101"/>
                  <a:gd name="T31" fmla="*/ 100 h 101"/>
                  <a:gd name="T32" fmla="*/ 51 w 101"/>
                  <a:gd name="T33" fmla="*/ 27 h 101"/>
                  <a:gd name="T34" fmla="*/ 46 w 101"/>
                  <a:gd name="T35" fmla="*/ 27 h 101"/>
                  <a:gd name="T36" fmla="*/ 38 w 101"/>
                  <a:gd name="T37" fmla="*/ 32 h 101"/>
                  <a:gd name="T38" fmla="*/ 32 w 101"/>
                  <a:gd name="T39" fmla="*/ 37 h 101"/>
                  <a:gd name="T40" fmla="*/ 28 w 101"/>
                  <a:gd name="T41" fmla="*/ 46 h 101"/>
                  <a:gd name="T42" fmla="*/ 28 w 101"/>
                  <a:gd name="T43" fmla="*/ 55 h 101"/>
                  <a:gd name="T44" fmla="*/ 32 w 101"/>
                  <a:gd name="T45" fmla="*/ 63 h 101"/>
                  <a:gd name="T46" fmla="*/ 38 w 101"/>
                  <a:gd name="T47" fmla="*/ 69 h 101"/>
                  <a:gd name="T48" fmla="*/ 46 w 101"/>
                  <a:gd name="T49" fmla="*/ 73 h 101"/>
                  <a:gd name="T50" fmla="*/ 55 w 101"/>
                  <a:gd name="T51" fmla="*/ 73 h 101"/>
                  <a:gd name="T52" fmla="*/ 64 w 101"/>
                  <a:gd name="T53" fmla="*/ 69 h 101"/>
                  <a:gd name="T54" fmla="*/ 70 w 101"/>
                  <a:gd name="T55" fmla="*/ 63 h 101"/>
                  <a:gd name="T56" fmla="*/ 74 w 101"/>
                  <a:gd name="T57" fmla="*/ 55 h 101"/>
                  <a:gd name="T58" fmla="*/ 74 w 101"/>
                  <a:gd name="T59" fmla="*/ 46 h 101"/>
                  <a:gd name="T60" fmla="*/ 70 w 101"/>
                  <a:gd name="T61" fmla="*/ 37 h 101"/>
                  <a:gd name="T62" fmla="*/ 64 w 101"/>
                  <a:gd name="T63" fmla="*/ 32 h 101"/>
                  <a:gd name="T64" fmla="*/ 55 w 101"/>
                  <a:gd name="T65" fmla="*/ 2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51" y="101"/>
                    </a:moveTo>
                    <a:lnTo>
                      <a:pt x="40" y="100"/>
                    </a:lnTo>
                    <a:lnTo>
                      <a:pt x="32" y="96"/>
                    </a:lnTo>
                    <a:lnTo>
                      <a:pt x="23" y="92"/>
                    </a:lnTo>
                    <a:lnTo>
                      <a:pt x="15" y="85"/>
                    </a:lnTo>
                    <a:lnTo>
                      <a:pt x="9" y="78"/>
                    </a:lnTo>
                    <a:lnTo>
                      <a:pt x="5" y="69"/>
                    </a:lnTo>
                    <a:lnTo>
                      <a:pt x="1" y="61"/>
                    </a:lnTo>
                    <a:lnTo>
                      <a:pt x="0" y="50"/>
                    </a:lnTo>
                    <a:lnTo>
                      <a:pt x="1" y="40"/>
                    </a:lnTo>
                    <a:lnTo>
                      <a:pt x="5" y="30"/>
                    </a:lnTo>
                    <a:lnTo>
                      <a:pt x="9" y="22"/>
                    </a:lnTo>
                    <a:lnTo>
                      <a:pt x="15" y="14"/>
                    </a:lnTo>
                    <a:lnTo>
                      <a:pt x="23" y="9"/>
                    </a:lnTo>
                    <a:lnTo>
                      <a:pt x="32" y="3"/>
                    </a:lnTo>
                    <a:lnTo>
                      <a:pt x="40" y="1"/>
                    </a:lnTo>
                    <a:lnTo>
                      <a:pt x="51" y="0"/>
                    </a:lnTo>
                    <a:lnTo>
                      <a:pt x="61" y="1"/>
                    </a:lnTo>
                    <a:lnTo>
                      <a:pt x="70" y="3"/>
                    </a:lnTo>
                    <a:lnTo>
                      <a:pt x="79" y="9"/>
                    </a:lnTo>
                    <a:lnTo>
                      <a:pt x="87" y="14"/>
                    </a:lnTo>
                    <a:lnTo>
                      <a:pt x="92" y="22"/>
                    </a:lnTo>
                    <a:lnTo>
                      <a:pt x="97" y="30"/>
                    </a:lnTo>
                    <a:lnTo>
                      <a:pt x="100" y="40"/>
                    </a:lnTo>
                    <a:lnTo>
                      <a:pt x="101" y="50"/>
                    </a:lnTo>
                    <a:lnTo>
                      <a:pt x="100" y="61"/>
                    </a:lnTo>
                    <a:lnTo>
                      <a:pt x="97" y="69"/>
                    </a:lnTo>
                    <a:lnTo>
                      <a:pt x="92" y="78"/>
                    </a:lnTo>
                    <a:lnTo>
                      <a:pt x="87" y="85"/>
                    </a:lnTo>
                    <a:lnTo>
                      <a:pt x="79" y="92"/>
                    </a:lnTo>
                    <a:lnTo>
                      <a:pt x="70" y="96"/>
                    </a:lnTo>
                    <a:lnTo>
                      <a:pt x="61" y="100"/>
                    </a:lnTo>
                    <a:lnTo>
                      <a:pt x="51" y="101"/>
                    </a:lnTo>
                    <a:close/>
                    <a:moveTo>
                      <a:pt x="51" y="27"/>
                    </a:moveTo>
                    <a:lnTo>
                      <a:pt x="51" y="27"/>
                    </a:lnTo>
                    <a:lnTo>
                      <a:pt x="46" y="27"/>
                    </a:lnTo>
                    <a:lnTo>
                      <a:pt x="41" y="29"/>
                    </a:lnTo>
                    <a:lnTo>
                      <a:pt x="38" y="32"/>
                    </a:lnTo>
                    <a:lnTo>
                      <a:pt x="35" y="34"/>
                    </a:lnTo>
                    <a:lnTo>
                      <a:pt x="32" y="37"/>
                    </a:lnTo>
                    <a:lnTo>
                      <a:pt x="29" y="41"/>
                    </a:lnTo>
                    <a:lnTo>
                      <a:pt x="28" y="46"/>
                    </a:lnTo>
                    <a:lnTo>
                      <a:pt x="27" y="50"/>
                    </a:lnTo>
                    <a:lnTo>
                      <a:pt x="28" y="55"/>
                    </a:lnTo>
                    <a:lnTo>
                      <a:pt x="29" y="60"/>
                    </a:lnTo>
                    <a:lnTo>
                      <a:pt x="32" y="63"/>
                    </a:lnTo>
                    <a:lnTo>
                      <a:pt x="35" y="66"/>
                    </a:lnTo>
                    <a:lnTo>
                      <a:pt x="38" y="69"/>
                    </a:lnTo>
                    <a:lnTo>
                      <a:pt x="41" y="71"/>
                    </a:lnTo>
                    <a:lnTo>
                      <a:pt x="46" y="73"/>
                    </a:lnTo>
                    <a:lnTo>
                      <a:pt x="51" y="74"/>
                    </a:lnTo>
                    <a:lnTo>
                      <a:pt x="55" y="73"/>
                    </a:lnTo>
                    <a:lnTo>
                      <a:pt x="60" y="71"/>
                    </a:lnTo>
                    <a:lnTo>
                      <a:pt x="64" y="69"/>
                    </a:lnTo>
                    <a:lnTo>
                      <a:pt x="67" y="66"/>
                    </a:lnTo>
                    <a:lnTo>
                      <a:pt x="70" y="63"/>
                    </a:lnTo>
                    <a:lnTo>
                      <a:pt x="73" y="60"/>
                    </a:lnTo>
                    <a:lnTo>
                      <a:pt x="74" y="55"/>
                    </a:lnTo>
                    <a:lnTo>
                      <a:pt x="74" y="50"/>
                    </a:lnTo>
                    <a:lnTo>
                      <a:pt x="74" y="46"/>
                    </a:lnTo>
                    <a:lnTo>
                      <a:pt x="73" y="41"/>
                    </a:lnTo>
                    <a:lnTo>
                      <a:pt x="70" y="37"/>
                    </a:lnTo>
                    <a:lnTo>
                      <a:pt x="67" y="34"/>
                    </a:lnTo>
                    <a:lnTo>
                      <a:pt x="64" y="32"/>
                    </a:lnTo>
                    <a:lnTo>
                      <a:pt x="60" y="29"/>
                    </a:lnTo>
                    <a:lnTo>
                      <a:pt x="55" y="27"/>
                    </a:lnTo>
                    <a:lnTo>
                      <a:pt x="5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00"/>
              <p:cNvSpPr>
                <a:spLocks noEditPoints="1"/>
              </p:cNvSpPr>
              <p:nvPr userDrawn="1"/>
            </p:nvSpPr>
            <p:spPr bwMode="auto">
              <a:xfrm>
                <a:off x="2903" y="3864"/>
                <a:ext cx="49" cy="50"/>
              </a:xfrm>
              <a:custGeom>
                <a:avLst/>
                <a:gdLst>
                  <a:gd name="T0" fmla="*/ 67 w 149"/>
                  <a:gd name="T1" fmla="*/ 148 h 148"/>
                  <a:gd name="T2" fmla="*/ 53 w 149"/>
                  <a:gd name="T3" fmla="*/ 145 h 148"/>
                  <a:gd name="T4" fmla="*/ 38 w 149"/>
                  <a:gd name="T5" fmla="*/ 140 h 148"/>
                  <a:gd name="T6" fmla="*/ 27 w 149"/>
                  <a:gd name="T7" fmla="*/ 132 h 148"/>
                  <a:gd name="T8" fmla="*/ 17 w 149"/>
                  <a:gd name="T9" fmla="*/ 121 h 148"/>
                  <a:gd name="T10" fmla="*/ 8 w 149"/>
                  <a:gd name="T11" fmla="*/ 109 h 148"/>
                  <a:gd name="T12" fmla="*/ 3 w 149"/>
                  <a:gd name="T13" fmla="*/ 96 h 148"/>
                  <a:gd name="T14" fmla="*/ 0 w 149"/>
                  <a:gd name="T15" fmla="*/ 82 h 148"/>
                  <a:gd name="T16" fmla="*/ 0 w 149"/>
                  <a:gd name="T17" fmla="*/ 67 h 148"/>
                  <a:gd name="T18" fmla="*/ 3 w 149"/>
                  <a:gd name="T19" fmla="*/ 52 h 148"/>
                  <a:gd name="T20" fmla="*/ 8 w 149"/>
                  <a:gd name="T21" fmla="*/ 39 h 148"/>
                  <a:gd name="T22" fmla="*/ 17 w 149"/>
                  <a:gd name="T23" fmla="*/ 27 h 148"/>
                  <a:gd name="T24" fmla="*/ 27 w 149"/>
                  <a:gd name="T25" fmla="*/ 17 h 148"/>
                  <a:gd name="T26" fmla="*/ 38 w 149"/>
                  <a:gd name="T27" fmla="*/ 9 h 148"/>
                  <a:gd name="T28" fmla="*/ 53 w 149"/>
                  <a:gd name="T29" fmla="*/ 4 h 148"/>
                  <a:gd name="T30" fmla="*/ 67 w 149"/>
                  <a:gd name="T31" fmla="*/ 0 h 148"/>
                  <a:gd name="T32" fmla="*/ 82 w 149"/>
                  <a:gd name="T33" fmla="*/ 0 h 148"/>
                  <a:gd name="T34" fmla="*/ 96 w 149"/>
                  <a:gd name="T35" fmla="*/ 4 h 148"/>
                  <a:gd name="T36" fmla="*/ 110 w 149"/>
                  <a:gd name="T37" fmla="*/ 9 h 148"/>
                  <a:gd name="T38" fmla="*/ 122 w 149"/>
                  <a:gd name="T39" fmla="*/ 17 h 148"/>
                  <a:gd name="T40" fmla="*/ 131 w 149"/>
                  <a:gd name="T41" fmla="*/ 27 h 148"/>
                  <a:gd name="T42" fmla="*/ 139 w 149"/>
                  <a:gd name="T43" fmla="*/ 39 h 148"/>
                  <a:gd name="T44" fmla="*/ 145 w 149"/>
                  <a:gd name="T45" fmla="*/ 52 h 148"/>
                  <a:gd name="T46" fmla="*/ 148 w 149"/>
                  <a:gd name="T47" fmla="*/ 67 h 148"/>
                  <a:gd name="T48" fmla="*/ 148 w 149"/>
                  <a:gd name="T49" fmla="*/ 82 h 148"/>
                  <a:gd name="T50" fmla="*/ 145 w 149"/>
                  <a:gd name="T51" fmla="*/ 96 h 148"/>
                  <a:gd name="T52" fmla="*/ 139 w 149"/>
                  <a:gd name="T53" fmla="*/ 109 h 148"/>
                  <a:gd name="T54" fmla="*/ 131 w 149"/>
                  <a:gd name="T55" fmla="*/ 121 h 148"/>
                  <a:gd name="T56" fmla="*/ 122 w 149"/>
                  <a:gd name="T57" fmla="*/ 132 h 148"/>
                  <a:gd name="T58" fmla="*/ 110 w 149"/>
                  <a:gd name="T59" fmla="*/ 140 h 148"/>
                  <a:gd name="T60" fmla="*/ 96 w 149"/>
                  <a:gd name="T61" fmla="*/ 145 h 148"/>
                  <a:gd name="T62" fmla="*/ 82 w 149"/>
                  <a:gd name="T63" fmla="*/ 148 h 148"/>
                  <a:gd name="T64" fmla="*/ 74 w 149"/>
                  <a:gd name="T65" fmla="*/ 27 h 148"/>
                  <a:gd name="T66" fmla="*/ 64 w 149"/>
                  <a:gd name="T67" fmla="*/ 28 h 148"/>
                  <a:gd name="T68" fmla="*/ 47 w 149"/>
                  <a:gd name="T69" fmla="*/ 35 h 148"/>
                  <a:gd name="T70" fmla="*/ 35 w 149"/>
                  <a:gd name="T71" fmla="*/ 48 h 148"/>
                  <a:gd name="T72" fmla="*/ 28 w 149"/>
                  <a:gd name="T73" fmla="*/ 65 h 148"/>
                  <a:gd name="T74" fmla="*/ 28 w 149"/>
                  <a:gd name="T75" fmla="*/ 84 h 148"/>
                  <a:gd name="T76" fmla="*/ 35 w 149"/>
                  <a:gd name="T77" fmla="*/ 101 h 148"/>
                  <a:gd name="T78" fmla="*/ 47 w 149"/>
                  <a:gd name="T79" fmla="*/ 114 h 148"/>
                  <a:gd name="T80" fmla="*/ 64 w 149"/>
                  <a:gd name="T81" fmla="*/ 120 h 148"/>
                  <a:gd name="T82" fmla="*/ 84 w 149"/>
                  <a:gd name="T83" fmla="*/ 120 h 148"/>
                  <a:gd name="T84" fmla="*/ 100 w 149"/>
                  <a:gd name="T85" fmla="*/ 114 h 148"/>
                  <a:gd name="T86" fmla="*/ 113 w 149"/>
                  <a:gd name="T87" fmla="*/ 101 h 148"/>
                  <a:gd name="T88" fmla="*/ 121 w 149"/>
                  <a:gd name="T89" fmla="*/ 84 h 148"/>
                  <a:gd name="T90" fmla="*/ 121 w 149"/>
                  <a:gd name="T91" fmla="*/ 65 h 148"/>
                  <a:gd name="T92" fmla="*/ 113 w 149"/>
                  <a:gd name="T93" fmla="*/ 48 h 148"/>
                  <a:gd name="T94" fmla="*/ 100 w 149"/>
                  <a:gd name="T95" fmla="*/ 35 h 148"/>
                  <a:gd name="T96" fmla="*/ 84 w 149"/>
                  <a:gd name="T97" fmla="*/ 2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148">
                    <a:moveTo>
                      <a:pt x="74" y="148"/>
                    </a:moveTo>
                    <a:lnTo>
                      <a:pt x="67" y="148"/>
                    </a:lnTo>
                    <a:lnTo>
                      <a:pt x="59" y="147"/>
                    </a:lnTo>
                    <a:lnTo>
                      <a:pt x="53" y="145"/>
                    </a:lnTo>
                    <a:lnTo>
                      <a:pt x="45" y="143"/>
                    </a:lnTo>
                    <a:lnTo>
                      <a:pt x="38" y="140"/>
                    </a:lnTo>
                    <a:lnTo>
                      <a:pt x="33" y="136"/>
                    </a:lnTo>
                    <a:lnTo>
                      <a:pt x="27" y="132"/>
                    </a:lnTo>
                    <a:lnTo>
                      <a:pt x="21" y="127"/>
                    </a:lnTo>
                    <a:lnTo>
                      <a:pt x="17" y="121"/>
                    </a:lnTo>
                    <a:lnTo>
                      <a:pt x="13" y="116"/>
                    </a:lnTo>
                    <a:lnTo>
                      <a:pt x="8" y="109"/>
                    </a:lnTo>
                    <a:lnTo>
                      <a:pt x="6" y="103"/>
                    </a:lnTo>
                    <a:lnTo>
                      <a:pt x="3" y="96"/>
                    </a:lnTo>
                    <a:lnTo>
                      <a:pt x="2" y="89"/>
                    </a:lnTo>
                    <a:lnTo>
                      <a:pt x="0" y="82"/>
                    </a:lnTo>
                    <a:lnTo>
                      <a:pt x="0" y="75"/>
                    </a:lnTo>
                    <a:lnTo>
                      <a:pt x="0" y="67"/>
                    </a:lnTo>
                    <a:lnTo>
                      <a:pt x="2" y="60"/>
                    </a:lnTo>
                    <a:lnTo>
                      <a:pt x="3" y="52"/>
                    </a:lnTo>
                    <a:lnTo>
                      <a:pt x="6" y="46"/>
                    </a:lnTo>
                    <a:lnTo>
                      <a:pt x="8" y="39"/>
                    </a:lnTo>
                    <a:lnTo>
                      <a:pt x="13" y="33"/>
                    </a:lnTo>
                    <a:lnTo>
                      <a:pt x="17" y="27"/>
                    </a:lnTo>
                    <a:lnTo>
                      <a:pt x="21" y="22"/>
                    </a:lnTo>
                    <a:lnTo>
                      <a:pt x="27" y="17"/>
                    </a:lnTo>
                    <a:lnTo>
                      <a:pt x="33" y="12"/>
                    </a:lnTo>
                    <a:lnTo>
                      <a:pt x="38" y="9"/>
                    </a:lnTo>
                    <a:lnTo>
                      <a:pt x="45" y="6"/>
                    </a:lnTo>
                    <a:lnTo>
                      <a:pt x="53" y="4"/>
                    </a:lnTo>
                    <a:lnTo>
                      <a:pt x="59" y="1"/>
                    </a:lnTo>
                    <a:lnTo>
                      <a:pt x="67" y="0"/>
                    </a:lnTo>
                    <a:lnTo>
                      <a:pt x="74" y="0"/>
                    </a:lnTo>
                    <a:lnTo>
                      <a:pt x="82" y="0"/>
                    </a:lnTo>
                    <a:lnTo>
                      <a:pt x="89" y="1"/>
                    </a:lnTo>
                    <a:lnTo>
                      <a:pt x="96" y="4"/>
                    </a:lnTo>
                    <a:lnTo>
                      <a:pt x="103" y="6"/>
                    </a:lnTo>
                    <a:lnTo>
                      <a:pt x="110" y="9"/>
                    </a:lnTo>
                    <a:lnTo>
                      <a:pt x="115" y="12"/>
                    </a:lnTo>
                    <a:lnTo>
                      <a:pt x="122" y="17"/>
                    </a:lnTo>
                    <a:lnTo>
                      <a:pt x="127" y="22"/>
                    </a:lnTo>
                    <a:lnTo>
                      <a:pt x="131" y="27"/>
                    </a:lnTo>
                    <a:lnTo>
                      <a:pt x="136" y="33"/>
                    </a:lnTo>
                    <a:lnTo>
                      <a:pt x="139" y="39"/>
                    </a:lnTo>
                    <a:lnTo>
                      <a:pt x="142" y="46"/>
                    </a:lnTo>
                    <a:lnTo>
                      <a:pt x="145" y="52"/>
                    </a:lnTo>
                    <a:lnTo>
                      <a:pt x="146" y="60"/>
                    </a:lnTo>
                    <a:lnTo>
                      <a:pt x="148" y="67"/>
                    </a:lnTo>
                    <a:lnTo>
                      <a:pt x="149" y="75"/>
                    </a:lnTo>
                    <a:lnTo>
                      <a:pt x="148" y="82"/>
                    </a:lnTo>
                    <a:lnTo>
                      <a:pt x="146" y="89"/>
                    </a:lnTo>
                    <a:lnTo>
                      <a:pt x="145" y="96"/>
                    </a:lnTo>
                    <a:lnTo>
                      <a:pt x="142" y="103"/>
                    </a:lnTo>
                    <a:lnTo>
                      <a:pt x="139" y="109"/>
                    </a:lnTo>
                    <a:lnTo>
                      <a:pt x="136" y="116"/>
                    </a:lnTo>
                    <a:lnTo>
                      <a:pt x="131" y="121"/>
                    </a:lnTo>
                    <a:lnTo>
                      <a:pt x="127" y="127"/>
                    </a:lnTo>
                    <a:lnTo>
                      <a:pt x="122" y="132"/>
                    </a:lnTo>
                    <a:lnTo>
                      <a:pt x="115" y="136"/>
                    </a:lnTo>
                    <a:lnTo>
                      <a:pt x="110" y="140"/>
                    </a:lnTo>
                    <a:lnTo>
                      <a:pt x="103" y="143"/>
                    </a:lnTo>
                    <a:lnTo>
                      <a:pt x="96" y="145"/>
                    </a:lnTo>
                    <a:lnTo>
                      <a:pt x="89" y="147"/>
                    </a:lnTo>
                    <a:lnTo>
                      <a:pt x="82" y="148"/>
                    </a:lnTo>
                    <a:lnTo>
                      <a:pt x="74" y="148"/>
                    </a:lnTo>
                    <a:close/>
                    <a:moveTo>
                      <a:pt x="74" y="27"/>
                    </a:moveTo>
                    <a:lnTo>
                      <a:pt x="74" y="27"/>
                    </a:lnTo>
                    <a:lnTo>
                      <a:pt x="64" y="28"/>
                    </a:lnTo>
                    <a:lnTo>
                      <a:pt x="56" y="31"/>
                    </a:lnTo>
                    <a:lnTo>
                      <a:pt x="47" y="35"/>
                    </a:lnTo>
                    <a:lnTo>
                      <a:pt x="41" y="41"/>
                    </a:lnTo>
                    <a:lnTo>
                      <a:pt x="35" y="48"/>
                    </a:lnTo>
                    <a:lnTo>
                      <a:pt x="31" y="57"/>
                    </a:lnTo>
                    <a:lnTo>
                      <a:pt x="28" y="65"/>
                    </a:lnTo>
                    <a:lnTo>
                      <a:pt x="27" y="75"/>
                    </a:lnTo>
                    <a:lnTo>
                      <a:pt x="28" y="84"/>
                    </a:lnTo>
                    <a:lnTo>
                      <a:pt x="31" y="93"/>
                    </a:lnTo>
                    <a:lnTo>
                      <a:pt x="35" y="101"/>
                    </a:lnTo>
                    <a:lnTo>
                      <a:pt x="41" y="108"/>
                    </a:lnTo>
                    <a:lnTo>
                      <a:pt x="47" y="114"/>
                    </a:lnTo>
                    <a:lnTo>
                      <a:pt x="56" y="118"/>
                    </a:lnTo>
                    <a:lnTo>
                      <a:pt x="64" y="120"/>
                    </a:lnTo>
                    <a:lnTo>
                      <a:pt x="74" y="121"/>
                    </a:lnTo>
                    <a:lnTo>
                      <a:pt x="84" y="120"/>
                    </a:lnTo>
                    <a:lnTo>
                      <a:pt x="92" y="118"/>
                    </a:lnTo>
                    <a:lnTo>
                      <a:pt x="100" y="114"/>
                    </a:lnTo>
                    <a:lnTo>
                      <a:pt x="108" y="108"/>
                    </a:lnTo>
                    <a:lnTo>
                      <a:pt x="113" y="101"/>
                    </a:lnTo>
                    <a:lnTo>
                      <a:pt x="117" y="93"/>
                    </a:lnTo>
                    <a:lnTo>
                      <a:pt x="121" y="84"/>
                    </a:lnTo>
                    <a:lnTo>
                      <a:pt x="122" y="75"/>
                    </a:lnTo>
                    <a:lnTo>
                      <a:pt x="121" y="65"/>
                    </a:lnTo>
                    <a:lnTo>
                      <a:pt x="117" y="57"/>
                    </a:lnTo>
                    <a:lnTo>
                      <a:pt x="113" y="48"/>
                    </a:lnTo>
                    <a:lnTo>
                      <a:pt x="108" y="41"/>
                    </a:lnTo>
                    <a:lnTo>
                      <a:pt x="100" y="35"/>
                    </a:lnTo>
                    <a:lnTo>
                      <a:pt x="92" y="31"/>
                    </a:lnTo>
                    <a:lnTo>
                      <a:pt x="84" y="28"/>
                    </a:lnTo>
                    <a:lnTo>
                      <a:pt x="7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01"/>
              <p:cNvSpPr>
                <a:spLocks/>
              </p:cNvSpPr>
              <p:nvPr userDrawn="1"/>
            </p:nvSpPr>
            <p:spPr bwMode="auto">
              <a:xfrm>
                <a:off x="202" y="2953"/>
                <a:ext cx="1168" cy="1367"/>
              </a:xfrm>
              <a:custGeom>
                <a:avLst/>
                <a:gdLst>
                  <a:gd name="T0" fmla="*/ 88 w 3504"/>
                  <a:gd name="T1" fmla="*/ 3917 h 4101"/>
                  <a:gd name="T2" fmla="*/ 268 w 3504"/>
                  <a:gd name="T3" fmla="*/ 3571 h 4101"/>
                  <a:gd name="T4" fmla="*/ 462 w 3504"/>
                  <a:gd name="T5" fmla="*/ 3236 h 4101"/>
                  <a:gd name="T6" fmla="*/ 581 w 3504"/>
                  <a:gd name="T7" fmla="*/ 3056 h 4101"/>
                  <a:gd name="T8" fmla="*/ 701 w 3504"/>
                  <a:gd name="T9" fmla="*/ 2897 h 4101"/>
                  <a:gd name="T10" fmla="*/ 818 w 3504"/>
                  <a:gd name="T11" fmla="*/ 2770 h 4101"/>
                  <a:gd name="T12" fmla="*/ 918 w 3504"/>
                  <a:gd name="T13" fmla="*/ 2651 h 4101"/>
                  <a:gd name="T14" fmla="*/ 998 w 3504"/>
                  <a:gd name="T15" fmla="*/ 2529 h 4101"/>
                  <a:gd name="T16" fmla="*/ 1061 w 3504"/>
                  <a:gd name="T17" fmla="*/ 2404 h 4101"/>
                  <a:gd name="T18" fmla="*/ 1111 w 3504"/>
                  <a:gd name="T19" fmla="*/ 2278 h 4101"/>
                  <a:gd name="T20" fmla="*/ 1157 w 3504"/>
                  <a:gd name="T21" fmla="*/ 2118 h 4101"/>
                  <a:gd name="T22" fmla="*/ 1210 w 3504"/>
                  <a:gd name="T23" fmla="*/ 1861 h 4101"/>
                  <a:gd name="T24" fmla="*/ 1236 w 3504"/>
                  <a:gd name="T25" fmla="*/ 1719 h 4101"/>
                  <a:gd name="T26" fmla="*/ 1257 w 3504"/>
                  <a:gd name="T27" fmla="*/ 1612 h 4101"/>
                  <a:gd name="T28" fmla="*/ 1294 w 3504"/>
                  <a:gd name="T29" fmla="*/ 1452 h 4101"/>
                  <a:gd name="T30" fmla="*/ 1353 w 3504"/>
                  <a:gd name="T31" fmla="*/ 1276 h 4101"/>
                  <a:gd name="T32" fmla="*/ 1428 w 3504"/>
                  <a:gd name="T33" fmla="*/ 1105 h 4101"/>
                  <a:gd name="T34" fmla="*/ 1518 w 3504"/>
                  <a:gd name="T35" fmla="*/ 940 h 4101"/>
                  <a:gd name="T36" fmla="*/ 1623 w 3504"/>
                  <a:gd name="T37" fmla="*/ 783 h 4101"/>
                  <a:gd name="T38" fmla="*/ 1742 w 3504"/>
                  <a:gd name="T39" fmla="*/ 634 h 4101"/>
                  <a:gd name="T40" fmla="*/ 1873 w 3504"/>
                  <a:gd name="T41" fmla="*/ 494 h 4101"/>
                  <a:gd name="T42" fmla="*/ 2016 w 3504"/>
                  <a:gd name="T43" fmla="*/ 367 h 4101"/>
                  <a:gd name="T44" fmla="*/ 2193 w 3504"/>
                  <a:gd name="T45" fmla="*/ 248 h 4101"/>
                  <a:gd name="T46" fmla="*/ 2409 w 3504"/>
                  <a:gd name="T47" fmla="*/ 156 h 4101"/>
                  <a:gd name="T48" fmla="*/ 2643 w 3504"/>
                  <a:gd name="T49" fmla="*/ 90 h 4101"/>
                  <a:gd name="T50" fmla="*/ 2880 w 3504"/>
                  <a:gd name="T51" fmla="*/ 45 h 4101"/>
                  <a:gd name="T52" fmla="*/ 3100 w 3504"/>
                  <a:gd name="T53" fmla="*/ 18 h 4101"/>
                  <a:gd name="T54" fmla="*/ 3393 w 3504"/>
                  <a:gd name="T55" fmla="*/ 1 h 4101"/>
                  <a:gd name="T56" fmla="*/ 3496 w 3504"/>
                  <a:gd name="T57" fmla="*/ 1 h 4101"/>
                  <a:gd name="T58" fmla="*/ 3503 w 3504"/>
                  <a:gd name="T59" fmla="*/ 18 h 4101"/>
                  <a:gd name="T60" fmla="*/ 3477 w 3504"/>
                  <a:gd name="T61" fmla="*/ 27 h 4101"/>
                  <a:gd name="T62" fmla="*/ 3246 w 3504"/>
                  <a:gd name="T63" fmla="*/ 35 h 4101"/>
                  <a:gd name="T64" fmla="*/ 2997 w 3504"/>
                  <a:gd name="T65" fmla="*/ 56 h 4101"/>
                  <a:gd name="T66" fmla="*/ 2769 w 3504"/>
                  <a:gd name="T67" fmla="*/ 91 h 4101"/>
                  <a:gd name="T68" fmla="*/ 2535 w 3504"/>
                  <a:gd name="T69" fmla="*/ 145 h 4101"/>
                  <a:gd name="T70" fmla="*/ 2311 w 3504"/>
                  <a:gd name="T71" fmla="*/ 222 h 4101"/>
                  <a:gd name="T72" fmla="*/ 2113 w 3504"/>
                  <a:gd name="T73" fmla="*/ 327 h 4101"/>
                  <a:gd name="T74" fmla="*/ 1961 w 3504"/>
                  <a:gd name="T75" fmla="*/ 450 h 4101"/>
                  <a:gd name="T76" fmla="*/ 1826 w 3504"/>
                  <a:gd name="T77" fmla="*/ 582 h 4101"/>
                  <a:gd name="T78" fmla="*/ 1702 w 3504"/>
                  <a:gd name="T79" fmla="*/ 724 h 4101"/>
                  <a:gd name="T80" fmla="*/ 1591 w 3504"/>
                  <a:gd name="T81" fmla="*/ 876 h 4101"/>
                  <a:gd name="T82" fmla="*/ 1495 w 3504"/>
                  <a:gd name="T83" fmla="*/ 1035 h 4101"/>
                  <a:gd name="T84" fmla="*/ 1413 w 3504"/>
                  <a:gd name="T85" fmla="*/ 1200 h 4101"/>
                  <a:gd name="T86" fmla="*/ 1347 w 3504"/>
                  <a:gd name="T87" fmla="*/ 1372 h 4101"/>
                  <a:gd name="T88" fmla="*/ 1298 w 3504"/>
                  <a:gd name="T89" fmla="*/ 1547 h 4101"/>
                  <a:gd name="T90" fmla="*/ 1273 w 3504"/>
                  <a:gd name="T91" fmla="*/ 1670 h 4101"/>
                  <a:gd name="T92" fmla="*/ 1253 w 3504"/>
                  <a:gd name="T93" fmla="*/ 1776 h 4101"/>
                  <a:gd name="T94" fmla="*/ 1212 w 3504"/>
                  <a:gd name="T95" fmla="*/ 1997 h 4101"/>
                  <a:gd name="T96" fmla="*/ 1156 w 3504"/>
                  <a:gd name="T97" fmla="*/ 2224 h 4101"/>
                  <a:gd name="T98" fmla="*/ 1112 w 3504"/>
                  <a:gd name="T99" fmla="*/ 2353 h 4101"/>
                  <a:gd name="T100" fmla="*/ 1055 w 3504"/>
                  <a:gd name="T101" fmla="*/ 2481 h 4101"/>
                  <a:gd name="T102" fmla="*/ 982 w 3504"/>
                  <a:gd name="T103" fmla="*/ 2606 h 4101"/>
                  <a:gd name="T104" fmla="*/ 892 w 3504"/>
                  <a:gd name="T105" fmla="*/ 2728 h 4101"/>
                  <a:gd name="T106" fmla="*/ 780 w 3504"/>
                  <a:gd name="T107" fmla="*/ 2848 h 4101"/>
                  <a:gd name="T108" fmla="*/ 664 w 3504"/>
                  <a:gd name="T109" fmla="*/ 2988 h 4101"/>
                  <a:gd name="T110" fmla="*/ 546 w 3504"/>
                  <a:gd name="T111" fmla="*/ 3155 h 4101"/>
                  <a:gd name="T112" fmla="*/ 404 w 3504"/>
                  <a:gd name="T113" fmla="*/ 3384 h 4101"/>
                  <a:gd name="T114" fmla="*/ 202 w 3504"/>
                  <a:gd name="T115" fmla="*/ 3752 h 4101"/>
                  <a:gd name="T116" fmla="*/ 55 w 3504"/>
                  <a:gd name="T117" fmla="*/ 4048 h 4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04" h="4101">
                    <a:moveTo>
                      <a:pt x="0" y="4101"/>
                    </a:moveTo>
                    <a:lnTo>
                      <a:pt x="25" y="4050"/>
                    </a:lnTo>
                    <a:lnTo>
                      <a:pt x="54" y="3989"/>
                    </a:lnTo>
                    <a:lnTo>
                      <a:pt x="88" y="3917"/>
                    </a:lnTo>
                    <a:lnTo>
                      <a:pt x="127" y="3839"/>
                    </a:lnTo>
                    <a:lnTo>
                      <a:pt x="170" y="3754"/>
                    </a:lnTo>
                    <a:lnTo>
                      <a:pt x="218" y="3665"/>
                    </a:lnTo>
                    <a:lnTo>
                      <a:pt x="268" y="3571"/>
                    </a:lnTo>
                    <a:lnTo>
                      <a:pt x="320" y="3476"/>
                    </a:lnTo>
                    <a:lnTo>
                      <a:pt x="376" y="3380"/>
                    </a:lnTo>
                    <a:lnTo>
                      <a:pt x="433" y="3284"/>
                    </a:lnTo>
                    <a:lnTo>
                      <a:pt x="462" y="3236"/>
                    </a:lnTo>
                    <a:lnTo>
                      <a:pt x="491" y="3190"/>
                    </a:lnTo>
                    <a:lnTo>
                      <a:pt x="520" y="3145"/>
                    </a:lnTo>
                    <a:lnTo>
                      <a:pt x="550" y="3100"/>
                    </a:lnTo>
                    <a:lnTo>
                      <a:pt x="581" y="3056"/>
                    </a:lnTo>
                    <a:lnTo>
                      <a:pt x="611" y="3014"/>
                    </a:lnTo>
                    <a:lnTo>
                      <a:pt x="641" y="2973"/>
                    </a:lnTo>
                    <a:lnTo>
                      <a:pt x="670" y="2934"/>
                    </a:lnTo>
                    <a:lnTo>
                      <a:pt x="701" y="2897"/>
                    </a:lnTo>
                    <a:lnTo>
                      <a:pt x="731" y="2862"/>
                    </a:lnTo>
                    <a:lnTo>
                      <a:pt x="760" y="2829"/>
                    </a:lnTo>
                    <a:lnTo>
                      <a:pt x="790" y="2799"/>
                    </a:lnTo>
                    <a:lnTo>
                      <a:pt x="818" y="2770"/>
                    </a:lnTo>
                    <a:lnTo>
                      <a:pt x="845" y="2740"/>
                    </a:lnTo>
                    <a:lnTo>
                      <a:pt x="871" y="2711"/>
                    </a:lnTo>
                    <a:lnTo>
                      <a:pt x="895" y="2680"/>
                    </a:lnTo>
                    <a:lnTo>
                      <a:pt x="918" y="2651"/>
                    </a:lnTo>
                    <a:lnTo>
                      <a:pt x="939" y="2621"/>
                    </a:lnTo>
                    <a:lnTo>
                      <a:pt x="960" y="2590"/>
                    </a:lnTo>
                    <a:lnTo>
                      <a:pt x="979" y="2560"/>
                    </a:lnTo>
                    <a:lnTo>
                      <a:pt x="998" y="2529"/>
                    </a:lnTo>
                    <a:lnTo>
                      <a:pt x="1015" y="2498"/>
                    </a:lnTo>
                    <a:lnTo>
                      <a:pt x="1032" y="2467"/>
                    </a:lnTo>
                    <a:lnTo>
                      <a:pt x="1047" y="2435"/>
                    </a:lnTo>
                    <a:lnTo>
                      <a:pt x="1061" y="2404"/>
                    </a:lnTo>
                    <a:lnTo>
                      <a:pt x="1075" y="2373"/>
                    </a:lnTo>
                    <a:lnTo>
                      <a:pt x="1087" y="2341"/>
                    </a:lnTo>
                    <a:lnTo>
                      <a:pt x="1100" y="2310"/>
                    </a:lnTo>
                    <a:lnTo>
                      <a:pt x="1111" y="2278"/>
                    </a:lnTo>
                    <a:lnTo>
                      <a:pt x="1122" y="2246"/>
                    </a:lnTo>
                    <a:lnTo>
                      <a:pt x="1131" y="2214"/>
                    </a:lnTo>
                    <a:lnTo>
                      <a:pt x="1140" y="2182"/>
                    </a:lnTo>
                    <a:lnTo>
                      <a:pt x="1157" y="2118"/>
                    </a:lnTo>
                    <a:lnTo>
                      <a:pt x="1172" y="2054"/>
                    </a:lnTo>
                    <a:lnTo>
                      <a:pt x="1186" y="1990"/>
                    </a:lnTo>
                    <a:lnTo>
                      <a:pt x="1198" y="1926"/>
                    </a:lnTo>
                    <a:lnTo>
                      <a:pt x="1210" y="1861"/>
                    </a:lnTo>
                    <a:lnTo>
                      <a:pt x="1222" y="1797"/>
                    </a:lnTo>
                    <a:lnTo>
                      <a:pt x="1226" y="1771"/>
                    </a:lnTo>
                    <a:lnTo>
                      <a:pt x="1231" y="1744"/>
                    </a:lnTo>
                    <a:lnTo>
                      <a:pt x="1236" y="1719"/>
                    </a:lnTo>
                    <a:lnTo>
                      <a:pt x="1240" y="1692"/>
                    </a:lnTo>
                    <a:lnTo>
                      <a:pt x="1246" y="1666"/>
                    </a:lnTo>
                    <a:lnTo>
                      <a:pt x="1251" y="1639"/>
                    </a:lnTo>
                    <a:lnTo>
                      <a:pt x="1257" y="1612"/>
                    </a:lnTo>
                    <a:lnTo>
                      <a:pt x="1261" y="1586"/>
                    </a:lnTo>
                    <a:lnTo>
                      <a:pt x="1272" y="1540"/>
                    </a:lnTo>
                    <a:lnTo>
                      <a:pt x="1283" y="1496"/>
                    </a:lnTo>
                    <a:lnTo>
                      <a:pt x="1294" y="1452"/>
                    </a:lnTo>
                    <a:lnTo>
                      <a:pt x="1307" y="1408"/>
                    </a:lnTo>
                    <a:lnTo>
                      <a:pt x="1321" y="1363"/>
                    </a:lnTo>
                    <a:lnTo>
                      <a:pt x="1337" y="1320"/>
                    </a:lnTo>
                    <a:lnTo>
                      <a:pt x="1353" y="1276"/>
                    </a:lnTo>
                    <a:lnTo>
                      <a:pt x="1370" y="1233"/>
                    </a:lnTo>
                    <a:lnTo>
                      <a:pt x="1388" y="1191"/>
                    </a:lnTo>
                    <a:lnTo>
                      <a:pt x="1408" y="1148"/>
                    </a:lnTo>
                    <a:lnTo>
                      <a:pt x="1428" y="1105"/>
                    </a:lnTo>
                    <a:lnTo>
                      <a:pt x="1449" y="1063"/>
                    </a:lnTo>
                    <a:lnTo>
                      <a:pt x="1472" y="1022"/>
                    </a:lnTo>
                    <a:lnTo>
                      <a:pt x="1494" y="981"/>
                    </a:lnTo>
                    <a:lnTo>
                      <a:pt x="1518" y="940"/>
                    </a:lnTo>
                    <a:lnTo>
                      <a:pt x="1543" y="900"/>
                    </a:lnTo>
                    <a:lnTo>
                      <a:pt x="1569" y="860"/>
                    </a:lnTo>
                    <a:lnTo>
                      <a:pt x="1596" y="822"/>
                    </a:lnTo>
                    <a:lnTo>
                      <a:pt x="1623" y="783"/>
                    </a:lnTo>
                    <a:lnTo>
                      <a:pt x="1652" y="745"/>
                    </a:lnTo>
                    <a:lnTo>
                      <a:pt x="1681" y="707"/>
                    </a:lnTo>
                    <a:lnTo>
                      <a:pt x="1711" y="670"/>
                    </a:lnTo>
                    <a:lnTo>
                      <a:pt x="1742" y="634"/>
                    </a:lnTo>
                    <a:lnTo>
                      <a:pt x="1773" y="598"/>
                    </a:lnTo>
                    <a:lnTo>
                      <a:pt x="1806" y="562"/>
                    </a:lnTo>
                    <a:lnTo>
                      <a:pt x="1839" y="529"/>
                    </a:lnTo>
                    <a:lnTo>
                      <a:pt x="1873" y="494"/>
                    </a:lnTo>
                    <a:lnTo>
                      <a:pt x="1908" y="462"/>
                    </a:lnTo>
                    <a:lnTo>
                      <a:pt x="1943" y="430"/>
                    </a:lnTo>
                    <a:lnTo>
                      <a:pt x="1979" y="398"/>
                    </a:lnTo>
                    <a:lnTo>
                      <a:pt x="2016" y="367"/>
                    </a:lnTo>
                    <a:lnTo>
                      <a:pt x="2054" y="337"/>
                    </a:lnTo>
                    <a:lnTo>
                      <a:pt x="2098" y="306"/>
                    </a:lnTo>
                    <a:lnTo>
                      <a:pt x="2144" y="275"/>
                    </a:lnTo>
                    <a:lnTo>
                      <a:pt x="2193" y="248"/>
                    </a:lnTo>
                    <a:lnTo>
                      <a:pt x="2244" y="222"/>
                    </a:lnTo>
                    <a:lnTo>
                      <a:pt x="2298" y="199"/>
                    </a:lnTo>
                    <a:lnTo>
                      <a:pt x="2353" y="176"/>
                    </a:lnTo>
                    <a:lnTo>
                      <a:pt x="2409" y="156"/>
                    </a:lnTo>
                    <a:lnTo>
                      <a:pt x="2466" y="137"/>
                    </a:lnTo>
                    <a:lnTo>
                      <a:pt x="2524" y="120"/>
                    </a:lnTo>
                    <a:lnTo>
                      <a:pt x="2584" y="104"/>
                    </a:lnTo>
                    <a:lnTo>
                      <a:pt x="2643" y="90"/>
                    </a:lnTo>
                    <a:lnTo>
                      <a:pt x="2704" y="77"/>
                    </a:lnTo>
                    <a:lnTo>
                      <a:pt x="2763" y="65"/>
                    </a:lnTo>
                    <a:lnTo>
                      <a:pt x="2821" y="55"/>
                    </a:lnTo>
                    <a:lnTo>
                      <a:pt x="2880" y="45"/>
                    </a:lnTo>
                    <a:lnTo>
                      <a:pt x="2937" y="37"/>
                    </a:lnTo>
                    <a:lnTo>
                      <a:pt x="2993" y="30"/>
                    </a:lnTo>
                    <a:lnTo>
                      <a:pt x="3047" y="24"/>
                    </a:lnTo>
                    <a:lnTo>
                      <a:pt x="3100" y="18"/>
                    </a:lnTo>
                    <a:lnTo>
                      <a:pt x="3150" y="14"/>
                    </a:lnTo>
                    <a:lnTo>
                      <a:pt x="3244" y="8"/>
                    </a:lnTo>
                    <a:lnTo>
                      <a:pt x="3325" y="3"/>
                    </a:lnTo>
                    <a:lnTo>
                      <a:pt x="3393" y="1"/>
                    </a:lnTo>
                    <a:lnTo>
                      <a:pt x="3444" y="0"/>
                    </a:lnTo>
                    <a:lnTo>
                      <a:pt x="3478" y="0"/>
                    </a:lnTo>
                    <a:lnTo>
                      <a:pt x="3491" y="0"/>
                    </a:lnTo>
                    <a:lnTo>
                      <a:pt x="3496" y="1"/>
                    </a:lnTo>
                    <a:lnTo>
                      <a:pt x="3499" y="3"/>
                    </a:lnTo>
                    <a:lnTo>
                      <a:pt x="3503" y="8"/>
                    </a:lnTo>
                    <a:lnTo>
                      <a:pt x="3504" y="13"/>
                    </a:lnTo>
                    <a:lnTo>
                      <a:pt x="3503" y="18"/>
                    </a:lnTo>
                    <a:lnTo>
                      <a:pt x="3499" y="23"/>
                    </a:lnTo>
                    <a:lnTo>
                      <a:pt x="3495" y="26"/>
                    </a:lnTo>
                    <a:lnTo>
                      <a:pt x="3490" y="27"/>
                    </a:lnTo>
                    <a:lnTo>
                      <a:pt x="3477" y="27"/>
                    </a:lnTo>
                    <a:lnTo>
                      <a:pt x="3444" y="27"/>
                    </a:lnTo>
                    <a:lnTo>
                      <a:pt x="3394" y="28"/>
                    </a:lnTo>
                    <a:lnTo>
                      <a:pt x="3327" y="30"/>
                    </a:lnTo>
                    <a:lnTo>
                      <a:pt x="3246" y="35"/>
                    </a:lnTo>
                    <a:lnTo>
                      <a:pt x="3153" y="41"/>
                    </a:lnTo>
                    <a:lnTo>
                      <a:pt x="3103" y="45"/>
                    </a:lnTo>
                    <a:lnTo>
                      <a:pt x="3051" y="51"/>
                    </a:lnTo>
                    <a:lnTo>
                      <a:pt x="2997" y="56"/>
                    </a:lnTo>
                    <a:lnTo>
                      <a:pt x="2942" y="64"/>
                    </a:lnTo>
                    <a:lnTo>
                      <a:pt x="2886" y="71"/>
                    </a:lnTo>
                    <a:lnTo>
                      <a:pt x="2828" y="81"/>
                    </a:lnTo>
                    <a:lnTo>
                      <a:pt x="2769" y="91"/>
                    </a:lnTo>
                    <a:lnTo>
                      <a:pt x="2711" y="103"/>
                    </a:lnTo>
                    <a:lnTo>
                      <a:pt x="2652" y="114"/>
                    </a:lnTo>
                    <a:lnTo>
                      <a:pt x="2593" y="129"/>
                    </a:lnTo>
                    <a:lnTo>
                      <a:pt x="2535" y="145"/>
                    </a:lnTo>
                    <a:lnTo>
                      <a:pt x="2477" y="162"/>
                    </a:lnTo>
                    <a:lnTo>
                      <a:pt x="2421" y="180"/>
                    </a:lnTo>
                    <a:lnTo>
                      <a:pt x="2365" y="200"/>
                    </a:lnTo>
                    <a:lnTo>
                      <a:pt x="2311" y="222"/>
                    </a:lnTo>
                    <a:lnTo>
                      <a:pt x="2258" y="245"/>
                    </a:lnTo>
                    <a:lnTo>
                      <a:pt x="2207" y="271"/>
                    </a:lnTo>
                    <a:lnTo>
                      <a:pt x="2159" y="298"/>
                    </a:lnTo>
                    <a:lnTo>
                      <a:pt x="2113" y="327"/>
                    </a:lnTo>
                    <a:lnTo>
                      <a:pt x="2071" y="358"/>
                    </a:lnTo>
                    <a:lnTo>
                      <a:pt x="2033" y="389"/>
                    </a:lnTo>
                    <a:lnTo>
                      <a:pt x="1997" y="419"/>
                    </a:lnTo>
                    <a:lnTo>
                      <a:pt x="1961" y="450"/>
                    </a:lnTo>
                    <a:lnTo>
                      <a:pt x="1926" y="482"/>
                    </a:lnTo>
                    <a:lnTo>
                      <a:pt x="1892" y="514"/>
                    </a:lnTo>
                    <a:lnTo>
                      <a:pt x="1858" y="547"/>
                    </a:lnTo>
                    <a:lnTo>
                      <a:pt x="1826" y="582"/>
                    </a:lnTo>
                    <a:lnTo>
                      <a:pt x="1793" y="616"/>
                    </a:lnTo>
                    <a:lnTo>
                      <a:pt x="1762" y="651"/>
                    </a:lnTo>
                    <a:lnTo>
                      <a:pt x="1732" y="688"/>
                    </a:lnTo>
                    <a:lnTo>
                      <a:pt x="1702" y="724"/>
                    </a:lnTo>
                    <a:lnTo>
                      <a:pt x="1673" y="761"/>
                    </a:lnTo>
                    <a:lnTo>
                      <a:pt x="1645" y="799"/>
                    </a:lnTo>
                    <a:lnTo>
                      <a:pt x="1618" y="837"/>
                    </a:lnTo>
                    <a:lnTo>
                      <a:pt x="1591" y="876"/>
                    </a:lnTo>
                    <a:lnTo>
                      <a:pt x="1567" y="914"/>
                    </a:lnTo>
                    <a:lnTo>
                      <a:pt x="1542" y="954"/>
                    </a:lnTo>
                    <a:lnTo>
                      <a:pt x="1518" y="994"/>
                    </a:lnTo>
                    <a:lnTo>
                      <a:pt x="1495" y="1035"/>
                    </a:lnTo>
                    <a:lnTo>
                      <a:pt x="1474" y="1076"/>
                    </a:lnTo>
                    <a:lnTo>
                      <a:pt x="1452" y="1117"/>
                    </a:lnTo>
                    <a:lnTo>
                      <a:pt x="1433" y="1158"/>
                    </a:lnTo>
                    <a:lnTo>
                      <a:pt x="1413" y="1200"/>
                    </a:lnTo>
                    <a:lnTo>
                      <a:pt x="1395" y="1244"/>
                    </a:lnTo>
                    <a:lnTo>
                      <a:pt x="1379" y="1286"/>
                    </a:lnTo>
                    <a:lnTo>
                      <a:pt x="1362" y="1329"/>
                    </a:lnTo>
                    <a:lnTo>
                      <a:pt x="1347" y="1372"/>
                    </a:lnTo>
                    <a:lnTo>
                      <a:pt x="1333" y="1415"/>
                    </a:lnTo>
                    <a:lnTo>
                      <a:pt x="1320" y="1458"/>
                    </a:lnTo>
                    <a:lnTo>
                      <a:pt x="1309" y="1503"/>
                    </a:lnTo>
                    <a:lnTo>
                      <a:pt x="1298" y="1547"/>
                    </a:lnTo>
                    <a:lnTo>
                      <a:pt x="1288" y="1591"/>
                    </a:lnTo>
                    <a:lnTo>
                      <a:pt x="1283" y="1617"/>
                    </a:lnTo>
                    <a:lnTo>
                      <a:pt x="1277" y="1644"/>
                    </a:lnTo>
                    <a:lnTo>
                      <a:pt x="1273" y="1670"/>
                    </a:lnTo>
                    <a:lnTo>
                      <a:pt x="1267" y="1697"/>
                    </a:lnTo>
                    <a:lnTo>
                      <a:pt x="1262" y="1723"/>
                    </a:lnTo>
                    <a:lnTo>
                      <a:pt x="1258" y="1750"/>
                    </a:lnTo>
                    <a:lnTo>
                      <a:pt x="1253" y="1776"/>
                    </a:lnTo>
                    <a:lnTo>
                      <a:pt x="1248" y="1802"/>
                    </a:lnTo>
                    <a:lnTo>
                      <a:pt x="1237" y="1866"/>
                    </a:lnTo>
                    <a:lnTo>
                      <a:pt x="1225" y="1931"/>
                    </a:lnTo>
                    <a:lnTo>
                      <a:pt x="1212" y="1997"/>
                    </a:lnTo>
                    <a:lnTo>
                      <a:pt x="1198" y="2062"/>
                    </a:lnTo>
                    <a:lnTo>
                      <a:pt x="1183" y="2127"/>
                    </a:lnTo>
                    <a:lnTo>
                      <a:pt x="1166" y="2191"/>
                    </a:lnTo>
                    <a:lnTo>
                      <a:pt x="1156" y="2224"/>
                    </a:lnTo>
                    <a:lnTo>
                      <a:pt x="1147" y="2256"/>
                    </a:lnTo>
                    <a:lnTo>
                      <a:pt x="1136" y="2289"/>
                    </a:lnTo>
                    <a:lnTo>
                      <a:pt x="1125" y="2321"/>
                    </a:lnTo>
                    <a:lnTo>
                      <a:pt x="1112" y="2353"/>
                    </a:lnTo>
                    <a:lnTo>
                      <a:pt x="1099" y="2385"/>
                    </a:lnTo>
                    <a:lnTo>
                      <a:pt x="1086" y="2417"/>
                    </a:lnTo>
                    <a:lnTo>
                      <a:pt x="1071" y="2448"/>
                    </a:lnTo>
                    <a:lnTo>
                      <a:pt x="1055" y="2481"/>
                    </a:lnTo>
                    <a:lnTo>
                      <a:pt x="1039" y="2512"/>
                    </a:lnTo>
                    <a:lnTo>
                      <a:pt x="1021" y="2543"/>
                    </a:lnTo>
                    <a:lnTo>
                      <a:pt x="1002" y="2575"/>
                    </a:lnTo>
                    <a:lnTo>
                      <a:pt x="982" y="2606"/>
                    </a:lnTo>
                    <a:lnTo>
                      <a:pt x="962" y="2636"/>
                    </a:lnTo>
                    <a:lnTo>
                      <a:pt x="939" y="2667"/>
                    </a:lnTo>
                    <a:lnTo>
                      <a:pt x="917" y="2698"/>
                    </a:lnTo>
                    <a:lnTo>
                      <a:pt x="892" y="2728"/>
                    </a:lnTo>
                    <a:lnTo>
                      <a:pt x="866" y="2758"/>
                    </a:lnTo>
                    <a:lnTo>
                      <a:pt x="838" y="2788"/>
                    </a:lnTo>
                    <a:lnTo>
                      <a:pt x="809" y="2818"/>
                    </a:lnTo>
                    <a:lnTo>
                      <a:pt x="780" y="2848"/>
                    </a:lnTo>
                    <a:lnTo>
                      <a:pt x="751" y="2880"/>
                    </a:lnTo>
                    <a:lnTo>
                      <a:pt x="722" y="2914"/>
                    </a:lnTo>
                    <a:lnTo>
                      <a:pt x="693" y="2950"/>
                    </a:lnTo>
                    <a:lnTo>
                      <a:pt x="664" y="2988"/>
                    </a:lnTo>
                    <a:lnTo>
                      <a:pt x="634" y="3028"/>
                    </a:lnTo>
                    <a:lnTo>
                      <a:pt x="604" y="3069"/>
                    </a:lnTo>
                    <a:lnTo>
                      <a:pt x="575" y="3111"/>
                    </a:lnTo>
                    <a:lnTo>
                      <a:pt x="546" y="3155"/>
                    </a:lnTo>
                    <a:lnTo>
                      <a:pt x="517" y="3200"/>
                    </a:lnTo>
                    <a:lnTo>
                      <a:pt x="488" y="3245"/>
                    </a:lnTo>
                    <a:lnTo>
                      <a:pt x="460" y="3291"/>
                    </a:lnTo>
                    <a:lnTo>
                      <a:pt x="404" y="3384"/>
                    </a:lnTo>
                    <a:lnTo>
                      <a:pt x="350" y="3479"/>
                    </a:lnTo>
                    <a:lnTo>
                      <a:pt x="298" y="3572"/>
                    </a:lnTo>
                    <a:lnTo>
                      <a:pt x="248" y="3664"/>
                    </a:lnTo>
                    <a:lnTo>
                      <a:pt x="202" y="3752"/>
                    </a:lnTo>
                    <a:lnTo>
                      <a:pt x="159" y="3837"/>
                    </a:lnTo>
                    <a:lnTo>
                      <a:pt x="120" y="3915"/>
                    </a:lnTo>
                    <a:lnTo>
                      <a:pt x="85" y="3985"/>
                    </a:lnTo>
                    <a:lnTo>
                      <a:pt x="55" y="4048"/>
                    </a:lnTo>
                    <a:lnTo>
                      <a:pt x="30" y="4101"/>
                    </a:lnTo>
                    <a:lnTo>
                      <a:pt x="0" y="4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02"/>
              <p:cNvSpPr>
                <a:spLocks/>
              </p:cNvSpPr>
              <p:nvPr userDrawn="1"/>
            </p:nvSpPr>
            <p:spPr bwMode="auto">
              <a:xfrm>
                <a:off x="1219" y="2957"/>
                <a:ext cx="1272" cy="218"/>
              </a:xfrm>
              <a:custGeom>
                <a:avLst/>
                <a:gdLst>
                  <a:gd name="T0" fmla="*/ 3795 w 3817"/>
                  <a:gd name="T1" fmla="*/ 652 h 655"/>
                  <a:gd name="T2" fmla="*/ 3790 w 3817"/>
                  <a:gd name="T3" fmla="*/ 635 h 655"/>
                  <a:gd name="T4" fmla="*/ 3787 w 3817"/>
                  <a:gd name="T5" fmla="*/ 589 h 655"/>
                  <a:gd name="T6" fmla="*/ 3771 w 3817"/>
                  <a:gd name="T7" fmla="*/ 548 h 655"/>
                  <a:gd name="T8" fmla="*/ 3736 w 3817"/>
                  <a:gd name="T9" fmla="*/ 503 h 655"/>
                  <a:gd name="T10" fmla="*/ 3685 w 3817"/>
                  <a:gd name="T11" fmla="*/ 461 h 655"/>
                  <a:gd name="T12" fmla="*/ 3610 w 3817"/>
                  <a:gd name="T13" fmla="*/ 422 h 655"/>
                  <a:gd name="T14" fmla="*/ 3510 w 3817"/>
                  <a:gd name="T15" fmla="*/ 387 h 655"/>
                  <a:gd name="T16" fmla="*/ 3379 w 3817"/>
                  <a:gd name="T17" fmla="*/ 361 h 655"/>
                  <a:gd name="T18" fmla="*/ 3214 w 3817"/>
                  <a:gd name="T19" fmla="*/ 344 h 655"/>
                  <a:gd name="T20" fmla="*/ 3010 w 3817"/>
                  <a:gd name="T21" fmla="*/ 339 h 655"/>
                  <a:gd name="T22" fmla="*/ 2763 w 3817"/>
                  <a:gd name="T23" fmla="*/ 349 h 655"/>
                  <a:gd name="T24" fmla="*/ 2465 w 3817"/>
                  <a:gd name="T25" fmla="*/ 373 h 655"/>
                  <a:gd name="T26" fmla="*/ 2157 w 3817"/>
                  <a:gd name="T27" fmla="*/ 391 h 655"/>
                  <a:gd name="T28" fmla="*/ 1881 w 3817"/>
                  <a:gd name="T29" fmla="*/ 388 h 655"/>
                  <a:gd name="T30" fmla="*/ 1637 w 3817"/>
                  <a:gd name="T31" fmla="*/ 369 h 655"/>
                  <a:gd name="T32" fmla="*/ 1420 w 3817"/>
                  <a:gd name="T33" fmla="*/ 336 h 655"/>
                  <a:gd name="T34" fmla="*/ 1226 w 3817"/>
                  <a:gd name="T35" fmla="*/ 293 h 655"/>
                  <a:gd name="T36" fmla="*/ 1010 w 3817"/>
                  <a:gd name="T37" fmla="*/ 233 h 655"/>
                  <a:gd name="T38" fmla="*/ 728 w 3817"/>
                  <a:gd name="T39" fmla="*/ 138 h 655"/>
                  <a:gd name="T40" fmla="*/ 535 w 3817"/>
                  <a:gd name="T41" fmla="*/ 76 h 655"/>
                  <a:gd name="T42" fmla="*/ 350 w 3817"/>
                  <a:gd name="T43" fmla="*/ 35 h 655"/>
                  <a:gd name="T44" fmla="*/ 235 w 3817"/>
                  <a:gd name="T45" fmla="*/ 27 h 655"/>
                  <a:gd name="T46" fmla="*/ 140 w 3817"/>
                  <a:gd name="T47" fmla="*/ 31 h 655"/>
                  <a:gd name="T48" fmla="*/ 41 w 3817"/>
                  <a:gd name="T49" fmla="*/ 46 h 655"/>
                  <a:gd name="T50" fmla="*/ 2 w 3817"/>
                  <a:gd name="T51" fmla="*/ 47 h 655"/>
                  <a:gd name="T52" fmla="*/ 6 w 3817"/>
                  <a:gd name="T53" fmla="*/ 29 h 655"/>
                  <a:gd name="T54" fmla="*/ 87 w 3817"/>
                  <a:gd name="T55" fmla="*/ 11 h 655"/>
                  <a:gd name="T56" fmla="*/ 186 w 3817"/>
                  <a:gd name="T57" fmla="*/ 1 h 655"/>
                  <a:gd name="T58" fmla="*/ 281 w 3817"/>
                  <a:gd name="T59" fmla="*/ 1 h 655"/>
                  <a:gd name="T60" fmla="*/ 445 w 3817"/>
                  <a:gd name="T61" fmla="*/ 26 h 655"/>
                  <a:gd name="T62" fmla="*/ 636 w 3817"/>
                  <a:gd name="T63" fmla="*/ 79 h 655"/>
                  <a:gd name="T64" fmla="*/ 862 w 3817"/>
                  <a:gd name="T65" fmla="*/ 155 h 655"/>
                  <a:gd name="T66" fmla="*/ 1143 w 3817"/>
                  <a:gd name="T67" fmla="*/ 244 h 655"/>
                  <a:gd name="T68" fmla="*/ 1325 w 3817"/>
                  <a:gd name="T69" fmla="*/ 289 h 655"/>
                  <a:gd name="T70" fmla="*/ 1529 w 3817"/>
                  <a:gd name="T71" fmla="*/ 327 h 655"/>
                  <a:gd name="T72" fmla="*/ 1758 w 3817"/>
                  <a:gd name="T73" fmla="*/ 353 h 655"/>
                  <a:gd name="T74" fmla="*/ 2015 w 3817"/>
                  <a:gd name="T75" fmla="*/ 365 h 655"/>
                  <a:gd name="T76" fmla="*/ 2306 w 3817"/>
                  <a:gd name="T77" fmla="*/ 358 h 655"/>
                  <a:gd name="T78" fmla="*/ 2622 w 3817"/>
                  <a:gd name="T79" fmla="*/ 332 h 655"/>
                  <a:gd name="T80" fmla="*/ 2895 w 3817"/>
                  <a:gd name="T81" fmla="*/ 315 h 655"/>
                  <a:gd name="T82" fmla="*/ 3123 w 3817"/>
                  <a:gd name="T83" fmla="*/ 313 h 655"/>
                  <a:gd name="T84" fmla="*/ 3311 w 3817"/>
                  <a:gd name="T85" fmla="*/ 326 h 655"/>
                  <a:gd name="T86" fmla="*/ 3462 w 3817"/>
                  <a:gd name="T87" fmla="*/ 350 h 655"/>
                  <a:gd name="T88" fmla="*/ 3580 w 3817"/>
                  <a:gd name="T89" fmla="*/ 382 h 655"/>
                  <a:gd name="T90" fmla="*/ 3669 w 3817"/>
                  <a:gd name="T91" fmla="*/ 421 h 655"/>
                  <a:gd name="T92" fmla="*/ 3733 w 3817"/>
                  <a:gd name="T93" fmla="*/ 463 h 655"/>
                  <a:gd name="T94" fmla="*/ 3779 w 3817"/>
                  <a:gd name="T95" fmla="*/ 510 h 655"/>
                  <a:gd name="T96" fmla="*/ 3808 w 3817"/>
                  <a:gd name="T97" fmla="*/ 563 h 655"/>
                  <a:gd name="T98" fmla="*/ 3817 w 3817"/>
                  <a:gd name="T99" fmla="*/ 616 h 655"/>
                  <a:gd name="T100" fmla="*/ 3813 w 3817"/>
                  <a:gd name="T101" fmla="*/ 64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17" h="655">
                    <a:moveTo>
                      <a:pt x="3802" y="655"/>
                    </a:moveTo>
                    <a:lnTo>
                      <a:pt x="3801" y="655"/>
                    </a:lnTo>
                    <a:lnTo>
                      <a:pt x="3799" y="654"/>
                    </a:lnTo>
                    <a:lnTo>
                      <a:pt x="3795" y="652"/>
                    </a:lnTo>
                    <a:lnTo>
                      <a:pt x="3790" y="649"/>
                    </a:lnTo>
                    <a:lnTo>
                      <a:pt x="3789" y="643"/>
                    </a:lnTo>
                    <a:lnTo>
                      <a:pt x="3789" y="638"/>
                    </a:lnTo>
                    <a:lnTo>
                      <a:pt x="3790" y="635"/>
                    </a:lnTo>
                    <a:lnTo>
                      <a:pt x="3790" y="626"/>
                    </a:lnTo>
                    <a:lnTo>
                      <a:pt x="3790" y="614"/>
                    </a:lnTo>
                    <a:lnTo>
                      <a:pt x="3789" y="599"/>
                    </a:lnTo>
                    <a:lnTo>
                      <a:pt x="3787" y="589"/>
                    </a:lnTo>
                    <a:lnTo>
                      <a:pt x="3785" y="581"/>
                    </a:lnTo>
                    <a:lnTo>
                      <a:pt x="3781" y="570"/>
                    </a:lnTo>
                    <a:lnTo>
                      <a:pt x="3776" y="559"/>
                    </a:lnTo>
                    <a:lnTo>
                      <a:pt x="3771" y="548"/>
                    </a:lnTo>
                    <a:lnTo>
                      <a:pt x="3763" y="536"/>
                    </a:lnTo>
                    <a:lnTo>
                      <a:pt x="3756" y="526"/>
                    </a:lnTo>
                    <a:lnTo>
                      <a:pt x="3746" y="513"/>
                    </a:lnTo>
                    <a:lnTo>
                      <a:pt x="3736" y="503"/>
                    </a:lnTo>
                    <a:lnTo>
                      <a:pt x="3725" y="492"/>
                    </a:lnTo>
                    <a:lnTo>
                      <a:pt x="3713" y="481"/>
                    </a:lnTo>
                    <a:lnTo>
                      <a:pt x="3700" y="472"/>
                    </a:lnTo>
                    <a:lnTo>
                      <a:pt x="3685" y="461"/>
                    </a:lnTo>
                    <a:lnTo>
                      <a:pt x="3668" y="451"/>
                    </a:lnTo>
                    <a:lnTo>
                      <a:pt x="3650" y="441"/>
                    </a:lnTo>
                    <a:lnTo>
                      <a:pt x="3632" y="432"/>
                    </a:lnTo>
                    <a:lnTo>
                      <a:pt x="3610" y="422"/>
                    </a:lnTo>
                    <a:lnTo>
                      <a:pt x="3587" y="413"/>
                    </a:lnTo>
                    <a:lnTo>
                      <a:pt x="3564" y="404"/>
                    </a:lnTo>
                    <a:lnTo>
                      <a:pt x="3538" y="396"/>
                    </a:lnTo>
                    <a:lnTo>
                      <a:pt x="3510" y="387"/>
                    </a:lnTo>
                    <a:lnTo>
                      <a:pt x="3480" y="380"/>
                    </a:lnTo>
                    <a:lnTo>
                      <a:pt x="3448" y="373"/>
                    </a:lnTo>
                    <a:lnTo>
                      <a:pt x="3415" y="367"/>
                    </a:lnTo>
                    <a:lnTo>
                      <a:pt x="3379" y="361"/>
                    </a:lnTo>
                    <a:lnTo>
                      <a:pt x="3341" y="356"/>
                    </a:lnTo>
                    <a:lnTo>
                      <a:pt x="3300" y="351"/>
                    </a:lnTo>
                    <a:lnTo>
                      <a:pt x="3258" y="347"/>
                    </a:lnTo>
                    <a:lnTo>
                      <a:pt x="3214" y="344"/>
                    </a:lnTo>
                    <a:lnTo>
                      <a:pt x="3166" y="341"/>
                    </a:lnTo>
                    <a:lnTo>
                      <a:pt x="3117" y="340"/>
                    </a:lnTo>
                    <a:lnTo>
                      <a:pt x="3065" y="339"/>
                    </a:lnTo>
                    <a:lnTo>
                      <a:pt x="3010" y="339"/>
                    </a:lnTo>
                    <a:lnTo>
                      <a:pt x="2952" y="340"/>
                    </a:lnTo>
                    <a:lnTo>
                      <a:pt x="2892" y="342"/>
                    </a:lnTo>
                    <a:lnTo>
                      <a:pt x="2829" y="344"/>
                    </a:lnTo>
                    <a:lnTo>
                      <a:pt x="2763" y="349"/>
                    </a:lnTo>
                    <a:lnTo>
                      <a:pt x="2695" y="353"/>
                    </a:lnTo>
                    <a:lnTo>
                      <a:pt x="2623" y="359"/>
                    </a:lnTo>
                    <a:lnTo>
                      <a:pt x="2549" y="366"/>
                    </a:lnTo>
                    <a:lnTo>
                      <a:pt x="2465" y="373"/>
                    </a:lnTo>
                    <a:lnTo>
                      <a:pt x="2386" y="380"/>
                    </a:lnTo>
                    <a:lnTo>
                      <a:pt x="2307" y="385"/>
                    </a:lnTo>
                    <a:lnTo>
                      <a:pt x="2230" y="388"/>
                    </a:lnTo>
                    <a:lnTo>
                      <a:pt x="2157" y="391"/>
                    </a:lnTo>
                    <a:lnTo>
                      <a:pt x="2084" y="392"/>
                    </a:lnTo>
                    <a:lnTo>
                      <a:pt x="2015" y="392"/>
                    </a:lnTo>
                    <a:lnTo>
                      <a:pt x="1947" y="391"/>
                    </a:lnTo>
                    <a:lnTo>
                      <a:pt x="1881" y="388"/>
                    </a:lnTo>
                    <a:lnTo>
                      <a:pt x="1818" y="384"/>
                    </a:lnTo>
                    <a:lnTo>
                      <a:pt x="1756" y="380"/>
                    </a:lnTo>
                    <a:lnTo>
                      <a:pt x="1696" y="374"/>
                    </a:lnTo>
                    <a:lnTo>
                      <a:pt x="1637" y="369"/>
                    </a:lnTo>
                    <a:lnTo>
                      <a:pt x="1580" y="361"/>
                    </a:lnTo>
                    <a:lnTo>
                      <a:pt x="1525" y="354"/>
                    </a:lnTo>
                    <a:lnTo>
                      <a:pt x="1472" y="345"/>
                    </a:lnTo>
                    <a:lnTo>
                      <a:pt x="1420" y="336"/>
                    </a:lnTo>
                    <a:lnTo>
                      <a:pt x="1369" y="326"/>
                    </a:lnTo>
                    <a:lnTo>
                      <a:pt x="1320" y="316"/>
                    </a:lnTo>
                    <a:lnTo>
                      <a:pt x="1272" y="305"/>
                    </a:lnTo>
                    <a:lnTo>
                      <a:pt x="1226" y="293"/>
                    </a:lnTo>
                    <a:lnTo>
                      <a:pt x="1180" y="283"/>
                    </a:lnTo>
                    <a:lnTo>
                      <a:pt x="1136" y="270"/>
                    </a:lnTo>
                    <a:lnTo>
                      <a:pt x="1093" y="258"/>
                    </a:lnTo>
                    <a:lnTo>
                      <a:pt x="1010" y="233"/>
                    </a:lnTo>
                    <a:lnTo>
                      <a:pt x="930" y="207"/>
                    </a:lnTo>
                    <a:lnTo>
                      <a:pt x="853" y="181"/>
                    </a:lnTo>
                    <a:lnTo>
                      <a:pt x="780" y="155"/>
                    </a:lnTo>
                    <a:lnTo>
                      <a:pt x="728" y="138"/>
                    </a:lnTo>
                    <a:lnTo>
                      <a:pt x="678" y="121"/>
                    </a:lnTo>
                    <a:lnTo>
                      <a:pt x="630" y="105"/>
                    </a:lnTo>
                    <a:lnTo>
                      <a:pt x="582" y="89"/>
                    </a:lnTo>
                    <a:lnTo>
                      <a:pt x="535" y="76"/>
                    </a:lnTo>
                    <a:lnTo>
                      <a:pt x="488" y="64"/>
                    </a:lnTo>
                    <a:lnTo>
                      <a:pt x="442" y="53"/>
                    </a:lnTo>
                    <a:lnTo>
                      <a:pt x="397" y="43"/>
                    </a:lnTo>
                    <a:lnTo>
                      <a:pt x="350" y="35"/>
                    </a:lnTo>
                    <a:lnTo>
                      <a:pt x="305" y="30"/>
                    </a:lnTo>
                    <a:lnTo>
                      <a:pt x="281" y="29"/>
                    </a:lnTo>
                    <a:lnTo>
                      <a:pt x="258" y="28"/>
                    </a:lnTo>
                    <a:lnTo>
                      <a:pt x="235" y="27"/>
                    </a:lnTo>
                    <a:lnTo>
                      <a:pt x="211" y="27"/>
                    </a:lnTo>
                    <a:lnTo>
                      <a:pt x="188" y="28"/>
                    </a:lnTo>
                    <a:lnTo>
                      <a:pt x="163" y="29"/>
                    </a:lnTo>
                    <a:lnTo>
                      <a:pt x="140" y="31"/>
                    </a:lnTo>
                    <a:lnTo>
                      <a:pt x="116" y="33"/>
                    </a:lnTo>
                    <a:lnTo>
                      <a:pt x="91" y="38"/>
                    </a:lnTo>
                    <a:lnTo>
                      <a:pt x="67" y="42"/>
                    </a:lnTo>
                    <a:lnTo>
                      <a:pt x="41" y="46"/>
                    </a:lnTo>
                    <a:lnTo>
                      <a:pt x="16" y="53"/>
                    </a:lnTo>
                    <a:lnTo>
                      <a:pt x="11" y="53"/>
                    </a:lnTo>
                    <a:lnTo>
                      <a:pt x="7" y="51"/>
                    </a:lnTo>
                    <a:lnTo>
                      <a:pt x="2" y="47"/>
                    </a:lnTo>
                    <a:lnTo>
                      <a:pt x="0" y="43"/>
                    </a:lnTo>
                    <a:lnTo>
                      <a:pt x="0" y="38"/>
                    </a:lnTo>
                    <a:lnTo>
                      <a:pt x="1" y="32"/>
                    </a:lnTo>
                    <a:lnTo>
                      <a:pt x="6" y="29"/>
                    </a:lnTo>
                    <a:lnTo>
                      <a:pt x="10" y="26"/>
                    </a:lnTo>
                    <a:lnTo>
                      <a:pt x="36" y="20"/>
                    </a:lnTo>
                    <a:lnTo>
                      <a:pt x="62" y="15"/>
                    </a:lnTo>
                    <a:lnTo>
                      <a:pt x="87" y="11"/>
                    </a:lnTo>
                    <a:lnTo>
                      <a:pt x="111" y="6"/>
                    </a:lnTo>
                    <a:lnTo>
                      <a:pt x="136" y="4"/>
                    </a:lnTo>
                    <a:lnTo>
                      <a:pt x="161" y="2"/>
                    </a:lnTo>
                    <a:lnTo>
                      <a:pt x="186" y="1"/>
                    </a:lnTo>
                    <a:lnTo>
                      <a:pt x="210" y="0"/>
                    </a:lnTo>
                    <a:lnTo>
                      <a:pt x="233" y="0"/>
                    </a:lnTo>
                    <a:lnTo>
                      <a:pt x="257" y="0"/>
                    </a:lnTo>
                    <a:lnTo>
                      <a:pt x="281" y="1"/>
                    </a:lnTo>
                    <a:lnTo>
                      <a:pt x="305" y="3"/>
                    </a:lnTo>
                    <a:lnTo>
                      <a:pt x="352" y="8"/>
                    </a:lnTo>
                    <a:lnTo>
                      <a:pt x="399" y="16"/>
                    </a:lnTo>
                    <a:lnTo>
                      <a:pt x="445" y="26"/>
                    </a:lnTo>
                    <a:lnTo>
                      <a:pt x="493" y="37"/>
                    </a:lnTo>
                    <a:lnTo>
                      <a:pt x="540" y="50"/>
                    </a:lnTo>
                    <a:lnTo>
                      <a:pt x="588" y="64"/>
                    </a:lnTo>
                    <a:lnTo>
                      <a:pt x="636" y="79"/>
                    </a:lnTo>
                    <a:lnTo>
                      <a:pt x="686" y="95"/>
                    </a:lnTo>
                    <a:lnTo>
                      <a:pt x="737" y="112"/>
                    </a:lnTo>
                    <a:lnTo>
                      <a:pt x="789" y="130"/>
                    </a:lnTo>
                    <a:lnTo>
                      <a:pt x="862" y="155"/>
                    </a:lnTo>
                    <a:lnTo>
                      <a:pt x="938" y="181"/>
                    </a:lnTo>
                    <a:lnTo>
                      <a:pt x="1016" y="207"/>
                    </a:lnTo>
                    <a:lnTo>
                      <a:pt x="1099" y="232"/>
                    </a:lnTo>
                    <a:lnTo>
                      <a:pt x="1143" y="244"/>
                    </a:lnTo>
                    <a:lnTo>
                      <a:pt x="1186" y="256"/>
                    </a:lnTo>
                    <a:lnTo>
                      <a:pt x="1231" y="268"/>
                    </a:lnTo>
                    <a:lnTo>
                      <a:pt x="1278" y="278"/>
                    </a:lnTo>
                    <a:lnTo>
                      <a:pt x="1325" y="289"/>
                    </a:lnTo>
                    <a:lnTo>
                      <a:pt x="1374" y="300"/>
                    </a:lnTo>
                    <a:lnTo>
                      <a:pt x="1425" y="310"/>
                    </a:lnTo>
                    <a:lnTo>
                      <a:pt x="1476" y="318"/>
                    </a:lnTo>
                    <a:lnTo>
                      <a:pt x="1529" y="327"/>
                    </a:lnTo>
                    <a:lnTo>
                      <a:pt x="1584" y="334"/>
                    </a:lnTo>
                    <a:lnTo>
                      <a:pt x="1640" y="342"/>
                    </a:lnTo>
                    <a:lnTo>
                      <a:pt x="1699" y="347"/>
                    </a:lnTo>
                    <a:lnTo>
                      <a:pt x="1758" y="353"/>
                    </a:lnTo>
                    <a:lnTo>
                      <a:pt x="1820" y="357"/>
                    </a:lnTo>
                    <a:lnTo>
                      <a:pt x="1883" y="361"/>
                    </a:lnTo>
                    <a:lnTo>
                      <a:pt x="1948" y="364"/>
                    </a:lnTo>
                    <a:lnTo>
                      <a:pt x="2015" y="365"/>
                    </a:lnTo>
                    <a:lnTo>
                      <a:pt x="2085" y="365"/>
                    </a:lnTo>
                    <a:lnTo>
                      <a:pt x="2157" y="364"/>
                    </a:lnTo>
                    <a:lnTo>
                      <a:pt x="2230" y="361"/>
                    </a:lnTo>
                    <a:lnTo>
                      <a:pt x="2306" y="358"/>
                    </a:lnTo>
                    <a:lnTo>
                      <a:pt x="2383" y="353"/>
                    </a:lnTo>
                    <a:lnTo>
                      <a:pt x="2463" y="347"/>
                    </a:lnTo>
                    <a:lnTo>
                      <a:pt x="2546" y="339"/>
                    </a:lnTo>
                    <a:lnTo>
                      <a:pt x="2622" y="332"/>
                    </a:lnTo>
                    <a:lnTo>
                      <a:pt x="2694" y="326"/>
                    </a:lnTo>
                    <a:lnTo>
                      <a:pt x="2765" y="322"/>
                    </a:lnTo>
                    <a:lnTo>
                      <a:pt x="2832" y="317"/>
                    </a:lnTo>
                    <a:lnTo>
                      <a:pt x="2895" y="315"/>
                    </a:lnTo>
                    <a:lnTo>
                      <a:pt x="2957" y="313"/>
                    </a:lnTo>
                    <a:lnTo>
                      <a:pt x="3015" y="312"/>
                    </a:lnTo>
                    <a:lnTo>
                      <a:pt x="3070" y="312"/>
                    </a:lnTo>
                    <a:lnTo>
                      <a:pt x="3123" y="313"/>
                    </a:lnTo>
                    <a:lnTo>
                      <a:pt x="3174" y="315"/>
                    </a:lnTo>
                    <a:lnTo>
                      <a:pt x="3222" y="318"/>
                    </a:lnTo>
                    <a:lnTo>
                      <a:pt x="3268" y="322"/>
                    </a:lnTo>
                    <a:lnTo>
                      <a:pt x="3311" y="326"/>
                    </a:lnTo>
                    <a:lnTo>
                      <a:pt x="3352" y="330"/>
                    </a:lnTo>
                    <a:lnTo>
                      <a:pt x="3391" y="337"/>
                    </a:lnTo>
                    <a:lnTo>
                      <a:pt x="3428" y="342"/>
                    </a:lnTo>
                    <a:lnTo>
                      <a:pt x="3462" y="350"/>
                    </a:lnTo>
                    <a:lnTo>
                      <a:pt x="3495" y="357"/>
                    </a:lnTo>
                    <a:lnTo>
                      <a:pt x="3525" y="365"/>
                    </a:lnTo>
                    <a:lnTo>
                      <a:pt x="3553" y="373"/>
                    </a:lnTo>
                    <a:lnTo>
                      <a:pt x="3580" y="382"/>
                    </a:lnTo>
                    <a:lnTo>
                      <a:pt x="3605" y="391"/>
                    </a:lnTo>
                    <a:lnTo>
                      <a:pt x="3627" y="400"/>
                    </a:lnTo>
                    <a:lnTo>
                      <a:pt x="3649" y="410"/>
                    </a:lnTo>
                    <a:lnTo>
                      <a:pt x="3669" y="421"/>
                    </a:lnTo>
                    <a:lnTo>
                      <a:pt x="3687" y="431"/>
                    </a:lnTo>
                    <a:lnTo>
                      <a:pt x="3704" y="441"/>
                    </a:lnTo>
                    <a:lnTo>
                      <a:pt x="3719" y="452"/>
                    </a:lnTo>
                    <a:lnTo>
                      <a:pt x="3733" y="463"/>
                    </a:lnTo>
                    <a:lnTo>
                      <a:pt x="3746" y="475"/>
                    </a:lnTo>
                    <a:lnTo>
                      <a:pt x="3757" y="486"/>
                    </a:lnTo>
                    <a:lnTo>
                      <a:pt x="3767" y="496"/>
                    </a:lnTo>
                    <a:lnTo>
                      <a:pt x="3779" y="510"/>
                    </a:lnTo>
                    <a:lnTo>
                      <a:pt x="3788" y="524"/>
                    </a:lnTo>
                    <a:lnTo>
                      <a:pt x="3796" y="537"/>
                    </a:lnTo>
                    <a:lnTo>
                      <a:pt x="3802" y="551"/>
                    </a:lnTo>
                    <a:lnTo>
                      <a:pt x="3808" y="563"/>
                    </a:lnTo>
                    <a:lnTo>
                      <a:pt x="3811" y="575"/>
                    </a:lnTo>
                    <a:lnTo>
                      <a:pt x="3814" y="587"/>
                    </a:lnTo>
                    <a:lnTo>
                      <a:pt x="3816" y="598"/>
                    </a:lnTo>
                    <a:lnTo>
                      <a:pt x="3817" y="616"/>
                    </a:lnTo>
                    <a:lnTo>
                      <a:pt x="3817" y="631"/>
                    </a:lnTo>
                    <a:lnTo>
                      <a:pt x="3816" y="640"/>
                    </a:lnTo>
                    <a:lnTo>
                      <a:pt x="3815" y="644"/>
                    </a:lnTo>
                    <a:lnTo>
                      <a:pt x="3813" y="649"/>
                    </a:lnTo>
                    <a:lnTo>
                      <a:pt x="3811" y="652"/>
                    </a:lnTo>
                    <a:lnTo>
                      <a:pt x="3807" y="654"/>
                    </a:lnTo>
                    <a:lnTo>
                      <a:pt x="3802" y="6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03"/>
              <p:cNvSpPr>
                <a:spLocks/>
              </p:cNvSpPr>
              <p:nvPr userDrawn="1"/>
            </p:nvSpPr>
            <p:spPr bwMode="auto">
              <a:xfrm>
                <a:off x="1677" y="1474"/>
                <a:ext cx="373" cy="431"/>
              </a:xfrm>
              <a:custGeom>
                <a:avLst/>
                <a:gdLst>
                  <a:gd name="T0" fmla="*/ 14 w 1119"/>
                  <a:gd name="T1" fmla="*/ 1292 h 1292"/>
                  <a:gd name="T2" fmla="*/ 9 w 1119"/>
                  <a:gd name="T3" fmla="*/ 1290 h 1292"/>
                  <a:gd name="T4" fmla="*/ 5 w 1119"/>
                  <a:gd name="T5" fmla="*/ 1288 h 1292"/>
                  <a:gd name="T6" fmla="*/ 1 w 1119"/>
                  <a:gd name="T7" fmla="*/ 1284 h 1292"/>
                  <a:gd name="T8" fmla="*/ 0 w 1119"/>
                  <a:gd name="T9" fmla="*/ 1280 h 1292"/>
                  <a:gd name="T10" fmla="*/ 1 w 1119"/>
                  <a:gd name="T11" fmla="*/ 1274 h 1292"/>
                  <a:gd name="T12" fmla="*/ 3 w 1119"/>
                  <a:gd name="T13" fmla="*/ 1270 h 1292"/>
                  <a:gd name="T14" fmla="*/ 1096 w 1119"/>
                  <a:gd name="T15" fmla="*/ 5 h 1292"/>
                  <a:gd name="T16" fmla="*/ 1099 w 1119"/>
                  <a:gd name="T17" fmla="*/ 2 h 1292"/>
                  <a:gd name="T18" fmla="*/ 1105 w 1119"/>
                  <a:gd name="T19" fmla="*/ 0 h 1292"/>
                  <a:gd name="T20" fmla="*/ 1110 w 1119"/>
                  <a:gd name="T21" fmla="*/ 0 h 1292"/>
                  <a:gd name="T22" fmla="*/ 1114 w 1119"/>
                  <a:gd name="T23" fmla="*/ 4 h 1292"/>
                  <a:gd name="T24" fmla="*/ 1118 w 1119"/>
                  <a:gd name="T25" fmla="*/ 7 h 1292"/>
                  <a:gd name="T26" fmla="*/ 1119 w 1119"/>
                  <a:gd name="T27" fmla="*/ 12 h 1292"/>
                  <a:gd name="T28" fmla="*/ 1119 w 1119"/>
                  <a:gd name="T29" fmla="*/ 18 h 1292"/>
                  <a:gd name="T30" fmla="*/ 1115 w 1119"/>
                  <a:gd name="T31" fmla="*/ 22 h 1292"/>
                  <a:gd name="T32" fmla="*/ 24 w 1119"/>
                  <a:gd name="T33" fmla="*/ 1287 h 1292"/>
                  <a:gd name="T34" fmla="*/ 22 w 1119"/>
                  <a:gd name="T35" fmla="*/ 1289 h 1292"/>
                  <a:gd name="T36" fmla="*/ 19 w 1119"/>
                  <a:gd name="T37" fmla="*/ 1290 h 1292"/>
                  <a:gd name="T38" fmla="*/ 16 w 1119"/>
                  <a:gd name="T39" fmla="*/ 1292 h 1292"/>
                  <a:gd name="T40" fmla="*/ 14 w 1119"/>
                  <a:gd name="T41" fmla="*/ 1292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9" h="1292">
                    <a:moveTo>
                      <a:pt x="14" y="1292"/>
                    </a:moveTo>
                    <a:lnTo>
                      <a:pt x="9" y="1290"/>
                    </a:lnTo>
                    <a:lnTo>
                      <a:pt x="5" y="1288"/>
                    </a:lnTo>
                    <a:lnTo>
                      <a:pt x="1" y="1284"/>
                    </a:lnTo>
                    <a:lnTo>
                      <a:pt x="0" y="1280"/>
                    </a:lnTo>
                    <a:lnTo>
                      <a:pt x="1" y="1274"/>
                    </a:lnTo>
                    <a:lnTo>
                      <a:pt x="3" y="1270"/>
                    </a:lnTo>
                    <a:lnTo>
                      <a:pt x="1096" y="5"/>
                    </a:lnTo>
                    <a:lnTo>
                      <a:pt x="1099" y="2"/>
                    </a:lnTo>
                    <a:lnTo>
                      <a:pt x="1105" y="0"/>
                    </a:lnTo>
                    <a:lnTo>
                      <a:pt x="1110" y="0"/>
                    </a:lnTo>
                    <a:lnTo>
                      <a:pt x="1114" y="4"/>
                    </a:lnTo>
                    <a:lnTo>
                      <a:pt x="1118" y="7"/>
                    </a:lnTo>
                    <a:lnTo>
                      <a:pt x="1119" y="12"/>
                    </a:lnTo>
                    <a:lnTo>
                      <a:pt x="1119" y="18"/>
                    </a:lnTo>
                    <a:lnTo>
                      <a:pt x="1115" y="22"/>
                    </a:lnTo>
                    <a:lnTo>
                      <a:pt x="24" y="1287"/>
                    </a:lnTo>
                    <a:lnTo>
                      <a:pt x="22" y="1289"/>
                    </a:lnTo>
                    <a:lnTo>
                      <a:pt x="19" y="1290"/>
                    </a:lnTo>
                    <a:lnTo>
                      <a:pt x="16" y="1292"/>
                    </a:lnTo>
                    <a:lnTo>
                      <a:pt x="14" y="1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04"/>
              <p:cNvSpPr>
                <a:spLocks noEditPoints="1"/>
              </p:cNvSpPr>
              <p:nvPr userDrawn="1"/>
            </p:nvSpPr>
            <p:spPr bwMode="auto">
              <a:xfrm>
                <a:off x="2315" y="1172"/>
                <a:ext cx="250" cy="241"/>
              </a:xfrm>
              <a:custGeom>
                <a:avLst/>
                <a:gdLst>
                  <a:gd name="T0" fmla="*/ 13 w 750"/>
                  <a:gd name="T1" fmla="*/ 723 h 723"/>
                  <a:gd name="T2" fmla="*/ 9 w 750"/>
                  <a:gd name="T3" fmla="*/ 723 h 723"/>
                  <a:gd name="T4" fmla="*/ 5 w 750"/>
                  <a:gd name="T5" fmla="*/ 720 h 723"/>
                  <a:gd name="T6" fmla="*/ 1 w 750"/>
                  <a:gd name="T7" fmla="*/ 716 h 723"/>
                  <a:gd name="T8" fmla="*/ 0 w 750"/>
                  <a:gd name="T9" fmla="*/ 711 h 723"/>
                  <a:gd name="T10" fmla="*/ 0 w 750"/>
                  <a:gd name="T11" fmla="*/ 707 h 723"/>
                  <a:gd name="T12" fmla="*/ 3 w 750"/>
                  <a:gd name="T13" fmla="*/ 702 h 723"/>
                  <a:gd name="T14" fmla="*/ 470 w 750"/>
                  <a:gd name="T15" fmla="*/ 6 h 723"/>
                  <a:gd name="T16" fmla="*/ 473 w 750"/>
                  <a:gd name="T17" fmla="*/ 3 h 723"/>
                  <a:gd name="T18" fmla="*/ 477 w 750"/>
                  <a:gd name="T19" fmla="*/ 1 h 723"/>
                  <a:gd name="T20" fmla="*/ 480 w 750"/>
                  <a:gd name="T21" fmla="*/ 0 h 723"/>
                  <a:gd name="T22" fmla="*/ 484 w 750"/>
                  <a:gd name="T23" fmla="*/ 0 h 723"/>
                  <a:gd name="T24" fmla="*/ 738 w 750"/>
                  <a:gd name="T25" fmla="*/ 40 h 723"/>
                  <a:gd name="T26" fmla="*/ 742 w 750"/>
                  <a:gd name="T27" fmla="*/ 41 h 723"/>
                  <a:gd name="T28" fmla="*/ 744 w 750"/>
                  <a:gd name="T29" fmla="*/ 43 h 723"/>
                  <a:gd name="T30" fmla="*/ 748 w 750"/>
                  <a:gd name="T31" fmla="*/ 46 h 723"/>
                  <a:gd name="T32" fmla="*/ 749 w 750"/>
                  <a:gd name="T33" fmla="*/ 49 h 723"/>
                  <a:gd name="T34" fmla="*/ 750 w 750"/>
                  <a:gd name="T35" fmla="*/ 53 h 723"/>
                  <a:gd name="T36" fmla="*/ 749 w 750"/>
                  <a:gd name="T37" fmla="*/ 57 h 723"/>
                  <a:gd name="T38" fmla="*/ 748 w 750"/>
                  <a:gd name="T39" fmla="*/ 60 h 723"/>
                  <a:gd name="T40" fmla="*/ 745 w 750"/>
                  <a:gd name="T41" fmla="*/ 63 h 723"/>
                  <a:gd name="T42" fmla="*/ 23 w 750"/>
                  <a:gd name="T43" fmla="*/ 720 h 723"/>
                  <a:gd name="T44" fmla="*/ 19 w 750"/>
                  <a:gd name="T45" fmla="*/ 723 h 723"/>
                  <a:gd name="T46" fmla="*/ 13 w 750"/>
                  <a:gd name="T47" fmla="*/ 723 h 723"/>
                  <a:gd name="T48" fmla="*/ 488 w 750"/>
                  <a:gd name="T49" fmla="*/ 28 h 723"/>
                  <a:gd name="T50" fmla="*/ 488 w 750"/>
                  <a:gd name="T51" fmla="*/ 28 h 723"/>
                  <a:gd name="T52" fmla="*/ 87 w 750"/>
                  <a:gd name="T53" fmla="*/ 625 h 723"/>
                  <a:gd name="T54" fmla="*/ 705 w 750"/>
                  <a:gd name="T55" fmla="*/ 62 h 723"/>
                  <a:gd name="T56" fmla="*/ 488 w 750"/>
                  <a:gd name="T57" fmla="*/ 2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0" h="723">
                    <a:moveTo>
                      <a:pt x="13" y="723"/>
                    </a:moveTo>
                    <a:lnTo>
                      <a:pt x="9" y="723"/>
                    </a:lnTo>
                    <a:lnTo>
                      <a:pt x="5" y="720"/>
                    </a:lnTo>
                    <a:lnTo>
                      <a:pt x="1" y="716"/>
                    </a:lnTo>
                    <a:lnTo>
                      <a:pt x="0" y="711"/>
                    </a:lnTo>
                    <a:lnTo>
                      <a:pt x="0" y="707"/>
                    </a:lnTo>
                    <a:lnTo>
                      <a:pt x="3" y="702"/>
                    </a:lnTo>
                    <a:lnTo>
                      <a:pt x="470" y="6"/>
                    </a:lnTo>
                    <a:lnTo>
                      <a:pt x="473" y="3"/>
                    </a:lnTo>
                    <a:lnTo>
                      <a:pt x="477" y="1"/>
                    </a:lnTo>
                    <a:lnTo>
                      <a:pt x="480" y="0"/>
                    </a:lnTo>
                    <a:lnTo>
                      <a:pt x="484" y="0"/>
                    </a:lnTo>
                    <a:lnTo>
                      <a:pt x="738" y="40"/>
                    </a:lnTo>
                    <a:lnTo>
                      <a:pt x="742" y="41"/>
                    </a:lnTo>
                    <a:lnTo>
                      <a:pt x="744" y="43"/>
                    </a:lnTo>
                    <a:lnTo>
                      <a:pt x="748" y="46"/>
                    </a:lnTo>
                    <a:lnTo>
                      <a:pt x="749" y="49"/>
                    </a:lnTo>
                    <a:lnTo>
                      <a:pt x="750" y="53"/>
                    </a:lnTo>
                    <a:lnTo>
                      <a:pt x="749" y="57"/>
                    </a:lnTo>
                    <a:lnTo>
                      <a:pt x="748" y="60"/>
                    </a:lnTo>
                    <a:lnTo>
                      <a:pt x="745" y="63"/>
                    </a:lnTo>
                    <a:lnTo>
                      <a:pt x="23" y="720"/>
                    </a:lnTo>
                    <a:lnTo>
                      <a:pt x="19" y="723"/>
                    </a:lnTo>
                    <a:lnTo>
                      <a:pt x="13" y="723"/>
                    </a:lnTo>
                    <a:close/>
                    <a:moveTo>
                      <a:pt x="488" y="28"/>
                    </a:moveTo>
                    <a:lnTo>
                      <a:pt x="488" y="28"/>
                    </a:lnTo>
                    <a:lnTo>
                      <a:pt x="87" y="625"/>
                    </a:lnTo>
                    <a:lnTo>
                      <a:pt x="705" y="62"/>
                    </a:lnTo>
                    <a:lnTo>
                      <a:pt x="48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7" name="Freeform 206"/>
            <p:cNvSpPr>
              <a:spLocks noEditPoints="1"/>
            </p:cNvSpPr>
            <p:nvPr userDrawn="1"/>
          </p:nvSpPr>
          <p:spPr bwMode="auto">
            <a:xfrm>
              <a:off x="3527425" y="1846263"/>
              <a:ext cx="179388" cy="371475"/>
            </a:xfrm>
            <a:custGeom>
              <a:avLst/>
              <a:gdLst>
                <a:gd name="T0" fmla="*/ 14 w 338"/>
                <a:gd name="T1" fmla="*/ 704 h 704"/>
                <a:gd name="T2" fmla="*/ 9 w 338"/>
                <a:gd name="T3" fmla="*/ 703 h 704"/>
                <a:gd name="T4" fmla="*/ 6 w 338"/>
                <a:gd name="T5" fmla="*/ 702 h 704"/>
                <a:gd name="T6" fmla="*/ 3 w 338"/>
                <a:gd name="T7" fmla="*/ 699 h 704"/>
                <a:gd name="T8" fmla="*/ 1 w 338"/>
                <a:gd name="T9" fmla="*/ 695 h 704"/>
                <a:gd name="T10" fmla="*/ 0 w 338"/>
                <a:gd name="T11" fmla="*/ 690 h 704"/>
                <a:gd name="T12" fmla="*/ 1 w 338"/>
                <a:gd name="T13" fmla="*/ 686 h 704"/>
                <a:gd name="T14" fmla="*/ 271 w 338"/>
                <a:gd name="T15" fmla="*/ 7 h 704"/>
                <a:gd name="T16" fmla="*/ 273 w 338"/>
                <a:gd name="T17" fmla="*/ 4 h 704"/>
                <a:gd name="T18" fmla="*/ 276 w 338"/>
                <a:gd name="T19" fmla="*/ 1 h 704"/>
                <a:gd name="T20" fmla="*/ 280 w 338"/>
                <a:gd name="T21" fmla="*/ 0 h 704"/>
                <a:gd name="T22" fmla="*/ 285 w 338"/>
                <a:gd name="T23" fmla="*/ 0 h 704"/>
                <a:gd name="T24" fmla="*/ 289 w 338"/>
                <a:gd name="T25" fmla="*/ 1 h 704"/>
                <a:gd name="T26" fmla="*/ 293 w 338"/>
                <a:gd name="T27" fmla="*/ 3 h 704"/>
                <a:gd name="T28" fmla="*/ 296 w 338"/>
                <a:gd name="T29" fmla="*/ 7 h 704"/>
                <a:gd name="T30" fmla="*/ 297 w 338"/>
                <a:gd name="T31" fmla="*/ 11 h 704"/>
                <a:gd name="T32" fmla="*/ 338 w 338"/>
                <a:gd name="T33" fmla="*/ 390 h 704"/>
                <a:gd name="T34" fmla="*/ 338 w 338"/>
                <a:gd name="T35" fmla="*/ 394 h 704"/>
                <a:gd name="T36" fmla="*/ 337 w 338"/>
                <a:gd name="T37" fmla="*/ 397 h 704"/>
                <a:gd name="T38" fmla="*/ 336 w 338"/>
                <a:gd name="T39" fmla="*/ 399 h 704"/>
                <a:gd name="T40" fmla="*/ 333 w 338"/>
                <a:gd name="T41" fmla="*/ 401 h 704"/>
                <a:gd name="T42" fmla="*/ 23 w 338"/>
                <a:gd name="T43" fmla="*/ 700 h 704"/>
                <a:gd name="T44" fmla="*/ 19 w 338"/>
                <a:gd name="T45" fmla="*/ 703 h 704"/>
                <a:gd name="T46" fmla="*/ 14 w 338"/>
                <a:gd name="T47" fmla="*/ 704 h 704"/>
                <a:gd name="T48" fmla="*/ 276 w 338"/>
                <a:gd name="T49" fmla="*/ 69 h 704"/>
                <a:gd name="T50" fmla="*/ 276 w 338"/>
                <a:gd name="T51" fmla="*/ 69 h 704"/>
                <a:gd name="T52" fmla="*/ 49 w 338"/>
                <a:gd name="T53" fmla="*/ 638 h 704"/>
                <a:gd name="T54" fmla="*/ 310 w 338"/>
                <a:gd name="T55" fmla="*/ 387 h 704"/>
                <a:gd name="T56" fmla="*/ 276 w 338"/>
                <a:gd name="T57" fmla="*/ 69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704">
                  <a:moveTo>
                    <a:pt x="14" y="704"/>
                  </a:moveTo>
                  <a:lnTo>
                    <a:pt x="9" y="703"/>
                  </a:lnTo>
                  <a:lnTo>
                    <a:pt x="6" y="702"/>
                  </a:lnTo>
                  <a:lnTo>
                    <a:pt x="3" y="699"/>
                  </a:lnTo>
                  <a:lnTo>
                    <a:pt x="1" y="695"/>
                  </a:lnTo>
                  <a:lnTo>
                    <a:pt x="0" y="690"/>
                  </a:lnTo>
                  <a:lnTo>
                    <a:pt x="1" y="686"/>
                  </a:lnTo>
                  <a:lnTo>
                    <a:pt x="271" y="7"/>
                  </a:lnTo>
                  <a:lnTo>
                    <a:pt x="273" y="4"/>
                  </a:lnTo>
                  <a:lnTo>
                    <a:pt x="276" y="1"/>
                  </a:lnTo>
                  <a:lnTo>
                    <a:pt x="280" y="0"/>
                  </a:lnTo>
                  <a:lnTo>
                    <a:pt x="285" y="0"/>
                  </a:lnTo>
                  <a:lnTo>
                    <a:pt x="289" y="1"/>
                  </a:lnTo>
                  <a:lnTo>
                    <a:pt x="293" y="3"/>
                  </a:lnTo>
                  <a:lnTo>
                    <a:pt x="296" y="7"/>
                  </a:lnTo>
                  <a:lnTo>
                    <a:pt x="297" y="11"/>
                  </a:lnTo>
                  <a:lnTo>
                    <a:pt x="338" y="390"/>
                  </a:lnTo>
                  <a:lnTo>
                    <a:pt x="338" y="394"/>
                  </a:lnTo>
                  <a:lnTo>
                    <a:pt x="337" y="397"/>
                  </a:lnTo>
                  <a:lnTo>
                    <a:pt x="336" y="399"/>
                  </a:lnTo>
                  <a:lnTo>
                    <a:pt x="333" y="401"/>
                  </a:lnTo>
                  <a:lnTo>
                    <a:pt x="23" y="700"/>
                  </a:lnTo>
                  <a:lnTo>
                    <a:pt x="19" y="703"/>
                  </a:lnTo>
                  <a:lnTo>
                    <a:pt x="14" y="704"/>
                  </a:lnTo>
                  <a:close/>
                  <a:moveTo>
                    <a:pt x="276" y="69"/>
                  </a:moveTo>
                  <a:lnTo>
                    <a:pt x="276" y="69"/>
                  </a:lnTo>
                  <a:lnTo>
                    <a:pt x="49" y="638"/>
                  </a:lnTo>
                  <a:lnTo>
                    <a:pt x="310" y="387"/>
                  </a:lnTo>
                  <a:lnTo>
                    <a:pt x="276" y="6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207"/>
            <p:cNvSpPr>
              <a:spLocks noEditPoints="1"/>
            </p:cNvSpPr>
            <p:nvPr userDrawn="1"/>
          </p:nvSpPr>
          <p:spPr bwMode="auto">
            <a:xfrm>
              <a:off x="3375025" y="1846263"/>
              <a:ext cx="309563" cy="346075"/>
            </a:xfrm>
            <a:custGeom>
              <a:avLst/>
              <a:gdLst>
                <a:gd name="T0" fmla="*/ 13 w 586"/>
                <a:gd name="T1" fmla="*/ 656 h 656"/>
                <a:gd name="T2" fmla="*/ 11 w 586"/>
                <a:gd name="T3" fmla="*/ 656 h 656"/>
                <a:gd name="T4" fmla="*/ 10 w 586"/>
                <a:gd name="T5" fmla="*/ 655 h 656"/>
                <a:gd name="T6" fmla="*/ 8 w 586"/>
                <a:gd name="T7" fmla="*/ 654 h 656"/>
                <a:gd name="T8" fmla="*/ 5 w 586"/>
                <a:gd name="T9" fmla="*/ 653 h 656"/>
                <a:gd name="T10" fmla="*/ 4 w 586"/>
                <a:gd name="T11" fmla="*/ 651 h 656"/>
                <a:gd name="T12" fmla="*/ 1 w 586"/>
                <a:gd name="T13" fmla="*/ 647 h 656"/>
                <a:gd name="T14" fmla="*/ 0 w 586"/>
                <a:gd name="T15" fmla="*/ 645 h 656"/>
                <a:gd name="T16" fmla="*/ 0 w 586"/>
                <a:gd name="T17" fmla="*/ 642 h 656"/>
                <a:gd name="T18" fmla="*/ 0 w 586"/>
                <a:gd name="T19" fmla="*/ 639 h 656"/>
                <a:gd name="T20" fmla="*/ 1 w 586"/>
                <a:gd name="T21" fmla="*/ 636 h 656"/>
                <a:gd name="T22" fmla="*/ 14 w 586"/>
                <a:gd name="T23" fmla="*/ 608 h 656"/>
                <a:gd name="T24" fmla="*/ 48 w 586"/>
                <a:gd name="T25" fmla="*/ 538 h 656"/>
                <a:gd name="T26" fmla="*/ 94 w 586"/>
                <a:gd name="T27" fmla="*/ 440 h 656"/>
                <a:gd name="T28" fmla="*/ 146 w 586"/>
                <a:gd name="T29" fmla="*/ 328 h 656"/>
                <a:gd name="T30" fmla="*/ 199 w 586"/>
                <a:gd name="T31" fmla="*/ 214 h 656"/>
                <a:gd name="T32" fmla="*/ 245 w 586"/>
                <a:gd name="T33" fmla="*/ 116 h 656"/>
                <a:gd name="T34" fmla="*/ 278 w 586"/>
                <a:gd name="T35" fmla="*/ 47 h 656"/>
                <a:gd name="T36" fmla="*/ 291 w 586"/>
                <a:gd name="T37" fmla="*/ 21 h 656"/>
                <a:gd name="T38" fmla="*/ 292 w 586"/>
                <a:gd name="T39" fmla="*/ 18 h 656"/>
                <a:gd name="T40" fmla="*/ 295 w 586"/>
                <a:gd name="T41" fmla="*/ 16 h 656"/>
                <a:gd name="T42" fmla="*/ 298 w 586"/>
                <a:gd name="T43" fmla="*/ 14 h 656"/>
                <a:gd name="T44" fmla="*/ 302 w 586"/>
                <a:gd name="T45" fmla="*/ 13 h 656"/>
                <a:gd name="T46" fmla="*/ 572 w 586"/>
                <a:gd name="T47" fmla="*/ 0 h 656"/>
                <a:gd name="T48" fmla="*/ 576 w 586"/>
                <a:gd name="T49" fmla="*/ 0 h 656"/>
                <a:gd name="T50" fmla="*/ 579 w 586"/>
                <a:gd name="T51" fmla="*/ 1 h 656"/>
                <a:gd name="T52" fmla="*/ 582 w 586"/>
                <a:gd name="T53" fmla="*/ 4 h 656"/>
                <a:gd name="T54" fmla="*/ 585 w 586"/>
                <a:gd name="T55" fmla="*/ 7 h 656"/>
                <a:gd name="T56" fmla="*/ 586 w 586"/>
                <a:gd name="T57" fmla="*/ 10 h 656"/>
                <a:gd name="T58" fmla="*/ 586 w 586"/>
                <a:gd name="T59" fmla="*/ 15 h 656"/>
                <a:gd name="T60" fmla="*/ 585 w 586"/>
                <a:gd name="T61" fmla="*/ 18 h 656"/>
                <a:gd name="T62" fmla="*/ 582 w 586"/>
                <a:gd name="T63" fmla="*/ 21 h 656"/>
                <a:gd name="T64" fmla="*/ 112 w 586"/>
                <a:gd name="T65" fmla="*/ 552 h 656"/>
                <a:gd name="T66" fmla="*/ 79 w 586"/>
                <a:gd name="T67" fmla="*/ 589 h 656"/>
                <a:gd name="T68" fmla="*/ 55 w 586"/>
                <a:gd name="T69" fmla="*/ 616 h 656"/>
                <a:gd name="T70" fmla="*/ 38 w 586"/>
                <a:gd name="T71" fmla="*/ 634 h 656"/>
                <a:gd name="T72" fmla="*/ 27 w 586"/>
                <a:gd name="T73" fmla="*/ 646 h 656"/>
                <a:gd name="T74" fmla="*/ 26 w 586"/>
                <a:gd name="T75" fmla="*/ 648 h 656"/>
                <a:gd name="T76" fmla="*/ 25 w 586"/>
                <a:gd name="T77" fmla="*/ 648 h 656"/>
                <a:gd name="T78" fmla="*/ 25 w 586"/>
                <a:gd name="T79" fmla="*/ 648 h 656"/>
                <a:gd name="T80" fmla="*/ 21 w 586"/>
                <a:gd name="T81" fmla="*/ 652 h 656"/>
                <a:gd name="T82" fmla="*/ 18 w 586"/>
                <a:gd name="T83" fmla="*/ 654 h 656"/>
                <a:gd name="T84" fmla="*/ 15 w 586"/>
                <a:gd name="T85" fmla="*/ 655 h 656"/>
                <a:gd name="T86" fmla="*/ 13 w 586"/>
                <a:gd name="T87" fmla="*/ 656 h 656"/>
                <a:gd name="T88" fmla="*/ 311 w 586"/>
                <a:gd name="T89" fmla="*/ 40 h 656"/>
                <a:gd name="T90" fmla="*/ 311 w 586"/>
                <a:gd name="T91" fmla="*/ 40 h 656"/>
                <a:gd name="T92" fmla="*/ 263 w 586"/>
                <a:gd name="T93" fmla="*/ 143 h 656"/>
                <a:gd name="T94" fmla="*/ 221 w 586"/>
                <a:gd name="T95" fmla="*/ 234 h 656"/>
                <a:gd name="T96" fmla="*/ 183 w 586"/>
                <a:gd name="T97" fmla="*/ 313 h 656"/>
                <a:gd name="T98" fmla="*/ 152 w 586"/>
                <a:gd name="T99" fmla="*/ 382 h 656"/>
                <a:gd name="T100" fmla="*/ 123 w 586"/>
                <a:gd name="T101" fmla="*/ 440 h 656"/>
                <a:gd name="T102" fmla="*/ 101 w 586"/>
                <a:gd name="T103" fmla="*/ 490 h 656"/>
                <a:gd name="T104" fmla="*/ 81 w 586"/>
                <a:gd name="T105" fmla="*/ 530 h 656"/>
                <a:gd name="T106" fmla="*/ 66 w 586"/>
                <a:gd name="T107" fmla="*/ 563 h 656"/>
                <a:gd name="T108" fmla="*/ 119 w 586"/>
                <a:gd name="T109" fmla="*/ 504 h 656"/>
                <a:gd name="T110" fmla="*/ 182 w 586"/>
                <a:gd name="T111" fmla="*/ 434 h 656"/>
                <a:gd name="T112" fmla="*/ 250 w 586"/>
                <a:gd name="T113" fmla="*/ 356 h 656"/>
                <a:gd name="T114" fmla="*/ 320 w 586"/>
                <a:gd name="T115" fmla="*/ 276 h 656"/>
                <a:gd name="T116" fmla="*/ 389 w 586"/>
                <a:gd name="T117" fmla="*/ 199 h 656"/>
                <a:gd name="T118" fmla="*/ 451 w 586"/>
                <a:gd name="T119" fmla="*/ 129 h 656"/>
                <a:gd name="T120" fmla="*/ 504 w 586"/>
                <a:gd name="T121" fmla="*/ 71 h 656"/>
                <a:gd name="T122" fmla="*/ 541 w 586"/>
                <a:gd name="T123" fmla="*/ 28 h 656"/>
                <a:gd name="T124" fmla="*/ 311 w 586"/>
                <a:gd name="T125" fmla="*/ 4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6" h="656">
                  <a:moveTo>
                    <a:pt x="13" y="656"/>
                  </a:moveTo>
                  <a:lnTo>
                    <a:pt x="11" y="656"/>
                  </a:lnTo>
                  <a:lnTo>
                    <a:pt x="10" y="655"/>
                  </a:lnTo>
                  <a:lnTo>
                    <a:pt x="8" y="654"/>
                  </a:lnTo>
                  <a:lnTo>
                    <a:pt x="5" y="653"/>
                  </a:lnTo>
                  <a:lnTo>
                    <a:pt x="4" y="651"/>
                  </a:lnTo>
                  <a:lnTo>
                    <a:pt x="1" y="647"/>
                  </a:lnTo>
                  <a:lnTo>
                    <a:pt x="0" y="645"/>
                  </a:lnTo>
                  <a:lnTo>
                    <a:pt x="0" y="642"/>
                  </a:lnTo>
                  <a:lnTo>
                    <a:pt x="0" y="639"/>
                  </a:lnTo>
                  <a:lnTo>
                    <a:pt x="1" y="636"/>
                  </a:lnTo>
                  <a:lnTo>
                    <a:pt x="14" y="608"/>
                  </a:lnTo>
                  <a:lnTo>
                    <a:pt x="48" y="538"/>
                  </a:lnTo>
                  <a:lnTo>
                    <a:pt x="94" y="440"/>
                  </a:lnTo>
                  <a:lnTo>
                    <a:pt x="146" y="328"/>
                  </a:lnTo>
                  <a:lnTo>
                    <a:pt x="199" y="214"/>
                  </a:lnTo>
                  <a:lnTo>
                    <a:pt x="245" y="116"/>
                  </a:lnTo>
                  <a:lnTo>
                    <a:pt x="278" y="47"/>
                  </a:lnTo>
                  <a:lnTo>
                    <a:pt x="291" y="21"/>
                  </a:lnTo>
                  <a:lnTo>
                    <a:pt x="292" y="18"/>
                  </a:lnTo>
                  <a:lnTo>
                    <a:pt x="295" y="16"/>
                  </a:lnTo>
                  <a:lnTo>
                    <a:pt x="298" y="14"/>
                  </a:lnTo>
                  <a:lnTo>
                    <a:pt x="302" y="13"/>
                  </a:lnTo>
                  <a:lnTo>
                    <a:pt x="572" y="0"/>
                  </a:lnTo>
                  <a:lnTo>
                    <a:pt x="576" y="0"/>
                  </a:lnTo>
                  <a:lnTo>
                    <a:pt x="579" y="1"/>
                  </a:lnTo>
                  <a:lnTo>
                    <a:pt x="582" y="4"/>
                  </a:lnTo>
                  <a:lnTo>
                    <a:pt x="585" y="7"/>
                  </a:lnTo>
                  <a:lnTo>
                    <a:pt x="586" y="10"/>
                  </a:lnTo>
                  <a:lnTo>
                    <a:pt x="586" y="15"/>
                  </a:lnTo>
                  <a:lnTo>
                    <a:pt x="585" y="18"/>
                  </a:lnTo>
                  <a:lnTo>
                    <a:pt x="582" y="21"/>
                  </a:lnTo>
                  <a:lnTo>
                    <a:pt x="112" y="552"/>
                  </a:lnTo>
                  <a:lnTo>
                    <a:pt x="79" y="589"/>
                  </a:lnTo>
                  <a:lnTo>
                    <a:pt x="55" y="616"/>
                  </a:lnTo>
                  <a:lnTo>
                    <a:pt x="38" y="634"/>
                  </a:lnTo>
                  <a:lnTo>
                    <a:pt x="27" y="646"/>
                  </a:lnTo>
                  <a:lnTo>
                    <a:pt x="26" y="648"/>
                  </a:lnTo>
                  <a:lnTo>
                    <a:pt x="25" y="648"/>
                  </a:lnTo>
                  <a:lnTo>
                    <a:pt x="25" y="648"/>
                  </a:lnTo>
                  <a:lnTo>
                    <a:pt x="21" y="652"/>
                  </a:lnTo>
                  <a:lnTo>
                    <a:pt x="18" y="654"/>
                  </a:lnTo>
                  <a:lnTo>
                    <a:pt x="15" y="655"/>
                  </a:lnTo>
                  <a:lnTo>
                    <a:pt x="13" y="656"/>
                  </a:lnTo>
                  <a:close/>
                  <a:moveTo>
                    <a:pt x="311" y="40"/>
                  </a:moveTo>
                  <a:lnTo>
                    <a:pt x="311" y="40"/>
                  </a:lnTo>
                  <a:lnTo>
                    <a:pt x="263" y="143"/>
                  </a:lnTo>
                  <a:lnTo>
                    <a:pt x="221" y="234"/>
                  </a:lnTo>
                  <a:lnTo>
                    <a:pt x="183" y="313"/>
                  </a:lnTo>
                  <a:lnTo>
                    <a:pt x="152" y="382"/>
                  </a:lnTo>
                  <a:lnTo>
                    <a:pt x="123" y="440"/>
                  </a:lnTo>
                  <a:lnTo>
                    <a:pt x="101" y="490"/>
                  </a:lnTo>
                  <a:lnTo>
                    <a:pt x="81" y="530"/>
                  </a:lnTo>
                  <a:lnTo>
                    <a:pt x="66" y="563"/>
                  </a:lnTo>
                  <a:lnTo>
                    <a:pt x="119" y="504"/>
                  </a:lnTo>
                  <a:lnTo>
                    <a:pt x="182" y="434"/>
                  </a:lnTo>
                  <a:lnTo>
                    <a:pt x="250" y="356"/>
                  </a:lnTo>
                  <a:lnTo>
                    <a:pt x="320" y="276"/>
                  </a:lnTo>
                  <a:lnTo>
                    <a:pt x="389" y="199"/>
                  </a:lnTo>
                  <a:lnTo>
                    <a:pt x="451" y="129"/>
                  </a:lnTo>
                  <a:lnTo>
                    <a:pt x="504" y="71"/>
                  </a:lnTo>
                  <a:lnTo>
                    <a:pt x="541" y="28"/>
                  </a:lnTo>
                  <a:lnTo>
                    <a:pt x="311" y="4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Freeform 208"/>
            <p:cNvSpPr>
              <a:spLocks noEditPoints="1"/>
            </p:cNvSpPr>
            <p:nvPr userDrawn="1"/>
          </p:nvSpPr>
          <p:spPr bwMode="auto">
            <a:xfrm>
              <a:off x="3238500" y="1865313"/>
              <a:ext cx="185738" cy="301625"/>
            </a:xfrm>
            <a:custGeom>
              <a:avLst/>
              <a:gdLst>
                <a:gd name="T0" fmla="*/ 62 w 352"/>
                <a:gd name="T1" fmla="*/ 570 h 570"/>
                <a:gd name="T2" fmla="*/ 61 w 352"/>
                <a:gd name="T3" fmla="*/ 570 h 570"/>
                <a:gd name="T4" fmla="*/ 60 w 352"/>
                <a:gd name="T5" fmla="*/ 570 h 570"/>
                <a:gd name="T6" fmla="*/ 57 w 352"/>
                <a:gd name="T7" fmla="*/ 569 h 570"/>
                <a:gd name="T8" fmla="*/ 52 w 352"/>
                <a:gd name="T9" fmla="*/ 567 h 570"/>
                <a:gd name="T10" fmla="*/ 50 w 352"/>
                <a:gd name="T11" fmla="*/ 564 h 570"/>
                <a:gd name="T12" fmla="*/ 49 w 352"/>
                <a:gd name="T13" fmla="*/ 561 h 570"/>
                <a:gd name="T14" fmla="*/ 1 w 352"/>
                <a:gd name="T15" fmla="*/ 376 h 570"/>
                <a:gd name="T16" fmla="*/ 0 w 352"/>
                <a:gd name="T17" fmla="*/ 373 h 570"/>
                <a:gd name="T18" fmla="*/ 1 w 352"/>
                <a:gd name="T19" fmla="*/ 370 h 570"/>
                <a:gd name="T20" fmla="*/ 3 w 352"/>
                <a:gd name="T21" fmla="*/ 366 h 570"/>
                <a:gd name="T22" fmla="*/ 5 w 352"/>
                <a:gd name="T23" fmla="*/ 364 h 570"/>
                <a:gd name="T24" fmla="*/ 329 w 352"/>
                <a:gd name="T25" fmla="*/ 5 h 570"/>
                <a:gd name="T26" fmla="*/ 332 w 352"/>
                <a:gd name="T27" fmla="*/ 1 h 570"/>
                <a:gd name="T28" fmla="*/ 337 w 352"/>
                <a:gd name="T29" fmla="*/ 0 h 570"/>
                <a:gd name="T30" fmla="*/ 342 w 352"/>
                <a:gd name="T31" fmla="*/ 0 h 570"/>
                <a:gd name="T32" fmla="*/ 346 w 352"/>
                <a:gd name="T33" fmla="*/ 3 h 570"/>
                <a:gd name="T34" fmla="*/ 349 w 352"/>
                <a:gd name="T35" fmla="*/ 6 h 570"/>
                <a:gd name="T36" fmla="*/ 351 w 352"/>
                <a:gd name="T37" fmla="*/ 10 h 570"/>
                <a:gd name="T38" fmla="*/ 352 w 352"/>
                <a:gd name="T39" fmla="*/ 15 h 570"/>
                <a:gd name="T40" fmla="*/ 350 w 352"/>
                <a:gd name="T41" fmla="*/ 20 h 570"/>
                <a:gd name="T42" fmla="*/ 74 w 352"/>
                <a:gd name="T43" fmla="*/ 563 h 570"/>
                <a:gd name="T44" fmla="*/ 72 w 352"/>
                <a:gd name="T45" fmla="*/ 566 h 570"/>
                <a:gd name="T46" fmla="*/ 68 w 352"/>
                <a:gd name="T47" fmla="*/ 568 h 570"/>
                <a:gd name="T48" fmla="*/ 65 w 352"/>
                <a:gd name="T49" fmla="*/ 570 h 570"/>
                <a:gd name="T50" fmla="*/ 62 w 352"/>
                <a:gd name="T51" fmla="*/ 570 h 570"/>
                <a:gd name="T52" fmla="*/ 30 w 352"/>
                <a:gd name="T53" fmla="*/ 376 h 570"/>
                <a:gd name="T54" fmla="*/ 30 w 352"/>
                <a:gd name="T55" fmla="*/ 376 h 570"/>
                <a:gd name="T56" fmla="*/ 66 w 352"/>
                <a:gd name="T57" fmla="*/ 520 h 570"/>
                <a:gd name="T58" fmla="*/ 280 w 352"/>
                <a:gd name="T59" fmla="*/ 99 h 570"/>
                <a:gd name="T60" fmla="*/ 30 w 352"/>
                <a:gd name="T61" fmla="*/ 37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2" h="570">
                  <a:moveTo>
                    <a:pt x="62" y="570"/>
                  </a:moveTo>
                  <a:lnTo>
                    <a:pt x="61" y="570"/>
                  </a:lnTo>
                  <a:lnTo>
                    <a:pt x="60" y="570"/>
                  </a:lnTo>
                  <a:lnTo>
                    <a:pt x="57" y="569"/>
                  </a:lnTo>
                  <a:lnTo>
                    <a:pt x="52" y="567"/>
                  </a:lnTo>
                  <a:lnTo>
                    <a:pt x="50" y="564"/>
                  </a:lnTo>
                  <a:lnTo>
                    <a:pt x="49" y="561"/>
                  </a:lnTo>
                  <a:lnTo>
                    <a:pt x="1" y="376"/>
                  </a:lnTo>
                  <a:lnTo>
                    <a:pt x="0" y="373"/>
                  </a:lnTo>
                  <a:lnTo>
                    <a:pt x="1" y="370"/>
                  </a:lnTo>
                  <a:lnTo>
                    <a:pt x="3" y="366"/>
                  </a:lnTo>
                  <a:lnTo>
                    <a:pt x="5" y="364"/>
                  </a:lnTo>
                  <a:lnTo>
                    <a:pt x="329" y="5"/>
                  </a:lnTo>
                  <a:lnTo>
                    <a:pt x="332" y="1"/>
                  </a:lnTo>
                  <a:lnTo>
                    <a:pt x="337" y="0"/>
                  </a:lnTo>
                  <a:lnTo>
                    <a:pt x="342" y="0"/>
                  </a:lnTo>
                  <a:lnTo>
                    <a:pt x="346" y="3"/>
                  </a:lnTo>
                  <a:lnTo>
                    <a:pt x="349" y="6"/>
                  </a:lnTo>
                  <a:lnTo>
                    <a:pt x="351" y="10"/>
                  </a:lnTo>
                  <a:lnTo>
                    <a:pt x="352" y="15"/>
                  </a:lnTo>
                  <a:lnTo>
                    <a:pt x="350" y="20"/>
                  </a:lnTo>
                  <a:lnTo>
                    <a:pt x="74" y="563"/>
                  </a:lnTo>
                  <a:lnTo>
                    <a:pt x="72" y="566"/>
                  </a:lnTo>
                  <a:lnTo>
                    <a:pt x="68" y="568"/>
                  </a:lnTo>
                  <a:lnTo>
                    <a:pt x="65" y="570"/>
                  </a:lnTo>
                  <a:lnTo>
                    <a:pt x="62" y="570"/>
                  </a:lnTo>
                  <a:close/>
                  <a:moveTo>
                    <a:pt x="30" y="376"/>
                  </a:moveTo>
                  <a:lnTo>
                    <a:pt x="30" y="376"/>
                  </a:lnTo>
                  <a:lnTo>
                    <a:pt x="66" y="520"/>
                  </a:lnTo>
                  <a:lnTo>
                    <a:pt x="280" y="99"/>
                  </a:lnTo>
                  <a:lnTo>
                    <a:pt x="30" y="376"/>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209"/>
            <p:cNvSpPr>
              <a:spLocks noEditPoints="1"/>
            </p:cNvSpPr>
            <p:nvPr userDrawn="1"/>
          </p:nvSpPr>
          <p:spPr bwMode="auto">
            <a:xfrm>
              <a:off x="3302000" y="2001838"/>
              <a:ext cx="257175" cy="387350"/>
            </a:xfrm>
            <a:custGeom>
              <a:avLst/>
              <a:gdLst>
                <a:gd name="T0" fmla="*/ 130 w 487"/>
                <a:gd name="T1" fmla="*/ 731 h 731"/>
                <a:gd name="T2" fmla="*/ 125 w 487"/>
                <a:gd name="T3" fmla="*/ 731 h 731"/>
                <a:gd name="T4" fmla="*/ 122 w 487"/>
                <a:gd name="T5" fmla="*/ 729 h 731"/>
                <a:gd name="T6" fmla="*/ 120 w 487"/>
                <a:gd name="T7" fmla="*/ 727 h 731"/>
                <a:gd name="T8" fmla="*/ 118 w 487"/>
                <a:gd name="T9" fmla="*/ 725 h 731"/>
                <a:gd name="T10" fmla="*/ 2 w 487"/>
                <a:gd name="T11" fmla="*/ 522 h 731"/>
                <a:gd name="T12" fmla="*/ 0 w 487"/>
                <a:gd name="T13" fmla="*/ 517 h 731"/>
                <a:gd name="T14" fmla="*/ 0 w 487"/>
                <a:gd name="T15" fmla="*/ 513 h 731"/>
                <a:gd name="T16" fmla="*/ 1 w 487"/>
                <a:gd name="T17" fmla="*/ 510 h 731"/>
                <a:gd name="T18" fmla="*/ 3 w 487"/>
                <a:gd name="T19" fmla="*/ 506 h 731"/>
                <a:gd name="T20" fmla="*/ 463 w 487"/>
                <a:gd name="T21" fmla="*/ 5 h 731"/>
                <a:gd name="T22" fmla="*/ 468 w 487"/>
                <a:gd name="T23" fmla="*/ 1 h 731"/>
                <a:gd name="T24" fmla="*/ 472 w 487"/>
                <a:gd name="T25" fmla="*/ 0 h 731"/>
                <a:gd name="T26" fmla="*/ 476 w 487"/>
                <a:gd name="T27" fmla="*/ 0 h 731"/>
                <a:gd name="T28" fmla="*/ 481 w 487"/>
                <a:gd name="T29" fmla="*/ 3 h 731"/>
                <a:gd name="T30" fmla="*/ 484 w 487"/>
                <a:gd name="T31" fmla="*/ 6 h 731"/>
                <a:gd name="T32" fmla="*/ 486 w 487"/>
                <a:gd name="T33" fmla="*/ 10 h 731"/>
                <a:gd name="T34" fmla="*/ 487 w 487"/>
                <a:gd name="T35" fmla="*/ 14 h 731"/>
                <a:gd name="T36" fmla="*/ 485 w 487"/>
                <a:gd name="T37" fmla="*/ 19 h 731"/>
                <a:gd name="T38" fmla="*/ 142 w 487"/>
                <a:gd name="T39" fmla="*/ 724 h 731"/>
                <a:gd name="T40" fmla="*/ 140 w 487"/>
                <a:gd name="T41" fmla="*/ 727 h 731"/>
                <a:gd name="T42" fmla="*/ 136 w 487"/>
                <a:gd name="T43" fmla="*/ 729 h 731"/>
                <a:gd name="T44" fmla="*/ 133 w 487"/>
                <a:gd name="T45" fmla="*/ 730 h 731"/>
                <a:gd name="T46" fmla="*/ 130 w 487"/>
                <a:gd name="T47" fmla="*/ 731 h 731"/>
                <a:gd name="T48" fmla="*/ 130 w 487"/>
                <a:gd name="T49" fmla="*/ 731 h 731"/>
                <a:gd name="T50" fmla="*/ 130 w 487"/>
                <a:gd name="T51" fmla="*/ 731 h 731"/>
                <a:gd name="T52" fmla="*/ 30 w 487"/>
                <a:gd name="T53" fmla="*/ 517 h 731"/>
                <a:gd name="T54" fmla="*/ 30 w 487"/>
                <a:gd name="T55" fmla="*/ 517 h 731"/>
                <a:gd name="T56" fmla="*/ 129 w 487"/>
                <a:gd name="T57" fmla="*/ 689 h 731"/>
                <a:gd name="T58" fmla="*/ 420 w 487"/>
                <a:gd name="T59" fmla="*/ 91 h 731"/>
                <a:gd name="T60" fmla="*/ 30 w 487"/>
                <a:gd name="T61" fmla="*/ 517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7" h="731">
                  <a:moveTo>
                    <a:pt x="130" y="731"/>
                  </a:moveTo>
                  <a:lnTo>
                    <a:pt x="125" y="731"/>
                  </a:lnTo>
                  <a:lnTo>
                    <a:pt x="122" y="729"/>
                  </a:lnTo>
                  <a:lnTo>
                    <a:pt x="120" y="727"/>
                  </a:lnTo>
                  <a:lnTo>
                    <a:pt x="118" y="725"/>
                  </a:lnTo>
                  <a:lnTo>
                    <a:pt x="2" y="522"/>
                  </a:lnTo>
                  <a:lnTo>
                    <a:pt x="0" y="517"/>
                  </a:lnTo>
                  <a:lnTo>
                    <a:pt x="0" y="513"/>
                  </a:lnTo>
                  <a:lnTo>
                    <a:pt x="1" y="510"/>
                  </a:lnTo>
                  <a:lnTo>
                    <a:pt x="3" y="506"/>
                  </a:lnTo>
                  <a:lnTo>
                    <a:pt x="463" y="5"/>
                  </a:lnTo>
                  <a:lnTo>
                    <a:pt x="468" y="1"/>
                  </a:lnTo>
                  <a:lnTo>
                    <a:pt x="472" y="0"/>
                  </a:lnTo>
                  <a:lnTo>
                    <a:pt x="476" y="0"/>
                  </a:lnTo>
                  <a:lnTo>
                    <a:pt x="481" y="3"/>
                  </a:lnTo>
                  <a:lnTo>
                    <a:pt x="484" y="6"/>
                  </a:lnTo>
                  <a:lnTo>
                    <a:pt x="486" y="10"/>
                  </a:lnTo>
                  <a:lnTo>
                    <a:pt x="487" y="14"/>
                  </a:lnTo>
                  <a:lnTo>
                    <a:pt x="485" y="19"/>
                  </a:lnTo>
                  <a:lnTo>
                    <a:pt x="142" y="724"/>
                  </a:lnTo>
                  <a:lnTo>
                    <a:pt x="140" y="727"/>
                  </a:lnTo>
                  <a:lnTo>
                    <a:pt x="136" y="729"/>
                  </a:lnTo>
                  <a:lnTo>
                    <a:pt x="133" y="730"/>
                  </a:lnTo>
                  <a:lnTo>
                    <a:pt x="130" y="731"/>
                  </a:lnTo>
                  <a:lnTo>
                    <a:pt x="130" y="731"/>
                  </a:lnTo>
                  <a:lnTo>
                    <a:pt x="130" y="731"/>
                  </a:lnTo>
                  <a:close/>
                  <a:moveTo>
                    <a:pt x="30" y="517"/>
                  </a:moveTo>
                  <a:lnTo>
                    <a:pt x="30" y="517"/>
                  </a:lnTo>
                  <a:lnTo>
                    <a:pt x="129" y="689"/>
                  </a:lnTo>
                  <a:lnTo>
                    <a:pt x="420" y="91"/>
                  </a:lnTo>
                  <a:lnTo>
                    <a:pt x="30" y="51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10"/>
            <p:cNvSpPr>
              <a:spLocks noEditPoints="1"/>
            </p:cNvSpPr>
            <p:nvPr userDrawn="1"/>
          </p:nvSpPr>
          <p:spPr bwMode="auto">
            <a:xfrm>
              <a:off x="3403600" y="2046288"/>
              <a:ext cx="303213" cy="447675"/>
            </a:xfrm>
            <a:custGeom>
              <a:avLst/>
              <a:gdLst>
                <a:gd name="T0" fmla="*/ 152 w 573"/>
                <a:gd name="T1" fmla="*/ 848 h 848"/>
                <a:gd name="T2" fmla="*/ 147 w 573"/>
                <a:gd name="T3" fmla="*/ 847 h 848"/>
                <a:gd name="T4" fmla="*/ 143 w 573"/>
                <a:gd name="T5" fmla="*/ 845 h 848"/>
                <a:gd name="T6" fmla="*/ 5 w 573"/>
                <a:gd name="T7" fmla="*/ 727 h 848"/>
                <a:gd name="T8" fmla="*/ 1 w 573"/>
                <a:gd name="T9" fmla="*/ 723 h 848"/>
                <a:gd name="T10" fmla="*/ 0 w 573"/>
                <a:gd name="T11" fmla="*/ 719 h 848"/>
                <a:gd name="T12" fmla="*/ 0 w 573"/>
                <a:gd name="T13" fmla="*/ 715 h 848"/>
                <a:gd name="T14" fmla="*/ 1 w 573"/>
                <a:gd name="T15" fmla="*/ 711 h 848"/>
                <a:gd name="T16" fmla="*/ 11 w 573"/>
                <a:gd name="T17" fmla="*/ 695 h 848"/>
                <a:gd name="T18" fmla="*/ 31 w 573"/>
                <a:gd name="T19" fmla="*/ 668 h 848"/>
                <a:gd name="T20" fmla="*/ 59 w 573"/>
                <a:gd name="T21" fmla="*/ 630 h 848"/>
                <a:gd name="T22" fmla="*/ 93 w 573"/>
                <a:gd name="T23" fmla="*/ 583 h 848"/>
                <a:gd name="T24" fmla="*/ 179 w 573"/>
                <a:gd name="T25" fmla="*/ 473 h 848"/>
                <a:gd name="T26" fmla="*/ 276 w 573"/>
                <a:gd name="T27" fmla="*/ 349 h 848"/>
                <a:gd name="T28" fmla="*/ 372 w 573"/>
                <a:gd name="T29" fmla="*/ 227 h 848"/>
                <a:gd name="T30" fmla="*/ 457 w 573"/>
                <a:gd name="T31" fmla="*/ 120 h 848"/>
                <a:gd name="T32" fmla="*/ 520 w 573"/>
                <a:gd name="T33" fmla="*/ 41 h 848"/>
                <a:gd name="T34" fmla="*/ 548 w 573"/>
                <a:gd name="T35" fmla="*/ 5 h 848"/>
                <a:gd name="T36" fmla="*/ 552 w 573"/>
                <a:gd name="T37" fmla="*/ 2 h 848"/>
                <a:gd name="T38" fmla="*/ 556 w 573"/>
                <a:gd name="T39" fmla="*/ 0 h 848"/>
                <a:gd name="T40" fmla="*/ 562 w 573"/>
                <a:gd name="T41" fmla="*/ 0 h 848"/>
                <a:gd name="T42" fmla="*/ 566 w 573"/>
                <a:gd name="T43" fmla="*/ 3 h 848"/>
                <a:gd name="T44" fmla="*/ 569 w 573"/>
                <a:gd name="T45" fmla="*/ 6 h 848"/>
                <a:gd name="T46" fmla="*/ 572 w 573"/>
                <a:gd name="T47" fmla="*/ 10 h 848"/>
                <a:gd name="T48" fmla="*/ 573 w 573"/>
                <a:gd name="T49" fmla="*/ 15 h 848"/>
                <a:gd name="T50" fmla="*/ 571 w 573"/>
                <a:gd name="T51" fmla="*/ 20 h 848"/>
                <a:gd name="T52" fmla="*/ 163 w 573"/>
                <a:gd name="T53" fmla="*/ 840 h 848"/>
                <a:gd name="T54" fmla="*/ 162 w 573"/>
                <a:gd name="T55" fmla="*/ 842 h 848"/>
                <a:gd name="T56" fmla="*/ 160 w 573"/>
                <a:gd name="T57" fmla="*/ 845 h 848"/>
                <a:gd name="T58" fmla="*/ 157 w 573"/>
                <a:gd name="T59" fmla="*/ 846 h 848"/>
                <a:gd name="T60" fmla="*/ 154 w 573"/>
                <a:gd name="T61" fmla="*/ 847 h 848"/>
                <a:gd name="T62" fmla="*/ 153 w 573"/>
                <a:gd name="T63" fmla="*/ 848 h 848"/>
                <a:gd name="T64" fmla="*/ 152 w 573"/>
                <a:gd name="T65" fmla="*/ 848 h 848"/>
                <a:gd name="T66" fmla="*/ 31 w 573"/>
                <a:gd name="T67" fmla="*/ 713 h 848"/>
                <a:gd name="T68" fmla="*/ 31 w 573"/>
                <a:gd name="T69" fmla="*/ 713 h 848"/>
                <a:gd name="T70" fmla="*/ 147 w 573"/>
                <a:gd name="T71" fmla="*/ 812 h 848"/>
                <a:gd name="T72" fmla="*/ 491 w 573"/>
                <a:gd name="T73" fmla="*/ 121 h 848"/>
                <a:gd name="T74" fmla="*/ 426 w 573"/>
                <a:gd name="T75" fmla="*/ 202 h 848"/>
                <a:gd name="T76" fmla="*/ 356 w 573"/>
                <a:gd name="T77" fmla="*/ 291 h 848"/>
                <a:gd name="T78" fmla="*/ 284 w 573"/>
                <a:gd name="T79" fmla="*/ 382 h 848"/>
                <a:gd name="T80" fmla="*/ 215 w 573"/>
                <a:gd name="T81" fmla="*/ 470 h 848"/>
                <a:gd name="T82" fmla="*/ 152 w 573"/>
                <a:gd name="T83" fmla="*/ 552 h 848"/>
                <a:gd name="T84" fmla="*/ 98 w 573"/>
                <a:gd name="T85" fmla="*/ 622 h 848"/>
                <a:gd name="T86" fmla="*/ 55 w 573"/>
                <a:gd name="T87" fmla="*/ 678 h 848"/>
                <a:gd name="T88" fmla="*/ 31 w 573"/>
                <a:gd name="T89" fmla="*/ 71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3" h="848">
                  <a:moveTo>
                    <a:pt x="152" y="848"/>
                  </a:moveTo>
                  <a:lnTo>
                    <a:pt x="147" y="847"/>
                  </a:lnTo>
                  <a:lnTo>
                    <a:pt x="143" y="845"/>
                  </a:lnTo>
                  <a:lnTo>
                    <a:pt x="5" y="727"/>
                  </a:lnTo>
                  <a:lnTo>
                    <a:pt x="1" y="723"/>
                  </a:lnTo>
                  <a:lnTo>
                    <a:pt x="0" y="719"/>
                  </a:lnTo>
                  <a:lnTo>
                    <a:pt x="0" y="715"/>
                  </a:lnTo>
                  <a:lnTo>
                    <a:pt x="1" y="711"/>
                  </a:lnTo>
                  <a:lnTo>
                    <a:pt x="11" y="695"/>
                  </a:lnTo>
                  <a:lnTo>
                    <a:pt x="31" y="668"/>
                  </a:lnTo>
                  <a:lnTo>
                    <a:pt x="59" y="630"/>
                  </a:lnTo>
                  <a:lnTo>
                    <a:pt x="93" y="583"/>
                  </a:lnTo>
                  <a:lnTo>
                    <a:pt x="179" y="473"/>
                  </a:lnTo>
                  <a:lnTo>
                    <a:pt x="276" y="349"/>
                  </a:lnTo>
                  <a:lnTo>
                    <a:pt x="372" y="227"/>
                  </a:lnTo>
                  <a:lnTo>
                    <a:pt x="457" y="120"/>
                  </a:lnTo>
                  <a:lnTo>
                    <a:pt x="520" y="41"/>
                  </a:lnTo>
                  <a:lnTo>
                    <a:pt x="548" y="5"/>
                  </a:lnTo>
                  <a:lnTo>
                    <a:pt x="552" y="2"/>
                  </a:lnTo>
                  <a:lnTo>
                    <a:pt x="556" y="0"/>
                  </a:lnTo>
                  <a:lnTo>
                    <a:pt x="562" y="0"/>
                  </a:lnTo>
                  <a:lnTo>
                    <a:pt x="566" y="3"/>
                  </a:lnTo>
                  <a:lnTo>
                    <a:pt x="569" y="6"/>
                  </a:lnTo>
                  <a:lnTo>
                    <a:pt x="572" y="10"/>
                  </a:lnTo>
                  <a:lnTo>
                    <a:pt x="573" y="15"/>
                  </a:lnTo>
                  <a:lnTo>
                    <a:pt x="571" y="20"/>
                  </a:lnTo>
                  <a:lnTo>
                    <a:pt x="163" y="840"/>
                  </a:lnTo>
                  <a:lnTo>
                    <a:pt x="162" y="842"/>
                  </a:lnTo>
                  <a:lnTo>
                    <a:pt x="160" y="845"/>
                  </a:lnTo>
                  <a:lnTo>
                    <a:pt x="157" y="846"/>
                  </a:lnTo>
                  <a:lnTo>
                    <a:pt x="154" y="847"/>
                  </a:lnTo>
                  <a:lnTo>
                    <a:pt x="153" y="848"/>
                  </a:lnTo>
                  <a:lnTo>
                    <a:pt x="152" y="848"/>
                  </a:lnTo>
                  <a:close/>
                  <a:moveTo>
                    <a:pt x="31" y="713"/>
                  </a:moveTo>
                  <a:lnTo>
                    <a:pt x="31" y="713"/>
                  </a:lnTo>
                  <a:lnTo>
                    <a:pt x="147" y="812"/>
                  </a:lnTo>
                  <a:lnTo>
                    <a:pt x="491" y="121"/>
                  </a:lnTo>
                  <a:lnTo>
                    <a:pt x="426" y="202"/>
                  </a:lnTo>
                  <a:lnTo>
                    <a:pt x="356" y="291"/>
                  </a:lnTo>
                  <a:lnTo>
                    <a:pt x="284" y="382"/>
                  </a:lnTo>
                  <a:lnTo>
                    <a:pt x="215" y="470"/>
                  </a:lnTo>
                  <a:lnTo>
                    <a:pt x="152" y="552"/>
                  </a:lnTo>
                  <a:lnTo>
                    <a:pt x="98" y="622"/>
                  </a:lnTo>
                  <a:lnTo>
                    <a:pt x="55" y="678"/>
                  </a:lnTo>
                  <a:lnTo>
                    <a:pt x="31" y="71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11"/>
            <p:cNvSpPr>
              <a:spLocks noEditPoints="1"/>
            </p:cNvSpPr>
            <p:nvPr userDrawn="1"/>
          </p:nvSpPr>
          <p:spPr bwMode="auto">
            <a:xfrm>
              <a:off x="3848100" y="1944688"/>
              <a:ext cx="306388" cy="404813"/>
            </a:xfrm>
            <a:custGeom>
              <a:avLst/>
              <a:gdLst>
                <a:gd name="T0" fmla="*/ 14 w 579"/>
                <a:gd name="T1" fmla="*/ 765 h 765"/>
                <a:gd name="T2" fmla="*/ 14 w 579"/>
                <a:gd name="T3" fmla="*/ 765 h 765"/>
                <a:gd name="T4" fmla="*/ 14 w 579"/>
                <a:gd name="T5" fmla="*/ 765 h 765"/>
                <a:gd name="T6" fmla="*/ 9 w 579"/>
                <a:gd name="T7" fmla="*/ 764 h 765"/>
                <a:gd name="T8" fmla="*/ 6 w 579"/>
                <a:gd name="T9" fmla="*/ 763 h 765"/>
                <a:gd name="T10" fmla="*/ 3 w 579"/>
                <a:gd name="T11" fmla="*/ 760 h 765"/>
                <a:gd name="T12" fmla="*/ 1 w 579"/>
                <a:gd name="T13" fmla="*/ 757 h 765"/>
                <a:gd name="T14" fmla="*/ 0 w 579"/>
                <a:gd name="T15" fmla="*/ 752 h 765"/>
                <a:gd name="T16" fmla="*/ 2 w 579"/>
                <a:gd name="T17" fmla="*/ 746 h 765"/>
                <a:gd name="T18" fmla="*/ 2 w 579"/>
                <a:gd name="T19" fmla="*/ 746 h 765"/>
                <a:gd name="T20" fmla="*/ 2 w 579"/>
                <a:gd name="T21" fmla="*/ 744 h 765"/>
                <a:gd name="T22" fmla="*/ 3 w 579"/>
                <a:gd name="T23" fmla="*/ 744 h 765"/>
                <a:gd name="T24" fmla="*/ 3 w 579"/>
                <a:gd name="T25" fmla="*/ 744 h 765"/>
                <a:gd name="T26" fmla="*/ 214 w 579"/>
                <a:gd name="T27" fmla="*/ 333 h 765"/>
                <a:gd name="T28" fmla="*/ 215 w 579"/>
                <a:gd name="T29" fmla="*/ 332 h 765"/>
                <a:gd name="T30" fmla="*/ 217 w 579"/>
                <a:gd name="T31" fmla="*/ 330 h 765"/>
                <a:gd name="T32" fmla="*/ 557 w 579"/>
                <a:gd name="T33" fmla="*/ 5 h 765"/>
                <a:gd name="T34" fmla="*/ 561 w 579"/>
                <a:gd name="T35" fmla="*/ 2 h 765"/>
                <a:gd name="T36" fmla="*/ 566 w 579"/>
                <a:gd name="T37" fmla="*/ 0 h 765"/>
                <a:gd name="T38" fmla="*/ 571 w 579"/>
                <a:gd name="T39" fmla="*/ 2 h 765"/>
                <a:gd name="T40" fmla="*/ 575 w 579"/>
                <a:gd name="T41" fmla="*/ 4 h 765"/>
                <a:gd name="T42" fmla="*/ 578 w 579"/>
                <a:gd name="T43" fmla="*/ 8 h 765"/>
                <a:gd name="T44" fmla="*/ 579 w 579"/>
                <a:gd name="T45" fmla="*/ 12 h 765"/>
                <a:gd name="T46" fmla="*/ 579 w 579"/>
                <a:gd name="T47" fmla="*/ 18 h 765"/>
                <a:gd name="T48" fmla="*/ 577 w 579"/>
                <a:gd name="T49" fmla="*/ 22 h 765"/>
                <a:gd name="T50" fmla="*/ 553 w 579"/>
                <a:gd name="T51" fmla="*/ 54 h 765"/>
                <a:gd name="T52" fmla="*/ 493 w 579"/>
                <a:gd name="T53" fmla="*/ 134 h 765"/>
                <a:gd name="T54" fmla="*/ 408 w 579"/>
                <a:gd name="T55" fmla="*/ 247 h 765"/>
                <a:gd name="T56" fmla="*/ 309 w 579"/>
                <a:gd name="T57" fmla="*/ 376 h 765"/>
                <a:gd name="T58" fmla="*/ 211 w 579"/>
                <a:gd name="T59" fmla="*/ 508 h 765"/>
                <a:gd name="T60" fmla="*/ 123 w 579"/>
                <a:gd name="T61" fmla="*/ 626 h 765"/>
                <a:gd name="T62" fmla="*/ 57 w 579"/>
                <a:gd name="T63" fmla="*/ 713 h 765"/>
                <a:gd name="T64" fmla="*/ 25 w 579"/>
                <a:gd name="T65" fmla="*/ 757 h 765"/>
                <a:gd name="T66" fmla="*/ 23 w 579"/>
                <a:gd name="T67" fmla="*/ 760 h 765"/>
                <a:gd name="T68" fmla="*/ 21 w 579"/>
                <a:gd name="T69" fmla="*/ 763 h 765"/>
                <a:gd name="T70" fmla="*/ 17 w 579"/>
                <a:gd name="T71" fmla="*/ 764 h 765"/>
                <a:gd name="T72" fmla="*/ 14 w 579"/>
                <a:gd name="T73" fmla="*/ 765 h 765"/>
                <a:gd name="T74" fmla="*/ 237 w 579"/>
                <a:gd name="T75" fmla="*/ 348 h 765"/>
                <a:gd name="T76" fmla="*/ 237 w 579"/>
                <a:gd name="T77" fmla="*/ 348 h 765"/>
                <a:gd name="T78" fmla="*/ 105 w 579"/>
                <a:gd name="T79" fmla="*/ 603 h 765"/>
                <a:gd name="T80" fmla="*/ 145 w 579"/>
                <a:gd name="T81" fmla="*/ 550 h 765"/>
                <a:gd name="T82" fmla="*/ 187 w 579"/>
                <a:gd name="T83" fmla="*/ 493 h 765"/>
                <a:gd name="T84" fmla="*/ 233 w 579"/>
                <a:gd name="T85" fmla="*/ 433 h 765"/>
                <a:gd name="T86" fmla="*/ 279 w 579"/>
                <a:gd name="T87" fmla="*/ 371 h 765"/>
                <a:gd name="T88" fmla="*/ 326 w 579"/>
                <a:gd name="T89" fmla="*/ 309 h 765"/>
                <a:gd name="T90" fmla="*/ 371 w 579"/>
                <a:gd name="T91" fmla="*/ 250 h 765"/>
                <a:gd name="T92" fmla="*/ 414 w 579"/>
                <a:gd name="T93" fmla="*/ 193 h 765"/>
                <a:gd name="T94" fmla="*/ 453 w 579"/>
                <a:gd name="T95" fmla="*/ 141 h 765"/>
                <a:gd name="T96" fmla="*/ 237 w 579"/>
                <a:gd name="T97" fmla="*/ 348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9" h="765">
                  <a:moveTo>
                    <a:pt x="14" y="765"/>
                  </a:moveTo>
                  <a:lnTo>
                    <a:pt x="14" y="765"/>
                  </a:lnTo>
                  <a:lnTo>
                    <a:pt x="14" y="765"/>
                  </a:lnTo>
                  <a:lnTo>
                    <a:pt x="9" y="764"/>
                  </a:lnTo>
                  <a:lnTo>
                    <a:pt x="6" y="763"/>
                  </a:lnTo>
                  <a:lnTo>
                    <a:pt x="3" y="760"/>
                  </a:lnTo>
                  <a:lnTo>
                    <a:pt x="1" y="757"/>
                  </a:lnTo>
                  <a:lnTo>
                    <a:pt x="0" y="752"/>
                  </a:lnTo>
                  <a:lnTo>
                    <a:pt x="2" y="746"/>
                  </a:lnTo>
                  <a:lnTo>
                    <a:pt x="2" y="746"/>
                  </a:lnTo>
                  <a:lnTo>
                    <a:pt x="2" y="744"/>
                  </a:lnTo>
                  <a:lnTo>
                    <a:pt x="3" y="744"/>
                  </a:lnTo>
                  <a:lnTo>
                    <a:pt x="3" y="744"/>
                  </a:lnTo>
                  <a:lnTo>
                    <a:pt x="214" y="333"/>
                  </a:lnTo>
                  <a:lnTo>
                    <a:pt x="215" y="332"/>
                  </a:lnTo>
                  <a:lnTo>
                    <a:pt x="217" y="330"/>
                  </a:lnTo>
                  <a:lnTo>
                    <a:pt x="557" y="5"/>
                  </a:lnTo>
                  <a:lnTo>
                    <a:pt x="561" y="2"/>
                  </a:lnTo>
                  <a:lnTo>
                    <a:pt x="566" y="0"/>
                  </a:lnTo>
                  <a:lnTo>
                    <a:pt x="571" y="2"/>
                  </a:lnTo>
                  <a:lnTo>
                    <a:pt x="575" y="4"/>
                  </a:lnTo>
                  <a:lnTo>
                    <a:pt x="578" y="8"/>
                  </a:lnTo>
                  <a:lnTo>
                    <a:pt x="579" y="12"/>
                  </a:lnTo>
                  <a:lnTo>
                    <a:pt x="579" y="18"/>
                  </a:lnTo>
                  <a:lnTo>
                    <a:pt x="577" y="22"/>
                  </a:lnTo>
                  <a:lnTo>
                    <a:pt x="553" y="54"/>
                  </a:lnTo>
                  <a:lnTo>
                    <a:pt x="493" y="134"/>
                  </a:lnTo>
                  <a:lnTo>
                    <a:pt x="408" y="247"/>
                  </a:lnTo>
                  <a:lnTo>
                    <a:pt x="309" y="376"/>
                  </a:lnTo>
                  <a:lnTo>
                    <a:pt x="211" y="508"/>
                  </a:lnTo>
                  <a:lnTo>
                    <a:pt x="123" y="626"/>
                  </a:lnTo>
                  <a:lnTo>
                    <a:pt x="57" y="713"/>
                  </a:lnTo>
                  <a:lnTo>
                    <a:pt x="25" y="757"/>
                  </a:lnTo>
                  <a:lnTo>
                    <a:pt x="23" y="760"/>
                  </a:lnTo>
                  <a:lnTo>
                    <a:pt x="21" y="763"/>
                  </a:lnTo>
                  <a:lnTo>
                    <a:pt x="17" y="764"/>
                  </a:lnTo>
                  <a:lnTo>
                    <a:pt x="14" y="765"/>
                  </a:lnTo>
                  <a:close/>
                  <a:moveTo>
                    <a:pt x="237" y="348"/>
                  </a:moveTo>
                  <a:lnTo>
                    <a:pt x="237" y="348"/>
                  </a:lnTo>
                  <a:lnTo>
                    <a:pt x="105" y="603"/>
                  </a:lnTo>
                  <a:lnTo>
                    <a:pt x="145" y="550"/>
                  </a:lnTo>
                  <a:lnTo>
                    <a:pt x="187" y="493"/>
                  </a:lnTo>
                  <a:lnTo>
                    <a:pt x="233" y="433"/>
                  </a:lnTo>
                  <a:lnTo>
                    <a:pt x="279" y="371"/>
                  </a:lnTo>
                  <a:lnTo>
                    <a:pt x="326" y="309"/>
                  </a:lnTo>
                  <a:lnTo>
                    <a:pt x="371" y="250"/>
                  </a:lnTo>
                  <a:lnTo>
                    <a:pt x="414" y="193"/>
                  </a:lnTo>
                  <a:lnTo>
                    <a:pt x="453" y="141"/>
                  </a:lnTo>
                  <a:lnTo>
                    <a:pt x="237" y="348"/>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212"/>
            <p:cNvSpPr>
              <a:spLocks noEditPoints="1"/>
            </p:cNvSpPr>
            <p:nvPr userDrawn="1"/>
          </p:nvSpPr>
          <p:spPr bwMode="auto">
            <a:xfrm>
              <a:off x="3675063" y="2117725"/>
              <a:ext cx="300038" cy="398463"/>
            </a:xfrm>
            <a:custGeom>
              <a:avLst/>
              <a:gdLst>
                <a:gd name="T0" fmla="*/ 13 w 567"/>
                <a:gd name="T1" fmla="*/ 752 h 752"/>
                <a:gd name="T2" fmla="*/ 9 w 567"/>
                <a:gd name="T3" fmla="*/ 751 h 752"/>
                <a:gd name="T4" fmla="*/ 5 w 567"/>
                <a:gd name="T5" fmla="*/ 749 h 752"/>
                <a:gd name="T6" fmla="*/ 3 w 567"/>
                <a:gd name="T7" fmla="*/ 746 h 752"/>
                <a:gd name="T8" fmla="*/ 1 w 567"/>
                <a:gd name="T9" fmla="*/ 744 h 752"/>
                <a:gd name="T10" fmla="*/ 0 w 567"/>
                <a:gd name="T11" fmla="*/ 741 h 752"/>
                <a:gd name="T12" fmla="*/ 0 w 567"/>
                <a:gd name="T13" fmla="*/ 739 h 752"/>
                <a:gd name="T14" fmla="*/ 1 w 567"/>
                <a:gd name="T15" fmla="*/ 735 h 752"/>
                <a:gd name="T16" fmla="*/ 9 w 567"/>
                <a:gd name="T17" fmla="*/ 722 h 752"/>
                <a:gd name="T18" fmla="*/ 28 w 567"/>
                <a:gd name="T19" fmla="*/ 691 h 752"/>
                <a:gd name="T20" fmla="*/ 68 w 567"/>
                <a:gd name="T21" fmla="*/ 636 h 752"/>
                <a:gd name="T22" fmla="*/ 133 w 567"/>
                <a:gd name="T23" fmla="*/ 549 h 752"/>
                <a:gd name="T24" fmla="*/ 229 w 567"/>
                <a:gd name="T25" fmla="*/ 419 h 752"/>
                <a:gd name="T26" fmla="*/ 364 w 567"/>
                <a:gd name="T27" fmla="*/ 241 h 752"/>
                <a:gd name="T28" fmla="*/ 543 w 567"/>
                <a:gd name="T29" fmla="*/ 5 h 752"/>
                <a:gd name="T30" fmla="*/ 547 w 567"/>
                <a:gd name="T31" fmla="*/ 2 h 752"/>
                <a:gd name="T32" fmla="*/ 552 w 567"/>
                <a:gd name="T33" fmla="*/ 0 h 752"/>
                <a:gd name="T34" fmla="*/ 556 w 567"/>
                <a:gd name="T35" fmla="*/ 0 h 752"/>
                <a:gd name="T36" fmla="*/ 561 w 567"/>
                <a:gd name="T37" fmla="*/ 2 h 752"/>
                <a:gd name="T38" fmla="*/ 565 w 567"/>
                <a:gd name="T39" fmla="*/ 5 h 752"/>
                <a:gd name="T40" fmla="*/ 567 w 567"/>
                <a:gd name="T41" fmla="*/ 9 h 752"/>
                <a:gd name="T42" fmla="*/ 567 w 567"/>
                <a:gd name="T43" fmla="*/ 15 h 752"/>
                <a:gd name="T44" fmla="*/ 566 w 567"/>
                <a:gd name="T45" fmla="*/ 19 h 752"/>
                <a:gd name="T46" fmla="*/ 263 w 567"/>
                <a:gd name="T47" fmla="*/ 714 h 752"/>
                <a:gd name="T48" fmla="*/ 261 w 567"/>
                <a:gd name="T49" fmla="*/ 717 h 752"/>
                <a:gd name="T50" fmla="*/ 258 w 567"/>
                <a:gd name="T51" fmla="*/ 719 h 752"/>
                <a:gd name="T52" fmla="*/ 255 w 567"/>
                <a:gd name="T53" fmla="*/ 722 h 752"/>
                <a:gd name="T54" fmla="*/ 252 w 567"/>
                <a:gd name="T55" fmla="*/ 723 h 752"/>
                <a:gd name="T56" fmla="*/ 15 w 567"/>
                <a:gd name="T57" fmla="*/ 752 h 752"/>
                <a:gd name="T58" fmla="*/ 14 w 567"/>
                <a:gd name="T59" fmla="*/ 752 h 752"/>
                <a:gd name="T60" fmla="*/ 13 w 567"/>
                <a:gd name="T61" fmla="*/ 752 h 752"/>
                <a:gd name="T62" fmla="*/ 497 w 567"/>
                <a:gd name="T63" fmla="*/ 112 h 752"/>
                <a:gd name="T64" fmla="*/ 497 w 567"/>
                <a:gd name="T65" fmla="*/ 112 h 752"/>
                <a:gd name="T66" fmla="*/ 428 w 567"/>
                <a:gd name="T67" fmla="*/ 202 h 752"/>
                <a:gd name="T68" fmla="*/ 358 w 567"/>
                <a:gd name="T69" fmla="*/ 295 h 752"/>
                <a:gd name="T70" fmla="*/ 288 w 567"/>
                <a:gd name="T71" fmla="*/ 387 h 752"/>
                <a:gd name="T72" fmla="*/ 222 w 567"/>
                <a:gd name="T73" fmla="*/ 474 h 752"/>
                <a:gd name="T74" fmla="*/ 162 w 567"/>
                <a:gd name="T75" fmla="*/ 554 h 752"/>
                <a:gd name="T76" fmla="*/ 109 w 567"/>
                <a:gd name="T77" fmla="*/ 624 h 752"/>
                <a:gd name="T78" fmla="*/ 68 w 567"/>
                <a:gd name="T79" fmla="*/ 682 h 752"/>
                <a:gd name="T80" fmla="*/ 39 w 567"/>
                <a:gd name="T81" fmla="*/ 722 h 752"/>
                <a:gd name="T82" fmla="*/ 241 w 567"/>
                <a:gd name="T83" fmla="*/ 697 h 752"/>
                <a:gd name="T84" fmla="*/ 497 w 567"/>
                <a:gd name="T85" fmla="*/ 11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752">
                  <a:moveTo>
                    <a:pt x="13" y="752"/>
                  </a:moveTo>
                  <a:lnTo>
                    <a:pt x="9" y="751"/>
                  </a:lnTo>
                  <a:lnTo>
                    <a:pt x="5" y="749"/>
                  </a:lnTo>
                  <a:lnTo>
                    <a:pt x="3" y="746"/>
                  </a:lnTo>
                  <a:lnTo>
                    <a:pt x="1" y="744"/>
                  </a:lnTo>
                  <a:lnTo>
                    <a:pt x="0" y="741"/>
                  </a:lnTo>
                  <a:lnTo>
                    <a:pt x="0" y="739"/>
                  </a:lnTo>
                  <a:lnTo>
                    <a:pt x="1" y="735"/>
                  </a:lnTo>
                  <a:lnTo>
                    <a:pt x="9" y="722"/>
                  </a:lnTo>
                  <a:lnTo>
                    <a:pt x="28" y="691"/>
                  </a:lnTo>
                  <a:lnTo>
                    <a:pt x="68" y="636"/>
                  </a:lnTo>
                  <a:lnTo>
                    <a:pt x="133" y="549"/>
                  </a:lnTo>
                  <a:lnTo>
                    <a:pt x="229" y="419"/>
                  </a:lnTo>
                  <a:lnTo>
                    <a:pt x="364" y="241"/>
                  </a:lnTo>
                  <a:lnTo>
                    <a:pt x="543" y="5"/>
                  </a:lnTo>
                  <a:lnTo>
                    <a:pt x="547" y="2"/>
                  </a:lnTo>
                  <a:lnTo>
                    <a:pt x="552" y="0"/>
                  </a:lnTo>
                  <a:lnTo>
                    <a:pt x="556" y="0"/>
                  </a:lnTo>
                  <a:lnTo>
                    <a:pt x="561" y="2"/>
                  </a:lnTo>
                  <a:lnTo>
                    <a:pt x="565" y="5"/>
                  </a:lnTo>
                  <a:lnTo>
                    <a:pt x="567" y="9"/>
                  </a:lnTo>
                  <a:lnTo>
                    <a:pt x="567" y="15"/>
                  </a:lnTo>
                  <a:lnTo>
                    <a:pt x="566" y="19"/>
                  </a:lnTo>
                  <a:lnTo>
                    <a:pt x="263" y="714"/>
                  </a:lnTo>
                  <a:lnTo>
                    <a:pt x="261" y="717"/>
                  </a:lnTo>
                  <a:lnTo>
                    <a:pt x="258" y="719"/>
                  </a:lnTo>
                  <a:lnTo>
                    <a:pt x="255" y="722"/>
                  </a:lnTo>
                  <a:lnTo>
                    <a:pt x="252" y="723"/>
                  </a:lnTo>
                  <a:lnTo>
                    <a:pt x="15" y="752"/>
                  </a:lnTo>
                  <a:lnTo>
                    <a:pt x="14" y="752"/>
                  </a:lnTo>
                  <a:lnTo>
                    <a:pt x="13" y="752"/>
                  </a:lnTo>
                  <a:close/>
                  <a:moveTo>
                    <a:pt x="497" y="112"/>
                  </a:moveTo>
                  <a:lnTo>
                    <a:pt x="497" y="112"/>
                  </a:lnTo>
                  <a:lnTo>
                    <a:pt x="428" y="202"/>
                  </a:lnTo>
                  <a:lnTo>
                    <a:pt x="358" y="295"/>
                  </a:lnTo>
                  <a:lnTo>
                    <a:pt x="288" y="387"/>
                  </a:lnTo>
                  <a:lnTo>
                    <a:pt x="222" y="474"/>
                  </a:lnTo>
                  <a:lnTo>
                    <a:pt x="162" y="554"/>
                  </a:lnTo>
                  <a:lnTo>
                    <a:pt x="109" y="624"/>
                  </a:lnTo>
                  <a:lnTo>
                    <a:pt x="68" y="682"/>
                  </a:lnTo>
                  <a:lnTo>
                    <a:pt x="39" y="722"/>
                  </a:lnTo>
                  <a:lnTo>
                    <a:pt x="241" y="697"/>
                  </a:lnTo>
                  <a:lnTo>
                    <a:pt x="497" y="112"/>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13"/>
            <p:cNvSpPr>
              <a:spLocks noEditPoints="1"/>
            </p:cNvSpPr>
            <p:nvPr userDrawn="1"/>
          </p:nvSpPr>
          <p:spPr bwMode="auto">
            <a:xfrm>
              <a:off x="3516313" y="2173288"/>
              <a:ext cx="393700" cy="320675"/>
            </a:xfrm>
            <a:custGeom>
              <a:avLst/>
              <a:gdLst>
                <a:gd name="T0" fmla="*/ 13 w 744"/>
                <a:gd name="T1" fmla="*/ 607 h 607"/>
                <a:gd name="T2" fmla="*/ 10 w 744"/>
                <a:gd name="T3" fmla="*/ 606 h 607"/>
                <a:gd name="T4" fmla="*/ 7 w 744"/>
                <a:gd name="T5" fmla="*/ 605 h 607"/>
                <a:gd name="T6" fmla="*/ 3 w 744"/>
                <a:gd name="T7" fmla="*/ 603 h 607"/>
                <a:gd name="T8" fmla="*/ 1 w 744"/>
                <a:gd name="T9" fmla="*/ 600 h 607"/>
                <a:gd name="T10" fmla="*/ 0 w 744"/>
                <a:gd name="T11" fmla="*/ 595 h 607"/>
                <a:gd name="T12" fmla="*/ 0 w 744"/>
                <a:gd name="T13" fmla="*/ 591 h 607"/>
                <a:gd name="T14" fmla="*/ 1 w 744"/>
                <a:gd name="T15" fmla="*/ 586 h 607"/>
                <a:gd name="T16" fmla="*/ 4 w 744"/>
                <a:gd name="T17" fmla="*/ 582 h 607"/>
                <a:gd name="T18" fmla="*/ 723 w 744"/>
                <a:gd name="T19" fmla="*/ 3 h 607"/>
                <a:gd name="T20" fmla="*/ 727 w 744"/>
                <a:gd name="T21" fmla="*/ 1 h 607"/>
                <a:gd name="T22" fmla="*/ 731 w 744"/>
                <a:gd name="T23" fmla="*/ 0 h 607"/>
                <a:gd name="T24" fmla="*/ 737 w 744"/>
                <a:gd name="T25" fmla="*/ 1 h 607"/>
                <a:gd name="T26" fmla="*/ 741 w 744"/>
                <a:gd name="T27" fmla="*/ 3 h 607"/>
                <a:gd name="T28" fmla="*/ 743 w 744"/>
                <a:gd name="T29" fmla="*/ 8 h 607"/>
                <a:gd name="T30" fmla="*/ 744 w 744"/>
                <a:gd name="T31" fmla="*/ 12 h 607"/>
                <a:gd name="T32" fmla="*/ 744 w 744"/>
                <a:gd name="T33" fmla="*/ 17 h 607"/>
                <a:gd name="T34" fmla="*/ 742 w 744"/>
                <a:gd name="T35" fmla="*/ 22 h 607"/>
                <a:gd name="T36" fmla="*/ 475 w 744"/>
                <a:gd name="T37" fmla="*/ 402 h 607"/>
                <a:gd name="T38" fmla="*/ 473 w 744"/>
                <a:gd name="T39" fmla="*/ 404 h 607"/>
                <a:gd name="T40" fmla="*/ 470 w 744"/>
                <a:gd name="T41" fmla="*/ 406 h 607"/>
                <a:gd name="T42" fmla="*/ 19 w 744"/>
                <a:gd name="T43" fmla="*/ 606 h 607"/>
                <a:gd name="T44" fmla="*/ 15 w 744"/>
                <a:gd name="T45" fmla="*/ 606 h 607"/>
                <a:gd name="T46" fmla="*/ 13 w 744"/>
                <a:gd name="T47" fmla="*/ 607 h 607"/>
                <a:gd name="T48" fmla="*/ 665 w 744"/>
                <a:gd name="T49" fmla="*/ 84 h 607"/>
                <a:gd name="T50" fmla="*/ 665 w 744"/>
                <a:gd name="T51" fmla="*/ 84 h 607"/>
                <a:gd name="T52" fmla="*/ 101 w 744"/>
                <a:gd name="T53" fmla="*/ 540 h 607"/>
                <a:gd name="T54" fmla="*/ 456 w 744"/>
                <a:gd name="T55" fmla="*/ 383 h 607"/>
                <a:gd name="T56" fmla="*/ 665 w 744"/>
                <a:gd name="T57" fmla="*/ 8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4" h="607">
                  <a:moveTo>
                    <a:pt x="13" y="607"/>
                  </a:moveTo>
                  <a:lnTo>
                    <a:pt x="10" y="606"/>
                  </a:lnTo>
                  <a:lnTo>
                    <a:pt x="7" y="605"/>
                  </a:lnTo>
                  <a:lnTo>
                    <a:pt x="3" y="603"/>
                  </a:lnTo>
                  <a:lnTo>
                    <a:pt x="1" y="600"/>
                  </a:lnTo>
                  <a:lnTo>
                    <a:pt x="0" y="595"/>
                  </a:lnTo>
                  <a:lnTo>
                    <a:pt x="0" y="591"/>
                  </a:lnTo>
                  <a:lnTo>
                    <a:pt x="1" y="586"/>
                  </a:lnTo>
                  <a:lnTo>
                    <a:pt x="4" y="582"/>
                  </a:lnTo>
                  <a:lnTo>
                    <a:pt x="723" y="3"/>
                  </a:lnTo>
                  <a:lnTo>
                    <a:pt x="727" y="1"/>
                  </a:lnTo>
                  <a:lnTo>
                    <a:pt x="731" y="0"/>
                  </a:lnTo>
                  <a:lnTo>
                    <a:pt x="737" y="1"/>
                  </a:lnTo>
                  <a:lnTo>
                    <a:pt x="741" y="3"/>
                  </a:lnTo>
                  <a:lnTo>
                    <a:pt x="743" y="8"/>
                  </a:lnTo>
                  <a:lnTo>
                    <a:pt x="744" y="12"/>
                  </a:lnTo>
                  <a:lnTo>
                    <a:pt x="744" y="17"/>
                  </a:lnTo>
                  <a:lnTo>
                    <a:pt x="742" y="22"/>
                  </a:lnTo>
                  <a:lnTo>
                    <a:pt x="475" y="402"/>
                  </a:lnTo>
                  <a:lnTo>
                    <a:pt x="473" y="404"/>
                  </a:lnTo>
                  <a:lnTo>
                    <a:pt x="470" y="406"/>
                  </a:lnTo>
                  <a:lnTo>
                    <a:pt x="19" y="606"/>
                  </a:lnTo>
                  <a:lnTo>
                    <a:pt x="15" y="606"/>
                  </a:lnTo>
                  <a:lnTo>
                    <a:pt x="13" y="607"/>
                  </a:lnTo>
                  <a:close/>
                  <a:moveTo>
                    <a:pt x="665" y="84"/>
                  </a:moveTo>
                  <a:lnTo>
                    <a:pt x="665" y="84"/>
                  </a:lnTo>
                  <a:lnTo>
                    <a:pt x="101" y="540"/>
                  </a:lnTo>
                  <a:lnTo>
                    <a:pt x="456" y="383"/>
                  </a:lnTo>
                  <a:lnTo>
                    <a:pt x="665" y="8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214"/>
            <p:cNvSpPr>
              <a:spLocks noEditPoints="1"/>
            </p:cNvSpPr>
            <p:nvPr userDrawn="1"/>
          </p:nvSpPr>
          <p:spPr bwMode="auto">
            <a:xfrm>
              <a:off x="3692525" y="1847850"/>
              <a:ext cx="152400" cy="212725"/>
            </a:xfrm>
            <a:custGeom>
              <a:avLst/>
              <a:gdLst>
                <a:gd name="T0" fmla="*/ 13 w 288"/>
                <a:gd name="T1" fmla="*/ 400 h 400"/>
                <a:gd name="T2" fmla="*/ 9 w 288"/>
                <a:gd name="T3" fmla="*/ 399 h 400"/>
                <a:gd name="T4" fmla="*/ 7 w 288"/>
                <a:gd name="T5" fmla="*/ 399 h 400"/>
                <a:gd name="T6" fmla="*/ 3 w 288"/>
                <a:gd name="T7" fmla="*/ 396 h 400"/>
                <a:gd name="T8" fmla="*/ 1 w 288"/>
                <a:gd name="T9" fmla="*/ 392 h 400"/>
                <a:gd name="T10" fmla="*/ 0 w 288"/>
                <a:gd name="T11" fmla="*/ 388 h 400"/>
                <a:gd name="T12" fmla="*/ 0 w 288"/>
                <a:gd name="T13" fmla="*/ 383 h 400"/>
                <a:gd name="T14" fmla="*/ 111 w 288"/>
                <a:gd name="T15" fmla="*/ 10 h 400"/>
                <a:gd name="T16" fmla="*/ 113 w 288"/>
                <a:gd name="T17" fmla="*/ 5 h 400"/>
                <a:gd name="T18" fmla="*/ 116 w 288"/>
                <a:gd name="T19" fmla="*/ 2 h 400"/>
                <a:gd name="T20" fmla="*/ 120 w 288"/>
                <a:gd name="T21" fmla="*/ 0 h 400"/>
                <a:gd name="T22" fmla="*/ 124 w 288"/>
                <a:gd name="T23" fmla="*/ 0 h 400"/>
                <a:gd name="T24" fmla="*/ 275 w 288"/>
                <a:gd name="T25" fmla="*/ 5 h 400"/>
                <a:gd name="T26" fmla="*/ 279 w 288"/>
                <a:gd name="T27" fmla="*/ 6 h 400"/>
                <a:gd name="T28" fmla="*/ 283 w 288"/>
                <a:gd name="T29" fmla="*/ 8 h 400"/>
                <a:gd name="T30" fmla="*/ 285 w 288"/>
                <a:gd name="T31" fmla="*/ 10 h 400"/>
                <a:gd name="T32" fmla="*/ 287 w 288"/>
                <a:gd name="T33" fmla="*/ 13 h 400"/>
                <a:gd name="T34" fmla="*/ 288 w 288"/>
                <a:gd name="T35" fmla="*/ 16 h 400"/>
                <a:gd name="T36" fmla="*/ 288 w 288"/>
                <a:gd name="T37" fmla="*/ 20 h 400"/>
                <a:gd name="T38" fmla="*/ 288 w 288"/>
                <a:gd name="T39" fmla="*/ 24 h 400"/>
                <a:gd name="T40" fmla="*/ 286 w 288"/>
                <a:gd name="T41" fmla="*/ 27 h 400"/>
                <a:gd name="T42" fmla="*/ 23 w 288"/>
                <a:gd name="T43" fmla="*/ 395 h 400"/>
                <a:gd name="T44" fmla="*/ 21 w 288"/>
                <a:gd name="T45" fmla="*/ 397 h 400"/>
                <a:gd name="T46" fmla="*/ 19 w 288"/>
                <a:gd name="T47" fmla="*/ 398 h 400"/>
                <a:gd name="T48" fmla="*/ 16 w 288"/>
                <a:gd name="T49" fmla="*/ 399 h 400"/>
                <a:gd name="T50" fmla="*/ 13 w 288"/>
                <a:gd name="T51" fmla="*/ 400 h 400"/>
                <a:gd name="T52" fmla="*/ 134 w 288"/>
                <a:gd name="T53" fmla="*/ 27 h 400"/>
                <a:gd name="T54" fmla="*/ 134 w 288"/>
                <a:gd name="T55" fmla="*/ 27 h 400"/>
                <a:gd name="T56" fmla="*/ 48 w 288"/>
                <a:gd name="T57" fmla="*/ 313 h 400"/>
                <a:gd name="T58" fmla="*/ 249 w 288"/>
                <a:gd name="T59" fmla="*/ 31 h 400"/>
                <a:gd name="T60" fmla="*/ 134 w 288"/>
                <a:gd name="T61" fmla="*/ 2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400">
                  <a:moveTo>
                    <a:pt x="13" y="400"/>
                  </a:moveTo>
                  <a:lnTo>
                    <a:pt x="9" y="399"/>
                  </a:lnTo>
                  <a:lnTo>
                    <a:pt x="7" y="399"/>
                  </a:lnTo>
                  <a:lnTo>
                    <a:pt x="3" y="396"/>
                  </a:lnTo>
                  <a:lnTo>
                    <a:pt x="1" y="392"/>
                  </a:lnTo>
                  <a:lnTo>
                    <a:pt x="0" y="388"/>
                  </a:lnTo>
                  <a:lnTo>
                    <a:pt x="0" y="383"/>
                  </a:lnTo>
                  <a:lnTo>
                    <a:pt x="111" y="10"/>
                  </a:lnTo>
                  <a:lnTo>
                    <a:pt x="113" y="5"/>
                  </a:lnTo>
                  <a:lnTo>
                    <a:pt x="116" y="2"/>
                  </a:lnTo>
                  <a:lnTo>
                    <a:pt x="120" y="0"/>
                  </a:lnTo>
                  <a:lnTo>
                    <a:pt x="124" y="0"/>
                  </a:lnTo>
                  <a:lnTo>
                    <a:pt x="275" y="5"/>
                  </a:lnTo>
                  <a:lnTo>
                    <a:pt x="279" y="6"/>
                  </a:lnTo>
                  <a:lnTo>
                    <a:pt x="283" y="8"/>
                  </a:lnTo>
                  <a:lnTo>
                    <a:pt x="285" y="10"/>
                  </a:lnTo>
                  <a:lnTo>
                    <a:pt x="287" y="13"/>
                  </a:lnTo>
                  <a:lnTo>
                    <a:pt x="288" y="16"/>
                  </a:lnTo>
                  <a:lnTo>
                    <a:pt x="288" y="20"/>
                  </a:lnTo>
                  <a:lnTo>
                    <a:pt x="288" y="24"/>
                  </a:lnTo>
                  <a:lnTo>
                    <a:pt x="286" y="27"/>
                  </a:lnTo>
                  <a:lnTo>
                    <a:pt x="23" y="395"/>
                  </a:lnTo>
                  <a:lnTo>
                    <a:pt x="21" y="397"/>
                  </a:lnTo>
                  <a:lnTo>
                    <a:pt x="19" y="398"/>
                  </a:lnTo>
                  <a:lnTo>
                    <a:pt x="16" y="399"/>
                  </a:lnTo>
                  <a:lnTo>
                    <a:pt x="13" y="400"/>
                  </a:lnTo>
                  <a:close/>
                  <a:moveTo>
                    <a:pt x="134" y="27"/>
                  </a:moveTo>
                  <a:lnTo>
                    <a:pt x="134" y="27"/>
                  </a:lnTo>
                  <a:lnTo>
                    <a:pt x="48" y="313"/>
                  </a:lnTo>
                  <a:lnTo>
                    <a:pt x="249" y="31"/>
                  </a:lnTo>
                  <a:lnTo>
                    <a:pt x="134" y="2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215"/>
            <p:cNvSpPr>
              <a:spLocks noEditPoints="1"/>
            </p:cNvSpPr>
            <p:nvPr userDrawn="1"/>
          </p:nvSpPr>
          <p:spPr bwMode="auto">
            <a:xfrm>
              <a:off x="3998913" y="1905000"/>
              <a:ext cx="277813" cy="344488"/>
            </a:xfrm>
            <a:custGeom>
              <a:avLst/>
              <a:gdLst>
                <a:gd name="T0" fmla="*/ 12 w 525"/>
                <a:gd name="T1" fmla="*/ 652 h 652"/>
                <a:gd name="T2" fmla="*/ 8 w 525"/>
                <a:gd name="T3" fmla="*/ 652 h 652"/>
                <a:gd name="T4" fmla="*/ 5 w 525"/>
                <a:gd name="T5" fmla="*/ 650 h 652"/>
                <a:gd name="T6" fmla="*/ 2 w 525"/>
                <a:gd name="T7" fmla="*/ 646 h 652"/>
                <a:gd name="T8" fmla="*/ 0 w 525"/>
                <a:gd name="T9" fmla="*/ 642 h 652"/>
                <a:gd name="T10" fmla="*/ 0 w 525"/>
                <a:gd name="T11" fmla="*/ 638 h 652"/>
                <a:gd name="T12" fmla="*/ 1 w 525"/>
                <a:gd name="T13" fmla="*/ 632 h 652"/>
                <a:gd name="T14" fmla="*/ 308 w 525"/>
                <a:gd name="T15" fmla="*/ 7 h 652"/>
                <a:gd name="T16" fmla="*/ 312 w 525"/>
                <a:gd name="T17" fmla="*/ 3 h 652"/>
                <a:gd name="T18" fmla="*/ 315 w 525"/>
                <a:gd name="T19" fmla="*/ 1 h 652"/>
                <a:gd name="T20" fmla="*/ 320 w 525"/>
                <a:gd name="T21" fmla="*/ 0 h 652"/>
                <a:gd name="T22" fmla="*/ 325 w 525"/>
                <a:gd name="T23" fmla="*/ 0 h 652"/>
                <a:gd name="T24" fmla="*/ 334 w 525"/>
                <a:gd name="T25" fmla="*/ 3 h 652"/>
                <a:gd name="T26" fmla="*/ 356 w 525"/>
                <a:gd name="T27" fmla="*/ 9 h 652"/>
                <a:gd name="T28" fmla="*/ 385 w 525"/>
                <a:gd name="T29" fmla="*/ 18 h 652"/>
                <a:gd name="T30" fmla="*/ 418 w 525"/>
                <a:gd name="T31" fmla="*/ 28 h 652"/>
                <a:gd name="T32" fmla="*/ 452 w 525"/>
                <a:gd name="T33" fmla="*/ 39 h 652"/>
                <a:gd name="T34" fmla="*/ 482 w 525"/>
                <a:gd name="T35" fmla="*/ 47 h 652"/>
                <a:gd name="T36" fmla="*/ 505 w 525"/>
                <a:gd name="T37" fmla="*/ 54 h 652"/>
                <a:gd name="T38" fmla="*/ 517 w 525"/>
                <a:gd name="T39" fmla="*/ 58 h 652"/>
                <a:gd name="T40" fmla="*/ 519 w 525"/>
                <a:gd name="T41" fmla="*/ 59 h 652"/>
                <a:gd name="T42" fmla="*/ 522 w 525"/>
                <a:gd name="T43" fmla="*/ 61 h 652"/>
                <a:gd name="T44" fmla="*/ 523 w 525"/>
                <a:gd name="T45" fmla="*/ 65 h 652"/>
                <a:gd name="T46" fmla="*/ 525 w 525"/>
                <a:gd name="T47" fmla="*/ 67 h 652"/>
                <a:gd name="T48" fmla="*/ 525 w 525"/>
                <a:gd name="T49" fmla="*/ 71 h 652"/>
                <a:gd name="T50" fmla="*/ 525 w 525"/>
                <a:gd name="T51" fmla="*/ 74 h 652"/>
                <a:gd name="T52" fmla="*/ 524 w 525"/>
                <a:gd name="T53" fmla="*/ 76 h 652"/>
                <a:gd name="T54" fmla="*/ 522 w 525"/>
                <a:gd name="T55" fmla="*/ 80 h 652"/>
                <a:gd name="T56" fmla="*/ 22 w 525"/>
                <a:gd name="T57" fmla="*/ 647 h 652"/>
                <a:gd name="T58" fmla="*/ 20 w 525"/>
                <a:gd name="T59" fmla="*/ 650 h 652"/>
                <a:gd name="T60" fmla="*/ 18 w 525"/>
                <a:gd name="T61" fmla="*/ 651 h 652"/>
                <a:gd name="T62" fmla="*/ 16 w 525"/>
                <a:gd name="T63" fmla="*/ 652 h 652"/>
                <a:gd name="T64" fmla="*/ 12 w 525"/>
                <a:gd name="T65" fmla="*/ 652 h 652"/>
                <a:gd name="T66" fmla="*/ 328 w 525"/>
                <a:gd name="T67" fmla="*/ 29 h 652"/>
                <a:gd name="T68" fmla="*/ 328 w 525"/>
                <a:gd name="T69" fmla="*/ 29 h 652"/>
                <a:gd name="T70" fmla="*/ 70 w 525"/>
                <a:gd name="T71" fmla="*/ 552 h 652"/>
                <a:gd name="T72" fmla="*/ 488 w 525"/>
                <a:gd name="T73" fmla="*/ 77 h 652"/>
                <a:gd name="T74" fmla="*/ 453 w 525"/>
                <a:gd name="T75" fmla="*/ 67 h 652"/>
                <a:gd name="T76" fmla="*/ 410 w 525"/>
                <a:gd name="T77" fmla="*/ 54 h 652"/>
                <a:gd name="T78" fmla="*/ 366 w 525"/>
                <a:gd name="T79" fmla="*/ 41 h 652"/>
                <a:gd name="T80" fmla="*/ 328 w 525"/>
                <a:gd name="T81" fmla="*/ 2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5" h="652">
                  <a:moveTo>
                    <a:pt x="12" y="652"/>
                  </a:moveTo>
                  <a:lnTo>
                    <a:pt x="8" y="652"/>
                  </a:lnTo>
                  <a:lnTo>
                    <a:pt x="5" y="650"/>
                  </a:lnTo>
                  <a:lnTo>
                    <a:pt x="2" y="646"/>
                  </a:lnTo>
                  <a:lnTo>
                    <a:pt x="0" y="642"/>
                  </a:lnTo>
                  <a:lnTo>
                    <a:pt x="0" y="638"/>
                  </a:lnTo>
                  <a:lnTo>
                    <a:pt x="1" y="632"/>
                  </a:lnTo>
                  <a:lnTo>
                    <a:pt x="308" y="7"/>
                  </a:lnTo>
                  <a:lnTo>
                    <a:pt x="312" y="3"/>
                  </a:lnTo>
                  <a:lnTo>
                    <a:pt x="315" y="1"/>
                  </a:lnTo>
                  <a:lnTo>
                    <a:pt x="320" y="0"/>
                  </a:lnTo>
                  <a:lnTo>
                    <a:pt x="325" y="0"/>
                  </a:lnTo>
                  <a:lnTo>
                    <a:pt x="334" y="3"/>
                  </a:lnTo>
                  <a:lnTo>
                    <a:pt x="356" y="9"/>
                  </a:lnTo>
                  <a:lnTo>
                    <a:pt x="385" y="18"/>
                  </a:lnTo>
                  <a:lnTo>
                    <a:pt x="418" y="28"/>
                  </a:lnTo>
                  <a:lnTo>
                    <a:pt x="452" y="39"/>
                  </a:lnTo>
                  <a:lnTo>
                    <a:pt x="482" y="47"/>
                  </a:lnTo>
                  <a:lnTo>
                    <a:pt x="505" y="54"/>
                  </a:lnTo>
                  <a:lnTo>
                    <a:pt x="517" y="58"/>
                  </a:lnTo>
                  <a:lnTo>
                    <a:pt x="519" y="59"/>
                  </a:lnTo>
                  <a:lnTo>
                    <a:pt x="522" y="61"/>
                  </a:lnTo>
                  <a:lnTo>
                    <a:pt x="523" y="65"/>
                  </a:lnTo>
                  <a:lnTo>
                    <a:pt x="525" y="67"/>
                  </a:lnTo>
                  <a:lnTo>
                    <a:pt x="525" y="71"/>
                  </a:lnTo>
                  <a:lnTo>
                    <a:pt x="525" y="74"/>
                  </a:lnTo>
                  <a:lnTo>
                    <a:pt x="524" y="76"/>
                  </a:lnTo>
                  <a:lnTo>
                    <a:pt x="522" y="80"/>
                  </a:lnTo>
                  <a:lnTo>
                    <a:pt x="22" y="647"/>
                  </a:lnTo>
                  <a:lnTo>
                    <a:pt x="20" y="650"/>
                  </a:lnTo>
                  <a:lnTo>
                    <a:pt x="18" y="651"/>
                  </a:lnTo>
                  <a:lnTo>
                    <a:pt x="16" y="652"/>
                  </a:lnTo>
                  <a:lnTo>
                    <a:pt x="12" y="652"/>
                  </a:lnTo>
                  <a:close/>
                  <a:moveTo>
                    <a:pt x="328" y="29"/>
                  </a:moveTo>
                  <a:lnTo>
                    <a:pt x="328" y="29"/>
                  </a:lnTo>
                  <a:lnTo>
                    <a:pt x="70" y="552"/>
                  </a:lnTo>
                  <a:lnTo>
                    <a:pt x="488" y="77"/>
                  </a:lnTo>
                  <a:lnTo>
                    <a:pt x="453" y="67"/>
                  </a:lnTo>
                  <a:lnTo>
                    <a:pt x="410" y="54"/>
                  </a:lnTo>
                  <a:lnTo>
                    <a:pt x="366" y="41"/>
                  </a:lnTo>
                  <a:lnTo>
                    <a:pt x="328" y="2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216"/>
            <p:cNvSpPr>
              <a:spLocks noEditPoints="1"/>
            </p:cNvSpPr>
            <p:nvPr userDrawn="1"/>
          </p:nvSpPr>
          <p:spPr bwMode="auto">
            <a:xfrm>
              <a:off x="4137025" y="1978025"/>
              <a:ext cx="241300" cy="515938"/>
            </a:xfrm>
            <a:custGeom>
              <a:avLst/>
              <a:gdLst>
                <a:gd name="T0" fmla="*/ 13 w 456"/>
                <a:gd name="T1" fmla="*/ 976 h 976"/>
                <a:gd name="T2" fmla="*/ 12 w 456"/>
                <a:gd name="T3" fmla="*/ 975 h 976"/>
                <a:gd name="T4" fmla="*/ 10 w 456"/>
                <a:gd name="T5" fmla="*/ 975 h 976"/>
                <a:gd name="T6" fmla="*/ 5 w 456"/>
                <a:gd name="T7" fmla="*/ 973 h 976"/>
                <a:gd name="T8" fmla="*/ 2 w 456"/>
                <a:gd name="T9" fmla="*/ 969 h 976"/>
                <a:gd name="T10" fmla="*/ 0 w 456"/>
                <a:gd name="T11" fmla="*/ 965 h 976"/>
                <a:gd name="T12" fmla="*/ 0 w 456"/>
                <a:gd name="T13" fmla="*/ 961 h 976"/>
                <a:gd name="T14" fmla="*/ 76 w 456"/>
                <a:gd name="T15" fmla="*/ 207 h 976"/>
                <a:gd name="T16" fmla="*/ 77 w 456"/>
                <a:gd name="T17" fmla="*/ 204 h 976"/>
                <a:gd name="T18" fmla="*/ 78 w 456"/>
                <a:gd name="T19" fmla="*/ 202 h 976"/>
                <a:gd name="T20" fmla="*/ 80 w 456"/>
                <a:gd name="T21" fmla="*/ 199 h 976"/>
                <a:gd name="T22" fmla="*/ 83 w 456"/>
                <a:gd name="T23" fmla="*/ 198 h 976"/>
                <a:gd name="T24" fmla="*/ 436 w 456"/>
                <a:gd name="T25" fmla="*/ 2 h 976"/>
                <a:gd name="T26" fmla="*/ 440 w 456"/>
                <a:gd name="T27" fmla="*/ 0 h 976"/>
                <a:gd name="T28" fmla="*/ 444 w 456"/>
                <a:gd name="T29" fmla="*/ 0 h 976"/>
                <a:gd name="T30" fmla="*/ 448 w 456"/>
                <a:gd name="T31" fmla="*/ 1 h 976"/>
                <a:gd name="T32" fmla="*/ 451 w 456"/>
                <a:gd name="T33" fmla="*/ 3 h 976"/>
                <a:gd name="T34" fmla="*/ 455 w 456"/>
                <a:gd name="T35" fmla="*/ 6 h 976"/>
                <a:gd name="T36" fmla="*/ 456 w 456"/>
                <a:gd name="T37" fmla="*/ 11 h 976"/>
                <a:gd name="T38" fmla="*/ 456 w 456"/>
                <a:gd name="T39" fmla="*/ 15 h 976"/>
                <a:gd name="T40" fmla="*/ 455 w 456"/>
                <a:gd name="T41" fmla="*/ 19 h 976"/>
                <a:gd name="T42" fmla="*/ 26 w 456"/>
                <a:gd name="T43" fmla="*/ 967 h 976"/>
                <a:gd name="T44" fmla="*/ 24 w 456"/>
                <a:gd name="T45" fmla="*/ 970 h 976"/>
                <a:gd name="T46" fmla="*/ 20 w 456"/>
                <a:gd name="T47" fmla="*/ 974 h 976"/>
                <a:gd name="T48" fmla="*/ 17 w 456"/>
                <a:gd name="T49" fmla="*/ 975 h 976"/>
                <a:gd name="T50" fmla="*/ 13 w 456"/>
                <a:gd name="T51" fmla="*/ 976 h 976"/>
                <a:gd name="T52" fmla="*/ 101 w 456"/>
                <a:gd name="T53" fmla="*/ 217 h 976"/>
                <a:gd name="T54" fmla="*/ 101 w 456"/>
                <a:gd name="T55" fmla="*/ 217 h 976"/>
                <a:gd name="T56" fmla="*/ 34 w 456"/>
                <a:gd name="T57" fmla="*/ 881 h 976"/>
                <a:gd name="T58" fmla="*/ 413 w 456"/>
                <a:gd name="T59" fmla="*/ 45 h 976"/>
                <a:gd name="T60" fmla="*/ 101 w 456"/>
                <a:gd name="T61" fmla="*/ 217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976">
                  <a:moveTo>
                    <a:pt x="13" y="976"/>
                  </a:moveTo>
                  <a:lnTo>
                    <a:pt x="12" y="975"/>
                  </a:lnTo>
                  <a:lnTo>
                    <a:pt x="10" y="975"/>
                  </a:lnTo>
                  <a:lnTo>
                    <a:pt x="5" y="973"/>
                  </a:lnTo>
                  <a:lnTo>
                    <a:pt x="2" y="969"/>
                  </a:lnTo>
                  <a:lnTo>
                    <a:pt x="0" y="965"/>
                  </a:lnTo>
                  <a:lnTo>
                    <a:pt x="0" y="961"/>
                  </a:lnTo>
                  <a:lnTo>
                    <a:pt x="76" y="207"/>
                  </a:lnTo>
                  <a:lnTo>
                    <a:pt x="77" y="204"/>
                  </a:lnTo>
                  <a:lnTo>
                    <a:pt x="78" y="202"/>
                  </a:lnTo>
                  <a:lnTo>
                    <a:pt x="80" y="199"/>
                  </a:lnTo>
                  <a:lnTo>
                    <a:pt x="83" y="198"/>
                  </a:lnTo>
                  <a:lnTo>
                    <a:pt x="436" y="2"/>
                  </a:lnTo>
                  <a:lnTo>
                    <a:pt x="440" y="0"/>
                  </a:lnTo>
                  <a:lnTo>
                    <a:pt x="444" y="0"/>
                  </a:lnTo>
                  <a:lnTo>
                    <a:pt x="448" y="1"/>
                  </a:lnTo>
                  <a:lnTo>
                    <a:pt x="451" y="3"/>
                  </a:lnTo>
                  <a:lnTo>
                    <a:pt x="455" y="6"/>
                  </a:lnTo>
                  <a:lnTo>
                    <a:pt x="456" y="11"/>
                  </a:lnTo>
                  <a:lnTo>
                    <a:pt x="456" y="15"/>
                  </a:lnTo>
                  <a:lnTo>
                    <a:pt x="455" y="19"/>
                  </a:lnTo>
                  <a:lnTo>
                    <a:pt x="26" y="967"/>
                  </a:lnTo>
                  <a:lnTo>
                    <a:pt x="24" y="970"/>
                  </a:lnTo>
                  <a:lnTo>
                    <a:pt x="20" y="974"/>
                  </a:lnTo>
                  <a:lnTo>
                    <a:pt x="17" y="975"/>
                  </a:lnTo>
                  <a:lnTo>
                    <a:pt x="13" y="976"/>
                  </a:lnTo>
                  <a:close/>
                  <a:moveTo>
                    <a:pt x="101" y="217"/>
                  </a:moveTo>
                  <a:lnTo>
                    <a:pt x="101" y="217"/>
                  </a:lnTo>
                  <a:lnTo>
                    <a:pt x="34" y="881"/>
                  </a:lnTo>
                  <a:lnTo>
                    <a:pt x="413" y="45"/>
                  </a:lnTo>
                  <a:lnTo>
                    <a:pt x="101" y="21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217"/>
            <p:cNvSpPr>
              <a:spLocks noEditPoints="1"/>
            </p:cNvSpPr>
            <p:nvPr userDrawn="1"/>
          </p:nvSpPr>
          <p:spPr bwMode="auto">
            <a:xfrm>
              <a:off x="3938588" y="2081213"/>
              <a:ext cx="254000" cy="419100"/>
            </a:xfrm>
            <a:custGeom>
              <a:avLst/>
              <a:gdLst>
                <a:gd name="T0" fmla="*/ 14 w 480"/>
                <a:gd name="T1" fmla="*/ 792 h 792"/>
                <a:gd name="T2" fmla="*/ 11 w 480"/>
                <a:gd name="T3" fmla="*/ 791 h 792"/>
                <a:gd name="T4" fmla="*/ 8 w 480"/>
                <a:gd name="T5" fmla="*/ 790 h 792"/>
                <a:gd name="T6" fmla="*/ 4 w 480"/>
                <a:gd name="T7" fmla="*/ 787 h 792"/>
                <a:gd name="T8" fmla="*/ 2 w 480"/>
                <a:gd name="T9" fmla="*/ 785 h 792"/>
                <a:gd name="T10" fmla="*/ 1 w 480"/>
                <a:gd name="T11" fmla="*/ 782 h 792"/>
                <a:gd name="T12" fmla="*/ 0 w 480"/>
                <a:gd name="T13" fmla="*/ 778 h 792"/>
                <a:gd name="T14" fmla="*/ 1 w 480"/>
                <a:gd name="T15" fmla="*/ 774 h 792"/>
                <a:gd name="T16" fmla="*/ 2 w 480"/>
                <a:gd name="T17" fmla="*/ 771 h 792"/>
                <a:gd name="T18" fmla="*/ 455 w 480"/>
                <a:gd name="T19" fmla="*/ 7 h 792"/>
                <a:gd name="T20" fmla="*/ 458 w 480"/>
                <a:gd name="T21" fmla="*/ 4 h 792"/>
                <a:gd name="T22" fmla="*/ 462 w 480"/>
                <a:gd name="T23" fmla="*/ 1 h 792"/>
                <a:gd name="T24" fmla="*/ 468 w 480"/>
                <a:gd name="T25" fmla="*/ 0 h 792"/>
                <a:gd name="T26" fmla="*/ 472 w 480"/>
                <a:gd name="T27" fmla="*/ 1 h 792"/>
                <a:gd name="T28" fmla="*/ 476 w 480"/>
                <a:gd name="T29" fmla="*/ 5 h 792"/>
                <a:gd name="T30" fmla="*/ 478 w 480"/>
                <a:gd name="T31" fmla="*/ 9 h 792"/>
                <a:gd name="T32" fmla="*/ 480 w 480"/>
                <a:gd name="T33" fmla="*/ 13 h 792"/>
                <a:gd name="T34" fmla="*/ 478 w 480"/>
                <a:gd name="T35" fmla="*/ 19 h 792"/>
                <a:gd name="T36" fmla="*/ 178 w 480"/>
                <a:gd name="T37" fmla="*/ 779 h 792"/>
                <a:gd name="T38" fmla="*/ 177 w 480"/>
                <a:gd name="T39" fmla="*/ 782 h 792"/>
                <a:gd name="T40" fmla="*/ 174 w 480"/>
                <a:gd name="T41" fmla="*/ 784 h 792"/>
                <a:gd name="T42" fmla="*/ 171 w 480"/>
                <a:gd name="T43" fmla="*/ 786 h 792"/>
                <a:gd name="T44" fmla="*/ 166 w 480"/>
                <a:gd name="T45" fmla="*/ 787 h 792"/>
                <a:gd name="T46" fmla="*/ 14 w 480"/>
                <a:gd name="T47" fmla="*/ 792 h 792"/>
                <a:gd name="T48" fmla="*/ 14 w 480"/>
                <a:gd name="T49" fmla="*/ 792 h 792"/>
                <a:gd name="T50" fmla="*/ 14 w 480"/>
                <a:gd name="T51" fmla="*/ 792 h 792"/>
                <a:gd name="T52" fmla="*/ 391 w 480"/>
                <a:gd name="T53" fmla="*/ 168 h 792"/>
                <a:gd name="T54" fmla="*/ 391 w 480"/>
                <a:gd name="T55" fmla="*/ 168 h 792"/>
                <a:gd name="T56" fmla="*/ 38 w 480"/>
                <a:gd name="T57" fmla="*/ 764 h 792"/>
                <a:gd name="T58" fmla="*/ 157 w 480"/>
                <a:gd name="T59" fmla="*/ 760 h 792"/>
                <a:gd name="T60" fmla="*/ 391 w 480"/>
                <a:gd name="T61" fmla="*/ 16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0" h="792">
                  <a:moveTo>
                    <a:pt x="14" y="792"/>
                  </a:moveTo>
                  <a:lnTo>
                    <a:pt x="11" y="791"/>
                  </a:lnTo>
                  <a:lnTo>
                    <a:pt x="8" y="790"/>
                  </a:lnTo>
                  <a:lnTo>
                    <a:pt x="4" y="787"/>
                  </a:lnTo>
                  <a:lnTo>
                    <a:pt x="2" y="785"/>
                  </a:lnTo>
                  <a:lnTo>
                    <a:pt x="1" y="782"/>
                  </a:lnTo>
                  <a:lnTo>
                    <a:pt x="0" y="778"/>
                  </a:lnTo>
                  <a:lnTo>
                    <a:pt x="1" y="774"/>
                  </a:lnTo>
                  <a:lnTo>
                    <a:pt x="2" y="771"/>
                  </a:lnTo>
                  <a:lnTo>
                    <a:pt x="455" y="7"/>
                  </a:lnTo>
                  <a:lnTo>
                    <a:pt x="458" y="4"/>
                  </a:lnTo>
                  <a:lnTo>
                    <a:pt x="462" y="1"/>
                  </a:lnTo>
                  <a:lnTo>
                    <a:pt x="468" y="0"/>
                  </a:lnTo>
                  <a:lnTo>
                    <a:pt x="472" y="1"/>
                  </a:lnTo>
                  <a:lnTo>
                    <a:pt x="476" y="5"/>
                  </a:lnTo>
                  <a:lnTo>
                    <a:pt x="478" y="9"/>
                  </a:lnTo>
                  <a:lnTo>
                    <a:pt x="480" y="13"/>
                  </a:lnTo>
                  <a:lnTo>
                    <a:pt x="478" y="19"/>
                  </a:lnTo>
                  <a:lnTo>
                    <a:pt x="178" y="779"/>
                  </a:lnTo>
                  <a:lnTo>
                    <a:pt x="177" y="782"/>
                  </a:lnTo>
                  <a:lnTo>
                    <a:pt x="174" y="784"/>
                  </a:lnTo>
                  <a:lnTo>
                    <a:pt x="171" y="786"/>
                  </a:lnTo>
                  <a:lnTo>
                    <a:pt x="166" y="787"/>
                  </a:lnTo>
                  <a:lnTo>
                    <a:pt x="14" y="792"/>
                  </a:lnTo>
                  <a:lnTo>
                    <a:pt x="14" y="792"/>
                  </a:lnTo>
                  <a:lnTo>
                    <a:pt x="14" y="792"/>
                  </a:lnTo>
                  <a:close/>
                  <a:moveTo>
                    <a:pt x="391" y="168"/>
                  </a:moveTo>
                  <a:lnTo>
                    <a:pt x="391" y="168"/>
                  </a:lnTo>
                  <a:lnTo>
                    <a:pt x="38" y="764"/>
                  </a:lnTo>
                  <a:lnTo>
                    <a:pt x="157" y="760"/>
                  </a:lnTo>
                  <a:lnTo>
                    <a:pt x="391" y="168"/>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218"/>
            <p:cNvSpPr>
              <a:spLocks noEditPoints="1"/>
            </p:cNvSpPr>
            <p:nvPr userDrawn="1"/>
          </p:nvSpPr>
          <p:spPr bwMode="auto">
            <a:xfrm>
              <a:off x="4137025" y="1978025"/>
              <a:ext cx="319088" cy="515938"/>
            </a:xfrm>
            <a:custGeom>
              <a:avLst/>
              <a:gdLst>
                <a:gd name="T0" fmla="*/ 13 w 602"/>
                <a:gd name="T1" fmla="*/ 976 h 976"/>
                <a:gd name="T2" fmla="*/ 10 w 602"/>
                <a:gd name="T3" fmla="*/ 975 h 976"/>
                <a:gd name="T4" fmla="*/ 6 w 602"/>
                <a:gd name="T5" fmla="*/ 974 h 976"/>
                <a:gd name="T6" fmla="*/ 2 w 602"/>
                <a:gd name="T7" fmla="*/ 970 h 976"/>
                <a:gd name="T8" fmla="*/ 0 w 602"/>
                <a:gd name="T9" fmla="*/ 966 h 976"/>
                <a:gd name="T10" fmla="*/ 0 w 602"/>
                <a:gd name="T11" fmla="*/ 962 h 976"/>
                <a:gd name="T12" fmla="*/ 1 w 602"/>
                <a:gd name="T13" fmla="*/ 956 h 976"/>
                <a:gd name="T14" fmla="*/ 431 w 602"/>
                <a:gd name="T15" fmla="*/ 8 h 976"/>
                <a:gd name="T16" fmla="*/ 432 w 602"/>
                <a:gd name="T17" fmla="*/ 5 h 976"/>
                <a:gd name="T18" fmla="*/ 434 w 602"/>
                <a:gd name="T19" fmla="*/ 3 h 976"/>
                <a:gd name="T20" fmla="*/ 436 w 602"/>
                <a:gd name="T21" fmla="*/ 2 h 976"/>
                <a:gd name="T22" fmla="*/ 438 w 602"/>
                <a:gd name="T23" fmla="*/ 1 h 976"/>
                <a:gd name="T24" fmla="*/ 442 w 602"/>
                <a:gd name="T25" fmla="*/ 0 h 976"/>
                <a:gd name="T26" fmla="*/ 444 w 602"/>
                <a:gd name="T27" fmla="*/ 0 h 976"/>
                <a:gd name="T28" fmla="*/ 447 w 602"/>
                <a:gd name="T29" fmla="*/ 1 h 976"/>
                <a:gd name="T30" fmla="*/ 449 w 602"/>
                <a:gd name="T31" fmla="*/ 2 h 976"/>
                <a:gd name="T32" fmla="*/ 596 w 602"/>
                <a:gd name="T33" fmla="*/ 91 h 976"/>
                <a:gd name="T34" fmla="*/ 598 w 602"/>
                <a:gd name="T35" fmla="*/ 92 h 976"/>
                <a:gd name="T36" fmla="*/ 600 w 602"/>
                <a:gd name="T37" fmla="*/ 94 h 976"/>
                <a:gd name="T38" fmla="*/ 601 w 602"/>
                <a:gd name="T39" fmla="*/ 96 h 976"/>
                <a:gd name="T40" fmla="*/ 602 w 602"/>
                <a:gd name="T41" fmla="*/ 99 h 976"/>
                <a:gd name="T42" fmla="*/ 602 w 602"/>
                <a:gd name="T43" fmla="*/ 101 h 976"/>
                <a:gd name="T44" fmla="*/ 602 w 602"/>
                <a:gd name="T45" fmla="*/ 105 h 976"/>
                <a:gd name="T46" fmla="*/ 601 w 602"/>
                <a:gd name="T47" fmla="*/ 107 h 976"/>
                <a:gd name="T48" fmla="*/ 600 w 602"/>
                <a:gd name="T49" fmla="*/ 109 h 976"/>
                <a:gd name="T50" fmla="*/ 25 w 602"/>
                <a:gd name="T51" fmla="*/ 969 h 976"/>
                <a:gd name="T52" fmla="*/ 23 w 602"/>
                <a:gd name="T53" fmla="*/ 972 h 976"/>
                <a:gd name="T54" fmla="*/ 19 w 602"/>
                <a:gd name="T55" fmla="*/ 974 h 976"/>
                <a:gd name="T56" fmla="*/ 16 w 602"/>
                <a:gd name="T57" fmla="*/ 975 h 976"/>
                <a:gd name="T58" fmla="*/ 13 w 602"/>
                <a:gd name="T59" fmla="*/ 976 h 976"/>
                <a:gd name="T60" fmla="*/ 449 w 602"/>
                <a:gd name="T61" fmla="*/ 33 h 976"/>
                <a:gd name="T62" fmla="*/ 449 w 602"/>
                <a:gd name="T63" fmla="*/ 33 h 976"/>
                <a:gd name="T64" fmla="*/ 93 w 602"/>
                <a:gd name="T65" fmla="*/ 818 h 976"/>
                <a:gd name="T66" fmla="*/ 570 w 602"/>
                <a:gd name="T67" fmla="*/ 106 h 976"/>
                <a:gd name="T68" fmla="*/ 449 w 602"/>
                <a:gd name="T69" fmla="*/ 33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2" h="976">
                  <a:moveTo>
                    <a:pt x="13" y="976"/>
                  </a:moveTo>
                  <a:lnTo>
                    <a:pt x="10" y="975"/>
                  </a:lnTo>
                  <a:lnTo>
                    <a:pt x="6" y="974"/>
                  </a:lnTo>
                  <a:lnTo>
                    <a:pt x="2" y="970"/>
                  </a:lnTo>
                  <a:lnTo>
                    <a:pt x="0" y="966"/>
                  </a:lnTo>
                  <a:lnTo>
                    <a:pt x="0" y="962"/>
                  </a:lnTo>
                  <a:lnTo>
                    <a:pt x="1" y="956"/>
                  </a:lnTo>
                  <a:lnTo>
                    <a:pt x="431" y="8"/>
                  </a:lnTo>
                  <a:lnTo>
                    <a:pt x="432" y="5"/>
                  </a:lnTo>
                  <a:lnTo>
                    <a:pt x="434" y="3"/>
                  </a:lnTo>
                  <a:lnTo>
                    <a:pt x="436" y="2"/>
                  </a:lnTo>
                  <a:lnTo>
                    <a:pt x="438" y="1"/>
                  </a:lnTo>
                  <a:lnTo>
                    <a:pt x="442" y="0"/>
                  </a:lnTo>
                  <a:lnTo>
                    <a:pt x="444" y="0"/>
                  </a:lnTo>
                  <a:lnTo>
                    <a:pt x="447" y="1"/>
                  </a:lnTo>
                  <a:lnTo>
                    <a:pt x="449" y="2"/>
                  </a:lnTo>
                  <a:lnTo>
                    <a:pt x="596" y="91"/>
                  </a:lnTo>
                  <a:lnTo>
                    <a:pt x="598" y="92"/>
                  </a:lnTo>
                  <a:lnTo>
                    <a:pt x="600" y="94"/>
                  </a:lnTo>
                  <a:lnTo>
                    <a:pt x="601" y="96"/>
                  </a:lnTo>
                  <a:lnTo>
                    <a:pt x="602" y="99"/>
                  </a:lnTo>
                  <a:lnTo>
                    <a:pt x="602" y="101"/>
                  </a:lnTo>
                  <a:lnTo>
                    <a:pt x="602" y="105"/>
                  </a:lnTo>
                  <a:lnTo>
                    <a:pt x="601" y="107"/>
                  </a:lnTo>
                  <a:lnTo>
                    <a:pt x="600" y="109"/>
                  </a:lnTo>
                  <a:lnTo>
                    <a:pt x="25" y="969"/>
                  </a:lnTo>
                  <a:lnTo>
                    <a:pt x="23" y="972"/>
                  </a:lnTo>
                  <a:lnTo>
                    <a:pt x="19" y="974"/>
                  </a:lnTo>
                  <a:lnTo>
                    <a:pt x="16" y="975"/>
                  </a:lnTo>
                  <a:lnTo>
                    <a:pt x="13" y="976"/>
                  </a:lnTo>
                  <a:close/>
                  <a:moveTo>
                    <a:pt x="449" y="33"/>
                  </a:moveTo>
                  <a:lnTo>
                    <a:pt x="449" y="33"/>
                  </a:lnTo>
                  <a:lnTo>
                    <a:pt x="93" y="818"/>
                  </a:lnTo>
                  <a:lnTo>
                    <a:pt x="570" y="106"/>
                  </a:lnTo>
                  <a:lnTo>
                    <a:pt x="449" y="3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219"/>
            <p:cNvSpPr>
              <a:spLocks noEditPoints="1"/>
            </p:cNvSpPr>
            <p:nvPr userDrawn="1"/>
          </p:nvSpPr>
          <p:spPr bwMode="auto">
            <a:xfrm>
              <a:off x="4137025" y="2214563"/>
              <a:ext cx="192088" cy="301625"/>
            </a:xfrm>
            <a:custGeom>
              <a:avLst/>
              <a:gdLst>
                <a:gd name="T0" fmla="*/ 214 w 362"/>
                <a:gd name="T1" fmla="*/ 568 h 568"/>
                <a:gd name="T2" fmla="*/ 213 w 362"/>
                <a:gd name="T3" fmla="*/ 568 h 568"/>
                <a:gd name="T4" fmla="*/ 210 w 362"/>
                <a:gd name="T5" fmla="*/ 568 h 568"/>
                <a:gd name="T6" fmla="*/ 11 w 362"/>
                <a:gd name="T7" fmla="*/ 527 h 568"/>
                <a:gd name="T8" fmla="*/ 7 w 362"/>
                <a:gd name="T9" fmla="*/ 526 h 568"/>
                <a:gd name="T10" fmla="*/ 4 w 362"/>
                <a:gd name="T11" fmla="*/ 525 h 568"/>
                <a:gd name="T12" fmla="*/ 2 w 362"/>
                <a:gd name="T13" fmla="*/ 522 h 568"/>
                <a:gd name="T14" fmla="*/ 1 w 362"/>
                <a:gd name="T15" fmla="*/ 519 h 568"/>
                <a:gd name="T16" fmla="*/ 0 w 362"/>
                <a:gd name="T17" fmla="*/ 516 h 568"/>
                <a:gd name="T18" fmla="*/ 0 w 362"/>
                <a:gd name="T19" fmla="*/ 513 h 568"/>
                <a:gd name="T20" fmla="*/ 0 w 362"/>
                <a:gd name="T21" fmla="*/ 510 h 568"/>
                <a:gd name="T22" fmla="*/ 2 w 362"/>
                <a:gd name="T23" fmla="*/ 506 h 568"/>
                <a:gd name="T24" fmla="*/ 337 w 362"/>
                <a:gd name="T25" fmla="*/ 6 h 568"/>
                <a:gd name="T26" fmla="*/ 340 w 362"/>
                <a:gd name="T27" fmla="*/ 2 h 568"/>
                <a:gd name="T28" fmla="*/ 344 w 362"/>
                <a:gd name="T29" fmla="*/ 1 h 568"/>
                <a:gd name="T30" fmla="*/ 349 w 362"/>
                <a:gd name="T31" fmla="*/ 0 h 568"/>
                <a:gd name="T32" fmla="*/ 354 w 362"/>
                <a:gd name="T33" fmla="*/ 1 h 568"/>
                <a:gd name="T34" fmla="*/ 357 w 362"/>
                <a:gd name="T35" fmla="*/ 4 h 568"/>
                <a:gd name="T36" fmla="*/ 361 w 362"/>
                <a:gd name="T37" fmla="*/ 8 h 568"/>
                <a:gd name="T38" fmla="*/ 362 w 362"/>
                <a:gd name="T39" fmla="*/ 12 h 568"/>
                <a:gd name="T40" fmla="*/ 362 w 362"/>
                <a:gd name="T41" fmla="*/ 17 h 568"/>
                <a:gd name="T42" fmla="*/ 227 w 362"/>
                <a:gd name="T43" fmla="*/ 558 h 568"/>
                <a:gd name="T44" fmla="*/ 225 w 362"/>
                <a:gd name="T45" fmla="*/ 562 h 568"/>
                <a:gd name="T46" fmla="*/ 222 w 362"/>
                <a:gd name="T47" fmla="*/ 566 h 568"/>
                <a:gd name="T48" fmla="*/ 218 w 362"/>
                <a:gd name="T49" fmla="*/ 567 h 568"/>
                <a:gd name="T50" fmla="*/ 214 w 362"/>
                <a:gd name="T51" fmla="*/ 568 h 568"/>
                <a:gd name="T52" fmla="*/ 36 w 362"/>
                <a:gd name="T53" fmla="*/ 505 h 568"/>
                <a:gd name="T54" fmla="*/ 36 w 362"/>
                <a:gd name="T55" fmla="*/ 505 h 568"/>
                <a:gd name="T56" fmla="*/ 204 w 362"/>
                <a:gd name="T57" fmla="*/ 539 h 568"/>
                <a:gd name="T58" fmla="*/ 316 w 362"/>
                <a:gd name="T59" fmla="*/ 85 h 568"/>
                <a:gd name="T60" fmla="*/ 36 w 362"/>
                <a:gd name="T61" fmla="*/ 505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2" h="568">
                  <a:moveTo>
                    <a:pt x="214" y="568"/>
                  </a:moveTo>
                  <a:lnTo>
                    <a:pt x="213" y="568"/>
                  </a:lnTo>
                  <a:lnTo>
                    <a:pt x="210" y="568"/>
                  </a:lnTo>
                  <a:lnTo>
                    <a:pt x="11" y="527"/>
                  </a:lnTo>
                  <a:lnTo>
                    <a:pt x="7" y="526"/>
                  </a:lnTo>
                  <a:lnTo>
                    <a:pt x="4" y="525"/>
                  </a:lnTo>
                  <a:lnTo>
                    <a:pt x="2" y="522"/>
                  </a:lnTo>
                  <a:lnTo>
                    <a:pt x="1" y="519"/>
                  </a:lnTo>
                  <a:lnTo>
                    <a:pt x="0" y="516"/>
                  </a:lnTo>
                  <a:lnTo>
                    <a:pt x="0" y="513"/>
                  </a:lnTo>
                  <a:lnTo>
                    <a:pt x="0" y="510"/>
                  </a:lnTo>
                  <a:lnTo>
                    <a:pt x="2" y="506"/>
                  </a:lnTo>
                  <a:lnTo>
                    <a:pt x="337" y="6"/>
                  </a:lnTo>
                  <a:lnTo>
                    <a:pt x="340" y="2"/>
                  </a:lnTo>
                  <a:lnTo>
                    <a:pt x="344" y="1"/>
                  </a:lnTo>
                  <a:lnTo>
                    <a:pt x="349" y="0"/>
                  </a:lnTo>
                  <a:lnTo>
                    <a:pt x="354" y="1"/>
                  </a:lnTo>
                  <a:lnTo>
                    <a:pt x="357" y="4"/>
                  </a:lnTo>
                  <a:lnTo>
                    <a:pt x="361" y="8"/>
                  </a:lnTo>
                  <a:lnTo>
                    <a:pt x="362" y="12"/>
                  </a:lnTo>
                  <a:lnTo>
                    <a:pt x="362" y="17"/>
                  </a:lnTo>
                  <a:lnTo>
                    <a:pt x="227" y="558"/>
                  </a:lnTo>
                  <a:lnTo>
                    <a:pt x="225" y="562"/>
                  </a:lnTo>
                  <a:lnTo>
                    <a:pt x="222" y="566"/>
                  </a:lnTo>
                  <a:lnTo>
                    <a:pt x="218" y="567"/>
                  </a:lnTo>
                  <a:lnTo>
                    <a:pt x="214" y="568"/>
                  </a:lnTo>
                  <a:close/>
                  <a:moveTo>
                    <a:pt x="36" y="505"/>
                  </a:moveTo>
                  <a:lnTo>
                    <a:pt x="36" y="505"/>
                  </a:lnTo>
                  <a:lnTo>
                    <a:pt x="204" y="539"/>
                  </a:lnTo>
                  <a:lnTo>
                    <a:pt x="316" y="85"/>
                  </a:lnTo>
                  <a:lnTo>
                    <a:pt x="36" y="50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220"/>
            <p:cNvSpPr>
              <a:spLocks noEditPoints="1"/>
            </p:cNvSpPr>
            <p:nvPr userDrawn="1"/>
          </p:nvSpPr>
          <p:spPr bwMode="auto">
            <a:xfrm>
              <a:off x="4451350" y="2109788"/>
              <a:ext cx="134938" cy="269875"/>
            </a:xfrm>
            <a:custGeom>
              <a:avLst/>
              <a:gdLst>
                <a:gd name="T0" fmla="*/ 13 w 256"/>
                <a:gd name="T1" fmla="*/ 510 h 510"/>
                <a:gd name="T2" fmla="*/ 9 w 256"/>
                <a:gd name="T3" fmla="*/ 509 h 510"/>
                <a:gd name="T4" fmla="*/ 6 w 256"/>
                <a:gd name="T5" fmla="*/ 508 h 510"/>
                <a:gd name="T6" fmla="*/ 3 w 256"/>
                <a:gd name="T7" fmla="*/ 505 h 510"/>
                <a:gd name="T8" fmla="*/ 1 w 256"/>
                <a:gd name="T9" fmla="*/ 501 h 510"/>
                <a:gd name="T10" fmla="*/ 0 w 256"/>
                <a:gd name="T11" fmla="*/ 497 h 510"/>
                <a:gd name="T12" fmla="*/ 0 w 256"/>
                <a:gd name="T13" fmla="*/ 493 h 510"/>
                <a:gd name="T14" fmla="*/ 152 w 256"/>
                <a:gd name="T15" fmla="*/ 10 h 510"/>
                <a:gd name="T16" fmla="*/ 153 w 256"/>
                <a:gd name="T17" fmla="*/ 6 h 510"/>
                <a:gd name="T18" fmla="*/ 156 w 256"/>
                <a:gd name="T19" fmla="*/ 4 h 510"/>
                <a:gd name="T20" fmla="*/ 159 w 256"/>
                <a:gd name="T21" fmla="*/ 1 h 510"/>
                <a:gd name="T22" fmla="*/ 164 w 256"/>
                <a:gd name="T23" fmla="*/ 0 h 510"/>
                <a:gd name="T24" fmla="*/ 168 w 256"/>
                <a:gd name="T25" fmla="*/ 0 h 510"/>
                <a:gd name="T26" fmla="*/ 171 w 256"/>
                <a:gd name="T27" fmla="*/ 2 h 510"/>
                <a:gd name="T28" fmla="*/ 175 w 256"/>
                <a:gd name="T29" fmla="*/ 5 h 510"/>
                <a:gd name="T30" fmla="*/ 177 w 256"/>
                <a:gd name="T31" fmla="*/ 8 h 510"/>
                <a:gd name="T32" fmla="*/ 254 w 256"/>
                <a:gd name="T33" fmla="*/ 174 h 510"/>
                <a:gd name="T34" fmla="*/ 256 w 256"/>
                <a:gd name="T35" fmla="*/ 177 h 510"/>
                <a:gd name="T36" fmla="*/ 256 w 256"/>
                <a:gd name="T37" fmla="*/ 181 h 510"/>
                <a:gd name="T38" fmla="*/ 254 w 256"/>
                <a:gd name="T39" fmla="*/ 184 h 510"/>
                <a:gd name="T40" fmla="*/ 252 w 256"/>
                <a:gd name="T41" fmla="*/ 187 h 510"/>
                <a:gd name="T42" fmla="*/ 23 w 256"/>
                <a:gd name="T43" fmla="*/ 504 h 510"/>
                <a:gd name="T44" fmla="*/ 21 w 256"/>
                <a:gd name="T45" fmla="*/ 507 h 510"/>
                <a:gd name="T46" fmla="*/ 19 w 256"/>
                <a:gd name="T47" fmla="*/ 508 h 510"/>
                <a:gd name="T48" fmla="*/ 16 w 256"/>
                <a:gd name="T49" fmla="*/ 509 h 510"/>
                <a:gd name="T50" fmla="*/ 13 w 256"/>
                <a:gd name="T51" fmla="*/ 510 h 510"/>
                <a:gd name="T52" fmla="*/ 167 w 256"/>
                <a:gd name="T53" fmla="*/ 51 h 510"/>
                <a:gd name="T54" fmla="*/ 167 w 256"/>
                <a:gd name="T55" fmla="*/ 51 h 510"/>
                <a:gd name="T56" fmla="*/ 50 w 256"/>
                <a:gd name="T57" fmla="*/ 420 h 510"/>
                <a:gd name="T58" fmla="*/ 226 w 256"/>
                <a:gd name="T59" fmla="*/ 178 h 510"/>
                <a:gd name="T60" fmla="*/ 167 w 256"/>
                <a:gd name="T61" fmla="*/ 5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6" h="510">
                  <a:moveTo>
                    <a:pt x="13" y="510"/>
                  </a:moveTo>
                  <a:lnTo>
                    <a:pt x="9" y="509"/>
                  </a:lnTo>
                  <a:lnTo>
                    <a:pt x="6" y="508"/>
                  </a:lnTo>
                  <a:lnTo>
                    <a:pt x="3" y="505"/>
                  </a:lnTo>
                  <a:lnTo>
                    <a:pt x="1" y="501"/>
                  </a:lnTo>
                  <a:lnTo>
                    <a:pt x="0" y="497"/>
                  </a:lnTo>
                  <a:lnTo>
                    <a:pt x="0" y="493"/>
                  </a:lnTo>
                  <a:lnTo>
                    <a:pt x="152" y="10"/>
                  </a:lnTo>
                  <a:lnTo>
                    <a:pt x="153" y="6"/>
                  </a:lnTo>
                  <a:lnTo>
                    <a:pt x="156" y="4"/>
                  </a:lnTo>
                  <a:lnTo>
                    <a:pt x="159" y="1"/>
                  </a:lnTo>
                  <a:lnTo>
                    <a:pt x="164" y="0"/>
                  </a:lnTo>
                  <a:lnTo>
                    <a:pt x="168" y="0"/>
                  </a:lnTo>
                  <a:lnTo>
                    <a:pt x="171" y="2"/>
                  </a:lnTo>
                  <a:lnTo>
                    <a:pt x="175" y="5"/>
                  </a:lnTo>
                  <a:lnTo>
                    <a:pt x="177" y="8"/>
                  </a:lnTo>
                  <a:lnTo>
                    <a:pt x="254" y="174"/>
                  </a:lnTo>
                  <a:lnTo>
                    <a:pt x="256" y="177"/>
                  </a:lnTo>
                  <a:lnTo>
                    <a:pt x="256" y="181"/>
                  </a:lnTo>
                  <a:lnTo>
                    <a:pt x="254" y="184"/>
                  </a:lnTo>
                  <a:lnTo>
                    <a:pt x="252" y="187"/>
                  </a:lnTo>
                  <a:lnTo>
                    <a:pt x="23" y="504"/>
                  </a:lnTo>
                  <a:lnTo>
                    <a:pt x="21" y="507"/>
                  </a:lnTo>
                  <a:lnTo>
                    <a:pt x="19" y="508"/>
                  </a:lnTo>
                  <a:lnTo>
                    <a:pt x="16" y="509"/>
                  </a:lnTo>
                  <a:lnTo>
                    <a:pt x="13" y="510"/>
                  </a:lnTo>
                  <a:close/>
                  <a:moveTo>
                    <a:pt x="167" y="51"/>
                  </a:moveTo>
                  <a:lnTo>
                    <a:pt x="167" y="51"/>
                  </a:lnTo>
                  <a:lnTo>
                    <a:pt x="50" y="420"/>
                  </a:lnTo>
                  <a:lnTo>
                    <a:pt x="226" y="178"/>
                  </a:lnTo>
                  <a:lnTo>
                    <a:pt x="167" y="5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221"/>
            <p:cNvSpPr>
              <a:spLocks noEditPoints="1"/>
            </p:cNvSpPr>
            <p:nvPr userDrawn="1"/>
          </p:nvSpPr>
          <p:spPr bwMode="auto">
            <a:xfrm>
              <a:off x="4302125" y="2211388"/>
              <a:ext cx="212725" cy="363538"/>
            </a:xfrm>
            <a:custGeom>
              <a:avLst/>
              <a:gdLst>
                <a:gd name="T0" fmla="*/ 173 w 403"/>
                <a:gd name="T1" fmla="*/ 687 h 687"/>
                <a:gd name="T2" fmla="*/ 169 w 403"/>
                <a:gd name="T3" fmla="*/ 686 h 687"/>
                <a:gd name="T4" fmla="*/ 167 w 403"/>
                <a:gd name="T5" fmla="*/ 686 h 687"/>
                <a:gd name="T6" fmla="*/ 7 w 403"/>
                <a:gd name="T7" fmla="*/ 616 h 687"/>
                <a:gd name="T8" fmla="*/ 5 w 403"/>
                <a:gd name="T9" fmla="*/ 614 h 687"/>
                <a:gd name="T10" fmla="*/ 3 w 403"/>
                <a:gd name="T11" fmla="*/ 611 h 687"/>
                <a:gd name="T12" fmla="*/ 1 w 403"/>
                <a:gd name="T13" fmla="*/ 609 h 687"/>
                <a:gd name="T14" fmla="*/ 0 w 403"/>
                <a:gd name="T15" fmla="*/ 607 h 687"/>
                <a:gd name="T16" fmla="*/ 0 w 403"/>
                <a:gd name="T17" fmla="*/ 604 h 687"/>
                <a:gd name="T18" fmla="*/ 0 w 403"/>
                <a:gd name="T19" fmla="*/ 601 h 687"/>
                <a:gd name="T20" fmla="*/ 0 w 403"/>
                <a:gd name="T21" fmla="*/ 598 h 687"/>
                <a:gd name="T22" fmla="*/ 2 w 403"/>
                <a:gd name="T23" fmla="*/ 595 h 687"/>
                <a:gd name="T24" fmla="*/ 378 w 403"/>
                <a:gd name="T25" fmla="*/ 7 h 687"/>
                <a:gd name="T26" fmla="*/ 381 w 403"/>
                <a:gd name="T27" fmla="*/ 4 h 687"/>
                <a:gd name="T28" fmla="*/ 385 w 403"/>
                <a:gd name="T29" fmla="*/ 2 h 687"/>
                <a:gd name="T30" fmla="*/ 390 w 403"/>
                <a:gd name="T31" fmla="*/ 0 h 687"/>
                <a:gd name="T32" fmla="*/ 395 w 403"/>
                <a:gd name="T33" fmla="*/ 2 h 687"/>
                <a:gd name="T34" fmla="*/ 398 w 403"/>
                <a:gd name="T35" fmla="*/ 5 h 687"/>
                <a:gd name="T36" fmla="*/ 402 w 403"/>
                <a:gd name="T37" fmla="*/ 9 h 687"/>
                <a:gd name="T38" fmla="*/ 403 w 403"/>
                <a:gd name="T39" fmla="*/ 13 h 687"/>
                <a:gd name="T40" fmla="*/ 402 w 403"/>
                <a:gd name="T41" fmla="*/ 19 h 687"/>
                <a:gd name="T42" fmla="*/ 186 w 403"/>
                <a:gd name="T43" fmla="*/ 677 h 687"/>
                <a:gd name="T44" fmla="*/ 183 w 403"/>
                <a:gd name="T45" fmla="*/ 679 h 687"/>
                <a:gd name="T46" fmla="*/ 182 w 403"/>
                <a:gd name="T47" fmla="*/ 682 h 687"/>
                <a:gd name="T48" fmla="*/ 180 w 403"/>
                <a:gd name="T49" fmla="*/ 684 h 687"/>
                <a:gd name="T50" fmla="*/ 178 w 403"/>
                <a:gd name="T51" fmla="*/ 686 h 687"/>
                <a:gd name="T52" fmla="*/ 175 w 403"/>
                <a:gd name="T53" fmla="*/ 686 h 687"/>
                <a:gd name="T54" fmla="*/ 173 w 403"/>
                <a:gd name="T55" fmla="*/ 687 h 687"/>
                <a:gd name="T56" fmla="*/ 33 w 403"/>
                <a:gd name="T57" fmla="*/ 597 h 687"/>
                <a:gd name="T58" fmla="*/ 33 w 403"/>
                <a:gd name="T59" fmla="*/ 597 h 687"/>
                <a:gd name="T60" fmla="*/ 164 w 403"/>
                <a:gd name="T61" fmla="*/ 655 h 687"/>
                <a:gd name="T62" fmla="*/ 342 w 403"/>
                <a:gd name="T63" fmla="*/ 112 h 687"/>
                <a:gd name="T64" fmla="*/ 33 w 403"/>
                <a:gd name="T65" fmla="*/ 597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3" h="687">
                  <a:moveTo>
                    <a:pt x="173" y="687"/>
                  </a:moveTo>
                  <a:lnTo>
                    <a:pt x="169" y="686"/>
                  </a:lnTo>
                  <a:lnTo>
                    <a:pt x="167" y="686"/>
                  </a:lnTo>
                  <a:lnTo>
                    <a:pt x="7" y="616"/>
                  </a:lnTo>
                  <a:lnTo>
                    <a:pt x="5" y="614"/>
                  </a:lnTo>
                  <a:lnTo>
                    <a:pt x="3" y="611"/>
                  </a:lnTo>
                  <a:lnTo>
                    <a:pt x="1" y="609"/>
                  </a:lnTo>
                  <a:lnTo>
                    <a:pt x="0" y="607"/>
                  </a:lnTo>
                  <a:lnTo>
                    <a:pt x="0" y="604"/>
                  </a:lnTo>
                  <a:lnTo>
                    <a:pt x="0" y="601"/>
                  </a:lnTo>
                  <a:lnTo>
                    <a:pt x="0" y="598"/>
                  </a:lnTo>
                  <a:lnTo>
                    <a:pt x="2" y="595"/>
                  </a:lnTo>
                  <a:lnTo>
                    <a:pt x="378" y="7"/>
                  </a:lnTo>
                  <a:lnTo>
                    <a:pt x="381" y="4"/>
                  </a:lnTo>
                  <a:lnTo>
                    <a:pt x="385" y="2"/>
                  </a:lnTo>
                  <a:lnTo>
                    <a:pt x="390" y="0"/>
                  </a:lnTo>
                  <a:lnTo>
                    <a:pt x="395" y="2"/>
                  </a:lnTo>
                  <a:lnTo>
                    <a:pt x="398" y="5"/>
                  </a:lnTo>
                  <a:lnTo>
                    <a:pt x="402" y="9"/>
                  </a:lnTo>
                  <a:lnTo>
                    <a:pt x="403" y="13"/>
                  </a:lnTo>
                  <a:lnTo>
                    <a:pt x="402" y="19"/>
                  </a:lnTo>
                  <a:lnTo>
                    <a:pt x="186" y="677"/>
                  </a:lnTo>
                  <a:lnTo>
                    <a:pt x="183" y="679"/>
                  </a:lnTo>
                  <a:lnTo>
                    <a:pt x="182" y="682"/>
                  </a:lnTo>
                  <a:lnTo>
                    <a:pt x="180" y="684"/>
                  </a:lnTo>
                  <a:lnTo>
                    <a:pt x="178" y="686"/>
                  </a:lnTo>
                  <a:lnTo>
                    <a:pt x="175" y="686"/>
                  </a:lnTo>
                  <a:lnTo>
                    <a:pt x="173" y="687"/>
                  </a:lnTo>
                  <a:close/>
                  <a:moveTo>
                    <a:pt x="33" y="597"/>
                  </a:moveTo>
                  <a:lnTo>
                    <a:pt x="33" y="597"/>
                  </a:lnTo>
                  <a:lnTo>
                    <a:pt x="164" y="655"/>
                  </a:lnTo>
                  <a:lnTo>
                    <a:pt x="342" y="112"/>
                  </a:lnTo>
                  <a:lnTo>
                    <a:pt x="33" y="59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222"/>
            <p:cNvSpPr>
              <a:spLocks/>
            </p:cNvSpPr>
            <p:nvPr userDrawn="1"/>
          </p:nvSpPr>
          <p:spPr bwMode="auto">
            <a:xfrm>
              <a:off x="4473575" y="2336800"/>
              <a:ext cx="152400" cy="268288"/>
            </a:xfrm>
            <a:custGeom>
              <a:avLst/>
              <a:gdLst>
                <a:gd name="T0" fmla="*/ 13 w 290"/>
                <a:gd name="T1" fmla="*/ 509 h 509"/>
                <a:gd name="T2" fmla="*/ 9 w 290"/>
                <a:gd name="T3" fmla="*/ 509 h 509"/>
                <a:gd name="T4" fmla="*/ 6 w 290"/>
                <a:gd name="T5" fmla="*/ 508 h 509"/>
                <a:gd name="T6" fmla="*/ 3 w 290"/>
                <a:gd name="T7" fmla="*/ 504 h 509"/>
                <a:gd name="T8" fmla="*/ 0 w 290"/>
                <a:gd name="T9" fmla="*/ 500 h 509"/>
                <a:gd name="T10" fmla="*/ 0 w 290"/>
                <a:gd name="T11" fmla="*/ 494 h 509"/>
                <a:gd name="T12" fmla="*/ 1 w 290"/>
                <a:gd name="T13" fmla="*/ 490 h 509"/>
                <a:gd name="T14" fmla="*/ 264 w 290"/>
                <a:gd name="T15" fmla="*/ 6 h 509"/>
                <a:gd name="T16" fmla="*/ 269 w 290"/>
                <a:gd name="T17" fmla="*/ 3 h 509"/>
                <a:gd name="T18" fmla="*/ 273 w 290"/>
                <a:gd name="T19" fmla="*/ 0 h 509"/>
                <a:gd name="T20" fmla="*/ 278 w 290"/>
                <a:gd name="T21" fmla="*/ 0 h 509"/>
                <a:gd name="T22" fmla="*/ 283 w 290"/>
                <a:gd name="T23" fmla="*/ 1 h 509"/>
                <a:gd name="T24" fmla="*/ 287 w 290"/>
                <a:gd name="T25" fmla="*/ 5 h 509"/>
                <a:gd name="T26" fmla="*/ 289 w 290"/>
                <a:gd name="T27" fmla="*/ 10 h 509"/>
                <a:gd name="T28" fmla="*/ 290 w 290"/>
                <a:gd name="T29" fmla="*/ 15 h 509"/>
                <a:gd name="T30" fmla="*/ 288 w 290"/>
                <a:gd name="T31" fmla="*/ 19 h 509"/>
                <a:gd name="T32" fmla="*/ 25 w 290"/>
                <a:gd name="T33" fmla="*/ 503 h 509"/>
                <a:gd name="T34" fmla="*/ 22 w 290"/>
                <a:gd name="T35" fmla="*/ 505 h 509"/>
                <a:gd name="T36" fmla="*/ 20 w 290"/>
                <a:gd name="T37" fmla="*/ 507 h 509"/>
                <a:gd name="T38" fmla="*/ 17 w 290"/>
                <a:gd name="T39" fmla="*/ 509 h 509"/>
                <a:gd name="T40" fmla="*/ 13 w 290"/>
                <a:gd name="T41" fmla="*/ 50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0" h="509">
                  <a:moveTo>
                    <a:pt x="13" y="509"/>
                  </a:moveTo>
                  <a:lnTo>
                    <a:pt x="9" y="509"/>
                  </a:lnTo>
                  <a:lnTo>
                    <a:pt x="6" y="508"/>
                  </a:lnTo>
                  <a:lnTo>
                    <a:pt x="3" y="504"/>
                  </a:lnTo>
                  <a:lnTo>
                    <a:pt x="0" y="500"/>
                  </a:lnTo>
                  <a:lnTo>
                    <a:pt x="0" y="494"/>
                  </a:lnTo>
                  <a:lnTo>
                    <a:pt x="1" y="490"/>
                  </a:lnTo>
                  <a:lnTo>
                    <a:pt x="264" y="6"/>
                  </a:lnTo>
                  <a:lnTo>
                    <a:pt x="269" y="3"/>
                  </a:lnTo>
                  <a:lnTo>
                    <a:pt x="273" y="0"/>
                  </a:lnTo>
                  <a:lnTo>
                    <a:pt x="278" y="0"/>
                  </a:lnTo>
                  <a:lnTo>
                    <a:pt x="283" y="1"/>
                  </a:lnTo>
                  <a:lnTo>
                    <a:pt x="287" y="5"/>
                  </a:lnTo>
                  <a:lnTo>
                    <a:pt x="289" y="10"/>
                  </a:lnTo>
                  <a:lnTo>
                    <a:pt x="290" y="15"/>
                  </a:lnTo>
                  <a:lnTo>
                    <a:pt x="288" y="19"/>
                  </a:lnTo>
                  <a:lnTo>
                    <a:pt x="25" y="503"/>
                  </a:lnTo>
                  <a:lnTo>
                    <a:pt x="22" y="505"/>
                  </a:lnTo>
                  <a:lnTo>
                    <a:pt x="20" y="507"/>
                  </a:lnTo>
                  <a:lnTo>
                    <a:pt x="17" y="509"/>
                  </a:lnTo>
                  <a:lnTo>
                    <a:pt x="13" y="50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223"/>
            <p:cNvSpPr>
              <a:spLocks noEditPoints="1"/>
            </p:cNvSpPr>
            <p:nvPr userDrawn="1"/>
          </p:nvSpPr>
          <p:spPr bwMode="auto">
            <a:xfrm>
              <a:off x="3086100" y="2016125"/>
              <a:ext cx="115888" cy="392113"/>
            </a:xfrm>
            <a:custGeom>
              <a:avLst/>
              <a:gdLst>
                <a:gd name="T0" fmla="*/ 102 w 218"/>
                <a:gd name="T1" fmla="*/ 740 h 740"/>
                <a:gd name="T2" fmla="*/ 96 w 218"/>
                <a:gd name="T3" fmla="*/ 739 h 740"/>
                <a:gd name="T4" fmla="*/ 93 w 218"/>
                <a:gd name="T5" fmla="*/ 737 h 740"/>
                <a:gd name="T6" fmla="*/ 90 w 218"/>
                <a:gd name="T7" fmla="*/ 733 h 740"/>
                <a:gd name="T8" fmla="*/ 88 w 218"/>
                <a:gd name="T9" fmla="*/ 729 h 740"/>
                <a:gd name="T10" fmla="*/ 1 w 218"/>
                <a:gd name="T11" fmla="*/ 274 h 740"/>
                <a:gd name="T12" fmla="*/ 0 w 218"/>
                <a:gd name="T13" fmla="*/ 271 h 740"/>
                <a:gd name="T14" fmla="*/ 1 w 218"/>
                <a:gd name="T15" fmla="*/ 268 h 740"/>
                <a:gd name="T16" fmla="*/ 1 w 218"/>
                <a:gd name="T17" fmla="*/ 266 h 740"/>
                <a:gd name="T18" fmla="*/ 3 w 218"/>
                <a:gd name="T19" fmla="*/ 263 h 740"/>
                <a:gd name="T20" fmla="*/ 195 w 218"/>
                <a:gd name="T21" fmla="*/ 7 h 740"/>
                <a:gd name="T22" fmla="*/ 198 w 218"/>
                <a:gd name="T23" fmla="*/ 4 h 740"/>
                <a:gd name="T24" fmla="*/ 202 w 218"/>
                <a:gd name="T25" fmla="*/ 2 h 740"/>
                <a:gd name="T26" fmla="*/ 206 w 218"/>
                <a:gd name="T27" fmla="*/ 0 h 740"/>
                <a:gd name="T28" fmla="*/ 211 w 218"/>
                <a:gd name="T29" fmla="*/ 2 h 740"/>
                <a:gd name="T30" fmla="*/ 214 w 218"/>
                <a:gd name="T31" fmla="*/ 5 h 740"/>
                <a:gd name="T32" fmla="*/ 217 w 218"/>
                <a:gd name="T33" fmla="*/ 8 h 740"/>
                <a:gd name="T34" fmla="*/ 218 w 218"/>
                <a:gd name="T35" fmla="*/ 12 h 740"/>
                <a:gd name="T36" fmla="*/ 218 w 218"/>
                <a:gd name="T37" fmla="*/ 17 h 740"/>
                <a:gd name="T38" fmla="*/ 115 w 218"/>
                <a:gd name="T39" fmla="*/ 729 h 740"/>
                <a:gd name="T40" fmla="*/ 114 w 218"/>
                <a:gd name="T41" fmla="*/ 733 h 740"/>
                <a:gd name="T42" fmla="*/ 110 w 218"/>
                <a:gd name="T43" fmla="*/ 737 h 740"/>
                <a:gd name="T44" fmla="*/ 106 w 218"/>
                <a:gd name="T45" fmla="*/ 739 h 740"/>
                <a:gd name="T46" fmla="*/ 102 w 218"/>
                <a:gd name="T47" fmla="*/ 740 h 740"/>
                <a:gd name="T48" fmla="*/ 102 w 218"/>
                <a:gd name="T49" fmla="*/ 740 h 740"/>
                <a:gd name="T50" fmla="*/ 102 w 218"/>
                <a:gd name="T51" fmla="*/ 740 h 740"/>
                <a:gd name="T52" fmla="*/ 28 w 218"/>
                <a:gd name="T53" fmla="*/ 275 h 740"/>
                <a:gd name="T54" fmla="*/ 28 w 218"/>
                <a:gd name="T55" fmla="*/ 275 h 740"/>
                <a:gd name="T56" fmla="*/ 99 w 218"/>
                <a:gd name="T57" fmla="*/ 646 h 740"/>
                <a:gd name="T58" fmla="*/ 184 w 218"/>
                <a:gd name="T59" fmla="*/ 65 h 740"/>
                <a:gd name="T60" fmla="*/ 28 w 218"/>
                <a:gd name="T61" fmla="*/ 275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740">
                  <a:moveTo>
                    <a:pt x="102" y="740"/>
                  </a:moveTo>
                  <a:lnTo>
                    <a:pt x="96" y="739"/>
                  </a:lnTo>
                  <a:lnTo>
                    <a:pt x="93" y="737"/>
                  </a:lnTo>
                  <a:lnTo>
                    <a:pt x="90" y="733"/>
                  </a:lnTo>
                  <a:lnTo>
                    <a:pt x="88" y="729"/>
                  </a:lnTo>
                  <a:lnTo>
                    <a:pt x="1" y="274"/>
                  </a:lnTo>
                  <a:lnTo>
                    <a:pt x="0" y="271"/>
                  </a:lnTo>
                  <a:lnTo>
                    <a:pt x="1" y="268"/>
                  </a:lnTo>
                  <a:lnTo>
                    <a:pt x="1" y="266"/>
                  </a:lnTo>
                  <a:lnTo>
                    <a:pt x="3" y="263"/>
                  </a:lnTo>
                  <a:lnTo>
                    <a:pt x="195" y="7"/>
                  </a:lnTo>
                  <a:lnTo>
                    <a:pt x="198" y="4"/>
                  </a:lnTo>
                  <a:lnTo>
                    <a:pt x="202" y="2"/>
                  </a:lnTo>
                  <a:lnTo>
                    <a:pt x="206" y="0"/>
                  </a:lnTo>
                  <a:lnTo>
                    <a:pt x="211" y="2"/>
                  </a:lnTo>
                  <a:lnTo>
                    <a:pt x="214" y="5"/>
                  </a:lnTo>
                  <a:lnTo>
                    <a:pt x="217" y="8"/>
                  </a:lnTo>
                  <a:lnTo>
                    <a:pt x="218" y="12"/>
                  </a:lnTo>
                  <a:lnTo>
                    <a:pt x="218" y="17"/>
                  </a:lnTo>
                  <a:lnTo>
                    <a:pt x="115" y="729"/>
                  </a:lnTo>
                  <a:lnTo>
                    <a:pt x="114" y="733"/>
                  </a:lnTo>
                  <a:lnTo>
                    <a:pt x="110" y="737"/>
                  </a:lnTo>
                  <a:lnTo>
                    <a:pt x="106" y="739"/>
                  </a:lnTo>
                  <a:lnTo>
                    <a:pt x="102" y="740"/>
                  </a:lnTo>
                  <a:lnTo>
                    <a:pt x="102" y="740"/>
                  </a:lnTo>
                  <a:lnTo>
                    <a:pt x="102" y="740"/>
                  </a:lnTo>
                  <a:close/>
                  <a:moveTo>
                    <a:pt x="28" y="275"/>
                  </a:moveTo>
                  <a:lnTo>
                    <a:pt x="28" y="275"/>
                  </a:lnTo>
                  <a:lnTo>
                    <a:pt x="99" y="646"/>
                  </a:lnTo>
                  <a:lnTo>
                    <a:pt x="184" y="65"/>
                  </a:lnTo>
                  <a:lnTo>
                    <a:pt x="28" y="2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224"/>
            <p:cNvSpPr>
              <a:spLocks noEditPoints="1"/>
            </p:cNvSpPr>
            <p:nvPr userDrawn="1"/>
          </p:nvSpPr>
          <p:spPr bwMode="auto">
            <a:xfrm>
              <a:off x="2973388" y="2178050"/>
              <a:ext cx="88900" cy="407988"/>
            </a:xfrm>
            <a:custGeom>
              <a:avLst/>
              <a:gdLst>
                <a:gd name="T0" fmla="*/ 19 w 167"/>
                <a:gd name="T1" fmla="*/ 770 h 770"/>
                <a:gd name="T2" fmla="*/ 18 w 167"/>
                <a:gd name="T3" fmla="*/ 770 h 770"/>
                <a:gd name="T4" fmla="*/ 18 w 167"/>
                <a:gd name="T5" fmla="*/ 770 h 770"/>
                <a:gd name="T6" fmla="*/ 12 w 167"/>
                <a:gd name="T7" fmla="*/ 767 h 770"/>
                <a:gd name="T8" fmla="*/ 9 w 167"/>
                <a:gd name="T9" fmla="*/ 765 h 770"/>
                <a:gd name="T10" fmla="*/ 6 w 167"/>
                <a:gd name="T11" fmla="*/ 761 h 770"/>
                <a:gd name="T12" fmla="*/ 5 w 167"/>
                <a:gd name="T13" fmla="*/ 756 h 770"/>
                <a:gd name="T14" fmla="*/ 0 w 167"/>
                <a:gd name="T15" fmla="*/ 169 h 770"/>
                <a:gd name="T16" fmla="*/ 1 w 167"/>
                <a:gd name="T17" fmla="*/ 165 h 770"/>
                <a:gd name="T18" fmla="*/ 4 w 167"/>
                <a:gd name="T19" fmla="*/ 161 h 770"/>
                <a:gd name="T20" fmla="*/ 143 w 167"/>
                <a:gd name="T21" fmla="*/ 4 h 770"/>
                <a:gd name="T22" fmla="*/ 146 w 167"/>
                <a:gd name="T23" fmla="*/ 1 h 770"/>
                <a:gd name="T24" fmla="*/ 150 w 167"/>
                <a:gd name="T25" fmla="*/ 0 h 770"/>
                <a:gd name="T26" fmla="*/ 155 w 167"/>
                <a:gd name="T27" fmla="*/ 0 h 770"/>
                <a:gd name="T28" fmla="*/ 159 w 167"/>
                <a:gd name="T29" fmla="*/ 1 h 770"/>
                <a:gd name="T30" fmla="*/ 162 w 167"/>
                <a:gd name="T31" fmla="*/ 3 h 770"/>
                <a:gd name="T32" fmla="*/ 166 w 167"/>
                <a:gd name="T33" fmla="*/ 7 h 770"/>
                <a:gd name="T34" fmla="*/ 167 w 167"/>
                <a:gd name="T35" fmla="*/ 11 h 770"/>
                <a:gd name="T36" fmla="*/ 167 w 167"/>
                <a:gd name="T37" fmla="*/ 15 h 770"/>
                <a:gd name="T38" fmla="*/ 32 w 167"/>
                <a:gd name="T39" fmla="*/ 758 h 770"/>
                <a:gd name="T40" fmla="*/ 31 w 167"/>
                <a:gd name="T41" fmla="*/ 762 h 770"/>
                <a:gd name="T42" fmla="*/ 27 w 167"/>
                <a:gd name="T43" fmla="*/ 766 h 770"/>
                <a:gd name="T44" fmla="*/ 23 w 167"/>
                <a:gd name="T45" fmla="*/ 769 h 770"/>
                <a:gd name="T46" fmla="*/ 19 w 167"/>
                <a:gd name="T47" fmla="*/ 770 h 770"/>
                <a:gd name="T48" fmla="*/ 27 w 167"/>
                <a:gd name="T49" fmla="*/ 175 h 770"/>
                <a:gd name="T50" fmla="*/ 27 w 167"/>
                <a:gd name="T51" fmla="*/ 175 h 770"/>
                <a:gd name="T52" fmla="*/ 31 w 167"/>
                <a:gd name="T53" fmla="*/ 612 h 770"/>
                <a:gd name="T54" fmla="*/ 131 w 167"/>
                <a:gd name="T55" fmla="*/ 58 h 770"/>
                <a:gd name="T56" fmla="*/ 27 w 167"/>
                <a:gd name="T57" fmla="*/ 175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7" h="770">
                  <a:moveTo>
                    <a:pt x="19" y="770"/>
                  </a:moveTo>
                  <a:lnTo>
                    <a:pt x="18" y="770"/>
                  </a:lnTo>
                  <a:lnTo>
                    <a:pt x="18" y="770"/>
                  </a:lnTo>
                  <a:lnTo>
                    <a:pt x="12" y="767"/>
                  </a:lnTo>
                  <a:lnTo>
                    <a:pt x="9" y="765"/>
                  </a:lnTo>
                  <a:lnTo>
                    <a:pt x="6" y="761"/>
                  </a:lnTo>
                  <a:lnTo>
                    <a:pt x="5" y="756"/>
                  </a:lnTo>
                  <a:lnTo>
                    <a:pt x="0" y="169"/>
                  </a:lnTo>
                  <a:lnTo>
                    <a:pt x="1" y="165"/>
                  </a:lnTo>
                  <a:lnTo>
                    <a:pt x="4" y="161"/>
                  </a:lnTo>
                  <a:lnTo>
                    <a:pt x="143" y="4"/>
                  </a:lnTo>
                  <a:lnTo>
                    <a:pt x="146" y="1"/>
                  </a:lnTo>
                  <a:lnTo>
                    <a:pt x="150" y="0"/>
                  </a:lnTo>
                  <a:lnTo>
                    <a:pt x="155" y="0"/>
                  </a:lnTo>
                  <a:lnTo>
                    <a:pt x="159" y="1"/>
                  </a:lnTo>
                  <a:lnTo>
                    <a:pt x="162" y="3"/>
                  </a:lnTo>
                  <a:lnTo>
                    <a:pt x="166" y="7"/>
                  </a:lnTo>
                  <a:lnTo>
                    <a:pt x="167" y="11"/>
                  </a:lnTo>
                  <a:lnTo>
                    <a:pt x="167" y="15"/>
                  </a:lnTo>
                  <a:lnTo>
                    <a:pt x="32" y="758"/>
                  </a:lnTo>
                  <a:lnTo>
                    <a:pt x="31" y="762"/>
                  </a:lnTo>
                  <a:lnTo>
                    <a:pt x="27" y="766"/>
                  </a:lnTo>
                  <a:lnTo>
                    <a:pt x="23" y="769"/>
                  </a:lnTo>
                  <a:lnTo>
                    <a:pt x="19" y="770"/>
                  </a:lnTo>
                  <a:close/>
                  <a:moveTo>
                    <a:pt x="27" y="175"/>
                  </a:moveTo>
                  <a:lnTo>
                    <a:pt x="27" y="175"/>
                  </a:lnTo>
                  <a:lnTo>
                    <a:pt x="31" y="612"/>
                  </a:lnTo>
                  <a:lnTo>
                    <a:pt x="131" y="58"/>
                  </a:lnTo>
                  <a:lnTo>
                    <a:pt x="27" y="1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225"/>
            <p:cNvSpPr>
              <a:spLocks noEditPoints="1"/>
            </p:cNvSpPr>
            <p:nvPr userDrawn="1"/>
          </p:nvSpPr>
          <p:spPr bwMode="auto">
            <a:xfrm>
              <a:off x="2882900" y="2354263"/>
              <a:ext cx="111125" cy="349250"/>
            </a:xfrm>
            <a:custGeom>
              <a:avLst/>
              <a:gdLst>
                <a:gd name="T0" fmla="*/ 14 w 209"/>
                <a:gd name="T1" fmla="*/ 661 h 661"/>
                <a:gd name="T2" fmla="*/ 10 w 209"/>
                <a:gd name="T3" fmla="*/ 661 h 661"/>
                <a:gd name="T4" fmla="*/ 7 w 209"/>
                <a:gd name="T5" fmla="*/ 660 h 661"/>
                <a:gd name="T6" fmla="*/ 4 w 209"/>
                <a:gd name="T7" fmla="*/ 657 h 661"/>
                <a:gd name="T8" fmla="*/ 1 w 209"/>
                <a:gd name="T9" fmla="*/ 653 h 661"/>
                <a:gd name="T10" fmla="*/ 0 w 209"/>
                <a:gd name="T11" fmla="*/ 649 h 661"/>
                <a:gd name="T12" fmla="*/ 1 w 209"/>
                <a:gd name="T13" fmla="*/ 645 h 661"/>
                <a:gd name="T14" fmla="*/ 182 w 209"/>
                <a:gd name="T15" fmla="*/ 10 h 661"/>
                <a:gd name="T16" fmla="*/ 184 w 209"/>
                <a:gd name="T17" fmla="*/ 6 h 661"/>
                <a:gd name="T18" fmla="*/ 188 w 209"/>
                <a:gd name="T19" fmla="*/ 3 h 661"/>
                <a:gd name="T20" fmla="*/ 192 w 209"/>
                <a:gd name="T21" fmla="*/ 0 h 661"/>
                <a:gd name="T22" fmla="*/ 197 w 209"/>
                <a:gd name="T23" fmla="*/ 0 h 661"/>
                <a:gd name="T24" fmla="*/ 202 w 209"/>
                <a:gd name="T25" fmla="*/ 1 h 661"/>
                <a:gd name="T26" fmla="*/ 206 w 209"/>
                <a:gd name="T27" fmla="*/ 5 h 661"/>
                <a:gd name="T28" fmla="*/ 208 w 209"/>
                <a:gd name="T29" fmla="*/ 9 h 661"/>
                <a:gd name="T30" fmla="*/ 209 w 209"/>
                <a:gd name="T31" fmla="*/ 13 h 661"/>
                <a:gd name="T32" fmla="*/ 199 w 209"/>
                <a:gd name="T33" fmla="*/ 435 h 661"/>
                <a:gd name="T34" fmla="*/ 199 w 209"/>
                <a:gd name="T35" fmla="*/ 440 h 661"/>
                <a:gd name="T36" fmla="*/ 197 w 209"/>
                <a:gd name="T37" fmla="*/ 443 h 661"/>
                <a:gd name="T38" fmla="*/ 23 w 209"/>
                <a:gd name="T39" fmla="*/ 657 h 661"/>
                <a:gd name="T40" fmla="*/ 21 w 209"/>
                <a:gd name="T41" fmla="*/ 659 h 661"/>
                <a:gd name="T42" fmla="*/ 19 w 209"/>
                <a:gd name="T43" fmla="*/ 660 h 661"/>
                <a:gd name="T44" fmla="*/ 16 w 209"/>
                <a:gd name="T45" fmla="*/ 661 h 661"/>
                <a:gd name="T46" fmla="*/ 14 w 209"/>
                <a:gd name="T47" fmla="*/ 661 h 661"/>
                <a:gd name="T48" fmla="*/ 179 w 209"/>
                <a:gd name="T49" fmla="*/ 117 h 661"/>
                <a:gd name="T50" fmla="*/ 179 w 209"/>
                <a:gd name="T51" fmla="*/ 117 h 661"/>
                <a:gd name="T52" fmla="*/ 45 w 209"/>
                <a:gd name="T53" fmla="*/ 588 h 661"/>
                <a:gd name="T54" fmla="*/ 172 w 209"/>
                <a:gd name="T55" fmla="*/ 430 h 661"/>
                <a:gd name="T56" fmla="*/ 179 w 209"/>
                <a:gd name="T57" fmla="*/ 11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661">
                  <a:moveTo>
                    <a:pt x="14" y="661"/>
                  </a:moveTo>
                  <a:lnTo>
                    <a:pt x="10" y="661"/>
                  </a:lnTo>
                  <a:lnTo>
                    <a:pt x="7" y="660"/>
                  </a:lnTo>
                  <a:lnTo>
                    <a:pt x="4" y="657"/>
                  </a:lnTo>
                  <a:lnTo>
                    <a:pt x="1" y="653"/>
                  </a:lnTo>
                  <a:lnTo>
                    <a:pt x="0" y="649"/>
                  </a:lnTo>
                  <a:lnTo>
                    <a:pt x="1" y="645"/>
                  </a:lnTo>
                  <a:lnTo>
                    <a:pt x="182" y="10"/>
                  </a:lnTo>
                  <a:lnTo>
                    <a:pt x="184" y="6"/>
                  </a:lnTo>
                  <a:lnTo>
                    <a:pt x="188" y="3"/>
                  </a:lnTo>
                  <a:lnTo>
                    <a:pt x="192" y="0"/>
                  </a:lnTo>
                  <a:lnTo>
                    <a:pt x="197" y="0"/>
                  </a:lnTo>
                  <a:lnTo>
                    <a:pt x="202" y="1"/>
                  </a:lnTo>
                  <a:lnTo>
                    <a:pt x="206" y="5"/>
                  </a:lnTo>
                  <a:lnTo>
                    <a:pt x="208" y="9"/>
                  </a:lnTo>
                  <a:lnTo>
                    <a:pt x="209" y="13"/>
                  </a:lnTo>
                  <a:lnTo>
                    <a:pt x="199" y="435"/>
                  </a:lnTo>
                  <a:lnTo>
                    <a:pt x="199" y="440"/>
                  </a:lnTo>
                  <a:lnTo>
                    <a:pt x="197" y="443"/>
                  </a:lnTo>
                  <a:lnTo>
                    <a:pt x="23" y="657"/>
                  </a:lnTo>
                  <a:lnTo>
                    <a:pt x="21" y="659"/>
                  </a:lnTo>
                  <a:lnTo>
                    <a:pt x="19" y="660"/>
                  </a:lnTo>
                  <a:lnTo>
                    <a:pt x="16" y="661"/>
                  </a:lnTo>
                  <a:lnTo>
                    <a:pt x="14" y="661"/>
                  </a:lnTo>
                  <a:close/>
                  <a:moveTo>
                    <a:pt x="179" y="117"/>
                  </a:moveTo>
                  <a:lnTo>
                    <a:pt x="179" y="117"/>
                  </a:lnTo>
                  <a:lnTo>
                    <a:pt x="45" y="588"/>
                  </a:lnTo>
                  <a:lnTo>
                    <a:pt x="172" y="430"/>
                  </a:lnTo>
                  <a:lnTo>
                    <a:pt x="179" y="11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226"/>
            <p:cNvSpPr>
              <a:spLocks noEditPoints="1"/>
            </p:cNvSpPr>
            <p:nvPr userDrawn="1"/>
          </p:nvSpPr>
          <p:spPr bwMode="auto">
            <a:xfrm>
              <a:off x="2768600" y="2425700"/>
              <a:ext cx="85725" cy="361950"/>
            </a:xfrm>
            <a:custGeom>
              <a:avLst/>
              <a:gdLst>
                <a:gd name="T0" fmla="*/ 81 w 162"/>
                <a:gd name="T1" fmla="*/ 684 h 684"/>
                <a:gd name="T2" fmla="*/ 76 w 162"/>
                <a:gd name="T3" fmla="*/ 683 h 684"/>
                <a:gd name="T4" fmla="*/ 72 w 162"/>
                <a:gd name="T5" fmla="*/ 680 h 684"/>
                <a:gd name="T6" fmla="*/ 69 w 162"/>
                <a:gd name="T7" fmla="*/ 677 h 684"/>
                <a:gd name="T8" fmla="*/ 68 w 162"/>
                <a:gd name="T9" fmla="*/ 672 h 684"/>
                <a:gd name="T10" fmla="*/ 0 w 162"/>
                <a:gd name="T11" fmla="*/ 177 h 684"/>
                <a:gd name="T12" fmla="*/ 0 w 162"/>
                <a:gd name="T13" fmla="*/ 174 h 684"/>
                <a:gd name="T14" fmla="*/ 1 w 162"/>
                <a:gd name="T15" fmla="*/ 172 h 684"/>
                <a:gd name="T16" fmla="*/ 2 w 162"/>
                <a:gd name="T17" fmla="*/ 169 h 684"/>
                <a:gd name="T18" fmla="*/ 3 w 162"/>
                <a:gd name="T19" fmla="*/ 167 h 684"/>
                <a:gd name="T20" fmla="*/ 138 w 162"/>
                <a:gd name="T21" fmla="*/ 5 h 684"/>
                <a:gd name="T22" fmla="*/ 141 w 162"/>
                <a:gd name="T23" fmla="*/ 3 h 684"/>
                <a:gd name="T24" fmla="*/ 145 w 162"/>
                <a:gd name="T25" fmla="*/ 0 h 684"/>
                <a:gd name="T26" fmla="*/ 150 w 162"/>
                <a:gd name="T27" fmla="*/ 0 h 684"/>
                <a:gd name="T28" fmla="*/ 154 w 162"/>
                <a:gd name="T29" fmla="*/ 1 h 684"/>
                <a:gd name="T30" fmla="*/ 157 w 162"/>
                <a:gd name="T31" fmla="*/ 4 h 684"/>
                <a:gd name="T32" fmla="*/ 161 w 162"/>
                <a:gd name="T33" fmla="*/ 7 h 684"/>
                <a:gd name="T34" fmla="*/ 162 w 162"/>
                <a:gd name="T35" fmla="*/ 11 h 684"/>
                <a:gd name="T36" fmla="*/ 162 w 162"/>
                <a:gd name="T37" fmla="*/ 16 h 684"/>
                <a:gd name="T38" fmla="*/ 95 w 162"/>
                <a:gd name="T39" fmla="*/ 672 h 684"/>
                <a:gd name="T40" fmla="*/ 93 w 162"/>
                <a:gd name="T41" fmla="*/ 676 h 684"/>
                <a:gd name="T42" fmla="*/ 90 w 162"/>
                <a:gd name="T43" fmla="*/ 680 h 684"/>
                <a:gd name="T44" fmla="*/ 86 w 162"/>
                <a:gd name="T45" fmla="*/ 683 h 684"/>
                <a:gd name="T46" fmla="*/ 82 w 162"/>
                <a:gd name="T47" fmla="*/ 684 h 684"/>
                <a:gd name="T48" fmla="*/ 81 w 162"/>
                <a:gd name="T49" fmla="*/ 684 h 684"/>
                <a:gd name="T50" fmla="*/ 81 w 162"/>
                <a:gd name="T51" fmla="*/ 684 h 684"/>
                <a:gd name="T52" fmla="*/ 28 w 162"/>
                <a:gd name="T53" fmla="*/ 180 h 684"/>
                <a:gd name="T54" fmla="*/ 28 w 162"/>
                <a:gd name="T55" fmla="*/ 180 h 684"/>
                <a:gd name="T56" fmla="*/ 80 w 162"/>
                <a:gd name="T57" fmla="*/ 556 h 684"/>
                <a:gd name="T58" fmla="*/ 130 w 162"/>
                <a:gd name="T59" fmla="*/ 57 h 684"/>
                <a:gd name="T60" fmla="*/ 28 w 162"/>
                <a:gd name="T61" fmla="*/ 18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2" h="684">
                  <a:moveTo>
                    <a:pt x="81" y="684"/>
                  </a:moveTo>
                  <a:lnTo>
                    <a:pt x="76" y="683"/>
                  </a:lnTo>
                  <a:lnTo>
                    <a:pt x="72" y="680"/>
                  </a:lnTo>
                  <a:lnTo>
                    <a:pt x="69" y="677"/>
                  </a:lnTo>
                  <a:lnTo>
                    <a:pt x="68" y="672"/>
                  </a:lnTo>
                  <a:lnTo>
                    <a:pt x="0" y="177"/>
                  </a:lnTo>
                  <a:lnTo>
                    <a:pt x="0" y="174"/>
                  </a:lnTo>
                  <a:lnTo>
                    <a:pt x="1" y="172"/>
                  </a:lnTo>
                  <a:lnTo>
                    <a:pt x="2" y="169"/>
                  </a:lnTo>
                  <a:lnTo>
                    <a:pt x="3" y="167"/>
                  </a:lnTo>
                  <a:lnTo>
                    <a:pt x="138" y="5"/>
                  </a:lnTo>
                  <a:lnTo>
                    <a:pt x="141" y="3"/>
                  </a:lnTo>
                  <a:lnTo>
                    <a:pt x="145" y="0"/>
                  </a:lnTo>
                  <a:lnTo>
                    <a:pt x="150" y="0"/>
                  </a:lnTo>
                  <a:lnTo>
                    <a:pt x="154" y="1"/>
                  </a:lnTo>
                  <a:lnTo>
                    <a:pt x="157" y="4"/>
                  </a:lnTo>
                  <a:lnTo>
                    <a:pt x="161" y="7"/>
                  </a:lnTo>
                  <a:lnTo>
                    <a:pt x="162" y="11"/>
                  </a:lnTo>
                  <a:lnTo>
                    <a:pt x="162" y="16"/>
                  </a:lnTo>
                  <a:lnTo>
                    <a:pt x="95" y="672"/>
                  </a:lnTo>
                  <a:lnTo>
                    <a:pt x="93" y="676"/>
                  </a:lnTo>
                  <a:lnTo>
                    <a:pt x="90" y="680"/>
                  </a:lnTo>
                  <a:lnTo>
                    <a:pt x="86" y="683"/>
                  </a:lnTo>
                  <a:lnTo>
                    <a:pt x="82" y="684"/>
                  </a:lnTo>
                  <a:lnTo>
                    <a:pt x="81" y="684"/>
                  </a:lnTo>
                  <a:lnTo>
                    <a:pt x="81" y="684"/>
                  </a:lnTo>
                  <a:close/>
                  <a:moveTo>
                    <a:pt x="28" y="180"/>
                  </a:moveTo>
                  <a:lnTo>
                    <a:pt x="28" y="180"/>
                  </a:lnTo>
                  <a:lnTo>
                    <a:pt x="80" y="556"/>
                  </a:lnTo>
                  <a:lnTo>
                    <a:pt x="130" y="57"/>
                  </a:lnTo>
                  <a:lnTo>
                    <a:pt x="28" y="18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227"/>
            <p:cNvSpPr>
              <a:spLocks noEditPoints="1"/>
            </p:cNvSpPr>
            <p:nvPr userDrawn="1"/>
          </p:nvSpPr>
          <p:spPr bwMode="auto">
            <a:xfrm>
              <a:off x="2701925" y="2595563"/>
              <a:ext cx="95250" cy="314325"/>
            </a:xfrm>
            <a:custGeom>
              <a:avLst/>
              <a:gdLst>
                <a:gd name="T0" fmla="*/ 13 w 181"/>
                <a:gd name="T1" fmla="*/ 595 h 595"/>
                <a:gd name="T2" fmla="*/ 9 w 181"/>
                <a:gd name="T3" fmla="*/ 594 h 595"/>
                <a:gd name="T4" fmla="*/ 5 w 181"/>
                <a:gd name="T5" fmla="*/ 591 h 595"/>
                <a:gd name="T6" fmla="*/ 1 w 181"/>
                <a:gd name="T7" fmla="*/ 587 h 595"/>
                <a:gd name="T8" fmla="*/ 0 w 181"/>
                <a:gd name="T9" fmla="*/ 583 h 595"/>
                <a:gd name="T10" fmla="*/ 0 w 181"/>
                <a:gd name="T11" fmla="*/ 578 h 595"/>
                <a:gd name="T12" fmla="*/ 3 w 181"/>
                <a:gd name="T13" fmla="*/ 574 h 595"/>
                <a:gd name="T14" fmla="*/ 8 w 181"/>
                <a:gd name="T15" fmla="*/ 551 h 595"/>
                <a:gd name="T16" fmla="*/ 17 w 181"/>
                <a:gd name="T17" fmla="*/ 505 h 595"/>
                <a:gd name="T18" fmla="*/ 30 w 181"/>
                <a:gd name="T19" fmla="*/ 441 h 595"/>
                <a:gd name="T20" fmla="*/ 44 w 181"/>
                <a:gd name="T21" fmla="*/ 363 h 595"/>
                <a:gd name="T22" fmla="*/ 59 w 181"/>
                <a:gd name="T23" fmla="*/ 276 h 595"/>
                <a:gd name="T24" fmla="*/ 75 w 181"/>
                <a:gd name="T25" fmla="*/ 186 h 595"/>
                <a:gd name="T26" fmla="*/ 90 w 181"/>
                <a:gd name="T27" fmla="*/ 95 h 595"/>
                <a:gd name="T28" fmla="*/ 105 w 181"/>
                <a:gd name="T29" fmla="*/ 11 h 595"/>
                <a:gd name="T30" fmla="*/ 106 w 181"/>
                <a:gd name="T31" fmla="*/ 6 h 595"/>
                <a:gd name="T32" fmla="*/ 109 w 181"/>
                <a:gd name="T33" fmla="*/ 2 h 595"/>
                <a:gd name="T34" fmla="*/ 114 w 181"/>
                <a:gd name="T35" fmla="*/ 0 h 595"/>
                <a:gd name="T36" fmla="*/ 118 w 181"/>
                <a:gd name="T37" fmla="*/ 0 h 595"/>
                <a:gd name="T38" fmla="*/ 123 w 181"/>
                <a:gd name="T39" fmla="*/ 0 h 595"/>
                <a:gd name="T40" fmla="*/ 127 w 181"/>
                <a:gd name="T41" fmla="*/ 3 h 595"/>
                <a:gd name="T42" fmla="*/ 130 w 181"/>
                <a:gd name="T43" fmla="*/ 6 h 595"/>
                <a:gd name="T44" fmla="*/ 131 w 181"/>
                <a:gd name="T45" fmla="*/ 11 h 595"/>
                <a:gd name="T46" fmla="*/ 181 w 181"/>
                <a:gd name="T47" fmla="*/ 397 h 595"/>
                <a:gd name="T48" fmla="*/ 181 w 181"/>
                <a:gd name="T49" fmla="*/ 399 h 595"/>
                <a:gd name="T50" fmla="*/ 181 w 181"/>
                <a:gd name="T51" fmla="*/ 402 h 595"/>
                <a:gd name="T52" fmla="*/ 180 w 181"/>
                <a:gd name="T53" fmla="*/ 405 h 595"/>
                <a:gd name="T54" fmla="*/ 179 w 181"/>
                <a:gd name="T55" fmla="*/ 408 h 595"/>
                <a:gd name="T56" fmla="*/ 24 w 181"/>
                <a:gd name="T57" fmla="*/ 589 h 595"/>
                <a:gd name="T58" fmla="*/ 24 w 181"/>
                <a:gd name="T59" fmla="*/ 589 h 595"/>
                <a:gd name="T60" fmla="*/ 24 w 181"/>
                <a:gd name="T61" fmla="*/ 589 h 595"/>
                <a:gd name="T62" fmla="*/ 22 w 181"/>
                <a:gd name="T63" fmla="*/ 591 h 595"/>
                <a:gd name="T64" fmla="*/ 20 w 181"/>
                <a:gd name="T65" fmla="*/ 594 h 595"/>
                <a:gd name="T66" fmla="*/ 17 w 181"/>
                <a:gd name="T67" fmla="*/ 595 h 595"/>
                <a:gd name="T68" fmla="*/ 13 w 181"/>
                <a:gd name="T69" fmla="*/ 595 h 595"/>
                <a:gd name="T70" fmla="*/ 116 w 181"/>
                <a:gd name="T71" fmla="*/ 105 h 595"/>
                <a:gd name="T72" fmla="*/ 116 w 181"/>
                <a:gd name="T73" fmla="*/ 105 h 595"/>
                <a:gd name="T74" fmla="*/ 102 w 181"/>
                <a:gd name="T75" fmla="*/ 191 h 595"/>
                <a:gd name="T76" fmla="*/ 88 w 181"/>
                <a:gd name="T77" fmla="*/ 265 h 595"/>
                <a:gd name="T78" fmla="*/ 77 w 181"/>
                <a:gd name="T79" fmla="*/ 330 h 595"/>
                <a:gd name="T80" fmla="*/ 67 w 181"/>
                <a:gd name="T81" fmla="*/ 386 h 595"/>
                <a:gd name="T82" fmla="*/ 59 w 181"/>
                <a:gd name="T83" fmla="*/ 433 h 595"/>
                <a:gd name="T84" fmla="*/ 51 w 181"/>
                <a:gd name="T85" fmla="*/ 473 h 595"/>
                <a:gd name="T86" fmla="*/ 45 w 181"/>
                <a:gd name="T87" fmla="*/ 504 h 595"/>
                <a:gd name="T88" fmla="*/ 39 w 181"/>
                <a:gd name="T89" fmla="*/ 530 h 595"/>
                <a:gd name="T90" fmla="*/ 154 w 181"/>
                <a:gd name="T91" fmla="*/ 395 h 595"/>
                <a:gd name="T92" fmla="*/ 116 w 181"/>
                <a:gd name="T93" fmla="*/ 105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 h="595">
                  <a:moveTo>
                    <a:pt x="13" y="595"/>
                  </a:moveTo>
                  <a:lnTo>
                    <a:pt x="9" y="594"/>
                  </a:lnTo>
                  <a:lnTo>
                    <a:pt x="5" y="591"/>
                  </a:lnTo>
                  <a:lnTo>
                    <a:pt x="1" y="587"/>
                  </a:lnTo>
                  <a:lnTo>
                    <a:pt x="0" y="583"/>
                  </a:lnTo>
                  <a:lnTo>
                    <a:pt x="0" y="578"/>
                  </a:lnTo>
                  <a:lnTo>
                    <a:pt x="3" y="574"/>
                  </a:lnTo>
                  <a:lnTo>
                    <a:pt x="8" y="551"/>
                  </a:lnTo>
                  <a:lnTo>
                    <a:pt x="17" y="505"/>
                  </a:lnTo>
                  <a:lnTo>
                    <a:pt x="30" y="441"/>
                  </a:lnTo>
                  <a:lnTo>
                    <a:pt x="44" y="363"/>
                  </a:lnTo>
                  <a:lnTo>
                    <a:pt x="59" y="276"/>
                  </a:lnTo>
                  <a:lnTo>
                    <a:pt x="75" y="186"/>
                  </a:lnTo>
                  <a:lnTo>
                    <a:pt x="90" y="95"/>
                  </a:lnTo>
                  <a:lnTo>
                    <a:pt x="105" y="11"/>
                  </a:lnTo>
                  <a:lnTo>
                    <a:pt x="106" y="6"/>
                  </a:lnTo>
                  <a:lnTo>
                    <a:pt x="109" y="2"/>
                  </a:lnTo>
                  <a:lnTo>
                    <a:pt x="114" y="0"/>
                  </a:lnTo>
                  <a:lnTo>
                    <a:pt x="118" y="0"/>
                  </a:lnTo>
                  <a:lnTo>
                    <a:pt x="123" y="0"/>
                  </a:lnTo>
                  <a:lnTo>
                    <a:pt x="127" y="3"/>
                  </a:lnTo>
                  <a:lnTo>
                    <a:pt x="130" y="6"/>
                  </a:lnTo>
                  <a:lnTo>
                    <a:pt x="131" y="11"/>
                  </a:lnTo>
                  <a:lnTo>
                    <a:pt x="181" y="397"/>
                  </a:lnTo>
                  <a:lnTo>
                    <a:pt x="181" y="399"/>
                  </a:lnTo>
                  <a:lnTo>
                    <a:pt x="181" y="402"/>
                  </a:lnTo>
                  <a:lnTo>
                    <a:pt x="180" y="405"/>
                  </a:lnTo>
                  <a:lnTo>
                    <a:pt x="179" y="408"/>
                  </a:lnTo>
                  <a:lnTo>
                    <a:pt x="24" y="589"/>
                  </a:lnTo>
                  <a:lnTo>
                    <a:pt x="24" y="589"/>
                  </a:lnTo>
                  <a:lnTo>
                    <a:pt x="24" y="589"/>
                  </a:lnTo>
                  <a:lnTo>
                    <a:pt x="22" y="591"/>
                  </a:lnTo>
                  <a:lnTo>
                    <a:pt x="20" y="594"/>
                  </a:lnTo>
                  <a:lnTo>
                    <a:pt x="17" y="595"/>
                  </a:lnTo>
                  <a:lnTo>
                    <a:pt x="13" y="595"/>
                  </a:lnTo>
                  <a:close/>
                  <a:moveTo>
                    <a:pt x="116" y="105"/>
                  </a:moveTo>
                  <a:lnTo>
                    <a:pt x="116" y="105"/>
                  </a:lnTo>
                  <a:lnTo>
                    <a:pt x="102" y="191"/>
                  </a:lnTo>
                  <a:lnTo>
                    <a:pt x="88" y="265"/>
                  </a:lnTo>
                  <a:lnTo>
                    <a:pt x="77" y="330"/>
                  </a:lnTo>
                  <a:lnTo>
                    <a:pt x="67" y="386"/>
                  </a:lnTo>
                  <a:lnTo>
                    <a:pt x="59" y="433"/>
                  </a:lnTo>
                  <a:lnTo>
                    <a:pt x="51" y="473"/>
                  </a:lnTo>
                  <a:lnTo>
                    <a:pt x="45" y="504"/>
                  </a:lnTo>
                  <a:lnTo>
                    <a:pt x="39" y="530"/>
                  </a:lnTo>
                  <a:lnTo>
                    <a:pt x="154" y="395"/>
                  </a:lnTo>
                  <a:lnTo>
                    <a:pt x="116" y="10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228"/>
            <p:cNvSpPr>
              <a:spLocks/>
            </p:cNvSpPr>
            <p:nvPr userDrawn="1"/>
          </p:nvSpPr>
          <p:spPr bwMode="auto">
            <a:xfrm>
              <a:off x="4337050" y="5413375"/>
              <a:ext cx="687388" cy="95250"/>
            </a:xfrm>
            <a:custGeom>
              <a:avLst/>
              <a:gdLst>
                <a:gd name="T0" fmla="*/ 11 w 1299"/>
                <a:gd name="T1" fmla="*/ 181 h 181"/>
                <a:gd name="T2" fmla="*/ 4 w 1299"/>
                <a:gd name="T3" fmla="*/ 178 h 181"/>
                <a:gd name="T4" fmla="*/ 0 w 1299"/>
                <a:gd name="T5" fmla="*/ 171 h 181"/>
                <a:gd name="T6" fmla="*/ 2 w 1299"/>
                <a:gd name="T7" fmla="*/ 161 h 181"/>
                <a:gd name="T8" fmla="*/ 11 w 1299"/>
                <a:gd name="T9" fmla="*/ 153 h 181"/>
                <a:gd name="T10" fmla="*/ 52 w 1299"/>
                <a:gd name="T11" fmla="*/ 130 h 181"/>
                <a:gd name="T12" fmla="*/ 108 w 1299"/>
                <a:gd name="T13" fmla="*/ 104 h 181"/>
                <a:gd name="T14" fmla="*/ 159 w 1299"/>
                <a:gd name="T15" fmla="*/ 83 h 181"/>
                <a:gd name="T16" fmla="*/ 218 w 1299"/>
                <a:gd name="T17" fmla="*/ 63 h 181"/>
                <a:gd name="T18" fmla="*/ 288 w 1299"/>
                <a:gd name="T19" fmla="*/ 44 h 181"/>
                <a:gd name="T20" fmla="*/ 368 w 1299"/>
                <a:gd name="T21" fmla="*/ 27 h 181"/>
                <a:gd name="T22" fmla="*/ 458 w 1299"/>
                <a:gd name="T23" fmla="*/ 13 h 181"/>
                <a:gd name="T24" fmla="*/ 558 w 1299"/>
                <a:gd name="T25" fmla="*/ 4 h 181"/>
                <a:gd name="T26" fmla="*/ 668 w 1299"/>
                <a:gd name="T27" fmla="*/ 0 h 181"/>
                <a:gd name="T28" fmla="*/ 788 w 1299"/>
                <a:gd name="T29" fmla="*/ 4 h 181"/>
                <a:gd name="T30" fmla="*/ 919 w 1299"/>
                <a:gd name="T31" fmla="*/ 15 h 181"/>
                <a:gd name="T32" fmla="*/ 1059 w 1299"/>
                <a:gd name="T33" fmla="*/ 37 h 181"/>
                <a:gd name="T34" fmla="*/ 1209 w 1299"/>
                <a:gd name="T35" fmla="*/ 68 h 181"/>
                <a:gd name="T36" fmla="*/ 1293 w 1299"/>
                <a:gd name="T37" fmla="*/ 91 h 181"/>
                <a:gd name="T38" fmla="*/ 1299 w 1299"/>
                <a:gd name="T39" fmla="*/ 99 h 181"/>
                <a:gd name="T40" fmla="*/ 1296 w 1299"/>
                <a:gd name="T41" fmla="*/ 110 h 181"/>
                <a:gd name="T42" fmla="*/ 1287 w 1299"/>
                <a:gd name="T43" fmla="*/ 114 h 181"/>
                <a:gd name="T44" fmla="*/ 1204 w 1299"/>
                <a:gd name="T45" fmla="*/ 95 h 181"/>
                <a:gd name="T46" fmla="*/ 1056 w 1299"/>
                <a:gd name="T47" fmla="*/ 64 h 181"/>
                <a:gd name="T48" fmla="*/ 918 w 1299"/>
                <a:gd name="T49" fmla="*/ 42 h 181"/>
                <a:gd name="T50" fmla="*/ 789 w 1299"/>
                <a:gd name="T51" fmla="*/ 31 h 181"/>
                <a:gd name="T52" fmla="*/ 672 w 1299"/>
                <a:gd name="T53" fmla="*/ 27 h 181"/>
                <a:gd name="T54" fmla="*/ 564 w 1299"/>
                <a:gd name="T55" fmla="*/ 30 h 181"/>
                <a:gd name="T56" fmla="*/ 465 w 1299"/>
                <a:gd name="T57" fmla="*/ 39 h 181"/>
                <a:gd name="T58" fmla="*/ 377 w 1299"/>
                <a:gd name="T59" fmla="*/ 53 h 181"/>
                <a:gd name="T60" fmla="*/ 298 w 1299"/>
                <a:gd name="T61" fmla="*/ 69 h 181"/>
                <a:gd name="T62" fmla="*/ 230 w 1299"/>
                <a:gd name="T63" fmla="*/ 87 h 181"/>
                <a:gd name="T64" fmla="*/ 170 w 1299"/>
                <a:gd name="T65" fmla="*/ 107 h 181"/>
                <a:gd name="T66" fmla="*/ 122 w 1299"/>
                <a:gd name="T67" fmla="*/ 126 h 181"/>
                <a:gd name="T68" fmla="*/ 67 w 1299"/>
                <a:gd name="T69" fmla="*/ 152 h 181"/>
                <a:gd name="T70" fmla="*/ 27 w 1299"/>
                <a:gd name="T71" fmla="*/ 175 h 181"/>
                <a:gd name="T72" fmla="*/ 17 w 1299"/>
                <a:gd name="T7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9" h="181">
                  <a:moveTo>
                    <a:pt x="13" y="181"/>
                  </a:moveTo>
                  <a:lnTo>
                    <a:pt x="11" y="181"/>
                  </a:lnTo>
                  <a:lnTo>
                    <a:pt x="7" y="180"/>
                  </a:lnTo>
                  <a:lnTo>
                    <a:pt x="4" y="178"/>
                  </a:lnTo>
                  <a:lnTo>
                    <a:pt x="2" y="176"/>
                  </a:lnTo>
                  <a:lnTo>
                    <a:pt x="0" y="171"/>
                  </a:lnTo>
                  <a:lnTo>
                    <a:pt x="0" y="166"/>
                  </a:lnTo>
                  <a:lnTo>
                    <a:pt x="2" y="161"/>
                  </a:lnTo>
                  <a:lnTo>
                    <a:pt x="5" y="158"/>
                  </a:lnTo>
                  <a:lnTo>
                    <a:pt x="11" y="153"/>
                  </a:lnTo>
                  <a:lnTo>
                    <a:pt x="27" y="144"/>
                  </a:lnTo>
                  <a:lnTo>
                    <a:pt x="52" y="130"/>
                  </a:lnTo>
                  <a:lnTo>
                    <a:pt x="87" y="112"/>
                  </a:lnTo>
                  <a:lnTo>
                    <a:pt x="108" y="104"/>
                  </a:lnTo>
                  <a:lnTo>
                    <a:pt x="132" y="93"/>
                  </a:lnTo>
                  <a:lnTo>
                    <a:pt x="159" y="83"/>
                  </a:lnTo>
                  <a:lnTo>
                    <a:pt x="187" y="73"/>
                  </a:lnTo>
                  <a:lnTo>
                    <a:pt x="218" y="63"/>
                  </a:lnTo>
                  <a:lnTo>
                    <a:pt x="251" y="53"/>
                  </a:lnTo>
                  <a:lnTo>
                    <a:pt x="288" y="44"/>
                  </a:lnTo>
                  <a:lnTo>
                    <a:pt x="327" y="35"/>
                  </a:lnTo>
                  <a:lnTo>
                    <a:pt x="368" y="27"/>
                  </a:lnTo>
                  <a:lnTo>
                    <a:pt x="411" y="19"/>
                  </a:lnTo>
                  <a:lnTo>
                    <a:pt x="458" y="13"/>
                  </a:lnTo>
                  <a:lnTo>
                    <a:pt x="506" y="8"/>
                  </a:lnTo>
                  <a:lnTo>
                    <a:pt x="558" y="4"/>
                  </a:lnTo>
                  <a:lnTo>
                    <a:pt x="612" y="1"/>
                  </a:lnTo>
                  <a:lnTo>
                    <a:pt x="668" y="0"/>
                  </a:lnTo>
                  <a:lnTo>
                    <a:pt x="727" y="1"/>
                  </a:lnTo>
                  <a:lnTo>
                    <a:pt x="788" y="4"/>
                  </a:lnTo>
                  <a:lnTo>
                    <a:pt x="852" y="9"/>
                  </a:lnTo>
                  <a:lnTo>
                    <a:pt x="919" y="15"/>
                  </a:lnTo>
                  <a:lnTo>
                    <a:pt x="987" y="25"/>
                  </a:lnTo>
                  <a:lnTo>
                    <a:pt x="1059" y="37"/>
                  </a:lnTo>
                  <a:lnTo>
                    <a:pt x="1133" y="51"/>
                  </a:lnTo>
                  <a:lnTo>
                    <a:pt x="1209" y="68"/>
                  </a:lnTo>
                  <a:lnTo>
                    <a:pt x="1288" y="89"/>
                  </a:lnTo>
                  <a:lnTo>
                    <a:pt x="1293" y="91"/>
                  </a:lnTo>
                  <a:lnTo>
                    <a:pt x="1297" y="95"/>
                  </a:lnTo>
                  <a:lnTo>
                    <a:pt x="1299" y="99"/>
                  </a:lnTo>
                  <a:lnTo>
                    <a:pt x="1298" y="105"/>
                  </a:lnTo>
                  <a:lnTo>
                    <a:pt x="1296" y="110"/>
                  </a:lnTo>
                  <a:lnTo>
                    <a:pt x="1291" y="113"/>
                  </a:lnTo>
                  <a:lnTo>
                    <a:pt x="1287" y="114"/>
                  </a:lnTo>
                  <a:lnTo>
                    <a:pt x="1282" y="114"/>
                  </a:lnTo>
                  <a:lnTo>
                    <a:pt x="1204" y="95"/>
                  </a:lnTo>
                  <a:lnTo>
                    <a:pt x="1128" y="78"/>
                  </a:lnTo>
                  <a:lnTo>
                    <a:pt x="1056" y="64"/>
                  </a:lnTo>
                  <a:lnTo>
                    <a:pt x="985" y="52"/>
                  </a:lnTo>
                  <a:lnTo>
                    <a:pt x="918" y="42"/>
                  </a:lnTo>
                  <a:lnTo>
                    <a:pt x="852" y="36"/>
                  </a:lnTo>
                  <a:lnTo>
                    <a:pt x="789" y="31"/>
                  </a:lnTo>
                  <a:lnTo>
                    <a:pt x="729" y="28"/>
                  </a:lnTo>
                  <a:lnTo>
                    <a:pt x="672" y="27"/>
                  </a:lnTo>
                  <a:lnTo>
                    <a:pt x="616" y="28"/>
                  </a:lnTo>
                  <a:lnTo>
                    <a:pt x="564" y="30"/>
                  </a:lnTo>
                  <a:lnTo>
                    <a:pt x="513" y="35"/>
                  </a:lnTo>
                  <a:lnTo>
                    <a:pt x="465" y="39"/>
                  </a:lnTo>
                  <a:lnTo>
                    <a:pt x="420" y="45"/>
                  </a:lnTo>
                  <a:lnTo>
                    <a:pt x="377" y="53"/>
                  </a:lnTo>
                  <a:lnTo>
                    <a:pt x="337" y="60"/>
                  </a:lnTo>
                  <a:lnTo>
                    <a:pt x="298" y="69"/>
                  </a:lnTo>
                  <a:lnTo>
                    <a:pt x="263" y="78"/>
                  </a:lnTo>
                  <a:lnTo>
                    <a:pt x="230" y="87"/>
                  </a:lnTo>
                  <a:lnTo>
                    <a:pt x="200" y="97"/>
                  </a:lnTo>
                  <a:lnTo>
                    <a:pt x="170" y="107"/>
                  </a:lnTo>
                  <a:lnTo>
                    <a:pt x="146" y="117"/>
                  </a:lnTo>
                  <a:lnTo>
                    <a:pt x="122" y="126"/>
                  </a:lnTo>
                  <a:lnTo>
                    <a:pt x="101" y="136"/>
                  </a:lnTo>
                  <a:lnTo>
                    <a:pt x="67" y="152"/>
                  </a:lnTo>
                  <a:lnTo>
                    <a:pt x="42" y="166"/>
                  </a:lnTo>
                  <a:lnTo>
                    <a:pt x="27" y="175"/>
                  </a:lnTo>
                  <a:lnTo>
                    <a:pt x="21" y="179"/>
                  </a:lnTo>
                  <a:lnTo>
                    <a:pt x="17" y="181"/>
                  </a:lnTo>
                  <a:lnTo>
                    <a:pt x="13" y="18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229"/>
            <p:cNvSpPr>
              <a:spLocks/>
            </p:cNvSpPr>
            <p:nvPr userDrawn="1"/>
          </p:nvSpPr>
          <p:spPr bwMode="auto">
            <a:xfrm>
              <a:off x="4265613" y="5286375"/>
              <a:ext cx="679450" cy="76200"/>
            </a:xfrm>
            <a:custGeom>
              <a:avLst/>
              <a:gdLst>
                <a:gd name="T0" fmla="*/ 1270 w 1285"/>
                <a:gd name="T1" fmla="*/ 144 h 144"/>
                <a:gd name="T2" fmla="*/ 1171 w 1285"/>
                <a:gd name="T3" fmla="*/ 122 h 144"/>
                <a:gd name="T4" fmla="*/ 994 w 1285"/>
                <a:gd name="T5" fmla="*/ 86 h 144"/>
                <a:gd name="T6" fmla="*/ 835 w 1285"/>
                <a:gd name="T7" fmla="*/ 60 h 144"/>
                <a:gd name="T8" fmla="*/ 694 w 1285"/>
                <a:gd name="T9" fmla="*/ 43 h 144"/>
                <a:gd name="T10" fmla="*/ 570 w 1285"/>
                <a:gd name="T11" fmla="*/ 32 h 144"/>
                <a:gd name="T12" fmla="*/ 462 w 1285"/>
                <a:gd name="T13" fmla="*/ 29 h 144"/>
                <a:gd name="T14" fmla="*/ 368 w 1285"/>
                <a:gd name="T15" fmla="*/ 31 h 144"/>
                <a:gd name="T16" fmla="*/ 287 w 1285"/>
                <a:gd name="T17" fmla="*/ 37 h 144"/>
                <a:gd name="T18" fmla="*/ 220 w 1285"/>
                <a:gd name="T19" fmla="*/ 47 h 144"/>
                <a:gd name="T20" fmla="*/ 165 w 1285"/>
                <a:gd name="T21" fmla="*/ 60 h 144"/>
                <a:gd name="T22" fmla="*/ 120 w 1285"/>
                <a:gd name="T23" fmla="*/ 74 h 144"/>
                <a:gd name="T24" fmla="*/ 85 w 1285"/>
                <a:gd name="T25" fmla="*/ 88 h 144"/>
                <a:gd name="T26" fmla="*/ 49 w 1285"/>
                <a:gd name="T27" fmla="*/ 107 h 144"/>
                <a:gd name="T28" fmla="*/ 27 w 1285"/>
                <a:gd name="T29" fmla="*/ 125 h 144"/>
                <a:gd name="T30" fmla="*/ 20 w 1285"/>
                <a:gd name="T31" fmla="*/ 131 h 144"/>
                <a:gd name="T32" fmla="*/ 9 w 1285"/>
                <a:gd name="T33" fmla="*/ 133 h 144"/>
                <a:gd name="T34" fmla="*/ 2 w 1285"/>
                <a:gd name="T35" fmla="*/ 127 h 144"/>
                <a:gd name="T36" fmla="*/ 0 w 1285"/>
                <a:gd name="T37" fmla="*/ 117 h 144"/>
                <a:gd name="T38" fmla="*/ 6 w 1285"/>
                <a:gd name="T39" fmla="*/ 107 h 144"/>
                <a:gd name="T40" fmla="*/ 21 w 1285"/>
                <a:gd name="T41" fmla="*/ 93 h 144"/>
                <a:gd name="T42" fmla="*/ 41 w 1285"/>
                <a:gd name="T43" fmla="*/ 80 h 144"/>
                <a:gd name="T44" fmla="*/ 68 w 1285"/>
                <a:gd name="T45" fmla="*/ 65 h 144"/>
                <a:gd name="T46" fmla="*/ 103 w 1285"/>
                <a:gd name="T47" fmla="*/ 50 h 144"/>
                <a:gd name="T48" fmla="*/ 149 w 1285"/>
                <a:gd name="T49" fmla="*/ 35 h 144"/>
                <a:gd name="T50" fmla="*/ 205 w 1285"/>
                <a:gd name="T51" fmla="*/ 21 h 144"/>
                <a:gd name="T52" fmla="*/ 274 w 1285"/>
                <a:gd name="T53" fmla="*/ 10 h 144"/>
                <a:gd name="T54" fmla="*/ 355 w 1285"/>
                <a:gd name="T55" fmla="*/ 4 h 144"/>
                <a:gd name="T56" fmla="*/ 451 w 1285"/>
                <a:gd name="T57" fmla="*/ 0 h 144"/>
                <a:gd name="T58" fmla="*/ 561 w 1285"/>
                <a:gd name="T59" fmla="*/ 4 h 144"/>
                <a:gd name="T60" fmla="*/ 689 w 1285"/>
                <a:gd name="T61" fmla="*/ 13 h 144"/>
                <a:gd name="T62" fmla="*/ 832 w 1285"/>
                <a:gd name="T63" fmla="*/ 32 h 144"/>
                <a:gd name="T64" fmla="*/ 994 w 1285"/>
                <a:gd name="T65" fmla="*/ 59 h 144"/>
                <a:gd name="T66" fmla="*/ 1176 w 1285"/>
                <a:gd name="T67" fmla="*/ 95 h 144"/>
                <a:gd name="T68" fmla="*/ 1279 w 1285"/>
                <a:gd name="T69" fmla="*/ 120 h 144"/>
                <a:gd name="T70" fmla="*/ 1285 w 1285"/>
                <a:gd name="T71" fmla="*/ 129 h 144"/>
                <a:gd name="T72" fmla="*/ 1283 w 1285"/>
                <a:gd name="T73" fmla="*/ 139 h 144"/>
                <a:gd name="T74" fmla="*/ 1275 w 1285"/>
                <a:gd name="T7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5" h="144">
                  <a:moveTo>
                    <a:pt x="1271" y="144"/>
                  </a:moveTo>
                  <a:lnTo>
                    <a:pt x="1270" y="144"/>
                  </a:lnTo>
                  <a:lnTo>
                    <a:pt x="1267" y="144"/>
                  </a:lnTo>
                  <a:lnTo>
                    <a:pt x="1171" y="122"/>
                  </a:lnTo>
                  <a:lnTo>
                    <a:pt x="1081" y="103"/>
                  </a:lnTo>
                  <a:lnTo>
                    <a:pt x="994" y="86"/>
                  </a:lnTo>
                  <a:lnTo>
                    <a:pt x="912" y="72"/>
                  </a:lnTo>
                  <a:lnTo>
                    <a:pt x="835" y="60"/>
                  </a:lnTo>
                  <a:lnTo>
                    <a:pt x="763" y="50"/>
                  </a:lnTo>
                  <a:lnTo>
                    <a:pt x="694" y="43"/>
                  </a:lnTo>
                  <a:lnTo>
                    <a:pt x="630" y="36"/>
                  </a:lnTo>
                  <a:lnTo>
                    <a:pt x="570" y="32"/>
                  </a:lnTo>
                  <a:lnTo>
                    <a:pt x="514" y="30"/>
                  </a:lnTo>
                  <a:lnTo>
                    <a:pt x="462" y="29"/>
                  </a:lnTo>
                  <a:lnTo>
                    <a:pt x="412" y="29"/>
                  </a:lnTo>
                  <a:lnTo>
                    <a:pt x="368" y="31"/>
                  </a:lnTo>
                  <a:lnTo>
                    <a:pt x="326" y="34"/>
                  </a:lnTo>
                  <a:lnTo>
                    <a:pt x="287" y="37"/>
                  </a:lnTo>
                  <a:lnTo>
                    <a:pt x="252" y="41"/>
                  </a:lnTo>
                  <a:lnTo>
                    <a:pt x="220" y="47"/>
                  </a:lnTo>
                  <a:lnTo>
                    <a:pt x="191" y="53"/>
                  </a:lnTo>
                  <a:lnTo>
                    <a:pt x="165" y="60"/>
                  </a:lnTo>
                  <a:lnTo>
                    <a:pt x="141" y="66"/>
                  </a:lnTo>
                  <a:lnTo>
                    <a:pt x="120" y="74"/>
                  </a:lnTo>
                  <a:lnTo>
                    <a:pt x="101" y="80"/>
                  </a:lnTo>
                  <a:lnTo>
                    <a:pt x="85" y="88"/>
                  </a:lnTo>
                  <a:lnTo>
                    <a:pt x="71" y="94"/>
                  </a:lnTo>
                  <a:lnTo>
                    <a:pt x="49" y="107"/>
                  </a:lnTo>
                  <a:lnTo>
                    <a:pt x="35" y="118"/>
                  </a:lnTo>
                  <a:lnTo>
                    <a:pt x="27" y="125"/>
                  </a:lnTo>
                  <a:lnTo>
                    <a:pt x="23" y="128"/>
                  </a:lnTo>
                  <a:lnTo>
                    <a:pt x="20" y="131"/>
                  </a:lnTo>
                  <a:lnTo>
                    <a:pt x="15" y="133"/>
                  </a:lnTo>
                  <a:lnTo>
                    <a:pt x="9" y="133"/>
                  </a:lnTo>
                  <a:lnTo>
                    <a:pt x="5" y="131"/>
                  </a:lnTo>
                  <a:lnTo>
                    <a:pt x="2" y="127"/>
                  </a:lnTo>
                  <a:lnTo>
                    <a:pt x="0" y="122"/>
                  </a:lnTo>
                  <a:lnTo>
                    <a:pt x="0" y="117"/>
                  </a:lnTo>
                  <a:lnTo>
                    <a:pt x="2" y="112"/>
                  </a:lnTo>
                  <a:lnTo>
                    <a:pt x="6" y="107"/>
                  </a:lnTo>
                  <a:lnTo>
                    <a:pt x="15" y="99"/>
                  </a:lnTo>
                  <a:lnTo>
                    <a:pt x="21" y="93"/>
                  </a:lnTo>
                  <a:lnTo>
                    <a:pt x="30" y="87"/>
                  </a:lnTo>
                  <a:lnTo>
                    <a:pt x="41" y="80"/>
                  </a:lnTo>
                  <a:lnTo>
                    <a:pt x="53" y="73"/>
                  </a:lnTo>
                  <a:lnTo>
                    <a:pt x="68" y="65"/>
                  </a:lnTo>
                  <a:lnTo>
                    <a:pt x="84" y="58"/>
                  </a:lnTo>
                  <a:lnTo>
                    <a:pt x="103" y="50"/>
                  </a:lnTo>
                  <a:lnTo>
                    <a:pt x="124" y="43"/>
                  </a:lnTo>
                  <a:lnTo>
                    <a:pt x="149" y="35"/>
                  </a:lnTo>
                  <a:lnTo>
                    <a:pt x="176" y="27"/>
                  </a:lnTo>
                  <a:lnTo>
                    <a:pt x="205" y="21"/>
                  </a:lnTo>
                  <a:lnTo>
                    <a:pt x="237" y="16"/>
                  </a:lnTo>
                  <a:lnTo>
                    <a:pt x="274" y="10"/>
                  </a:lnTo>
                  <a:lnTo>
                    <a:pt x="313" y="6"/>
                  </a:lnTo>
                  <a:lnTo>
                    <a:pt x="355" y="4"/>
                  </a:lnTo>
                  <a:lnTo>
                    <a:pt x="401" y="2"/>
                  </a:lnTo>
                  <a:lnTo>
                    <a:pt x="451" y="0"/>
                  </a:lnTo>
                  <a:lnTo>
                    <a:pt x="504" y="2"/>
                  </a:lnTo>
                  <a:lnTo>
                    <a:pt x="561" y="4"/>
                  </a:lnTo>
                  <a:lnTo>
                    <a:pt x="623" y="8"/>
                  </a:lnTo>
                  <a:lnTo>
                    <a:pt x="689" y="13"/>
                  </a:lnTo>
                  <a:lnTo>
                    <a:pt x="758" y="22"/>
                  </a:lnTo>
                  <a:lnTo>
                    <a:pt x="832" y="32"/>
                  </a:lnTo>
                  <a:lnTo>
                    <a:pt x="911" y="44"/>
                  </a:lnTo>
                  <a:lnTo>
                    <a:pt x="994" y="59"/>
                  </a:lnTo>
                  <a:lnTo>
                    <a:pt x="1083" y="76"/>
                  </a:lnTo>
                  <a:lnTo>
                    <a:pt x="1176" y="95"/>
                  </a:lnTo>
                  <a:lnTo>
                    <a:pt x="1274" y="118"/>
                  </a:lnTo>
                  <a:lnTo>
                    <a:pt x="1279" y="120"/>
                  </a:lnTo>
                  <a:lnTo>
                    <a:pt x="1283" y="123"/>
                  </a:lnTo>
                  <a:lnTo>
                    <a:pt x="1285" y="129"/>
                  </a:lnTo>
                  <a:lnTo>
                    <a:pt x="1284" y="134"/>
                  </a:lnTo>
                  <a:lnTo>
                    <a:pt x="1283" y="139"/>
                  </a:lnTo>
                  <a:lnTo>
                    <a:pt x="1279" y="142"/>
                  </a:lnTo>
                  <a:lnTo>
                    <a:pt x="1275" y="144"/>
                  </a:lnTo>
                  <a:lnTo>
                    <a:pt x="1271" y="14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230"/>
            <p:cNvSpPr>
              <a:spLocks/>
            </p:cNvSpPr>
            <p:nvPr userDrawn="1"/>
          </p:nvSpPr>
          <p:spPr bwMode="auto">
            <a:xfrm>
              <a:off x="4179888" y="5189538"/>
              <a:ext cx="679450" cy="76200"/>
            </a:xfrm>
            <a:custGeom>
              <a:avLst/>
              <a:gdLst>
                <a:gd name="T0" fmla="*/ 1270 w 1285"/>
                <a:gd name="T1" fmla="*/ 143 h 143"/>
                <a:gd name="T2" fmla="*/ 1173 w 1285"/>
                <a:gd name="T3" fmla="*/ 122 h 143"/>
                <a:gd name="T4" fmla="*/ 994 w 1285"/>
                <a:gd name="T5" fmla="*/ 85 h 143"/>
                <a:gd name="T6" fmla="*/ 836 w 1285"/>
                <a:gd name="T7" fmla="*/ 59 h 143"/>
                <a:gd name="T8" fmla="*/ 695 w 1285"/>
                <a:gd name="T9" fmla="*/ 42 h 143"/>
                <a:gd name="T10" fmla="*/ 570 w 1285"/>
                <a:gd name="T11" fmla="*/ 31 h 143"/>
                <a:gd name="T12" fmla="*/ 462 w 1285"/>
                <a:gd name="T13" fmla="*/ 28 h 143"/>
                <a:gd name="T14" fmla="*/ 368 w 1285"/>
                <a:gd name="T15" fmla="*/ 30 h 143"/>
                <a:gd name="T16" fmla="*/ 288 w 1285"/>
                <a:gd name="T17" fmla="*/ 37 h 143"/>
                <a:gd name="T18" fmla="*/ 220 w 1285"/>
                <a:gd name="T19" fmla="*/ 46 h 143"/>
                <a:gd name="T20" fmla="*/ 165 w 1285"/>
                <a:gd name="T21" fmla="*/ 59 h 143"/>
                <a:gd name="T22" fmla="*/ 121 w 1285"/>
                <a:gd name="T23" fmla="*/ 73 h 143"/>
                <a:gd name="T24" fmla="*/ 85 w 1285"/>
                <a:gd name="T25" fmla="*/ 87 h 143"/>
                <a:gd name="T26" fmla="*/ 49 w 1285"/>
                <a:gd name="T27" fmla="*/ 107 h 143"/>
                <a:gd name="T28" fmla="*/ 27 w 1285"/>
                <a:gd name="T29" fmla="*/ 124 h 143"/>
                <a:gd name="T30" fmla="*/ 20 w 1285"/>
                <a:gd name="T31" fmla="*/ 131 h 143"/>
                <a:gd name="T32" fmla="*/ 11 w 1285"/>
                <a:gd name="T33" fmla="*/ 133 h 143"/>
                <a:gd name="T34" fmla="*/ 2 w 1285"/>
                <a:gd name="T35" fmla="*/ 126 h 143"/>
                <a:gd name="T36" fmla="*/ 0 w 1285"/>
                <a:gd name="T37" fmla="*/ 117 h 143"/>
                <a:gd name="T38" fmla="*/ 6 w 1285"/>
                <a:gd name="T39" fmla="*/ 107 h 143"/>
                <a:gd name="T40" fmla="*/ 23 w 1285"/>
                <a:gd name="T41" fmla="*/ 93 h 143"/>
                <a:gd name="T42" fmla="*/ 41 w 1285"/>
                <a:gd name="T43" fmla="*/ 80 h 143"/>
                <a:gd name="T44" fmla="*/ 68 w 1285"/>
                <a:gd name="T45" fmla="*/ 65 h 143"/>
                <a:gd name="T46" fmla="*/ 103 w 1285"/>
                <a:gd name="T47" fmla="*/ 50 h 143"/>
                <a:gd name="T48" fmla="*/ 149 w 1285"/>
                <a:gd name="T49" fmla="*/ 34 h 143"/>
                <a:gd name="T50" fmla="*/ 205 w 1285"/>
                <a:gd name="T51" fmla="*/ 20 h 143"/>
                <a:gd name="T52" fmla="*/ 274 w 1285"/>
                <a:gd name="T53" fmla="*/ 10 h 143"/>
                <a:gd name="T54" fmla="*/ 355 w 1285"/>
                <a:gd name="T55" fmla="*/ 3 h 143"/>
                <a:gd name="T56" fmla="*/ 451 w 1285"/>
                <a:gd name="T57" fmla="*/ 0 h 143"/>
                <a:gd name="T58" fmla="*/ 561 w 1285"/>
                <a:gd name="T59" fmla="*/ 3 h 143"/>
                <a:gd name="T60" fmla="*/ 689 w 1285"/>
                <a:gd name="T61" fmla="*/ 13 h 143"/>
                <a:gd name="T62" fmla="*/ 832 w 1285"/>
                <a:gd name="T63" fmla="*/ 31 h 143"/>
                <a:gd name="T64" fmla="*/ 994 w 1285"/>
                <a:gd name="T65" fmla="*/ 58 h 143"/>
                <a:gd name="T66" fmla="*/ 1176 w 1285"/>
                <a:gd name="T67" fmla="*/ 95 h 143"/>
                <a:gd name="T68" fmla="*/ 1279 w 1285"/>
                <a:gd name="T69" fmla="*/ 120 h 143"/>
                <a:gd name="T70" fmla="*/ 1285 w 1285"/>
                <a:gd name="T71" fmla="*/ 128 h 143"/>
                <a:gd name="T72" fmla="*/ 1283 w 1285"/>
                <a:gd name="T73" fmla="*/ 138 h 143"/>
                <a:gd name="T74" fmla="*/ 1276 w 1285"/>
                <a:gd name="T75"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5" h="143">
                  <a:moveTo>
                    <a:pt x="1271" y="143"/>
                  </a:moveTo>
                  <a:lnTo>
                    <a:pt x="1270" y="143"/>
                  </a:lnTo>
                  <a:lnTo>
                    <a:pt x="1269" y="143"/>
                  </a:lnTo>
                  <a:lnTo>
                    <a:pt x="1173" y="122"/>
                  </a:lnTo>
                  <a:lnTo>
                    <a:pt x="1081" y="102"/>
                  </a:lnTo>
                  <a:lnTo>
                    <a:pt x="994" y="85"/>
                  </a:lnTo>
                  <a:lnTo>
                    <a:pt x="913" y="71"/>
                  </a:lnTo>
                  <a:lnTo>
                    <a:pt x="836" y="59"/>
                  </a:lnTo>
                  <a:lnTo>
                    <a:pt x="763" y="50"/>
                  </a:lnTo>
                  <a:lnTo>
                    <a:pt x="695" y="42"/>
                  </a:lnTo>
                  <a:lnTo>
                    <a:pt x="630" y="36"/>
                  </a:lnTo>
                  <a:lnTo>
                    <a:pt x="570" y="31"/>
                  </a:lnTo>
                  <a:lnTo>
                    <a:pt x="514" y="29"/>
                  </a:lnTo>
                  <a:lnTo>
                    <a:pt x="462" y="28"/>
                  </a:lnTo>
                  <a:lnTo>
                    <a:pt x="413" y="28"/>
                  </a:lnTo>
                  <a:lnTo>
                    <a:pt x="368" y="30"/>
                  </a:lnTo>
                  <a:lnTo>
                    <a:pt x="326" y="33"/>
                  </a:lnTo>
                  <a:lnTo>
                    <a:pt x="288" y="37"/>
                  </a:lnTo>
                  <a:lnTo>
                    <a:pt x="253" y="41"/>
                  </a:lnTo>
                  <a:lnTo>
                    <a:pt x="220" y="46"/>
                  </a:lnTo>
                  <a:lnTo>
                    <a:pt x="191" y="53"/>
                  </a:lnTo>
                  <a:lnTo>
                    <a:pt x="165" y="59"/>
                  </a:lnTo>
                  <a:lnTo>
                    <a:pt x="141" y="66"/>
                  </a:lnTo>
                  <a:lnTo>
                    <a:pt x="121" y="73"/>
                  </a:lnTo>
                  <a:lnTo>
                    <a:pt x="101" y="80"/>
                  </a:lnTo>
                  <a:lnTo>
                    <a:pt x="85" y="87"/>
                  </a:lnTo>
                  <a:lnTo>
                    <a:pt x="71" y="94"/>
                  </a:lnTo>
                  <a:lnTo>
                    <a:pt x="49" y="107"/>
                  </a:lnTo>
                  <a:lnTo>
                    <a:pt x="35" y="118"/>
                  </a:lnTo>
                  <a:lnTo>
                    <a:pt x="27" y="124"/>
                  </a:lnTo>
                  <a:lnTo>
                    <a:pt x="25" y="127"/>
                  </a:lnTo>
                  <a:lnTo>
                    <a:pt x="20" y="131"/>
                  </a:lnTo>
                  <a:lnTo>
                    <a:pt x="15" y="133"/>
                  </a:lnTo>
                  <a:lnTo>
                    <a:pt x="11" y="133"/>
                  </a:lnTo>
                  <a:lnTo>
                    <a:pt x="5" y="131"/>
                  </a:lnTo>
                  <a:lnTo>
                    <a:pt x="2" y="126"/>
                  </a:lnTo>
                  <a:lnTo>
                    <a:pt x="0" y="122"/>
                  </a:lnTo>
                  <a:lnTo>
                    <a:pt x="0" y="117"/>
                  </a:lnTo>
                  <a:lnTo>
                    <a:pt x="3" y="111"/>
                  </a:lnTo>
                  <a:lnTo>
                    <a:pt x="6" y="107"/>
                  </a:lnTo>
                  <a:lnTo>
                    <a:pt x="15" y="98"/>
                  </a:lnTo>
                  <a:lnTo>
                    <a:pt x="23" y="93"/>
                  </a:lnTo>
                  <a:lnTo>
                    <a:pt x="30" y="86"/>
                  </a:lnTo>
                  <a:lnTo>
                    <a:pt x="41" y="80"/>
                  </a:lnTo>
                  <a:lnTo>
                    <a:pt x="53" y="72"/>
                  </a:lnTo>
                  <a:lnTo>
                    <a:pt x="68" y="65"/>
                  </a:lnTo>
                  <a:lnTo>
                    <a:pt x="84" y="57"/>
                  </a:lnTo>
                  <a:lnTo>
                    <a:pt x="103" y="50"/>
                  </a:lnTo>
                  <a:lnTo>
                    <a:pt x="125" y="42"/>
                  </a:lnTo>
                  <a:lnTo>
                    <a:pt x="149" y="34"/>
                  </a:lnTo>
                  <a:lnTo>
                    <a:pt x="176" y="27"/>
                  </a:lnTo>
                  <a:lnTo>
                    <a:pt x="205" y="20"/>
                  </a:lnTo>
                  <a:lnTo>
                    <a:pt x="238" y="15"/>
                  </a:lnTo>
                  <a:lnTo>
                    <a:pt x="274" y="10"/>
                  </a:lnTo>
                  <a:lnTo>
                    <a:pt x="313" y="5"/>
                  </a:lnTo>
                  <a:lnTo>
                    <a:pt x="355" y="3"/>
                  </a:lnTo>
                  <a:lnTo>
                    <a:pt x="402" y="1"/>
                  </a:lnTo>
                  <a:lnTo>
                    <a:pt x="451" y="0"/>
                  </a:lnTo>
                  <a:lnTo>
                    <a:pt x="504" y="1"/>
                  </a:lnTo>
                  <a:lnTo>
                    <a:pt x="561" y="3"/>
                  </a:lnTo>
                  <a:lnTo>
                    <a:pt x="623" y="7"/>
                  </a:lnTo>
                  <a:lnTo>
                    <a:pt x="689" y="13"/>
                  </a:lnTo>
                  <a:lnTo>
                    <a:pt x="758" y="22"/>
                  </a:lnTo>
                  <a:lnTo>
                    <a:pt x="832" y="31"/>
                  </a:lnTo>
                  <a:lnTo>
                    <a:pt x="911" y="43"/>
                  </a:lnTo>
                  <a:lnTo>
                    <a:pt x="994" y="58"/>
                  </a:lnTo>
                  <a:lnTo>
                    <a:pt x="1083" y="75"/>
                  </a:lnTo>
                  <a:lnTo>
                    <a:pt x="1176" y="95"/>
                  </a:lnTo>
                  <a:lnTo>
                    <a:pt x="1274" y="118"/>
                  </a:lnTo>
                  <a:lnTo>
                    <a:pt x="1279" y="120"/>
                  </a:lnTo>
                  <a:lnTo>
                    <a:pt x="1283" y="123"/>
                  </a:lnTo>
                  <a:lnTo>
                    <a:pt x="1285" y="128"/>
                  </a:lnTo>
                  <a:lnTo>
                    <a:pt x="1285" y="134"/>
                  </a:lnTo>
                  <a:lnTo>
                    <a:pt x="1283" y="138"/>
                  </a:lnTo>
                  <a:lnTo>
                    <a:pt x="1279" y="141"/>
                  </a:lnTo>
                  <a:lnTo>
                    <a:pt x="1276" y="143"/>
                  </a:lnTo>
                  <a:lnTo>
                    <a:pt x="1271" y="14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231"/>
            <p:cNvSpPr>
              <a:spLocks/>
            </p:cNvSpPr>
            <p:nvPr userDrawn="1"/>
          </p:nvSpPr>
          <p:spPr bwMode="auto">
            <a:xfrm>
              <a:off x="4414838" y="5519738"/>
              <a:ext cx="747713" cy="138113"/>
            </a:xfrm>
            <a:custGeom>
              <a:avLst/>
              <a:gdLst>
                <a:gd name="T0" fmla="*/ 1399 w 1415"/>
                <a:gd name="T1" fmla="*/ 261 h 261"/>
                <a:gd name="T2" fmla="*/ 1390 w 1415"/>
                <a:gd name="T3" fmla="*/ 258 h 261"/>
                <a:gd name="T4" fmla="*/ 1351 w 1415"/>
                <a:gd name="T5" fmla="*/ 241 h 261"/>
                <a:gd name="T6" fmla="*/ 1280 w 1415"/>
                <a:gd name="T7" fmla="*/ 211 h 261"/>
                <a:gd name="T8" fmla="*/ 1181 w 1415"/>
                <a:gd name="T9" fmla="*/ 175 h 261"/>
                <a:gd name="T10" fmla="*/ 1059 w 1415"/>
                <a:gd name="T11" fmla="*/ 135 h 261"/>
                <a:gd name="T12" fmla="*/ 918 w 1415"/>
                <a:gd name="T13" fmla="*/ 96 h 261"/>
                <a:gd name="T14" fmla="*/ 805 w 1415"/>
                <a:gd name="T15" fmla="*/ 69 h 261"/>
                <a:gd name="T16" fmla="*/ 726 w 1415"/>
                <a:gd name="T17" fmla="*/ 54 h 261"/>
                <a:gd name="T18" fmla="*/ 645 w 1415"/>
                <a:gd name="T19" fmla="*/ 42 h 261"/>
                <a:gd name="T20" fmla="*/ 563 w 1415"/>
                <a:gd name="T21" fmla="*/ 32 h 261"/>
                <a:gd name="T22" fmla="*/ 494 w 1415"/>
                <a:gd name="T23" fmla="*/ 27 h 261"/>
                <a:gd name="T24" fmla="*/ 442 w 1415"/>
                <a:gd name="T25" fmla="*/ 27 h 261"/>
                <a:gd name="T26" fmla="*/ 392 w 1415"/>
                <a:gd name="T27" fmla="*/ 29 h 261"/>
                <a:gd name="T28" fmla="*/ 344 w 1415"/>
                <a:gd name="T29" fmla="*/ 33 h 261"/>
                <a:gd name="T30" fmla="*/ 277 w 1415"/>
                <a:gd name="T31" fmla="*/ 44 h 261"/>
                <a:gd name="T32" fmla="*/ 198 w 1415"/>
                <a:gd name="T33" fmla="*/ 62 h 261"/>
                <a:gd name="T34" fmla="*/ 131 w 1415"/>
                <a:gd name="T35" fmla="*/ 84 h 261"/>
                <a:gd name="T36" fmla="*/ 78 w 1415"/>
                <a:gd name="T37" fmla="*/ 105 h 261"/>
                <a:gd name="T38" fmla="*/ 30 w 1415"/>
                <a:gd name="T39" fmla="*/ 128 h 261"/>
                <a:gd name="T40" fmla="*/ 15 w 1415"/>
                <a:gd name="T41" fmla="*/ 136 h 261"/>
                <a:gd name="T42" fmla="*/ 5 w 1415"/>
                <a:gd name="T43" fmla="*/ 134 h 261"/>
                <a:gd name="T44" fmla="*/ 0 w 1415"/>
                <a:gd name="T45" fmla="*/ 124 h 261"/>
                <a:gd name="T46" fmla="*/ 2 w 1415"/>
                <a:gd name="T47" fmla="*/ 114 h 261"/>
                <a:gd name="T48" fmla="*/ 18 w 1415"/>
                <a:gd name="T49" fmla="*/ 103 h 261"/>
                <a:gd name="T50" fmla="*/ 70 w 1415"/>
                <a:gd name="T51" fmla="*/ 79 h 261"/>
                <a:gd name="T52" fmla="*/ 124 w 1415"/>
                <a:gd name="T53" fmla="*/ 57 h 261"/>
                <a:gd name="T54" fmla="*/ 192 w 1415"/>
                <a:gd name="T55" fmla="*/ 35 h 261"/>
                <a:gd name="T56" fmla="*/ 273 w 1415"/>
                <a:gd name="T57" fmla="*/ 17 h 261"/>
                <a:gd name="T58" fmla="*/ 342 w 1415"/>
                <a:gd name="T59" fmla="*/ 6 h 261"/>
                <a:gd name="T60" fmla="*/ 390 w 1415"/>
                <a:gd name="T61" fmla="*/ 2 h 261"/>
                <a:gd name="T62" fmla="*/ 442 w 1415"/>
                <a:gd name="T63" fmla="*/ 0 h 261"/>
                <a:gd name="T64" fmla="*/ 495 w 1415"/>
                <a:gd name="T65" fmla="*/ 0 h 261"/>
                <a:gd name="T66" fmla="*/ 565 w 1415"/>
                <a:gd name="T67" fmla="*/ 5 h 261"/>
                <a:gd name="T68" fmla="*/ 649 w 1415"/>
                <a:gd name="T69" fmla="*/ 15 h 261"/>
                <a:gd name="T70" fmla="*/ 731 w 1415"/>
                <a:gd name="T71" fmla="*/ 28 h 261"/>
                <a:gd name="T72" fmla="*/ 810 w 1415"/>
                <a:gd name="T73" fmla="*/ 43 h 261"/>
                <a:gd name="T74" fmla="*/ 925 w 1415"/>
                <a:gd name="T75" fmla="*/ 70 h 261"/>
                <a:gd name="T76" fmla="*/ 1066 w 1415"/>
                <a:gd name="T77" fmla="*/ 109 h 261"/>
                <a:gd name="T78" fmla="*/ 1191 w 1415"/>
                <a:gd name="T79" fmla="*/ 150 h 261"/>
                <a:gd name="T80" fmla="*/ 1290 w 1415"/>
                <a:gd name="T81" fmla="*/ 187 h 261"/>
                <a:gd name="T82" fmla="*/ 1362 w 1415"/>
                <a:gd name="T83" fmla="*/ 216 h 261"/>
                <a:gd name="T84" fmla="*/ 1401 w 1415"/>
                <a:gd name="T85" fmla="*/ 233 h 261"/>
                <a:gd name="T86" fmla="*/ 1412 w 1415"/>
                <a:gd name="T87" fmla="*/ 238 h 261"/>
                <a:gd name="T88" fmla="*/ 1415 w 1415"/>
                <a:gd name="T89" fmla="*/ 248 h 261"/>
                <a:gd name="T90" fmla="*/ 1412 w 1415"/>
                <a:gd name="T91" fmla="*/ 257 h 261"/>
                <a:gd name="T92" fmla="*/ 1405 w 1415"/>
                <a:gd name="T9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15" h="261">
                  <a:moveTo>
                    <a:pt x="1401" y="261"/>
                  </a:moveTo>
                  <a:lnTo>
                    <a:pt x="1399" y="261"/>
                  </a:lnTo>
                  <a:lnTo>
                    <a:pt x="1396" y="260"/>
                  </a:lnTo>
                  <a:lnTo>
                    <a:pt x="1390" y="258"/>
                  </a:lnTo>
                  <a:lnTo>
                    <a:pt x="1375" y="250"/>
                  </a:lnTo>
                  <a:lnTo>
                    <a:pt x="1351" y="241"/>
                  </a:lnTo>
                  <a:lnTo>
                    <a:pt x="1319" y="228"/>
                  </a:lnTo>
                  <a:lnTo>
                    <a:pt x="1280" y="211"/>
                  </a:lnTo>
                  <a:lnTo>
                    <a:pt x="1234" y="194"/>
                  </a:lnTo>
                  <a:lnTo>
                    <a:pt x="1181" y="175"/>
                  </a:lnTo>
                  <a:lnTo>
                    <a:pt x="1123" y="155"/>
                  </a:lnTo>
                  <a:lnTo>
                    <a:pt x="1059" y="135"/>
                  </a:lnTo>
                  <a:lnTo>
                    <a:pt x="991" y="115"/>
                  </a:lnTo>
                  <a:lnTo>
                    <a:pt x="918" y="96"/>
                  </a:lnTo>
                  <a:lnTo>
                    <a:pt x="844" y="78"/>
                  </a:lnTo>
                  <a:lnTo>
                    <a:pt x="805" y="69"/>
                  </a:lnTo>
                  <a:lnTo>
                    <a:pt x="765" y="61"/>
                  </a:lnTo>
                  <a:lnTo>
                    <a:pt x="726" y="54"/>
                  </a:lnTo>
                  <a:lnTo>
                    <a:pt x="685" y="47"/>
                  </a:lnTo>
                  <a:lnTo>
                    <a:pt x="645" y="42"/>
                  </a:lnTo>
                  <a:lnTo>
                    <a:pt x="604" y="37"/>
                  </a:lnTo>
                  <a:lnTo>
                    <a:pt x="563" y="32"/>
                  </a:lnTo>
                  <a:lnTo>
                    <a:pt x="521" y="29"/>
                  </a:lnTo>
                  <a:lnTo>
                    <a:pt x="494" y="27"/>
                  </a:lnTo>
                  <a:lnTo>
                    <a:pt x="468" y="27"/>
                  </a:lnTo>
                  <a:lnTo>
                    <a:pt x="442" y="27"/>
                  </a:lnTo>
                  <a:lnTo>
                    <a:pt x="416" y="27"/>
                  </a:lnTo>
                  <a:lnTo>
                    <a:pt x="392" y="29"/>
                  </a:lnTo>
                  <a:lnTo>
                    <a:pt x="368" y="31"/>
                  </a:lnTo>
                  <a:lnTo>
                    <a:pt x="344" y="33"/>
                  </a:lnTo>
                  <a:lnTo>
                    <a:pt x="321" y="37"/>
                  </a:lnTo>
                  <a:lnTo>
                    <a:pt x="277" y="44"/>
                  </a:lnTo>
                  <a:lnTo>
                    <a:pt x="236" y="53"/>
                  </a:lnTo>
                  <a:lnTo>
                    <a:pt x="198" y="62"/>
                  </a:lnTo>
                  <a:lnTo>
                    <a:pt x="163" y="73"/>
                  </a:lnTo>
                  <a:lnTo>
                    <a:pt x="131" y="84"/>
                  </a:lnTo>
                  <a:lnTo>
                    <a:pt x="103" y="95"/>
                  </a:lnTo>
                  <a:lnTo>
                    <a:pt x="78" y="105"/>
                  </a:lnTo>
                  <a:lnTo>
                    <a:pt x="58" y="114"/>
                  </a:lnTo>
                  <a:lnTo>
                    <a:pt x="30" y="128"/>
                  </a:lnTo>
                  <a:lnTo>
                    <a:pt x="20" y="134"/>
                  </a:lnTo>
                  <a:lnTo>
                    <a:pt x="15" y="136"/>
                  </a:lnTo>
                  <a:lnTo>
                    <a:pt x="9" y="136"/>
                  </a:lnTo>
                  <a:lnTo>
                    <a:pt x="5" y="134"/>
                  </a:lnTo>
                  <a:lnTo>
                    <a:pt x="2" y="129"/>
                  </a:lnTo>
                  <a:lnTo>
                    <a:pt x="0" y="124"/>
                  </a:lnTo>
                  <a:lnTo>
                    <a:pt x="0" y="120"/>
                  </a:lnTo>
                  <a:lnTo>
                    <a:pt x="2" y="114"/>
                  </a:lnTo>
                  <a:lnTo>
                    <a:pt x="6" y="111"/>
                  </a:lnTo>
                  <a:lnTo>
                    <a:pt x="18" y="103"/>
                  </a:lnTo>
                  <a:lnTo>
                    <a:pt x="48" y="88"/>
                  </a:lnTo>
                  <a:lnTo>
                    <a:pt x="70" y="79"/>
                  </a:lnTo>
                  <a:lnTo>
                    <a:pt x="95" y="69"/>
                  </a:lnTo>
                  <a:lnTo>
                    <a:pt x="124" y="57"/>
                  </a:lnTo>
                  <a:lnTo>
                    <a:pt x="156" y="46"/>
                  </a:lnTo>
                  <a:lnTo>
                    <a:pt x="192" y="35"/>
                  </a:lnTo>
                  <a:lnTo>
                    <a:pt x="231" y="26"/>
                  </a:lnTo>
                  <a:lnTo>
                    <a:pt x="273" y="17"/>
                  </a:lnTo>
                  <a:lnTo>
                    <a:pt x="318" y="10"/>
                  </a:lnTo>
                  <a:lnTo>
                    <a:pt x="342" y="6"/>
                  </a:lnTo>
                  <a:lnTo>
                    <a:pt x="366" y="3"/>
                  </a:lnTo>
                  <a:lnTo>
                    <a:pt x="390" y="2"/>
                  </a:lnTo>
                  <a:lnTo>
                    <a:pt x="415" y="0"/>
                  </a:lnTo>
                  <a:lnTo>
                    <a:pt x="442" y="0"/>
                  </a:lnTo>
                  <a:lnTo>
                    <a:pt x="468" y="0"/>
                  </a:lnTo>
                  <a:lnTo>
                    <a:pt x="495" y="0"/>
                  </a:lnTo>
                  <a:lnTo>
                    <a:pt x="523" y="2"/>
                  </a:lnTo>
                  <a:lnTo>
                    <a:pt x="565" y="5"/>
                  </a:lnTo>
                  <a:lnTo>
                    <a:pt x="606" y="10"/>
                  </a:lnTo>
                  <a:lnTo>
                    <a:pt x="649" y="15"/>
                  </a:lnTo>
                  <a:lnTo>
                    <a:pt x="690" y="20"/>
                  </a:lnTo>
                  <a:lnTo>
                    <a:pt x="731" y="28"/>
                  </a:lnTo>
                  <a:lnTo>
                    <a:pt x="771" y="34"/>
                  </a:lnTo>
                  <a:lnTo>
                    <a:pt x="810" y="43"/>
                  </a:lnTo>
                  <a:lnTo>
                    <a:pt x="849" y="52"/>
                  </a:lnTo>
                  <a:lnTo>
                    <a:pt x="925" y="70"/>
                  </a:lnTo>
                  <a:lnTo>
                    <a:pt x="998" y="89"/>
                  </a:lnTo>
                  <a:lnTo>
                    <a:pt x="1066" y="109"/>
                  </a:lnTo>
                  <a:lnTo>
                    <a:pt x="1131" y="129"/>
                  </a:lnTo>
                  <a:lnTo>
                    <a:pt x="1191" y="150"/>
                  </a:lnTo>
                  <a:lnTo>
                    <a:pt x="1243" y="169"/>
                  </a:lnTo>
                  <a:lnTo>
                    <a:pt x="1290" y="187"/>
                  </a:lnTo>
                  <a:lnTo>
                    <a:pt x="1330" y="203"/>
                  </a:lnTo>
                  <a:lnTo>
                    <a:pt x="1362" y="216"/>
                  </a:lnTo>
                  <a:lnTo>
                    <a:pt x="1386" y="227"/>
                  </a:lnTo>
                  <a:lnTo>
                    <a:pt x="1401" y="233"/>
                  </a:lnTo>
                  <a:lnTo>
                    <a:pt x="1408" y="235"/>
                  </a:lnTo>
                  <a:lnTo>
                    <a:pt x="1412" y="238"/>
                  </a:lnTo>
                  <a:lnTo>
                    <a:pt x="1414" y="243"/>
                  </a:lnTo>
                  <a:lnTo>
                    <a:pt x="1415" y="248"/>
                  </a:lnTo>
                  <a:lnTo>
                    <a:pt x="1414" y="254"/>
                  </a:lnTo>
                  <a:lnTo>
                    <a:pt x="1412" y="257"/>
                  </a:lnTo>
                  <a:lnTo>
                    <a:pt x="1409" y="259"/>
                  </a:lnTo>
                  <a:lnTo>
                    <a:pt x="1405" y="261"/>
                  </a:lnTo>
                  <a:lnTo>
                    <a:pt x="1401" y="26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232"/>
            <p:cNvSpPr>
              <a:spLocks/>
            </p:cNvSpPr>
            <p:nvPr userDrawn="1"/>
          </p:nvSpPr>
          <p:spPr bwMode="auto">
            <a:xfrm>
              <a:off x="4479925" y="5608638"/>
              <a:ext cx="733425" cy="163513"/>
            </a:xfrm>
            <a:custGeom>
              <a:avLst/>
              <a:gdLst>
                <a:gd name="T0" fmla="*/ 1371 w 1387"/>
                <a:gd name="T1" fmla="*/ 310 h 310"/>
                <a:gd name="T2" fmla="*/ 1336 w 1387"/>
                <a:gd name="T3" fmla="*/ 296 h 310"/>
                <a:gd name="T4" fmla="*/ 1264 w 1387"/>
                <a:gd name="T5" fmla="*/ 260 h 310"/>
                <a:gd name="T6" fmla="*/ 1146 w 1387"/>
                <a:gd name="T7" fmla="*/ 200 h 310"/>
                <a:gd name="T8" fmla="*/ 1021 w 1387"/>
                <a:gd name="T9" fmla="*/ 140 h 310"/>
                <a:gd name="T10" fmla="*/ 932 w 1387"/>
                <a:gd name="T11" fmla="*/ 104 h 310"/>
                <a:gd name="T12" fmla="*/ 838 w 1387"/>
                <a:gd name="T13" fmla="*/ 72 h 310"/>
                <a:gd name="T14" fmla="*/ 764 w 1387"/>
                <a:gd name="T15" fmla="*/ 52 h 310"/>
                <a:gd name="T16" fmla="*/ 714 w 1387"/>
                <a:gd name="T17" fmla="*/ 42 h 310"/>
                <a:gd name="T18" fmla="*/ 664 w 1387"/>
                <a:gd name="T19" fmla="*/ 35 h 310"/>
                <a:gd name="T20" fmla="*/ 613 w 1387"/>
                <a:gd name="T21" fmla="*/ 29 h 310"/>
                <a:gd name="T22" fmla="*/ 561 w 1387"/>
                <a:gd name="T23" fmla="*/ 28 h 310"/>
                <a:gd name="T24" fmla="*/ 509 w 1387"/>
                <a:gd name="T25" fmla="*/ 29 h 310"/>
                <a:gd name="T26" fmla="*/ 434 w 1387"/>
                <a:gd name="T27" fmla="*/ 37 h 310"/>
                <a:gd name="T28" fmla="*/ 340 w 1387"/>
                <a:gd name="T29" fmla="*/ 51 h 310"/>
                <a:gd name="T30" fmla="*/ 256 w 1387"/>
                <a:gd name="T31" fmla="*/ 67 h 310"/>
                <a:gd name="T32" fmla="*/ 182 w 1387"/>
                <a:gd name="T33" fmla="*/ 84 h 310"/>
                <a:gd name="T34" fmla="*/ 95 w 1387"/>
                <a:gd name="T35" fmla="*/ 108 h 310"/>
                <a:gd name="T36" fmla="*/ 28 w 1387"/>
                <a:gd name="T37" fmla="*/ 130 h 310"/>
                <a:gd name="T38" fmla="*/ 13 w 1387"/>
                <a:gd name="T39" fmla="*/ 134 h 310"/>
                <a:gd name="T40" fmla="*/ 4 w 1387"/>
                <a:gd name="T41" fmla="*/ 131 h 310"/>
                <a:gd name="T42" fmla="*/ 0 w 1387"/>
                <a:gd name="T43" fmla="*/ 121 h 310"/>
                <a:gd name="T44" fmla="*/ 4 w 1387"/>
                <a:gd name="T45" fmla="*/ 111 h 310"/>
                <a:gd name="T46" fmla="*/ 18 w 1387"/>
                <a:gd name="T47" fmla="*/ 105 h 310"/>
                <a:gd name="T48" fmla="*/ 86 w 1387"/>
                <a:gd name="T49" fmla="*/ 82 h 310"/>
                <a:gd name="T50" fmla="*/ 175 w 1387"/>
                <a:gd name="T51" fmla="*/ 58 h 310"/>
                <a:gd name="T52" fmla="*/ 249 w 1387"/>
                <a:gd name="T53" fmla="*/ 41 h 310"/>
                <a:gd name="T54" fmla="*/ 334 w 1387"/>
                <a:gd name="T55" fmla="*/ 25 h 310"/>
                <a:gd name="T56" fmla="*/ 429 w 1387"/>
                <a:gd name="T57" fmla="*/ 11 h 310"/>
                <a:gd name="T58" fmla="*/ 507 w 1387"/>
                <a:gd name="T59" fmla="*/ 2 h 310"/>
                <a:gd name="T60" fmla="*/ 561 w 1387"/>
                <a:gd name="T61" fmla="*/ 0 h 310"/>
                <a:gd name="T62" fmla="*/ 614 w 1387"/>
                <a:gd name="T63" fmla="*/ 2 h 310"/>
                <a:gd name="T64" fmla="*/ 666 w 1387"/>
                <a:gd name="T65" fmla="*/ 8 h 310"/>
                <a:gd name="T66" fmla="*/ 718 w 1387"/>
                <a:gd name="T67" fmla="*/ 15 h 310"/>
                <a:gd name="T68" fmla="*/ 768 w 1387"/>
                <a:gd name="T69" fmla="*/ 25 h 310"/>
                <a:gd name="T70" fmla="*/ 843 w 1387"/>
                <a:gd name="T71" fmla="*/ 45 h 310"/>
                <a:gd name="T72" fmla="*/ 939 w 1387"/>
                <a:gd name="T73" fmla="*/ 78 h 310"/>
                <a:gd name="T74" fmla="*/ 1031 w 1387"/>
                <a:gd name="T75" fmla="*/ 116 h 310"/>
                <a:gd name="T76" fmla="*/ 1157 w 1387"/>
                <a:gd name="T77" fmla="*/ 176 h 310"/>
                <a:gd name="T78" fmla="*/ 1276 w 1387"/>
                <a:gd name="T79" fmla="*/ 235 h 310"/>
                <a:gd name="T80" fmla="*/ 1347 w 1387"/>
                <a:gd name="T81" fmla="*/ 271 h 310"/>
                <a:gd name="T82" fmla="*/ 1384 w 1387"/>
                <a:gd name="T83" fmla="*/ 287 h 310"/>
                <a:gd name="T84" fmla="*/ 1387 w 1387"/>
                <a:gd name="T85" fmla="*/ 297 h 310"/>
                <a:gd name="T86" fmla="*/ 1384 w 1387"/>
                <a:gd name="T87" fmla="*/ 306 h 310"/>
                <a:gd name="T88" fmla="*/ 1377 w 1387"/>
                <a:gd name="T8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87" h="310">
                  <a:moveTo>
                    <a:pt x="1374" y="310"/>
                  </a:moveTo>
                  <a:lnTo>
                    <a:pt x="1371" y="310"/>
                  </a:lnTo>
                  <a:lnTo>
                    <a:pt x="1369" y="310"/>
                  </a:lnTo>
                  <a:lnTo>
                    <a:pt x="1336" y="296"/>
                  </a:lnTo>
                  <a:lnTo>
                    <a:pt x="1302" y="279"/>
                  </a:lnTo>
                  <a:lnTo>
                    <a:pt x="1264" y="260"/>
                  </a:lnTo>
                  <a:lnTo>
                    <a:pt x="1223" y="239"/>
                  </a:lnTo>
                  <a:lnTo>
                    <a:pt x="1146" y="200"/>
                  </a:lnTo>
                  <a:lnTo>
                    <a:pt x="1064" y="161"/>
                  </a:lnTo>
                  <a:lnTo>
                    <a:pt x="1021" y="140"/>
                  </a:lnTo>
                  <a:lnTo>
                    <a:pt x="977" y="122"/>
                  </a:lnTo>
                  <a:lnTo>
                    <a:pt x="932" y="104"/>
                  </a:lnTo>
                  <a:lnTo>
                    <a:pt x="885" y="88"/>
                  </a:lnTo>
                  <a:lnTo>
                    <a:pt x="838" y="72"/>
                  </a:lnTo>
                  <a:lnTo>
                    <a:pt x="789" y="58"/>
                  </a:lnTo>
                  <a:lnTo>
                    <a:pt x="764" y="52"/>
                  </a:lnTo>
                  <a:lnTo>
                    <a:pt x="739" y="47"/>
                  </a:lnTo>
                  <a:lnTo>
                    <a:pt x="714" y="42"/>
                  </a:lnTo>
                  <a:lnTo>
                    <a:pt x="690" y="38"/>
                  </a:lnTo>
                  <a:lnTo>
                    <a:pt x="664" y="35"/>
                  </a:lnTo>
                  <a:lnTo>
                    <a:pt x="639" y="31"/>
                  </a:lnTo>
                  <a:lnTo>
                    <a:pt x="613" y="29"/>
                  </a:lnTo>
                  <a:lnTo>
                    <a:pt x="587" y="28"/>
                  </a:lnTo>
                  <a:lnTo>
                    <a:pt x="561" y="28"/>
                  </a:lnTo>
                  <a:lnTo>
                    <a:pt x="535" y="28"/>
                  </a:lnTo>
                  <a:lnTo>
                    <a:pt x="509" y="29"/>
                  </a:lnTo>
                  <a:lnTo>
                    <a:pt x="483" y="31"/>
                  </a:lnTo>
                  <a:lnTo>
                    <a:pt x="434" y="37"/>
                  </a:lnTo>
                  <a:lnTo>
                    <a:pt x="385" y="44"/>
                  </a:lnTo>
                  <a:lnTo>
                    <a:pt x="340" y="51"/>
                  </a:lnTo>
                  <a:lnTo>
                    <a:pt x="296" y="59"/>
                  </a:lnTo>
                  <a:lnTo>
                    <a:pt x="256" y="67"/>
                  </a:lnTo>
                  <a:lnTo>
                    <a:pt x="217" y="76"/>
                  </a:lnTo>
                  <a:lnTo>
                    <a:pt x="182" y="84"/>
                  </a:lnTo>
                  <a:lnTo>
                    <a:pt x="150" y="93"/>
                  </a:lnTo>
                  <a:lnTo>
                    <a:pt x="95" y="108"/>
                  </a:lnTo>
                  <a:lnTo>
                    <a:pt x="54" y="121"/>
                  </a:lnTo>
                  <a:lnTo>
                    <a:pt x="28" y="130"/>
                  </a:lnTo>
                  <a:lnTo>
                    <a:pt x="18" y="134"/>
                  </a:lnTo>
                  <a:lnTo>
                    <a:pt x="13" y="134"/>
                  </a:lnTo>
                  <a:lnTo>
                    <a:pt x="8" y="133"/>
                  </a:lnTo>
                  <a:lnTo>
                    <a:pt x="4" y="131"/>
                  </a:lnTo>
                  <a:lnTo>
                    <a:pt x="1" y="126"/>
                  </a:lnTo>
                  <a:lnTo>
                    <a:pt x="0" y="121"/>
                  </a:lnTo>
                  <a:lnTo>
                    <a:pt x="1" y="116"/>
                  </a:lnTo>
                  <a:lnTo>
                    <a:pt x="4" y="111"/>
                  </a:lnTo>
                  <a:lnTo>
                    <a:pt x="8" y="108"/>
                  </a:lnTo>
                  <a:lnTo>
                    <a:pt x="18" y="105"/>
                  </a:lnTo>
                  <a:lnTo>
                    <a:pt x="44" y="96"/>
                  </a:lnTo>
                  <a:lnTo>
                    <a:pt x="86" y="82"/>
                  </a:lnTo>
                  <a:lnTo>
                    <a:pt x="142" y="67"/>
                  </a:lnTo>
                  <a:lnTo>
                    <a:pt x="175" y="58"/>
                  </a:lnTo>
                  <a:lnTo>
                    <a:pt x="210" y="50"/>
                  </a:lnTo>
                  <a:lnTo>
                    <a:pt x="249" y="41"/>
                  </a:lnTo>
                  <a:lnTo>
                    <a:pt x="291" y="32"/>
                  </a:lnTo>
                  <a:lnTo>
                    <a:pt x="334" y="25"/>
                  </a:lnTo>
                  <a:lnTo>
                    <a:pt x="381" y="17"/>
                  </a:lnTo>
                  <a:lnTo>
                    <a:pt x="429" y="11"/>
                  </a:lnTo>
                  <a:lnTo>
                    <a:pt x="480" y="4"/>
                  </a:lnTo>
                  <a:lnTo>
                    <a:pt x="507" y="2"/>
                  </a:lnTo>
                  <a:lnTo>
                    <a:pt x="534" y="1"/>
                  </a:lnTo>
                  <a:lnTo>
                    <a:pt x="561" y="0"/>
                  </a:lnTo>
                  <a:lnTo>
                    <a:pt x="587" y="1"/>
                  </a:lnTo>
                  <a:lnTo>
                    <a:pt x="614" y="2"/>
                  </a:lnTo>
                  <a:lnTo>
                    <a:pt x="640" y="4"/>
                  </a:lnTo>
                  <a:lnTo>
                    <a:pt x="666" y="8"/>
                  </a:lnTo>
                  <a:lnTo>
                    <a:pt x="692" y="11"/>
                  </a:lnTo>
                  <a:lnTo>
                    <a:pt x="718" y="15"/>
                  </a:lnTo>
                  <a:lnTo>
                    <a:pt x="743" y="20"/>
                  </a:lnTo>
                  <a:lnTo>
                    <a:pt x="768" y="25"/>
                  </a:lnTo>
                  <a:lnTo>
                    <a:pt x="793" y="31"/>
                  </a:lnTo>
                  <a:lnTo>
                    <a:pt x="843" y="45"/>
                  </a:lnTo>
                  <a:lnTo>
                    <a:pt x="892" y="61"/>
                  </a:lnTo>
                  <a:lnTo>
                    <a:pt x="939" y="78"/>
                  </a:lnTo>
                  <a:lnTo>
                    <a:pt x="986" y="96"/>
                  </a:lnTo>
                  <a:lnTo>
                    <a:pt x="1031" y="116"/>
                  </a:lnTo>
                  <a:lnTo>
                    <a:pt x="1074" y="135"/>
                  </a:lnTo>
                  <a:lnTo>
                    <a:pt x="1157" y="176"/>
                  </a:lnTo>
                  <a:lnTo>
                    <a:pt x="1235" y="215"/>
                  </a:lnTo>
                  <a:lnTo>
                    <a:pt x="1276" y="235"/>
                  </a:lnTo>
                  <a:lnTo>
                    <a:pt x="1313" y="255"/>
                  </a:lnTo>
                  <a:lnTo>
                    <a:pt x="1347" y="271"/>
                  </a:lnTo>
                  <a:lnTo>
                    <a:pt x="1379" y="284"/>
                  </a:lnTo>
                  <a:lnTo>
                    <a:pt x="1384" y="287"/>
                  </a:lnTo>
                  <a:lnTo>
                    <a:pt x="1386" y="292"/>
                  </a:lnTo>
                  <a:lnTo>
                    <a:pt x="1387" y="297"/>
                  </a:lnTo>
                  <a:lnTo>
                    <a:pt x="1386" y="302"/>
                  </a:lnTo>
                  <a:lnTo>
                    <a:pt x="1384" y="306"/>
                  </a:lnTo>
                  <a:lnTo>
                    <a:pt x="1382" y="308"/>
                  </a:lnTo>
                  <a:lnTo>
                    <a:pt x="1377" y="310"/>
                  </a:lnTo>
                  <a:lnTo>
                    <a:pt x="1374" y="31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233"/>
            <p:cNvSpPr>
              <a:spLocks/>
            </p:cNvSpPr>
            <p:nvPr userDrawn="1"/>
          </p:nvSpPr>
          <p:spPr bwMode="auto">
            <a:xfrm>
              <a:off x="4672013" y="6067425"/>
              <a:ext cx="654050" cy="349250"/>
            </a:xfrm>
            <a:custGeom>
              <a:avLst/>
              <a:gdLst>
                <a:gd name="T0" fmla="*/ 1219 w 1234"/>
                <a:gd name="T1" fmla="*/ 661 h 661"/>
                <a:gd name="T2" fmla="*/ 1213 w 1234"/>
                <a:gd name="T3" fmla="*/ 658 h 661"/>
                <a:gd name="T4" fmla="*/ 1190 w 1234"/>
                <a:gd name="T5" fmla="*/ 647 h 661"/>
                <a:gd name="T6" fmla="*/ 1133 w 1234"/>
                <a:gd name="T7" fmla="*/ 610 h 661"/>
                <a:gd name="T8" fmla="*/ 1037 w 1234"/>
                <a:gd name="T9" fmla="*/ 539 h 661"/>
                <a:gd name="T10" fmla="*/ 950 w 1234"/>
                <a:gd name="T11" fmla="*/ 469 h 661"/>
                <a:gd name="T12" fmla="*/ 900 w 1234"/>
                <a:gd name="T13" fmla="*/ 437 h 661"/>
                <a:gd name="T14" fmla="*/ 841 w 1234"/>
                <a:gd name="T15" fmla="*/ 403 h 661"/>
                <a:gd name="T16" fmla="*/ 773 w 1234"/>
                <a:gd name="T17" fmla="*/ 366 h 661"/>
                <a:gd name="T18" fmla="*/ 660 w 1234"/>
                <a:gd name="T19" fmla="*/ 309 h 661"/>
                <a:gd name="T20" fmla="*/ 499 w 1234"/>
                <a:gd name="T21" fmla="*/ 233 h 661"/>
                <a:gd name="T22" fmla="*/ 339 w 1234"/>
                <a:gd name="T23" fmla="*/ 163 h 661"/>
                <a:gd name="T24" fmla="*/ 194 w 1234"/>
                <a:gd name="T25" fmla="*/ 101 h 661"/>
                <a:gd name="T26" fmla="*/ 83 w 1234"/>
                <a:gd name="T27" fmla="*/ 56 h 661"/>
                <a:gd name="T28" fmla="*/ 18 w 1234"/>
                <a:gd name="T29" fmla="*/ 29 h 661"/>
                <a:gd name="T30" fmla="*/ 4 w 1234"/>
                <a:gd name="T31" fmla="*/ 23 h 661"/>
                <a:gd name="T32" fmla="*/ 0 w 1234"/>
                <a:gd name="T33" fmla="*/ 13 h 661"/>
                <a:gd name="T34" fmla="*/ 3 w 1234"/>
                <a:gd name="T35" fmla="*/ 3 h 661"/>
                <a:gd name="T36" fmla="*/ 13 w 1234"/>
                <a:gd name="T37" fmla="*/ 0 h 661"/>
                <a:gd name="T38" fmla="*/ 32 w 1234"/>
                <a:gd name="T39" fmla="*/ 6 h 661"/>
                <a:gd name="T40" fmla="*/ 101 w 1234"/>
                <a:gd name="T41" fmla="*/ 34 h 661"/>
                <a:gd name="T42" fmla="*/ 216 w 1234"/>
                <a:gd name="T43" fmla="*/ 81 h 661"/>
                <a:gd name="T44" fmla="*/ 360 w 1234"/>
                <a:gd name="T45" fmla="*/ 142 h 661"/>
                <a:gd name="T46" fmla="*/ 519 w 1234"/>
                <a:gd name="T47" fmla="*/ 213 h 661"/>
                <a:gd name="T48" fmla="*/ 679 w 1234"/>
                <a:gd name="T49" fmla="*/ 287 h 661"/>
                <a:gd name="T50" fmla="*/ 791 w 1234"/>
                <a:gd name="T51" fmla="*/ 344 h 661"/>
                <a:gd name="T52" fmla="*/ 858 w 1234"/>
                <a:gd name="T53" fmla="*/ 381 h 661"/>
                <a:gd name="T54" fmla="*/ 916 w 1234"/>
                <a:gd name="T55" fmla="*/ 416 h 661"/>
                <a:gd name="T56" fmla="*/ 966 w 1234"/>
                <a:gd name="T57" fmla="*/ 449 h 661"/>
                <a:gd name="T58" fmla="*/ 1051 w 1234"/>
                <a:gd name="T59" fmla="*/ 516 h 661"/>
                <a:gd name="T60" fmla="*/ 1145 w 1234"/>
                <a:gd name="T61" fmla="*/ 586 h 661"/>
                <a:gd name="T62" fmla="*/ 1199 w 1234"/>
                <a:gd name="T63" fmla="*/ 621 h 661"/>
                <a:gd name="T64" fmla="*/ 1221 w 1234"/>
                <a:gd name="T65" fmla="*/ 632 h 661"/>
                <a:gd name="T66" fmla="*/ 1228 w 1234"/>
                <a:gd name="T67" fmla="*/ 637 h 661"/>
                <a:gd name="T68" fmla="*/ 1234 w 1234"/>
                <a:gd name="T69" fmla="*/ 645 h 661"/>
                <a:gd name="T70" fmla="*/ 1232 w 1234"/>
                <a:gd name="T71" fmla="*/ 655 h 661"/>
                <a:gd name="T72" fmla="*/ 1225 w 1234"/>
                <a:gd name="T73" fmla="*/ 65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4" h="661">
                  <a:moveTo>
                    <a:pt x="1221" y="661"/>
                  </a:moveTo>
                  <a:lnTo>
                    <a:pt x="1219" y="661"/>
                  </a:lnTo>
                  <a:lnTo>
                    <a:pt x="1218" y="661"/>
                  </a:lnTo>
                  <a:lnTo>
                    <a:pt x="1213" y="658"/>
                  </a:lnTo>
                  <a:lnTo>
                    <a:pt x="1205" y="655"/>
                  </a:lnTo>
                  <a:lnTo>
                    <a:pt x="1190" y="647"/>
                  </a:lnTo>
                  <a:lnTo>
                    <a:pt x="1166" y="632"/>
                  </a:lnTo>
                  <a:lnTo>
                    <a:pt x="1133" y="610"/>
                  </a:lnTo>
                  <a:lnTo>
                    <a:pt x="1091" y="580"/>
                  </a:lnTo>
                  <a:lnTo>
                    <a:pt x="1037" y="539"/>
                  </a:lnTo>
                  <a:lnTo>
                    <a:pt x="969" y="486"/>
                  </a:lnTo>
                  <a:lnTo>
                    <a:pt x="950" y="469"/>
                  </a:lnTo>
                  <a:lnTo>
                    <a:pt x="926" y="454"/>
                  </a:lnTo>
                  <a:lnTo>
                    <a:pt x="900" y="437"/>
                  </a:lnTo>
                  <a:lnTo>
                    <a:pt x="872" y="420"/>
                  </a:lnTo>
                  <a:lnTo>
                    <a:pt x="841" y="403"/>
                  </a:lnTo>
                  <a:lnTo>
                    <a:pt x="808" y="384"/>
                  </a:lnTo>
                  <a:lnTo>
                    <a:pt x="773" y="366"/>
                  </a:lnTo>
                  <a:lnTo>
                    <a:pt x="737" y="346"/>
                  </a:lnTo>
                  <a:lnTo>
                    <a:pt x="660" y="309"/>
                  </a:lnTo>
                  <a:lnTo>
                    <a:pt x="581" y="271"/>
                  </a:lnTo>
                  <a:lnTo>
                    <a:pt x="499" y="233"/>
                  </a:lnTo>
                  <a:lnTo>
                    <a:pt x="418" y="197"/>
                  </a:lnTo>
                  <a:lnTo>
                    <a:pt x="339" y="163"/>
                  </a:lnTo>
                  <a:lnTo>
                    <a:pt x="263" y="131"/>
                  </a:lnTo>
                  <a:lnTo>
                    <a:pt x="194" y="101"/>
                  </a:lnTo>
                  <a:lnTo>
                    <a:pt x="134" y="77"/>
                  </a:lnTo>
                  <a:lnTo>
                    <a:pt x="83" y="56"/>
                  </a:lnTo>
                  <a:lnTo>
                    <a:pt x="43" y="40"/>
                  </a:lnTo>
                  <a:lnTo>
                    <a:pt x="18" y="29"/>
                  </a:lnTo>
                  <a:lnTo>
                    <a:pt x="8" y="26"/>
                  </a:lnTo>
                  <a:lnTo>
                    <a:pt x="4" y="23"/>
                  </a:lnTo>
                  <a:lnTo>
                    <a:pt x="1" y="18"/>
                  </a:lnTo>
                  <a:lnTo>
                    <a:pt x="0" y="13"/>
                  </a:lnTo>
                  <a:lnTo>
                    <a:pt x="1" y="9"/>
                  </a:lnTo>
                  <a:lnTo>
                    <a:pt x="3" y="3"/>
                  </a:lnTo>
                  <a:lnTo>
                    <a:pt x="7" y="1"/>
                  </a:lnTo>
                  <a:lnTo>
                    <a:pt x="13" y="0"/>
                  </a:lnTo>
                  <a:lnTo>
                    <a:pt x="18" y="1"/>
                  </a:lnTo>
                  <a:lnTo>
                    <a:pt x="32" y="6"/>
                  </a:lnTo>
                  <a:lnTo>
                    <a:pt x="60" y="17"/>
                  </a:lnTo>
                  <a:lnTo>
                    <a:pt x="101" y="34"/>
                  </a:lnTo>
                  <a:lnTo>
                    <a:pt x="154" y="55"/>
                  </a:lnTo>
                  <a:lnTo>
                    <a:pt x="216" y="81"/>
                  </a:lnTo>
                  <a:lnTo>
                    <a:pt x="285" y="110"/>
                  </a:lnTo>
                  <a:lnTo>
                    <a:pt x="360" y="142"/>
                  </a:lnTo>
                  <a:lnTo>
                    <a:pt x="438" y="176"/>
                  </a:lnTo>
                  <a:lnTo>
                    <a:pt x="519" y="213"/>
                  </a:lnTo>
                  <a:lnTo>
                    <a:pt x="600" y="249"/>
                  </a:lnTo>
                  <a:lnTo>
                    <a:pt x="679" y="287"/>
                  </a:lnTo>
                  <a:lnTo>
                    <a:pt x="754" y="325"/>
                  </a:lnTo>
                  <a:lnTo>
                    <a:pt x="791" y="344"/>
                  </a:lnTo>
                  <a:lnTo>
                    <a:pt x="825" y="363"/>
                  </a:lnTo>
                  <a:lnTo>
                    <a:pt x="858" y="381"/>
                  </a:lnTo>
                  <a:lnTo>
                    <a:pt x="888" y="398"/>
                  </a:lnTo>
                  <a:lnTo>
                    <a:pt x="916" y="416"/>
                  </a:lnTo>
                  <a:lnTo>
                    <a:pt x="942" y="433"/>
                  </a:lnTo>
                  <a:lnTo>
                    <a:pt x="966" y="449"/>
                  </a:lnTo>
                  <a:lnTo>
                    <a:pt x="987" y="464"/>
                  </a:lnTo>
                  <a:lnTo>
                    <a:pt x="1051" y="516"/>
                  </a:lnTo>
                  <a:lnTo>
                    <a:pt x="1104" y="556"/>
                  </a:lnTo>
                  <a:lnTo>
                    <a:pt x="1145" y="586"/>
                  </a:lnTo>
                  <a:lnTo>
                    <a:pt x="1177" y="607"/>
                  </a:lnTo>
                  <a:lnTo>
                    <a:pt x="1199" y="621"/>
                  </a:lnTo>
                  <a:lnTo>
                    <a:pt x="1213" y="629"/>
                  </a:lnTo>
                  <a:lnTo>
                    <a:pt x="1221" y="632"/>
                  </a:lnTo>
                  <a:lnTo>
                    <a:pt x="1224" y="634"/>
                  </a:lnTo>
                  <a:lnTo>
                    <a:pt x="1228" y="637"/>
                  </a:lnTo>
                  <a:lnTo>
                    <a:pt x="1232" y="640"/>
                  </a:lnTo>
                  <a:lnTo>
                    <a:pt x="1234" y="645"/>
                  </a:lnTo>
                  <a:lnTo>
                    <a:pt x="1234" y="651"/>
                  </a:lnTo>
                  <a:lnTo>
                    <a:pt x="1232" y="655"/>
                  </a:lnTo>
                  <a:lnTo>
                    <a:pt x="1228" y="657"/>
                  </a:lnTo>
                  <a:lnTo>
                    <a:pt x="1225" y="659"/>
                  </a:lnTo>
                  <a:lnTo>
                    <a:pt x="1221" y="66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234"/>
            <p:cNvSpPr>
              <a:spLocks/>
            </p:cNvSpPr>
            <p:nvPr userDrawn="1"/>
          </p:nvSpPr>
          <p:spPr bwMode="auto">
            <a:xfrm>
              <a:off x="4641850" y="5997575"/>
              <a:ext cx="714375" cy="198438"/>
            </a:xfrm>
            <a:custGeom>
              <a:avLst/>
              <a:gdLst>
                <a:gd name="T0" fmla="*/ 1332 w 1350"/>
                <a:gd name="T1" fmla="*/ 374 h 375"/>
                <a:gd name="T2" fmla="*/ 1314 w 1350"/>
                <a:gd name="T3" fmla="*/ 361 h 375"/>
                <a:gd name="T4" fmla="*/ 1254 w 1350"/>
                <a:gd name="T5" fmla="*/ 315 h 375"/>
                <a:gd name="T6" fmla="*/ 1191 w 1350"/>
                <a:gd name="T7" fmla="*/ 271 h 375"/>
                <a:gd name="T8" fmla="*/ 1116 w 1350"/>
                <a:gd name="T9" fmla="*/ 223 h 375"/>
                <a:gd name="T10" fmla="*/ 1032 w 1350"/>
                <a:gd name="T11" fmla="*/ 172 h 375"/>
                <a:gd name="T12" fmla="*/ 940 w 1350"/>
                <a:gd name="T13" fmla="*/ 125 h 375"/>
                <a:gd name="T14" fmla="*/ 870 w 1350"/>
                <a:gd name="T15" fmla="*/ 96 h 375"/>
                <a:gd name="T16" fmla="*/ 823 w 1350"/>
                <a:gd name="T17" fmla="*/ 80 h 375"/>
                <a:gd name="T18" fmla="*/ 776 w 1350"/>
                <a:gd name="T19" fmla="*/ 66 h 375"/>
                <a:gd name="T20" fmla="*/ 723 w 1350"/>
                <a:gd name="T21" fmla="*/ 55 h 375"/>
                <a:gd name="T22" fmla="*/ 635 w 1350"/>
                <a:gd name="T23" fmla="*/ 43 h 375"/>
                <a:gd name="T24" fmla="*/ 509 w 1350"/>
                <a:gd name="T25" fmla="*/ 33 h 375"/>
                <a:gd name="T26" fmla="*/ 378 w 1350"/>
                <a:gd name="T27" fmla="*/ 28 h 375"/>
                <a:gd name="T28" fmla="*/ 256 w 1350"/>
                <a:gd name="T29" fmla="*/ 28 h 375"/>
                <a:gd name="T30" fmla="*/ 149 w 1350"/>
                <a:gd name="T31" fmla="*/ 29 h 375"/>
                <a:gd name="T32" fmla="*/ 67 w 1350"/>
                <a:gd name="T33" fmla="*/ 33 h 375"/>
                <a:gd name="T34" fmla="*/ 21 w 1350"/>
                <a:gd name="T35" fmla="*/ 35 h 375"/>
                <a:gd name="T36" fmla="*/ 9 w 1350"/>
                <a:gd name="T37" fmla="*/ 35 h 375"/>
                <a:gd name="T38" fmla="*/ 1 w 1350"/>
                <a:gd name="T39" fmla="*/ 27 h 375"/>
                <a:gd name="T40" fmla="*/ 0 w 1350"/>
                <a:gd name="T41" fmla="*/ 17 h 375"/>
                <a:gd name="T42" fmla="*/ 8 w 1350"/>
                <a:gd name="T43" fmla="*/ 10 h 375"/>
                <a:gd name="T44" fmla="*/ 23 w 1350"/>
                <a:gd name="T45" fmla="*/ 8 h 375"/>
                <a:gd name="T46" fmla="*/ 73 w 1350"/>
                <a:gd name="T47" fmla="*/ 6 h 375"/>
                <a:gd name="T48" fmla="*/ 156 w 1350"/>
                <a:gd name="T49" fmla="*/ 2 h 375"/>
                <a:gd name="T50" fmla="*/ 263 w 1350"/>
                <a:gd name="T51" fmla="*/ 0 h 375"/>
                <a:gd name="T52" fmla="*/ 386 w 1350"/>
                <a:gd name="T53" fmla="*/ 1 h 375"/>
                <a:gd name="T54" fmla="*/ 515 w 1350"/>
                <a:gd name="T55" fmla="*/ 7 h 375"/>
                <a:gd name="T56" fmla="*/ 642 w 1350"/>
                <a:gd name="T57" fmla="*/ 16 h 375"/>
                <a:gd name="T58" fmla="*/ 729 w 1350"/>
                <a:gd name="T59" fmla="*/ 29 h 375"/>
                <a:gd name="T60" fmla="*/ 782 w 1350"/>
                <a:gd name="T61" fmla="*/ 40 h 375"/>
                <a:gd name="T62" fmla="*/ 831 w 1350"/>
                <a:gd name="T63" fmla="*/ 54 h 375"/>
                <a:gd name="T64" fmla="*/ 878 w 1350"/>
                <a:gd name="T65" fmla="*/ 70 h 375"/>
                <a:gd name="T66" fmla="*/ 951 w 1350"/>
                <a:gd name="T67" fmla="*/ 101 h 375"/>
                <a:gd name="T68" fmla="*/ 1043 w 1350"/>
                <a:gd name="T69" fmla="*/ 148 h 375"/>
                <a:gd name="T70" fmla="*/ 1130 w 1350"/>
                <a:gd name="T71" fmla="*/ 199 h 375"/>
                <a:gd name="T72" fmla="*/ 1206 w 1350"/>
                <a:gd name="T73" fmla="*/ 249 h 375"/>
                <a:gd name="T74" fmla="*/ 1270 w 1350"/>
                <a:gd name="T75" fmla="*/ 293 h 375"/>
                <a:gd name="T76" fmla="*/ 1332 w 1350"/>
                <a:gd name="T77" fmla="*/ 339 h 375"/>
                <a:gd name="T78" fmla="*/ 1348 w 1350"/>
                <a:gd name="T79" fmla="*/ 354 h 375"/>
                <a:gd name="T80" fmla="*/ 1349 w 1350"/>
                <a:gd name="T81" fmla="*/ 365 h 375"/>
                <a:gd name="T82" fmla="*/ 1345 w 1350"/>
                <a:gd name="T83" fmla="*/ 372 h 375"/>
                <a:gd name="T84" fmla="*/ 1339 w 1350"/>
                <a:gd name="T85" fmla="*/ 37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0" h="375">
                  <a:moveTo>
                    <a:pt x="1336" y="375"/>
                  </a:moveTo>
                  <a:lnTo>
                    <a:pt x="1332" y="374"/>
                  </a:lnTo>
                  <a:lnTo>
                    <a:pt x="1327" y="372"/>
                  </a:lnTo>
                  <a:lnTo>
                    <a:pt x="1314" y="361"/>
                  </a:lnTo>
                  <a:lnTo>
                    <a:pt x="1279" y="334"/>
                  </a:lnTo>
                  <a:lnTo>
                    <a:pt x="1254" y="315"/>
                  </a:lnTo>
                  <a:lnTo>
                    <a:pt x="1225" y="294"/>
                  </a:lnTo>
                  <a:lnTo>
                    <a:pt x="1191" y="271"/>
                  </a:lnTo>
                  <a:lnTo>
                    <a:pt x="1156" y="247"/>
                  </a:lnTo>
                  <a:lnTo>
                    <a:pt x="1116" y="223"/>
                  </a:lnTo>
                  <a:lnTo>
                    <a:pt x="1075" y="197"/>
                  </a:lnTo>
                  <a:lnTo>
                    <a:pt x="1032" y="172"/>
                  </a:lnTo>
                  <a:lnTo>
                    <a:pt x="986" y="148"/>
                  </a:lnTo>
                  <a:lnTo>
                    <a:pt x="940" y="125"/>
                  </a:lnTo>
                  <a:lnTo>
                    <a:pt x="893" y="105"/>
                  </a:lnTo>
                  <a:lnTo>
                    <a:pt x="870" y="96"/>
                  </a:lnTo>
                  <a:lnTo>
                    <a:pt x="846" y="88"/>
                  </a:lnTo>
                  <a:lnTo>
                    <a:pt x="823" y="80"/>
                  </a:lnTo>
                  <a:lnTo>
                    <a:pt x="799" y="73"/>
                  </a:lnTo>
                  <a:lnTo>
                    <a:pt x="776" y="66"/>
                  </a:lnTo>
                  <a:lnTo>
                    <a:pt x="750" y="61"/>
                  </a:lnTo>
                  <a:lnTo>
                    <a:pt x="723" y="55"/>
                  </a:lnTo>
                  <a:lnTo>
                    <a:pt x="695" y="51"/>
                  </a:lnTo>
                  <a:lnTo>
                    <a:pt x="635" y="43"/>
                  </a:lnTo>
                  <a:lnTo>
                    <a:pt x="573" y="38"/>
                  </a:lnTo>
                  <a:lnTo>
                    <a:pt x="509" y="33"/>
                  </a:lnTo>
                  <a:lnTo>
                    <a:pt x="443" y="30"/>
                  </a:lnTo>
                  <a:lnTo>
                    <a:pt x="378" y="28"/>
                  </a:lnTo>
                  <a:lnTo>
                    <a:pt x="316" y="27"/>
                  </a:lnTo>
                  <a:lnTo>
                    <a:pt x="256" y="28"/>
                  </a:lnTo>
                  <a:lnTo>
                    <a:pt x="200" y="28"/>
                  </a:lnTo>
                  <a:lnTo>
                    <a:pt x="149" y="29"/>
                  </a:lnTo>
                  <a:lnTo>
                    <a:pt x="104" y="32"/>
                  </a:lnTo>
                  <a:lnTo>
                    <a:pt x="67" y="33"/>
                  </a:lnTo>
                  <a:lnTo>
                    <a:pt x="39" y="34"/>
                  </a:lnTo>
                  <a:lnTo>
                    <a:pt x="21" y="35"/>
                  </a:lnTo>
                  <a:lnTo>
                    <a:pt x="14" y="35"/>
                  </a:lnTo>
                  <a:lnTo>
                    <a:pt x="9" y="35"/>
                  </a:lnTo>
                  <a:lnTo>
                    <a:pt x="5" y="32"/>
                  </a:lnTo>
                  <a:lnTo>
                    <a:pt x="1" y="27"/>
                  </a:lnTo>
                  <a:lnTo>
                    <a:pt x="0" y="23"/>
                  </a:lnTo>
                  <a:lnTo>
                    <a:pt x="0" y="17"/>
                  </a:lnTo>
                  <a:lnTo>
                    <a:pt x="4" y="13"/>
                  </a:lnTo>
                  <a:lnTo>
                    <a:pt x="8" y="10"/>
                  </a:lnTo>
                  <a:lnTo>
                    <a:pt x="13" y="8"/>
                  </a:lnTo>
                  <a:lnTo>
                    <a:pt x="23" y="8"/>
                  </a:lnTo>
                  <a:lnTo>
                    <a:pt x="42" y="7"/>
                  </a:lnTo>
                  <a:lnTo>
                    <a:pt x="73" y="6"/>
                  </a:lnTo>
                  <a:lnTo>
                    <a:pt x="110" y="3"/>
                  </a:lnTo>
                  <a:lnTo>
                    <a:pt x="156" y="2"/>
                  </a:lnTo>
                  <a:lnTo>
                    <a:pt x="207" y="1"/>
                  </a:lnTo>
                  <a:lnTo>
                    <a:pt x="263" y="0"/>
                  </a:lnTo>
                  <a:lnTo>
                    <a:pt x="323" y="0"/>
                  </a:lnTo>
                  <a:lnTo>
                    <a:pt x="386" y="1"/>
                  </a:lnTo>
                  <a:lnTo>
                    <a:pt x="451" y="3"/>
                  </a:lnTo>
                  <a:lnTo>
                    <a:pt x="515" y="7"/>
                  </a:lnTo>
                  <a:lnTo>
                    <a:pt x="579" y="11"/>
                  </a:lnTo>
                  <a:lnTo>
                    <a:pt x="642" y="16"/>
                  </a:lnTo>
                  <a:lnTo>
                    <a:pt x="701" y="25"/>
                  </a:lnTo>
                  <a:lnTo>
                    <a:pt x="729" y="29"/>
                  </a:lnTo>
                  <a:lnTo>
                    <a:pt x="756" y="35"/>
                  </a:lnTo>
                  <a:lnTo>
                    <a:pt x="782" y="40"/>
                  </a:lnTo>
                  <a:lnTo>
                    <a:pt x="807" y="47"/>
                  </a:lnTo>
                  <a:lnTo>
                    <a:pt x="831" y="54"/>
                  </a:lnTo>
                  <a:lnTo>
                    <a:pt x="854" y="62"/>
                  </a:lnTo>
                  <a:lnTo>
                    <a:pt x="878" y="70"/>
                  </a:lnTo>
                  <a:lnTo>
                    <a:pt x="902" y="80"/>
                  </a:lnTo>
                  <a:lnTo>
                    <a:pt x="951" y="101"/>
                  </a:lnTo>
                  <a:lnTo>
                    <a:pt x="997" y="123"/>
                  </a:lnTo>
                  <a:lnTo>
                    <a:pt x="1043" y="148"/>
                  </a:lnTo>
                  <a:lnTo>
                    <a:pt x="1088" y="173"/>
                  </a:lnTo>
                  <a:lnTo>
                    <a:pt x="1130" y="199"/>
                  </a:lnTo>
                  <a:lnTo>
                    <a:pt x="1170" y="225"/>
                  </a:lnTo>
                  <a:lnTo>
                    <a:pt x="1206" y="249"/>
                  </a:lnTo>
                  <a:lnTo>
                    <a:pt x="1240" y="272"/>
                  </a:lnTo>
                  <a:lnTo>
                    <a:pt x="1270" y="293"/>
                  </a:lnTo>
                  <a:lnTo>
                    <a:pt x="1295" y="312"/>
                  </a:lnTo>
                  <a:lnTo>
                    <a:pt x="1332" y="339"/>
                  </a:lnTo>
                  <a:lnTo>
                    <a:pt x="1345" y="350"/>
                  </a:lnTo>
                  <a:lnTo>
                    <a:pt x="1348" y="354"/>
                  </a:lnTo>
                  <a:lnTo>
                    <a:pt x="1350" y="360"/>
                  </a:lnTo>
                  <a:lnTo>
                    <a:pt x="1349" y="365"/>
                  </a:lnTo>
                  <a:lnTo>
                    <a:pt x="1347" y="369"/>
                  </a:lnTo>
                  <a:lnTo>
                    <a:pt x="1345" y="372"/>
                  </a:lnTo>
                  <a:lnTo>
                    <a:pt x="1341" y="373"/>
                  </a:lnTo>
                  <a:lnTo>
                    <a:pt x="1339" y="374"/>
                  </a:lnTo>
                  <a:lnTo>
                    <a:pt x="1336" y="3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235"/>
            <p:cNvSpPr>
              <a:spLocks/>
            </p:cNvSpPr>
            <p:nvPr userDrawn="1"/>
          </p:nvSpPr>
          <p:spPr bwMode="auto">
            <a:xfrm>
              <a:off x="4608513" y="5822950"/>
              <a:ext cx="714375" cy="188913"/>
            </a:xfrm>
            <a:custGeom>
              <a:avLst/>
              <a:gdLst>
                <a:gd name="T0" fmla="*/ 1334 w 1352"/>
                <a:gd name="T1" fmla="*/ 355 h 355"/>
                <a:gd name="T2" fmla="*/ 1323 w 1352"/>
                <a:gd name="T3" fmla="*/ 350 h 355"/>
                <a:gd name="T4" fmla="*/ 1273 w 1352"/>
                <a:gd name="T5" fmla="*/ 323 h 355"/>
                <a:gd name="T6" fmla="*/ 1183 w 1352"/>
                <a:gd name="T7" fmla="*/ 277 h 355"/>
                <a:gd name="T8" fmla="*/ 1065 w 1352"/>
                <a:gd name="T9" fmla="*/ 221 h 355"/>
                <a:gd name="T10" fmla="*/ 930 w 1352"/>
                <a:gd name="T11" fmla="*/ 161 h 355"/>
                <a:gd name="T12" fmla="*/ 824 w 1352"/>
                <a:gd name="T13" fmla="*/ 118 h 355"/>
                <a:gd name="T14" fmla="*/ 752 w 1352"/>
                <a:gd name="T15" fmla="*/ 92 h 355"/>
                <a:gd name="T16" fmla="*/ 683 w 1352"/>
                <a:gd name="T17" fmla="*/ 69 h 355"/>
                <a:gd name="T18" fmla="*/ 617 w 1352"/>
                <a:gd name="T19" fmla="*/ 50 h 355"/>
                <a:gd name="T20" fmla="*/ 555 w 1352"/>
                <a:gd name="T21" fmla="*/ 37 h 355"/>
                <a:gd name="T22" fmla="*/ 498 w 1352"/>
                <a:gd name="T23" fmla="*/ 29 h 355"/>
                <a:gd name="T24" fmla="*/ 449 w 1352"/>
                <a:gd name="T25" fmla="*/ 27 h 355"/>
                <a:gd name="T26" fmla="*/ 400 w 1352"/>
                <a:gd name="T27" fmla="*/ 29 h 355"/>
                <a:gd name="T28" fmla="*/ 333 w 1352"/>
                <a:gd name="T29" fmla="*/ 37 h 355"/>
                <a:gd name="T30" fmla="*/ 251 w 1352"/>
                <a:gd name="T31" fmla="*/ 51 h 355"/>
                <a:gd name="T32" fmla="*/ 180 w 1352"/>
                <a:gd name="T33" fmla="*/ 70 h 355"/>
                <a:gd name="T34" fmla="*/ 119 w 1352"/>
                <a:gd name="T35" fmla="*/ 91 h 355"/>
                <a:gd name="T36" fmla="*/ 73 w 1352"/>
                <a:gd name="T37" fmla="*/ 110 h 355"/>
                <a:gd name="T38" fmla="*/ 30 w 1352"/>
                <a:gd name="T39" fmla="*/ 132 h 355"/>
                <a:gd name="T40" fmla="*/ 16 w 1352"/>
                <a:gd name="T41" fmla="*/ 138 h 355"/>
                <a:gd name="T42" fmla="*/ 5 w 1352"/>
                <a:gd name="T43" fmla="*/ 136 h 355"/>
                <a:gd name="T44" fmla="*/ 0 w 1352"/>
                <a:gd name="T45" fmla="*/ 126 h 355"/>
                <a:gd name="T46" fmla="*/ 3 w 1352"/>
                <a:gd name="T47" fmla="*/ 117 h 355"/>
                <a:gd name="T48" fmla="*/ 18 w 1352"/>
                <a:gd name="T49" fmla="*/ 107 h 355"/>
                <a:gd name="T50" fmla="*/ 63 w 1352"/>
                <a:gd name="T51" fmla="*/ 84 h 355"/>
                <a:gd name="T52" fmla="*/ 112 w 1352"/>
                <a:gd name="T53" fmla="*/ 65 h 355"/>
                <a:gd name="T54" fmla="*/ 173 w 1352"/>
                <a:gd name="T55" fmla="*/ 43 h 355"/>
                <a:gd name="T56" fmla="*/ 247 w 1352"/>
                <a:gd name="T57" fmla="*/ 25 h 355"/>
                <a:gd name="T58" fmla="*/ 330 w 1352"/>
                <a:gd name="T59" fmla="*/ 10 h 355"/>
                <a:gd name="T60" fmla="*/ 399 w 1352"/>
                <a:gd name="T61" fmla="*/ 2 h 355"/>
                <a:gd name="T62" fmla="*/ 448 w 1352"/>
                <a:gd name="T63" fmla="*/ 0 h 355"/>
                <a:gd name="T64" fmla="*/ 500 w 1352"/>
                <a:gd name="T65" fmla="*/ 2 h 355"/>
                <a:gd name="T66" fmla="*/ 557 w 1352"/>
                <a:gd name="T67" fmla="*/ 9 h 355"/>
                <a:gd name="T68" fmla="*/ 619 w 1352"/>
                <a:gd name="T69" fmla="*/ 23 h 355"/>
                <a:gd name="T70" fmla="*/ 686 w 1352"/>
                <a:gd name="T71" fmla="*/ 41 h 355"/>
                <a:gd name="T72" fmla="*/ 755 w 1352"/>
                <a:gd name="T73" fmla="*/ 64 h 355"/>
                <a:gd name="T74" fmla="*/ 826 w 1352"/>
                <a:gd name="T75" fmla="*/ 90 h 355"/>
                <a:gd name="T76" fmla="*/ 933 w 1352"/>
                <a:gd name="T77" fmla="*/ 132 h 355"/>
                <a:gd name="T78" fmla="*/ 1068 w 1352"/>
                <a:gd name="T79" fmla="*/ 192 h 355"/>
                <a:gd name="T80" fmla="*/ 1186 w 1352"/>
                <a:gd name="T81" fmla="*/ 248 h 355"/>
                <a:gd name="T82" fmla="*/ 1278 w 1352"/>
                <a:gd name="T83" fmla="*/ 295 h 355"/>
                <a:gd name="T84" fmla="*/ 1333 w 1352"/>
                <a:gd name="T85" fmla="*/ 324 h 355"/>
                <a:gd name="T86" fmla="*/ 1348 w 1352"/>
                <a:gd name="T87" fmla="*/ 334 h 355"/>
                <a:gd name="T88" fmla="*/ 1352 w 1352"/>
                <a:gd name="T89" fmla="*/ 343 h 355"/>
                <a:gd name="T90" fmla="*/ 1347 w 1352"/>
                <a:gd name="T91" fmla="*/ 352 h 355"/>
                <a:gd name="T92" fmla="*/ 1341 w 1352"/>
                <a:gd name="T9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2" h="355">
                  <a:moveTo>
                    <a:pt x="1337" y="355"/>
                  </a:moveTo>
                  <a:lnTo>
                    <a:pt x="1334" y="355"/>
                  </a:lnTo>
                  <a:lnTo>
                    <a:pt x="1331" y="354"/>
                  </a:lnTo>
                  <a:lnTo>
                    <a:pt x="1323" y="350"/>
                  </a:lnTo>
                  <a:lnTo>
                    <a:pt x="1303" y="339"/>
                  </a:lnTo>
                  <a:lnTo>
                    <a:pt x="1273" y="323"/>
                  </a:lnTo>
                  <a:lnTo>
                    <a:pt x="1232" y="302"/>
                  </a:lnTo>
                  <a:lnTo>
                    <a:pt x="1183" y="277"/>
                  </a:lnTo>
                  <a:lnTo>
                    <a:pt x="1127" y="251"/>
                  </a:lnTo>
                  <a:lnTo>
                    <a:pt x="1065" y="221"/>
                  </a:lnTo>
                  <a:lnTo>
                    <a:pt x="1000" y="191"/>
                  </a:lnTo>
                  <a:lnTo>
                    <a:pt x="930" y="161"/>
                  </a:lnTo>
                  <a:lnTo>
                    <a:pt x="859" y="132"/>
                  </a:lnTo>
                  <a:lnTo>
                    <a:pt x="824" y="118"/>
                  </a:lnTo>
                  <a:lnTo>
                    <a:pt x="788" y="104"/>
                  </a:lnTo>
                  <a:lnTo>
                    <a:pt x="752" y="92"/>
                  </a:lnTo>
                  <a:lnTo>
                    <a:pt x="718" y="80"/>
                  </a:lnTo>
                  <a:lnTo>
                    <a:pt x="683" y="69"/>
                  </a:lnTo>
                  <a:lnTo>
                    <a:pt x="650" y="58"/>
                  </a:lnTo>
                  <a:lnTo>
                    <a:pt x="617" y="50"/>
                  </a:lnTo>
                  <a:lnTo>
                    <a:pt x="586" y="42"/>
                  </a:lnTo>
                  <a:lnTo>
                    <a:pt x="555" y="37"/>
                  </a:lnTo>
                  <a:lnTo>
                    <a:pt x="527" y="31"/>
                  </a:lnTo>
                  <a:lnTo>
                    <a:pt x="498" y="29"/>
                  </a:lnTo>
                  <a:lnTo>
                    <a:pt x="473" y="27"/>
                  </a:lnTo>
                  <a:lnTo>
                    <a:pt x="449" y="27"/>
                  </a:lnTo>
                  <a:lnTo>
                    <a:pt x="424" y="28"/>
                  </a:lnTo>
                  <a:lnTo>
                    <a:pt x="400" y="29"/>
                  </a:lnTo>
                  <a:lnTo>
                    <a:pt x="378" y="31"/>
                  </a:lnTo>
                  <a:lnTo>
                    <a:pt x="333" y="37"/>
                  </a:lnTo>
                  <a:lnTo>
                    <a:pt x="291" y="43"/>
                  </a:lnTo>
                  <a:lnTo>
                    <a:pt x="251" y="51"/>
                  </a:lnTo>
                  <a:lnTo>
                    <a:pt x="213" y="61"/>
                  </a:lnTo>
                  <a:lnTo>
                    <a:pt x="180" y="70"/>
                  </a:lnTo>
                  <a:lnTo>
                    <a:pt x="148" y="80"/>
                  </a:lnTo>
                  <a:lnTo>
                    <a:pt x="119" y="91"/>
                  </a:lnTo>
                  <a:lnTo>
                    <a:pt x="95" y="100"/>
                  </a:lnTo>
                  <a:lnTo>
                    <a:pt x="73" y="110"/>
                  </a:lnTo>
                  <a:lnTo>
                    <a:pt x="55" y="119"/>
                  </a:lnTo>
                  <a:lnTo>
                    <a:pt x="30" y="132"/>
                  </a:lnTo>
                  <a:lnTo>
                    <a:pt x="20" y="136"/>
                  </a:lnTo>
                  <a:lnTo>
                    <a:pt x="16" y="138"/>
                  </a:lnTo>
                  <a:lnTo>
                    <a:pt x="10" y="138"/>
                  </a:lnTo>
                  <a:lnTo>
                    <a:pt x="5" y="136"/>
                  </a:lnTo>
                  <a:lnTo>
                    <a:pt x="2" y="132"/>
                  </a:lnTo>
                  <a:lnTo>
                    <a:pt x="0" y="126"/>
                  </a:lnTo>
                  <a:lnTo>
                    <a:pt x="1" y="122"/>
                  </a:lnTo>
                  <a:lnTo>
                    <a:pt x="3" y="117"/>
                  </a:lnTo>
                  <a:lnTo>
                    <a:pt x="6" y="113"/>
                  </a:lnTo>
                  <a:lnTo>
                    <a:pt x="18" y="107"/>
                  </a:lnTo>
                  <a:lnTo>
                    <a:pt x="45" y="93"/>
                  </a:lnTo>
                  <a:lnTo>
                    <a:pt x="63" y="84"/>
                  </a:lnTo>
                  <a:lnTo>
                    <a:pt x="86" y="75"/>
                  </a:lnTo>
                  <a:lnTo>
                    <a:pt x="112" y="65"/>
                  </a:lnTo>
                  <a:lnTo>
                    <a:pt x="141" y="54"/>
                  </a:lnTo>
                  <a:lnTo>
                    <a:pt x="173" y="43"/>
                  </a:lnTo>
                  <a:lnTo>
                    <a:pt x="209" y="34"/>
                  </a:lnTo>
                  <a:lnTo>
                    <a:pt x="247" y="25"/>
                  </a:lnTo>
                  <a:lnTo>
                    <a:pt x="287" y="16"/>
                  </a:lnTo>
                  <a:lnTo>
                    <a:pt x="330" y="10"/>
                  </a:lnTo>
                  <a:lnTo>
                    <a:pt x="375" y="4"/>
                  </a:lnTo>
                  <a:lnTo>
                    <a:pt x="399" y="2"/>
                  </a:lnTo>
                  <a:lnTo>
                    <a:pt x="424" y="1"/>
                  </a:lnTo>
                  <a:lnTo>
                    <a:pt x="448" y="0"/>
                  </a:lnTo>
                  <a:lnTo>
                    <a:pt x="474" y="0"/>
                  </a:lnTo>
                  <a:lnTo>
                    <a:pt x="500" y="2"/>
                  </a:lnTo>
                  <a:lnTo>
                    <a:pt x="528" y="4"/>
                  </a:lnTo>
                  <a:lnTo>
                    <a:pt x="557" y="9"/>
                  </a:lnTo>
                  <a:lnTo>
                    <a:pt x="588" y="15"/>
                  </a:lnTo>
                  <a:lnTo>
                    <a:pt x="619" y="23"/>
                  </a:lnTo>
                  <a:lnTo>
                    <a:pt x="653" y="31"/>
                  </a:lnTo>
                  <a:lnTo>
                    <a:pt x="686" y="41"/>
                  </a:lnTo>
                  <a:lnTo>
                    <a:pt x="721" y="52"/>
                  </a:lnTo>
                  <a:lnTo>
                    <a:pt x="755" y="64"/>
                  </a:lnTo>
                  <a:lnTo>
                    <a:pt x="791" y="76"/>
                  </a:lnTo>
                  <a:lnTo>
                    <a:pt x="826" y="90"/>
                  </a:lnTo>
                  <a:lnTo>
                    <a:pt x="861" y="103"/>
                  </a:lnTo>
                  <a:lnTo>
                    <a:pt x="933" y="132"/>
                  </a:lnTo>
                  <a:lnTo>
                    <a:pt x="1002" y="162"/>
                  </a:lnTo>
                  <a:lnTo>
                    <a:pt x="1068" y="192"/>
                  </a:lnTo>
                  <a:lnTo>
                    <a:pt x="1129" y="221"/>
                  </a:lnTo>
                  <a:lnTo>
                    <a:pt x="1186" y="248"/>
                  </a:lnTo>
                  <a:lnTo>
                    <a:pt x="1236" y="273"/>
                  </a:lnTo>
                  <a:lnTo>
                    <a:pt x="1278" y="295"/>
                  </a:lnTo>
                  <a:lnTo>
                    <a:pt x="1311" y="312"/>
                  </a:lnTo>
                  <a:lnTo>
                    <a:pt x="1333" y="324"/>
                  </a:lnTo>
                  <a:lnTo>
                    <a:pt x="1344" y="330"/>
                  </a:lnTo>
                  <a:lnTo>
                    <a:pt x="1348" y="334"/>
                  </a:lnTo>
                  <a:lnTo>
                    <a:pt x="1350" y="338"/>
                  </a:lnTo>
                  <a:lnTo>
                    <a:pt x="1352" y="343"/>
                  </a:lnTo>
                  <a:lnTo>
                    <a:pt x="1349" y="349"/>
                  </a:lnTo>
                  <a:lnTo>
                    <a:pt x="1347" y="352"/>
                  </a:lnTo>
                  <a:lnTo>
                    <a:pt x="1344" y="354"/>
                  </a:lnTo>
                  <a:lnTo>
                    <a:pt x="1341" y="355"/>
                  </a:lnTo>
                  <a:lnTo>
                    <a:pt x="1337" y="35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236"/>
            <p:cNvSpPr>
              <a:spLocks/>
            </p:cNvSpPr>
            <p:nvPr userDrawn="1"/>
          </p:nvSpPr>
          <p:spPr bwMode="auto">
            <a:xfrm>
              <a:off x="4672013" y="6053138"/>
              <a:ext cx="654050" cy="349250"/>
            </a:xfrm>
            <a:custGeom>
              <a:avLst/>
              <a:gdLst>
                <a:gd name="T0" fmla="*/ 1219 w 1234"/>
                <a:gd name="T1" fmla="*/ 661 h 661"/>
                <a:gd name="T2" fmla="*/ 1213 w 1234"/>
                <a:gd name="T3" fmla="*/ 658 h 661"/>
                <a:gd name="T4" fmla="*/ 1190 w 1234"/>
                <a:gd name="T5" fmla="*/ 647 h 661"/>
                <a:gd name="T6" fmla="*/ 1133 w 1234"/>
                <a:gd name="T7" fmla="*/ 610 h 661"/>
                <a:gd name="T8" fmla="*/ 1037 w 1234"/>
                <a:gd name="T9" fmla="*/ 539 h 661"/>
                <a:gd name="T10" fmla="*/ 950 w 1234"/>
                <a:gd name="T11" fmla="*/ 470 h 661"/>
                <a:gd name="T12" fmla="*/ 900 w 1234"/>
                <a:gd name="T13" fmla="*/ 437 h 661"/>
                <a:gd name="T14" fmla="*/ 841 w 1234"/>
                <a:gd name="T15" fmla="*/ 403 h 661"/>
                <a:gd name="T16" fmla="*/ 773 w 1234"/>
                <a:gd name="T17" fmla="*/ 366 h 661"/>
                <a:gd name="T18" fmla="*/ 660 w 1234"/>
                <a:gd name="T19" fmla="*/ 309 h 661"/>
                <a:gd name="T20" fmla="*/ 499 w 1234"/>
                <a:gd name="T21" fmla="*/ 233 h 661"/>
                <a:gd name="T22" fmla="*/ 339 w 1234"/>
                <a:gd name="T23" fmla="*/ 163 h 661"/>
                <a:gd name="T24" fmla="*/ 194 w 1234"/>
                <a:gd name="T25" fmla="*/ 101 h 661"/>
                <a:gd name="T26" fmla="*/ 83 w 1234"/>
                <a:gd name="T27" fmla="*/ 56 h 661"/>
                <a:gd name="T28" fmla="*/ 18 w 1234"/>
                <a:gd name="T29" fmla="*/ 29 h 661"/>
                <a:gd name="T30" fmla="*/ 4 w 1234"/>
                <a:gd name="T31" fmla="*/ 23 h 661"/>
                <a:gd name="T32" fmla="*/ 0 w 1234"/>
                <a:gd name="T33" fmla="*/ 13 h 661"/>
                <a:gd name="T34" fmla="*/ 3 w 1234"/>
                <a:gd name="T35" fmla="*/ 3 h 661"/>
                <a:gd name="T36" fmla="*/ 13 w 1234"/>
                <a:gd name="T37" fmla="*/ 0 h 661"/>
                <a:gd name="T38" fmla="*/ 32 w 1234"/>
                <a:gd name="T39" fmla="*/ 6 h 661"/>
                <a:gd name="T40" fmla="*/ 101 w 1234"/>
                <a:gd name="T41" fmla="*/ 34 h 661"/>
                <a:gd name="T42" fmla="*/ 216 w 1234"/>
                <a:gd name="T43" fmla="*/ 81 h 661"/>
                <a:gd name="T44" fmla="*/ 360 w 1234"/>
                <a:gd name="T45" fmla="*/ 142 h 661"/>
                <a:gd name="T46" fmla="*/ 519 w 1234"/>
                <a:gd name="T47" fmla="*/ 213 h 661"/>
                <a:gd name="T48" fmla="*/ 679 w 1234"/>
                <a:gd name="T49" fmla="*/ 287 h 661"/>
                <a:gd name="T50" fmla="*/ 791 w 1234"/>
                <a:gd name="T51" fmla="*/ 344 h 661"/>
                <a:gd name="T52" fmla="*/ 858 w 1234"/>
                <a:gd name="T53" fmla="*/ 381 h 661"/>
                <a:gd name="T54" fmla="*/ 916 w 1234"/>
                <a:gd name="T55" fmla="*/ 416 h 661"/>
                <a:gd name="T56" fmla="*/ 966 w 1234"/>
                <a:gd name="T57" fmla="*/ 449 h 661"/>
                <a:gd name="T58" fmla="*/ 1051 w 1234"/>
                <a:gd name="T59" fmla="*/ 516 h 661"/>
                <a:gd name="T60" fmla="*/ 1145 w 1234"/>
                <a:gd name="T61" fmla="*/ 586 h 661"/>
                <a:gd name="T62" fmla="*/ 1199 w 1234"/>
                <a:gd name="T63" fmla="*/ 621 h 661"/>
                <a:gd name="T64" fmla="*/ 1221 w 1234"/>
                <a:gd name="T65" fmla="*/ 633 h 661"/>
                <a:gd name="T66" fmla="*/ 1228 w 1234"/>
                <a:gd name="T67" fmla="*/ 637 h 661"/>
                <a:gd name="T68" fmla="*/ 1234 w 1234"/>
                <a:gd name="T69" fmla="*/ 645 h 661"/>
                <a:gd name="T70" fmla="*/ 1232 w 1234"/>
                <a:gd name="T71" fmla="*/ 654 h 661"/>
                <a:gd name="T72" fmla="*/ 1225 w 1234"/>
                <a:gd name="T73" fmla="*/ 65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4" h="661">
                  <a:moveTo>
                    <a:pt x="1221" y="661"/>
                  </a:moveTo>
                  <a:lnTo>
                    <a:pt x="1219" y="661"/>
                  </a:lnTo>
                  <a:lnTo>
                    <a:pt x="1218" y="661"/>
                  </a:lnTo>
                  <a:lnTo>
                    <a:pt x="1213" y="658"/>
                  </a:lnTo>
                  <a:lnTo>
                    <a:pt x="1205" y="655"/>
                  </a:lnTo>
                  <a:lnTo>
                    <a:pt x="1190" y="647"/>
                  </a:lnTo>
                  <a:lnTo>
                    <a:pt x="1166" y="633"/>
                  </a:lnTo>
                  <a:lnTo>
                    <a:pt x="1133" y="610"/>
                  </a:lnTo>
                  <a:lnTo>
                    <a:pt x="1091" y="580"/>
                  </a:lnTo>
                  <a:lnTo>
                    <a:pt x="1037" y="539"/>
                  </a:lnTo>
                  <a:lnTo>
                    <a:pt x="969" y="486"/>
                  </a:lnTo>
                  <a:lnTo>
                    <a:pt x="950" y="470"/>
                  </a:lnTo>
                  <a:lnTo>
                    <a:pt x="926" y="454"/>
                  </a:lnTo>
                  <a:lnTo>
                    <a:pt x="900" y="437"/>
                  </a:lnTo>
                  <a:lnTo>
                    <a:pt x="872" y="420"/>
                  </a:lnTo>
                  <a:lnTo>
                    <a:pt x="841" y="403"/>
                  </a:lnTo>
                  <a:lnTo>
                    <a:pt x="808" y="384"/>
                  </a:lnTo>
                  <a:lnTo>
                    <a:pt x="773" y="366"/>
                  </a:lnTo>
                  <a:lnTo>
                    <a:pt x="737" y="346"/>
                  </a:lnTo>
                  <a:lnTo>
                    <a:pt x="660" y="309"/>
                  </a:lnTo>
                  <a:lnTo>
                    <a:pt x="581" y="271"/>
                  </a:lnTo>
                  <a:lnTo>
                    <a:pt x="499" y="233"/>
                  </a:lnTo>
                  <a:lnTo>
                    <a:pt x="418" y="197"/>
                  </a:lnTo>
                  <a:lnTo>
                    <a:pt x="339" y="163"/>
                  </a:lnTo>
                  <a:lnTo>
                    <a:pt x="263" y="131"/>
                  </a:lnTo>
                  <a:lnTo>
                    <a:pt x="194" y="101"/>
                  </a:lnTo>
                  <a:lnTo>
                    <a:pt x="134" y="77"/>
                  </a:lnTo>
                  <a:lnTo>
                    <a:pt x="83" y="56"/>
                  </a:lnTo>
                  <a:lnTo>
                    <a:pt x="43" y="40"/>
                  </a:lnTo>
                  <a:lnTo>
                    <a:pt x="18" y="29"/>
                  </a:lnTo>
                  <a:lnTo>
                    <a:pt x="8" y="26"/>
                  </a:lnTo>
                  <a:lnTo>
                    <a:pt x="4" y="23"/>
                  </a:lnTo>
                  <a:lnTo>
                    <a:pt x="1" y="18"/>
                  </a:lnTo>
                  <a:lnTo>
                    <a:pt x="0" y="13"/>
                  </a:lnTo>
                  <a:lnTo>
                    <a:pt x="1" y="9"/>
                  </a:lnTo>
                  <a:lnTo>
                    <a:pt x="3" y="3"/>
                  </a:lnTo>
                  <a:lnTo>
                    <a:pt x="7" y="1"/>
                  </a:lnTo>
                  <a:lnTo>
                    <a:pt x="13" y="0"/>
                  </a:lnTo>
                  <a:lnTo>
                    <a:pt x="18" y="0"/>
                  </a:lnTo>
                  <a:lnTo>
                    <a:pt x="32" y="6"/>
                  </a:lnTo>
                  <a:lnTo>
                    <a:pt x="60" y="17"/>
                  </a:lnTo>
                  <a:lnTo>
                    <a:pt x="101" y="34"/>
                  </a:lnTo>
                  <a:lnTo>
                    <a:pt x="154" y="55"/>
                  </a:lnTo>
                  <a:lnTo>
                    <a:pt x="216" y="81"/>
                  </a:lnTo>
                  <a:lnTo>
                    <a:pt x="285" y="110"/>
                  </a:lnTo>
                  <a:lnTo>
                    <a:pt x="360" y="142"/>
                  </a:lnTo>
                  <a:lnTo>
                    <a:pt x="438" y="176"/>
                  </a:lnTo>
                  <a:lnTo>
                    <a:pt x="519" y="213"/>
                  </a:lnTo>
                  <a:lnTo>
                    <a:pt x="600" y="249"/>
                  </a:lnTo>
                  <a:lnTo>
                    <a:pt x="679" y="287"/>
                  </a:lnTo>
                  <a:lnTo>
                    <a:pt x="754" y="325"/>
                  </a:lnTo>
                  <a:lnTo>
                    <a:pt x="791" y="344"/>
                  </a:lnTo>
                  <a:lnTo>
                    <a:pt x="825" y="363"/>
                  </a:lnTo>
                  <a:lnTo>
                    <a:pt x="858" y="381"/>
                  </a:lnTo>
                  <a:lnTo>
                    <a:pt x="888" y="398"/>
                  </a:lnTo>
                  <a:lnTo>
                    <a:pt x="916" y="416"/>
                  </a:lnTo>
                  <a:lnTo>
                    <a:pt x="942" y="433"/>
                  </a:lnTo>
                  <a:lnTo>
                    <a:pt x="966" y="449"/>
                  </a:lnTo>
                  <a:lnTo>
                    <a:pt x="987" y="464"/>
                  </a:lnTo>
                  <a:lnTo>
                    <a:pt x="1051" y="516"/>
                  </a:lnTo>
                  <a:lnTo>
                    <a:pt x="1104" y="556"/>
                  </a:lnTo>
                  <a:lnTo>
                    <a:pt x="1145" y="586"/>
                  </a:lnTo>
                  <a:lnTo>
                    <a:pt x="1177" y="607"/>
                  </a:lnTo>
                  <a:lnTo>
                    <a:pt x="1199" y="621"/>
                  </a:lnTo>
                  <a:lnTo>
                    <a:pt x="1213" y="629"/>
                  </a:lnTo>
                  <a:lnTo>
                    <a:pt x="1221" y="633"/>
                  </a:lnTo>
                  <a:lnTo>
                    <a:pt x="1224" y="634"/>
                  </a:lnTo>
                  <a:lnTo>
                    <a:pt x="1228" y="637"/>
                  </a:lnTo>
                  <a:lnTo>
                    <a:pt x="1232" y="640"/>
                  </a:lnTo>
                  <a:lnTo>
                    <a:pt x="1234" y="645"/>
                  </a:lnTo>
                  <a:lnTo>
                    <a:pt x="1234" y="651"/>
                  </a:lnTo>
                  <a:lnTo>
                    <a:pt x="1232" y="654"/>
                  </a:lnTo>
                  <a:lnTo>
                    <a:pt x="1228" y="657"/>
                  </a:lnTo>
                  <a:lnTo>
                    <a:pt x="1225" y="659"/>
                  </a:lnTo>
                  <a:lnTo>
                    <a:pt x="1221" y="66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237"/>
            <p:cNvSpPr>
              <a:spLocks/>
            </p:cNvSpPr>
            <p:nvPr userDrawn="1"/>
          </p:nvSpPr>
          <p:spPr bwMode="auto">
            <a:xfrm>
              <a:off x="4641850" y="5983288"/>
              <a:ext cx="714375" cy="198438"/>
            </a:xfrm>
            <a:custGeom>
              <a:avLst/>
              <a:gdLst>
                <a:gd name="T0" fmla="*/ 1332 w 1350"/>
                <a:gd name="T1" fmla="*/ 374 h 375"/>
                <a:gd name="T2" fmla="*/ 1314 w 1350"/>
                <a:gd name="T3" fmla="*/ 361 h 375"/>
                <a:gd name="T4" fmla="*/ 1254 w 1350"/>
                <a:gd name="T5" fmla="*/ 315 h 375"/>
                <a:gd name="T6" fmla="*/ 1191 w 1350"/>
                <a:gd name="T7" fmla="*/ 271 h 375"/>
                <a:gd name="T8" fmla="*/ 1116 w 1350"/>
                <a:gd name="T9" fmla="*/ 223 h 375"/>
                <a:gd name="T10" fmla="*/ 1032 w 1350"/>
                <a:gd name="T11" fmla="*/ 172 h 375"/>
                <a:gd name="T12" fmla="*/ 940 w 1350"/>
                <a:gd name="T13" fmla="*/ 125 h 375"/>
                <a:gd name="T14" fmla="*/ 870 w 1350"/>
                <a:gd name="T15" fmla="*/ 96 h 375"/>
                <a:gd name="T16" fmla="*/ 823 w 1350"/>
                <a:gd name="T17" fmla="*/ 80 h 375"/>
                <a:gd name="T18" fmla="*/ 776 w 1350"/>
                <a:gd name="T19" fmla="*/ 66 h 375"/>
                <a:gd name="T20" fmla="*/ 723 w 1350"/>
                <a:gd name="T21" fmla="*/ 55 h 375"/>
                <a:gd name="T22" fmla="*/ 635 w 1350"/>
                <a:gd name="T23" fmla="*/ 43 h 375"/>
                <a:gd name="T24" fmla="*/ 509 w 1350"/>
                <a:gd name="T25" fmla="*/ 33 h 375"/>
                <a:gd name="T26" fmla="*/ 378 w 1350"/>
                <a:gd name="T27" fmla="*/ 28 h 375"/>
                <a:gd name="T28" fmla="*/ 256 w 1350"/>
                <a:gd name="T29" fmla="*/ 28 h 375"/>
                <a:gd name="T30" fmla="*/ 149 w 1350"/>
                <a:gd name="T31" fmla="*/ 29 h 375"/>
                <a:gd name="T32" fmla="*/ 67 w 1350"/>
                <a:gd name="T33" fmla="*/ 33 h 375"/>
                <a:gd name="T34" fmla="*/ 21 w 1350"/>
                <a:gd name="T35" fmla="*/ 35 h 375"/>
                <a:gd name="T36" fmla="*/ 12 w 1350"/>
                <a:gd name="T37" fmla="*/ 35 h 375"/>
                <a:gd name="T38" fmla="*/ 7 w 1350"/>
                <a:gd name="T39" fmla="*/ 34 h 375"/>
                <a:gd name="T40" fmla="*/ 1 w 1350"/>
                <a:gd name="T41" fmla="*/ 27 h 375"/>
                <a:gd name="T42" fmla="*/ 0 w 1350"/>
                <a:gd name="T43" fmla="*/ 18 h 375"/>
                <a:gd name="T44" fmla="*/ 8 w 1350"/>
                <a:gd name="T45" fmla="*/ 10 h 375"/>
                <a:gd name="T46" fmla="*/ 23 w 1350"/>
                <a:gd name="T47" fmla="*/ 8 h 375"/>
                <a:gd name="T48" fmla="*/ 73 w 1350"/>
                <a:gd name="T49" fmla="*/ 6 h 375"/>
                <a:gd name="T50" fmla="*/ 156 w 1350"/>
                <a:gd name="T51" fmla="*/ 2 h 375"/>
                <a:gd name="T52" fmla="*/ 263 w 1350"/>
                <a:gd name="T53" fmla="*/ 0 h 375"/>
                <a:gd name="T54" fmla="*/ 386 w 1350"/>
                <a:gd name="T55" fmla="*/ 1 h 375"/>
                <a:gd name="T56" fmla="*/ 515 w 1350"/>
                <a:gd name="T57" fmla="*/ 6 h 375"/>
                <a:gd name="T58" fmla="*/ 642 w 1350"/>
                <a:gd name="T59" fmla="*/ 16 h 375"/>
                <a:gd name="T60" fmla="*/ 729 w 1350"/>
                <a:gd name="T61" fmla="*/ 29 h 375"/>
                <a:gd name="T62" fmla="*/ 782 w 1350"/>
                <a:gd name="T63" fmla="*/ 40 h 375"/>
                <a:gd name="T64" fmla="*/ 831 w 1350"/>
                <a:gd name="T65" fmla="*/ 54 h 375"/>
                <a:gd name="T66" fmla="*/ 878 w 1350"/>
                <a:gd name="T67" fmla="*/ 70 h 375"/>
                <a:gd name="T68" fmla="*/ 951 w 1350"/>
                <a:gd name="T69" fmla="*/ 101 h 375"/>
                <a:gd name="T70" fmla="*/ 1043 w 1350"/>
                <a:gd name="T71" fmla="*/ 148 h 375"/>
                <a:gd name="T72" fmla="*/ 1130 w 1350"/>
                <a:gd name="T73" fmla="*/ 199 h 375"/>
                <a:gd name="T74" fmla="*/ 1206 w 1350"/>
                <a:gd name="T75" fmla="*/ 249 h 375"/>
                <a:gd name="T76" fmla="*/ 1270 w 1350"/>
                <a:gd name="T77" fmla="*/ 293 h 375"/>
                <a:gd name="T78" fmla="*/ 1332 w 1350"/>
                <a:gd name="T79" fmla="*/ 339 h 375"/>
                <a:gd name="T80" fmla="*/ 1348 w 1350"/>
                <a:gd name="T81" fmla="*/ 354 h 375"/>
                <a:gd name="T82" fmla="*/ 1349 w 1350"/>
                <a:gd name="T83" fmla="*/ 365 h 375"/>
                <a:gd name="T84" fmla="*/ 1345 w 1350"/>
                <a:gd name="T85" fmla="*/ 372 h 375"/>
                <a:gd name="T86" fmla="*/ 1339 w 1350"/>
                <a:gd name="T87" fmla="*/ 37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0" h="375">
                  <a:moveTo>
                    <a:pt x="1336" y="375"/>
                  </a:moveTo>
                  <a:lnTo>
                    <a:pt x="1332" y="374"/>
                  </a:lnTo>
                  <a:lnTo>
                    <a:pt x="1327" y="372"/>
                  </a:lnTo>
                  <a:lnTo>
                    <a:pt x="1314" y="361"/>
                  </a:lnTo>
                  <a:lnTo>
                    <a:pt x="1279" y="334"/>
                  </a:lnTo>
                  <a:lnTo>
                    <a:pt x="1254" y="315"/>
                  </a:lnTo>
                  <a:lnTo>
                    <a:pt x="1225" y="294"/>
                  </a:lnTo>
                  <a:lnTo>
                    <a:pt x="1191" y="271"/>
                  </a:lnTo>
                  <a:lnTo>
                    <a:pt x="1156" y="247"/>
                  </a:lnTo>
                  <a:lnTo>
                    <a:pt x="1116" y="223"/>
                  </a:lnTo>
                  <a:lnTo>
                    <a:pt x="1075" y="197"/>
                  </a:lnTo>
                  <a:lnTo>
                    <a:pt x="1032" y="172"/>
                  </a:lnTo>
                  <a:lnTo>
                    <a:pt x="986" y="148"/>
                  </a:lnTo>
                  <a:lnTo>
                    <a:pt x="940" y="125"/>
                  </a:lnTo>
                  <a:lnTo>
                    <a:pt x="893" y="105"/>
                  </a:lnTo>
                  <a:lnTo>
                    <a:pt x="870" y="96"/>
                  </a:lnTo>
                  <a:lnTo>
                    <a:pt x="846" y="88"/>
                  </a:lnTo>
                  <a:lnTo>
                    <a:pt x="823" y="80"/>
                  </a:lnTo>
                  <a:lnTo>
                    <a:pt x="799" y="73"/>
                  </a:lnTo>
                  <a:lnTo>
                    <a:pt x="776" y="66"/>
                  </a:lnTo>
                  <a:lnTo>
                    <a:pt x="750" y="61"/>
                  </a:lnTo>
                  <a:lnTo>
                    <a:pt x="723" y="55"/>
                  </a:lnTo>
                  <a:lnTo>
                    <a:pt x="695" y="51"/>
                  </a:lnTo>
                  <a:lnTo>
                    <a:pt x="635" y="43"/>
                  </a:lnTo>
                  <a:lnTo>
                    <a:pt x="573" y="37"/>
                  </a:lnTo>
                  <a:lnTo>
                    <a:pt x="509" y="33"/>
                  </a:lnTo>
                  <a:lnTo>
                    <a:pt x="443" y="30"/>
                  </a:lnTo>
                  <a:lnTo>
                    <a:pt x="378" y="28"/>
                  </a:lnTo>
                  <a:lnTo>
                    <a:pt x="316" y="27"/>
                  </a:lnTo>
                  <a:lnTo>
                    <a:pt x="256" y="28"/>
                  </a:lnTo>
                  <a:lnTo>
                    <a:pt x="200" y="28"/>
                  </a:lnTo>
                  <a:lnTo>
                    <a:pt x="149" y="29"/>
                  </a:lnTo>
                  <a:lnTo>
                    <a:pt x="104" y="32"/>
                  </a:lnTo>
                  <a:lnTo>
                    <a:pt x="67" y="33"/>
                  </a:lnTo>
                  <a:lnTo>
                    <a:pt x="39" y="34"/>
                  </a:lnTo>
                  <a:lnTo>
                    <a:pt x="21" y="35"/>
                  </a:lnTo>
                  <a:lnTo>
                    <a:pt x="14" y="35"/>
                  </a:lnTo>
                  <a:lnTo>
                    <a:pt x="12" y="35"/>
                  </a:lnTo>
                  <a:lnTo>
                    <a:pt x="9" y="35"/>
                  </a:lnTo>
                  <a:lnTo>
                    <a:pt x="7" y="34"/>
                  </a:lnTo>
                  <a:lnTo>
                    <a:pt x="5" y="32"/>
                  </a:lnTo>
                  <a:lnTo>
                    <a:pt x="1" y="27"/>
                  </a:lnTo>
                  <a:lnTo>
                    <a:pt x="0" y="23"/>
                  </a:lnTo>
                  <a:lnTo>
                    <a:pt x="0" y="18"/>
                  </a:lnTo>
                  <a:lnTo>
                    <a:pt x="4" y="13"/>
                  </a:lnTo>
                  <a:lnTo>
                    <a:pt x="8" y="10"/>
                  </a:lnTo>
                  <a:lnTo>
                    <a:pt x="13" y="8"/>
                  </a:lnTo>
                  <a:lnTo>
                    <a:pt x="23" y="8"/>
                  </a:lnTo>
                  <a:lnTo>
                    <a:pt x="42" y="7"/>
                  </a:lnTo>
                  <a:lnTo>
                    <a:pt x="73" y="6"/>
                  </a:lnTo>
                  <a:lnTo>
                    <a:pt x="110" y="3"/>
                  </a:lnTo>
                  <a:lnTo>
                    <a:pt x="156" y="2"/>
                  </a:lnTo>
                  <a:lnTo>
                    <a:pt x="207" y="1"/>
                  </a:lnTo>
                  <a:lnTo>
                    <a:pt x="263" y="0"/>
                  </a:lnTo>
                  <a:lnTo>
                    <a:pt x="323" y="0"/>
                  </a:lnTo>
                  <a:lnTo>
                    <a:pt x="386" y="1"/>
                  </a:lnTo>
                  <a:lnTo>
                    <a:pt x="451" y="3"/>
                  </a:lnTo>
                  <a:lnTo>
                    <a:pt x="515" y="6"/>
                  </a:lnTo>
                  <a:lnTo>
                    <a:pt x="579" y="11"/>
                  </a:lnTo>
                  <a:lnTo>
                    <a:pt x="642" y="16"/>
                  </a:lnTo>
                  <a:lnTo>
                    <a:pt x="701" y="25"/>
                  </a:lnTo>
                  <a:lnTo>
                    <a:pt x="729" y="29"/>
                  </a:lnTo>
                  <a:lnTo>
                    <a:pt x="756" y="35"/>
                  </a:lnTo>
                  <a:lnTo>
                    <a:pt x="782" y="40"/>
                  </a:lnTo>
                  <a:lnTo>
                    <a:pt x="807" y="47"/>
                  </a:lnTo>
                  <a:lnTo>
                    <a:pt x="831" y="54"/>
                  </a:lnTo>
                  <a:lnTo>
                    <a:pt x="854" y="62"/>
                  </a:lnTo>
                  <a:lnTo>
                    <a:pt x="878" y="70"/>
                  </a:lnTo>
                  <a:lnTo>
                    <a:pt x="902" y="80"/>
                  </a:lnTo>
                  <a:lnTo>
                    <a:pt x="951" y="101"/>
                  </a:lnTo>
                  <a:lnTo>
                    <a:pt x="997" y="123"/>
                  </a:lnTo>
                  <a:lnTo>
                    <a:pt x="1043" y="148"/>
                  </a:lnTo>
                  <a:lnTo>
                    <a:pt x="1088" y="173"/>
                  </a:lnTo>
                  <a:lnTo>
                    <a:pt x="1130" y="199"/>
                  </a:lnTo>
                  <a:lnTo>
                    <a:pt x="1170" y="225"/>
                  </a:lnTo>
                  <a:lnTo>
                    <a:pt x="1206" y="249"/>
                  </a:lnTo>
                  <a:lnTo>
                    <a:pt x="1240" y="272"/>
                  </a:lnTo>
                  <a:lnTo>
                    <a:pt x="1270" y="293"/>
                  </a:lnTo>
                  <a:lnTo>
                    <a:pt x="1295" y="312"/>
                  </a:lnTo>
                  <a:lnTo>
                    <a:pt x="1332" y="339"/>
                  </a:lnTo>
                  <a:lnTo>
                    <a:pt x="1345" y="350"/>
                  </a:lnTo>
                  <a:lnTo>
                    <a:pt x="1348" y="354"/>
                  </a:lnTo>
                  <a:lnTo>
                    <a:pt x="1350" y="360"/>
                  </a:lnTo>
                  <a:lnTo>
                    <a:pt x="1349" y="365"/>
                  </a:lnTo>
                  <a:lnTo>
                    <a:pt x="1347" y="369"/>
                  </a:lnTo>
                  <a:lnTo>
                    <a:pt x="1345" y="372"/>
                  </a:lnTo>
                  <a:lnTo>
                    <a:pt x="1341" y="373"/>
                  </a:lnTo>
                  <a:lnTo>
                    <a:pt x="1339" y="374"/>
                  </a:lnTo>
                  <a:lnTo>
                    <a:pt x="1336" y="3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238"/>
            <p:cNvSpPr>
              <a:spLocks/>
            </p:cNvSpPr>
            <p:nvPr userDrawn="1"/>
          </p:nvSpPr>
          <p:spPr bwMode="auto">
            <a:xfrm>
              <a:off x="4608513" y="5818188"/>
              <a:ext cx="714375" cy="179388"/>
            </a:xfrm>
            <a:custGeom>
              <a:avLst/>
              <a:gdLst>
                <a:gd name="T0" fmla="*/ 1334 w 1352"/>
                <a:gd name="T1" fmla="*/ 339 h 339"/>
                <a:gd name="T2" fmla="*/ 1323 w 1352"/>
                <a:gd name="T3" fmla="*/ 334 h 339"/>
                <a:gd name="T4" fmla="*/ 1271 w 1352"/>
                <a:gd name="T5" fmla="*/ 309 h 339"/>
                <a:gd name="T6" fmla="*/ 1179 w 1352"/>
                <a:gd name="T7" fmla="*/ 266 h 339"/>
                <a:gd name="T8" fmla="*/ 1058 w 1352"/>
                <a:gd name="T9" fmla="*/ 212 h 339"/>
                <a:gd name="T10" fmla="*/ 920 w 1352"/>
                <a:gd name="T11" fmla="*/ 155 h 339"/>
                <a:gd name="T12" fmla="*/ 775 w 1352"/>
                <a:gd name="T13" fmla="*/ 101 h 339"/>
                <a:gd name="T14" fmla="*/ 668 w 1352"/>
                <a:gd name="T15" fmla="*/ 66 h 339"/>
                <a:gd name="T16" fmla="*/ 600 w 1352"/>
                <a:gd name="T17" fmla="*/ 49 h 339"/>
                <a:gd name="T18" fmla="*/ 537 w 1352"/>
                <a:gd name="T19" fmla="*/ 36 h 339"/>
                <a:gd name="T20" fmla="*/ 481 w 1352"/>
                <a:gd name="T21" fmla="*/ 28 h 339"/>
                <a:gd name="T22" fmla="*/ 448 w 1352"/>
                <a:gd name="T23" fmla="*/ 27 h 339"/>
                <a:gd name="T24" fmla="*/ 394 w 1352"/>
                <a:gd name="T25" fmla="*/ 28 h 339"/>
                <a:gd name="T26" fmla="*/ 306 w 1352"/>
                <a:gd name="T27" fmla="*/ 36 h 339"/>
                <a:gd name="T28" fmla="*/ 230 w 1352"/>
                <a:gd name="T29" fmla="*/ 49 h 339"/>
                <a:gd name="T30" fmla="*/ 164 w 1352"/>
                <a:gd name="T31" fmla="*/ 65 h 339"/>
                <a:gd name="T32" fmla="*/ 109 w 1352"/>
                <a:gd name="T33" fmla="*/ 82 h 339"/>
                <a:gd name="T34" fmla="*/ 67 w 1352"/>
                <a:gd name="T35" fmla="*/ 99 h 339"/>
                <a:gd name="T36" fmla="*/ 28 w 1352"/>
                <a:gd name="T37" fmla="*/ 116 h 339"/>
                <a:gd name="T38" fmla="*/ 15 w 1352"/>
                <a:gd name="T39" fmla="*/ 122 h 339"/>
                <a:gd name="T40" fmla="*/ 5 w 1352"/>
                <a:gd name="T41" fmla="*/ 120 h 339"/>
                <a:gd name="T42" fmla="*/ 0 w 1352"/>
                <a:gd name="T43" fmla="*/ 110 h 339"/>
                <a:gd name="T44" fmla="*/ 3 w 1352"/>
                <a:gd name="T45" fmla="*/ 101 h 339"/>
                <a:gd name="T46" fmla="*/ 17 w 1352"/>
                <a:gd name="T47" fmla="*/ 92 h 339"/>
                <a:gd name="T48" fmla="*/ 59 w 1352"/>
                <a:gd name="T49" fmla="*/ 73 h 339"/>
                <a:gd name="T50" fmla="*/ 104 w 1352"/>
                <a:gd name="T51" fmla="*/ 55 h 339"/>
                <a:gd name="T52" fmla="*/ 162 w 1352"/>
                <a:gd name="T53" fmla="*/ 37 h 339"/>
                <a:gd name="T54" fmla="*/ 232 w 1352"/>
                <a:gd name="T55" fmla="*/ 21 h 339"/>
                <a:gd name="T56" fmla="*/ 314 w 1352"/>
                <a:gd name="T57" fmla="*/ 8 h 339"/>
                <a:gd name="T58" fmla="*/ 406 w 1352"/>
                <a:gd name="T59" fmla="*/ 0 h 339"/>
                <a:gd name="T60" fmla="*/ 481 w 1352"/>
                <a:gd name="T61" fmla="*/ 1 h 339"/>
                <a:gd name="T62" fmla="*/ 540 w 1352"/>
                <a:gd name="T63" fmla="*/ 9 h 339"/>
                <a:gd name="T64" fmla="*/ 602 w 1352"/>
                <a:gd name="T65" fmla="*/ 21 h 339"/>
                <a:gd name="T66" fmla="*/ 670 w 1352"/>
                <a:gd name="T67" fmla="*/ 39 h 339"/>
                <a:gd name="T68" fmla="*/ 740 w 1352"/>
                <a:gd name="T69" fmla="*/ 61 h 339"/>
                <a:gd name="T70" fmla="*/ 813 w 1352"/>
                <a:gd name="T71" fmla="*/ 84 h 339"/>
                <a:gd name="T72" fmla="*/ 921 w 1352"/>
                <a:gd name="T73" fmla="*/ 125 h 339"/>
                <a:gd name="T74" fmla="*/ 1060 w 1352"/>
                <a:gd name="T75" fmla="*/ 183 h 339"/>
                <a:gd name="T76" fmla="*/ 1181 w 1352"/>
                <a:gd name="T77" fmla="*/ 237 h 339"/>
                <a:gd name="T78" fmla="*/ 1276 w 1352"/>
                <a:gd name="T79" fmla="*/ 281 h 339"/>
                <a:gd name="T80" fmla="*/ 1332 w 1352"/>
                <a:gd name="T81" fmla="*/ 308 h 339"/>
                <a:gd name="T82" fmla="*/ 1348 w 1352"/>
                <a:gd name="T83" fmla="*/ 318 h 339"/>
                <a:gd name="T84" fmla="*/ 1352 w 1352"/>
                <a:gd name="T85" fmla="*/ 327 h 339"/>
                <a:gd name="T86" fmla="*/ 1347 w 1352"/>
                <a:gd name="T87" fmla="*/ 335 h 339"/>
                <a:gd name="T88" fmla="*/ 1341 w 1352"/>
                <a:gd name="T89"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2" h="339">
                  <a:moveTo>
                    <a:pt x="1337" y="339"/>
                  </a:moveTo>
                  <a:lnTo>
                    <a:pt x="1334" y="339"/>
                  </a:lnTo>
                  <a:lnTo>
                    <a:pt x="1331" y="338"/>
                  </a:lnTo>
                  <a:lnTo>
                    <a:pt x="1323" y="334"/>
                  </a:lnTo>
                  <a:lnTo>
                    <a:pt x="1303" y="324"/>
                  </a:lnTo>
                  <a:lnTo>
                    <a:pt x="1271" y="309"/>
                  </a:lnTo>
                  <a:lnTo>
                    <a:pt x="1230" y="288"/>
                  </a:lnTo>
                  <a:lnTo>
                    <a:pt x="1179" y="266"/>
                  </a:lnTo>
                  <a:lnTo>
                    <a:pt x="1122" y="239"/>
                  </a:lnTo>
                  <a:lnTo>
                    <a:pt x="1058" y="212"/>
                  </a:lnTo>
                  <a:lnTo>
                    <a:pt x="990" y="183"/>
                  </a:lnTo>
                  <a:lnTo>
                    <a:pt x="920" y="155"/>
                  </a:lnTo>
                  <a:lnTo>
                    <a:pt x="847" y="127"/>
                  </a:lnTo>
                  <a:lnTo>
                    <a:pt x="775" y="101"/>
                  </a:lnTo>
                  <a:lnTo>
                    <a:pt x="703" y="77"/>
                  </a:lnTo>
                  <a:lnTo>
                    <a:pt x="668" y="66"/>
                  </a:lnTo>
                  <a:lnTo>
                    <a:pt x="633" y="57"/>
                  </a:lnTo>
                  <a:lnTo>
                    <a:pt x="600" y="49"/>
                  </a:lnTo>
                  <a:lnTo>
                    <a:pt x="569" y="41"/>
                  </a:lnTo>
                  <a:lnTo>
                    <a:pt x="537" y="36"/>
                  </a:lnTo>
                  <a:lnTo>
                    <a:pt x="508" y="32"/>
                  </a:lnTo>
                  <a:lnTo>
                    <a:pt x="481" y="28"/>
                  </a:lnTo>
                  <a:lnTo>
                    <a:pt x="455" y="27"/>
                  </a:lnTo>
                  <a:lnTo>
                    <a:pt x="448" y="27"/>
                  </a:lnTo>
                  <a:lnTo>
                    <a:pt x="440" y="27"/>
                  </a:lnTo>
                  <a:lnTo>
                    <a:pt x="394" y="28"/>
                  </a:lnTo>
                  <a:lnTo>
                    <a:pt x="349" y="32"/>
                  </a:lnTo>
                  <a:lnTo>
                    <a:pt x="306" y="36"/>
                  </a:lnTo>
                  <a:lnTo>
                    <a:pt x="267" y="41"/>
                  </a:lnTo>
                  <a:lnTo>
                    <a:pt x="230" y="49"/>
                  </a:lnTo>
                  <a:lnTo>
                    <a:pt x="195" y="56"/>
                  </a:lnTo>
                  <a:lnTo>
                    <a:pt x="164" y="65"/>
                  </a:lnTo>
                  <a:lnTo>
                    <a:pt x="135" y="74"/>
                  </a:lnTo>
                  <a:lnTo>
                    <a:pt x="109" y="82"/>
                  </a:lnTo>
                  <a:lnTo>
                    <a:pt x="86" y="91"/>
                  </a:lnTo>
                  <a:lnTo>
                    <a:pt x="67" y="99"/>
                  </a:lnTo>
                  <a:lnTo>
                    <a:pt x="50" y="106"/>
                  </a:lnTo>
                  <a:lnTo>
                    <a:pt x="28" y="116"/>
                  </a:lnTo>
                  <a:lnTo>
                    <a:pt x="20" y="120"/>
                  </a:lnTo>
                  <a:lnTo>
                    <a:pt x="15" y="122"/>
                  </a:lnTo>
                  <a:lnTo>
                    <a:pt x="9" y="122"/>
                  </a:lnTo>
                  <a:lnTo>
                    <a:pt x="5" y="120"/>
                  </a:lnTo>
                  <a:lnTo>
                    <a:pt x="2" y="116"/>
                  </a:lnTo>
                  <a:lnTo>
                    <a:pt x="0" y="110"/>
                  </a:lnTo>
                  <a:lnTo>
                    <a:pt x="1" y="105"/>
                  </a:lnTo>
                  <a:lnTo>
                    <a:pt x="3" y="101"/>
                  </a:lnTo>
                  <a:lnTo>
                    <a:pt x="6" y="97"/>
                  </a:lnTo>
                  <a:lnTo>
                    <a:pt x="17" y="92"/>
                  </a:lnTo>
                  <a:lnTo>
                    <a:pt x="42" y="80"/>
                  </a:lnTo>
                  <a:lnTo>
                    <a:pt x="59" y="73"/>
                  </a:lnTo>
                  <a:lnTo>
                    <a:pt x="80" y="64"/>
                  </a:lnTo>
                  <a:lnTo>
                    <a:pt x="104" y="55"/>
                  </a:lnTo>
                  <a:lnTo>
                    <a:pt x="131" y="46"/>
                  </a:lnTo>
                  <a:lnTo>
                    <a:pt x="162" y="37"/>
                  </a:lnTo>
                  <a:lnTo>
                    <a:pt x="196" y="28"/>
                  </a:lnTo>
                  <a:lnTo>
                    <a:pt x="232" y="21"/>
                  </a:lnTo>
                  <a:lnTo>
                    <a:pt x="272" y="13"/>
                  </a:lnTo>
                  <a:lnTo>
                    <a:pt x="314" y="8"/>
                  </a:lnTo>
                  <a:lnTo>
                    <a:pt x="358" y="4"/>
                  </a:lnTo>
                  <a:lnTo>
                    <a:pt x="406" y="0"/>
                  </a:lnTo>
                  <a:lnTo>
                    <a:pt x="455" y="0"/>
                  </a:lnTo>
                  <a:lnTo>
                    <a:pt x="481" y="1"/>
                  </a:lnTo>
                  <a:lnTo>
                    <a:pt x="509" y="5"/>
                  </a:lnTo>
                  <a:lnTo>
                    <a:pt x="540" y="9"/>
                  </a:lnTo>
                  <a:lnTo>
                    <a:pt x="571" y="14"/>
                  </a:lnTo>
                  <a:lnTo>
                    <a:pt x="602" y="21"/>
                  </a:lnTo>
                  <a:lnTo>
                    <a:pt x="636" y="29"/>
                  </a:lnTo>
                  <a:lnTo>
                    <a:pt x="670" y="39"/>
                  </a:lnTo>
                  <a:lnTo>
                    <a:pt x="705" y="49"/>
                  </a:lnTo>
                  <a:lnTo>
                    <a:pt x="740" y="61"/>
                  </a:lnTo>
                  <a:lnTo>
                    <a:pt x="776" y="73"/>
                  </a:lnTo>
                  <a:lnTo>
                    <a:pt x="813" y="84"/>
                  </a:lnTo>
                  <a:lnTo>
                    <a:pt x="849" y="97"/>
                  </a:lnTo>
                  <a:lnTo>
                    <a:pt x="921" y="125"/>
                  </a:lnTo>
                  <a:lnTo>
                    <a:pt x="992" y="154"/>
                  </a:lnTo>
                  <a:lnTo>
                    <a:pt x="1060" y="183"/>
                  </a:lnTo>
                  <a:lnTo>
                    <a:pt x="1123" y="210"/>
                  </a:lnTo>
                  <a:lnTo>
                    <a:pt x="1181" y="237"/>
                  </a:lnTo>
                  <a:lnTo>
                    <a:pt x="1233" y="260"/>
                  </a:lnTo>
                  <a:lnTo>
                    <a:pt x="1276" y="281"/>
                  </a:lnTo>
                  <a:lnTo>
                    <a:pt x="1309" y="297"/>
                  </a:lnTo>
                  <a:lnTo>
                    <a:pt x="1332" y="308"/>
                  </a:lnTo>
                  <a:lnTo>
                    <a:pt x="1344" y="314"/>
                  </a:lnTo>
                  <a:lnTo>
                    <a:pt x="1348" y="318"/>
                  </a:lnTo>
                  <a:lnTo>
                    <a:pt x="1350" y="322"/>
                  </a:lnTo>
                  <a:lnTo>
                    <a:pt x="1352" y="327"/>
                  </a:lnTo>
                  <a:lnTo>
                    <a:pt x="1349" y="332"/>
                  </a:lnTo>
                  <a:lnTo>
                    <a:pt x="1347" y="335"/>
                  </a:lnTo>
                  <a:lnTo>
                    <a:pt x="1345" y="338"/>
                  </a:lnTo>
                  <a:lnTo>
                    <a:pt x="1341" y="339"/>
                  </a:lnTo>
                  <a:lnTo>
                    <a:pt x="1337" y="33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239"/>
            <p:cNvSpPr>
              <a:spLocks/>
            </p:cNvSpPr>
            <p:nvPr userDrawn="1"/>
          </p:nvSpPr>
          <p:spPr bwMode="auto">
            <a:xfrm>
              <a:off x="1030288" y="5040313"/>
              <a:ext cx="1006475" cy="898525"/>
            </a:xfrm>
            <a:custGeom>
              <a:avLst/>
              <a:gdLst>
                <a:gd name="T0" fmla="*/ 708 w 1904"/>
                <a:gd name="T1" fmla="*/ 1696 h 1699"/>
                <a:gd name="T2" fmla="*/ 639 w 1904"/>
                <a:gd name="T3" fmla="*/ 1686 h 1699"/>
                <a:gd name="T4" fmla="*/ 572 w 1904"/>
                <a:gd name="T5" fmla="*/ 1672 h 1699"/>
                <a:gd name="T6" fmla="*/ 507 w 1904"/>
                <a:gd name="T7" fmla="*/ 1651 h 1699"/>
                <a:gd name="T8" fmla="*/ 445 w 1904"/>
                <a:gd name="T9" fmla="*/ 1624 h 1699"/>
                <a:gd name="T10" fmla="*/ 383 w 1904"/>
                <a:gd name="T11" fmla="*/ 1588 h 1699"/>
                <a:gd name="T12" fmla="*/ 325 w 1904"/>
                <a:gd name="T13" fmla="*/ 1545 h 1699"/>
                <a:gd name="T14" fmla="*/ 269 w 1904"/>
                <a:gd name="T15" fmla="*/ 1493 h 1699"/>
                <a:gd name="T16" fmla="*/ 215 w 1904"/>
                <a:gd name="T17" fmla="*/ 1433 h 1699"/>
                <a:gd name="T18" fmla="*/ 165 w 1904"/>
                <a:gd name="T19" fmla="*/ 1362 h 1699"/>
                <a:gd name="T20" fmla="*/ 81 w 1904"/>
                <a:gd name="T21" fmla="*/ 1207 h 1699"/>
                <a:gd name="T22" fmla="*/ 20 w 1904"/>
                <a:gd name="T23" fmla="*/ 1016 h 1699"/>
                <a:gd name="T24" fmla="*/ 0 w 1904"/>
                <a:gd name="T25" fmla="*/ 835 h 1699"/>
                <a:gd name="T26" fmla="*/ 12 w 1904"/>
                <a:gd name="T27" fmla="*/ 663 h 1699"/>
                <a:gd name="T28" fmla="*/ 48 w 1904"/>
                <a:gd name="T29" fmla="*/ 506 h 1699"/>
                <a:gd name="T30" fmla="*/ 102 w 1904"/>
                <a:gd name="T31" fmla="*/ 365 h 1699"/>
                <a:gd name="T32" fmla="*/ 165 w 1904"/>
                <a:gd name="T33" fmla="*/ 244 h 1699"/>
                <a:gd name="T34" fmla="*/ 228 w 1904"/>
                <a:gd name="T35" fmla="*/ 144 h 1699"/>
                <a:gd name="T36" fmla="*/ 312 w 1904"/>
                <a:gd name="T37" fmla="*/ 35 h 1699"/>
                <a:gd name="T38" fmla="*/ 343 w 1904"/>
                <a:gd name="T39" fmla="*/ 1 h 1699"/>
                <a:gd name="T40" fmla="*/ 358 w 1904"/>
                <a:gd name="T41" fmla="*/ 3 h 1699"/>
                <a:gd name="T42" fmla="*/ 360 w 1904"/>
                <a:gd name="T43" fmla="*/ 18 h 1699"/>
                <a:gd name="T44" fmla="*/ 331 w 1904"/>
                <a:gd name="T45" fmla="*/ 52 h 1699"/>
                <a:gd name="T46" fmla="*/ 249 w 1904"/>
                <a:gd name="T47" fmla="*/ 160 h 1699"/>
                <a:gd name="T48" fmla="*/ 188 w 1904"/>
                <a:gd name="T49" fmla="*/ 257 h 1699"/>
                <a:gd name="T50" fmla="*/ 127 w 1904"/>
                <a:gd name="T51" fmla="*/ 376 h 1699"/>
                <a:gd name="T52" fmla="*/ 74 w 1904"/>
                <a:gd name="T53" fmla="*/ 513 h 1699"/>
                <a:gd name="T54" fmla="*/ 39 w 1904"/>
                <a:gd name="T55" fmla="*/ 666 h 1699"/>
                <a:gd name="T56" fmla="*/ 27 w 1904"/>
                <a:gd name="T57" fmla="*/ 833 h 1699"/>
                <a:gd name="T58" fmla="*/ 46 w 1904"/>
                <a:gd name="T59" fmla="*/ 1010 h 1699"/>
                <a:gd name="T60" fmla="*/ 107 w 1904"/>
                <a:gd name="T61" fmla="*/ 1196 h 1699"/>
                <a:gd name="T62" fmla="*/ 200 w 1904"/>
                <a:gd name="T63" fmla="*/ 1367 h 1699"/>
                <a:gd name="T64" fmla="*/ 289 w 1904"/>
                <a:gd name="T65" fmla="*/ 1476 h 1699"/>
                <a:gd name="T66" fmla="*/ 389 w 1904"/>
                <a:gd name="T67" fmla="*/ 1558 h 1699"/>
                <a:gd name="T68" fmla="*/ 494 w 1904"/>
                <a:gd name="T69" fmla="*/ 1615 h 1699"/>
                <a:gd name="T70" fmla="*/ 607 w 1904"/>
                <a:gd name="T71" fmla="*/ 1652 h 1699"/>
                <a:gd name="T72" fmla="*/ 724 w 1904"/>
                <a:gd name="T73" fmla="*/ 1669 h 1699"/>
                <a:gd name="T74" fmla="*/ 846 w 1904"/>
                <a:gd name="T75" fmla="*/ 1671 h 1699"/>
                <a:gd name="T76" fmla="*/ 971 w 1904"/>
                <a:gd name="T77" fmla="*/ 1661 h 1699"/>
                <a:gd name="T78" fmla="*/ 1096 w 1904"/>
                <a:gd name="T79" fmla="*/ 1641 h 1699"/>
                <a:gd name="T80" fmla="*/ 1221 w 1904"/>
                <a:gd name="T81" fmla="*/ 1615 h 1699"/>
                <a:gd name="T82" fmla="*/ 1455 w 1904"/>
                <a:gd name="T83" fmla="*/ 1560 h 1699"/>
                <a:gd name="T84" fmla="*/ 1656 w 1904"/>
                <a:gd name="T85" fmla="*/ 1517 h 1699"/>
                <a:gd name="T86" fmla="*/ 1750 w 1904"/>
                <a:gd name="T87" fmla="*/ 1503 h 1699"/>
                <a:gd name="T88" fmla="*/ 1837 w 1904"/>
                <a:gd name="T89" fmla="*/ 1497 h 1699"/>
                <a:gd name="T90" fmla="*/ 1896 w 1904"/>
                <a:gd name="T91" fmla="*/ 1502 h 1699"/>
                <a:gd name="T92" fmla="*/ 1904 w 1904"/>
                <a:gd name="T93" fmla="*/ 1515 h 1699"/>
                <a:gd name="T94" fmla="*/ 1894 w 1904"/>
                <a:gd name="T95" fmla="*/ 1526 h 1699"/>
                <a:gd name="T96" fmla="*/ 1837 w 1904"/>
                <a:gd name="T97" fmla="*/ 1525 h 1699"/>
                <a:gd name="T98" fmla="*/ 1751 w 1904"/>
                <a:gd name="T99" fmla="*/ 1530 h 1699"/>
                <a:gd name="T100" fmla="*/ 1659 w 1904"/>
                <a:gd name="T101" fmla="*/ 1544 h 1699"/>
                <a:gd name="T102" fmla="*/ 1462 w 1904"/>
                <a:gd name="T103" fmla="*/ 1586 h 1699"/>
                <a:gd name="T104" fmla="*/ 1246 w 1904"/>
                <a:gd name="T105" fmla="*/ 1638 h 1699"/>
                <a:gd name="T106" fmla="*/ 1059 w 1904"/>
                <a:gd name="T107" fmla="*/ 1675 h 1699"/>
                <a:gd name="T108" fmla="*/ 948 w 1904"/>
                <a:gd name="T109" fmla="*/ 1691 h 1699"/>
                <a:gd name="T110" fmla="*/ 838 w 1904"/>
                <a:gd name="T111" fmla="*/ 1699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04" h="1699">
                  <a:moveTo>
                    <a:pt x="801" y="1699"/>
                  </a:moveTo>
                  <a:lnTo>
                    <a:pt x="755" y="1698"/>
                  </a:lnTo>
                  <a:lnTo>
                    <a:pt x="708" y="1696"/>
                  </a:lnTo>
                  <a:lnTo>
                    <a:pt x="684" y="1693"/>
                  </a:lnTo>
                  <a:lnTo>
                    <a:pt x="662" y="1691"/>
                  </a:lnTo>
                  <a:lnTo>
                    <a:pt x="639" y="1686"/>
                  </a:lnTo>
                  <a:lnTo>
                    <a:pt x="617" y="1682"/>
                  </a:lnTo>
                  <a:lnTo>
                    <a:pt x="595" y="1678"/>
                  </a:lnTo>
                  <a:lnTo>
                    <a:pt x="572" y="1672"/>
                  </a:lnTo>
                  <a:lnTo>
                    <a:pt x="551" y="1666"/>
                  </a:lnTo>
                  <a:lnTo>
                    <a:pt x="529" y="1658"/>
                  </a:lnTo>
                  <a:lnTo>
                    <a:pt x="507" y="1651"/>
                  </a:lnTo>
                  <a:lnTo>
                    <a:pt x="486" y="1642"/>
                  </a:lnTo>
                  <a:lnTo>
                    <a:pt x="465" y="1633"/>
                  </a:lnTo>
                  <a:lnTo>
                    <a:pt x="445" y="1624"/>
                  </a:lnTo>
                  <a:lnTo>
                    <a:pt x="423" y="1612"/>
                  </a:lnTo>
                  <a:lnTo>
                    <a:pt x="404" y="1601"/>
                  </a:lnTo>
                  <a:lnTo>
                    <a:pt x="383" y="1588"/>
                  </a:lnTo>
                  <a:lnTo>
                    <a:pt x="364" y="1575"/>
                  </a:lnTo>
                  <a:lnTo>
                    <a:pt x="343" y="1560"/>
                  </a:lnTo>
                  <a:lnTo>
                    <a:pt x="325" y="1545"/>
                  </a:lnTo>
                  <a:lnTo>
                    <a:pt x="305" y="1529"/>
                  </a:lnTo>
                  <a:lnTo>
                    <a:pt x="287" y="1511"/>
                  </a:lnTo>
                  <a:lnTo>
                    <a:pt x="269" y="1493"/>
                  </a:lnTo>
                  <a:lnTo>
                    <a:pt x="250" y="1475"/>
                  </a:lnTo>
                  <a:lnTo>
                    <a:pt x="232" y="1454"/>
                  </a:lnTo>
                  <a:lnTo>
                    <a:pt x="215" y="1433"/>
                  </a:lnTo>
                  <a:lnTo>
                    <a:pt x="199" y="1411"/>
                  </a:lnTo>
                  <a:lnTo>
                    <a:pt x="181" y="1387"/>
                  </a:lnTo>
                  <a:lnTo>
                    <a:pt x="165" y="1362"/>
                  </a:lnTo>
                  <a:lnTo>
                    <a:pt x="149" y="1338"/>
                  </a:lnTo>
                  <a:lnTo>
                    <a:pt x="112" y="1272"/>
                  </a:lnTo>
                  <a:lnTo>
                    <a:pt x="81" y="1207"/>
                  </a:lnTo>
                  <a:lnTo>
                    <a:pt x="56" y="1142"/>
                  </a:lnTo>
                  <a:lnTo>
                    <a:pt x="35" y="1080"/>
                  </a:lnTo>
                  <a:lnTo>
                    <a:pt x="20" y="1016"/>
                  </a:lnTo>
                  <a:lnTo>
                    <a:pt x="8" y="954"/>
                  </a:lnTo>
                  <a:lnTo>
                    <a:pt x="2" y="894"/>
                  </a:lnTo>
                  <a:lnTo>
                    <a:pt x="0" y="835"/>
                  </a:lnTo>
                  <a:lnTo>
                    <a:pt x="0" y="776"/>
                  </a:lnTo>
                  <a:lnTo>
                    <a:pt x="4" y="719"/>
                  </a:lnTo>
                  <a:lnTo>
                    <a:pt x="12" y="663"/>
                  </a:lnTo>
                  <a:lnTo>
                    <a:pt x="21" y="609"/>
                  </a:lnTo>
                  <a:lnTo>
                    <a:pt x="34" y="557"/>
                  </a:lnTo>
                  <a:lnTo>
                    <a:pt x="48" y="506"/>
                  </a:lnTo>
                  <a:lnTo>
                    <a:pt x="65" y="457"/>
                  </a:lnTo>
                  <a:lnTo>
                    <a:pt x="83" y="410"/>
                  </a:lnTo>
                  <a:lnTo>
                    <a:pt x="102" y="365"/>
                  </a:lnTo>
                  <a:lnTo>
                    <a:pt x="123" y="323"/>
                  </a:lnTo>
                  <a:lnTo>
                    <a:pt x="143" y="282"/>
                  </a:lnTo>
                  <a:lnTo>
                    <a:pt x="165" y="244"/>
                  </a:lnTo>
                  <a:lnTo>
                    <a:pt x="186" y="208"/>
                  </a:lnTo>
                  <a:lnTo>
                    <a:pt x="207" y="175"/>
                  </a:lnTo>
                  <a:lnTo>
                    <a:pt x="228" y="144"/>
                  </a:lnTo>
                  <a:lnTo>
                    <a:pt x="247" y="117"/>
                  </a:lnTo>
                  <a:lnTo>
                    <a:pt x="283" y="69"/>
                  </a:lnTo>
                  <a:lnTo>
                    <a:pt x="312" y="35"/>
                  </a:lnTo>
                  <a:lnTo>
                    <a:pt x="331" y="12"/>
                  </a:lnTo>
                  <a:lnTo>
                    <a:pt x="339" y="3"/>
                  </a:lnTo>
                  <a:lnTo>
                    <a:pt x="343" y="1"/>
                  </a:lnTo>
                  <a:lnTo>
                    <a:pt x="349" y="0"/>
                  </a:lnTo>
                  <a:lnTo>
                    <a:pt x="353" y="1"/>
                  </a:lnTo>
                  <a:lnTo>
                    <a:pt x="358" y="3"/>
                  </a:lnTo>
                  <a:lnTo>
                    <a:pt x="360" y="8"/>
                  </a:lnTo>
                  <a:lnTo>
                    <a:pt x="362" y="13"/>
                  </a:lnTo>
                  <a:lnTo>
                    <a:pt x="360" y="18"/>
                  </a:lnTo>
                  <a:lnTo>
                    <a:pt x="358" y="23"/>
                  </a:lnTo>
                  <a:lnTo>
                    <a:pt x="351" y="31"/>
                  </a:lnTo>
                  <a:lnTo>
                    <a:pt x="331" y="52"/>
                  </a:lnTo>
                  <a:lnTo>
                    <a:pt x="303" y="86"/>
                  </a:lnTo>
                  <a:lnTo>
                    <a:pt x="269" y="133"/>
                  </a:lnTo>
                  <a:lnTo>
                    <a:pt x="249" y="160"/>
                  </a:lnTo>
                  <a:lnTo>
                    <a:pt x="230" y="190"/>
                  </a:lnTo>
                  <a:lnTo>
                    <a:pt x="208" y="222"/>
                  </a:lnTo>
                  <a:lnTo>
                    <a:pt x="188" y="257"/>
                  </a:lnTo>
                  <a:lnTo>
                    <a:pt x="167" y="295"/>
                  </a:lnTo>
                  <a:lnTo>
                    <a:pt x="147" y="334"/>
                  </a:lnTo>
                  <a:lnTo>
                    <a:pt x="127" y="376"/>
                  </a:lnTo>
                  <a:lnTo>
                    <a:pt x="109" y="419"/>
                  </a:lnTo>
                  <a:lnTo>
                    <a:pt x="91" y="465"/>
                  </a:lnTo>
                  <a:lnTo>
                    <a:pt x="74" y="513"/>
                  </a:lnTo>
                  <a:lnTo>
                    <a:pt x="60" y="563"/>
                  </a:lnTo>
                  <a:lnTo>
                    <a:pt x="48" y="613"/>
                  </a:lnTo>
                  <a:lnTo>
                    <a:pt x="39" y="666"/>
                  </a:lnTo>
                  <a:lnTo>
                    <a:pt x="31" y="720"/>
                  </a:lnTo>
                  <a:lnTo>
                    <a:pt x="28" y="776"/>
                  </a:lnTo>
                  <a:lnTo>
                    <a:pt x="27" y="833"/>
                  </a:lnTo>
                  <a:lnTo>
                    <a:pt x="29" y="891"/>
                  </a:lnTo>
                  <a:lnTo>
                    <a:pt x="35" y="950"/>
                  </a:lnTo>
                  <a:lnTo>
                    <a:pt x="46" y="1010"/>
                  </a:lnTo>
                  <a:lnTo>
                    <a:pt x="61" y="1072"/>
                  </a:lnTo>
                  <a:lnTo>
                    <a:pt x="82" y="1134"/>
                  </a:lnTo>
                  <a:lnTo>
                    <a:pt x="107" y="1196"/>
                  </a:lnTo>
                  <a:lnTo>
                    <a:pt x="136" y="1260"/>
                  </a:lnTo>
                  <a:lnTo>
                    <a:pt x="173" y="1324"/>
                  </a:lnTo>
                  <a:lnTo>
                    <a:pt x="200" y="1367"/>
                  </a:lnTo>
                  <a:lnTo>
                    <a:pt x="229" y="1406"/>
                  </a:lnTo>
                  <a:lnTo>
                    <a:pt x="259" y="1442"/>
                  </a:lnTo>
                  <a:lnTo>
                    <a:pt x="289" y="1476"/>
                  </a:lnTo>
                  <a:lnTo>
                    <a:pt x="322" y="1506"/>
                  </a:lnTo>
                  <a:lnTo>
                    <a:pt x="354" y="1533"/>
                  </a:lnTo>
                  <a:lnTo>
                    <a:pt x="389" y="1558"/>
                  </a:lnTo>
                  <a:lnTo>
                    <a:pt x="423" y="1579"/>
                  </a:lnTo>
                  <a:lnTo>
                    <a:pt x="458" y="1599"/>
                  </a:lnTo>
                  <a:lnTo>
                    <a:pt x="494" y="1615"/>
                  </a:lnTo>
                  <a:lnTo>
                    <a:pt x="531" y="1630"/>
                  </a:lnTo>
                  <a:lnTo>
                    <a:pt x="569" y="1642"/>
                  </a:lnTo>
                  <a:lnTo>
                    <a:pt x="607" y="1652"/>
                  </a:lnTo>
                  <a:lnTo>
                    <a:pt x="646" y="1659"/>
                  </a:lnTo>
                  <a:lnTo>
                    <a:pt x="686" y="1665"/>
                  </a:lnTo>
                  <a:lnTo>
                    <a:pt x="724" y="1669"/>
                  </a:lnTo>
                  <a:lnTo>
                    <a:pt x="765" y="1671"/>
                  </a:lnTo>
                  <a:lnTo>
                    <a:pt x="805" y="1672"/>
                  </a:lnTo>
                  <a:lnTo>
                    <a:pt x="846" y="1671"/>
                  </a:lnTo>
                  <a:lnTo>
                    <a:pt x="887" y="1669"/>
                  </a:lnTo>
                  <a:lnTo>
                    <a:pt x="928" y="1666"/>
                  </a:lnTo>
                  <a:lnTo>
                    <a:pt x="971" y="1661"/>
                  </a:lnTo>
                  <a:lnTo>
                    <a:pt x="1013" y="1655"/>
                  </a:lnTo>
                  <a:lnTo>
                    <a:pt x="1054" y="1648"/>
                  </a:lnTo>
                  <a:lnTo>
                    <a:pt x="1096" y="1641"/>
                  </a:lnTo>
                  <a:lnTo>
                    <a:pt x="1138" y="1633"/>
                  </a:lnTo>
                  <a:lnTo>
                    <a:pt x="1180" y="1625"/>
                  </a:lnTo>
                  <a:lnTo>
                    <a:pt x="1221" y="1615"/>
                  </a:lnTo>
                  <a:lnTo>
                    <a:pt x="1304" y="1597"/>
                  </a:lnTo>
                  <a:lnTo>
                    <a:pt x="1386" y="1576"/>
                  </a:lnTo>
                  <a:lnTo>
                    <a:pt x="1455" y="1560"/>
                  </a:lnTo>
                  <a:lnTo>
                    <a:pt x="1525" y="1544"/>
                  </a:lnTo>
                  <a:lnTo>
                    <a:pt x="1591" y="1529"/>
                  </a:lnTo>
                  <a:lnTo>
                    <a:pt x="1656" y="1517"/>
                  </a:lnTo>
                  <a:lnTo>
                    <a:pt x="1688" y="1511"/>
                  </a:lnTo>
                  <a:lnTo>
                    <a:pt x="1719" y="1507"/>
                  </a:lnTo>
                  <a:lnTo>
                    <a:pt x="1750" y="1503"/>
                  </a:lnTo>
                  <a:lnTo>
                    <a:pt x="1779" y="1501"/>
                  </a:lnTo>
                  <a:lnTo>
                    <a:pt x="1809" y="1498"/>
                  </a:lnTo>
                  <a:lnTo>
                    <a:pt x="1837" y="1497"/>
                  </a:lnTo>
                  <a:lnTo>
                    <a:pt x="1865" y="1498"/>
                  </a:lnTo>
                  <a:lnTo>
                    <a:pt x="1892" y="1501"/>
                  </a:lnTo>
                  <a:lnTo>
                    <a:pt x="1896" y="1502"/>
                  </a:lnTo>
                  <a:lnTo>
                    <a:pt x="1900" y="1505"/>
                  </a:lnTo>
                  <a:lnTo>
                    <a:pt x="1902" y="1509"/>
                  </a:lnTo>
                  <a:lnTo>
                    <a:pt x="1904" y="1515"/>
                  </a:lnTo>
                  <a:lnTo>
                    <a:pt x="1902" y="1520"/>
                  </a:lnTo>
                  <a:lnTo>
                    <a:pt x="1899" y="1524"/>
                  </a:lnTo>
                  <a:lnTo>
                    <a:pt x="1894" y="1526"/>
                  </a:lnTo>
                  <a:lnTo>
                    <a:pt x="1888" y="1526"/>
                  </a:lnTo>
                  <a:lnTo>
                    <a:pt x="1862" y="1525"/>
                  </a:lnTo>
                  <a:lnTo>
                    <a:pt x="1837" y="1525"/>
                  </a:lnTo>
                  <a:lnTo>
                    <a:pt x="1809" y="1525"/>
                  </a:lnTo>
                  <a:lnTo>
                    <a:pt x="1780" y="1528"/>
                  </a:lnTo>
                  <a:lnTo>
                    <a:pt x="1751" y="1530"/>
                  </a:lnTo>
                  <a:lnTo>
                    <a:pt x="1721" y="1534"/>
                  </a:lnTo>
                  <a:lnTo>
                    <a:pt x="1691" y="1538"/>
                  </a:lnTo>
                  <a:lnTo>
                    <a:pt x="1659" y="1544"/>
                  </a:lnTo>
                  <a:lnTo>
                    <a:pt x="1595" y="1556"/>
                  </a:lnTo>
                  <a:lnTo>
                    <a:pt x="1529" y="1570"/>
                  </a:lnTo>
                  <a:lnTo>
                    <a:pt x="1462" y="1586"/>
                  </a:lnTo>
                  <a:lnTo>
                    <a:pt x="1393" y="1603"/>
                  </a:lnTo>
                  <a:lnTo>
                    <a:pt x="1319" y="1620"/>
                  </a:lnTo>
                  <a:lnTo>
                    <a:pt x="1246" y="1638"/>
                  </a:lnTo>
                  <a:lnTo>
                    <a:pt x="1171" y="1654"/>
                  </a:lnTo>
                  <a:lnTo>
                    <a:pt x="1097" y="1669"/>
                  </a:lnTo>
                  <a:lnTo>
                    <a:pt x="1059" y="1675"/>
                  </a:lnTo>
                  <a:lnTo>
                    <a:pt x="1022" y="1681"/>
                  </a:lnTo>
                  <a:lnTo>
                    <a:pt x="985" y="1686"/>
                  </a:lnTo>
                  <a:lnTo>
                    <a:pt x="948" y="1691"/>
                  </a:lnTo>
                  <a:lnTo>
                    <a:pt x="911" y="1695"/>
                  </a:lnTo>
                  <a:lnTo>
                    <a:pt x="874" y="1697"/>
                  </a:lnTo>
                  <a:lnTo>
                    <a:pt x="838" y="1699"/>
                  </a:lnTo>
                  <a:lnTo>
                    <a:pt x="801" y="169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240"/>
            <p:cNvSpPr>
              <a:spLocks/>
            </p:cNvSpPr>
            <p:nvPr userDrawn="1"/>
          </p:nvSpPr>
          <p:spPr bwMode="auto">
            <a:xfrm>
              <a:off x="1004888" y="5275263"/>
              <a:ext cx="1135063" cy="647700"/>
            </a:xfrm>
            <a:custGeom>
              <a:avLst/>
              <a:gdLst>
                <a:gd name="T0" fmla="*/ 495 w 2146"/>
                <a:gd name="T1" fmla="*/ 1223 h 1224"/>
                <a:gd name="T2" fmla="*/ 420 w 2146"/>
                <a:gd name="T3" fmla="*/ 1214 h 1224"/>
                <a:gd name="T4" fmla="*/ 351 w 2146"/>
                <a:gd name="T5" fmla="*/ 1197 h 1224"/>
                <a:gd name="T6" fmla="*/ 285 w 2146"/>
                <a:gd name="T7" fmla="*/ 1171 h 1224"/>
                <a:gd name="T8" fmla="*/ 226 w 2146"/>
                <a:gd name="T9" fmla="*/ 1134 h 1224"/>
                <a:gd name="T10" fmla="*/ 153 w 2146"/>
                <a:gd name="T11" fmla="*/ 1065 h 1224"/>
                <a:gd name="T12" fmla="*/ 67 w 2146"/>
                <a:gd name="T13" fmla="*/ 943 h 1224"/>
                <a:gd name="T14" fmla="*/ 19 w 2146"/>
                <a:gd name="T15" fmla="*/ 812 h 1224"/>
                <a:gd name="T16" fmla="*/ 0 w 2146"/>
                <a:gd name="T17" fmla="*/ 676 h 1224"/>
                <a:gd name="T18" fmla="*/ 6 w 2146"/>
                <a:gd name="T19" fmla="*/ 540 h 1224"/>
                <a:gd name="T20" fmla="*/ 28 w 2146"/>
                <a:gd name="T21" fmla="*/ 409 h 1224"/>
                <a:gd name="T22" fmla="*/ 62 w 2146"/>
                <a:gd name="T23" fmla="*/ 289 h 1224"/>
                <a:gd name="T24" fmla="*/ 101 w 2146"/>
                <a:gd name="T25" fmla="*/ 184 h 1224"/>
                <a:gd name="T26" fmla="*/ 149 w 2146"/>
                <a:gd name="T27" fmla="*/ 76 h 1224"/>
                <a:gd name="T28" fmla="*/ 187 w 2146"/>
                <a:gd name="T29" fmla="*/ 6 h 1224"/>
                <a:gd name="T30" fmla="*/ 201 w 2146"/>
                <a:gd name="T31" fmla="*/ 0 h 1224"/>
                <a:gd name="T32" fmla="*/ 212 w 2146"/>
                <a:gd name="T33" fmla="*/ 11 h 1224"/>
                <a:gd name="T34" fmla="*/ 205 w 2146"/>
                <a:gd name="T35" fmla="*/ 29 h 1224"/>
                <a:gd name="T36" fmla="*/ 150 w 2146"/>
                <a:gd name="T37" fmla="*/ 136 h 1224"/>
                <a:gd name="T38" fmla="*/ 113 w 2146"/>
                <a:gd name="T39" fmla="*/ 225 h 1224"/>
                <a:gd name="T40" fmla="*/ 76 w 2146"/>
                <a:gd name="T41" fmla="*/ 332 h 1224"/>
                <a:gd name="T42" fmla="*/ 46 w 2146"/>
                <a:gd name="T43" fmla="*/ 453 h 1224"/>
                <a:gd name="T44" fmla="*/ 28 w 2146"/>
                <a:gd name="T45" fmla="*/ 582 h 1224"/>
                <a:gd name="T46" fmla="*/ 31 w 2146"/>
                <a:gd name="T47" fmla="*/ 714 h 1224"/>
                <a:gd name="T48" fmla="*/ 56 w 2146"/>
                <a:gd name="T49" fmla="*/ 845 h 1224"/>
                <a:gd name="T50" fmla="*/ 114 w 2146"/>
                <a:gd name="T51" fmla="*/ 970 h 1224"/>
                <a:gd name="T52" fmla="*/ 208 w 2146"/>
                <a:gd name="T53" fmla="*/ 1084 h 1224"/>
                <a:gd name="T54" fmla="*/ 275 w 2146"/>
                <a:gd name="T55" fmla="*/ 1133 h 1224"/>
                <a:gd name="T56" fmla="*/ 349 w 2146"/>
                <a:gd name="T57" fmla="*/ 1168 h 1224"/>
                <a:gd name="T58" fmla="*/ 432 w 2146"/>
                <a:gd name="T59" fmla="*/ 1188 h 1224"/>
                <a:gd name="T60" fmla="*/ 522 w 2146"/>
                <a:gd name="T61" fmla="*/ 1197 h 1224"/>
                <a:gd name="T62" fmla="*/ 617 w 2146"/>
                <a:gd name="T63" fmla="*/ 1195 h 1224"/>
                <a:gd name="T64" fmla="*/ 717 w 2146"/>
                <a:gd name="T65" fmla="*/ 1183 h 1224"/>
                <a:gd name="T66" fmla="*/ 856 w 2146"/>
                <a:gd name="T67" fmla="*/ 1157 h 1224"/>
                <a:gd name="T68" fmla="*/ 1071 w 2146"/>
                <a:gd name="T69" fmla="*/ 1102 h 1224"/>
                <a:gd name="T70" fmla="*/ 1281 w 2146"/>
                <a:gd name="T71" fmla="*/ 1042 h 1224"/>
                <a:gd name="T72" fmla="*/ 1471 w 2146"/>
                <a:gd name="T73" fmla="*/ 990 h 1224"/>
                <a:gd name="T74" fmla="*/ 1657 w 2146"/>
                <a:gd name="T75" fmla="*/ 948 h 1224"/>
                <a:gd name="T76" fmla="*/ 1776 w 2146"/>
                <a:gd name="T77" fmla="*/ 930 h 1224"/>
                <a:gd name="T78" fmla="*/ 1862 w 2146"/>
                <a:gd name="T79" fmla="*/ 924 h 1224"/>
                <a:gd name="T80" fmla="*/ 1944 w 2146"/>
                <a:gd name="T81" fmla="*/ 925 h 1224"/>
                <a:gd name="T82" fmla="*/ 2021 w 2146"/>
                <a:gd name="T83" fmla="*/ 935 h 1224"/>
                <a:gd name="T84" fmla="*/ 2093 w 2146"/>
                <a:gd name="T85" fmla="*/ 954 h 1224"/>
                <a:gd name="T86" fmla="*/ 2143 w 2146"/>
                <a:gd name="T87" fmla="*/ 976 h 1224"/>
                <a:gd name="T88" fmla="*/ 2145 w 2146"/>
                <a:gd name="T89" fmla="*/ 991 h 1224"/>
                <a:gd name="T90" fmla="*/ 2132 w 2146"/>
                <a:gd name="T91" fmla="*/ 998 h 1224"/>
                <a:gd name="T92" fmla="*/ 2083 w 2146"/>
                <a:gd name="T93" fmla="*/ 979 h 1224"/>
                <a:gd name="T94" fmla="*/ 2013 w 2146"/>
                <a:gd name="T95" fmla="*/ 961 h 1224"/>
                <a:gd name="T96" fmla="*/ 1939 w 2146"/>
                <a:gd name="T97" fmla="*/ 952 h 1224"/>
                <a:gd name="T98" fmla="*/ 1859 w 2146"/>
                <a:gd name="T99" fmla="*/ 951 h 1224"/>
                <a:gd name="T100" fmla="*/ 1774 w 2146"/>
                <a:gd name="T101" fmla="*/ 957 h 1224"/>
                <a:gd name="T102" fmla="*/ 1658 w 2146"/>
                <a:gd name="T103" fmla="*/ 975 h 1224"/>
                <a:gd name="T104" fmla="*/ 1475 w 2146"/>
                <a:gd name="T105" fmla="*/ 1017 h 1224"/>
                <a:gd name="T106" fmla="*/ 1287 w 2146"/>
                <a:gd name="T107" fmla="*/ 1069 h 1224"/>
                <a:gd name="T108" fmla="*/ 1049 w 2146"/>
                <a:gd name="T109" fmla="*/ 1137 h 1224"/>
                <a:gd name="T110" fmla="*/ 832 w 2146"/>
                <a:gd name="T111" fmla="*/ 1191 h 1224"/>
                <a:gd name="T112" fmla="*/ 705 w 2146"/>
                <a:gd name="T113" fmla="*/ 1212 h 1224"/>
                <a:gd name="T114" fmla="*/ 586 w 2146"/>
                <a:gd name="T115" fmla="*/ 1223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6" h="1224">
                  <a:moveTo>
                    <a:pt x="547" y="1224"/>
                  </a:moveTo>
                  <a:lnTo>
                    <a:pt x="521" y="1224"/>
                  </a:lnTo>
                  <a:lnTo>
                    <a:pt x="495" y="1223"/>
                  </a:lnTo>
                  <a:lnTo>
                    <a:pt x="470" y="1221"/>
                  </a:lnTo>
                  <a:lnTo>
                    <a:pt x="445" y="1217"/>
                  </a:lnTo>
                  <a:lnTo>
                    <a:pt x="420" y="1214"/>
                  </a:lnTo>
                  <a:lnTo>
                    <a:pt x="397" y="1209"/>
                  </a:lnTo>
                  <a:lnTo>
                    <a:pt x="374" y="1203"/>
                  </a:lnTo>
                  <a:lnTo>
                    <a:pt x="351" y="1197"/>
                  </a:lnTo>
                  <a:lnTo>
                    <a:pt x="329" y="1189"/>
                  </a:lnTo>
                  <a:lnTo>
                    <a:pt x="307" y="1181"/>
                  </a:lnTo>
                  <a:lnTo>
                    <a:pt x="285" y="1171"/>
                  </a:lnTo>
                  <a:lnTo>
                    <a:pt x="265" y="1159"/>
                  </a:lnTo>
                  <a:lnTo>
                    <a:pt x="245" y="1147"/>
                  </a:lnTo>
                  <a:lnTo>
                    <a:pt x="226" y="1134"/>
                  </a:lnTo>
                  <a:lnTo>
                    <a:pt x="208" y="1119"/>
                  </a:lnTo>
                  <a:lnTo>
                    <a:pt x="189" y="1103"/>
                  </a:lnTo>
                  <a:lnTo>
                    <a:pt x="153" y="1065"/>
                  </a:lnTo>
                  <a:lnTo>
                    <a:pt x="119" y="1026"/>
                  </a:lnTo>
                  <a:lnTo>
                    <a:pt x="91" y="985"/>
                  </a:lnTo>
                  <a:lnTo>
                    <a:pt x="67" y="943"/>
                  </a:lnTo>
                  <a:lnTo>
                    <a:pt x="48" y="900"/>
                  </a:lnTo>
                  <a:lnTo>
                    <a:pt x="32" y="856"/>
                  </a:lnTo>
                  <a:lnTo>
                    <a:pt x="19" y="812"/>
                  </a:lnTo>
                  <a:lnTo>
                    <a:pt x="10" y="766"/>
                  </a:lnTo>
                  <a:lnTo>
                    <a:pt x="4" y="721"/>
                  </a:lnTo>
                  <a:lnTo>
                    <a:pt x="0" y="676"/>
                  </a:lnTo>
                  <a:lnTo>
                    <a:pt x="0" y="629"/>
                  </a:lnTo>
                  <a:lnTo>
                    <a:pt x="1" y="584"/>
                  </a:lnTo>
                  <a:lnTo>
                    <a:pt x="6" y="540"/>
                  </a:lnTo>
                  <a:lnTo>
                    <a:pt x="11" y="495"/>
                  </a:lnTo>
                  <a:lnTo>
                    <a:pt x="19" y="452"/>
                  </a:lnTo>
                  <a:lnTo>
                    <a:pt x="28" y="409"/>
                  </a:lnTo>
                  <a:lnTo>
                    <a:pt x="38" y="368"/>
                  </a:lnTo>
                  <a:lnTo>
                    <a:pt x="50" y="328"/>
                  </a:lnTo>
                  <a:lnTo>
                    <a:pt x="62" y="289"/>
                  </a:lnTo>
                  <a:lnTo>
                    <a:pt x="75" y="252"/>
                  </a:lnTo>
                  <a:lnTo>
                    <a:pt x="88" y="217"/>
                  </a:lnTo>
                  <a:lnTo>
                    <a:pt x="101" y="184"/>
                  </a:lnTo>
                  <a:lnTo>
                    <a:pt x="114" y="153"/>
                  </a:lnTo>
                  <a:lnTo>
                    <a:pt x="127" y="125"/>
                  </a:lnTo>
                  <a:lnTo>
                    <a:pt x="149" y="76"/>
                  </a:lnTo>
                  <a:lnTo>
                    <a:pt x="169" y="39"/>
                  </a:lnTo>
                  <a:lnTo>
                    <a:pt x="182" y="15"/>
                  </a:lnTo>
                  <a:lnTo>
                    <a:pt x="187" y="6"/>
                  </a:lnTo>
                  <a:lnTo>
                    <a:pt x="190" y="2"/>
                  </a:lnTo>
                  <a:lnTo>
                    <a:pt x="196" y="0"/>
                  </a:lnTo>
                  <a:lnTo>
                    <a:pt x="201" y="0"/>
                  </a:lnTo>
                  <a:lnTo>
                    <a:pt x="205" y="2"/>
                  </a:lnTo>
                  <a:lnTo>
                    <a:pt x="210" y="5"/>
                  </a:lnTo>
                  <a:lnTo>
                    <a:pt x="212" y="11"/>
                  </a:lnTo>
                  <a:lnTo>
                    <a:pt x="212" y="15"/>
                  </a:lnTo>
                  <a:lnTo>
                    <a:pt x="210" y="20"/>
                  </a:lnTo>
                  <a:lnTo>
                    <a:pt x="205" y="29"/>
                  </a:lnTo>
                  <a:lnTo>
                    <a:pt x="193" y="53"/>
                  </a:lnTo>
                  <a:lnTo>
                    <a:pt x="173" y="88"/>
                  </a:lnTo>
                  <a:lnTo>
                    <a:pt x="150" y="136"/>
                  </a:lnTo>
                  <a:lnTo>
                    <a:pt x="139" y="164"/>
                  </a:lnTo>
                  <a:lnTo>
                    <a:pt x="126" y="193"/>
                  </a:lnTo>
                  <a:lnTo>
                    <a:pt x="113" y="225"/>
                  </a:lnTo>
                  <a:lnTo>
                    <a:pt x="101" y="260"/>
                  </a:lnTo>
                  <a:lnTo>
                    <a:pt x="88" y="296"/>
                  </a:lnTo>
                  <a:lnTo>
                    <a:pt x="76" y="332"/>
                  </a:lnTo>
                  <a:lnTo>
                    <a:pt x="65" y="371"/>
                  </a:lnTo>
                  <a:lnTo>
                    <a:pt x="55" y="412"/>
                  </a:lnTo>
                  <a:lnTo>
                    <a:pt x="46" y="453"/>
                  </a:lnTo>
                  <a:lnTo>
                    <a:pt x="38" y="495"/>
                  </a:lnTo>
                  <a:lnTo>
                    <a:pt x="33" y="539"/>
                  </a:lnTo>
                  <a:lnTo>
                    <a:pt x="28" y="582"/>
                  </a:lnTo>
                  <a:lnTo>
                    <a:pt x="27" y="626"/>
                  </a:lnTo>
                  <a:lnTo>
                    <a:pt x="27" y="670"/>
                  </a:lnTo>
                  <a:lnTo>
                    <a:pt x="31" y="714"/>
                  </a:lnTo>
                  <a:lnTo>
                    <a:pt x="36" y="758"/>
                  </a:lnTo>
                  <a:lnTo>
                    <a:pt x="45" y="802"/>
                  </a:lnTo>
                  <a:lnTo>
                    <a:pt x="56" y="845"/>
                  </a:lnTo>
                  <a:lnTo>
                    <a:pt x="72" y="887"/>
                  </a:lnTo>
                  <a:lnTo>
                    <a:pt x="91" y="929"/>
                  </a:lnTo>
                  <a:lnTo>
                    <a:pt x="114" y="970"/>
                  </a:lnTo>
                  <a:lnTo>
                    <a:pt x="141" y="1009"/>
                  </a:lnTo>
                  <a:lnTo>
                    <a:pt x="172" y="1047"/>
                  </a:lnTo>
                  <a:lnTo>
                    <a:pt x="208" y="1084"/>
                  </a:lnTo>
                  <a:lnTo>
                    <a:pt x="229" y="1102"/>
                  </a:lnTo>
                  <a:lnTo>
                    <a:pt x="251" y="1119"/>
                  </a:lnTo>
                  <a:lnTo>
                    <a:pt x="275" y="1133"/>
                  </a:lnTo>
                  <a:lnTo>
                    <a:pt x="298" y="1146"/>
                  </a:lnTo>
                  <a:lnTo>
                    <a:pt x="323" y="1158"/>
                  </a:lnTo>
                  <a:lnTo>
                    <a:pt x="349" y="1168"/>
                  </a:lnTo>
                  <a:lnTo>
                    <a:pt x="376" y="1176"/>
                  </a:lnTo>
                  <a:lnTo>
                    <a:pt x="404" y="1183"/>
                  </a:lnTo>
                  <a:lnTo>
                    <a:pt x="432" y="1188"/>
                  </a:lnTo>
                  <a:lnTo>
                    <a:pt x="461" y="1193"/>
                  </a:lnTo>
                  <a:lnTo>
                    <a:pt x="492" y="1195"/>
                  </a:lnTo>
                  <a:lnTo>
                    <a:pt x="522" y="1197"/>
                  </a:lnTo>
                  <a:lnTo>
                    <a:pt x="553" y="1197"/>
                  </a:lnTo>
                  <a:lnTo>
                    <a:pt x="584" y="1196"/>
                  </a:lnTo>
                  <a:lnTo>
                    <a:pt x="617" y="1195"/>
                  </a:lnTo>
                  <a:lnTo>
                    <a:pt x="649" y="1192"/>
                  </a:lnTo>
                  <a:lnTo>
                    <a:pt x="683" y="1188"/>
                  </a:lnTo>
                  <a:lnTo>
                    <a:pt x="717" y="1183"/>
                  </a:lnTo>
                  <a:lnTo>
                    <a:pt x="751" y="1178"/>
                  </a:lnTo>
                  <a:lnTo>
                    <a:pt x="785" y="1172"/>
                  </a:lnTo>
                  <a:lnTo>
                    <a:pt x="856" y="1157"/>
                  </a:lnTo>
                  <a:lnTo>
                    <a:pt x="927" y="1141"/>
                  </a:lnTo>
                  <a:lnTo>
                    <a:pt x="999" y="1123"/>
                  </a:lnTo>
                  <a:lnTo>
                    <a:pt x="1071" y="1102"/>
                  </a:lnTo>
                  <a:lnTo>
                    <a:pt x="1145" y="1081"/>
                  </a:lnTo>
                  <a:lnTo>
                    <a:pt x="1217" y="1061"/>
                  </a:lnTo>
                  <a:lnTo>
                    <a:pt x="1281" y="1042"/>
                  </a:lnTo>
                  <a:lnTo>
                    <a:pt x="1345" y="1024"/>
                  </a:lnTo>
                  <a:lnTo>
                    <a:pt x="1408" y="1006"/>
                  </a:lnTo>
                  <a:lnTo>
                    <a:pt x="1471" y="990"/>
                  </a:lnTo>
                  <a:lnTo>
                    <a:pt x="1534" y="974"/>
                  </a:lnTo>
                  <a:lnTo>
                    <a:pt x="1596" y="960"/>
                  </a:lnTo>
                  <a:lnTo>
                    <a:pt x="1657" y="948"/>
                  </a:lnTo>
                  <a:lnTo>
                    <a:pt x="1717" y="938"/>
                  </a:lnTo>
                  <a:lnTo>
                    <a:pt x="1746" y="934"/>
                  </a:lnTo>
                  <a:lnTo>
                    <a:pt x="1776" y="930"/>
                  </a:lnTo>
                  <a:lnTo>
                    <a:pt x="1805" y="927"/>
                  </a:lnTo>
                  <a:lnTo>
                    <a:pt x="1834" y="925"/>
                  </a:lnTo>
                  <a:lnTo>
                    <a:pt x="1862" y="924"/>
                  </a:lnTo>
                  <a:lnTo>
                    <a:pt x="1889" y="924"/>
                  </a:lnTo>
                  <a:lnTo>
                    <a:pt x="1917" y="924"/>
                  </a:lnTo>
                  <a:lnTo>
                    <a:pt x="1944" y="925"/>
                  </a:lnTo>
                  <a:lnTo>
                    <a:pt x="1970" y="927"/>
                  </a:lnTo>
                  <a:lnTo>
                    <a:pt x="1996" y="930"/>
                  </a:lnTo>
                  <a:lnTo>
                    <a:pt x="2021" y="935"/>
                  </a:lnTo>
                  <a:lnTo>
                    <a:pt x="2045" y="940"/>
                  </a:lnTo>
                  <a:lnTo>
                    <a:pt x="2069" y="947"/>
                  </a:lnTo>
                  <a:lnTo>
                    <a:pt x="2093" y="954"/>
                  </a:lnTo>
                  <a:lnTo>
                    <a:pt x="2116" y="963"/>
                  </a:lnTo>
                  <a:lnTo>
                    <a:pt x="2138" y="972"/>
                  </a:lnTo>
                  <a:lnTo>
                    <a:pt x="2143" y="976"/>
                  </a:lnTo>
                  <a:lnTo>
                    <a:pt x="2145" y="980"/>
                  </a:lnTo>
                  <a:lnTo>
                    <a:pt x="2146" y="985"/>
                  </a:lnTo>
                  <a:lnTo>
                    <a:pt x="2145" y="991"/>
                  </a:lnTo>
                  <a:lnTo>
                    <a:pt x="2142" y="995"/>
                  </a:lnTo>
                  <a:lnTo>
                    <a:pt x="2137" y="997"/>
                  </a:lnTo>
                  <a:lnTo>
                    <a:pt x="2132" y="998"/>
                  </a:lnTo>
                  <a:lnTo>
                    <a:pt x="2126" y="997"/>
                  </a:lnTo>
                  <a:lnTo>
                    <a:pt x="2105" y="988"/>
                  </a:lnTo>
                  <a:lnTo>
                    <a:pt x="2083" y="979"/>
                  </a:lnTo>
                  <a:lnTo>
                    <a:pt x="2061" y="972"/>
                  </a:lnTo>
                  <a:lnTo>
                    <a:pt x="2037" y="966"/>
                  </a:lnTo>
                  <a:lnTo>
                    <a:pt x="2013" y="961"/>
                  </a:lnTo>
                  <a:lnTo>
                    <a:pt x="1988" y="957"/>
                  </a:lnTo>
                  <a:lnTo>
                    <a:pt x="1963" y="954"/>
                  </a:lnTo>
                  <a:lnTo>
                    <a:pt x="1939" y="952"/>
                  </a:lnTo>
                  <a:lnTo>
                    <a:pt x="1912" y="951"/>
                  </a:lnTo>
                  <a:lnTo>
                    <a:pt x="1886" y="951"/>
                  </a:lnTo>
                  <a:lnTo>
                    <a:pt x="1859" y="951"/>
                  </a:lnTo>
                  <a:lnTo>
                    <a:pt x="1831" y="952"/>
                  </a:lnTo>
                  <a:lnTo>
                    <a:pt x="1803" y="954"/>
                  </a:lnTo>
                  <a:lnTo>
                    <a:pt x="1774" y="957"/>
                  </a:lnTo>
                  <a:lnTo>
                    <a:pt x="1745" y="961"/>
                  </a:lnTo>
                  <a:lnTo>
                    <a:pt x="1717" y="965"/>
                  </a:lnTo>
                  <a:lnTo>
                    <a:pt x="1658" y="975"/>
                  </a:lnTo>
                  <a:lnTo>
                    <a:pt x="1597" y="988"/>
                  </a:lnTo>
                  <a:lnTo>
                    <a:pt x="1537" y="1002"/>
                  </a:lnTo>
                  <a:lnTo>
                    <a:pt x="1475" y="1017"/>
                  </a:lnTo>
                  <a:lnTo>
                    <a:pt x="1413" y="1033"/>
                  </a:lnTo>
                  <a:lnTo>
                    <a:pt x="1350" y="1050"/>
                  </a:lnTo>
                  <a:lnTo>
                    <a:pt x="1287" y="1069"/>
                  </a:lnTo>
                  <a:lnTo>
                    <a:pt x="1225" y="1087"/>
                  </a:lnTo>
                  <a:lnTo>
                    <a:pt x="1137" y="1112"/>
                  </a:lnTo>
                  <a:lnTo>
                    <a:pt x="1049" y="1137"/>
                  </a:lnTo>
                  <a:lnTo>
                    <a:pt x="961" y="1160"/>
                  </a:lnTo>
                  <a:lnTo>
                    <a:pt x="875" y="1181"/>
                  </a:lnTo>
                  <a:lnTo>
                    <a:pt x="832" y="1191"/>
                  </a:lnTo>
                  <a:lnTo>
                    <a:pt x="790" y="1198"/>
                  </a:lnTo>
                  <a:lnTo>
                    <a:pt x="748" y="1206"/>
                  </a:lnTo>
                  <a:lnTo>
                    <a:pt x="705" y="1212"/>
                  </a:lnTo>
                  <a:lnTo>
                    <a:pt x="665" y="1217"/>
                  </a:lnTo>
                  <a:lnTo>
                    <a:pt x="624" y="1221"/>
                  </a:lnTo>
                  <a:lnTo>
                    <a:pt x="586" y="1223"/>
                  </a:lnTo>
                  <a:lnTo>
                    <a:pt x="547" y="122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241"/>
            <p:cNvSpPr>
              <a:spLocks/>
            </p:cNvSpPr>
            <p:nvPr userDrawn="1"/>
          </p:nvSpPr>
          <p:spPr bwMode="auto">
            <a:xfrm>
              <a:off x="1611313" y="5965825"/>
              <a:ext cx="277813" cy="892175"/>
            </a:xfrm>
            <a:custGeom>
              <a:avLst/>
              <a:gdLst>
                <a:gd name="T0" fmla="*/ 19 w 527"/>
                <a:gd name="T1" fmla="*/ 1664 h 1685"/>
                <a:gd name="T2" fmla="*/ 60 w 527"/>
                <a:gd name="T3" fmla="*/ 1620 h 1685"/>
                <a:gd name="T4" fmla="*/ 103 w 527"/>
                <a:gd name="T5" fmla="*/ 1571 h 1685"/>
                <a:gd name="T6" fmla="*/ 145 w 527"/>
                <a:gd name="T7" fmla="*/ 1517 h 1685"/>
                <a:gd name="T8" fmla="*/ 188 w 527"/>
                <a:gd name="T9" fmla="*/ 1458 h 1685"/>
                <a:gd name="T10" fmla="*/ 231 w 527"/>
                <a:gd name="T11" fmla="*/ 1395 h 1685"/>
                <a:gd name="T12" fmla="*/ 274 w 527"/>
                <a:gd name="T13" fmla="*/ 1326 h 1685"/>
                <a:gd name="T14" fmla="*/ 317 w 527"/>
                <a:gd name="T15" fmla="*/ 1251 h 1685"/>
                <a:gd name="T16" fmla="*/ 368 w 527"/>
                <a:gd name="T17" fmla="*/ 1154 h 1685"/>
                <a:gd name="T18" fmla="*/ 417 w 527"/>
                <a:gd name="T19" fmla="*/ 1038 h 1685"/>
                <a:gd name="T20" fmla="*/ 452 w 527"/>
                <a:gd name="T21" fmla="*/ 926 h 1685"/>
                <a:gd name="T22" fmla="*/ 478 w 527"/>
                <a:gd name="T23" fmla="*/ 817 h 1685"/>
                <a:gd name="T24" fmla="*/ 493 w 527"/>
                <a:gd name="T25" fmla="*/ 712 h 1685"/>
                <a:gd name="T26" fmla="*/ 500 w 527"/>
                <a:gd name="T27" fmla="*/ 612 h 1685"/>
                <a:gd name="T28" fmla="*/ 499 w 527"/>
                <a:gd name="T29" fmla="*/ 516 h 1685"/>
                <a:gd name="T30" fmla="*/ 492 w 527"/>
                <a:gd name="T31" fmla="*/ 427 h 1685"/>
                <a:gd name="T32" fmla="*/ 482 w 527"/>
                <a:gd name="T33" fmla="*/ 345 h 1685"/>
                <a:gd name="T34" fmla="*/ 466 w 527"/>
                <a:gd name="T35" fmla="*/ 270 h 1685"/>
                <a:gd name="T36" fmla="*/ 450 w 527"/>
                <a:gd name="T37" fmla="*/ 204 h 1685"/>
                <a:gd name="T38" fmla="*/ 433 w 527"/>
                <a:gd name="T39" fmla="*/ 147 h 1685"/>
                <a:gd name="T40" fmla="*/ 409 w 527"/>
                <a:gd name="T41" fmla="*/ 79 h 1685"/>
                <a:gd name="T42" fmla="*/ 388 w 527"/>
                <a:gd name="T43" fmla="*/ 27 h 1685"/>
                <a:gd name="T44" fmla="*/ 382 w 527"/>
                <a:gd name="T45" fmla="*/ 15 h 1685"/>
                <a:gd name="T46" fmla="*/ 385 w 527"/>
                <a:gd name="T47" fmla="*/ 5 h 1685"/>
                <a:gd name="T48" fmla="*/ 395 w 527"/>
                <a:gd name="T49" fmla="*/ 0 h 1685"/>
                <a:gd name="T50" fmla="*/ 405 w 527"/>
                <a:gd name="T51" fmla="*/ 3 h 1685"/>
                <a:gd name="T52" fmla="*/ 411 w 527"/>
                <a:gd name="T53" fmla="*/ 15 h 1685"/>
                <a:gd name="T54" fmla="*/ 434 w 527"/>
                <a:gd name="T55" fmla="*/ 68 h 1685"/>
                <a:gd name="T56" fmla="*/ 459 w 527"/>
                <a:gd name="T57" fmla="*/ 137 h 1685"/>
                <a:gd name="T58" fmla="*/ 476 w 527"/>
                <a:gd name="T59" fmla="*/ 195 h 1685"/>
                <a:gd name="T60" fmla="*/ 492 w 527"/>
                <a:gd name="T61" fmla="*/ 263 h 1685"/>
                <a:gd name="T62" fmla="*/ 508 w 527"/>
                <a:gd name="T63" fmla="*/ 340 h 1685"/>
                <a:gd name="T64" fmla="*/ 519 w 527"/>
                <a:gd name="T65" fmla="*/ 424 h 1685"/>
                <a:gd name="T66" fmla="*/ 526 w 527"/>
                <a:gd name="T67" fmla="*/ 515 h 1685"/>
                <a:gd name="T68" fmla="*/ 526 w 527"/>
                <a:gd name="T69" fmla="*/ 612 h 1685"/>
                <a:gd name="T70" fmla="*/ 519 w 527"/>
                <a:gd name="T71" fmla="*/ 715 h 1685"/>
                <a:gd name="T72" fmla="*/ 504 w 527"/>
                <a:gd name="T73" fmla="*/ 822 h 1685"/>
                <a:gd name="T74" fmla="*/ 479 w 527"/>
                <a:gd name="T75" fmla="*/ 934 h 1685"/>
                <a:gd name="T76" fmla="*/ 442 w 527"/>
                <a:gd name="T77" fmla="*/ 1048 h 1685"/>
                <a:gd name="T78" fmla="*/ 393 w 527"/>
                <a:gd name="T79" fmla="*/ 1165 h 1685"/>
                <a:gd name="T80" fmla="*/ 342 w 527"/>
                <a:gd name="T81" fmla="*/ 1262 h 1685"/>
                <a:gd name="T82" fmla="*/ 301 w 527"/>
                <a:gd name="T83" fmla="*/ 1333 h 1685"/>
                <a:gd name="T84" fmla="*/ 259 w 527"/>
                <a:gd name="T85" fmla="*/ 1400 h 1685"/>
                <a:gd name="T86" fmla="*/ 218 w 527"/>
                <a:gd name="T87" fmla="*/ 1462 h 1685"/>
                <a:gd name="T88" fmla="*/ 177 w 527"/>
                <a:gd name="T89" fmla="*/ 1519 h 1685"/>
                <a:gd name="T90" fmla="*/ 137 w 527"/>
                <a:gd name="T91" fmla="*/ 1572 h 1685"/>
                <a:gd name="T92" fmla="*/ 78 w 527"/>
                <a:gd name="T93" fmla="*/ 1643 h 1685"/>
                <a:gd name="T94" fmla="*/ 0 w 527"/>
                <a:gd name="T95" fmla="*/ 1685 h 1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7" h="1685">
                  <a:moveTo>
                    <a:pt x="0" y="1685"/>
                  </a:moveTo>
                  <a:lnTo>
                    <a:pt x="19" y="1664"/>
                  </a:lnTo>
                  <a:lnTo>
                    <a:pt x="40" y="1643"/>
                  </a:lnTo>
                  <a:lnTo>
                    <a:pt x="60" y="1620"/>
                  </a:lnTo>
                  <a:lnTo>
                    <a:pt x="81" y="1595"/>
                  </a:lnTo>
                  <a:lnTo>
                    <a:pt x="103" y="1571"/>
                  </a:lnTo>
                  <a:lnTo>
                    <a:pt x="123" y="1545"/>
                  </a:lnTo>
                  <a:lnTo>
                    <a:pt x="145" y="1517"/>
                  </a:lnTo>
                  <a:lnTo>
                    <a:pt x="166" y="1489"/>
                  </a:lnTo>
                  <a:lnTo>
                    <a:pt x="188" y="1458"/>
                  </a:lnTo>
                  <a:lnTo>
                    <a:pt x="209" y="1427"/>
                  </a:lnTo>
                  <a:lnTo>
                    <a:pt x="231" y="1395"/>
                  </a:lnTo>
                  <a:lnTo>
                    <a:pt x="253" y="1361"/>
                  </a:lnTo>
                  <a:lnTo>
                    <a:pt x="274" y="1326"/>
                  </a:lnTo>
                  <a:lnTo>
                    <a:pt x="296" y="1289"/>
                  </a:lnTo>
                  <a:lnTo>
                    <a:pt x="317" y="1251"/>
                  </a:lnTo>
                  <a:lnTo>
                    <a:pt x="339" y="1211"/>
                  </a:lnTo>
                  <a:lnTo>
                    <a:pt x="368" y="1154"/>
                  </a:lnTo>
                  <a:lnTo>
                    <a:pt x="394" y="1096"/>
                  </a:lnTo>
                  <a:lnTo>
                    <a:pt x="417" y="1038"/>
                  </a:lnTo>
                  <a:lnTo>
                    <a:pt x="436" y="982"/>
                  </a:lnTo>
                  <a:lnTo>
                    <a:pt x="452" y="926"/>
                  </a:lnTo>
                  <a:lnTo>
                    <a:pt x="466" y="871"/>
                  </a:lnTo>
                  <a:lnTo>
                    <a:pt x="478" y="817"/>
                  </a:lnTo>
                  <a:lnTo>
                    <a:pt x="487" y="764"/>
                  </a:lnTo>
                  <a:lnTo>
                    <a:pt x="493" y="712"/>
                  </a:lnTo>
                  <a:lnTo>
                    <a:pt x="497" y="662"/>
                  </a:lnTo>
                  <a:lnTo>
                    <a:pt x="500" y="612"/>
                  </a:lnTo>
                  <a:lnTo>
                    <a:pt x="500" y="563"/>
                  </a:lnTo>
                  <a:lnTo>
                    <a:pt x="499" y="516"/>
                  </a:lnTo>
                  <a:lnTo>
                    <a:pt x="497" y="471"/>
                  </a:lnTo>
                  <a:lnTo>
                    <a:pt x="492" y="427"/>
                  </a:lnTo>
                  <a:lnTo>
                    <a:pt x="487" y="385"/>
                  </a:lnTo>
                  <a:lnTo>
                    <a:pt x="482" y="345"/>
                  </a:lnTo>
                  <a:lnTo>
                    <a:pt x="474" y="307"/>
                  </a:lnTo>
                  <a:lnTo>
                    <a:pt x="466" y="270"/>
                  </a:lnTo>
                  <a:lnTo>
                    <a:pt x="459" y="235"/>
                  </a:lnTo>
                  <a:lnTo>
                    <a:pt x="450" y="204"/>
                  </a:lnTo>
                  <a:lnTo>
                    <a:pt x="442" y="174"/>
                  </a:lnTo>
                  <a:lnTo>
                    <a:pt x="433" y="147"/>
                  </a:lnTo>
                  <a:lnTo>
                    <a:pt x="425" y="121"/>
                  </a:lnTo>
                  <a:lnTo>
                    <a:pt x="409" y="79"/>
                  </a:lnTo>
                  <a:lnTo>
                    <a:pt x="396" y="47"/>
                  </a:lnTo>
                  <a:lnTo>
                    <a:pt x="388" y="27"/>
                  </a:lnTo>
                  <a:lnTo>
                    <a:pt x="384" y="19"/>
                  </a:lnTo>
                  <a:lnTo>
                    <a:pt x="382" y="15"/>
                  </a:lnTo>
                  <a:lnTo>
                    <a:pt x="383" y="10"/>
                  </a:lnTo>
                  <a:lnTo>
                    <a:pt x="385" y="5"/>
                  </a:lnTo>
                  <a:lnTo>
                    <a:pt x="390" y="2"/>
                  </a:lnTo>
                  <a:lnTo>
                    <a:pt x="395" y="0"/>
                  </a:lnTo>
                  <a:lnTo>
                    <a:pt x="401" y="1"/>
                  </a:lnTo>
                  <a:lnTo>
                    <a:pt x="405" y="3"/>
                  </a:lnTo>
                  <a:lnTo>
                    <a:pt x="408" y="7"/>
                  </a:lnTo>
                  <a:lnTo>
                    <a:pt x="411" y="15"/>
                  </a:lnTo>
                  <a:lnTo>
                    <a:pt x="421" y="36"/>
                  </a:lnTo>
                  <a:lnTo>
                    <a:pt x="434" y="68"/>
                  </a:lnTo>
                  <a:lnTo>
                    <a:pt x="450" y="111"/>
                  </a:lnTo>
                  <a:lnTo>
                    <a:pt x="459" y="137"/>
                  </a:lnTo>
                  <a:lnTo>
                    <a:pt x="468" y="165"/>
                  </a:lnTo>
                  <a:lnTo>
                    <a:pt x="476" y="195"/>
                  </a:lnTo>
                  <a:lnTo>
                    <a:pt x="485" y="228"/>
                  </a:lnTo>
                  <a:lnTo>
                    <a:pt x="492" y="263"/>
                  </a:lnTo>
                  <a:lnTo>
                    <a:pt x="500" y="300"/>
                  </a:lnTo>
                  <a:lnTo>
                    <a:pt x="508" y="340"/>
                  </a:lnTo>
                  <a:lnTo>
                    <a:pt x="514" y="381"/>
                  </a:lnTo>
                  <a:lnTo>
                    <a:pt x="519" y="424"/>
                  </a:lnTo>
                  <a:lnTo>
                    <a:pt x="523" y="468"/>
                  </a:lnTo>
                  <a:lnTo>
                    <a:pt x="526" y="515"/>
                  </a:lnTo>
                  <a:lnTo>
                    <a:pt x="527" y="562"/>
                  </a:lnTo>
                  <a:lnTo>
                    <a:pt x="526" y="612"/>
                  </a:lnTo>
                  <a:lnTo>
                    <a:pt x="524" y="663"/>
                  </a:lnTo>
                  <a:lnTo>
                    <a:pt x="519" y="715"/>
                  </a:lnTo>
                  <a:lnTo>
                    <a:pt x="513" y="769"/>
                  </a:lnTo>
                  <a:lnTo>
                    <a:pt x="504" y="822"/>
                  </a:lnTo>
                  <a:lnTo>
                    <a:pt x="493" y="878"/>
                  </a:lnTo>
                  <a:lnTo>
                    <a:pt x="479" y="934"/>
                  </a:lnTo>
                  <a:lnTo>
                    <a:pt x="462" y="991"/>
                  </a:lnTo>
                  <a:lnTo>
                    <a:pt x="442" y="1048"/>
                  </a:lnTo>
                  <a:lnTo>
                    <a:pt x="419" y="1106"/>
                  </a:lnTo>
                  <a:lnTo>
                    <a:pt x="393" y="1165"/>
                  </a:lnTo>
                  <a:lnTo>
                    <a:pt x="363" y="1224"/>
                  </a:lnTo>
                  <a:lnTo>
                    <a:pt x="342" y="1262"/>
                  </a:lnTo>
                  <a:lnTo>
                    <a:pt x="322" y="1299"/>
                  </a:lnTo>
                  <a:lnTo>
                    <a:pt x="301" y="1333"/>
                  </a:lnTo>
                  <a:lnTo>
                    <a:pt x="280" y="1368"/>
                  </a:lnTo>
                  <a:lnTo>
                    <a:pt x="259" y="1400"/>
                  </a:lnTo>
                  <a:lnTo>
                    <a:pt x="239" y="1431"/>
                  </a:lnTo>
                  <a:lnTo>
                    <a:pt x="218" y="1462"/>
                  </a:lnTo>
                  <a:lnTo>
                    <a:pt x="198" y="1491"/>
                  </a:lnTo>
                  <a:lnTo>
                    <a:pt x="177" y="1519"/>
                  </a:lnTo>
                  <a:lnTo>
                    <a:pt x="158" y="1546"/>
                  </a:lnTo>
                  <a:lnTo>
                    <a:pt x="137" y="1572"/>
                  </a:lnTo>
                  <a:lnTo>
                    <a:pt x="118" y="1596"/>
                  </a:lnTo>
                  <a:lnTo>
                    <a:pt x="78" y="1643"/>
                  </a:lnTo>
                  <a:lnTo>
                    <a:pt x="39" y="1685"/>
                  </a:lnTo>
                  <a:lnTo>
                    <a:pt x="0" y="168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242"/>
            <p:cNvSpPr>
              <a:spLocks/>
            </p:cNvSpPr>
            <p:nvPr userDrawn="1"/>
          </p:nvSpPr>
          <p:spPr bwMode="auto">
            <a:xfrm>
              <a:off x="1928813" y="5738813"/>
              <a:ext cx="3484563" cy="712788"/>
            </a:xfrm>
            <a:custGeom>
              <a:avLst/>
              <a:gdLst>
                <a:gd name="T0" fmla="*/ 6570 w 6584"/>
                <a:gd name="T1" fmla="*/ 1345 h 1345"/>
                <a:gd name="T2" fmla="*/ 6568 w 6584"/>
                <a:gd name="T3" fmla="*/ 1345 h 1345"/>
                <a:gd name="T4" fmla="*/ 6565 w 6584"/>
                <a:gd name="T5" fmla="*/ 1344 h 1345"/>
                <a:gd name="T6" fmla="*/ 5371 w 6584"/>
                <a:gd name="T7" fmla="*/ 848 h 1345"/>
                <a:gd name="T8" fmla="*/ 2178 w 6584"/>
                <a:gd name="T9" fmla="*/ 707 h 1345"/>
                <a:gd name="T10" fmla="*/ 2176 w 6584"/>
                <a:gd name="T11" fmla="*/ 707 h 1345"/>
                <a:gd name="T12" fmla="*/ 2175 w 6584"/>
                <a:gd name="T13" fmla="*/ 707 h 1345"/>
                <a:gd name="T14" fmla="*/ 10 w 6584"/>
                <a:gd name="T15" fmla="*/ 26 h 1345"/>
                <a:gd name="T16" fmla="*/ 6 w 6584"/>
                <a:gd name="T17" fmla="*/ 24 h 1345"/>
                <a:gd name="T18" fmla="*/ 3 w 6584"/>
                <a:gd name="T19" fmla="*/ 20 h 1345"/>
                <a:gd name="T20" fmla="*/ 0 w 6584"/>
                <a:gd name="T21" fmla="*/ 14 h 1345"/>
                <a:gd name="T22" fmla="*/ 2 w 6584"/>
                <a:gd name="T23" fmla="*/ 9 h 1345"/>
                <a:gd name="T24" fmla="*/ 4 w 6584"/>
                <a:gd name="T25" fmla="*/ 5 h 1345"/>
                <a:gd name="T26" fmla="*/ 8 w 6584"/>
                <a:gd name="T27" fmla="*/ 1 h 1345"/>
                <a:gd name="T28" fmla="*/ 13 w 6584"/>
                <a:gd name="T29" fmla="*/ 0 h 1345"/>
                <a:gd name="T30" fmla="*/ 19 w 6584"/>
                <a:gd name="T31" fmla="*/ 0 h 1345"/>
                <a:gd name="T32" fmla="*/ 2182 w 6584"/>
                <a:gd name="T33" fmla="*/ 680 h 1345"/>
                <a:gd name="T34" fmla="*/ 5375 w 6584"/>
                <a:gd name="T35" fmla="*/ 821 h 1345"/>
                <a:gd name="T36" fmla="*/ 5378 w 6584"/>
                <a:gd name="T37" fmla="*/ 822 h 1345"/>
                <a:gd name="T38" fmla="*/ 5380 w 6584"/>
                <a:gd name="T39" fmla="*/ 822 h 1345"/>
                <a:gd name="T40" fmla="*/ 6575 w 6584"/>
                <a:gd name="T41" fmla="*/ 1320 h 1345"/>
                <a:gd name="T42" fmla="*/ 6580 w 6584"/>
                <a:gd name="T43" fmla="*/ 1323 h 1345"/>
                <a:gd name="T44" fmla="*/ 6583 w 6584"/>
                <a:gd name="T45" fmla="*/ 1327 h 1345"/>
                <a:gd name="T46" fmla="*/ 6584 w 6584"/>
                <a:gd name="T47" fmla="*/ 1332 h 1345"/>
                <a:gd name="T48" fmla="*/ 6583 w 6584"/>
                <a:gd name="T49" fmla="*/ 1338 h 1345"/>
                <a:gd name="T50" fmla="*/ 6581 w 6584"/>
                <a:gd name="T51" fmla="*/ 1341 h 1345"/>
                <a:gd name="T52" fmla="*/ 6578 w 6584"/>
                <a:gd name="T53" fmla="*/ 1343 h 1345"/>
                <a:gd name="T54" fmla="*/ 6574 w 6584"/>
                <a:gd name="T55" fmla="*/ 1345 h 1345"/>
                <a:gd name="T56" fmla="*/ 6570 w 6584"/>
                <a:gd name="T57" fmla="*/ 134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84" h="1345">
                  <a:moveTo>
                    <a:pt x="6570" y="1345"/>
                  </a:moveTo>
                  <a:lnTo>
                    <a:pt x="6568" y="1345"/>
                  </a:lnTo>
                  <a:lnTo>
                    <a:pt x="6565" y="1344"/>
                  </a:lnTo>
                  <a:lnTo>
                    <a:pt x="5371" y="848"/>
                  </a:lnTo>
                  <a:lnTo>
                    <a:pt x="2178" y="707"/>
                  </a:lnTo>
                  <a:lnTo>
                    <a:pt x="2176" y="707"/>
                  </a:lnTo>
                  <a:lnTo>
                    <a:pt x="2175" y="707"/>
                  </a:lnTo>
                  <a:lnTo>
                    <a:pt x="10" y="26"/>
                  </a:lnTo>
                  <a:lnTo>
                    <a:pt x="6" y="24"/>
                  </a:lnTo>
                  <a:lnTo>
                    <a:pt x="3" y="20"/>
                  </a:lnTo>
                  <a:lnTo>
                    <a:pt x="0" y="14"/>
                  </a:lnTo>
                  <a:lnTo>
                    <a:pt x="2" y="9"/>
                  </a:lnTo>
                  <a:lnTo>
                    <a:pt x="4" y="5"/>
                  </a:lnTo>
                  <a:lnTo>
                    <a:pt x="8" y="1"/>
                  </a:lnTo>
                  <a:lnTo>
                    <a:pt x="13" y="0"/>
                  </a:lnTo>
                  <a:lnTo>
                    <a:pt x="19" y="0"/>
                  </a:lnTo>
                  <a:lnTo>
                    <a:pt x="2182" y="680"/>
                  </a:lnTo>
                  <a:lnTo>
                    <a:pt x="5375" y="821"/>
                  </a:lnTo>
                  <a:lnTo>
                    <a:pt x="5378" y="822"/>
                  </a:lnTo>
                  <a:lnTo>
                    <a:pt x="5380" y="822"/>
                  </a:lnTo>
                  <a:lnTo>
                    <a:pt x="6575" y="1320"/>
                  </a:lnTo>
                  <a:lnTo>
                    <a:pt x="6580" y="1323"/>
                  </a:lnTo>
                  <a:lnTo>
                    <a:pt x="6583" y="1327"/>
                  </a:lnTo>
                  <a:lnTo>
                    <a:pt x="6584" y="1332"/>
                  </a:lnTo>
                  <a:lnTo>
                    <a:pt x="6583" y="1338"/>
                  </a:lnTo>
                  <a:lnTo>
                    <a:pt x="6581" y="1341"/>
                  </a:lnTo>
                  <a:lnTo>
                    <a:pt x="6578" y="1343"/>
                  </a:lnTo>
                  <a:lnTo>
                    <a:pt x="6574" y="1345"/>
                  </a:lnTo>
                  <a:lnTo>
                    <a:pt x="6570" y="134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243"/>
            <p:cNvSpPr>
              <a:spLocks/>
            </p:cNvSpPr>
            <p:nvPr userDrawn="1"/>
          </p:nvSpPr>
          <p:spPr bwMode="auto">
            <a:xfrm>
              <a:off x="644525" y="5738813"/>
              <a:ext cx="4768850" cy="1119188"/>
            </a:xfrm>
            <a:custGeom>
              <a:avLst/>
              <a:gdLst>
                <a:gd name="T0" fmla="*/ 4 w 9010"/>
                <a:gd name="T1" fmla="*/ 1494 h 2114"/>
                <a:gd name="T2" fmla="*/ 1 w 9010"/>
                <a:gd name="T3" fmla="*/ 1487 h 2114"/>
                <a:gd name="T4" fmla="*/ 1 w 9010"/>
                <a:gd name="T5" fmla="*/ 1479 h 2114"/>
                <a:gd name="T6" fmla="*/ 57 w 9010"/>
                <a:gd name="T7" fmla="*/ 1335 h 2114"/>
                <a:gd name="T8" fmla="*/ 63 w 9010"/>
                <a:gd name="T9" fmla="*/ 1330 h 2114"/>
                <a:gd name="T10" fmla="*/ 69 w 9010"/>
                <a:gd name="T11" fmla="*/ 1329 h 2114"/>
                <a:gd name="T12" fmla="*/ 76 w 9010"/>
                <a:gd name="T13" fmla="*/ 1331 h 2114"/>
                <a:gd name="T14" fmla="*/ 815 w 9010"/>
                <a:gd name="T15" fmla="*/ 2076 h 2114"/>
                <a:gd name="T16" fmla="*/ 2433 w 9010"/>
                <a:gd name="T17" fmla="*/ 3 h 2114"/>
                <a:gd name="T18" fmla="*/ 2440 w 9010"/>
                <a:gd name="T19" fmla="*/ 0 h 2114"/>
                <a:gd name="T20" fmla="*/ 2541 w 9010"/>
                <a:gd name="T21" fmla="*/ 36 h 2114"/>
                <a:gd name="T22" fmla="*/ 2547 w 9010"/>
                <a:gd name="T23" fmla="*/ 32 h 2114"/>
                <a:gd name="T24" fmla="*/ 2558 w 9010"/>
                <a:gd name="T25" fmla="*/ 33 h 2114"/>
                <a:gd name="T26" fmla="*/ 2564 w 9010"/>
                <a:gd name="T27" fmla="*/ 41 h 2114"/>
                <a:gd name="T28" fmla="*/ 2564 w 9010"/>
                <a:gd name="T29" fmla="*/ 45 h 2114"/>
                <a:gd name="T30" fmla="*/ 7624 w 9010"/>
                <a:gd name="T31" fmla="*/ 655 h 2114"/>
                <a:gd name="T32" fmla="*/ 7630 w 9010"/>
                <a:gd name="T33" fmla="*/ 656 h 2114"/>
                <a:gd name="T34" fmla="*/ 9006 w 9010"/>
                <a:gd name="T35" fmla="*/ 1280 h 2114"/>
                <a:gd name="T36" fmla="*/ 9010 w 9010"/>
                <a:gd name="T37" fmla="*/ 1288 h 2114"/>
                <a:gd name="T38" fmla="*/ 9006 w 9010"/>
                <a:gd name="T39" fmla="*/ 1298 h 2114"/>
                <a:gd name="T40" fmla="*/ 8996 w 9010"/>
                <a:gd name="T41" fmla="*/ 1302 h 2114"/>
                <a:gd name="T42" fmla="*/ 7639 w 9010"/>
                <a:gd name="T43" fmla="*/ 706 h 2114"/>
                <a:gd name="T44" fmla="*/ 4907 w 9010"/>
                <a:gd name="T45" fmla="*/ 1024 h 2114"/>
                <a:gd name="T46" fmla="*/ 2731 w 9010"/>
                <a:gd name="T47" fmla="*/ 266 h 2114"/>
                <a:gd name="T48" fmla="*/ 2723 w 9010"/>
                <a:gd name="T49" fmla="*/ 259 h 2114"/>
                <a:gd name="T50" fmla="*/ 2722 w 9010"/>
                <a:gd name="T51" fmla="*/ 249 h 2114"/>
                <a:gd name="T52" fmla="*/ 2730 w 9010"/>
                <a:gd name="T53" fmla="*/ 241 h 2114"/>
                <a:gd name="T54" fmla="*/ 2740 w 9010"/>
                <a:gd name="T55" fmla="*/ 240 h 2114"/>
                <a:gd name="T56" fmla="*/ 7612 w 9010"/>
                <a:gd name="T57" fmla="*/ 683 h 2114"/>
                <a:gd name="T58" fmla="*/ 4738 w 9010"/>
                <a:gd name="T59" fmla="*/ 879 h 2114"/>
                <a:gd name="T60" fmla="*/ 2554 w 9010"/>
                <a:gd name="T61" fmla="*/ 69 h 2114"/>
                <a:gd name="T62" fmla="*/ 2520 w 9010"/>
                <a:gd name="T63" fmla="*/ 122 h 2114"/>
                <a:gd name="T64" fmla="*/ 2469 w 9010"/>
                <a:gd name="T65" fmla="*/ 199 h 2114"/>
                <a:gd name="T66" fmla="*/ 2314 w 9010"/>
                <a:gd name="T67" fmla="*/ 407 h 2114"/>
                <a:gd name="T68" fmla="*/ 2110 w 9010"/>
                <a:gd name="T69" fmla="*/ 675 h 2114"/>
                <a:gd name="T70" fmla="*/ 1873 w 9010"/>
                <a:gd name="T71" fmla="*/ 978 h 2114"/>
                <a:gd name="T72" fmla="*/ 1621 w 9010"/>
                <a:gd name="T73" fmla="*/ 1297 h 2114"/>
                <a:gd name="T74" fmla="*/ 1374 w 9010"/>
                <a:gd name="T75" fmla="*/ 1607 h 2114"/>
                <a:gd name="T76" fmla="*/ 1149 w 9010"/>
                <a:gd name="T77" fmla="*/ 1886 h 2114"/>
                <a:gd name="T78" fmla="*/ 965 w 9010"/>
                <a:gd name="T79" fmla="*/ 2114 h 2114"/>
                <a:gd name="T80" fmla="*/ 1051 w 9010"/>
                <a:gd name="T81" fmla="*/ 1965 h 2114"/>
                <a:gd name="T82" fmla="*/ 1303 w 9010"/>
                <a:gd name="T83" fmla="*/ 1650 h 2114"/>
                <a:gd name="T84" fmla="*/ 1562 w 9010"/>
                <a:gd name="T85" fmla="*/ 1327 h 2114"/>
                <a:gd name="T86" fmla="*/ 1813 w 9010"/>
                <a:gd name="T87" fmla="*/ 1009 h 2114"/>
                <a:gd name="T88" fmla="*/ 2046 w 9010"/>
                <a:gd name="T89" fmla="*/ 713 h 2114"/>
                <a:gd name="T90" fmla="*/ 2247 w 9010"/>
                <a:gd name="T91" fmla="*/ 453 h 2114"/>
                <a:gd name="T92" fmla="*/ 2405 w 9010"/>
                <a:gd name="T93" fmla="*/ 244 h 2114"/>
                <a:gd name="T94" fmla="*/ 2486 w 9010"/>
                <a:gd name="T95" fmla="*/ 131 h 2114"/>
                <a:gd name="T96" fmla="*/ 2520 w 9010"/>
                <a:gd name="T97" fmla="*/ 79 h 2114"/>
                <a:gd name="T98" fmla="*/ 2445 w 9010"/>
                <a:gd name="T99" fmla="*/ 30 h 2114"/>
                <a:gd name="T100" fmla="*/ 835 w 9010"/>
                <a:gd name="T101" fmla="*/ 2096 h 2114"/>
                <a:gd name="T102" fmla="*/ 786 w 9010"/>
                <a:gd name="T103" fmla="*/ 2114 h 2114"/>
                <a:gd name="T104" fmla="*/ 74 w 9010"/>
                <a:gd name="T105" fmla="*/ 1367 h 2114"/>
                <a:gd name="T106" fmla="*/ 29 w 9010"/>
                <a:gd name="T107" fmla="*/ 1480 h 2114"/>
                <a:gd name="T108" fmla="*/ 643 w 9010"/>
                <a:gd name="T109" fmla="*/ 2114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10" h="2114">
                  <a:moveTo>
                    <a:pt x="643" y="2114"/>
                  </a:moveTo>
                  <a:lnTo>
                    <a:pt x="4" y="1494"/>
                  </a:lnTo>
                  <a:lnTo>
                    <a:pt x="2" y="1491"/>
                  </a:lnTo>
                  <a:lnTo>
                    <a:pt x="1" y="1487"/>
                  </a:lnTo>
                  <a:lnTo>
                    <a:pt x="0" y="1484"/>
                  </a:lnTo>
                  <a:lnTo>
                    <a:pt x="1" y="1479"/>
                  </a:lnTo>
                  <a:lnTo>
                    <a:pt x="55" y="1338"/>
                  </a:lnTo>
                  <a:lnTo>
                    <a:pt x="57" y="1335"/>
                  </a:lnTo>
                  <a:lnTo>
                    <a:pt x="59" y="1332"/>
                  </a:lnTo>
                  <a:lnTo>
                    <a:pt x="63" y="1330"/>
                  </a:lnTo>
                  <a:lnTo>
                    <a:pt x="66" y="1329"/>
                  </a:lnTo>
                  <a:lnTo>
                    <a:pt x="69" y="1329"/>
                  </a:lnTo>
                  <a:lnTo>
                    <a:pt x="72" y="1330"/>
                  </a:lnTo>
                  <a:lnTo>
                    <a:pt x="76" y="1331"/>
                  </a:lnTo>
                  <a:lnTo>
                    <a:pt x="78" y="1334"/>
                  </a:lnTo>
                  <a:lnTo>
                    <a:pt x="815" y="2076"/>
                  </a:lnTo>
                  <a:lnTo>
                    <a:pt x="2430" y="5"/>
                  </a:lnTo>
                  <a:lnTo>
                    <a:pt x="2433" y="3"/>
                  </a:lnTo>
                  <a:lnTo>
                    <a:pt x="2436" y="0"/>
                  </a:lnTo>
                  <a:lnTo>
                    <a:pt x="2440" y="0"/>
                  </a:lnTo>
                  <a:lnTo>
                    <a:pt x="2445" y="0"/>
                  </a:lnTo>
                  <a:lnTo>
                    <a:pt x="2541" y="36"/>
                  </a:lnTo>
                  <a:lnTo>
                    <a:pt x="2543" y="34"/>
                  </a:lnTo>
                  <a:lnTo>
                    <a:pt x="2547" y="32"/>
                  </a:lnTo>
                  <a:lnTo>
                    <a:pt x="2553" y="32"/>
                  </a:lnTo>
                  <a:lnTo>
                    <a:pt x="2558" y="33"/>
                  </a:lnTo>
                  <a:lnTo>
                    <a:pt x="2561" y="37"/>
                  </a:lnTo>
                  <a:lnTo>
                    <a:pt x="2564" y="41"/>
                  </a:lnTo>
                  <a:lnTo>
                    <a:pt x="2565" y="42"/>
                  </a:lnTo>
                  <a:lnTo>
                    <a:pt x="2564" y="45"/>
                  </a:lnTo>
                  <a:lnTo>
                    <a:pt x="4742" y="852"/>
                  </a:lnTo>
                  <a:lnTo>
                    <a:pt x="7624" y="655"/>
                  </a:lnTo>
                  <a:lnTo>
                    <a:pt x="7627" y="655"/>
                  </a:lnTo>
                  <a:lnTo>
                    <a:pt x="7630" y="656"/>
                  </a:lnTo>
                  <a:lnTo>
                    <a:pt x="9001" y="1276"/>
                  </a:lnTo>
                  <a:lnTo>
                    <a:pt x="9006" y="1280"/>
                  </a:lnTo>
                  <a:lnTo>
                    <a:pt x="9009" y="1284"/>
                  </a:lnTo>
                  <a:lnTo>
                    <a:pt x="9010" y="1288"/>
                  </a:lnTo>
                  <a:lnTo>
                    <a:pt x="9009" y="1294"/>
                  </a:lnTo>
                  <a:lnTo>
                    <a:pt x="9006" y="1298"/>
                  </a:lnTo>
                  <a:lnTo>
                    <a:pt x="9001" y="1301"/>
                  </a:lnTo>
                  <a:lnTo>
                    <a:pt x="8996" y="1302"/>
                  </a:lnTo>
                  <a:lnTo>
                    <a:pt x="8991" y="1301"/>
                  </a:lnTo>
                  <a:lnTo>
                    <a:pt x="7639" y="706"/>
                  </a:lnTo>
                  <a:lnTo>
                    <a:pt x="4910" y="1024"/>
                  </a:lnTo>
                  <a:lnTo>
                    <a:pt x="4907" y="1024"/>
                  </a:lnTo>
                  <a:lnTo>
                    <a:pt x="4905" y="1023"/>
                  </a:lnTo>
                  <a:lnTo>
                    <a:pt x="2731" y="266"/>
                  </a:lnTo>
                  <a:lnTo>
                    <a:pt x="2727" y="264"/>
                  </a:lnTo>
                  <a:lnTo>
                    <a:pt x="2723" y="259"/>
                  </a:lnTo>
                  <a:lnTo>
                    <a:pt x="2722" y="254"/>
                  </a:lnTo>
                  <a:lnTo>
                    <a:pt x="2722" y="249"/>
                  </a:lnTo>
                  <a:lnTo>
                    <a:pt x="2726" y="244"/>
                  </a:lnTo>
                  <a:lnTo>
                    <a:pt x="2730" y="241"/>
                  </a:lnTo>
                  <a:lnTo>
                    <a:pt x="2734" y="240"/>
                  </a:lnTo>
                  <a:lnTo>
                    <a:pt x="2740" y="240"/>
                  </a:lnTo>
                  <a:lnTo>
                    <a:pt x="4910" y="997"/>
                  </a:lnTo>
                  <a:lnTo>
                    <a:pt x="7612" y="683"/>
                  </a:lnTo>
                  <a:lnTo>
                    <a:pt x="4740" y="879"/>
                  </a:lnTo>
                  <a:lnTo>
                    <a:pt x="4738" y="879"/>
                  </a:lnTo>
                  <a:lnTo>
                    <a:pt x="4735" y="878"/>
                  </a:lnTo>
                  <a:lnTo>
                    <a:pt x="2554" y="69"/>
                  </a:lnTo>
                  <a:lnTo>
                    <a:pt x="2540" y="93"/>
                  </a:lnTo>
                  <a:lnTo>
                    <a:pt x="2520" y="122"/>
                  </a:lnTo>
                  <a:lnTo>
                    <a:pt x="2497" y="158"/>
                  </a:lnTo>
                  <a:lnTo>
                    <a:pt x="2469" y="199"/>
                  </a:lnTo>
                  <a:lnTo>
                    <a:pt x="2399" y="294"/>
                  </a:lnTo>
                  <a:lnTo>
                    <a:pt x="2314" y="407"/>
                  </a:lnTo>
                  <a:lnTo>
                    <a:pt x="2217" y="536"/>
                  </a:lnTo>
                  <a:lnTo>
                    <a:pt x="2110" y="675"/>
                  </a:lnTo>
                  <a:lnTo>
                    <a:pt x="1993" y="824"/>
                  </a:lnTo>
                  <a:lnTo>
                    <a:pt x="1873" y="978"/>
                  </a:lnTo>
                  <a:lnTo>
                    <a:pt x="1747" y="1137"/>
                  </a:lnTo>
                  <a:lnTo>
                    <a:pt x="1621" y="1297"/>
                  </a:lnTo>
                  <a:lnTo>
                    <a:pt x="1496" y="1454"/>
                  </a:lnTo>
                  <a:lnTo>
                    <a:pt x="1374" y="1607"/>
                  </a:lnTo>
                  <a:lnTo>
                    <a:pt x="1257" y="1751"/>
                  </a:lnTo>
                  <a:lnTo>
                    <a:pt x="1149" y="1886"/>
                  </a:lnTo>
                  <a:lnTo>
                    <a:pt x="1051" y="2008"/>
                  </a:lnTo>
                  <a:lnTo>
                    <a:pt x="965" y="2114"/>
                  </a:lnTo>
                  <a:lnTo>
                    <a:pt x="930" y="2114"/>
                  </a:lnTo>
                  <a:lnTo>
                    <a:pt x="1051" y="1965"/>
                  </a:lnTo>
                  <a:lnTo>
                    <a:pt x="1176" y="1810"/>
                  </a:lnTo>
                  <a:lnTo>
                    <a:pt x="1303" y="1650"/>
                  </a:lnTo>
                  <a:lnTo>
                    <a:pt x="1433" y="1489"/>
                  </a:lnTo>
                  <a:lnTo>
                    <a:pt x="1562" y="1327"/>
                  </a:lnTo>
                  <a:lnTo>
                    <a:pt x="1689" y="1166"/>
                  </a:lnTo>
                  <a:lnTo>
                    <a:pt x="1813" y="1009"/>
                  </a:lnTo>
                  <a:lnTo>
                    <a:pt x="1933" y="857"/>
                  </a:lnTo>
                  <a:lnTo>
                    <a:pt x="2046" y="713"/>
                  </a:lnTo>
                  <a:lnTo>
                    <a:pt x="2151" y="577"/>
                  </a:lnTo>
                  <a:lnTo>
                    <a:pt x="2247" y="453"/>
                  </a:lnTo>
                  <a:lnTo>
                    <a:pt x="2333" y="340"/>
                  </a:lnTo>
                  <a:lnTo>
                    <a:pt x="2405" y="244"/>
                  </a:lnTo>
                  <a:lnTo>
                    <a:pt x="2462" y="164"/>
                  </a:lnTo>
                  <a:lnTo>
                    <a:pt x="2486" y="131"/>
                  </a:lnTo>
                  <a:lnTo>
                    <a:pt x="2505" y="103"/>
                  </a:lnTo>
                  <a:lnTo>
                    <a:pt x="2520" y="79"/>
                  </a:lnTo>
                  <a:lnTo>
                    <a:pt x="2531" y="61"/>
                  </a:lnTo>
                  <a:lnTo>
                    <a:pt x="2445" y="30"/>
                  </a:lnTo>
                  <a:lnTo>
                    <a:pt x="835" y="2096"/>
                  </a:lnTo>
                  <a:lnTo>
                    <a:pt x="835" y="2096"/>
                  </a:lnTo>
                  <a:lnTo>
                    <a:pt x="853" y="2114"/>
                  </a:lnTo>
                  <a:lnTo>
                    <a:pt x="786" y="2114"/>
                  </a:lnTo>
                  <a:lnTo>
                    <a:pt x="799" y="2098"/>
                  </a:lnTo>
                  <a:lnTo>
                    <a:pt x="74" y="1367"/>
                  </a:lnTo>
                  <a:lnTo>
                    <a:pt x="29" y="1480"/>
                  </a:lnTo>
                  <a:lnTo>
                    <a:pt x="29" y="1480"/>
                  </a:lnTo>
                  <a:lnTo>
                    <a:pt x="681" y="2114"/>
                  </a:lnTo>
                  <a:lnTo>
                    <a:pt x="643" y="211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244"/>
            <p:cNvSpPr>
              <a:spLocks/>
            </p:cNvSpPr>
            <p:nvPr userDrawn="1"/>
          </p:nvSpPr>
          <p:spPr bwMode="auto">
            <a:xfrm>
              <a:off x="1871663" y="5695950"/>
              <a:ext cx="3484563" cy="712788"/>
            </a:xfrm>
            <a:custGeom>
              <a:avLst/>
              <a:gdLst>
                <a:gd name="T0" fmla="*/ 6570 w 6584"/>
                <a:gd name="T1" fmla="*/ 1345 h 1345"/>
                <a:gd name="T2" fmla="*/ 6568 w 6584"/>
                <a:gd name="T3" fmla="*/ 1345 h 1345"/>
                <a:gd name="T4" fmla="*/ 6565 w 6584"/>
                <a:gd name="T5" fmla="*/ 1344 h 1345"/>
                <a:gd name="T6" fmla="*/ 5371 w 6584"/>
                <a:gd name="T7" fmla="*/ 848 h 1345"/>
                <a:gd name="T8" fmla="*/ 2178 w 6584"/>
                <a:gd name="T9" fmla="*/ 707 h 1345"/>
                <a:gd name="T10" fmla="*/ 2176 w 6584"/>
                <a:gd name="T11" fmla="*/ 707 h 1345"/>
                <a:gd name="T12" fmla="*/ 2175 w 6584"/>
                <a:gd name="T13" fmla="*/ 706 h 1345"/>
                <a:gd name="T14" fmla="*/ 10 w 6584"/>
                <a:gd name="T15" fmla="*/ 26 h 1345"/>
                <a:gd name="T16" fmla="*/ 6 w 6584"/>
                <a:gd name="T17" fmla="*/ 24 h 1345"/>
                <a:gd name="T18" fmla="*/ 3 w 6584"/>
                <a:gd name="T19" fmla="*/ 20 h 1345"/>
                <a:gd name="T20" fmla="*/ 0 w 6584"/>
                <a:gd name="T21" fmla="*/ 14 h 1345"/>
                <a:gd name="T22" fmla="*/ 2 w 6584"/>
                <a:gd name="T23" fmla="*/ 9 h 1345"/>
                <a:gd name="T24" fmla="*/ 4 w 6584"/>
                <a:gd name="T25" fmla="*/ 5 h 1345"/>
                <a:gd name="T26" fmla="*/ 8 w 6584"/>
                <a:gd name="T27" fmla="*/ 2 h 1345"/>
                <a:gd name="T28" fmla="*/ 13 w 6584"/>
                <a:gd name="T29" fmla="*/ 0 h 1345"/>
                <a:gd name="T30" fmla="*/ 18 w 6584"/>
                <a:gd name="T31" fmla="*/ 0 h 1345"/>
                <a:gd name="T32" fmla="*/ 2182 w 6584"/>
                <a:gd name="T33" fmla="*/ 680 h 1345"/>
                <a:gd name="T34" fmla="*/ 5375 w 6584"/>
                <a:gd name="T35" fmla="*/ 821 h 1345"/>
                <a:gd name="T36" fmla="*/ 5377 w 6584"/>
                <a:gd name="T37" fmla="*/ 822 h 1345"/>
                <a:gd name="T38" fmla="*/ 5380 w 6584"/>
                <a:gd name="T39" fmla="*/ 822 h 1345"/>
                <a:gd name="T40" fmla="*/ 6575 w 6584"/>
                <a:gd name="T41" fmla="*/ 1320 h 1345"/>
                <a:gd name="T42" fmla="*/ 6580 w 6584"/>
                <a:gd name="T43" fmla="*/ 1323 h 1345"/>
                <a:gd name="T44" fmla="*/ 6583 w 6584"/>
                <a:gd name="T45" fmla="*/ 1327 h 1345"/>
                <a:gd name="T46" fmla="*/ 6584 w 6584"/>
                <a:gd name="T47" fmla="*/ 1332 h 1345"/>
                <a:gd name="T48" fmla="*/ 6583 w 6584"/>
                <a:gd name="T49" fmla="*/ 1338 h 1345"/>
                <a:gd name="T50" fmla="*/ 6581 w 6584"/>
                <a:gd name="T51" fmla="*/ 1341 h 1345"/>
                <a:gd name="T52" fmla="*/ 6578 w 6584"/>
                <a:gd name="T53" fmla="*/ 1343 h 1345"/>
                <a:gd name="T54" fmla="*/ 6574 w 6584"/>
                <a:gd name="T55" fmla="*/ 1345 h 1345"/>
                <a:gd name="T56" fmla="*/ 6570 w 6584"/>
                <a:gd name="T57" fmla="*/ 134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84" h="1345">
                  <a:moveTo>
                    <a:pt x="6570" y="1345"/>
                  </a:moveTo>
                  <a:lnTo>
                    <a:pt x="6568" y="1345"/>
                  </a:lnTo>
                  <a:lnTo>
                    <a:pt x="6565" y="1344"/>
                  </a:lnTo>
                  <a:lnTo>
                    <a:pt x="5371" y="848"/>
                  </a:lnTo>
                  <a:lnTo>
                    <a:pt x="2178" y="707"/>
                  </a:lnTo>
                  <a:lnTo>
                    <a:pt x="2176" y="707"/>
                  </a:lnTo>
                  <a:lnTo>
                    <a:pt x="2175" y="706"/>
                  </a:lnTo>
                  <a:lnTo>
                    <a:pt x="10" y="26"/>
                  </a:lnTo>
                  <a:lnTo>
                    <a:pt x="6" y="24"/>
                  </a:lnTo>
                  <a:lnTo>
                    <a:pt x="3" y="20"/>
                  </a:lnTo>
                  <a:lnTo>
                    <a:pt x="0" y="14"/>
                  </a:lnTo>
                  <a:lnTo>
                    <a:pt x="2" y="9"/>
                  </a:lnTo>
                  <a:lnTo>
                    <a:pt x="4" y="5"/>
                  </a:lnTo>
                  <a:lnTo>
                    <a:pt x="8" y="2"/>
                  </a:lnTo>
                  <a:lnTo>
                    <a:pt x="13" y="0"/>
                  </a:lnTo>
                  <a:lnTo>
                    <a:pt x="18" y="0"/>
                  </a:lnTo>
                  <a:lnTo>
                    <a:pt x="2182" y="680"/>
                  </a:lnTo>
                  <a:lnTo>
                    <a:pt x="5375" y="821"/>
                  </a:lnTo>
                  <a:lnTo>
                    <a:pt x="5377" y="822"/>
                  </a:lnTo>
                  <a:lnTo>
                    <a:pt x="5380" y="822"/>
                  </a:lnTo>
                  <a:lnTo>
                    <a:pt x="6575" y="1320"/>
                  </a:lnTo>
                  <a:lnTo>
                    <a:pt x="6580" y="1323"/>
                  </a:lnTo>
                  <a:lnTo>
                    <a:pt x="6583" y="1327"/>
                  </a:lnTo>
                  <a:lnTo>
                    <a:pt x="6584" y="1332"/>
                  </a:lnTo>
                  <a:lnTo>
                    <a:pt x="6583" y="1338"/>
                  </a:lnTo>
                  <a:lnTo>
                    <a:pt x="6581" y="1341"/>
                  </a:lnTo>
                  <a:lnTo>
                    <a:pt x="6578" y="1343"/>
                  </a:lnTo>
                  <a:lnTo>
                    <a:pt x="6574" y="1345"/>
                  </a:lnTo>
                  <a:lnTo>
                    <a:pt x="6570" y="134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245"/>
            <p:cNvSpPr>
              <a:spLocks noEditPoints="1"/>
            </p:cNvSpPr>
            <p:nvPr userDrawn="1"/>
          </p:nvSpPr>
          <p:spPr bwMode="auto">
            <a:xfrm>
              <a:off x="587375" y="5695950"/>
              <a:ext cx="4838700" cy="1162050"/>
            </a:xfrm>
            <a:custGeom>
              <a:avLst/>
              <a:gdLst>
                <a:gd name="T0" fmla="*/ 2 w 9143"/>
                <a:gd name="T1" fmla="*/ 1491 h 2195"/>
                <a:gd name="T2" fmla="*/ 1 w 9143"/>
                <a:gd name="T3" fmla="*/ 1479 h 2195"/>
                <a:gd name="T4" fmla="*/ 60 w 9143"/>
                <a:gd name="T5" fmla="*/ 1332 h 2195"/>
                <a:gd name="T6" fmla="*/ 69 w 9143"/>
                <a:gd name="T7" fmla="*/ 1329 h 2195"/>
                <a:gd name="T8" fmla="*/ 78 w 9143"/>
                <a:gd name="T9" fmla="*/ 1334 h 2195"/>
                <a:gd name="T10" fmla="*/ 2433 w 9143"/>
                <a:gd name="T11" fmla="*/ 3 h 2195"/>
                <a:gd name="T12" fmla="*/ 2445 w 9143"/>
                <a:gd name="T13" fmla="*/ 0 h 2195"/>
                <a:gd name="T14" fmla="*/ 2547 w 9143"/>
                <a:gd name="T15" fmla="*/ 32 h 2195"/>
                <a:gd name="T16" fmla="*/ 2561 w 9143"/>
                <a:gd name="T17" fmla="*/ 36 h 2195"/>
                <a:gd name="T18" fmla="*/ 2564 w 9143"/>
                <a:gd name="T19" fmla="*/ 45 h 2195"/>
                <a:gd name="T20" fmla="*/ 7681 w 9143"/>
                <a:gd name="T21" fmla="*/ 655 h 2195"/>
                <a:gd name="T22" fmla="*/ 9135 w 9143"/>
                <a:gd name="T23" fmla="*/ 1379 h 2195"/>
                <a:gd name="T24" fmla="*/ 9143 w 9143"/>
                <a:gd name="T25" fmla="*/ 1392 h 2195"/>
                <a:gd name="T26" fmla="*/ 9134 w 9143"/>
                <a:gd name="T27" fmla="*/ 1404 h 2195"/>
                <a:gd name="T28" fmla="*/ 7702 w 9143"/>
                <a:gd name="T29" fmla="*/ 723 h 2195"/>
                <a:gd name="T30" fmla="*/ 4907 w 9143"/>
                <a:gd name="T31" fmla="*/ 1024 h 2195"/>
                <a:gd name="T32" fmla="*/ 2727 w 9143"/>
                <a:gd name="T33" fmla="*/ 263 h 2195"/>
                <a:gd name="T34" fmla="*/ 2722 w 9143"/>
                <a:gd name="T35" fmla="*/ 249 h 2195"/>
                <a:gd name="T36" fmla="*/ 2734 w 9143"/>
                <a:gd name="T37" fmla="*/ 240 h 2195"/>
                <a:gd name="T38" fmla="*/ 6710 w 9143"/>
                <a:gd name="T39" fmla="*/ 774 h 2195"/>
                <a:gd name="T40" fmla="*/ 4735 w 9143"/>
                <a:gd name="T41" fmla="*/ 878 h 2195"/>
                <a:gd name="T42" fmla="*/ 2518 w 9143"/>
                <a:gd name="T43" fmla="*/ 126 h 2195"/>
                <a:gd name="T44" fmla="*/ 2388 w 9143"/>
                <a:gd name="T45" fmla="*/ 310 h 2195"/>
                <a:gd name="T46" fmla="*/ 2076 w 9143"/>
                <a:gd name="T47" fmla="*/ 718 h 2195"/>
                <a:gd name="T48" fmla="*/ 1690 w 9143"/>
                <a:gd name="T49" fmla="*/ 1208 h 2195"/>
                <a:gd name="T50" fmla="*/ 1303 w 9143"/>
                <a:gd name="T51" fmla="*/ 1694 h 2195"/>
                <a:gd name="T52" fmla="*/ 985 w 9143"/>
                <a:gd name="T53" fmla="*/ 2089 h 2195"/>
                <a:gd name="T54" fmla="*/ 903 w 9143"/>
                <a:gd name="T55" fmla="*/ 2189 h 2195"/>
                <a:gd name="T56" fmla="*/ 894 w 9143"/>
                <a:gd name="T57" fmla="*/ 2191 h 2195"/>
                <a:gd name="T58" fmla="*/ 888 w 9143"/>
                <a:gd name="T59" fmla="*/ 2186 h 2195"/>
                <a:gd name="T60" fmla="*/ 727 w 9143"/>
                <a:gd name="T61" fmla="*/ 2195 h 2195"/>
                <a:gd name="T62" fmla="*/ 741 w 9143"/>
                <a:gd name="T63" fmla="*/ 2171 h 2195"/>
                <a:gd name="T64" fmla="*/ 29 w 9143"/>
                <a:gd name="T65" fmla="*/ 1480 h 2195"/>
                <a:gd name="T66" fmla="*/ 895 w 9143"/>
                <a:gd name="T67" fmla="*/ 2156 h 2195"/>
                <a:gd name="T68" fmla="*/ 1272 w 9143"/>
                <a:gd name="T69" fmla="*/ 1689 h 2195"/>
                <a:gd name="T70" fmla="*/ 1666 w 9143"/>
                <a:gd name="T71" fmla="*/ 1195 h 2195"/>
                <a:gd name="T72" fmla="*/ 2032 w 9143"/>
                <a:gd name="T73" fmla="*/ 731 h 2195"/>
                <a:gd name="T74" fmla="*/ 2326 w 9143"/>
                <a:gd name="T75" fmla="*/ 349 h 2195"/>
                <a:gd name="T76" fmla="*/ 2485 w 9143"/>
                <a:gd name="T77" fmla="*/ 132 h 2195"/>
                <a:gd name="T78" fmla="*/ 2530 w 9143"/>
                <a:gd name="T79" fmla="*/ 61 h 2195"/>
                <a:gd name="T80" fmla="*/ 7681 w 9143"/>
                <a:gd name="T81" fmla="*/ 683 h 2195"/>
                <a:gd name="T82" fmla="*/ 7705 w 9143"/>
                <a:gd name="T83" fmla="*/ 695 h 2195"/>
                <a:gd name="T84" fmla="*/ 7681 w 9143"/>
                <a:gd name="T85" fmla="*/ 683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43" h="2195">
                  <a:moveTo>
                    <a:pt x="727" y="2195"/>
                  </a:moveTo>
                  <a:lnTo>
                    <a:pt x="4" y="1494"/>
                  </a:lnTo>
                  <a:lnTo>
                    <a:pt x="2" y="1491"/>
                  </a:lnTo>
                  <a:lnTo>
                    <a:pt x="0" y="1487"/>
                  </a:lnTo>
                  <a:lnTo>
                    <a:pt x="0" y="1484"/>
                  </a:lnTo>
                  <a:lnTo>
                    <a:pt x="1" y="1479"/>
                  </a:lnTo>
                  <a:lnTo>
                    <a:pt x="55" y="1338"/>
                  </a:lnTo>
                  <a:lnTo>
                    <a:pt x="57" y="1335"/>
                  </a:lnTo>
                  <a:lnTo>
                    <a:pt x="60" y="1332"/>
                  </a:lnTo>
                  <a:lnTo>
                    <a:pt x="62" y="1330"/>
                  </a:lnTo>
                  <a:lnTo>
                    <a:pt x="65" y="1329"/>
                  </a:lnTo>
                  <a:lnTo>
                    <a:pt x="69" y="1329"/>
                  </a:lnTo>
                  <a:lnTo>
                    <a:pt x="72" y="1329"/>
                  </a:lnTo>
                  <a:lnTo>
                    <a:pt x="75" y="1331"/>
                  </a:lnTo>
                  <a:lnTo>
                    <a:pt x="78" y="1334"/>
                  </a:lnTo>
                  <a:lnTo>
                    <a:pt x="815" y="2076"/>
                  </a:lnTo>
                  <a:lnTo>
                    <a:pt x="2430" y="5"/>
                  </a:lnTo>
                  <a:lnTo>
                    <a:pt x="2433" y="3"/>
                  </a:lnTo>
                  <a:lnTo>
                    <a:pt x="2436" y="0"/>
                  </a:lnTo>
                  <a:lnTo>
                    <a:pt x="2441" y="0"/>
                  </a:lnTo>
                  <a:lnTo>
                    <a:pt x="2445" y="0"/>
                  </a:lnTo>
                  <a:lnTo>
                    <a:pt x="2541" y="36"/>
                  </a:lnTo>
                  <a:lnTo>
                    <a:pt x="2543" y="34"/>
                  </a:lnTo>
                  <a:lnTo>
                    <a:pt x="2547" y="32"/>
                  </a:lnTo>
                  <a:lnTo>
                    <a:pt x="2553" y="32"/>
                  </a:lnTo>
                  <a:lnTo>
                    <a:pt x="2558" y="33"/>
                  </a:lnTo>
                  <a:lnTo>
                    <a:pt x="2561" y="36"/>
                  </a:lnTo>
                  <a:lnTo>
                    <a:pt x="2564" y="41"/>
                  </a:lnTo>
                  <a:lnTo>
                    <a:pt x="2564" y="43"/>
                  </a:lnTo>
                  <a:lnTo>
                    <a:pt x="2564" y="45"/>
                  </a:lnTo>
                  <a:lnTo>
                    <a:pt x="4742" y="852"/>
                  </a:lnTo>
                  <a:lnTo>
                    <a:pt x="7094" y="727"/>
                  </a:lnTo>
                  <a:lnTo>
                    <a:pt x="7681" y="655"/>
                  </a:lnTo>
                  <a:lnTo>
                    <a:pt x="7685" y="655"/>
                  </a:lnTo>
                  <a:lnTo>
                    <a:pt x="7688" y="657"/>
                  </a:lnTo>
                  <a:lnTo>
                    <a:pt x="9135" y="1379"/>
                  </a:lnTo>
                  <a:lnTo>
                    <a:pt x="9140" y="1382"/>
                  </a:lnTo>
                  <a:lnTo>
                    <a:pt x="9143" y="1386"/>
                  </a:lnTo>
                  <a:lnTo>
                    <a:pt x="9143" y="1392"/>
                  </a:lnTo>
                  <a:lnTo>
                    <a:pt x="9142" y="1397"/>
                  </a:lnTo>
                  <a:lnTo>
                    <a:pt x="9139" y="1402"/>
                  </a:lnTo>
                  <a:lnTo>
                    <a:pt x="9134" y="1404"/>
                  </a:lnTo>
                  <a:lnTo>
                    <a:pt x="9129" y="1405"/>
                  </a:lnTo>
                  <a:lnTo>
                    <a:pt x="9123" y="1403"/>
                  </a:lnTo>
                  <a:lnTo>
                    <a:pt x="7702" y="723"/>
                  </a:lnTo>
                  <a:lnTo>
                    <a:pt x="7097" y="754"/>
                  </a:lnTo>
                  <a:lnTo>
                    <a:pt x="4910" y="1024"/>
                  </a:lnTo>
                  <a:lnTo>
                    <a:pt x="4907" y="1024"/>
                  </a:lnTo>
                  <a:lnTo>
                    <a:pt x="4904" y="1023"/>
                  </a:lnTo>
                  <a:lnTo>
                    <a:pt x="2731" y="266"/>
                  </a:lnTo>
                  <a:lnTo>
                    <a:pt x="2727" y="263"/>
                  </a:lnTo>
                  <a:lnTo>
                    <a:pt x="2723" y="259"/>
                  </a:lnTo>
                  <a:lnTo>
                    <a:pt x="2722" y="254"/>
                  </a:lnTo>
                  <a:lnTo>
                    <a:pt x="2722" y="249"/>
                  </a:lnTo>
                  <a:lnTo>
                    <a:pt x="2726" y="244"/>
                  </a:lnTo>
                  <a:lnTo>
                    <a:pt x="2730" y="241"/>
                  </a:lnTo>
                  <a:lnTo>
                    <a:pt x="2734" y="240"/>
                  </a:lnTo>
                  <a:lnTo>
                    <a:pt x="2740" y="240"/>
                  </a:lnTo>
                  <a:lnTo>
                    <a:pt x="4910" y="997"/>
                  </a:lnTo>
                  <a:lnTo>
                    <a:pt x="6710" y="774"/>
                  </a:lnTo>
                  <a:lnTo>
                    <a:pt x="4741" y="879"/>
                  </a:lnTo>
                  <a:lnTo>
                    <a:pt x="4737" y="879"/>
                  </a:lnTo>
                  <a:lnTo>
                    <a:pt x="4735" y="878"/>
                  </a:lnTo>
                  <a:lnTo>
                    <a:pt x="2554" y="70"/>
                  </a:lnTo>
                  <a:lnTo>
                    <a:pt x="2539" y="94"/>
                  </a:lnTo>
                  <a:lnTo>
                    <a:pt x="2518" y="126"/>
                  </a:lnTo>
                  <a:lnTo>
                    <a:pt x="2493" y="163"/>
                  </a:lnTo>
                  <a:lnTo>
                    <a:pt x="2462" y="208"/>
                  </a:lnTo>
                  <a:lnTo>
                    <a:pt x="2388" y="310"/>
                  </a:lnTo>
                  <a:lnTo>
                    <a:pt x="2296" y="432"/>
                  </a:lnTo>
                  <a:lnTo>
                    <a:pt x="2191" y="569"/>
                  </a:lnTo>
                  <a:lnTo>
                    <a:pt x="2076" y="718"/>
                  </a:lnTo>
                  <a:lnTo>
                    <a:pt x="1951" y="877"/>
                  </a:lnTo>
                  <a:lnTo>
                    <a:pt x="1823" y="1042"/>
                  </a:lnTo>
                  <a:lnTo>
                    <a:pt x="1690" y="1208"/>
                  </a:lnTo>
                  <a:lnTo>
                    <a:pt x="1558" y="1376"/>
                  </a:lnTo>
                  <a:lnTo>
                    <a:pt x="1428" y="1539"/>
                  </a:lnTo>
                  <a:lnTo>
                    <a:pt x="1303" y="1694"/>
                  </a:lnTo>
                  <a:lnTo>
                    <a:pt x="1186" y="1840"/>
                  </a:lnTo>
                  <a:lnTo>
                    <a:pt x="1079" y="1973"/>
                  </a:lnTo>
                  <a:lnTo>
                    <a:pt x="985" y="2089"/>
                  </a:lnTo>
                  <a:lnTo>
                    <a:pt x="907" y="2185"/>
                  </a:lnTo>
                  <a:lnTo>
                    <a:pt x="905" y="2187"/>
                  </a:lnTo>
                  <a:lnTo>
                    <a:pt x="903" y="2189"/>
                  </a:lnTo>
                  <a:lnTo>
                    <a:pt x="901" y="2190"/>
                  </a:lnTo>
                  <a:lnTo>
                    <a:pt x="897" y="2191"/>
                  </a:lnTo>
                  <a:lnTo>
                    <a:pt x="894" y="2191"/>
                  </a:lnTo>
                  <a:lnTo>
                    <a:pt x="892" y="2190"/>
                  </a:lnTo>
                  <a:lnTo>
                    <a:pt x="890" y="2189"/>
                  </a:lnTo>
                  <a:lnTo>
                    <a:pt x="888" y="2186"/>
                  </a:lnTo>
                  <a:lnTo>
                    <a:pt x="819" y="2117"/>
                  </a:lnTo>
                  <a:lnTo>
                    <a:pt x="757" y="2195"/>
                  </a:lnTo>
                  <a:lnTo>
                    <a:pt x="727" y="2195"/>
                  </a:lnTo>
                  <a:close/>
                  <a:moveTo>
                    <a:pt x="29" y="1480"/>
                  </a:moveTo>
                  <a:lnTo>
                    <a:pt x="29" y="1480"/>
                  </a:lnTo>
                  <a:lnTo>
                    <a:pt x="741" y="2171"/>
                  </a:lnTo>
                  <a:lnTo>
                    <a:pt x="799" y="2098"/>
                  </a:lnTo>
                  <a:lnTo>
                    <a:pt x="74" y="1367"/>
                  </a:lnTo>
                  <a:lnTo>
                    <a:pt x="29" y="1480"/>
                  </a:lnTo>
                  <a:close/>
                  <a:moveTo>
                    <a:pt x="835" y="2096"/>
                  </a:moveTo>
                  <a:lnTo>
                    <a:pt x="835" y="2096"/>
                  </a:lnTo>
                  <a:lnTo>
                    <a:pt x="895" y="2156"/>
                  </a:lnTo>
                  <a:lnTo>
                    <a:pt x="1016" y="2007"/>
                  </a:lnTo>
                  <a:lnTo>
                    <a:pt x="1143" y="1851"/>
                  </a:lnTo>
                  <a:lnTo>
                    <a:pt x="1272" y="1689"/>
                  </a:lnTo>
                  <a:lnTo>
                    <a:pt x="1404" y="1525"/>
                  </a:lnTo>
                  <a:lnTo>
                    <a:pt x="1536" y="1359"/>
                  </a:lnTo>
                  <a:lnTo>
                    <a:pt x="1666" y="1195"/>
                  </a:lnTo>
                  <a:lnTo>
                    <a:pt x="1793" y="1035"/>
                  </a:lnTo>
                  <a:lnTo>
                    <a:pt x="1916" y="879"/>
                  </a:lnTo>
                  <a:lnTo>
                    <a:pt x="2032" y="731"/>
                  </a:lnTo>
                  <a:lnTo>
                    <a:pt x="2140" y="592"/>
                  </a:lnTo>
                  <a:lnTo>
                    <a:pt x="2239" y="464"/>
                  </a:lnTo>
                  <a:lnTo>
                    <a:pt x="2326" y="349"/>
                  </a:lnTo>
                  <a:lnTo>
                    <a:pt x="2401" y="249"/>
                  </a:lnTo>
                  <a:lnTo>
                    <a:pt x="2461" y="167"/>
                  </a:lnTo>
                  <a:lnTo>
                    <a:pt x="2485" y="132"/>
                  </a:lnTo>
                  <a:lnTo>
                    <a:pt x="2504" y="103"/>
                  </a:lnTo>
                  <a:lnTo>
                    <a:pt x="2520" y="79"/>
                  </a:lnTo>
                  <a:lnTo>
                    <a:pt x="2530" y="61"/>
                  </a:lnTo>
                  <a:lnTo>
                    <a:pt x="2445" y="30"/>
                  </a:lnTo>
                  <a:lnTo>
                    <a:pt x="835" y="2096"/>
                  </a:lnTo>
                  <a:close/>
                  <a:moveTo>
                    <a:pt x="7681" y="683"/>
                  </a:moveTo>
                  <a:lnTo>
                    <a:pt x="7681" y="683"/>
                  </a:lnTo>
                  <a:lnTo>
                    <a:pt x="7482" y="706"/>
                  </a:lnTo>
                  <a:lnTo>
                    <a:pt x="7705" y="695"/>
                  </a:lnTo>
                  <a:lnTo>
                    <a:pt x="7706" y="695"/>
                  </a:lnTo>
                  <a:lnTo>
                    <a:pt x="7706" y="695"/>
                  </a:lnTo>
                  <a:lnTo>
                    <a:pt x="7681" y="68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246"/>
            <p:cNvSpPr>
              <a:spLocks/>
            </p:cNvSpPr>
            <p:nvPr userDrawn="1"/>
          </p:nvSpPr>
          <p:spPr bwMode="auto">
            <a:xfrm>
              <a:off x="1841500" y="5695950"/>
              <a:ext cx="3484563" cy="712788"/>
            </a:xfrm>
            <a:custGeom>
              <a:avLst/>
              <a:gdLst>
                <a:gd name="T0" fmla="*/ 6570 w 6583"/>
                <a:gd name="T1" fmla="*/ 1345 h 1345"/>
                <a:gd name="T2" fmla="*/ 6567 w 6583"/>
                <a:gd name="T3" fmla="*/ 1345 h 1345"/>
                <a:gd name="T4" fmla="*/ 6564 w 6583"/>
                <a:gd name="T5" fmla="*/ 1344 h 1345"/>
                <a:gd name="T6" fmla="*/ 5370 w 6583"/>
                <a:gd name="T7" fmla="*/ 848 h 1345"/>
                <a:gd name="T8" fmla="*/ 2177 w 6583"/>
                <a:gd name="T9" fmla="*/ 707 h 1345"/>
                <a:gd name="T10" fmla="*/ 2176 w 6583"/>
                <a:gd name="T11" fmla="*/ 707 h 1345"/>
                <a:gd name="T12" fmla="*/ 2174 w 6583"/>
                <a:gd name="T13" fmla="*/ 706 h 1345"/>
                <a:gd name="T14" fmla="*/ 9 w 6583"/>
                <a:gd name="T15" fmla="*/ 26 h 1345"/>
                <a:gd name="T16" fmla="*/ 5 w 6583"/>
                <a:gd name="T17" fmla="*/ 24 h 1345"/>
                <a:gd name="T18" fmla="*/ 1 w 6583"/>
                <a:gd name="T19" fmla="*/ 20 h 1345"/>
                <a:gd name="T20" fmla="*/ 0 w 6583"/>
                <a:gd name="T21" fmla="*/ 14 h 1345"/>
                <a:gd name="T22" fmla="*/ 0 w 6583"/>
                <a:gd name="T23" fmla="*/ 9 h 1345"/>
                <a:gd name="T24" fmla="*/ 4 w 6583"/>
                <a:gd name="T25" fmla="*/ 5 h 1345"/>
                <a:gd name="T26" fmla="*/ 7 w 6583"/>
                <a:gd name="T27" fmla="*/ 2 h 1345"/>
                <a:gd name="T28" fmla="*/ 12 w 6583"/>
                <a:gd name="T29" fmla="*/ 0 h 1345"/>
                <a:gd name="T30" fmla="*/ 18 w 6583"/>
                <a:gd name="T31" fmla="*/ 0 h 1345"/>
                <a:gd name="T32" fmla="*/ 2180 w 6583"/>
                <a:gd name="T33" fmla="*/ 680 h 1345"/>
                <a:gd name="T34" fmla="*/ 5375 w 6583"/>
                <a:gd name="T35" fmla="*/ 821 h 1345"/>
                <a:gd name="T36" fmla="*/ 5377 w 6583"/>
                <a:gd name="T37" fmla="*/ 822 h 1345"/>
                <a:gd name="T38" fmla="*/ 5379 w 6583"/>
                <a:gd name="T39" fmla="*/ 822 h 1345"/>
                <a:gd name="T40" fmla="*/ 6574 w 6583"/>
                <a:gd name="T41" fmla="*/ 1320 h 1345"/>
                <a:gd name="T42" fmla="*/ 6580 w 6583"/>
                <a:gd name="T43" fmla="*/ 1323 h 1345"/>
                <a:gd name="T44" fmla="*/ 6582 w 6583"/>
                <a:gd name="T45" fmla="*/ 1327 h 1345"/>
                <a:gd name="T46" fmla="*/ 6583 w 6583"/>
                <a:gd name="T47" fmla="*/ 1332 h 1345"/>
                <a:gd name="T48" fmla="*/ 6582 w 6583"/>
                <a:gd name="T49" fmla="*/ 1338 h 1345"/>
                <a:gd name="T50" fmla="*/ 6580 w 6583"/>
                <a:gd name="T51" fmla="*/ 1341 h 1345"/>
                <a:gd name="T52" fmla="*/ 6577 w 6583"/>
                <a:gd name="T53" fmla="*/ 1343 h 1345"/>
                <a:gd name="T54" fmla="*/ 6573 w 6583"/>
                <a:gd name="T55" fmla="*/ 1345 h 1345"/>
                <a:gd name="T56" fmla="*/ 6570 w 6583"/>
                <a:gd name="T57" fmla="*/ 134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83" h="1345">
                  <a:moveTo>
                    <a:pt x="6570" y="1345"/>
                  </a:moveTo>
                  <a:lnTo>
                    <a:pt x="6567" y="1345"/>
                  </a:lnTo>
                  <a:lnTo>
                    <a:pt x="6564" y="1344"/>
                  </a:lnTo>
                  <a:lnTo>
                    <a:pt x="5370" y="848"/>
                  </a:lnTo>
                  <a:lnTo>
                    <a:pt x="2177" y="707"/>
                  </a:lnTo>
                  <a:lnTo>
                    <a:pt x="2176" y="707"/>
                  </a:lnTo>
                  <a:lnTo>
                    <a:pt x="2174" y="706"/>
                  </a:lnTo>
                  <a:lnTo>
                    <a:pt x="9" y="26"/>
                  </a:lnTo>
                  <a:lnTo>
                    <a:pt x="5" y="24"/>
                  </a:lnTo>
                  <a:lnTo>
                    <a:pt x="1" y="20"/>
                  </a:lnTo>
                  <a:lnTo>
                    <a:pt x="0" y="14"/>
                  </a:lnTo>
                  <a:lnTo>
                    <a:pt x="0" y="9"/>
                  </a:lnTo>
                  <a:lnTo>
                    <a:pt x="4" y="5"/>
                  </a:lnTo>
                  <a:lnTo>
                    <a:pt x="7" y="2"/>
                  </a:lnTo>
                  <a:lnTo>
                    <a:pt x="12" y="0"/>
                  </a:lnTo>
                  <a:lnTo>
                    <a:pt x="18" y="0"/>
                  </a:lnTo>
                  <a:lnTo>
                    <a:pt x="2180" y="680"/>
                  </a:lnTo>
                  <a:lnTo>
                    <a:pt x="5375" y="821"/>
                  </a:lnTo>
                  <a:lnTo>
                    <a:pt x="5377" y="822"/>
                  </a:lnTo>
                  <a:lnTo>
                    <a:pt x="5379" y="822"/>
                  </a:lnTo>
                  <a:lnTo>
                    <a:pt x="6574" y="1320"/>
                  </a:lnTo>
                  <a:lnTo>
                    <a:pt x="6580" y="1323"/>
                  </a:lnTo>
                  <a:lnTo>
                    <a:pt x="6582" y="1327"/>
                  </a:lnTo>
                  <a:lnTo>
                    <a:pt x="6583" y="1332"/>
                  </a:lnTo>
                  <a:lnTo>
                    <a:pt x="6582" y="1338"/>
                  </a:lnTo>
                  <a:lnTo>
                    <a:pt x="6580" y="1341"/>
                  </a:lnTo>
                  <a:lnTo>
                    <a:pt x="6577" y="1343"/>
                  </a:lnTo>
                  <a:lnTo>
                    <a:pt x="6573" y="1345"/>
                  </a:lnTo>
                  <a:lnTo>
                    <a:pt x="6570" y="134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247"/>
            <p:cNvSpPr>
              <a:spLocks noEditPoints="1"/>
            </p:cNvSpPr>
            <p:nvPr userDrawn="1"/>
          </p:nvSpPr>
          <p:spPr bwMode="auto">
            <a:xfrm>
              <a:off x="558800" y="5695950"/>
              <a:ext cx="4837113" cy="1162050"/>
            </a:xfrm>
            <a:custGeom>
              <a:avLst/>
              <a:gdLst>
                <a:gd name="T0" fmla="*/ 1 w 9143"/>
                <a:gd name="T1" fmla="*/ 1491 h 2195"/>
                <a:gd name="T2" fmla="*/ 0 w 9143"/>
                <a:gd name="T3" fmla="*/ 1479 h 2195"/>
                <a:gd name="T4" fmla="*/ 58 w 9143"/>
                <a:gd name="T5" fmla="*/ 1332 h 2195"/>
                <a:gd name="T6" fmla="*/ 68 w 9143"/>
                <a:gd name="T7" fmla="*/ 1329 h 2195"/>
                <a:gd name="T8" fmla="*/ 77 w 9143"/>
                <a:gd name="T9" fmla="*/ 1334 h 2195"/>
                <a:gd name="T10" fmla="*/ 2432 w 9143"/>
                <a:gd name="T11" fmla="*/ 3 h 2195"/>
                <a:gd name="T12" fmla="*/ 2445 w 9143"/>
                <a:gd name="T13" fmla="*/ 0 h 2195"/>
                <a:gd name="T14" fmla="*/ 2547 w 9143"/>
                <a:gd name="T15" fmla="*/ 32 h 2195"/>
                <a:gd name="T16" fmla="*/ 2561 w 9143"/>
                <a:gd name="T17" fmla="*/ 36 h 2195"/>
                <a:gd name="T18" fmla="*/ 2563 w 9143"/>
                <a:gd name="T19" fmla="*/ 45 h 2195"/>
                <a:gd name="T20" fmla="*/ 7727 w 9143"/>
                <a:gd name="T21" fmla="*/ 631 h 2195"/>
                <a:gd name="T22" fmla="*/ 7876 w 9143"/>
                <a:gd name="T23" fmla="*/ 636 h 2195"/>
                <a:gd name="T24" fmla="*/ 9136 w 9143"/>
                <a:gd name="T25" fmla="*/ 1379 h 2195"/>
                <a:gd name="T26" fmla="*/ 9143 w 9143"/>
                <a:gd name="T27" fmla="*/ 1393 h 2195"/>
                <a:gd name="T28" fmla="*/ 9133 w 9143"/>
                <a:gd name="T29" fmla="*/ 1404 h 2195"/>
                <a:gd name="T30" fmla="*/ 7760 w 9143"/>
                <a:gd name="T31" fmla="*/ 677 h 2195"/>
                <a:gd name="T32" fmla="*/ 4903 w 9143"/>
                <a:gd name="T33" fmla="*/ 1023 h 2195"/>
                <a:gd name="T34" fmla="*/ 2722 w 9143"/>
                <a:gd name="T35" fmla="*/ 259 h 2195"/>
                <a:gd name="T36" fmla="*/ 2724 w 9143"/>
                <a:gd name="T37" fmla="*/ 244 h 2195"/>
                <a:gd name="T38" fmla="*/ 2739 w 9143"/>
                <a:gd name="T39" fmla="*/ 240 h 2195"/>
                <a:gd name="T40" fmla="*/ 4740 w 9143"/>
                <a:gd name="T41" fmla="*/ 879 h 2195"/>
                <a:gd name="T42" fmla="*/ 2553 w 9143"/>
                <a:gd name="T43" fmla="*/ 70 h 2195"/>
                <a:gd name="T44" fmla="*/ 2492 w 9143"/>
                <a:gd name="T45" fmla="*/ 163 h 2195"/>
                <a:gd name="T46" fmla="*/ 2296 w 9143"/>
                <a:gd name="T47" fmla="*/ 432 h 2195"/>
                <a:gd name="T48" fmla="*/ 1951 w 9143"/>
                <a:gd name="T49" fmla="*/ 877 h 2195"/>
                <a:gd name="T50" fmla="*/ 1557 w 9143"/>
                <a:gd name="T51" fmla="*/ 1376 h 2195"/>
                <a:gd name="T52" fmla="*/ 1185 w 9143"/>
                <a:gd name="T53" fmla="*/ 1840 h 2195"/>
                <a:gd name="T54" fmla="*/ 907 w 9143"/>
                <a:gd name="T55" fmla="*/ 2185 h 2195"/>
                <a:gd name="T56" fmla="*/ 899 w 9143"/>
                <a:gd name="T57" fmla="*/ 2190 h 2195"/>
                <a:gd name="T58" fmla="*/ 891 w 9143"/>
                <a:gd name="T59" fmla="*/ 2190 h 2195"/>
                <a:gd name="T60" fmla="*/ 817 w 9143"/>
                <a:gd name="T61" fmla="*/ 2117 h 2195"/>
                <a:gd name="T62" fmla="*/ 29 w 9143"/>
                <a:gd name="T63" fmla="*/ 1480 h 2195"/>
                <a:gd name="T64" fmla="*/ 798 w 9143"/>
                <a:gd name="T65" fmla="*/ 2098 h 2195"/>
                <a:gd name="T66" fmla="*/ 835 w 9143"/>
                <a:gd name="T67" fmla="*/ 2096 h 2195"/>
                <a:gd name="T68" fmla="*/ 1016 w 9143"/>
                <a:gd name="T69" fmla="*/ 2007 h 2195"/>
                <a:gd name="T70" fmla="*/ 1403 w 9143"/>
                <a:gd name="T71" fmla="*/ 1525 h 2195"/>
                <a:gd name="T72" fmla="*/ 1792 w 9143"/>
                <a:gd name="T73" fmla="*/ 1035 h 2195"/>
                <a:gd name="T74" fmla="*/ 2139 w 9143"/>
                <a:gd name="T75" fmla="*/ 592 h 2195"/>
                <a:gd name="T76" fmla="*/ 2400 w 9143"/>
                <a:gd name="T77" fmla="*/ 249 h 2195"/>
                <a:gd name="T78" fmla="*/ 2504 w 9143"/>
                <a:gd name="T79" fmla="*/ 103 h 2195"/>
                <a:gd name="T80" fmla="*/ 2444 w 9143"/>
                <a:gd name="T81" fmla="*/ 30 h 2195"/>
                <a:gd name="T82" fmla="*/ 7806 w 9143"/>
                <a:gd name="T83" fmla="*/ 672 h 2195"/>
                <a:gd name="T84" fmla="*/ 7806 w 9143"/>
                <a:gd name="T85" fmla="*/ 672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43" h="2195">
                  <a:moveTo>
                    <a:pt x="726" y="2195"/>
                  </a:moveTo>
                  <a:lnTo>
                    <a:pt x="3" y="1494"/>
                  </a:lnTo>
                  <a:lnTo>
                    <a:pt x="1" y="1491"/>
                  </a:lnTo>
                  <a:lnTo>
                    <a:pt x="0" y="1487"/>
                  </a:lnTo>
                  <a:lnTo>
                    <a:pt x="0" y="1484"/>
                  </a:lnTo>
                  <a:lnTo>
                    <a:pt x="0" y="1479"/>
                  </a:lnTo>
                  <a:lnTo>
                    <a:pt x="55" y="1338"/>
                  </a:lnTo>
                  <a:lnTo>
                    <a:pt x="56" y="1335"/>
                  </a:lnTo>
                  <a:lnTo>
                    <a:pt x="58" y="1332"/>
                  </a:lnTo>
                  <a:lnTo>
                    <a:pt x="62" y="1330"/>
                  </a:lnTo>
                  <a:lnTo>
                    <a:pt x="65" y="1329"/>
                  </a:lnTo>
                  <a:lnTo>
                    <a:pt x="68" y="1329"/>
                  </a:lnTo>
                  <a:lnTo>
                    <a:pt x="71" y="1329"/>
                  </a:lnTo>
                  <a:lnTo>
                    <a:pt x="74" y="1331"/>
                  </a:lnTo>
                  <a:lnTo>
                    <a:pt x="77" y="1334"/>
                  </a:lnTo>
                  <a:lnTo>
                    <a:pt x="815" y="2076"/>
                  </a:lnTo>
                  <a:lnTo>
                    <a:pt x="2428" y="5"/>
                  </a:lnTo>
                  <a:lnTo>
                    <a:pt x="2432" y="3"/>
                  </a:lnTo>
                  <a:lnTo>
                    <a:pt x="2436" y="0"/>
                  </a:lnTo>
                  <a:lnTo>
                    <a:pt x="2440" y="0"/>
                  </a:lnTo>
                  <a:lnTo>
                    <a:pt x="2445" y="0"/>
                  </a:lnTo>
                  <a:lnTo>
                    <a:pt x="2540" y="36"/>
                  </a:lnTo>
                  <a:lnTo>
                    <a:pt x="2543" y="34"/>
                  </a:lnTo>
                  <a:lnTo>
                    <a:pt x="2547" y="32"/>
                  </a:lnTo>
                  <a:lnTo>
                    <a:pt x="2552" y="32"/>
                  </a:lnTo>
                  <a:lnTo>
                    <a:pt x="2557" y="33"/>
                  </a:lnTo>
                  <a:lnTo>
                    <a:pt x="2561" y="36"/>
                  </a:lnTo>
                  <a:lnTo>
                    <a:pt x="2563" y="41"/>
                  </a:lnTo>
                  <a:lnTo>
                    <a:pt x="2563" y="43"/>
                  </a:lnTo>
                  <a:lnTo>
                    <a:pt x="2563" y="45"/>
                  </a:lnTo>
                  <a:lnTo>
                    <a:pt x="4741" y="852"/>
                  </a:lnTo>
                  <a:lnTo>
                    <a:pt x="7724" y="630"/>
                  </a:lnTo>
                  <a:lnTo>
                    <a:pt x="7727" y="631"/>
                  </a:lnTo>
                  <a:lnTo>
                    <a:pt x="7731" y="632"/>
                  </a:lnTo>
                  <a:lnTo>
                    <a:pt x="7764" y="649"/>
                  </a:lnTo>
                  <a:lnTo>
                    <a:pt x="7876" y="636"/>
                  </a:lnTo>
                  <a:lnTo>
                    <a:pt x="7880" y="636"/>
                  </a:lnTo>
                  <a:lnTo>
                    <a:pt x="7885" y="637"/>
                  </a:lnTo>
                  <a:lnTo>
                    <a:pt x="9136" y="1379"/>
                  </a:lnTo>
                  <a:lnTo>
                    <a:pt x="9140" y="1383"/>
                  </a:lnTo>
                  <a:lnTo>
                    <a:pt x="9142" y="1388"/>
                  </a:lnTo>
                  <a:lnTo>
                    <a:pt x="9143" y="1393"/>
                  </a:lnTo>
                  <a:lnTo>
                    <a:pt x="9141" y="1397"/>
                  </a:lnTo>
                  <a:lnTo>
                    <a:pt x="9137" y="1402"/>
                  </a:lnTo>
                  <a:lnTo>
                    <a:pt x="9133" y="1404"/>
                  </a:lnTo>
                  <a:lnTo>
                    <a:pt x="9128" y="1405"/>
                  </a:lnTo>
                  <a:lnTo>
                    <a:pt x="9122" y="1403"/>
                  </a:lnTo>
                  <a:lnTo>
                    <a:pt x="7760" y="677"/>
                  </a:lnTo>
                  <a:lnTo>
                    <a:pt x="4910" y="1024"/>
                  </a:lnTo>
                  <a:lnTo>
                    <a:pt x="4907" y="1024"/>
                  </a:lnTo>
                  <a:lnTo>
                    <a:pt x="4903" y="1023"/>
                  </a:lnTo>
                  <a:lnTo>
                    <a:pt x="2730" y="266"/>
                  </a:lnTo>
                  <a:lnTo>
                    <a:pt x="2725" y="263"/>
                  </a:lnTo>
                  <a:lnTo>
                    <a:pt x="2722" y="259"/>
                  </a:lnTo>
                  <a:lnTo>
                    <a:pt x="2721" y="254"/>
                  </a:lnTo>
                  <a:lnTo>
                    <a:pt x="2722" y="249"/>
                  </a:lnTo>
                  <a:lnTo>
                    <a:pt x="2724" y="244"/>
                  </a:lnTo>
                  <a:lnTo>
                    <a:pt x="2729" y="241"/>
                  </a:lnTo>
                  <a:lnTo>
                    <a:pt x="2734" y="240"/>
                  </a:lnTo>
                  <a:lnTo>
                    <a:pt x="2739" y="240"/>
                  </a:lnTo>
                  <a:lnTo>
                    <a:pt x="4909" y="997"/>
                  </a:lnTo>
                  <a:lnTo>
                    <a:pt x="7662" y="662"/>
                  </a:lnTo>
                  <a:lnTo>
                    <a:pt x="4740" y="879"/>
                  </a:lnTo>
                  <a:lnTo>
                    <a:pt x="4737" y="879"/>
                  </a:lnTo>
                  <a:lnTo>
                    <a:pt x="4734" y="878"/>
                  </a:lnTo>
                  <a:lnTo>
                    <a:pt x="2553" y="70"/>
                  </a:lnTo>
                  <a:lnTo>
                    <a:pt x="2538" y="94"/>
                  </a:lnTo>
                  <a:lnTo>
                    <a:pt x="2518" y="126"/>
                  </a:lnTo>
                  <a:lnTo>
                    <a:pt x="2492" y="163"/>
                  </a:lnTo>
                  <a:lnTo>
                    <a:pt x="2462" y="208"/>
                  </a:lnTo>
                  <a:lnTo>
                    <a:pt x="2386" y="310"/>
                  </a:lnTo>
                  <a:lnTo>
                    <a:pt x="2296" y="432"/>
                  </a:lnTo>
                  <a:lnTo>
                    <a:pt x="2191" y="569"/>
                  </a:lnTo>
                  <a:lnTo>
                    <a:pt x="2075" y="718"/>
                  </a:lnTo>
                  <a:lnTo>
                    <a:pt x="1951" y="877"/>
                  </a:lnTo>
                  <a:lnTo>
                    <a:pt x="1822" y="1042"/>
                  </a:lnTo>
                  <a:lnTo>
                    <a:pt x="1690" y="1208"/>
                  </a:lnTo>
                  <a:lnTo>
                    <a:pt x="1557" y="1376"/>
                  </a:lnTo>
                  <a:lnTo>
                    <a:pt x="1427" y="1539"/>
                  </a:lnTo>
                  <a:lnTo>
                    <a:pt x="1302" y="1694"/>
                  </a:lnTo>
                  <a:lnTo>
                    <a:pt x="1185" y="1840"/>
                  </a:lnTo>
                  <a:lnTo>
                    <a:pt x="1079" y="1973"/>
                  </a:lnTo>
                  <a:lnTo>
                    <a:pt x="985" y="2089"/>
                  </a:lnTo>
                  <a:lnTo>
                    <a:pt x="907" y="2185"/>
                  </a:lnTo>
                  <a:lnTo>
                    <a:pt x="905" y="2187"/>
                  </a:lnTo>
                  <a:lnTo>
                    <a:pt x="903" y="2189"/>
                  </a:lnTo>
                  <a:lnTo>
                    <a:pt x="899" y="2190"/>
                  </a:lnTo>
                  <a:lnTo>
                    <a:pt x="897" y="2191"/>
                  </a:lnTo>
                  <a:lnTo>
                    <a:pt x="894" y="2191"/>
                  </a:lnTo>
                  <a:lnTo>
                    <a:pt x="891" y="2190"/>
                  </a:lnTo>
                  <a:lnTo>
                    <a:pt x="889" y="2189"/>
                  </a:lnTo>
                  <a:lnTo>
                    <a:pt x="887" y="2186"/>
                  </a:lnTo>
                  <a:lnTo>
                    <a:pt x="817" y="2117"/>
                  </a:lnTo>
                  <a:lnTo>
                    <a:pt x="757" y="2195"/>
                  </a:lnTo>
                  <a:lnTo>
                    <a:pt x="726" y="2195"/>
                  </a:lnTo>
                  <a:close/>
                  <a:moveTo>
                    <a:pt x="29" y="1480"/>
                  </a:moveTo>
                  <a:lnTo>
                    <a:pt x="29" y="1480"/>
                  </a:lnTo>
                  <a:lnTo>
                    <a:pt x="741" y="2171"/>
                  </a:lnTo>
                  <a:lnTo>
                    <a:pt x="798" y="2098"/>
                  </a:lnTo>
                  <a:lnTo>
                    <a:pt x="72" y="1367"/>
                  </a:lnTo>
                  <a:lnTo>
                    <a:pt x="29" y="1480"/>
                  </a:lnTo>
                  <a:close/>
                  <a:moveTo>
                    <a:pt x="835" y="2096"/>
                  </a:moveTo>
                  <a:lnTo>
                    <a:pt x="835" y="2096"/>
                  </a:lnTo>
                  <a:lnTo>
                    <a:pt x="895" y="2156"/>
                  </a:lnTo>
                  <a:lnTo>
                    <a:pt x="1016" y="2007"/>
                  </a:lnTo>
                  <a:lnTo>
                    <a:pt x="1142" y="1851"/>
                  </a:lnTo>
                  <a:lnTo>
                    <a:pt x="1272" y="1689"/>
                  </a:lnTo>
                  <a:lnTo>
                    <a:pt x="1403" y="1525"/>
                  </a:lnTo>
                  <a:lnTo>
                    <a:pt x="1534" y="1359"/>
                  </a:lnTo>
                  <a:lnTo>
                    <a:pt x="1665" y="1195"/>
                  </a:lnTo>
                  <a:lnTo>
                    <a:pt x="1792" y="1035"/>
                  </a:lnTo>
                  <a:lnTo>
                    <a:pt x="1914" y="879"/>
                  </a:lnTo>
                  <a:lnTo>
                    <a:pt x="2031" y="731"/>
                  </a:lnTo>
                  <a:lnTo>
                    <a:pt x="2139" y="592"/>
                  </a:lnTo>
                  <a:lnTo>
                    <a:pt x="2238" y="464"/>
                  </a:lnTo>
                  <a:lnTo>
                    <a:pt x="2325" y="349"/>
                  </a:lnTo>
                  <a:lnTo>
                    <a:pt x="2400" y="249"/>
                  </a:lnTo>
                  <a:lnTo>
                    <a:pt x="2460" y="167"/>
                  </a:lnTo>
                  <a:lnTo>
                    <a:pt x="2484" y="132"/>
                  </a:lnTo>
                  <a:lnTo>
                    <a:pt x="2504" y="103"/>
                  </a:lnTo>
                  <a:lnTo>
                    <a:pt x="2519" y="79"/>
                  </a:lnTo>
                  <a:lnTo>
                    <a:pt x="2530" y="61"/>
                  </a:lnTo>
                  <a:lnTo>
                    <a:pt x="2444" y="30"/>
                  </a:lnTo>
                  <a:lnTo>
                    <a:pt x="835" y="2096"/>
                  </a:lnTo>
                  <a:close/>
                  <a:moveTo>
                    <a:pt x="7806" y="672"/>
                  </a:moveTo>
                  <a:lnTo>
                    <a:pt x="7806" y="672"/>
                  </a:lnTo>
                  <a:lnTo>
                    <a:pt x="8616" y="1103"/>
                  </a:lnTo>
                  <a:lnTo>
                    <a:pt x="7875" y="663"/>
                  </a:lnTo>
                  <a:lnTo>
                    <a:pt x="7806" y="672"/>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Rectangle 71"/>
            <p:cNvSpPr txBox="1">
              <a:spLocks noChangeArrowheads="1"/>
            </p:cNvSpPr>
            <p:nvPr userDrawn="1"/>
          </p:nvSpPr>
          <p:spPr bwMode="auto">
            <a:xfrm>
              <a:off x="4343400" y="6473952"/>
              <a:ext cx="663575" cy="3603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000">
                  <a:solidFill>
                    <a:srgbClr val="4E84C4"/>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3B55AB4-0D57-4FBE-946B-A81E4A9D2A4C}" type="slidenum">
                <a:rPr lang="en-US" sz="1000" b="1" kern="1200" noProof="0" smtClean="0">
                  <a:solidFill>
                    <a:schemeClr val="bg1"/>
                  </a:solidFill>
                  <a:latin typeface="Calibri" panose="020F0502020204030204" pitchFamily="34" charset="0"/>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r>
                <a:rPr lang="en-US" sz="1000" b="1" kern="1200" noProof="0" dirty="0">
                  <a:solidFill>
                    <a:schemeClr val="bg1"/>
                  </a:solidFill>
                  <a:latin typeface="Calibri" panose="020F0502020204030204" pitchFamily="34" charset="0"/>
                  <a:ea typeface="+mn-ea"/>
                  <a:cs typeface="Arial" pitchFamily="34" charset="0"/>
                </a:rPr>
                <a:t> </a:t>
              </a:r>
            </a:p>
          </p:txBody>
        </p:sp>
      </p:gr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092" y="0"/>
            <a:ext cx="1898908" cy="569977"/>
          </a:xfrm>
          <a:prstGeom prst="rect">
            <a:avLst/>
          </a:prstGeom>
        </p:spPr>
      </p:pic>
    </p:spTree>
    <p:extLst>
      <p:ext uri="{BB962C8B-B14F-4D97-AF65-F5344CB8AC3E}">
        <p14:creationId xmlns:p14="http://schemas.microsoft.com/office/powerpoint/2010/main" val="2406366950"/>
      </p:ext>
    </p:extLst>
  </p:cSld>
  <p:clrMap bg1="lt1" tx1="dk1" bg2="lt2" tx2="dk2" accent1="accent1" accent2="accent2" accent3="accent3" accent4="accent4" accent5="accent5" accent6="accent6" hlink="hlink" folHlink="folHlink"/>
  <p:sldLayoutIdLst>
    <p:sldLayoutId id="2147483694" r:id="rId1"/>
  </p:sldLayoutIdLst>
  <p:txStyles>
    <p:titleStyle>
      <a:lvl1pPr algn="l" defTabSz="685800" rtl="0" eaLnBrk="1" latinLnBrk="0" hangingPunct="1">
        <a:spcBef>
          <a:spcPct val="0"/>
        </a:spcBef>
        <a:buNone/>
        <a:defRPr sz="1800" kern="1200">
          <a:solidFill>
            <a:schemeClr val="bg1"/>
          </a:solidFill>
          <a:latin typeface="Myriad Pro"/>
          <a:ea typeface="+mj-ea"/>
          <a:cs typeface="Arial" pitchFamily="34" charset="0"/>
        </a:defRPr>
      </a:lvl1pPr>
    </p:titleStyle>
    <p:bodyStyle>
      <a:lvl1pPr marL="257175" indent="-257175" algn="l" defTabSz="685800" rtl="0" eaLnBrk="1" latinLnBrk="0" hangingPunct="1">
        <a:spcBef>
          <a:spcPct val="20000"/>
        </a:spcBef>
        <a:buClr>
          <a:srgbClr val="4E84C4"/>
        </a:buClr>
        <a:buFont typeface="Wingdings" pitchFamily="2" charset="2"/>
        <a:buChar char="§"/>
        <a:defRPr sz="1500" kern="1200">
          <a:solidFill>
            <a:schemeClr val="tx1"/>
          </a:solidFill>
          <a:latin typeface="Arial" pitchFamily="34" charset="0"/>
          <a:ea typeface="+mn-ea"/>
          <a:cs typeface="Arial" pitchFamily="34" charset="0"/>
        </a:defRPr>
      </a:lvl1pPr>
      <a:lvl2pPr marL="557213" indent="-214313" algn="l" defTabSz="685800" rtl="0" eaLnBrk="1" latinLnBrk="0" hangingPunct="1">
        <a:spcBef>
          <a:spcPct val="20000"/>
        </a:spcBef>
        <a:buClr>
          <a:srgbClr val="4E84C4"/>
        </a:buClr>
        <a:buFont typeface="Myriad Pro" pitchFamily="34" charset="0"/>
        <a:buChar char="–"/>
        <a:defRPr sz="1500" kern="1200">
          <a:solidFill>
            <a:schemeClr val="tx1"/>
          </a:solidFill>
          <a:latin typeface="Arial" pitchFamily="34" charset="0"/>
          <a:ea typeface="+mn-ea"/>
          <a:cs typeface="Arial" pitchFamily="34" charset="0"/>
        </a:defRPr>
      </a:lvl2pPr>
      <a:lvl3pPr marL="857250" indent="-171450" algn="l" defTabSz="685800" rtl="0" eaLnBrk="1" latinLnBrk="0" hangingPunct="1">
        <a:spcBef>
          <a:spcPct val="20000"/>
        </a:spcBef>
        <a:buClr>
          <a:srgbClr val="4E84C4"/>
        </a:buClr>
        <a:buFont typeface="Courier New" pitchFamily="49" charset="0"/>
        <a:buChar char="o"/>
        <a:defRPr sz="1400" kern="1200">
          <a:solidFill>
            <a:schemeClr val="tx1"/>
          </a:solidFill>
          <a:latin typeface="Arial" pitchFamily="34" charset="0"/>
          <a:ea typeface="+mn-ea"/>
          <a:cs typeface="Arial" pitchFamily="34" charset="0"/>
        </a:defRPr>
      </a:lvl3pPr>
      <a:lvl4pPr marL="1200150" indent="-171450" algn="l" defTabSz="685800" rtl="0" eaLnBrk="1" latinLnBrk="0" hangingPunct="1">
        <a:spcBef>
          <a:spcPct val="20000"/>
        </a:spcBef>
        <a:buClr>
          <a:srgbClr val="4E84C4"/>
        </a:buClr>
        <a:buFont typeface="Arial" pitchFamily="34" charset="0"/>
        <a:buChar char="•"/>
        <a:defRPr sz="1200" kern="1200" baseline="0">
          <a:solidFill>
            <a:schemeClr val="tx1"/>
          </a:solidFill>
          <a:latin typeface="Arial" pitchFamily="34" charset="0"/>
          <a:ea typeface="+mn-ea"/>
          <a:cs typeface="Arial" pitchFamily="34" charset="0"/>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yriad Pro"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633D94"/>
            </a:gs>
            <a:gs pos="100000">
              <a:srgbClr val="EF5731"/>
            </a:gs>
          </a:gsLst>
          <a:lin ang="5400000" scaled="1"/>
        </a:gradFill>
        <a:effectLst/>
      </p:bgPr>
    </p:bg>
    <p:spTree>
      <p:nvGrpSpPr>
        <p:cNvPr id="1" name=""/>
        <p:cNvGrpSpPr/>
        <p:nvPr/>
      </p:nvGrpSpPr>
      <p:grpSpPr>
        <a:xfrm>
          <a:off x="0" y="0"/>
          <a:ext cx="0" cy="0"/>
          <a:chOff x="0" y="0"/>
          <a:chExt cx="0" cy="0"/>
        </a:xfrm>
      </p:grpSpPr>
      <p:grpSp>
        <p:nvGrpSpPr>
          <p:cNvPr id="15" name="Group 14"/>
          <p:cNvGrpSpPr/>
          <p:nvPr userDrawn="1"/>
        </p:nvGrpSpPr>
        <p:grpSpPr>
          <a:xfrm>
            <a:off x="0" y="1"/>
            <a:ext cx="9144000" cy="5154544"/>
            <a:chOff x="0" y="1733550"/>
            <a:chExt cx="9142413" cy="5124451"/>
          </a:xfrm>
        </p:grpSpPr>
        <p:grpSp>
          <p:nvGrpSpPr>
            <p:cNvPr id="17" name="Group 205"/>
            <p:cNvGrpSpPr>
              <a:grpSpLocks/>
            </p:cNvGrpSpPr>
            <p:nvPr userDrawn="1"/>
          </p:nvGrpSpPr>
          <p:grpSpPr bwMode="auto">
            <a:xfrm>
              <a:off x="0" y="1733550"/>
              <a:ext cx="9142413" cy="5124450"/>
              <a:chOff x="0" y="1092"/>
              <a:chExt cx="5759" cy="3228"/>
            </a:xfrm>
            <a:solidFill>
              <a:schemeClr val="bg1">
                <a:alpha val="20000"/>
              </a:schemeClr>
            </a:solidFill>
          </p:grpSpPr>
          <p:sp>
            <p:nvSpPr>
              <p:cNvPr id="72" name="Freeform 5"/>
              <p:cNvSpPr>
                <a:spLocks noEditPoints="1"/>
              </p:cNvSpPr>
              <p:nvPr userDrawn="1"/>
            </p:nvSpPr>
            <p:spPr bwMode="auto">
              <a:xfrm>
                <a:off x="585" y="2443"/>
                <a:ext cx="432" cy="434"/>
              </a:xfrm>
              <a:custGeom>
                <a:avLst/>
                <a:gdLst>
                  <a:gd name="T0" fmla="*/ 950 w 1297"/>
                  <a:gd name="T1" fmla="*/ 1302 h 1302"/>
                  <a:gd name="T2" fmla="*/ 945 w 1297"/>
                  <a:gd name="T3" fmla="*/ 1301 h 1302"/>
                  <a:gd name="T4" fmla="*/ 940 w 1297"/>
                  <a:gd name="T5" fmla="*/ 1298 h 1302"/>
                  <a:gd name="T6" fmla="*/ 3 w 1297"/>
                  <a:gd name="T7" fmla="*/ 373 h 1302"/>
                  <a:gd name="T8" fmla="*/ 1 w 1297"/>
                  <a:gd name="T9" fmla="*/ 370 h 1302"/>
                  <a:gd name="T10" fmla="*/ 0 w 1297"/>
                  <a:gd name="T11" fmla="*/ 366 h 1302"/>
                  <a:gd name="T12" fmla="*/ 0 w 1297"/>
                  <a:gd name="T13" fmla="*/ 363 h 1302"/>
                  <a:gd name="T14" fmla="*/ 0 w 1297"/>
                  <a:gd name="T15" fmla="*/ 360 h 1302"/>
                  <a:gd name="T16" fmla="*/ 1 w 1297"/>
                  <a:gd name="T17" fmla="*/ 356 h 1302"/>
                  <a:gd name="T18" fmla="*/ 3 w 1297"/>
                  <a:gd name="T19" fmla="*/ 353 h 1302"/>
                  <a:gd name="T20" fmla="*/ 6 w 1297"/>
                  <a:gd name="T21" fmla="*/ 351 h 1302"/>
                  <a:gd name="T22" fmla="*/ 9 w 1297"/>
                  <a:gd name="T23" fmla="*/ 350 h 1302"/>
                  <a:gd name="T24" fmla="*/ 1279 w 1297"/>
                  <a:gd name="T25" fmla="*/ 1 h 1302"/>
                  <a:gd name="T26" fmla="*/ 1283 w 1297"/>
                  <a:gd name="T27" fmla="*/ 0 h 1302"/>
                  <a:gd name="T28" fmla="*/ 1287 w 1297"/>
                  <a:gd name="T29" fmla="*/ 1 h 1302"/>
                  <a:gd name="T30" fmla="*/ 1290 w 1297"/>
                  <a:gd name="T31" fmla="*/ 3 h 1302"/>
                  <a:gd name="T32" fmla="*/ 1292 w 1297"/>
                  <a:gd name="T33" fmla="*/ 5 h 1302"/>
                  <a:gd name="T34" fmla="*/ 1294 w 1297"/>
                  <a:gd name="T35" fmla="*/ 8 h 1302"/>
                  <a:gd name="T36" fmla="*/ 1297 w 1297"/>
                  <a:gd name="T37" fmla="*/ 11 h 1302"/>
                  <a:gd name="T38" fmla="*/ 1297 w 1297"/>
                  <a:gd name="T39" fmla="*/ 14 h 1302"/>
                  <a:gd name="T40" fmla="*/ 1297 w 1297"/>
                  <a:gd name="T41" fmla="*/ 18 h 1302"/>
                  <a:gd name="T42" fmla="*/ 963 w 1297"/>
                  <a:gd name="T43" fmla="*/ 1291 h 1302"/>
                  <a:gd name="T44" fmla="*/ 962 w 1297"/>
                  <a:gd name="T45" fmla="*/ 1295 h 1302"/>
                  <a:gd name="T46" fmla="*/ 960 w 1297"/>
                  <a:gd name="T47" fmla="*/ 1298 h 1302"/>
                  <a:gd name="T48" fmla="*/ 956 w 1297"/>
                  <a:gd name="T49" fmla="*/ 1300 h 1302"/>
                  <a:gd name="T50" fmla="*/ 953 w 1297"/>
                  <a:gd name="T51" fmla="*/ 1301 h 1302"/>
                  <a:gd name="T52" fmla="*/ 951 w 1297"/>
                  <a:gd name="T53" fmla="*/ 1301 h 1302"/>
                  <a:gd name="T54" fmla="*/ 950 w 1297"/>
                  <a:gd name="T55" fmla="*/ 1302 h 1302"/>
                  <a:gd name="T56" fmla="*/ 39 w 1297"/>
                  <a:gd name="T57" fmla="*/ 370 h 1302"/>
                  <a:gd name="T58" fmla="*/ 39 w 1297"/>
                  <a:gd name="T59" fmla="*/ 370 h 1302"/>
                  <a:gd name="T60" fmla="*/ 942 w 1297"/>
                  <a:gd name="T61" fmla="*/ 1262 h 1302"/>
                  <a:gd name="T62" fmla="*/ 1264 w 1297"/>
                  <a:gd name="T63" fmla="*/ 34 h 1302"/>
                  <a:gd name="T64" fmla="*/ 39 w 1297"/>
                  <a:gd name="T65" fmla="*/ 370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7" h="1302">
                    <a:moveTo>
                      <a:pt x="950" y="1302"/>
                    </a:moveTo>
                    <a:lnTo>
                      <a:pt x="945" y="1301"/>
                    </a:lnTo>
                    <a:lnTo>
                      <a:pt x="940" y="1298"/>
                    </a:lnTo>
                    <a:lnTo>
                      <a:pt x="3" y="373"/>
                    </a:lnTo>
                    <a:lnTo>
                      <a:pt x="1" y="370"/>
                    </a:lnTo>
                    <a:lnTo>
                      <a:pt x="0" y="366"/>
                    </a:lnTo>
                    <a:lnTo>
                      <a:pt x="0" y="363"/>
                    </a:lnTo>
                    <a:lnTo>
                      <a:pt x="0" y="360"/>
                    </a:lnTo>
                    <a:lnTo>
                      <a:pt x="1" y="356"/>
                    </a:lnTo>
                    <a:lnTo>
                      <a:pt x="3" y="353"/>
                    </a:lnTo>
                    <a:lnTo>
                      <a:pt x="6" y="351"/>
                    </a:lnTo>
                    <a:lnTo>
                      <a:pt x="9" y="350"/>
                    </a:lnTo>
                    <a:lnTo>
                      <a:pt x="1279" y="1"/>
                    </a:lnTo>
                    <a:lnTo>
                      <a:pt x="1283" y="0"/>
                    </a:lnTo>
                    <a:lnTo>
                      <a:pt x="1287" y="1"/>
                    </a:lnTo>
                    <a:lnTo>
                      <a:pt x="1290" y="3"/>
                    </a:lnTo>
                    <a:lnTo>
                      <a:pt x="1292" y="5"/>
                    </a:lnTo>
                    <a:lnTo>
                      <a:pt x="1294" y="8"/>
                    </a:lnTo>
                    <a:lnTo>
                      <a:pt x="1297" y="11"/>
                    </a:lnTo>
                    <a:lnTo>
                      <a:pt x="1297" y="14"/>
                    </a:lnTo>
                    <a:lnTo>
                      <a:pt x="1297" y="18"/>
                    </a:lnTo>
                    <a:lnTo>
                      <a:pt x="963" y="1291"/>
                    </a:lnTo>
                    <a:lnTo>
                      <a:pt x="962" y="1295"/>
                    </a:lnTo>
                    <a:lnTo>
                      <a:pt x="960" y="1298"/>
                    </a:lnTo>
                    <a:lnTo>
                      <a:pt x="956" y="1300"/>
                    </a:lnTo>
                    <a:lnTo>
                      <a:pt x="953" y="1301"/>
                    </a:lnTo>
                    <a:lnTo>
                      <a:pt x="951" y="1301"/>
                    </a:lnTo>
                    <a:lnTo>
                      <a:pt x="950" y="1302"/>
                    </a:lnTo>
                    <a:close/>
                    <a:moveTo>
                      <a:pt x="39" y="370"/>
                    </a:moveTo>
                    <a:lnTo>
                      <a:pt x="39" y="370"/>
                    </a:lnTo>
                    <a:lnTo>
                      <a:pt x="942" y="1262"/>
                    </a:lnTo>
                    <a:lnTo>
                      <a:pt x="1264" y="34"/>
                    </a:lnTo>
                    <a:lnTo>
                      <a:pt x="39"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
              <p:cNvSpPr>
                <a:spLocks noEditPoints="1"/>
              </p:cNvSpPr>
              <p:nvPr userDrawn="1"/>
            </p:nvSpPr>
            <p:spPr bwMode="auto">
              <a:xfrm>
                <a:off x="580" y="2476"/>
                <a:ext cx="433" cy="433"/>
              </a:xfrm>
              <a:custGeom>
                <a:avLst/>
                <a:gdLst>
                  <a:gd name="T0" fmla="*/ 950 w 1297"/>
                  <a:gd name="T1" fmla="*/ 1300 h 1300"/>
                  <a:gd name="T2" fmla="*/ 944 w 1297"/>
                  <a:gd name="T3" fmla="*/ 1299 h 1300"/>
                  <a:gd name="T4" fmla="*/ 940 w 1297"/>
                  <a:gd name="T5" fmla="*/ 1296 h 1300"/>
                  <a:gd name="T6" fmla="*/ 3 w 1297"/>
                  <a:gd name="T7" fmla="*/ 371 h 1300"/>
                  <a:gd name="T8" fmla="*/ 1 w 1297"/>
                  <a:gd name="T9" fmla="*/ 368 h 1300"/>
                  <a:gd name="T10" fmla="*/ 0 w 1297"/>
                  <a:gd name="T11" fmla="*/ 365 h 1300"/>
                  <a:gd name="T12" fmla="*/ 0 w 1297"/>
                  <a:gd name="T13" fmla="*/ 361 h 1300"/>
                  <a:gd name="T14" fmla="*/ 0 w 1297"/>
                  <a:gd name="T15" fmla="*/ 358 h 1300"/>
                  <a:gd name="T16" fmla="*/ 1 w 1297"/>
                  <a:gd name="T17" fmla="*/ 355 h 1300"/>
                  <a:gd name="T18" fmla="*/ 3 w 1297"/>
                  <a:gd name="T19" fmla="*/ 352 h 1300"/>
                  <a:gd name="T20" fmla="*/ 6 w 1297"/>
                  <a:gd name="T21" fmla="*/ 349 h 1300"/>
                  <a:gd name="T22" fmla="*/ 9 w 1297"/>
                  <a:gd name="T23" fmla="*/ 348 h 1300"/>
                  <a:gd name="T24" fmla="*/ 1279 w 1297"/>
                  <a:gd name="T25" fmla="*/ 0 h 1300"/>
                  <a:gd name="T26" fmla="*/ 1282 w 1297"/>
                  <a:gd name="T27" fmla="*/ 0 h 1300"/>
                  <a:gd name="T28" fmla="*/ 1287 w 1297"/>
                  <a:gd name="T29" fmla="*/ 0 h 1300"/>
                  <a:gd name="T30" fmla="*/ 1290 w 1297"/>
                  <a:gd name="T31" fmla="*/ 1 h 1300"/>
                  <a:gd name="T32" fmla="*/ 1292 w 1297"/>
                  <a:gd name="T33" fmla="*/ 3 h 1300"/>
                  <a:gd name="T34" fmla="*/ 1294 w 1297"/>
                  <a:gd name="T35" fmla="*/ 6 h 1300"/>
                  <a:gd name="T36" fmla="*/ 1297 w 1297"/>
                  <a:gd name="T37" fmla="*/ 9 h 1300"/>
                  <a:gd name="T38" fmla="*/ 1297 w 1297"/>
                  <a:gd name="T39" fmla="*/ 13 h 1300"/>
                  <a:gd name="T40" fmla="*/ 1297 w 1297"/>
                  <a:gd name="T41" fmla="*/ 16 h 1300"/>
                  <a:gd name="T42" fmla="*/ 963 w 1297"/>
                  <a:gd name="T43" fmla="*/ 1290 h 1300"/>
                  <a:gd name="T44" fmla="*/ 962 w 1297"/>
                  <a:gd name="T45" fmla="*/ 1293 h 1300"/>
                  <a:gd name="T46" fmla="*/ 960 w 1297"/>
                  <a:gd name="T47" fmla="*/ 1296 h 1300"/>
                  <a:gd name="T48" fmla="*/ 956 w 1297"/>
                  <a:gd name="T49" fmla="*/ 1298 h 1300"/>
                  <a:gd name="T50" fmla="*/ 953 w 1297"/>
                  <a:gd name="T51" fmla="*/ 1299 h 1300"/>
                  <a:gd name="T52" fmla="*/ 952 w 1297"/>
                  <a:gd name="T53" fmla="*/ 1300 h 1300"/>
                  <a:gd name="T54" fmla="*/ 950 w 1297"/>
                  <a:gd name="T55" fmla="*/ 1300 h 1300"/>
                  <a:gd name="T56" fmla="*/ 39 w 1297"/>
                  <a:gd name="T57" fmla="*/ 368 h 1300"/>
                  <a:gd name="T58" fmla="*/ 39 w 1297"/>
                  <a:gd name="T59" fmla="*/ 368 h 1300"/>
                  <a:gd name="T60" fmla="*/ 942 w 1297"/>
                  <a:gd name="T61" fmla="*/ 1261 h 1300"/>
                  <a:gd name="T62" fmla="*/ 1264 w 1297"/>
                  <a:gd name="T63" fmla="*/ 32 h 1300"/>
                  <a:gd name="T64" fmla="*/ 39 w 1297"/>
                  <a:gd name="T65" fmla="*/ 368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7" h="1300">
                    <a:moveTo>
                      <a:pt x="950" y="1300"/>
                    </a:moveTo>
                    <a:lnTo>
                      <a:pt x="944" y="1299"/>
                    </a:lnTo>
                    <a:lnTo>
                      <a:pt x="940" y="1296"/>
                    </a:lnTo>
                    <a:lnTo>
                      <a:pt x="3" y="371"/>
                    </a:lnTo>
                    <a:lnTo>
                      <a:pt x="1" y="368"/>
                    </a:lnTo>
                    <a:lnTo>
                      <a:pt x="0" y="365"/>
                    </a:lnTo>
                    <a:lnTo>
                      <a:pt x="0" y="361"/>
                    </a:lnTo>
                    <a:lnTo>
                      <a:pt x="0" y="358"/>
                    </a:lnTo>
                    <a:lnTo>
                      <a:pt x="1" y="355"/>
                    </a:lnTo>
                    <a:lnTo>
                      <a:pt x="3" y="352"/>
                    </a:lnTo>
                    <a:lnTo>
                      <a:pt x="6" y="349"/>
                    </a:lnTo>
                    <a:lnTo>
                      <a:pt x="9" y="348"/>
                    </a:lnTo>
                    <a:lnTo>
                      <a:pt x="1279" y="0"/>
                    </a:lnTo>
                    <a:lnTo>
                      <a:pt x="1282" y="0"/>
                    </a:lnTo>
                    <a:lnTo>
                      <a:pt x="1287" y="0"/>
                    </a:lnTo>
                    <a:lnTo>
                      <a:pt x="1290" y="1"/>
                    </a:lnTo>
                    <a:lnTo>
                      <a:pt x="1292" y="3"/>
                    </a:lnTo>
                    <a:lnTo>
                      <a:pt x="1294" y="6"/>
                    </a:lnTo>
                    <a:lnTo>
                      <a:pt x="1297" y="9"/>
                    </a:lnTo>
                    <a:lnTo>
                      <a:pt x="1297" y="13"/>
                    </a:lnTo>
                    <a:lnTo>
                      <a:pt x="1297" y="16"/>
                    </a:lnTo>
                    <a:lnTo>
                      <a:pt x="963" y="1290"/>
                    </a:lnTo>
                    <a:lnTo>
                      <a:pt x="962" y="1293"/>
                    </a:lnTo>
                    <a:lnTo>
                      <a:pt x="960" y="1296"/>
                    </a:lnTo>
                    <a:lnTo>
                      <a:pt x="956" y="1298"/>
                    </a:lnTo>
                    <a:lnTo>
                      <a:pt x="953" y="1299"/>
                    </a:lnTo>
                    <a:lnTo>
                      <a:pt x="952" y="1300"/>
                    </a:lnTo>
                    <a:lnTo>
                      <a:pt x="950" y="1300"/>
                    </a:lnTo>
                    <a:close/>
                    <a:moveTo>
                      <a:pt x="39" y="368"/>
                    </a:moveTo>
                    <a:lnTo>
                      <a:pt x="39" y="368"/>
                    </a:lnTo>
                    <a:lnTo>
                      <a:pt x="942" y="1261"/>
                    </a:lnTo>
                    <a:lnTo>
                      <a:pt x="1264" y="32"/>
                    </a:lnTo>
                    <a:lnTo>
                      <a:pt x="39"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
              <p:cNvSpPr>
                <a:spLocks noEditPoints="1"/>
              </p:cNvSpPr>
              <p:nvPr userDrawn="1"/>
            </p:nvSpPr>
            <p:spPr bwMode="auto">
              <a:xfrm>
                <a:off x="4446" y="1619"/>
                <a:ext cx="460" cy="457"/>
              </a:xfrm>
              <a:custGeom>
                <a:avLst/>
                <a:gdLst>
                  <a:gd name="T0" fmla="*/ 991 w 1380"/>
                  <a:gd name="T1" fmla="*/ 1371 h 1371"/>
                  <a:gd name="T2" fmla="*/ 988 w 1380"/>
                  <a:gd name="T3" fmla="*/ 1370 h 1371"/>
                  <a:gd name="T4" fmla="*/ 985 w 1380"/>
                  <a:gd name="T5" fmla="*/ 1368 h 1371"/>
                  <a:gd name="T6" fmla="*/ 2 w 1380"/>
                  <a:gd name="T7" fmla="*/ 364 h 1371"/>
                  <a:gd name="T8" fmla="*/ 1 w 1380"/>
                  <a:gd name="T9" fmla="*/ 362 h 1371"/>
                  <a:gd name="T10" fmla="*/ 0 w 1380"/>
                  <a:gd name="T11" fmla="*/ 360 h 1371"/>
                  <a:gd name="T12" fmla="*/ 0 w 1380"/>
                  <a:gd name="T13" fmla="*/ 358 h 1371"/>
                  <a:gd name="T14" fmla="*/ 0 w 1380"/>
                  <a:gd name="T15" fmla="*/ 354 h 1371"/>
                  <a:gd name="T16" fmla="*/ 1 w 1380"/>
                  <a:gd name="T17" fmla="*/ 352 h 1371"/>
                  <a:gd name="T18" fmla="*/ 3 w 1380"/>
                  <a:gd name="T19" fmla="*/ 350 h 1371"/>
                  <a:gd name="T20" fmla="*/ 4 w 1380"/>
                  <a:gd name="T21" fmla="*/ 349 h 1371"/>
                  <a:gd name="T22" fmla="*/ 6 w 1380"/>
                  <a:gd name="T23" fmla="*/ 348 h 1371"/>
                  <a:gd name="T24" fmla="*/ 1368 w 1380"/>
                  <a:gd name="T25" fmla="*/ 0 h 1371"/>
                  <a:gd name="T26" fmla="*/ 1370 w 1380"/>
                  <a:gd name="T27" fmla="*/ 0 h 1371"/>
                  <a:gd name="T28" fmla="*/ 1372 w 1380"/>
                  <a:gd name="T29" fmla="*/ 0 h 1371"/>
                  <a:gd name="T30" fmla="*/ 1374 w 1380"/>
                  <a:gd name="T31" fmla="*/ 1 h 1371"/>
                  <a:gd name="T32" fmla="*/ 1377 w 1380"/>
                  <a:gd name="T33" fmla="*/ 3 h 1371"/>
                  <a:gd name="T34" fmla="*/ 1379 w 1380"/>
                  <a:gd name="T35" fmla="*/ 5 h 1371"/>
                  <a:gd name="T36" fmla="*/ 1380 w 1380"/>
                  <a:gd name="T37" fmla="*/ 7 h 1371"/>
                  <a:gd name="T38" fmla="*/ 1380 w 1380"/>
                  <a:gd name="T39" fmla="*/ 9 h 1371"/>
                  <a:gd name="T40" fmla="*/ 1379 w 1380"/>
                  <a:gd name="T41" fmla="*/ 12 h 1371"/>
                  <a:gd name="T42" fmla="*/ 1000 w 1380"/>
                  <a:gd name="T43" fmla="*/ 1364 h 1371"/>
                  <a:gd name="T44" fmla="*/ 999 w 1380"/>
                  <a:gd name="T45" fmla="*/ 1367 h 1371"/>
                  <a:gd name="T46" fmla="*/ 998 w 1380"/>
                  <a:gd name="T47" fmla="*/ 1368 h 1371"/>
                  <a:gd name="T48" fmla="*/ 995 w 1380"/>
                  <a:gd name="T49" fmla="*/ 1370 h 1371"/>
                  <a:gd name="T50" fmla="*/ 993 w 1380"/>
                  <a:gd name="T51" fmla="*/ 1371 h 1371"/>
                  <a:gd name="T52" fmla="*/ 992 w 1380"/>
                  <a:gd name="T53" fmla="*/ 1371 h 1371"/>
                  <a:gd name="T54" fmla="*/ 991 w 1380"/>
                  <a:gd name="T55" fmla="*/ 1371 h 1371"/>
                  <a:gd name="T56" fmla="*/ 27 w 1380"/>
                  <a:gd name="T57" fmla="*/ 362 h 1371"/>
                  <a:gd name="T58" fmla="*/ 27 w 1380"/>
                  <a:gd name="T59" fmla="*/ 362 h 1371"/>
                  <a:gd name="T60" fmla="*/ 987 w 1380"/>
                  <a:gd name="T61" fmla="*/ 1343 h 1371"/>
                  <a:gd name="T62" fmla="*/ 1357 w 1380"/>
                  <a:gd name="T63" fmla="*/ 23 h 1371"/>
                  <a:gd name="T64" fmla="*/ 27 w 1380"/>
                  <a:gd name="T65" fmla="*/ 362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0" h="1371">
                    <a:moveTo>
                      <a:pt x="991" y="1371"/>
                    </a:moveTo>
                    <a:lnTo>
                      <a:pt x="988" y="1370"/>
                    </a:lnTo>
                    <a:lnTo>
                      <a:pt x="985" y="1368"/>
                    </a:lnTo>
                    <a:lnTo>
                      <a:pt x="2" y="364"/>
                    </a:lnTo>
                    <a:lnTo>
                      <a:pt x="1" y="362"/>
                    </a:lnTo>
                    <a:lnTo>
                      <a:pt x="0" y="360"/>
                    </a:lnTo>
                    <a:lnTo>
                      <a:pt x="0" y="358"/>
                    </a:lnTo>
                    <a:lnTo>
                      <a:pt x="0" y="354"/>
                    </a:lnTo>
                    <a:lnTo>
                      <a:pt x="1" y="352"/>
                    </a:lnTo>
                    <a:lnTo>
                      <a:pt x="3" y="350"/>
                    </a:lnTo>
                    <a:lnTo>
                      <a:pt x="4" y="349"/>
                    </a:lnTo>
                    <a:lnTo>
                      <a:pt x="6" y="348"/>
                    </a:lnTo>
                    <a:lnTo>
                      <a:pt x="1368" y="0"/>
                    </a:lnTo>
                    <a:lnTo>
                      <a:pt x="1370" y="0"/>
                    </a:lnTo>
                    <a:lnTo>
                      <a:pt x="1372" y="0"/>
                    </a:lnTo>
                    <a:lnTo>
                      <a:pt x="1374" y="1"/>
                    </a:lnTo>
                    <a:lnTo>
                      <a:pt x="1377" y="3"/>
                    </a:lnTo>
                    <a:lnTo>
                      <a:pt x="1379" y="5"/>
                    </a:lnTo>
                    <a:lnTo>
                      <a:pt x="1380" y="7"/>
                    </a:lnTo>
                    <a:lnTo>
                      <a:pt x="1380" y="9"/>
                    </a:lnTo>
                    <a:lnTo>
                      <a:pt x="1379" y="12"/>
                    </a:lnTo>
                    <a:lnTo>
                      <a:pt x="1000" y="1364"/>
                    </a:lnTo>
                    <a:lnTo>
                      <a:pt x="999" y="1367"/>
                    </a:lnTo>
                    <a:lnTo>
                      <a:pt x="998" y="1368"/>
                    </a:lnTo>
                    <a:lnTo>
                      <a:pt x="995" y="1370"/>
                    </a:lnTo>
                    <a:lnTo>
                      <a:pt x="993" y="1371"/>
                    </a:lnTo>
                    <a:lnTo>
                      <a:pt x="992" y="1371"/>
                    </a:lnTo>
                    <a:lnTo>
                      <a:pt x="991" y="1371"/>
                    </a:lnTo>
                    <a:close/>
                    <a:moveTo>
                      <a:pt x="27" y="362"/>
                    </a:moveTo>
                    <a:lnTo>
                      <a:pt x="27" y="362"/>
                    </a:lnTo>
                    <a:lnTo>
                      <a:pt x="987" y="1343"/>
                    </a:lnTo>
                    <a:lnTo>
                      <a:pt x="1357" y="23"/>
                    </a:lnTo>
                    <a:lnTo>
                      <a:pt x="27"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8"/>
              <p:cNvSpPr>
                <a:spLocks noEditPoints="1"/>
              </p:cNvSpPr>
              <p:nvPr userDrawn="1"/>
            </p:nvSpPr>
            <p:spPr bwMode="auto">
              <a:xfrm>
                <a:off x="3771" y="3402"/>
                <a:ext cx="451" cy="462"/>
              </a:xfrm>
              <a:custGeom>
                <a:avLst/>
                <a:gdLst>
                  <a:gd name="T0" fmla="*/ 1039 w 1352"/>
                  <a:gd name="T1" fmla="*/ 1384 h 1384"/>
                  <a:gd name="T2" fmla="*/ 1034 w 1352"/>
                  <a:gd name="T3" fmla="*/ 1383 h 1384"/>
                  <a:gd name="T4" fmla="*/ 1029 w 1352"/>
                  <a:gd name="T5" fmla="*/ 1381 h 1384"/>
                  <a:gd name="T6" fmla="*/ 5 w 1352"/>
                  <a:gd name="T7" fmla="*/ 442 h 1384"/>
                  <a:gd name="T8" fmla="*/ 2 w 1352"/>
                  <a:gd name="T9" fmla="*/ 440 h 1384"/>
                  <a:gd name="T10" fmla="*/ 0 w 1352"/>
                  <a:gd name="T11" fmla="*/ 436 h 1384"/>
                  <a:gd name="T12" fmla="*/ 0 w 1352"/>
                  <a:gd name="T13" fmla="*/ 433 h 1384"/>
                  <a:gd name="T14" fmla="*/ 0 w 1352"/>
                  <a:gd name="T15" fmla="*/ 429 h 1384"/>
                  <a:gd name="T16" fmla="*/ 1 w 1352"/>
                  <a:gd name="T17" fmla="*/ 426 h 1384"/>
                  <a:gd name="T18" fmla="*/ 3 w 1352"/>
                  <a:gd name="T19" fmla="*/ 423 h 1384"/>
                  <a:gd name="T20" fmla="*/ 6 w 1352"/>
                  <a:gd name="T21" fmla="*/ 421 h 1384"/>
                  <a:gd name="T22" fmla="*/ 9 w 1352"/>
                  <a:gd name="T23" fmla="*/ 419 h 1384"/>
                  <a:gd name="T24" fmla="*/ 1335 w 1352"/>
                  <a:gd name="T25" fmla="*/ 1 h 1384"/>
                  <a:gd name="T26" fmla="*/ 1338 w 1352"/>
                  <a:gd name="T27" fmla="*/ 0 h 1384"/>
                  <a:gd name="T28" fmla="*/ 1342 w 1352"/>
                  <a:gd name="T29" fmla="*/ 0 h 1384"/>
                  <a:gd name="T30" fmla="*/ 1346 w 1352"/>
                  <a:gd name="T31" fmla="*/ 2 h 1384"/>
                  <a:gd name="T32" fmla="*/ 1348 w 1352"/>
                  <a:gd name="T33" fmla="*/ 4 h 1384"/>
                  <a:gd name="T34" fmla="*/ 1350 w 1352"/>
                  <a:gd name="T35" fmla="*/ 7 h 1384"/>
                  <a:gd name="T36" fmla="*/ 1352 w 1352"/>
                  <a:gd name="T37" fmla="*/ 10 h 1384"/>
                  <a:gd name="T38" fmla="*/ 1352 w 1352"/>
                  <a:gd name="T39" fmla="*/ 13 h 1384"/>
                  <a:gd name="T40" fmla="*/ 1352 w 1352"/>
                  <a:gd name="T41" fmla="*/ 17 h 1384"/>
                  <a:gd name="T42" fmla="*/ 1052 w 1352"/>
                  <a:gd name="T43" fmla="*/ 1373 h 1384"/>
                  <a:gd name="T44" fmla="*/ 1051 w 1352"/>
                  <a:gd name="T45" fmla="*/ 1377 h 1384"/>
                  <a:gd name="T46" fmla="*/ 1049 w 1352"/>
                  <a:gd name="T47" fmla="*/ 1380 h 1384"/>
                  <a:gd name="T48" fmla="*/ 1045 w 1352"/>
                  <a:gd name="T49" fmla="*/ 1382 h 1384"/>
                  <a:gd name="T50" fmla="*/ 1042 w 1352"/>
                  <a:gd name="T51" fmla="*/ 1384 h 1384"/>
                  <a:gd name="T52" fmla="*/ 1040 w 1352"/>
                  <a:gd name="T53" fmla="*/ 1384 h 1384"/>
                  <a:gd name="T54" fmla="*/ 1039 w 1352"/>
                  <a:gd name="T55" fmla="*/ 1384 h 1384"/>
                  <a:gd name="T56" fmla="*/ 40 w 1352"/>
                  <a:gd name="T57" fmla="*/ 439 h 1384"/>
                  <a:gd name="T58" fmla="*/ 40 w 1352"/>
                  <a:gd name="T59" fmla="*/ 439 h 1384"/>
                  <a:gd name="T60" fmla="*/ 1030 w 1352"/>
                  <a:gd name="T61" fmla="*/ 1345 h 1384"/>
                  <a:gd name="T62" fmla="*/ 1321 w 1352"/>
                  <a:gd name="T63" fmla="*/ 34 h 1384"/>
                  <a:gd name="T64" fmla="*/ 40 w 1352"/>
                  <a:gd name="T65" fmla="*/ 439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2" h="1384">
                    <a:moveTo>
                      <a:pt x="1039" y="1384"/>
                    </a:moveTo>
                    <a:lnTo>
                      <a:pt x="1034" y="1383"/>
                    </a:lnTo>
                    <a:lnTo>
                      <a:pt x="1029" y="1381"/>
                    </a:lnTo>
                    <a:lnTo>
                      <a:pt x="5" y="442"/>
                    </a:lnTo>
                    <a:lnTo>
                      <a:pt x="2" y="440"/>
                    </a:lnTo>
                    <a:lnTo>
                      <a:pt x="0" y="436"/>
                    </a:lnTo>
                    <a:lnTo>
                      <a:pt x="0" y="433"/>
                    </a:lnTo>
                    <a:lnTo>
                      <a:pt x="0" y="429"/>
                    </a:lnTo>
                    <a:lnTo>
                      <a:pt x="1" y="426"/>
                    </a:lnTo>
                    <a:lnTo>
                      <a:pt x="3" y="423"/>
                    </a:lnTo>
                    <a:lnTo>
                      <a:pt x="6" y="421"/>
                    </a:lnTo>
                    <a:lnTo>
                      <a:pt x="9" y="419"/>
                    </a:lnTo>
                    <a:lnTo>
                      <a:pt x="1335" y="1"/>
                    </a:lnTo>
                    <a:lnTo>
                      <a:pt x="1338" y="0"/>
                    </a:lnTo>
                    <a:lnTo>
                      <a:pt x="1342" y="0"/>
                    </a:lnTo>
                    <a:lnTo>
                      <a:pt x="1346" y="2"/>
                    </a:lnTo>
                    <a:lnTo>
                      <a:pt x="1348" y="4"/>
                    </a:lnTo>
                    <a:lnTo>
                      <a:pt x="1350" y="7"/>
                    </a:lnTo>
                    <a:lnTo>
                      <a:pt x="1352" y="10"/>
                    </a:lnTo>
                    <a:lnTo>
                      <a:pt x="1352" y="13"/>
                    </a:lnTo>
                    <a:lnTo>
                      <a:pt x="1352" y="17"/>
                    </a:lnTo>
                    <a:lnTo>
                      <a:pt x="1052" y="1373"/>
                    </a:lnTo>
                    <a:lnTo>
                      <a:pt x="1051" y="1377"/>
                    </a:lnTo>
                    <a:lnTo>
                      <a:pt x="1049" y="1380"/>
                    </a:lnTo>
                    <a:lnTo>
                      <a:pt x="1045" y="1382"/>
                    </a:lnTo>
                    <a:lnTo>
                      <a:pt x="1042" y="1384"/>
                    </a:lnTo>
                    <a:lnTo>
                      <a:pt x="1040" y="1384"/>
                    </a:lnTo>
                    <a:lnTo>
                      <a:pt x="1039" y="1384"/>
                    </a:lnTo>
                    <a:close/>
                    <a:moveTo>
                      <a:pt x="40" y="439"/>
                    </a:moveTo>
                    <a:lnTo>
                      <a:pt x="40" y="439"/>
                    </a:lnTo>
                    <a:lnTo>
                      <a:pt x="1030" y="1345"/>
                    </a:lnTo>
                    <a:lnTo>
                      <a:pt x="1321" y="34"/>
                    </a:lnTo>
                    <a:lnTo>
                      <a:pt x="4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9"/>
              <p:cNvSpPr>
                <a:spLocks noEditPoints="1"/>
              </p:cNvSpPr>
              <p:nvPr userDrawn="1"/>
            </p:nvSpPr>
            <p:spPr bwMode="auto">
              <a:xfrm>
                <a:off x="4391" y="1651"/>
                <a:ext cx="460" cy="457"/>
              </a:xfrm>
              <a:custGeom>
                <a:avLst/>
                <a:gdLst>
                  <a:gd name="T0" fmla="*/ 992 w 1380"/>
                  <a:gd name="T1" fmla="*/ 1370 h 1370"/>
                  <a:gd name="T2" fmla="*/ 988 w 1380"/>
                  <a:gd name="T3" fmla="*/ 1370 h 1370"/>
                  <a:gd name="T4" fmla="*/ 985 w 1380"/>
                  <a:gd name="T5" fmla="*/ 1368 h 1370"/>
                  <a:gd name="T6" fmla="*/ 3 w 1380"/>
                  <a:gd name="T7" fmla="*/ 363 h 1370"/>
                  <a:gd name="T8" fmla="*/ 2 w 1380"/>
                  <a:gd name="T9" fmla="*/ 361 h 1370"/>
                  <a:gd name="T10" fmla="*/ 1 w 1380"/>
                  <a:gd name="T11" fmla="*/ 359 h 1370"/>
                  <a:gd name="T12" fmla="*/ 0 w 1380"/>
                  <a:gd name="T13" fmla="*/ 357 h 1370"/>
                  <a:gd name="T14" fmla="*/ 1 w 1380"/>
                  <a:gd name="T15" fmla="*/ 355 h 1370"/>
                  <a:gd name="T16" fmla="*/ 2 w 1380"/>
                  <a:gd name="T17" fmla="*/ 352 h 1370"/>
                  <a:gd name="T18" fmla="*/ 3 w 1380"/>
                  <a:gd name="T19" fmla="*/ 350 h 1370"/>
                  <a:gd name="T20" fmla="*/ 5 w 1380"/>
                  <a:gd name="T21" fmla="*/ 348 h 1370"/>
                  <a:gd name="T22" fmla="*/ 7 w 1380"/>
                  <a:gd name="T23" fmla="*/ 348 h 1370"/>
                  <a:gd name="T24" fmla="*/ 1368 w 1380"/>
                  <a:gd name="T25" fmla="*/ 0 h 1370"/>
                  <a:gd name="T26" fmla="*/ 1371 w 1380"/>
                  <a:gd name="T27" fmla="*/ 0 h 1370"/>
                  <a:gd name="T28" fmla="*/ 1373 w 1380"/>
                  <a:gd name="T29" fmla="*/ 0 h 1370"/>
                  <a:gd name="T30" fmla="*/ 1375 w 1380"/>
                  <a:gd name="T31" fmla="*/ 1 h 1370"/>
                  <a:gd name="T32" fmla="*/ 1378 w 1380"/>
                  <a:gd name="T33" fmla="*/ 3 h 1370"/>
                  <a:gd name="T34" fmla="*/ 1379 w 1380"/>
                  <a:gd name="T35" fmla="*/ 4 h 1370"/>
                  <a:gd name="T36" fmla="*/ 1380 w 1380"/>
                  <a:gd name="T37" fmla="*/ 7 h 1370"/>
                  <a:gd name="T38" fmla="*/ 1380 w 1380"/>
                  <a:gd name="T39" fmla="*/ 9 h 1370"/>
                  <a:gd name="T40" fmla="*/ 1380 w 1380"/>
                  <a:gd name="T41" fmla="*/ 11 h 1370"/>
                  <a:gd name="T42" fmla="*/ 1001 w 1380"/>
                  <a:gd name="T43" fmla="*/ 1364 h 1370"/>
                  <a:gd name="T44" fmla="*/ 1000 w 1380"/>
                  <a:gd name="T45" fmla="*/ 1366 h 1370"/>
                  <a:gd name="T46" fmla="*/ 999 w 1380"/>
                  <a:gd name="T47" fmla="*/ 1368 h 1370"/>
                  <a:gd name="T48" fmla="*/ 996 w 1380"/>
                  <a:gd name="T49" fmla="*/ 1369 h 1370"/>
                  <a:gd name="T50" fmla="*/ 994 w 1380"/>
                  <a:gd name="T51" fmla="*/ 1370 h 1370"/>
                  <a:gd name="T52" fmla="*/ 993 w 1380"/>
                  <a:gd name="T53" fmla="*/ 1370 h 1370"/>
                  <a:gd name="T54" fmla="*/ 992 w 1380"/>
                  <a:gd name="T55" fmla="*/ 1370 h 1370"/>
                  <a:gd name="T56" fmla="*/ 28 w 1380"/>
                  <a:gd name="T57" fmla="*/ 362 h 1370"/>
                  <a:gd name="T58" fmla="*/ 28 w 1380"/>
                  <a:gd name="T59" fmla="*/ 362 h 1370"/>
                  <a:gd name="T60" fmla="*/ 987 w 1380"/>
                  <a:gd name="T61" fmla="*/ 1342 h 1370"/>
                  <a:gd name="T62" fmla="*/ 1357 w 1380"/>
                  <a:gd name="T63" fmla="*/ 22 h 1370"/>
                  <a:gd name="T64" fmla="*/ 28 w 1380"/>
                  <a:gd name="T65" fmla="*/ 36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0" h="1370">
                    <a:moveTo>
                      <a:pt x="992" y="1370"/>
                    </a:moveTo>
                    <a:lnTo>
                      <a:pt x="988" y="1370"/>
                    </a:lnTo>
                    <a:lnTo>
                      <a:pt x="985" y="1368"/>
                    </a:lnTo>
                    <a:lnTo>
                      <a:pt x="3" y="363"/>
                    </a:lnTo>
                    <a:lnTo>
                      <a:pt x="2" y="361"/>
                    </a:lnTo>
                    <a:lnTo>
                      <a:pt x="1" y="359"/>
                    </a:lnTo>
                    <a:lnTo>
                      <a:pt x="0" y="357"/>
                    </a:lnTo>
                    <a:lnTo>
                      <a:pt x="1" y="355"/>
                    </a:lnTo>
                    <a:lnTo>
                      <a:pt x="2" y="352"/>
                    </a:lnTo>
                    <a:lnTo>
                      <a:pt x="3" y="350"/>
                    </a:lnTo>
                    <a:lnTo>
                      <a:pt x="5" y="348"/>
                    </a:lnTo>
                    <a:lnTo>
                      <a:pt x="7" y="348"/>
                    </a:lnTo>
                    <a:lnTo>
                      <a:pt x="1368" y="0"/>
                    </a:lnTo>
                    <a:lnTo>
                      <a:pt x="1371" y="0"/>
                    </a:lnTo>
                    <a:lnTo>
                      <a:pt x="1373" y="0"/>
                    </a:lnTo>
                    <a:lnTo>
                      <a:pt x="1375" y="1"/>
                    </a:lnTo>
                    <a:lnTo>
                      <a:pt x="1378" y="3"/>
                    </a:lnTo>
                    <a:lnTo>
                      <a:pt x="1379" y="4"/>
                    </a:lnTo>
                    <a:lnTo>
                      <a:pt x="1380" y="7"/>
                    </a:lnTo>
                    <a:lnTo>
                      <a:pt x="1380" y="9"/>
                    </a:lnTo>
                    <a:lnTo>
                      <a:pt x="1380" y="11"/>
                    </a:lnTo>
                    <a:lnTo>
                      <a:pt x="1001" y="1364"/>
                    </a:lnTo>
                    <a:lnTo>
                      <a:pt x="1000" y="1366"/>
                    </a:lnTo>
                    <a:lnTo>
                      <a:pt x="999" y="1368"/>
                    </a:lnTo>
                    <a:lnTo>
                      <a:pt x="996" y="1369"/>
                    </a:lnTo>
                    <a:lnTo>
                      <a:pt x="994" y="1370"/>
                    </a:lnTo>
                    <a:lnTo>
                      <a:pt x="993" y="1370"/>
                    </a:lnTo>
                    <a:lnTo>
                      <a:pt x="992" y="1370"/>
                    </a:lnTo>
                    <a:close/>
                    <a:moveTo>
                      <a:pt x="28" y="362"/>
                    </a:moveTo>
                    <a:lnTo>
                      <a:pt x="28" y="362"/>
                    </a:lnTo>
                    <a:lnTo>
                      <a:pt x="987" y="1342"/>
                    </a:lnTo>
                    <a:lnTo>
                      <a:pt x="1357" y="22"/>
                    </a:lnTo>
                    <a:lnTo>
                      <a:pt x="28"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0"/>
              <p:cNvSpPr>
                <a:spLocks noEditPoints="1"/>
              </p:cNvSpPr>
              <p:nvPr userDrawn="1"/>
            </p:nvSpPr>
            <p:spPr bwMode="auto">
              <a:xfrm>
                <a:off x="3741" y="3435"/>
                <a:ext cx="451" cy="461"/>
              </a:xfrm>
              <a:custGeom>
                <a:avLst/>
                <a:gdLst>
                  <a:gd name="T0" fmla="*/ 1038 w 1353"/>
                  <a:gd name="T1" fmla="*/ 1384 h 1384"/>
                  <a:gd name="T2" fmla="*/ 1034 w 1353"/>
                  <a:gd name="T3" fmla="*/ 1384 h 1384"/>
                  <a:gd name="T4" fmla="*/ 1030 w 1353"/>
                  <a:gd name="T5" fmla="*/ 1381 h 1384"/>
                  <a:gd name="T6" fmla="*/ 4 w 1353"/>
                  <a:gd name="T7" fmla="*/ 442 h 1384"/>
                  <a:gd name="T8" fmla="*/ 2 w 1353"/>
                  <a:gd name="T9" fmla="*/ 440 h 1384"/>
                  <a:gd name="T10" fmla="*/ 1 w 1353"/>
                  <a:gd name="T11" fmla="*/ 437 h 1384"/>
                  <a:gd name="T12" fmla="*/ 0 w 1353"/>
                  <a:gd name="T13" fmla="*/ 433 h 1384"/>
                  <a:gd name="T14" fmla="*/ 1 w 1353"/>
                  <a:gd name="T15" fmla="*/ 430 h 1384"/>
                  <a:gd name="T16" fmla="*/ 2 w 1353"/>
                  <a:gd name="T17" fmla="*/ 426 h 1384"/>
                  <a:gd name="T18" fmla="*/ 4 w 1353"/>
                  <a:gd name="T19" fmla="*/ 424 h 1384"/>
                  <a:gd name="T20" fmla="*/ 6 w 1353"/>
                  <a:gd name="T21" fmla="*/ 421 h 1384"/>
                  <a:gd name="T22" fmla="*/ 9 w 1353"/>
                  <a:gd name="T23" fmla="*/ 419 h 1384"/>
                  <a:gd name="T24" fmla="*/ 1335 w 1353"/>
                  <a:gd name="T25" fmla="*/ 2 h 1384"/>
                  <a:gd name="T26" fmla="*/ 1339 w 1353"/>
                  <a:gd name="T27" fmla="*/ 0 h 1384"/>
                  <a:gd name="T28" fmla="*/ 1342 w 1353"/>
                  <a:gd name="T29" fmla="*/ 2 h 1384"/>
                  <a:gd name="T30" fmla="*/ 1345 w 1353"/>
                  <a:gd name="T31" fmla="*/ 3 h 1384"/>
                  <a:gd name="T32" fmla="*/ 1348 w 1353"/>
                  <a:gd name="T33" fmla="*/ 5 h 1384"/>
                  <a:gd name="T34" fmla="*/ 1350 w 1353"/>
                  <a:gd name="T35" fmla="*/ 7 h 1384"/>
                  <a:gd name="T36" fmla="*/ 1353 w 1353"/>
                  <a:gd name="T37" fmla="*/ 10 h 1384"/>
                  <a:gd name="T38" fmla="*/ 1353 w 1353"/>
                  <a:gd name="T39" fmla="*/ 13 h 1384"/>
                  <a:gd name="T40" fmla="*/ 1353 w 1353"/>
                  <a:gd name="T41" fmla="*/ 18 h 1384"/>
                  <a:gd name="T42" fmla="*/ 1052 w 1353"/>
                  <a:gd name="T43" fmla="*/ 1375 h 1384"/>
                  <a:gd name="T44" fmla="*/ 1050 w 1353"/>
                  <a:gd name="T45" fmla="*/ 1378 h 1384"/>
                  <a:gd name="T46" fmla="*/ 1049 w 1353"/>
                  <a:gd name="T47" fmla="*/ 1380 h 1384"/>
                  <a:gd name="T48" fmla="*/ 1046 w 1353"/>
                  <a:gd name="T49" fmla="*/ 1382 h 1384"/>
                  <a:gd name="T50" fmla="*/ 1043 w 1353"/>
                  <a:gd name="T51" fmla="*/ 1384 h 1384"/>
                  <a:gd name="T52" fmla="*/ 1041 w 1353"/>
                  <a:gd name="T53" fmla="*/ 1384 h 1384"/>
                  <a:gd name="T54" fmla="*/ 1038 w 1353"/>
                  <a:gd name="T55" fmla="*/ 1384 h 1384"/>
                  <a:gd name="T56" fmla="*/ 40 w 1353"/>
                  <a:gd name="T57" fmla="*/ 439 h 1384"/>
                  <a:gd name="T58" fmla="*/ 40 w 1353"/>
                  <a:gd name="T59" fmla="*/ 439 h 1384"/>
                  <a:gd name="T60" fmla="*/ 1031 w 1353"/>
                  <a:gd name="T61" fmla="*/ 1346 h 1384"/>
                  <a:gd name="T62" fmla="*/ 1321 w 1353"/>
                  <a:gd name="T63" fmla="*/ 34 h 1384"/>
                  <a:gd name="T64" fmla="*/ 40 w 1353"/>
                  <a:gd name="T65" fmla="*/ 439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3" h="1384">
                    <a:moveTo>
                      <a:pt x="1038" y="1384"/>
                    </a:moveTo>
                    <a:lnTo>
                      <a:pt x="1034" y="1384"/>
                    </a:lnTo>
                    <a:lnTo>
                      <a:pt x="1030" y="1381"/>
                    </a:lnTo>
                    <a:lnTo>
                      <a:pt x="4" y="442"/>
                    </a:lnTo>
                    <a:lnTo>
                      <a:pt x="2" y="440"/>
                    </a:lnTo>
                    <a:lnTo>
                      <a:pt x="1" y="437"/>
                    </a:lnTo>
                    <a:lnTo>
                      <a:pt x="0" y="433"/>
                    </a:lnTo>
                    <a:lnTo>
                      <a:pt x="1" y="430"/>
                    </a:lnTo>
                    <a:lnTo>
                      <a:pt x="2" y="426"/>
                    </a:lnTo>
                    <a:lnTo>
                      <a:pt x="4" y="424"/>
                    </a:lnTo>
                    <a:lnTo>
                      <a:pt x="6" y="421"/>
                    </a:lnTo>
                    <a:lnTo>
                      <a:pt x="9" y="419"/>
                    </a:lnTo>
                    <a:lnTo>
                      <a:pt x="1335" y="2"/>
                    </a:lnTo>
                    <a:lnTo>
                      <a:pt x="1339" y="0"/>
                    </a:lnTo>
                    <a:lnTo>
                      <a:pt x="1342" y="2"/>
                    </a:lnTo>
                    <a:lnTo>
                      <a:pt x="1345" y="3"/>
                    </a:lnTo>
                    <a:lnTo>
                      <a:pt x="1348" y="5"/>
                    </a:lnTo>
                    <a:lnTo>
                      <a:pt x="1350" y="7"/>
                    </a:lnTo>
                    <a:lnTo>
                      <a:pt x="1353" y="10"/>
                    </a:lnTo>
                    <a:lnTo>
                      <a:pt x="1353" y="13"/>
                    </a:lnTo>
                    <a:lnTo>
                      <a:pt x="1353" y="18"/>
                    </a:lnTo>
                    <a:lnTo>
                      <a:pt x="1052" y="1375"/>
                    </a:lnTo>
                    <a:lnTo>
                      <a:pt x="1050" y="1378"/>
                    </a:lnTo>
                    <a:lnTo>
                      <a:pt x="1049" y="1380"/>
                    </a:lnTo>
                    <a:lnTo>
                      <a:pt x="1046" y="1382"/>
                    </a:lnTo>
                    <a:lnTo>
                      <a:pt x="1043" y="1384"/>
                    </a:lnTo>
                    <a:lnTo>
                      <a:pt x="1041" y="1384"/>
                    </a:lnTo>
                    <a:lnTo>
                      <a:pt x="1038" y="1384"/>
                    </a:lnTo>
                    <a:close/>
                    <a:moveTo>
                      <a:pt x="40" y="439"/>
                    </a:moveTo>
                    <a:lnTo>
                      <a:pt x="40" y="439"/>
                    </a:lnTo>
                    <a:lnTo>
                      <a:pt x="1031" y="1346"/>
                    </a:lnTo>
                    <a:lnTo>
                      <a:pt x="1321" y="34"/>
                    </a:lnTo>
                    <a:lnTo>
                      <a:pt x="4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1"/>
              <p:cNvSpPr>
                <a:spLocks/>
              </p:cNvSpPr>
              <p:nvPr userDrawn="1"/>
            </p:nvSpPr>
            <p:spPr bwMode="auto">
              <a:xfrm>
                <a:off x="0" y="3094"/>
                <a:ext cx="590" cy="835"/>
              </a:xfrm>
              <a:custGeom>
                <a:avLst/>
                <a:gdLst>
                  <a:gd name="T0" fmla="*/ 1206 w 1770"/>
                  <a:gd name="T1" fmla="*/ 2503 h 2503"/>
                  <a:gd name="T2" fmla="*/ 1201 w 1770"/>
                  <a:gd name="T3" fmla="*/ 2501 h 2503"/>
                  <a:gd name="T4" fmla="*/ 1196 w 1770"/>
                  <a:gd name="T5" fmla="*/ 2499 h 2503"/>
                  <a:gd name="T6" fmla="*/ 0 w 1770"/>
                  <a:gd name="T7" fmla="*/ 1401 h 2503"/>
                  <a:gd name="T8" fmla="*/ 0 w 1770"/>
                  <a:gd name="T9" fmla="*/ 1365 h 2503"/>
                  <a:gd name="T10" fmla="*/ 1198 w 1770"/>
                  <a:gd name="T11" fmla="*/ 2464 h 2503"/>
                  <a:gd name="T12" fmla="*/ 1737 w 1770"/>
                  <a:gd name="T13" fmla="*/ 34 h 2503"/>
                  <a:gd name="T14" fmla="*/ 0 w 1770"/>
                  <a:gd name="T15" fmla="*/ 580 h 2503"/>
                  <a:gd name="T16" fmla="*/ 0 w 1770"/>
                  <a:gd name="T17" fmla="*/ 552 h 2503"/>
                  <a:gd name="T18" fmla="*/ 1753 w 1770"/>
                  <a:gd name="T19" fmla="*/ 0 h 2503"/>
                  <a:gd name="T20" fmla="*/ 1756 w 1770"/>
                  <a:gd name="T21" fmla="*/ 0 h 2503"/>
                  <a:gd name="T22" fmla="*/ 1759 w 1770"/>
                  <a:gd name="T23" fmla="*/ 0 h 2503"/>
                  <a:gd name="T24" fmla="*/ 1762 w 1770"/>
                  <a:gd name="T25" fmla="*/ 1 h 2503"/>
                  <a:gd name="T26" fmla="*/ 1765 w 1770"/>
                  <a:gd name="T27" fmla="*/ 4 h 2503"/>
                  <a:gd name="T28" fmla="*/ 1768 w 1770"/>
                  <a:gd name="T29" fmla="*/ 6 h 2503"/>
                  <a:gd name="T30" fmla="*/ 1769 w 1770"/>
                  <a:gd name="T31" fmla="*/ 9 h 2503"/>
                  <a:gd name="T32" fmla="*/ 1770 w 1770"/>
                  <a:gd name="T33" fmla="*/ 13 h 2503"/>
                  <a:gd name="T34" fmla="*/ 1770 w 1770"/>
                  <a:gd name="T35" fmla="*/ 16 h 2503"/>
                  <a:gd name="T36" fmla="*/ 1219 w 1770"/>
                  <a:gd name="T37" fmla="*/ 2492 h 2503"/>
                  <a:gd name="T38" fmla="*/ 1218 w 1770"/>
                  <a:gd name="T39" fmla="*/ 2495 h 2503"/>
                  <a:gd name="T40" fmla="*/ 1216 w 1770"/>
                  <a:gd name="T41" fmla="*/ 2498 h 2503"/>
                  <a:gd name="T42" fmla="*/ 1213 w 1770"/>
                  <a:gd name="T43" fmla="*/ 2500 h 2503"/>
                  <a:gd name="T44" fmla="*/ 1210 w 1770"/>
                  <a:gd name="T45" fmla="*/ 2501 h 2503"/>
                  <a:gd name="T46" fmla="*/ 1208 w 1770"/>
                  <a:gd name="T47" fmla="*/ 2503 h 2503"/>
                  <a:gd name="T48" fmla="*/ 1206 w 1770"/>
                  <a:gd name="T49" fmla="*/ 2503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70" h="2503">
                    <a:moveTo>
                      <a:pt x="1206" y="2503"/>
                    </a:moveTo>
                    <a:lnTo>
                      <a:pt x="1201" y="2501"/>
                    </a:lnTo>
                    <a:lnTo>
                      <a:pt x="1196" y="2499"/>
                    </a:lnTo>
                    <a:lnTo>
                      <a:pt x="0" y="1401"/>
                    </a:lnTo>
                    <a:lnTo>
                      <a:pt x="0" y="1365"/>
                    </a:lnTo>
                    <a:lnTo>
                      <a:pt x="1198" y="2464"/>
                    </a:lnTo>
                    <a:lnTo>
                      <a:pt x="1737" y="34"/>
                    </a:lnTo>
                    <a:lnTo>
                      <a:pt x="0" y="580"/>
                    </a:lnTo>
                    <a:lnTo>
                      <a:pt x="0" y="552"/>
                    </a:lnTo>
                    <a:lnTo>
                      <a:pt x="1753" y="0"/>
                    </a:lnTo>
                    <a:lnTo>
                      <a:pt x="1756" y="0"/>
                    </a:lnTo>
                    <a:lnTo>
                      <a:pt x="1759" y="0"/>
                    </a:lnTo>
                    <a:lnTo>
                      <a:pt x="1762" y="1"/>
                    </a:lnTo>
                    <a:lnTo>
                      <a:pt x="1765" y="4"/>
                    </a:lnTo>
                    <a:lnTo>
                      <a:pt x="1768" y="6"/>
                    </a:lnTo>
                    <a:lnTo>
                      <a:pt x="1769" y="9"/>
                    </a:lnTo>
                    <a:lnTo>
                      <a:pt x="1770" y="13"/>
                    </a:lnTo>
                    <a:lnTo>
                      <a:pt x="1770" y="16"/>
                    </a:lnTo>
                    <a:lnTo>
                      <a:pt x="1219" y="2492"/>
                    </a:lnTo>
                    <a:lnTo>
                      <a:pt x="1218" y="2495"/>
                    </a:lnTo>
                    <a:lnTo>
                      <a:pt x="1216" y="2498"/>
                    </a:lnTo>
                    <a:lnTo>
                      <a:pt x="1213" y="2500"/>
                    </a:lnTo>
                    <a:lnTo>
                      <a:pt x="1210" y="2501"/>
                    </a:lnTo>
                    <a:lnTo>
                      <a:pt x="1208" y="2503"/>
                    </a:lnTo>
                    <a:lnTo>
                      <a:pt x="1206" y="2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2"/>
              <p:cNvSpPr>
                <a:spLocks/>
              </p:cNvSpPr>
              <p:nvPr userDrawn="1"/>
            </p:nvSpPr>
            <p:spPr bwMode="auto">
              <a:xfrm>
                <a:off x="1059" y="2687"/>
                <a:ext cx="311" cy="310"/>
              </a:xfrm>
              <a:custGeom>
                <a:avLst/>
                <a:gdLst>
                  <a:gd name="T0" fmla="*/ 918 w 931"/>
                  <a:gd name="T1" fmla="*/ 931 h 931"/>
                  <a:gd name="T2" fmla="*/ 912 w 931"/>
                  <a:gd name="T3" fmla="*/ 930 h 931"/>
                  <a:gd name="T4" fmla="*/ 908 w 931"/>
                  <a:gd name="T5" fmla="*/ 926 h 931"/>
                  <a:gd name="T6" fmla="*/ 4 w 931"/>
                  <a:gd name="T7" fmla="*/ 24 h 931"/>
                  <a:gd name="T8" fmla="*/ 1 w 931"/>
                  <a:gd name="T9" fmla="*/ 19 h 931"/>
                  <a:gd name="T10" fmla="*/ 0 w 931"/>
                  <a:gd name="T11" fmla="*/ 14 h 931"/>
                  <a:gd name="T12" fmla="*/ 1 w 931"/>
                  <a:gd name="T13" fmla="*/ 9 h 931"/>
                  <a:gd name="T14" fmla="*/ 4 w 931"/>
                  <a:gd name="T15" fmla="*/ 5 h 931"/>
                  <a:gd name="T16" fmla="*/ 9 w 931"/>
                  <a:gd name="T17" fmla="*/ 1 h 931"/>
                  <a:gd name="T18" fmla="*/ 14 w 931"/>
                  <a:gd name="T19" fmla="*/ 0 h 931"/>
                  <a:gd name="T20" fmla="*/ 18 w 931"/>
                  <a:gd name="T21" fmla="*/ 1 h 931"/>
                  <a:gd name="T22" fmla="*/ 24 w 931"/>
                  <a:gd name="T23" fmla="*/ 5 h 931"/>
                  <a:gd name="T24" fmla="*/ 926 w 931"/>
                  <a:gd name="T25" fmla="*/ 908 h 931"/>
                  <a:gd name="T26" fmla="*/ 930 w 931"/>
                  <a:gd name="T27" fmla="*/ 912 h 931"/>
                  <a:gd name="T28" fmla="*/ 931 w 931"/>
                  <a:gd name="T29" fmla="*/ 918 h 931"/>
                  <a:gd name="T30" fmla="*/ 930 w 931"/>
                  <a:gd name="T31" fmla="*/ 922 h 931"/>
                  <a:gd name="T32" fmla="*/ 926 w 931"/>
                  <a:gd name="T33" fmla="*/ 926 h 931"/>
                  <a:gd name="T34" fmla="*/ 922 w 931"/>
                  <a:gd name="T35" fmla="*/ 930 h 931"/>
                  <a:gd name="T36" fmla="*/ 918 w 931"/>
                  <a:gd name="T37"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1" h="931">
                    <a:moveTo>
                      <a:pt x="918" y="931"/>
                    </a:moveTo>
                    <a:lnTo>
                      <a:pt x="912" y="930"/>
                    </a:lnTo>
                    <a:lnTo>
                      <a:pt x="908" y="926"/>
                    </a:lnTo>
                    <a:lnTo>
                      <a:pt x="4" y="24"/>
                    </a:lnTo>
                    <a:lnTo>
                      <a:pt x="1" y="19"/>
                    </a:lnTo>
                    <a:lnTo>
                      <a:pt x="0" y="14"/>
                    </a:lnTo>
                    <a:lnTo>
                      <a:pt x="1" y="9"/>
                    </a:lnTo>
                    <a:lnTo>
                      <a:pt x="4" y="5"/>
                    </a:lnTo>
                    <a:lnTo>
                      <a:pt x="9" y="1"/>
                    </a:lnTo>
                    <a:lnTo>
                      <a:pt x="14" y="0"/>
                    </a:lnTo>
                    <a:lnTo>
                      <a:pt x="18" y="1"/>
                    </a:lnTo>
                    <a:lnTo>
                      <a:pt x="24" y="5"/>
                    </a:lnTo>
                    <a:lnTo>
                      <a:pt x="926" y="908"/>
                    </a:lnTo>
                    <a:lnTo>
                      <a:pt x="930" y="912"/>
                    </a:lnTo>
                    <a:lnTo>
                      <a:pt x="931" y="918"/>
                    </a:lnTo>
                    <a:lnTo>
                      <a:pt x="930" y="922"/>
                    </a:lnTo>
                    <a:lnTo>
                      <a:pt x="926" y="926"/>
                    </a:lnTo>
                    <a:lnTo>
                      <a:pt x="922" y="930"/>
                    </a:lnTo>
                    <a:lnTo>
                      <a:pt x="918" y="9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3"/>
              <p:cNvSpPr>
                <a:spLocks/>
              </p:cNvSpPr>
              <p:nvPr userDrawn="1"/>
            </p:nvSpPr>
            <p:spPr bwMode="auto">
              <a:xfrm>
                <a:off x="3382" y="2897"/>
                <a:ext cx="504" cy="504"/>
              </a:xfrm>
              <a:custGeom>
                <a:avLst/>
                <a:gdLst>
                  <a:gd name="T0" fmla="*/ 1500 w 1513"/>
                  <a:gd name="T1" fmla="*/ 1512 h 1512"/>
                  <a:gd name="T2" fmla="*/ 1494 w 1513"/>
                  <a:gd name="T3" fmla="*/ 1511 h 1512"/>
                  <a:gd name="T4" fmla="*/ 1490 w 1513"/>
                  <a:gd name="T5" fmla="*/ 1508 h 1512"/>
                  <a:gd name="T6" fmla="*/ 4 w 1513"/>
                  <a:gd name="T7" fmla="*/ 23 h 1512"/>
                  <a:gd name="T8" fmla="*/ 1 w 1513"/>
                  <a:gd name="T9" fmla="*/ 19 h 1512"/>
                  <a:gd name="T10" fmla="*/ 0 w 1513"/>
                  <a:gd name="T11" fmla="*/ 14 h 1512"/>
                  <a:gd name="T12" fmla="*/ 1 w 1513"/>
                  <a:gd name="T13" fmla="*/ 8 h 1512"/>
                  <a:gd name="T14" fmla="*/ 4 w 1513"/>
                  <a:gd name="T15" fmla="*/ 4 h 1512"/>
                  <a:gd name="T16" fmla="*/ 9 w 1513"/>
                  <a:gd name="T17" fmla="*/ 1 h 1512"/>
                  <a:gd name="T18" fmla="*/ 14 w 1513"/>
                  <a:gd name="T19" fmla="*/ 0 h 1512"/>
                  <a:gd name="T20" fmla="*/ 18 w 1513"/>
                  <a:gd name="T21" fmla="*/ 1 h 1512"/>
                  <a:gd name="T22" fmla="*/ 24 w 1513"/>
                  <a:gd name="T23" fmla="*/ 4 h 1512"/>
                  <a:gd name="T24" fmla="*/ 1508 w 1513"/>
                  <a:gd name="T25" fmla="*/ 1489 h 1512"/>
                  <a:gd name="T26" fmla="*/ 1512 w 1513"/>
                  <a:gd name="T27" fmla="*/ 1494 h 1512"/>
                  <a:gd name="T28" fmla="*/ 1513 w 1513"/>
                  <a:gd name="T29" fmla="*/ 1499 h 1512"/>
                  <a:gd name="T30" fmla="*/ 1512 w 1513"/>
                  <a:gd name="T31" fmla="*/ 1503 h 1512"/>
                  <a:gd name="T32" fmla="*/ 1508 w 1513"/>
                  <a:gd name="T33" fmla="*/ 1508 h 1512"/>
                  <a:gd name="T34" fmla="*/ 1504 w 1513"/>
                  <a:gd name="T35" fmla="*/ 1511 h 1512"/>
                  <a:gd name="T36" fmla="*/ 1500 w 1513"/>
                  <a:gd name="T37" fmla="*/ 1512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3" h="1512">
                    <a:moveTo>
                      <a:pt x="1500" y="1512"/>
                    </a:moveTo>
                    <a:lnTo>
                      <a:pt x="1494" y="1511"/>
                    </a:lnTo>
                    <a:lnTo>
                      <a:pt x="1490" y="1508"/>
                    </a:lnTo>
                    <a:lnTo>
                      <a:pt x="4" y="23"/>
                    </a:lnTo>
                    <a:lnTo>
                      <a:pt x="1" y="19"/>
                    </a:lnTo>
                    <a:lnTo>
                      <a:pt x="0" y="14"/>
                    </a:lnTo>
                    <a:lnTo>
                      <a:pt x="1" y="8"/>
                    </a:lnTo>
                    <a:lnTo>
                      <a:pt x="4" y="4"/>
                    </a:lnTo>
                    <a:lnTo>
                      <a:pt x="9" y="1"/>
                    </a:lnTo>
                    <a:lnTo>
                      <a:pt x="14" y="0"/>
                    </a:lnTo>
                    <a:lnTo>
                      <a:pt x="18" y="1"/>
                    </a:lnTo>
                    <a:lnTo>
                      <a:pt x="24" y="4"/>
                    </a:lnTo>
                    <a:lnTo>
                      <a:pt x="1508" y="1489"/>
                    </a:lnTo>
                    <a:lnTo>
                      <a:pt x="1512" y="1494"/>
                    </a:lnTo>
                    <a:lnTo>
                      <a:pt x="1513" y="1499"/>
                    </a:lnTo>
                    <a:lnTo>
                      <a:pt x="1512" y="1503"/>
                    </a:lnTo>
                    <a:lnTo>
                      <a:pt x="1508" y="1508"/>
                    </a:lnTo>
                    <a:lnTo>
                      <a:pt x="1504" y="1511"/>
                    </a:lnTo>
                    <a:lnTo>
                      <a:pt x="1500" y="1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4"/>
              <p:cNvSpPr>
                <a:spLocks/>
              </p:cNvSpPr>
              <p:nvPr userDrawn="1"/>
            </p:nvSpPr>
            <p:spPr bwMode="auto">
              <a:xfrm>
                <a:off x="4667" y="1876"/>
                <a:ext cx="353" cy="353"/>
              </a:xfrm>
              <a:custGeom>
                <a:avLst/>
                <a:gdLst>
                  <a:gd name="T0" fmla="*/ 1048 w 1058"/>
                  <a:gd name="T1" fmla="*/ 1058 h 1058"/>
                  <a:gd name="T2" fmla="*/ 1045 w 1058"/>
                  <a:gd name="T3" fmla="*/ 1057 h 1058"/>
                  <a:gd name="T4" fmla="*/ 1042 w 1058"/>
                  <a:gd name="T5" fmla="*/ 1055 h 1058"/>
                  <a:gd name="T6" fmla="*/ 3 w 1058"/>
                  <a:gd name="T7" fmla="*/ 16 h 1058"/>
                  <a:gd name="T8" fmla="*/ 1 w 1058"/>
                  <a:gd name="T9" fmla="*/ 13 h 1058"/>
                  <a:gd name="T10" fmla="*/ 0 w 1058"/>
                  <a:gd name="T11" fmla="*/ 10 h 1058"/>
                  <a:gd name="T12" fmla="*/ 1 w 1058"/>
                  <a:gd name="T13" fmla="*/ 7 h 1058"/>
                  <a:gd name="T14" fmla="*/ 3 w 1058"/>
                  <a:gd name="T15" fmla="*/ 4 h 1058"/>
                  <a:gd name="T16" fmla="*/ 6 w 1058"/>
                  <a:gd name="T17" fmla="*/ 1 h 1058"/>
                  <a:gd name="T18" fmla="*/ 10 w 1058"/>
                  <a:gd name="T19" fmla="*/ 0 h 1058"/>
                  <a:gd name="T20" fmla="*/ 13 w 1058"/>
                  <a:gd name="T21" fmla="*/ 1 h 1058"/>
                  <a:gd name="T22" fmla="*/ 16 w 1058"/>
                  <a:gd name="T23" fmla="*/ 4 h 1058"/>
                  <a:gd name="T24" fmla="*/ 1055 w 1058"/>
                  <a:gd name="T25" fmla="*/ 1042 h 1058"/>
                  <a:gd name="T26" fmla="*/ 1057 w 1058"/>
                  <a:gd name="T27" fmla="*/ 1045 h 1058"/>
                  <a:gd name="T28" fmla="*/ 1058 w 1058"/>
                  <a:gd name="T29" fmla="*/ 1048 h 1058"/>
                  <a:gd name="T30" fmla="*/ 1057 w 1058"/>
                  <a:gd name="T31" fmla="*/ 1053 h 1058"/>
                  <a:gd name="T32" fmla="*/ 1055 w 1058"/>
                  <a:gd name="T33" fmla="*/ 1055 h 1058"/>
                  <a:gd name="T34" fmla="*/ 1053 w 1058"/>
                  <a:gd name="T35" fmla="*/ 1057 h 1058"/>
                  <a:gd name="T36" fmla="*/ 1048 w 1058"/>
                  <a:gd name="T37" fmla="*/ 1058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8" h="1058">
                    <a:moveTo>
                      <a:pt x="1048" y="1058"/>
                    </a:moveTo>
                    <a:lnTo>
                      <a:pt x="1045" y="1057"/>
                    </a:lnTo>
                    <a:lnTo>
                      <a:pt x="1042" y="1055"/>
                    </a:lnTo>
                    <a:lnTo>
                      <a:pt x="3" y="16"/>
                    </a:lnTo>
                    <a:lnTo>
                      <a:pt x="1" y="13"/>
                    </a:lnTo>
                    <a:lnTo>
                      <a:pt x="0" y="10"/>
                    </a:lnTo>
                    <a:lnTo>
                      <a:pt x="1" y="7"/>
                    </a:lnTo>
                    <a:lnTo>
                      <a:pt x="3" y="4"/>
                    </a:lnTo>
                    <a:lnTo>
                      <a:pt x="6" y="1"/>
                    </a:lnTo>
                    <a:lnTo>
                      <a:pt x="10" y="0"/>
                    </a:lnTo>
                    <a:lnTo>
                      <a:pt x="13" y="1"/>
                    </a:lnTo>
                    <a:lnTo>
                      <a:pt x="16" y="4"/>
                    </a:lnTo>
                    <a:lnTo>
                      <a:pt x="1055" y="1042"/>
                    </a:lnTo>
                    <a:lnTo>
                      <a:pt x="1057" y="1045"/>
                    </a:lnTo>
                    <a:lnTo>
                      <a:pt x="1058" y="1048"/>
                    </a:lnTo>
                    <a:lnTo>
                      <a:pt x="1057" y="1053"/>
                    </a:lnTo>
                    <a:lnTo>
                      <a:pt x="1055" y="1055"/>
                    </a:lnTo>
                    <a:lnTo>
                      <a:pt x="1053" y="1057"/>
                    </a:lnTo>
                    <a:lnTo>
                      <a:pt x="1048" y="10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5"/>
              <p:cNvSpPr>
                <a:spLocks/>
              </p:cNvSpPr>
              <p:nvPr userDrawn="1"/>
            </p:nvSpPr>
            <p:spPr bwMode="auto">
              <a:xfrm>
                <a:off x="4095" y="3653"/>
                <a:ext cx="479" cy="479"/>
              </a:xfrm>
              <a:custGeom>
                <a:avLst/>
                <a:gdLst>
                  <a:gd name="T0" fmla="*/ 1423 w 1436"/>
                  <a:gd name="T1" fmla="*/ 1435 h 1435"/>
                  <a:gd name="T2" fmla="*/ 1418 w 1436"/>
                  <a:gd name="T3" fmla="*/ 1434 h 1435"/>
                  <a:gd name="T4" fmla="*/ 1414 w 1436"/>
                  <a:gd name="T5" fmla="*/ 1431 h 1435"/>
                  <a:gd name="T6" fmla="*/ 4 w 1436"/>
                  <a:gd name="T7" fmla="*/ 23 h 1435"/>
                  <a:gd name="T8" fmla="*/ 1 w 1436"/>
                  <a:gd name="T9" fmla="*/ 18 h 1435"/>
                  <a:gd name="T10" fmla="*/ 0 w 1436"/>
                  <a:gd name="T11" fmla="*/ 14 h 1435"/>
                  <a:gd name="T12" fmla="*/ 1 w 1436"/>
                  <a:gd name="T13" fmla="*/ 8 h 1435"/>
                  <a:gd name="T14" fmla="*/ 4 w 1436"/>
                  <a:gd name="T15" fmla="*/ 4 h 1435"/>
                  <a:gd name="T16" fmla="*/ 9 w 1436"/>
                  <a:gd name="T17" fmla="*/ 1 h 1435"/>
                  <a:gd name="T18" fmla="*/ 14 w 1436"/>
                  <a:gd name="T19" fmla="*/ 0 h 1435"/>
                  <a:gd name="T20" fmla="*/ 20 w 1436"/>
                  <a:gd name="T21" fmla="*/ 1 h 1435"/>
                  <a:gd name="T22" fmla="*/ 24 w 1436"/>
                  <a:gd name="T23" fmla="*/ 4 h 1435"/>
                  <a:gd name="T24" fmla="*/ 1432 w 1436"/>
                  <a:gd name="T25" fmla="*/ 1413 h 1435"/>
                  <a:gd name="T26" fmla="*/ 1435 w 1436"/>
                  <a:gd name="T27" fmla="*/ 1417 h 1435"/>
                  <a:gd name="T28" fmla="*/ 1436 w 1436"/>
                  <a:gd name="T29" fmla="*/ 1422 h 1435"/>
                  <a:gd name="T30" fmla="*/ 1435 w 1436"/>
                  <a:gd name="T31" fmla="*/ 1427 h 1435"/>
                  <a:gd name="T32" fmla="*/ 1432 w 1436"/>
                  <a:gd name="T33" fmla="*/ 1431 h 1435"/>
                  <a:gd name="T34" fmla="*/ 1428 w 1436"/>
                  <a:gd name="T35" fmla="*/ 1434 h 1435"/>
                  <a:gd name="T36" fmla="*/ 1423 w 1436"/>
                  <a:gd name="T37" fmla="*/ 1435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6" h="1435">
                    <a:moveTo>
                      <a:pt x="1423" y="1435"/>
                    </a:moveTo>
                    <a:lnTo>
                      <a:pt x="1418" y="1434"/>
                    </a:lnTo>
                    <a:lnTo>
                      <a:pt x="1414" y="1431"/>
                    </a:lnTo>
                    <a:lnTo>
                      <a:pt x="4" y="23"/>
                    </a:lnTo>
                    <a:lnTo>
                      <a:pt x="1" y="18"/>
                    </a:lnTo>
                    <a:lnTo>
                      <a:pt x="0" y="14"/>
                    </a:lnTo>
                    <a:lnTo>
                      <a:pt x="1" y="8"/>
                    </a:lnTo>
                    <a:lnTo>
                      <a:pt x="4" y="4"/>
                    </a:lnTo>
                    <a:lnTo>
                      <a:pt x="9" y="1"/>
                    </a:lnTo>
                    <a:lnTo>
                      <a:pt x="14" y="0"/>
                    </a:lnTo>
                    <a:lnTo>
                      <a:pt x="20" y="1"/>
                    </a:lnTo>
                    <a:lnTo>
                      <a:pt x="24" y="4"/>
                    </a:lnTo>
                    <a:lnTo>
                      <a:pt x="1432" y="1413"/>
                    </a:lnTo>
                    <a:lnTo>
                      <a:pt x="1435" y="1417"/>
                    </a:lnTo>
                    <a:lnTo>
                      <a:pt x="1436" y="1422"/>
                    </a:lnTo>
                    <a:lnTo>
                      <a:pt x="1435" y="1427"/>
                    </a:lnTo>
                    <a:lnTo>
                      <a:pt x="1432" y="1431"/>
                    </a:lnTo>
                    <a:lnTo>
                      <a:pt x="1428" y="1434"/>
                    </a:lnTo>
                    <a:lnTo>
                      <a:pt x="1423" y="1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6"/>
              <p:cNvSpPr>
                <a:spLocks/>
              </p:cNvSpPr>
              <p:nvPr userDrawn="1"/>
            </p:nvSpPr>
            <p:spPr bwMode="auto">
              <a:xfrm>
                <a:off x="970" y="2617"/>
                <a:ext cx="345" cy="344"/>
              </a:xfrm>
              <a:custGeom>
                <a:avLst/>
                <a:gdLst>
                  <a:gd name="T0" fmla="*/ 1022 w 1035"/>
                  <a:gd name="T1" fmla="*/ 1034 h 1034"/>
                  <a:gd name="T2" fmla="*/ 1016 w 1035"/>
                  <a:gd name="T3" fmla="*/ 1033 h 1034"/>
                  <a:gd name="T4" fmla="*/ 1012 w 1035"/>
                  <a:gd name="T5" fmla="*/ 1031 h 1034"/>
                  <a:gd name="T6" fmla="*/ 4 w 1035"/>
                  <a:gd name="T7" fmla="*/ 23 h 1034"/>
                  <a:gd name="T8" fmla="*/ 1 w 1035"/>
                  <a:gd name="T9" fmla="*/ 18 h 1034"/>
                  <a:gd name="T10" fmla="*/ 0 w 1035"/>
                  <a:gd name="T11" fmla="*/ 14 h 1034"/>
                  <a:gd name="T12" fmla="*/ 1 w 1035"/>
                  <a:gd name="T13" fmla="*/ 8 h 1034"/>
                  <a:gd name="T14" fmla="*/ 4 w 1035"/>
                  <a:gd name="T15" fmla="*/ 4 h 1034"/>
                  <a:gd name="T16" fmla="*/ 9 w 1035"/>
                  <a:gd name="T17" fmla="*/ 1 h 1034"/>
                  <a:gd name="T18" fmla="*/ 14 w 1035"/>
                  <a:gd name="T19" fmla="*/ 0 h 1034"/>
                  <a:gd name="T20" fmla="*/ 20 w 1035"/>
                  <a:gd name="T21" fmla="*/ 1 h 1034"/>
                  <a:gd name="T22" fmla="*/ 24 w 1035"/>
                  <a:gd name="T23" fmla="*/ 4 h 1034"/>
                  <a:gd name="T24" fmla="*/ 1031 w 1035"/>
                  <a:gd name="T25" fmla="*/ 1011 h 1034"/>
                  <a:gd name="T26" fmla="*/ 1033 w 1035"/>
                  <a:gd name="T27" fmla="*/ 1016 h 1034"/>
                  <a:gd name="T28" fmla="*/ 1035 w 1035"/>
                  <a:gd name="T29" fmla="*/ 1021 h 1034"/>
                  <a:gd name="T30" fmla="*/ 1033 w 1035"/>
                  <a:gd name="T31" fmla="*/ 1026 h 1034"/>
                  <a:gd name="T32" fmla="*/ 1031 w 1035"/>
                  <a:gd name="T33" fmla="*/ 1031 h 1034"/>
                  <a:gd name="T34" fmla="*/ 1027 w 1035"/>
                  <a:gd name="T35" fmla="*/ 1033 h 1034"/>
                  <a:gd name="T36" fmla="*/ 1022 w 1035"/>
                  <a:gd name="T37" fmla="*/ 103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5" h="1034">
                    <a:moveTo>
                      <a:pt x="1022" y="1034"/>
                    </a:moveTo>
                    <a:lnTo>
                      <a:pt x="1016" y="1033"/>
                    </a:lnTo>
                    <a:lnTo>
                      <a:pt x="1012" y="1031"/>
                    </a:lnTo>
                    <a:lnTo>
                      <a:pt x="4" y="23"/>
                    </a:lnTo>
                    <a:lnTo>
                      <a:pt x="1" y="18"/>
                    </a:lnTo>
                    <a:lnTo>
                      <a:pt x="0" y="14"/>
                    </a:lnTo>
                    <a:lnTo>
                      <a:pt x="1" y="8"/>
                    </a:lnTo>
                    <a:lnTo>
                      <a:pt x="4" y="4"/>
                    </a:lnTo>
                    <a:lnTo>
                      <a:pt x="9" y="1"/>
                    </a:lnTo>
                    <a:lnTo>
                      <a:pt x="14" y="0"/>
                    </a:lnTo>
                    <a:lnTo>
                      <a:pt x="20" y="1"/>
                    </a:lnTo>
                    <a:lnTo>
                      <a:pt x="24" y="4"/>
                    </a:lnTo>
                    <a:lnTo>
                      <a:pt x="1031" y="1011"/>
                    </a:lnTo>
                    <a:lnTo>
                      <a:pt x="1033" y="1016"/>
                    </a:lnTo>
                    <a:lnTo>
                      <a:pt x="1035" y="1021"/>
                    </a:lnTo>
                    <a:lnTo>
                      <a:pt x="1033" y="1026"/>
                    </a:lnTo>
                    <a:lnTo>
                      <a:pt x="1031" y="1031"/>
                    </a:lnTo>
                    <a:lnTo>
                      <a:pt x="1027" y="1033"/>
                    </a:lnTo>
                    <a:lnTo>
                      <a:pt x="1022" y="10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7"/>
              <p:cNvSpPr>
                <a:spLocks/>
              </p:cNvSpPr>
              <p:nvPr userDrawn="1"/>
            </p:nvSpPr>
            <p:spPr bwMode="auto">
              <a:xfrm>
                <a:off x="0" y="3056"/>
                <a:ext cx="566" cy="834"/>
              </a:xfrm>
              <a:custGeom>
                <a:avLst/>
                <a:gdLst>
                  <a:gd name="T0" fmla="*/ 1134 w 1697"/>
                  <a:gd name="T1" fmla="*/ 2502 h 2502"/>
                  <a:gd name="T2" fmla="*/ 1128 w 1697"/>
                  <a:gd name="T3" fmla="*/ 2501 h 2502"/>
                  <a:gd name="T4" fmla="*/ 1125 w 1697"/>
                  <a:gd name="T5" fmla="*/ 2499 h 2502"/>
                  <a:gd name="T6" fmla="*/ 0 w 1697"/>
                  <a:gd name="T7" fmla="*/ 1467 h 2502"/>
                  <a:gd name="T8" fmla="*/ 0 w 1697"/>
                  <a:gd name="T9" fmla="*/ 1430 h 2502"/>
                  <a:gd name="T10" fmla="*/ 1125 w 1697"/>
                  <a:gd name="T11" fmla="*/ 2463 h 2502"/>
                  <a:gd name="T12" fmla="*/ 1666 w 1697"/>
                  <a:gd name="T13" fmla="*/ 33 h 2502"/>
                  <a:gd name="T14" fmla="*/ 0 w 1697"/>
                  <a:gd name="T15" fmla="*/ 557 h 2502"/>
                  <a:gd name="T16" fmla="*/ 0 w 1697"/>
                  <a:gd name="T17" fmla="*/ 529 h 2502"/>
                  <a:gd name="T18" fmla="*/ 1680 w 1697"/>
                  <a:gd name="T19" fmla="*/ 0 h 2502"/>
                  <a:gd name="T20" fmla="*/ 1683 w 1697"/>
                  <a:gd name="T21" fmla="*/ 0 h 2502"/>
                  <a:gd name="T22" fmla="*/ 1687 w 1697"/>
                  <a:gd name="T23" fmla="*/ 0 h 2502"/>
                  <a:gd name="T24" fmla="*/ 1690 w 1697"/>
                  <a:gd name="T25" fmla="*/ 1 h 2502"/>
                  <a:gd name="T26" fmla="*/ 1693 w 1697"/>
                  <a:gd name="T27" fmla="*/ 3 h 2502"/>
                  <a:gd name="T28" fmla="*/ 1695 w 1697"/>
                  <a:gd name="T29" fmla="*/ 6 h 2502"/>
                  <a:gd name="T30" fmla="*/ 1697 w 1697"/>
                  <a:gd name="T31" fmla="*/ 10 h 2502"/>
                  <a:gd name="T32" fmla="*/ 1697 w 1697"/>
                  <a:gd name="T33" fmla="*/ 13 h 2502"/>
                  <a:gd name="T34" fmla="*/ 1697 w 1697"/>
                  <a:gd name="T35" fmla="*/ 16 h 2502"/>
                  <a:gd name="T36" fmla="*/ 1147 w 1697"/>
                  <a:gd name="T37" fmla="*/ 2491 h 2502"/>
                  <a:gd name="T38" fmla="*/ 1146 w 1697"/>
                  <a:gd name="T39" fmla="*/ 2495 h 2502"/>
                  <a:gd name="T40" fmla="*/ 1144 w 1697"/>
                  <a:gd name="T41" fmla="*/ 2498 h 2502"/>
                  <a:gd name="T42" fmla="*/ 1141 w 1697"/>
                  <a:gd name="T43" fmla="*/ 2500 h 2502"/>
                  <a:gd name="T44" fmla="*/ 1138 w 1697"/>
                  <a:gd name="T45" fmla="*/ 2501 h 2502"/>
                  <a:gd name="T46" fmla="*/ 1136 w 1697"/>
                  <a:gd name="T47" fmla="*/ 2502 h 2502"/>
                  <a:gd name="T48" fmla="*/ 1134 w 1697"/>
                  <a:gd name="T49" fmla="*/ 2502 h 2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7" h="2502">
                    <a:moveTo>
                      <a:pt x="1134" y="2502"/>
                    </a:moveTo>
                    <a:lnTo>
                      <a:pt x="1128" y="2501"/>
                    </a:lnTo>
                    <a:lnTo>
                      <a:pt x="1125" y="2499"/>
                    </a:lnTo>
                    <a:lnTo>
                      <a:pt x="0" y="1467"/>
                    </a:lnTo>
                    <a:lnTo>
                      <a:pt x="0" y="1430"/>
                    </a:lnTo>
                    <a:lnTo>
                      <a:pt x="1125" y="2463"/>
                    </a:lnTo>
                    <a:lnTo>
                      <a:pt x="1666" y="33"/>
                    </a:lnTo>
                    <a:lnTo>
                      <a:pt x="0" y="557"/>
                    </a:lnTo>
                    <a:lnTo>
                      <a:pt x="0" y="529"/>
                    </a:lnTo>
                    <a:lnTo>
                      <a:pt x="1680" y="0"/>
                    </a:lnTo>
                    <a:lnTo>
                      <a:pt x="1683" y="0"/>
                    </a:lnTo>
                    <a:lnTo>
                      <a:pt x="1687" y="0"/>
                    </a:lnTo>
                    <a:lnTo>
                      <a:pt x="1690" y="1"/>
                    </a:lnTo>
                    <a:lnTo>
                      <a:pt x="1693" y="3"/>
                    </a:lnTo>
                    <a:lnTo>
                      <a:pt x="1695" y="6"/>
                    </a:lnTo>
                    <a:lnTo>
                      <a:pt x="1697" y="10"/>
                    </a:lnTo>
                    <a:lnTo>
                      <a:pt x="1697" y="13"/>
                    </a:lnTo>
                    <a:lnTo>
                      <a:pt x="1697" y="16"/>
                    </a:lnTo>
                    <a:lnTo>
                      <a:pt x="1147" y="2491"/>
                    </a:lnTo>
                    <a:lnTo>
                      <a:pt x="1146" y="2495"/>
                    </a:lnTo>
                    <a:lnTo>
                      <a:pt x="1144" y="2498"/>
                    </a:lnTo>
                    <a:lnTo>
                      <a:pt x="1141" y="2500"/>
                    </a:lnTo>
                    <a:lnTo>
                      <a:pt x="1138" y="2501"/>
                    </a:lnTo>
                    <a:lnTo>
                      <a:pt x="1136" y="2502"/>
                    </a:lnTo>
                    <a:lnTo>
                      <a:pt x="1134" y="2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8"/>
              <p:cNvSpPr>
                <a:spLocks/>
              </p:cNvSpPr>
              <p:nvPr userDrawn="1"/>
            </p:nvSpPr>
            <p:spPr bwMode="auto">
              <a:xfrm>
                <a:off x="362" y="3427"/>
                <a:ext cx="340" cy="340"/>
              </a:xfrm>
              <a:custGeom>
                <a:avLst/>
                <a:gdLst>
                  <a:gd name="T0" fmla="*/ 1009 w 1022"/>
                  <a:gd name="T1" fmla="*/ 1020 h 1020"/>
                  <a:gd name="T2" fmla="*/ 1003 w 1022"/>
                  <a:gd name="T3" fmla="*/ 1019 h 1020"/>
                  <a:gd name="T4" fmla="*/ 999 w 1022"/>
                  <a:gd name="T5" fmla="*/ 1017 h 1020"/>
                  <a:gd name="T6" fmla="*/ 5 w 1022"/>
                  <a:gd name="T7" fmla="*/ 22 h 1020"/>
                  <a:gd name="T8" fmla="*/ 1 w 1022"/>
                  <a:gd name="T9" fmla="*/ 18 h 1020"/>
                  <a:gd name="T10" fmla="*/ 0 w 1022"/>
                  <a:gd name="T11" fmla="*/ 13 h 1020"/>
                  <a:gd name="T12" fmla="*/ 1 w 1022"/>
                  <a:gd name="T13" fmla="*/ 7 h 1020"/>
                  <a:gd name="T14" fmla="*/ 5 w 1022"/>
                  <a:gd name="T15" fmla="*/ 3 h 1020"/>
                  <a:gd name="T16" fmla="*/ 9 w 1022"/>
                  <a:gd name="T17" fmla="*/ 0 h 1020"/>
                  <a:gd name="T18" fmla="*/ 14 w 1022"/>
                  <a:gd name="T19" fmla="*/ 0 h 1020"/>
                  <a:gd name="T20" fmla="*/ 20 w 1022"/>
                  <a:gd name="T21" fmla="*/ 0 h 1020"/>
                  <a:gd name="T22" fmla="*/ 24 w 1022"/>
                  <a:gd name="T23" fmla="*/ 3 h 1020"/>
                  <a:gd name="T24" fmla="*/ 1017 w 1022"/>
                  <a:gd name="T25" fmla="*/ 997 h 1020"/>
                  <a:gd name="T26" fmla="*/ 1021 w 1022"/>
                  <a:gd name="T27" fmla="*/ 1002 h 1020"/>
                  <a:gd name="T28" fmla="*/ 1022 w 1022"/>
                  <a:gd name="T29" fmla="*/ 1007 h 1020"/>
                  <a:gd name="T30" fmla="*/ 1021 w 1022"/>
                  <a:gd name="T31" fmla="*/ 1011 h 1020"/>
                  <a:gd name="T32" fmla="*/ 1017 w 1022"/>
                  <a:gd name="T33" fmla="*/ 1017 h 1020"/>
                  <a:gd name="T34" fmla="*/ 1013 w 1022"/>
                  <a:gd name="T35" fmla="*/ 1019 h 1020"/>
                  <a:gd name="T36" fmla="*/ 1009 w 1022"/>
                  <a:gd name="T37"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2" h="1020">
                    <a:moveTo>
                      <a:pt x="1009" y="1020"/>
                    </a:moveTo>
                    <a:lnTo>
                      <a:pt x="1003" y="1019"/>
                    </a:lnTo>
                    <a:lnTo>
                      <a:pt x="999" y="1017"/>
                    </a:lnTo>
                    <a:lnTo>
                      <a:pt x="5" y="22"/>
                    </a:lnTo>
                    <a:lnTo>
                      <a:pt x="1" y="18"/>
                    </a:lnTo>
                    <a:lnTo>
                      <a:pt x="0" y="13"/>
                    </a:lnTo>
                    <a:lnTo>
                      <a:pt x="1" y="7"/>
                    </a:lnTo>
                    <a:lnTo>
                      <a:pt x="5" y="3"/>
                    </a:lnTo>
                    <a:lnTo>
                      <a:pt x="9" y="0"/>
                    </a:lnTo>
                    <a:lnTo>
                      <a:pt x="14" y="0"/>
                    </a:lnTo>
                    <a:lnTo>
                      <a:pt x="20" y="0"/>
                    </a:lnTo>
                    <a:lnTo>
                      <a:pt x="24" y="3"/>
                    </a:lnTo>
                    <a:lnTo>
                      <a:pt x="1017" y="997"/>
                    </a:lnTo>
                    <a:lnTo>
                      <a:pt x="1021" y="1002"/>
                    </a:lnTo>
                    <a:lnTo>
                      <a:pt x="1022" y="1007"/>
                    </a:lnTo>
                    <a:lnTo>
                      <a:pt x="1021" y="1011"/>
                    </a:lnTo>
                    <a:lnTo>
                      <a:pt x="1017" y="1017"/>
                    </a:lnTo>
                    <a:lnTo>
                      <a:pt x="1013" y="1019"/>
                    </a:lnTo>
                    <a:lnTo>
                      <a:pt x="100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9"/>
              <p:cNvSpPr>
                <a:spLocks/>
              </p:cNvSpPr>
              <p:nvPr userDrawn="1"/>
            </p:nvSpPr>
            <p:spPr bwMode="auto">
              <a:xfrm>
                <a:off x="0" y="3049"/>
                <a:ext cx="548" cy="835"/>
              </a:xfrm>
              <a:custGeom>
                <a:avLst/>
                <a:gdLst>
                  <a:gd name="T0" fmla="*/ 1081 w 1645"/>
                  <a:gd name="T1" fmla="*/ 2503 h 2503"/>
                  <a:gd name="T2" fmla="*/ 1075 w 1645"/>
                  <a:gd name="T3" fmla="*/ 2502 h 2503"/>
                  <a:gd name="T4" fmla="*/ 1071 w 1645"/>
                  <a:gd name="T5" fmla="*/ 2499 h 2503"/>
                  <a:gd name="T6" fmla="*/ 0 w 1645"/>
                  <a:gd name="T7" fmla="*/ 1517 h 2503"/>
                  <a:gd name="T8" fmla="*/ 0 w 1645"/>
                  <a:gd name="T9" fmla="*/ 1480 h 2503"/>
                  <a:gd name="T10" fmla="*/ 1072 w 1645"/>
                  <a:gd name="T11" fmla="*/ 2464 h 2503"/>
                  <a:gd name="T12" fmla="*/ 1613 w 1645"/>
                  <a:gd name="T13" fmla="*/ 34 h 2503"/>
                  <a:gd name="T14" fmla="*/ 0 w 1645"/>
                  <a:gd name="T15" fmla="*/ 541 h 2503"/>
                  <a:gd name="T16" fmla="*/ 0 w 1645"/>
                  <a:gd name="T17" fmla="*/ 513 h 2503"/>
                  <a:gd name="T18" fmla="*/ 1627 w 1645"/>
                  <a:gd name="T19" fmla="*/ 1 h 2503"/>
                  <a:gd name="T20" fmla="*/ 1631 w 1645"/>
                  <a:gd name="T21" fmla="*/ 0 h 2503"/>
                  <a:gd name="T22" fmla="*/ 1634 w 1645"/>
                  <a:gd name="T23" fmla="*/ 0 h 2503"/>
                  <a:gd name="T24" fmla="*/ 1637 w 1645"/>
                  <a:gd name="T25" fmla="*/ 3 h 2503"/>
                  <a:gd name="T26" fmla="*/ 1640 w 1645"/>
                  <a:gd name="T27" fmla="*/ 4 h 2503"/>
                  <a:gd name="T28" fmla="*/ 1642 w 1645"/>
                  <a:gd name="T29" fmla="*/ 7 h 2503"/>
                  <a:gd name="T30" fmla="*/ 1643 w 1645"/>
                  <a:gd name="T31" fmla="*/ 10 h 2503"/>
                  <a:gd name="T32" fmla="*/ 1645 w 1645"/>
                  <a:gd name="T33" fmla="*/ 13 h 2503"/>
                  <a:gd name="T34" fmla="*/ 1645 w 1645"/>
                  <a:gd name="T35" fmla="*/ 17 h 2503"/>
                  <a:gd name="T36" fmla="*/ 1094 w 1645"/>
                  <a:gd name="T37" fmla="*/ 2493 h 2503"/>
                  <a:gd name="T38" fmla="*/ 1093 w 1645"/>
                  <a:gd name="T39" fmla="*/ 2496 h 2503"/>
                  <a:gd name="T40" fmla="*/ 1091 w 1645"/>
                  <a:gd name="T41" fmla="*/ 2498 h 2503"/>
                  <a:gd name="T42" fmla="*/ 1088 w 1645"/>
                  <a:gd name="T43" fmla="*/ 2500 h 2503"/>
                  <a:gd name="T44" fmla="*/ 1085 w 1645"/>
                  <a:gd name="T45" fmla="*/ 2503 h 2503"/>
                  <a:gd name="T46" fmla="*/ 1083 w 1645"/>
                  <a:gd name="T47" fmla="*/ 2503 h 2503"/>
                  <a:gd name="T48" fmla="*/ 1081 w 1645"/>
                  <a:gd name="T49" fmla="*/ 2503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5" h="2503">
                    <a:moveTo>
                      <a:pt x="1081" y="2503"/>
                    </a:moveTo>
                    <a:lnTo>
                      <a:pt x="1075" y="2502"/>
                    </a:lnTo>
                    <a:lnTo>
                      <a:pt x="1071" y="2499"/>
                    </a:lnTo>
                    <a:lnTo>
                      <a:pt x="0" y="1517"/>
                    </a:lnTo>
                    <a:lnTo>
                      <a:pt x="0" y="1480"/>
                    </a:lnTo>
                    <a:lnTo>
                      <a:pt x="1072" y="2464"/>
                    </a:lnTo>
                    <a:lnTo>
                      <a:pt x="1613" y="34"/>
                    </a:lnTo>
                    <a:lnTo>
                      <a:pt x="0" y="541"/>
                    </a:lnTo>
                    <a:lnTo>
                      <a:pt x="0" y="513"/>
                    </a:lnTo>
                    <a:lnTo>
                      <a:pt x="1627" y="1"/>
                    </a:lnTo>
                    <a:lnTo>
                      <a:pt x="1631" y="0"/>
                    </a:lnTo>
                    <a:lnTo>
                      <a:pt x="1634" y="0"/>
                    </a:lnTo>
                    <a:lnTo>
                      <a:pt x="1637" y="3"/>
                    </a:lnTo>
                    <a:lnTo>
                      <a:pt x="1640" y="4"/>
                    </a:lnTo>
                    <a:lnTo>
                      <a:pt x="1642" y="7"/>
                    </a:lnTo>
                    <a:lnTo>
                      <a:pt x="1643" y="10"/>
                    </a:lnTo>
                    <a:lnTo>
                      <a:pt x="1645" y="13"/>
                    </a:lnTo>
                    <a:lnTo>
                      <a:pt x="1645" y="17"/>
                    </a:lnTo>
                    <a:lnTo>
                      <a:pt x="1094" y="2493"/>
                    </a:lnTo>
                    <a:lnTo>
                      <a:pt x="1093" y="2496"/>
                    </a:lnTo>
                    <a:lnTo>
                      <a:pt x="1091" y="2498"/>
                    </a:lnTo>
                    <a:lnTo>
                      <a:pt x="1088" y="2500"/>
                    </a:lnTo>
                    <a:lnTo>
                      <a:pt x="1085" y="2503"/>
                    </a:lnTo>
                    <a:lnTo>
                      <a:pt x="1083" y="2503"/>
                    </a:lnTo>
                    <a:lnTo>
                      <a:pt x="1081" y="2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0"/>
              <p:cNvSpPr>
                <a:spLocks/>
              </p:cNvSpPr>
              <p:nvPr userDrawn="1"/>
            </p:nvSpPr>
            <p:spPr bwMode="auto">
              <a:xfrm>
                <a:off x="343" y="3427"/>
                <a:ext cx="341" cy="340"/>
              </a:xfrm>
              <a:custGeom>
                <a:avLst/>
                <a:gdLst>
                  <a:gd name="T0" fmla="*/ 1008 w 1022"/>
                  <a:gd name="T1" fmla="*/ 1020 h 1020"/>
                  <a:gd name="T2" fmla="*/ 1002 w 1022"/>
                  <a:gd name="T3" fmla="*/ 1019 h 1020"/>
                  <a:gd name="T4" fmla="*/ 998 w 1022"/>
                  <a:gd name="T5" fmla="*/ 1017 h 1020"/>
                  <a:gd name="T6" fmla="*/ 4 w 1022"/>
                  <a:gd name="T7" fmla="*/ 22 h 1020"/>
                  <a:gd name="T8" fmla="*/ 1 w 1022"/>
                  <a:gd name="T9" fmla="*/ 18 h 1020"/>
                  <a:gd name="T10" fmla="*/ 0 w 1022"/>
                  <a:gd name="T11" fmla="*/ 13 h 1020"/>
                  <a:gd name="T12" fmla="*/ 1 w 1022"/>
                  <a:gd name="T13" fmla="*/ 7 h 1020"/>
                  <a:gd name="T14" fmla="*/ 4 w 1022"/>
                  <a:gd name="T15" fmla="*/ 3 h 1020"/>
                  <a:gd name="T16" fmla="*/ 9 w 1022"/>
                  <a:gd name="T17" fmla="*/ 0 h 1020"/>
                  <a:gd name="T18" fmla="*/ 13 w 1022"/>
                  <a:gd name="T19" fmla="*/ 0 h 1020"/>
                  <a:gd name="T20" fmla="*/ 18 w 1022"/>
                  <a:gd name="T21" fmla="*/ 0 h 1020"/>
                  <a:gd name="T22" fmla="*/ 23 w 1022"/>
                  <a:gd name="T23" fmla="*/ 3 h 1020"/>
                  <a:gd name="T24" fmla="*/ 1017 w 1022"/>
                  <a:gd name="T25" fmla="*/ 997 h 1020"/>
                  <a:gd name="T26" fmla="*/ 1020 w 1022"/>
                  <a:gd name="T27" fmla="*/ 1002 h 1020"/>
                  <a:gd name="T28" fmla="*/ 1022 w 1022"/>
                  <a:gd name="T29" fmla="*/ 1007 h 1020"/>
                  <a:gd name="T30" fmla="*/ 1020 w 1022"/>
                  <a:gd name="T31" fmla="*/ 1011 h 1020"/>
                  <a:gd name="T32" fmla="*/ 1017 w 1022"/>
                  <a:gd name="T33" fmla="*/ 1017 h 1020"/>
                  <a:gd name="T34" fmla="*/ 1013 w 1022"/>
                  <a:gd name="T35" fmla="*/ 1019 h 1020"/>
                  <a:gd name="T36" fmla="*/ 1008 w 1022"/>
                  <a:gd name="T37"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2" h="1020">
                    <a:moveTo>
                      <a:pt x="1008" y="1020"/>
                    </a:moveTo>
                    <a:lnTo>
                      <a:pt x="1002" y="1019"/>
                    </a:lnTo>
                    <a:lnTo>
                      <a:pt x="998" y="1017"/>
                    </a:lnTo>
                    <a:lnTo>
                      <a:pt x="4" y="22"/>
                    </a:lnTo>
                    <a:lnTo>
                      <a:pt x="1" y="18"/>
                    </a:lnTo>
                    <a:lnTo>
                      <a:pt x="0" y="13"/>
                    </a:lnTo>
                    <a:lnTo>
                      <a:pt x="1" y="7"/>
                    </a:lnTo>
                    <a:lnTo>
                      <a:pt x="4" y="3"/>
                    </a:lnTo>
                    <a:lnTo>
                      <a:pt x="9" y="0"/>
                    </a:lnTo>
                    <a:lnTo>
                      <a:pt x="13" y="0"/>
                    </a:lnTo>
                    <a:lnTo>
                      <a:pt x="18" y="0"/>
                    </a:lnTo>
                    <a:lnTo>
                      <a:pt x="23" y="3"/>
                    </a:lnTo>
                    <a:lnTo>
                      <a:pt x="1017" y="997"/>
                    </a:lnTo>
                    <a:lnTo>
                      <a:pt x="1020" y="1002"/>
                    </a:lnTo>
                    <a:lnTo>
                      <a:pt x="1022" y="1007"/>
                    </a:lnTo>
                    <a:lnTo>
                      <a:pt x="1020" y="1011"/>
                    </a:lnTo>
                    <a:lnTo>
                      <a:pt x="1017" y="1017"/>
                    </a:lnTo>
                    <a:lnTo>
                      <a:pt x="1013" y="1019"/>
                    </a:lnTo>
                    <a:lnTo>
                      <a:pt x="1008"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1"/>
              <p:cNvSpPr>
                <a:spLocks/>
              </p:cNvSpPr>
              <p:nvPr userDrawn="1"/>
            </p:nvSpPr>
            <p:spPr bwMode="auto">
              <a:xfrm>
                <a:off x="3382" y="2897"/>
                <a:ext cx="553" cy="553"/>
              </a:xfrm>
              <a:custGeom>
                <a:avLst/>
                <a:gdLst>
                  <a:gd name="T0" fmla="*/ 1647 w 1660"/>
                  <a:gd name="T1" fmla="*/ 1659 h 1659"/>
                  <a:gd name="T2" fmla="*/ 1641 w 1660"/>
                  <a:gd name="T3" fmla="*/ 1658 h 1659"/>
                  <a:gd name="T4" fmla="*/ 1637 w 1660"/>
                  <a:gd name="T5" fmla="*/ 1656 h 1659"/>
                  <a:gd name="T6" fmla="*/ 4 w 1660"/>
                  <a:gd name="T7" fmla="*/ 23 h 1659"/>
                  <a:gd name="T8" fmla="*/ 1 w 1660"/>
                  <a:gd name="T9" fmla="*/ 19 h 1659"/>
                  <a:gd name="T10" fmla="*/ 0 w 1660"/>
                  <a:gd name="T11" fmla="*/ 14 h 1659"/>
                  <a:gd name="T12" fmla="*/ 1 w 1660"/>
                  <a:gd name="T13" fmla="*/ 8 h 1659"/>
                  <a:gd name="T14" fmla="*/ 4 w 1660"/>
                  <a:gd name="T15" fmla="*/ 4 h 1659"/>
                  <a:gd name="T16" fmla="*/ 9 w 1660"/>
                  <a:gd name="T17" fmla="*/ 1 h 1659"/>
                  <a:gd name="T18" fmla="*/ 14 w 1660"/>
                  <a:gd name="T19" fmla="*/ 0 h 1659"/>
                  <a:gd name="T20" fmla="*/ 18 w 1660"/>
                  <a:gd name="T21" fmla="*/ 1 h 1659"/>
                  <a:gd name="T22" fmla="*/ 24 w 1660"/>
                  <a:gd name="T23" fmla="*/ 4 h 1659"/>
                  <a:gd name="T24" fmla="*/ 1656 w 1660"/>
                  <a:gd name="T25" fmla="*/ 1636 h 1659"/>
                  <a:gd name="T26" fmla="*/ 1659 w 1660"/>
                  <a:gd name="T27" fmla="*/ 1641 h 1659"/>
                  <a:gd name="T28" fmla="*/ 1660 w 1660"/>
                  <a:gd name="T29" fmla="*/ 1646 h 1659"/>
                  <a:gd name="T30" fmla="*/ 1659 w 1660"/>
                  <a:gd name="T31" fmla="*/ 1650 h 1659"/>
                  <a:gd name="T32" fmla="*/ 1656 w 1660"/>
                  <a:gd name="T33" fmla="*/ 1656 h 1659"/>
                  <a:gd name="T34" fmla="*/ 1651 w 1660"/>
                  <a:gd name="T35" fmla="*/ 1658 h 1659"/>
                  <a:gd name="T36" fmla="*/ 1647 w 1660"/>
                  <a:gd name="T37" fmla="*/ 1659 h 1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60" h="1659">
                    <a:moveTo>
                      <a:pt x="1647" y="1659"/>
                    </a:moveTo>
                    <a:lnTo>
                      <a:pt x="1641" y="1658"/>
                    </a:lnTo>
                    <a:lnTo>
                      <a:pt x="1637" y="1656"/>
                    </a:lnTo>
                    <a:lnTo>
                      <a:pt x="4" y="23"/>
                    </a:lnTo>
                    <a:lnTo>
                      <a:pt x="1" y="19"/>
                    </a:lnTo>
                    <a:lnTo>
                      <a:pt x="0" y="14"/>
                    </a:lnTo>
                    <a:lnTo>
                      <a:pt x="1" y="8"/>
                    </a:lnTo>
                    <a:lnTo>
                      <a:pt x="4" y="4"/>
                    </a:lnTo>
                    <a:lnTo>
                      <a:pt x="9" y="1"/>
                    </a:lnTo>
                    <a:lnTo>
                      <a:pt x="14" y="0"/>
                    </a:lnTo>
                    <a:lnTo>
                      <a:pt x="18" y="1"/>
                    </a:lnTo>
                    <a:lnTo>
                      <a:pt x="24" y="4"/>
                    </a:lnTo>
                    <a:lnTo>
                      <a:pt x="1656" y="1636"/>
                    </a:lnTo>
                    <a:lnTo>
                      <a:pt x="1659" y="1641"/>
                    </a:lnTo>
                    <a:lnTo>
                      <a:pt x="1660" y="1646"/>
                    </a:lnTo>
                    <a:lnTo>
                      <a:pt x="1659" y="1650"/>
                    </a:lnTo>
                    <a:lnTo>
                      <a:pt x="1656" y="1656"/>
                    </a:lnTo>
                    <a:lnTo>
                      <a:pt x="1651" y="1658"/>
                    </a:lnTo>
                    <a:lnTo>
                      <a:pt x="1647" y="16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2"/>
              <p:cNvSpPr>
                <a:spLocks/>
              </p:cNvSpPr>
              <p:nvPr userDrawn="1"/>
            </p:nvSpPr>
            <p:spPr bwMode="auto">
              <a:xfrm>
                <a:off x="4095" y="3593"/>
                <a:ext cx="270" cy="269"/>
              </a:xfrm>
              <a:custGeom>
                <a:avLst/>
                <a:gdLst>
                  <a:gd name="T0" fmla="*/ 794 w 808"/>
                  <a:gd name="T1" fmla="*/ 808 h 808"/>
                  <a:gd name="T2" fmla="*/ 789 w 808"/>
                  <a:gd name="T3" fmla="*/ 807 h 808"/>
                  <a:gd name="T4" fmla="*/ 785 w 808"/>
                  <a:gd name="T5" fmla="*/ 804 h 808"/>
                  <a:gd name="T6" fmla="*/ 4 w 808"/>
                  <a:gd name="T7" fmla="*/ 24 h 808"/>
                  <a:gd name="T8" fmla="*/ 1 w 808"/>
                  <a:gd name="T9" fmla="*/ 19 h 808"/>
                  <a:gd name="T10" fmla="*/ 0 w 808"/>
                  <a:gd name="T11" fmla="*/ 14 h 808"/>
                  <a:gd name="T12" fmla="*/ 1 w 808"/>
                  <a:gd name="T13" fmla="*/ 9 h 808"/>
                  <a:gd name="T14" fmla="*/ 4 w 808"/>
                  <a:gd name="T15" fmla="*/ 5 h 808"/>
                  <a:gd name="T16" fmla="*/ 9 w 808"/>
                  <a:gd name="T17" fmla="*/ 2 h 808"/>
                  <a:gd name="T18" fmla="*/ 14 w 808"/>
                  <a:gd name="T19" fmla="*/ 0 h 808"/>
                  <a:gd name="T20" fmla="*/ 20 w 808"/>
                  <a:gd name="T21" fmla="*/ 2 h 808"/>
                  <a:gd name="T22" fmla="*/ 24 w 808"/>
                  <a:gd name="T23" fmla="*/ 5 h 808"/>
                  <a:gd name="T24" fmla="*/ 803 w 808"/>
                  <a:gd name="T25" fmla="*/ 784 h 808"/>
                  <a:gd name="T26" fmla="*/ 807 w 808"/>
                  <a:gd name="T27" fmla="*/ 790 h 808"/>
                  <a:gd name="T28" fmla="*/ 808 w 808"/>
                  <a:gd name="T29" fmla="*/ 794 h 808"/>
                  <a:gd name="T30" fmla="*/ 807 w 808"/>
                  <a:gd name="T31" fmla="*/ 799 h 808"/>
                  <a:gd name="T32" fmla="*/ 803 w 808"/>
                  <a:gd name="T33" fmla="*/ 804 h 808"/>
                  <a:gd name="T34" fmla="*/ 799 w 808"/>
                  <a:gd name="T35" fmla="*/ 807 h 808"/>
                  <a:gd name="T36" fmla="*/ 794 w 808"/>
                  <a:gd name="T37"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8" h="808">
                    <a:moveTo>
                      <a:pt x="794" y="808"/>
                    </a:moveTo>
                    <a:lnTo>
                      <a:pt x="789" y="807"/>
                    </a:lnTo>
                    <a:lnTo>
                      <a:pt x="785" y="804"/>
                    </a:lnTo>
                    <a:lnTo>
                      <a:pt x="4" y="24"/>
                    </a:lnTo>
                    <a:lnTo>
                      <a:pt x="1" y="19"/>
                    </a:lnTo>
                    <a:lnTo>
                      <a:pt x="0" y="14"/>
                    </a:lnTo>
                    <a:lnTo>
                      <a:pt x="1" y="9"/>
                    </a:lnTo>
                    <a:lnTo>
                      <a:pt x="4" y="5"/>
                    </a:lnTo>
                    <a:lnTo>
                      <a:pt x="9" y="2"/>
                    </a:lnTo>
                    <a:lnTo>
                      <a:pt x="14" y="0"/>
                    </a:lnTo>
                    <a:lnTo>
                      <a:pt x="20" y="2"/>
                    </a:lnTo>
                    <a:lnTo>
                      <a:pt x="24" y="5"/>
                    </a:lnTo>
                    <a:lnTo>
                      <a:pt x="803" y="784"/>
                    </a:lnTo>
                    <a:lnTo>
                      <a:pt x="807" y="790"/>
                    </a:lnTo>
                    <a:lnTo>
                      <a:pt x="808" y="794"/>
                    </a:lnTo>
                    <a:lnTo>
                      <a:pt x="807" y="799"/>
                    </a:lnTo>
                    <a:lnTo>
                      <a:pt x="803" y="804"/>
                    </a:lnTo>
                    <a:lnTo>
                      <a:pt x="799" y="807"/>
                    </a:lnTo>
                    <a:lnTo>
                      <a:pt x="794" y="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3"/>
              <p:cNvSpPr>
                <a:spLocks/>
              </p:cNvSpPr>
              <p:nvPr userDrawn="1"/>
            </p:nvSpPr>
            <p:spPr bwMode="auto">
              <a:xfrm>
                <a:off x="4667" y="1876"/>
                <a:ext cx="412" cy="412"/>
              </a:xfrm>
              <a:custGeom>
                <a:avLst/>
                <a:gdLst>
                  <a:gd name="T0" fmla="*/ 1227 w 1236"/>
                  <a:gd name="T1" fmla="*/ 1236 h 1236"/>
                  <a:gd name="T2" fmla="*/ 1223 w 1236"/>
                  <a:gd name="T3" fmla="*/ 1235 h 1236"/>
                  <a:gd name="T4" fmla="*/ 1220 w 1236"/>
                  <a:gd name="T5" fmla="*/ 1233 h 1236"/>
                  <a:gd name="T6" fmla="*/ 3 w 1236"/>
                  <a:gd name="T7" fmla="*/ 16 h 1236"/>
                  <a:gd name="T8" fmla="*/ 1 w 1236"/>
                  <a:gd name="T9" fmla="*/ 13 h 1236"/>
                  <a:gd name="T10" fmla="*/ 0 w 1236"/>
                  <a:gd name="T11" fmla="*/ 10 h 1236"/>
                  <a:gd name="T12" fmla="*/ 1 w 1236"/>
                  <a:gd name="T13" fmla="*/ 7 h 1236"/>
                  <a:gd name="T14" fmla="*/ 3 w 1236"/>
                  <a:gd name="T15" fmla="*/ 4 h 1236"/>
                  <a:gd name="T16" fmla="*/ 6 w 1236"/>
                  <a:gd name="T17" fmla="*/ 1 h 1236"/>
                  <a:gd name="T18" fmla="*/ 10 w 1236"/>
                  <a:gd name="T19" fmla="*/ 0 h 1236"/>
                  <a:gd name="T20" fmla="*/ 13 w 1236"/>
                  <a:gd name="T21" fmla="*/ 1 h 1236"/>
                  <a:gd name="T22" fmla="*/ 16 w 1236"/>
                  <a:gd name="T23" fmla="*/ 4 h 1236"/>
                  <a:gd name="T24" fmla="*/ 1233 w 1236"/>
                  <a:gd name="T25" fmla="*/ 1220 h 1236"/>
                  <a:gd name="T26" fmla="*/ 1235 w 1236"/>
                  <a:gd name="T27" fmla="*/ 1223 h 1236"/>
                  <a:gd name="T28" fmla="*/ 1236 w 1236"/>
                  <a:gd name="T29" fmla="*/ 1227 h 1236"/>
                  <a:gd name="T30" fmla="*/ 1235 w 1236"/>
                  <a:gd name="T31" fmla="*/ 1230 h 1236"/>
                  <a:gd name="T32" fmla="*/ 1233 w 1236"/>
                  <a:gd name="T33" fmla="*/ 1233 h 1236"/>
                  <a:gd name="T34" fmla="*/ 1230 w 1236"/>
                  <a:gd name="T35" fmla="*/ 1235 h 1236"/>
                  <a:gd name="T36" fmla="*/ 1227 w 1236"/>
                  <a:gd name="T37" fmla="*/ 1236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6" h="1236">
                    <a:moveTo>
                      <a:pt x="1227" y="1236"/>
                    </a:moveTo>
                    <a:lnTo>
                      <a:pt x="1223" y="1235"/>
                    </a:lnTo>
                    <a:lnTo>
                      <a:pt x="1220" y="1233"/>
                    </a:lnTo>
                    <a:lnTo>
                      <a:pt x="3" y="16"/>
                    </a:lnTo>
                    <a:lnTo>
                      <a:pt x="1" y="13"/>
                    </a:lnTo>
                    <a:lnTo>
                      <a:pt x="0" y="10"/>
                    </a:lnTo>
                    <a:lnTo>
                      <a:pt x="1" y="7"/>
                    </a:lnTo>
                    <a:lnTo>
                      <a:pt x="3" y="4"/>
                    </a:lnTo>
                    <a:lnTo>
                      <a:pt x="6" y="1"/>
                    </a:lnTo>
                    <a:lnTo>
                      <a:pt x="10" y="0"/>
                    </a:lnTo>
                    <a:lnTo>
                      <a:pt x="13" y="1"/>
                    </a:lnTo>
                    <a:lnTo>
                      <a:pt x="16" y="4"/>
                    </a:lnTo>
                    <a:lnTo>
                      <a:pt x="1233" y="1220"/>
                    </a:lnTo>
                    <a:lnTo>
                      <a:pt x="1235" y="1223"/>
                    </a:lnTo>
                    <a:lnTo>
                      <a:pt x="1236" y="1227"/>
                    </a:lnTo>
                    <a:lnTo>
                      <a:pt x="1235" y="1230"/>
                    </a:lnTo>
                    <a:lnTo>
                      <a:pt x="1233" y="1233"/>
                    </a:lnTo>
                    <a:lnTo>
                      <a:pt x="1230" y="1235"/>
                    </a:lnTo>
                    <a:lnTo>
                      <a:pt x="1227" y="1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4"/>
              <p:cNvSpPr>
                <a:spLocks/>
              </p:cNvSpPr>
              <p:nvPr userDrawn="1"/>
            </p:nvSpPr>
            <p:spPr bwMode="auto">
              <a:xfrm>
                <a:off x="155" y="2075"/>
                <a:ext cx="232" cy="232"/>
              </a:xfrm>
              <a:custGeom>
                <a:avLst/>
                <a:gdLst>
                  <a:gd name="T0" fmla="*/ 685 w 698"/>
                  <a:gd name="T1" fmla="*/ 697 h 697"/>
                  <a:gd name="T2" fmla="*/ 680 w 698"/>
                  <a:gd name="T3" fmla="*/ 696 h 697"/>
                  <a:gd name="T4" fmla="*/ 675 w 698"/>
                  <a:gd name="T5" fmla="*/ 694 h 697"/>
                  <a:gd name="T6" fmla="*/ 4 w 698"/>
                  <a:gd name="T7" fmla="*/ 23 h 697"/>
                  <a:gd name="T8" fmla="*/ 1 w 698"/>
                  <a:gd name="T9" fmla="*/ 18 h 697"/>
                  <a:gd name="T10" fmla="*/ 0 w 698"/>
                  <a:gd name="T11" fmla="*/ 13 h 697"/>
                  <a:gd name="T12" fmla="*/ 1 w 698"/>
                  <a:gd name="T13" fmla="*/ 8 h 697"/>
                  <a:gd name="T14" fmla="*/ 4 w 698"/>
                  <a:gd name="T15" fmla="*/ 3 h 697"/>
                  <a:gd name="T16" fmla="*/ 9 w 698"/>
                  <a:gd name="T17" fmla="*/ 1 h 697"/>
                  <a:gd name="T18" fmla="*/ 13 w 698"/>
                  <a:gd name="T19" fmla="*/ 0 h 697"/>
                  <a:gd name="T20" fmla="*/ 19 w 698"/>
                  <a:gd name="T21" fmla="*/ 1 h 697"/>
                  <a:gd name="T22" fmla="*/ 23 w 698"/>
                  <a:gd name="T23" fmla="*/ 3 h 697"/>
                  <a:gd name="T24" fmla="*/ 695 w 698"/>
                  <a:gd name="T25" fmla="*/ 675 h 697"/>
                  <a:gd name="T26" fmla="*/ 698 w 698"/>
                  <a:gd name="T27" fmla="*/ 679 h 697"/>
                  <a:gd name="T28" fmla="*/ 698 w 698"/>
                  <a:gd name="T29" fmla="*/ 684 h 697"/>
                  <a:gd name="T30" fmla="*/ 698 w 698"/>
                  <a:gd name="T31" fmla="*/ 690 h 697"/>
                  <a:gd name="T32" fmla="*/ 695 w 698"/>
                  <a:gd name="T33" fmla="*/ 694 h 697"/>
                  <a:gd name="T34" fmla="*/ 690 w 698"/>
                  <a:gd name="T35" fmla="*/ 696 h 697"/>
                  <a:gd name="T36" fmla="*/ 685 w 698"/>
                  <a:gd name="T37"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8" h="697">
                    <a:moveTo>
                      <a:pt x="685" y="697"/>
                    </a:moveTo>
                    <a:lnTo>
                      <a:pt x="680" y="696"/>
                    </a:lnTo>
                    <a:lnTo>
                      <a:pt x="675" y="694"/>
                    </a:lnTo>
                    <a:lnTo>
                      <a:pt x="4" y="23"/>
                    </a:lnTo>
                    <a:lnTo>
                      <a:pt x="1" y="18"/>
                    </a:lnTo>
                    <a:lnTo>
                      <a:pt x="0" y="13"/>
                    </a:lnTo>
                    <a:lnTo>
                      <a:pt x="1" y="8"/>
                    </a:lnTo>
                    <a:lnTo>
                      <a:pt x="4" y="3"/>
                    </a:lnTo>
                    <a:lnTo>
                      <a:pt x="9" y="1"/>
                    </a:lnTo>
                    <a:lnTo>
                      <a:pt x="13" y="0"/>
                    </a:lnTo>
                    <a:lnTo>
                      <a:pt x="19" y="1"/>
                    </a:lnTo>
                    <a:lnTo>
                      <a:pt x="23" y="3"/>
                    </a:lnTo>
                    <a:lnTo>
                      <a:pt x="695" y="675"/>
                    </a:lnTo>
                    <a:lnTo>
                      <a:pt x="698" y="679"/>
                    </a:lnTo>
                    <a:lnTo>
                      <a:pt x="698" y="684"/>
                    </a:lnTo>
                    <a:lnTo>
                      <a:pt x="698" y="690"/>
                    </a:lnTo>
                    <a:lnTo>
                      <a:pt x="695" y="694"/>
                    </a:lnTo>
                    <a:lnTo>
                      <a:pt x="690" y="696"/>
                    </a:lnTo>
                    <a:lnTo>
                      <a:pt x="685" y="6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5"/>
              <p:cNvSpPr>
                <a:spLocks/>
              </p:cNvSpPr>
              <p:nvPr userDrawn="1"/>
            </p:nvSpPr>
            <p:spPr bwMode="auto">
              <a:xfrm>
                <a:off x="3057" y="2939"/>
                <a:ext cx="233" cy="233"/>
              </a:xfrm>
              <a:custGeom>
                <a:avLst/>
                <a:gdLst>
                  <a:gd name="T0" fmla="*/ 685 w 697"/>
                  <a:gd name="T1" fmla="*/ 698 h 698"/>
                  <a:gd name="T2" fmla="*/ 679 w 697"/>
                  <a:gd name="T3" fmla="*/ 697 h 698"/>
                  <a:gd name="T4" fmla="*/ 675 w 697"/>
                  <a:gd name="T5" fmla="*/ 694 h 698"/>
                  <a:gd name="T6" fmla="*/ 3 w 697"/>
                  <a:gd name="T7" fmla="*/ 24 h 698"/>
                  <a:gd name="T8" fmla="*/ 1 w 697"/>
                  <a:gd name="T9" fmla="*/ 18 h 698"/>
                  <a:gd name="T10" fmla="*/ 0 w 697"/>
                  <a:gd name="T11" fmla="*/ 14 h 698"/>
                  <a:gd name="T12" fmla="*/ 1 w 697"/>
                  <a:gd name="T13" fmla="*/ 9 h 698"/>
                  <a:gd name="T14" fmla="*/ 3 w 697"/>
                  <a:gd name="T15" fmla="*/ 4 h 698"/>
                  <a:gd name="T16" fmla="*/ 9 w 697"/>
                  <a:gd name="T17" fmla="*/ 1 h 698"/>
                  <a:gd name="T18" fmla="*/ 13 w 697"/>
                  <a:gd name="T19" fmla="*/ 0 h 698"/>
                  <a:gd name="T20" fmla="*/ 18 w 697"/>
                  <a:gd name="T21" fmla="*/ 1 h 698"/>
                  <a:gd name="T22" fmla="*/ 23 w 697"/>
                  <a:gd name="T23" fmla="*/ 4 h 698"/>
                  <a:gd name="T24" fmla="*/ 694 w 697"/>
                  <a:gd name="T25" fmla="*/ 676 h 698"/>
                  <a:gd name="T26" fmla="*/ 697 w 697"/>
                  <a:gd name="T27" fmla="*/ 680 h 698"/>
                  <a:gd name="T28" fmla="*/ 697 w 697"/>
                  <a:gd name="T29" fmla="*/ 684 h 698"/>
                  <a:gd name="T30" fmla="*/ 697 w 697"/>
                  <a:gd name="T31" fmla="*/ 690 h 698"/>
                  <a:gd name="T32" fmla="*/ 694 w 697"/>
                  <a:gd name="T33" fmla="*/ 694 h 698"/>
                  <a:gd name="T34" fmla="*/ 690 w 697"/>
                  <a:gd name="T35" fmla="*/ 697 h 698"/>
                  <a:gd name="T36" fmla="*/ 685 w 697"/>
                  <a:gd name="T37"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7" h="698">
                    <a:moveTo>
                      <a:pt x="685" y="698"/>
                    </a:moveTo>
                    <a:lnTo>
                      <a:pt x="679" y="697"/>
                    </a:lnTo>
                    <a:lnTo>
                      <a:pt x="675" y="694"/>
                    </a:lnTo>
                    <a:lnTo>
                      <a:pt x="3" y="24"/>
                    </a:lnTo>
                    <a:lnTo>
                      <a:pt x="1" y="18"/>
                    </a:lnTo>
                    <a:lnTo>
                      <a:pt x="0" y="14"/>
                    </a:lnTo>
                    <a:lnTo>
                      <a:pt x="1" y="9"/>
                    </a:lnTo>
                    <a:lnTo>
                      <a:pt x="3" y="4"/>
                    </a:lnTo>
                    <a:lnTo>
                      <a:pt x="9" y="1"/>
                    </a:lnTo>
                    <a:lnTo>
                      <a:pt x="13" y="0"/>
                    </a:lnTo>
                    <a:lnTo>
                      <a:pt x="18" y="1"/>
                    </a:lnTo>
                    <a:lnTo>
                      <a:pt x="23" y="4"/>
                    </a:lnTo>
                    <a:lnTo>
                      <a:pt x="694" y="676"/>
                    </a:lnTo>
                    <a:lnTo>
                      <a:pt x="697" y="680"/>
                    </a:lnTo>
                    <a:lnTo>
                      <a:pt x="697" y="684"/>
                    </a:lnTo>
                    <a:lnTo>
                      <a:pt x="697" y="690"/>
                    </a:lnTo>
                    <a:lnTo>
                      <a:pt x="694" y="694"/>
                    </a:lnTo>
                    <a:lnTo>
                      <a:pt x="690" y="697"/>
                    </a:lnTo>
                    <a:lnTo>
                      <a:pt x="685" y="6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6"/>
              <p:cNvSpPr>
                <a:spLocks noEditPoints="1"/>
              </p:cNvSpPr>
              <p:nvPr userDrawn="1"/>
            </p:nvSpPr>
            <p:spPr bwMode="auto">
              <a:xfrm>
                <a:off x="233" y="2717"/>
                <a:ext cx="202" cy="204"/>
              </a:xfrm>
              <a:custGeom>
                <a:avLst/>
                <a:gdLst>
                  <a:gd name="T0" fmla="*/ 449 w 604"/>
                  <a:gd name="T1" fmla="*/ 612 h 612"/>
                  <a:gd name="T2" fmla="*/ 444 w 604"/>
                  <a:gd name="T3" fmla="*/ 611 h 612"/>
                  <a:gd name="T4" fmla="*/ 439 w 604"/>
                  <a:gd name="T5" fmla="*/ 609 h 612"/>
                  <a:gd name="T6" fmla="*/ 4 w 604"/>
                  <a:gd name="T7" fmla="*/ 193 h 612"/>
                  <a:gd name="T8" fmla="*/ 2 w 604"/>
                  <a:gd name="T9" fmla="*/ 191 h 612"/>
                  <a:gd name="T10" fmla="*/ 0 w 604"/>
                  <a:gd name="T11" fmla="*/ 188 h 612"/>
                  <a:gd name="T12" fmla="*/ 0 w 604"/>
                  <a:gd name="T13" fmla="*/ 184 h 612"/>
                  <a:gd name="T14" fmla="*/ 0 w 604"/>
                  <a:gd name="T15" fmla="*/ 180 h 612"/>
                  <a:gd name="T16" fmla="*/ 1 w 604"/>
                  <a:gd name="T17" fmla="*/ 177 h 612"/>
                  <a:gd name="T18" fmla="*/ 3 w 604"/>
                  <a:gd name="T19" fmla="*/ 175 h 612"/>
                  <a:gd name="T20" fmla="*/ 6 w 604"/>
                  <a:gd name="T21" fmla="*/ 173 h 612"/>
                  <a:gd name="T22" fmla="*/ 9 w 604"/>
                  <a:gd name="T23" fmla="*/ 170 h 612"/>
                  <a:gd name="T24" fmla="*/ 586 w 604"/>
                  <a:gd name="T25" fmla="*/ 1 h 612"/>
                  <a:gd name="T26" fmla="*/ 590 w 604"/>
                  <a:gd name="T27" fmla="*/ 0 h 612"/>
                  <a:gd name="T28" fmla="*/ 594 w 604"/>
                  <a:gd name="T29" fmla="*/ 1 h 612"/>
                  <a:gd name="T30" fmla="*/ 597 w 604"/>
                  <a:gd name="T31" fmla="*/ 2 h 612"/>
                  <a:gd name="T32" fmla="*/ 600 w 604"/>
                  <a:gd name="T33" fmla="*/ 4 h 612"/>
                  <a:gd name="T34" fmla="*/ 602 w 604"/>
                  <a:gd name="T35" fmla="*/ 6 h 612"/>
                  <a:gd name="T36" fmla="*/ 603 w 604"/>
                  <a:gd name="T37" fmla="*/ 10 h 612"/>
                  <a:gd name="T38" fmla="*/ 604 w 604"/>
                  <a:gd name="T39" fmla="*/ 14 h 612"/>
                  <a:gd name="T40" fmla="*/ 603 w 604"/>
                  <a:gd name="T41" fmla="*/ 17 h 612"/>
                  <a:gd name="T42" fmla="*/ 462 w 604"/>
                  <a:gd name="T43" fmla="*/ 601 h 612"/>
                  <a:gd name="T44" fmla="*/ 461 w 604"/>
                  <a:gd name="T45" fmla="*/ 604 h 612"/>
                  <a:gd name="T46" fmla="*/ 459 w 604"/>
                  <a:gd name="T47" fmla="*/ 608 h 612"/>
                  <a:gd name="T48" fmla="*/ 456 w 604"/>
                  <a:gd name="T49" fmla="*/ 610 h 612"/>
                  <a:gd name="T50" fmla="*/ 453 w 604"/>
                  <a:gd name="T51" fmla="*/ 611 h 612"/>
                  <a:gd name="T52" fmla="*/ 451 w 604"/>
                  <a:gd name="T53" fmla="*/ 612 h 612"/>
                  <a:gd name="T54" fmla="*/ 449 w 604"/>
                  <a:gd name="T55" fmla="*/ 612 h 612"/>
                  <a:gd name="T56" fmla="*/ 40 w 604"/>
                  <a:gd name="T57" fmla="*/ 190 h 612"/>
                  <a:gd name="T58" fmla="*/ 40 w 604"/>
                  <a:gd name="T59" fmla="*/ 190 h 612"/>
                  <a:gd name="T60" fmla="*/ 441 w 604"/>
                  <a:gd name="T61" fmla="*/ 572 h 612"/>
                  <a:gd name="T62" fmla="*/ 572 w 604"/>
                  <a:gd name="T63" fmla="*/ 33 h 612"/>
                  <a:gd name="T64" fmla="*/ 40 w 604"/>
                  <a:gd name="T65" fmla="*/ 190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4" h="612">
                    <a:moveTo>
                      <a:pt x="449" y="612"/>
                    </a:moveTo>
                    <a:lnTo>
                      <a:pt x="444" y="611"/>
                    </a:lnTo>
                    <a:lnTo>
                      <a:pt x="439" y="609"/>
                    </a:lnTo>
                    <a:lnTo>
                      <a:pt x="4" y="193"/>
                    </a:lnTo>
                    <a:lnTo>
                      <a:pt x="2" y="191"/>
                    </a:lnTo>
                    <a:lnTo>
                      <a:pt x="0" y="188"/>
                    </a:lnTo>
                    <a:lnTo>
                      <a:pt x="0" y="184"/>
                    </a:lnTo>
                    <a:lnTo>
                      <a:pt x="0" y="180"/>
                    </a:lnTo>
                    <a:lnTo>
                      <a:pt x="1" y="177"/>
                    </a:lnTo>
                    <a:lnTo>
                      <a:pt x="3" y="175"/>
                    </a:lnTo>
                    <a:lnTo>
                      <a:pt x="6" y="173"/>
                    </a:lnTo>
                    <a:lnTo>
                      <a:pt x="9" y="170"/>
                    </a:lnTo>
                    <a:lnTo>
                      <a:pt x="586" y="1"/>
                    </a:lnTo>
                    <a:lnTo>
                      <a:pt x="590" y="0"/>
                    </a:lnTo>
                    <a:lnTo>
                      <a:pt x="594" y="1"/>
                    </a:lnTo>
                    <a:lnTo>
                      <a:pt x="597" y="2"/>
                    </a:lnTo>
                    <a:lnTo>
                      <a:pt x="600" y="4"/>
                    </a:lnTo>
                    <a:lnTo>
                      <a:pt x="602" y="6"/>
                    </a:lnTo>
                    <a:lnTo>
                      <a:pt x="603" y="10"/>
                    </a:lnTo>
                    <a:lnTo>
                      <a:pt x="604" y="14"/>
                    </a:lnTo>
                    <a:lnTo>
                      <a:pt x="603" y="17"/>
                    </a:lnTo>
                    <a:lnTo>
                      <a:pt x="462" y="601"/>
                    </a:lnTo>
                    <a:lnTo>
                      <a:pt x="461" y="604"/>
                    </a:lnTo>
                    <a:lnTo>
                      <a:pt x="459" y="608"/>
                    </a:lnTo>
                    <a:lnTo>
                      <a:pt x="456" y="610"/>
                    </a:lnTo>
                    <a:lnTo>
                      <a:pt x="453" y="611"/>
                    </a:lnTo>
                    <a:lnTo>
                      <a:pt x="451" y="612"/>
                    </a:lnTo>
                    <a:lnTo>
                      <a:pt x="449" y="612"/>
                    </a:lnTo>
                    <a:close/>
                    <a:moveTo>
                      <a:pt x="40" y="190"/>
                    </a:moveTo>
                    <a:lnTo>
                      <a:pt x="40" y="190"/>
                    </a:lnTo>
                    <a:lnTo>
                      <a:pt x="441" y="572"/>
                    </a:lnTo>
                    <a:lnTo>
                      <a:pt x="572" y="33"/>
                    </a:lnTo>
                    <a:lnTo>
                      <a:pt x="40"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7"/>
              <p:cNvSpPr>
                <a:spLocks noEditPoints="1"/>
              </p:cNvSpPr>
              <p:nvPr userDrawn="1"/>
            </p:nvSpPr>
            <p:spPr bwMode="auto">
              <a:xfrm>
                <a:off x="40" y="1958"/>
                <a:ext cx="267" cy="271"/>
              </a:xfrm>
              <a:custGeom>
                <a:avLst/>
                <a:gdLst>
                  <a:gd name="T0" fmla="*/ 600 w 803"/>
                  <a:gd name="T1" fmla="*/ 813 h 813"/>
                  <a:gd name="T2" fmla="*/ 595 w 803"/>
                  <a:gd name="T3" fmla="*/ 812 h 813"/>
                  <a:gd name="T4" fmla="*/ 590 w 803"/>
                  <a:gd name="T5" fmla="*/ 809 h 813"/>
                  <a:gd name="T6" fmla="*/ 4 w 803"/>
                  <a:gd name="T7" fmla="*/ 252 h 813"/>
                  <a:gd name="T8" fmla="*/ 2 w 803"/>
                  <a:gd name="T9" fmla="*/ 249 h 813"/>
                  <a:gd name="T10" fmla="*/ 1 w 803"/>
                  <a:gd name="T11" fmla="*/ 245 h 813"/>
                  <a:gd name="T12" fmla="*/ 0 w 803"/>
                  <a:gd name="T13" fmla="*/ 242 h 813"/>
                  <a:gd name="T14" fmla="*/ 1 w 803"/>
                  <a:gd name="T15" fmla="*/ 239 h 813"/>
                  <a:gd name="T16" fmla="*/ 2 w 803"/>
                  <a:gd name="T17" fmla="*/ 236 h 813"/>
                  <a:gd name="T18" fmla="*/ 4 w 803"/>
                  <a:gd name="T19" fmla="*/ 232 h 813"/>
                  <a:gd name="T20" fmla="*/ 6 w 803"/>
                  <a:gd name="T21" fmla="*/ 230 h 813"/>
                  <a:gd name="T22" fmla="*/ 9 w 803"/>
                  <a:gd name="T23" fmla="*/ 229 h 813"/>
                  <a:gd name="T24" fmla="*/ 786 w 803"/>
                  <a:gd name="T25" fmla="*/ 0 h 813"/>
                  <a:gd name="T26" fmla="*/ 789 w 803"/>
                  <a:gd name="T27" fmla="*/ 0 h 813"/>
                  <a:gd name="T28" fmla="*/ 793 w 803"/>
                  <a:gd name="T29" fmla="*/ 0 h 813"/>
                  <a:gd name="T30" fmla="*/ 797 w 803"/>
                  <a:gd name="T31" fmla="*/ 1 h 813"/>
                  <a:gd name="T32" fmla="*/ 799 w 803"/>
                  <a:gd name="T33" fmla="*/ 3 h 813"/>
                  <a:gd name="T34" fmla="*/ 801 w 803"/>
                  <a:gd name="T35" fmla="*/ 7 h 813"/>
                  <a:gd name="T36" fmla="*/ 803 w 803"/>
                  <a:gd name="T37" fmla="*/ 10 h 813"/>
                  <a:gd name="T38" fmla="*/ 803 w 803"/>
                  <a:gd name="T39" fmla="*/ 13 h 813"/>
                  <a:gd name="T40" fmla="*/ 803 w 803"/>
                  <a:gd name="T41" fmla="*/ 16 h 813"/>
                  <a:gd name="T42" fmla="*/ 613 w 803"/>
                  <a:gd name="T43" fmla="*/ 802 h 813"/>
                  <a:gd name="T44" fmla="*/ 611 w 803"/>
                  <a:gd name="T45" fmla="*/ 806 h 813"/>
                  <a:gd name="T46" fmla="*/ 610 w 803"/>
                  <a:gd name="T47" fmla="*/ 809 h 813"/>
                  <a:gd name="T48" fmla="*/ 607 w 803"/>
                  <a:gd name="T49" fmla="*/ 811 h 813"/>
                  <a:gd name="T50" fmla="*/ 603 w 803"/>
                  <a:gd name="T51" fmla="*/ 812 h 813"/>
                  <a:gd name="T52" fmla="*/ 601 w 803"/>
                  <a:gd name="T53" fmla="*/ 813 h 813"/>
                  <a:gd name="T54" fmla="*/ 600 w 803"/>
                  <a:gd name="T55" fmla="*/ 813 h 813"/>
                  <a:gd name="T56" fmla="*/ 40 w 803"/>
                  <a:gd name="T57" fmla="*/ 249 h 813"/>
                  <a:gd name="T58" fmla="*/ 40 w 803"/>
                  <a:gd name="T59" fmla="*/ 249 h 813"/>
                  <a:gd name="T60" fmla="*/ 592 w 803"/>
                  <a:gd name="T61" fmla="*/ 773 h 813"/>
                  <a:gd name="T62" fmla="*/ 771 w 803"/>
                  <a:gd name="T63" fmla="*/ 33 h 813"/>
                  <a:gd name="T64" fmla="*/ 40 w 803"/>
                  <a:gd name="T65" fmla="*/ 249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3" h="813">
                    <a:moveTo>
                      <a:pt x="600" y="813"/>
                    </a:moveTo>
                    <a:lnTo>
                      <a:pt x="595" y="812"/>
                    </a:lnTo>
                    <a:lnTo>
                      <a:pt x="590" y="809"/>
                    </a:lnTo>
                    <a:lnTo>
                      <a:pt x="4" y="252"/>
                    </a:lnTo>
                    <a:lnTo>
                      <a:pt x="2" y="249"/>
                    </a:lnTo>
                    <a:lnTo>
                      <a:pt x="1" y="245"/>
                    </a:lnTo>
                    <a:lnTo>
                      <a:pt x="0" y="242"/>
                    </a:lnTo>
                    <a:lnTo>
                      <a:pt x="1" y="239"/>
                    </a:lnTo>
                    <a:lnTo>
                      <a:pt x="2" y="236"/>
                    </a:lnTo>
                    <a:lnTo>
                      <a:pt x="4" y="232"/>
                    </a:lnTo>
                    <a:lnTo>
                      <a:pt x="6" y="230"/>
                    </a:lnTo>
                    <a:lnTo>
                      <a:pt x="9" y="229"/>
                    </a:lnTo>
                    <a:lnTo>
                      <a:pt x="786" y="0"/>
                    </a:lnTo>
                    <a:lnTo>
                      <a:pt x="789" y="0"/>
                    </a:lnTo>
                    <a:lnTo>
                      <a:pt x="793" y="0"/>
                    </a:lnTo>
                    <a:lnTo>
                      <a:pt x="797" y="1"/>
                    </a:lnTo>
                    <a:lnTo>
                      <a:pt x="799" y="3"/>
                    </a:lnTo>
                    <a:lnTo>
                      <a:pt x="801" y="7"/>
                    </a:lnTo>
                    <a:lnTo>
                      <a:pt x="803" y="10"/>
                    </a:lnTo>
                    <a:lnTo>
                      <a:pt x="803" y="13"/>
                    </a:lnTo>
                    <a:lnTo>
                      <a:pt x="803" y="16"/>
                    </a:lnTo>
                    <a:lnTo>
                      <a:pt x="613" y="802"/>
                    </a:lnTo>
                    <a:lnTo>
                      <a:pt x="611" y="806"/>
                    </a:lnTo>
                    <a:lnTo>
                      <a:pt x="610" y="809"/>
                    </a:lnTo>
                    <a:lnTo>
                      <a:pt x="607" y="811"/>
                    </a:lnTo>
                    <a:lnTo>
                      <a:pt x="603" y="812"/>
                    </a:lnTo>
                    <a:lnTo>
                      <a:pt x="601" y="813"/>
                    </a:lnTo>
                    <a:lnTo>
                      <a:pt x="600" y="813"/>
                    </a:lnTo>
                    <a:close/>
                    <a:moveTo>
                      <a:pt x="40" y="249"/>
                    </a:moveTo>
                    <a:lnTo>
                      <a:pt x="40" y="249"/>
                    </a:lnTo>
                    <a:lnTo>
                      <a:pt x="592" y="773"/>
                    </a:lnTo>
                    <a:lnTo>
                      <a:pt x="771" y="33"/>
                    </a:lnTo>
                    <a:lnTo>
                      <a:pt x="40"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8"/>
              <p:cNvSpPr>
                <a:spLocks/>
              </p:cNvSpPr>
              <p:nvPr userDrawn="1"/>
            </p:nvSpPr>
            <p:spPr bwMode="auto">
              <a:xfrm>
                <a:off x="396" y="1386"/>
                <a:ext cx="232" cy="233"/>
              </a:xfrm>
              <a:custGeom>
                <a:avLst/>
                <a:gdLst>
                  <a:gd name="T0" fmla="*/ 684 w 697"/>
                  <a:gd name="T1" fmla="*/ 698 h 698"/>
                  <a:gd name="T2" fmla="*/ 679 w 697"/>
                  <a:gd name="T3" fmla="*/ 697 h 698"/>
                  <a:gd name="T4" fmla="*/ 675 w 697"/>
                  <a:gd name="T5" fmla="*/ 694 h 698"/>
                  <a:gd name="T6" fmla="*/ 3 w 697"/>
                  <a:gd name="T7" fmla="*/ 24 h 698"/>
                  <a:gd name="T8" fmla="*/ 1 w 697"/>
                  <a:gd name="T9" fmla="*/ 19 h 698"/>
                  <a:gd name="T10" fmla="*/ 0 w 697"/>
                  <a:gd name="T11" fmla="*/ 14 h 698"/>
                  <a:gd name="T12" fmla="*/ 1 w 697"/>
                  <a:gd name="T13" fmla="*/ 9 h 698"/>
                  <a:gd name="T14" fmla="*/ 3 w 697"/>
                  <a:gd name="T15" fmla="*/ 4 h 698"/>
                  <a:gd name="T16" fmla="*/ 7 w 697"/>
                  <a:gd name="T17" fmla="*/ 1 h 698"/>
                  <a:gd name="T18" fmla="*/ 13 w 697"/>
                  <a:gd name="T19" fmla="*/ 0 h 698"/>
                  <a:gd name="T20" fmla="*/ 18 w 697"/>
                  <a:gd name="T21" fmla="*/ 1 h 698"/>
                  <a:gd name="T22" fmla="*/ 22 w 697"/>
                  <a:gd name="T23" fmla="*/ 4 h 698"/>
                  <a:gd name="T24" fmla="*/ 694 w 697"/>
                  <a:gd name="T25" fmla="*/ 676 h 698"/>
                  <a:gd name="T26" fmla="*/ 696 w 697"/>
                  <a:gd name="T27" fmla="*/ 680 h 698"/>
                  <a:gd name="T28" fmla="*/ 697 w 697"/>
                  <a:gd name="T29" fmla="*/ 685 h 698"/>
                  <a:gd name="T30" fmla="*/ 696 w 697"/>
                  <a:gd name="T31" fmla="*/ 690 h 698"/>
                  <a:gd name="T32" fmla="*/ 694 w 697"/>
                  <a:gd name="T33" fmla="*/ 694 h 698"/>
                  <a:gd name="T34" fmla="*/ 690 w 697"/>
                  <a:gd name="T35" fmla="*/ 697 h 698"/>
                  <a:gd name="T36" fmla="*/ 684 w 697"/>
                  <a:gd name="T37"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7" h="698">
                    <a:moveTo>
                      <a:pt x="684" y="698"/>
                    </a:moveTo>
                    <a:lnTo>
                      <a:pt x="679" y="697"/>
                    </a:lnTo>
                    <a:lnTo>
                      <a:pt x="675" y="694"/>
                    </a:lnTo>
                    <a:lnTo>
                      <a:pt x="3" y="24"/>
                    </a:lnTo>
                    <a:lnTo>
                      <a:pt x="1" y="19"/>
                    </a:lnTo>
                    <a:lnTo>
                      <a:pt x="0" y="14"/>
                    </a:lnTo>
                    <a:lnTo>
                      <a:pt x="1" y="9"/>
                    </a:lnTo>
                    <a:lnTo>
                      <a:pt x="3" y="4"/>
                    </a:lnTo>
                    <a:lnTo>
                      <a:pt x="7" y="1"/>
                    </a:lnTo>
                    <a:lnTo>
                      <a:pt x="13" y="0"/>
                    </a:lnTo>
                    <a:lnTo>
                      <a:pt x="18" y="1"/>
                    </a:lnTo>
                    <a:lnTo>
                      <a:pt x="22" y="4"/>
                    </a:lnTo>
                    <a:lnTo>
                      <a:pt x="694" y="676"/>
                    </a:lnTo>
                    <a:lnTo>
                      <a:pt x="696" y="680"/>
                    </a:lnTo>
                    <a:lnTo>
                      <a:pt x="697" y="685"/>
                    </a:lnTo>
                    <a:lnTo>
                      <a:pt x="696" y="690"/>
                    </a:lnTo>
                    <a:lnTo>
                      <a:pt x="694" y="694"/>
                    </a:lnTo>
                    <a:lnTo>
                      <a:pt x="690" y="697"/>
                    </a:lnTo>
                    <a:lnTo>
                      <a:pt x="684" y="6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9"/>
              <p:cNvSpPr>
                <a:spLocks noEditPoints="1"/>
              </p:cNvSpPr>
              <p:nvPr userDrawn="1"/>
            </p:nvSpPr>
            <p:spPr bwMode="auto">
              <a:xfrm>
                <a:off x="280" y="1269"/>
                <a:ext cx="268" cy="272"/>
              </a:xfrm>
              <a:custGeom>
                <a:avLst/>
                <a:gdLst>
                  <a:gd name="T0" fmla="*/ 599 w 804"/>
                  <a:gd name="T1" fmla="*/ 814 h 814"/>
                  <a:gd name="T2" fmla="*/ 595 w 804"/>
                  <a:gd name="T3" fmla="*/ 813 h 814"/>
                  <a:gd name="T4" fmla="*/ 591 w 804"/>
                  <a:gd name="T5" fmla="*/ 810 h 814"/>
                  <a:gd name="T6" fmla="*/ 4 w 804"/>
                  <a:gd name="T7" fmla="*/ 252 h 814"/>
                  <a:gd name="T8" fmla="*/ 2 w 804"/>
                  <a:gd name="T9" fmla="*/ 250 h 814"/>
                  <a:gd name="T10" fmla="*/ 1 w 804"/>
                  <a:gd name="T11" fmla="*/ 246 h 814"/>
                  <a:gd name="T12" fmla="*/ 0 w 804"/>
                  <a:gd name="T13" fmla="*/ 243 h 814"/>
                  <a:gd name="T14" fmla="*/ 1 w 804"/>
                  <a:gd name="T15" fmla="*/ 239 h 814"/>
                  <a:gd name="T16" fmla="*/ 2 w 804"/>
                  <a:gd name="T17" fmla="*/ 236 h 814"/>
                  <a:gd name="T18" fmla="*/ 4 w 804"/>
                  <a:gd name="T19" fmla="*/ 233 h 814"/>
                  <a:gd name="T20" fmla="*/ 7 w 804"/>
                  <a:gd name="T21" fmla="*/ 231 h 814"/>
                  <a:gd name="T22" fmla="*/ 10 w 804"/>
                  <a:gd name="T23" fmla="*/ 229 h 814"/>
                  <a:gd name="T24" fmla="*/ 786 w 804"/>
                  <a:gd name="T25" fmla="*/ 1 h 814"/>
                  <a:gd name="T26" fmla="*/ 790 w 804"/>
                  <a:gd name="T27" fmla="*/ 0 h 814"/>
                  <a:gd name="T28" fmla="*/ 793 w 804"/>
                  <a:gd name="T29" fmla="*/ 1 h 814"/>
                  <a:gd name="T30" fmla="*/ 797 w 804"/>
                  <a:gd name="T31" fmla="*/ 2 h 814"/>
                  <a:gd name="T32" fmla="*/ 799 w 804"/>
                  <a:gd name="T33" fmla="*/ 5 h 814"/>
                  <a:gd name="T34" fmla="*/ 801 w 804"/>
                  <a:gd name="T35" fmla="*/ 7 h 814"/>
                  <a:gd name="T36" fmla="*/ 804 w 804"/>
                  <a:gd name="T37" fmla="*/ 10 h 814"/>
                  <a:gd name="T38" fmla="*/ 804 w 804"/>
                  <a:gd name="T39" fmla="*/ 13 h 814"/>
                  <a:gd name="T40" fmla="*/ 804 w 804"/>
                  <a:gd name="T41" fmla="*/ 17 h 814"/>
                  <a:gd name="T42" fmla="*/ 614 w 804"/>
                  <a:gd name="T43" fmla="*/ 803 h 814"/>
                  <a:gd name="T44" fmla="*/ 611 w 804"/>
                  <a:gd name="T45" fmla="*/ 807 h 814"/>
                  <a:gd name="T46" fmla="*/ 609 w 804"/>
                  <a:gd name="T47" fmla="*/ 810 h 814"/>
                  <a:gd name="T48" fmla="*/ 607 w 804"/>
                  <a:gd name="T49" fmla="*/ 812 h 814"/>
                  <a:gd name="T50" fmla="*/ 604 w 804"/>
                  <a:gd name="T51" fmla="*/ 813 h 814"/>
                  <a:gd name="T52" fmla="*/ 602 w 804"/>
                  <a:gd name="T53" fmla="*/ 813 h 814"/>
                  <a:gd name="T54" fmla="*/ 599 w 804"/>
                  <a:gd name="T55" fmla="*/ 814 h 814"/>
                  <a:gd name="T56" fmla="*/ 40 w 804"/>
                  <a:gd name="T57" fmla="*/ 248 h 814"/>
                  <a:gd name="T58" fmla="*/ 40 w 804"/>
                  <a:gd name="T59" fmla="*/ 248 h 814"/>
                  <a:gd name="T60" fmla="*/ 592 w 804"/>
                  <a:gd name="T61" fmla="*/ 774 h 814"/>
                  <a:gd name="T62" fmla="*/ 771 w 804"/>
                  <a:gd name="T63" fmla="*/ 34 h 814"/>
                  <a:gd name="T64" fmla="*/ 40 w 804"/>
                  <a:gd name="T65" fmla="*/ 248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4" h="814">
                    <a:moveTo>
                      <a:pt x="599" y="814"/>
                    </a:moveTo>
                    <a:lnTo>
                      <a:pt x="595" y="813"/>
                    </a:lnTo>
                    <a:lnTo>
                      <a:pt x="591" y="810"/>
                    </a:lnTo>
                    <a:lnTo>
                      <a:pt x="4" y="252"/>
                    </a:lnTo>
                    <a:lnTo>
                      <a:pt x="2" y="250"/>
                    </a:lnTo>
                    <a:lnTo>
                      <a:pt x="1" y="246"/>
                    </a:lnTo>
                    <a:lnTo>
                      <a:pt x="0" y="243"/>
                    </a:lnTo>
                    <a:lnTo>
                      <a:pt x="1" y="239"/>
                    </a:lnTo>
                    <a:lnTo>
                      <a:pt x="2" y="236"/>
                    </a:lnTo>
                    <a:lnTo>
                      <a:pt x="4" y="233"/>
                    </a:lnTo>
                    <a:lnTo>
                      <a:pt x="7" y="231"/>
                    </a:lnTo>
                    <a:lnTo>
                      <a:pt x="10" y="229"/>
                    </a:lnTo>
                    <a:lnTo>
                      <a:pt x="786" y="1"/>
                    </a:lnTo>
                    <a:lnTo>
                      <a:pt x="790" y="0"/>
                    </a:lnTo>
                    <a:lnTo>
                      <a:pt x="793" y="1"/>
                    </a:lnTo>
                    <a:lnTo>
                      <a:pt x="797" y="2"/>
                    </a:lnTo>
                    <a:lnTo>
                      <a:pt x="799" y="5"/>
                    </a:lnTo>
                    <a:lnTo>
                      <a:pt x="801" y="7"/>
                    </a:lnTo>
                    <a:lnTo>
                      <a:pt x="804" y="10"/>
                    </a:lnTo>
                    <a:lnTo>
                      <a:pt x="804" y="13"/>
                    </a:lnTo>
                    <a:lnTo>
                      <a:pt x="804" y="17"/>
                    </a:lnTo>
                    <a:lnTo>
                      <a:pt x="614" y="803"/>
                    </a:lnTo>
                    <a:lnTo>
                      <a:pt x="611" y="807"/>
                    </a:lnTo>
                    <a:lnTo>
                      <a:pt x="609" y="810"/>
                    </a:lnTo>
                    <a:lnTo>
                      <a:pt x="607" y="812"/>
                    </a:lnTo>
                    <a:lnTo>
                      <a:pt x="604" y="813"/>
                    </a:lnTo>
                    <a:lnTo>
                      <a:pt x="602" y="813"/>
                    </a:lnTo>
                    <a:lnTo>
                      <a:pt x="599" y="814"/>
                    </a:lnTo>
                    <a:close/>
                    <a:moveTo>
                      <a:pt x="40" y="248"/>
                    </a:moveTo>
                    <a:lnTo>
                      <a:pt x="40" y="248"/>
                    </a:lnTo>
                    <a:lnTo>
                      <a:pt x="592" y="774"/>
                    </a:lnTo>
                    <a:lnTo>
                      <a:pt x="771" y="34"/>
                    </a:lnTo>
                    <a:lnTo>
                      <a:pt x="40"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0"/>
              <p:cNvSpPr>
                <a:spLocks noEditPoints="1"/>
              </p:cNvSpPr>
              <p:nvPr userDrawn="1"/>
            </p:nvSpPr>
            <p:spPr bwMode="auto">
              <a:xfrm>
                <a:off x="341" y="1101"/>
                <a:ext cx="306" cy="321"/>
              </a:xfrm>
              <a:custGeom>
                <a:avLst/>
                <a:gdLst>
                  <a:gd name="T0" fmla="*/ 744 w 919"/>
                  <a:gd name="T1" fmla="*/ 963 h 963"/>
                  <a:gd name="T2" fmla="*/ 739 w 919"/>
                  <a:gd name="T3" fmla="*/ 962 h 963"/>
                  <a:gd name="T4" fmla="*/ 735 w 919"/>
                  <a:gd name="T5" fmla="*/ 960 h 963"/>
                  <a:gd name="T6" fmla="*/ 5 w 919"/>
                  <a:gd name="T7" fmla="*/ 353 h 963"/>
                  <a:gd name="T8" fmla="*/ 3 w 919"/>
                  <a:gd name="T9" fmla="*/ 350 h 963"/>
                  <a:gd name="T10" fmla="*/ 1 w 919"/>
                  <a:gd name="T11" fmla="*/ 346 h 963"/>
                  <a:gd name="T12" fmla="*/ 0 w 919"/>
                  <a:gd name="T13" fmla="*/ 343 h 963"/>
                  <a:gd name="T14" fmla="*/ 1 w 919"/>
                  <a:gd name="T15" fmla="*/ 340 h 963"/>
                  <a:gd name="T16" fmla="*/ 2 w 919"/>
                  <a:gd name="T17" fmla="*/ 337 h 963"/>
                  <a:gd name="T18" fmla="*/ 3 w 919"/>
                  <a:gd name="T19" fmla="*/ 334 h 963"/>
                  <a:gd name="T20" fmla="*/ 6 w 919"/>
                  <a:gd name="T21" fmla="*/ 331 h 963"/>
                  <a:gd name="T22" fmla="*/ 9 w 919"/>
                  <a:gd name="T23" fmla="*/ 329 h 963"/>
                  <a:gd name="T24" fmla="*/ 900 w 919"/>
                  <a:gd name="T25" fmla="*/ 1 h 963"/>
                  <a:gd name="T26" fmla="*/ 903 w 919"/>
                  <a:gd name="T27" fmla="*/ 0 h 963"/>
                  <a:gd name="T28" fmla="*/ 907 w 919"/>
                  <a:gd name="T29" fmla="*/ 0 h 963"/>
                  <a:gd name="T30" fmla="*/ 910 w 919"/>
                  <a:gd name="T31" fmla="*/ 1 h 963"/>
                  <a:gd name="T32" fmla="*/ 913 w 919"/>
                  <a:gd name="T33" fmla="*/ 3 h 963"/>
                  <a:gd name="T34" fmla="*/ 915 w 919"/>
                  <a:gd name="T35" fmla="*/ 5 h 963"/>
                  <a:gd name="T36" fmla="*/ 917 w 919"/>
                  <a:gd name="T37" fmla="*/ 9 h 963"/>
                  <a:gd name="T38" fmla="*/ 919 w 919"/>
                  <a:gd name="T39" fmla="*/ 12 h 963"/>
                  <a:gd name="T40" fmla="*/ 919 w 919"/>
                  <a:gd name="T41" fmla="*/ 16 h 963"/>
                  <a:gd name="T42" fmla="*/ 758 w 919"/>
                  <a:gd name="T43" fmla="*/ 952 h 963"/>
                  <a:gd name="T44" fmla="*/ 757 w 919"/>
                  <a:gd name="T45" fmla="*/ 955 h 963"/>
                  <a:gd name="T46" fmla="*/ 754 w 919"/>
                  <a:gd name="T47" fmla="*/ 959 h 963"/>
                  <a:gd name="T48" fmla="*/ 752 w 919"/>
                  <a:gd name="T49" fmla="*/ 961 h 963"/>
                  <a:gd name="T50" fmla="*/ 749 w 919"/>
                  <a:gd name="T51" fmla="*/ 962 h 963"/>
                  <a:gd name="T52" fmla="*/ 746 w 919"/>
                  <a:gd name="T53" fmla="*/ 963 h 963"/>
                  <a:gd name="T54" fmla="*/ 744 w 919"/>
                  <a:gd name="T55" fmla="*/ 963 h 963"/>
                  <a:gd name="T56" fmla="*/ 41 w 919"/>
                  <a:gd name="T57" fmla="*/ 346 h 963"/>
                  <a:gd name="T58" fmla="*/ 41 w 919"/>
                  <a:gd name="T59" fmla="*/ 346 h 963"/>
                  <a:gd name="T60" fmla="*/ 735 w 919"/>
                  <a:gd name="T61" fmla="*/ 924 h 963"/>
                  <a:gd name="T62" fmla="*/ 887 w 919"/>
                  <a:gd name="T63" fmla="*/ 35 h 963"/>
                  <a:gd name="T64" fmla="*/ 41 w 919"/>
                  <a:gd name="T65" fmla="*/ 3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9" h="963">
                    <a:moveTo>
                      <a:pt x="744" y="963"/>
                    </a:moveTo>
                    <a:lnTo>
                      <a:pt x="739" y="962"/>
                    </a:lnTo>
                    <a:lnTo>
                      <a:pt x="735" y="960"/>
                    </a:lnTo>
                    <a:lnTo>
                      <a:pt x="5" y="353"/>
                    </a:lnTo>
                    <a:lnTo>
                      <a:pt x="3" y="350"/>
                    </a:lnTo>
                    <a:lnTo>
                      <a:pt x="1" y="346"/>
                    </a:lnTo>
                    <a:lnTo>
                      <a:pt x="0" y="343"/>
                    </a:lnTo>
                    <a:lnTo>
                      <a:pt x="1" y="340"/>
                    </a:lnTo>
                    <a:lnTo>
                      <a:pt x="2" y="337"/>
                    </a:lnTo>
                    <a:lnTo>
                      <a:pt x="3" y="334"/>
                    </a:lnTo>
                    <a:lnTo>
                      <a:pt x="6" y="331"/>
                    </a:lnTo>
                    <a:lnTo>
                      <a:pt x="9" y="329"/>
                    </a:lnTo>
                    <a:lnTo>
                      <a:pt x="900" y="1"/>
                    </a:lnTo>
                    <a:lnTo>
                      <a:pt x="903" y="0"/>
                    </a:lnTo>
                    <a:lnTo>
                      <a:pt x="907" y="0"/>
                    </a:lnTo>
                    <a:lnTo>
                      <a:pt x="910" y="1"/>
                    </a:lnTo>
                    <a:lnTo>
                      <a:pt x="913" y="3"/>
                    </a:lnTo>
                    <a:lnTo>
                      <a:pt x="915" y="5"/>
                    </a:lnTo>
                    <a:lnTo>
                      <a:pt x="917" y="9"/>
                    </a:lnTo>
                    <a:lnTo>
                      <a:pt x="919" y="12"/>
                    </a:lnTo>
                    <a:lnTo>
                      <a:pt x="919" y="16"/>
                    </a:lnTo>
                    <a:lnTo>
                      <a:pt x="758" y="952"/>
                    </a:lnTo>
                    <a:lnTo>
                      <a:pt x="757" y="955"/>
                    </a:lnTo>
                    <a:lnTo>
                      <a:pt x="754" y="959"/>
                    </a:lnTo>
                    <a:lnTo>
                      <a:pt x="752" y="961"/>
                    </a:lnTo>
                    <a:lnTo>
                      <a:pt x="749" y="962"/>
                    </a:lnTo>
                    <a:lnTo>
                      <a:pt x="746" y="963"/>
                    </a:lnTo>
                    <a:lnTo>
                      <a:pt x="744" y="963"/>
                    </a:lnTo>
                    <a:close/>
                    <a:moveTo>
                      <a:pt x="41" y="346"/>
                    </a:moveTo>
                    <a:lnTo>
                      <a:pt x="41" y="346"/>
                    </a:lnTo>
                    <a:lnTo>
                      <a:pt x="735" y="924"/>
                    </a:lnTo>
                    <a:lnTo>
                      <a:pt x="887" y="35"/>
                    </a:lnTo>
                    <a:lnTo>
                      <a:pt x="41"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1"/>
              <p:cNvSpPr>
                <a:spLocks noEditPoints="1"/>
              </p:cNvSpPr>
              <p:nvPr userDrawn="1"/>
            </p:nvSpPr>
            <p:spPr bwMode="auto">
              <a:xfrm>
                <a:off x="332" y="1092"/>
                <a:ext cx="306" cy="321"/>
              </a:xfrm>
              <a:custGeom>
                <a:avLst/>
                <a:gdLst>
                  <a:gd name="T0" fmla="*/ 744 w 919"/>
                  <a:gd name="T1" fmla="*/ 963 h 963"/>
                  <a:gd name="T2" fmla="*/ 739 w 919"/>
                  <a:gd name="T3" fmla="*/ 962 h 963"/>
                  <a:gd name="T4" fmla="*/ 735 w 919"/>
                  <a:gd name="T5" fmla="*/ 960 h 963"/>
                  <a:gd name="T6" fmla="*/ 5 w 919"/>
                  <a:gd name="T7" fmla="*/ 353 h 963"/>
                  <a:gd name="T8" fmla="*/ 3 w 919"/>
                  <a:gd name="T9" fmla="*/ 350 h 963"/>
                  <a:gd name="T10" fmla="*/ 1 w 919"/>
                  <a:gd name="T11" fmla="*/ 347 h 963"/>
                  <a:gd name="T12" fmla="*/ 0 w 919"/>
                  <a:gd name="T13" fmla="*/ 343 h 963"/>
                  <a:gd name="T14" fmla="*/ 1 w 919"/>
                  <a:gd name="T15" fmla="*/ 340 h 963"/>
                  <a:gd name="T16" fmla="*/ 2 w 919"/>
                  <a:gd name="T17" fmla="*/ 337 h 963"/>
                  <a:gd name="T18" fmla="*/ 3 w 919"/>
                  <a:gd name="T19" fmla="*/ 334 h 963"/>
                  <a:gd name="T20" fmla="*/ 6 w 919"/>
                  <a:gd name="T21" fmla="*/ 331 h 963"/>
                  <a:gd name="T22" fmla="*/ 9 w 919"/>
                  <a:gd name="T23" fmla="*/ 329 h 963"/>
                  <a:gd name="T24" fmla="*/ 900 w 919"/>
                  <a:gd name="T25" fmla="*/ 1 h 963"/>
                  <a:gd name="T26" fmla="*/ 903 w 919"/>
                  <a:gd name="T27" fmla="*/ 0 h 963"/>
                  <a:gd name="T28" fmla="*/ 907 w 919"/>
                  <a:gd name="T29" fmla="*/ 0 h 963"/>
                  <a:gd name="T30" fmla="*/ 910 w 919"/>
                  <a:gd name="T31" fmla="*/ 1 h 963"/>
                  <a:gd name="T32" fmla="*/ 913 w 919"/>
                  <a:gd name="T33" fmla="*/ 3 h 963"/>
                  <a:gd name="T34" fmla="*/ 915 w 919"/>
                  <a:gd name="T35" fmla="*/ 5 h 963"/>
                  <a:gd name="T36" fmla="*/ 917 w 919"/>
                  <a:gd name="T37" fmla="*/ 9 h 963"/>
                  <a:gd name="T38" fmla="*/ 919 w 919"/>
                  <a:gd name="T39" fmla="*/ 12 h 963"/>
                  <a:gd name="T40" fmla="*/ 917 w 919"/>
                  <a:gd name="T41" fmla="*/ 16 h 963"/>
                  <a:gd name="T42" fmla="*/ 758 w 919"/>
                  <a:gd name="T43" fmla="*/ 952 h 963"/>
                  <a:gd name="T44" fmla="*/ 757 w 919"/>
                  <a:gd name="T45" fmla="*/ 955 h 963"/>
                  <a:gd name="T46" fmla="*/ 754 w 919"/>
                  <a:gd name="T47" fmla="*/ 959 h 963"/>
                  <a:gd name="T48" fmla="*/ 751 w 919"/>
                  <a:gd name="T49" fmla="*/ 961 h 963"/>
                  <a:gd name="T50" fmla="*/ 749 w 919"/>
                  <a:gd name="T51" fmla="*/ 962 h 963"/>
                  <a:gd name="T52" fmla="*/ 746 w 919"/>
                  <a:gd name="T53" fmla="*/ 963 h 963"/>
                  <a:gd name="T54" fmla="*/ 744 w 919"/>
                  <a:gd name="T55" fmla="*/ 963 h 963"/>
                  <a:gd name="T56" fmla="*/ 41 w 919"/>
                  <a:gd name="T57" fmla="*/ 347 h 963"/>
                  <a:gd name="T58" fmla="*/ 41 w 919"/>
                  <a:gd name="T59" fmla="*/ 347 h 963"/>
                  <a:gd name="T60" fmla="*/ 735 w 919"/>
                  <a:gd name="T61" fmla="*/ 924 h 963"/>
                  <a:gd name="T62" fmla="*/ 887 w 919"/>
                  <a:gd name="T63" fmla="*/ 35 h 963"/>
                  <a:gd name="T64" fmla="*/ 41 w 919"/>
                  <a:gd name="T65" fmla="*/ 347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9" h="963">
                    <a:moveTo>
                      <a:pt x="744" y="963"/>
                    </a:moveTo>
                    <a:lnTo>
                      <a:pt x="739" y="962"/>
                    </a:lnTo>
                    <a:lnTo>
                      <a:pt x="735" y="960"/>
                    </a:lnTo>
                    <a:lnTo>
                      <a:pt x="5" y="353"/>
                    </a:lnTo>
                    <a:lnTo>
                      <a:pt x="3" y="350"/>
                    </a:lnTo>
                    <a:lnTo>
                      <a:pt x="1" y="347"/>
                    </a:lnTo>
                    <a:lnTo>
                      <a:pt x="0" y="343"/>
                    </a:lnTo>
                    <a:lnTo>
                      <a:pt x="1" y="340"/>
                    </a:lnTo>
                    <a:lnTo>
                      <a:pt x="2" y="337"/>
                    </a:lnTo>
                    <a:lnTo>
                      <a:pt x="3" y="334"/>
                    </a:lnTo>
                    <a:lnTo>
                      <a:pt x="6" y="331"/>
                    </a:lnTo>
                    <a:lnTo>
                      <a:pt x="9" y="329"/>
                    </a:lnTo>
                    <a:lnTo>
                      <a:pt x="900" y="1"/>
                    </a:lnTo>
                    <a:lnTo>
                      <a:pt x="903" y="0"/>
                    </a:lnTo>
                    <a:lnTo>
                      <a:pt x="907" y="0"/>
                    </a:lnTo>
                    <a:lnTo>
                      <a:pt x="910" y="1"/>
                    </a:lnTo>
                    <a:lnTo>
                      <a:pt x="913" y="3"/>
                    </a:lnTo>
                    <a:lnTo>
                      <a:pt x="915" y="5"/>
                    </a:lnTo>
                    <a:lnTo>
                      <a:pt x="917" y="9"/>
                    </a:lnTo>
                    <a:lnTo>
                      <a:pt x="919" y="12"/>
                    </a:lnTo>
                    <a:lnTo>
                      <a:pt x="917" y="16"/>
                    </a:lnTo>
                    <a:lnTo>
                      <a:pt x="758" y="952"/>
                    </a:lnTo>
                    <a:lnTo>
                      <a:pt x="757" y="955"/>
                    </a:lnTo>
                    <a:lnTo>
                      <a:pt x="754" y="959"/>
                    </a:lnTo>
                    <a:lnTo>
                      <a:pt x="751" y="961"/>
                    </a:lnTo>
                    <a:lnTo>
                      <a:pt x="749" y="962"/>
                    </a:lnTo>
                    <a:lnTo>
                      <a:pt x="746" y="963"/>
                    </a:lnTo>
                    <a:lnTo>
                      <a:pt x="744" y="963"/>
                    </a:lnTo>
                    <a:close/>
                    <a:moveTo>
                      <a:pt x="41" y="347"/>
                    </a:moveTo>
                    <a:lnTo>
                      <a:pt x="41" y="347"/>
                    </a:lnTo>
                    <a:lnTo>
                      <a:pt x="735" y="924"/>
                    </a:lnTo>
                    <a:lnTo>
                      <a:pt x="887" y="35"/>
                    </a:lnTo>
                    <a:lnTo>
                      <a:pt x="41" y="3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32"/>
              <p:cNvSpPr>
                <a:spLocks noEditPoints="1"/>
              </p:cNvSpPr>
              <p:nvPr userDrawn="1"/>
            </p:nvSpPr>
            <p:spPr bwMode="auto">
              <a:xfrm>
                <a:off x="3248" y="2786"/>
                <a:ext cx="251" cy="254"/>
              </a:xfrm>
              <a:custGeom>
                <a:avLst/>
                <a:gdLst>
                  <a:gd name="T0" fmla="*/ 566 w 752"/>
                  <a:gd name="T1" fmla="*/ 764 h 764"/>
                  <a:gd name="T2" fmla="*/ 562 w 752"/>
                  <a:gd name="T3" fmla="*/ 763 h 764"/>
                  <a:gd name="T4" fmla="*/ 557 w 752"/>
                  <a:gd name="T5" fmla="*/ 761 h 764"/>
                  <a:gd name="T6" fmla="*/ 5 w 752"/>
                  <a:gd name="T7" fmla="*/ 243 h 764"/>
                  <a:gd name="T8" fmla="*/ 2 w 752"/>
                  <a:gd name="T9" fmla="*/ 240 h 764"/>
                  <a:gd name="T10" fmla="*/ 0 w 752"/>
                  <a:gd name="T11" fmla="*/ 237 h 764"/>
                  <a:gd name="T12" fmla="*/ 0 w 752"/>
                  <a:gd name="T13" fmla="*/ 233 h 764"/>
                  <a:gd name="T14" fmla="*/ 0 w 752"/>
                  <a:gd name="T15" fmla="*/ 230 h 764"/>
                  <a:gd name="T16" fmla="*/ 1 w 752"/>
                  <a:gd name="T17" fmla="*/ 227 h 764"/>
                  <a:gd name="T18" fmla="*/ 4 w 752"/>
                  <a:gd name="T19" fmla="*/ 224 h 764"/>
                  <a:gd name="T20" fmla="*/ 7 w 752"/>
                  <a:gd name="T21" fmla="*/ 221 h 764"/>
                  <a:gd name="T22" fmla="*/ 10 w 752"/>
                  <a:gd name="T23" fmla="*/ 220 h 764"/>
                  <a:gd name="T24" fmla="*/ 735 w 752"/>
                  <a:gd name="T25" fmla="*/ 0 h 764"/>
                  <a:gd name="T26" fmla="*/ 738 w 752"/>
                  <a:gd name="T27" fmla="*/ 0 h 764"/>
                  <a:gd name="T28" fmla="*/ 742 w 752"/>
                  <a:gd name="T29" fmla="*/ 0 h 764"/>
                  <a:gd name="T30" fmla="*/ 745 w 752"/>
                  <a:gd name="T31" fmla="*/ 1 h 764"/>
                  <a:gd name="T32" fmla="*/ 748 w 752"/>
                  <a:gd name="T33" fmla="*/ 3 h 764"/>
                  <a:gd name="T34" fmla="*/ 750 w 752"/>
                  <a:gd name="T35" fmla="*/ 6 h 764"/>
                  <a:gd name="T36" fmla="*/ 752 w 752"/>
                  <a:gd name="T37" fmla="*/ 9 h 764"/>
                  <a:gd name="T38" fmla="*/ 752 w 752"/>
                  <a:gd name="T39" fmla="*/ 13 h 764"/>
                  <a:gd name="T40" fmla="*/ 752 w 752"/>
                  <a:gd name="T41" fmla="*/ 16 h 764"/>
                  <a:gd name="T42" fmla="*/ 579 w 752"/>
                  <a:gd name="T43" fmla="*/ 754 h 764"/>
                  <a:gd name="T44" fmla="*/ 578 w 752"/>
                  <a:gd name="T45" fmla="*/ 757 h 764"/>
                  <a:gd name="T46" fmla="*/ 576 w 752"/>
                  <a:gd name="T47" fmla="*/ 760 h 764"/>
                  <a:gd name="T48" fmla="*/ 574 w 752"/>
                  <a:gd name="T49" fmla="*/ 762 h 764"/>
                  <a:gd name="T50" fmla="*/ 570 w 752"/>
                  <a:gd name="T51" fmla="*/ 763 h 764"/>
                  <a:gd name="T52" fmla="*/ 568 w 752"/>
                  <a:gd name="T53" fmla="*/ 764 h 764"/>
                  <a:gd name="T54" fmla="*/ 566 w 752"/>
                  <a:gd name="T55" fmla="*/ 764 h 764"/>
                  <a:gd name="T56" fmla="*/ 40 w 752"/>
                  <a:gd name="T57" fmla="*/ 239 h 764"/>
                  <a:gd name="T58" fmla="*/ 40 w 752"/>
                  <a:gd name="T59" fmla="*/ 239 h 764"/>
                  <a:gd name="T60" fmla="*/ 559 w 752"/>
                  <a:gd name="T61" fmla="*/ 724 h 764"/>
                  <a:gd name="T62" fmla="*/ 721 w 752"/>
                  <a:gd name="T63" fmla="*/ 32 h 764"/>
                  <a:gd name="T64" fmla="*/ 40 w 752"/>
                  <a:gd name="T65" fmla="*/ 239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2" h="764">
                    <a:moveTo>
                      <a:pt x="566" y="764"/>
                    </a:moveTo>
                    <a:lnTo>
                      <a:pt x="562" y="763"/>
                    </a:lnTo>
                    <a:lnTo>
                      <a:pt x="557" y="761"/>
                    </a:lnTo>
                    <a:lnTo>
                      <a:pt x="5" y="243"/>
                    </a:lnTo>
                    <a:lnTo>
                      <a:pt x="2" y="240"/>
                    </a:lnTo>
                    <a:lnTo>
                      <a:pt x="0" y="237"/>
                    </a:lnTo>
                    <a:lnTo>
                      <a:pt x="0" y="233"/>
                    </a:lnTo>
                    <a:lnTo>
                      <a:pt x="0" y="230"/>
                    </a:lnTo>
                    <a:lnTo>
                      <a:pt x="1" y="227"/>
                    </a:lnTo>
                    <a:lnTo>
                      <a:pt x="4" y="224"/>
                    </a:lnTo>
                    <a:lnTo>
                      <a:pt x="7" y="221"/>
                    </a:lnTo>
                    <a:lnTo>
                      <a:pt x="10" y="220"/>
                    </a:lnTo>
                    <a:lnTo>
                      <a:pt x="735" y="0"/>
                    </a:lnTo>
                    <a:lnTo>
                      <a:pt x="738" y="0"/>
                    </a:lnTo>
                    <a:lnTo>
                      <a:pt x="742" y="0"/>
                    </a:lnTo>
                    <a:lnTo>
                      <a:pt x="745" y="1"/>
                    </a:lnTo>
                    <a:lnTo>
                      <a:pt x="748" y="3"/>
                    </a:lnTo>
                    <a:lnTo>
                      <a:pt x="750" y="6"/>
                    </a:lnTo>
                    <a:lnTo>
                      <a:pt x="752" y="9"/>
                    </a:lnTo>
                    <a:lnTo>
                      <a:pt x="752" y="13"/>
                    </a:lnTo>
                    <a:lnTo>
                      <a:pt x="752" y="16"/>
                    </a:lnTo>
                    <a:lnTo>
                      <a:pt x="579" y="754"/>
                    </a:lnTo>
                    <a:lnTo>
                      <a:pt x="578" y="757"/>
                    </a:lnTo>
                    <a:lnTo>
                      <a:pt x="576" y="760"/>
                    </a:lnTo>
                    <a:lnTo>
                      <a:pt x="574" y="762"/>
                    </a:lnTo>
                    <a:lnTo>
                      <a:pt x="570" y="763"/>
                    </a:lnTo>
                    <a:lnTo>
                      <a:pt x="568" y="764"/>
                    </a:lnTo>
                    <a:lnTo>
                      <a:pt x="566" y="764"/>
                    </a:lnTo>
                    <a:close/>
                    <a:moveTo>
                      <a:pt x="40" y="239"/>
                    </a:moveTo>
                    <a:lnTo>
                      <a:pt x="40" y="239"/>
                    </a:lnTo>
                    <a:lnTo>
                      <a:pt x="559" y="724"/>
                    </a:lnTo>
                    <a:lnTo>
                      <a:pt x="721" y="32"/>
                    </a:lnTo>
                    <a:lnTo>
                      <a:pt x="40"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33"/>
              <p:cNvSpPr>
                <a:spLocks/>
              </p:cNvSpPr>
              <p:nvPr userDrawn="1"/>
            </p:nvSpPr>
            <p:spPr bwMode="auto">
              <a:xfrm>
                <a:off x="519" y="2533"/>
                <a:ext cx="358" cy="357"/>
              </a:xfrm>
              <a:custGeom>
                <a:avLst/>
                <a:gdLst>
                  <a:gd name="T0" fmla="*/ 1058 w 1072"/>
                  <a:gd name="T1" fmla="*/ 1073 h 1073"/>
                  <a:gd name="T2" fmla="*/ 1054 w 1072"/>
                  <a:gd name="T3" fmla="*/ 1072 h 1073"/>
                  <a:gd name="T4" fmla="*/ 1049 w 1072"/>
                  <a:gd name="T5" fmla="*/ 1069 h 1073"/>
                  <a:gd name="T6" fmla="*/ 3 w 1072"/>
                  <a:gd name="T7" fmla="*/ 24 h 1073"/>
                  <a:gd name="T8" fmla="*/ 0 w 1072"/>
                  <a:gd name="T9" fmla="*/ 20 h 1073"/>
                  <a:gd name="T10" fmla="*/ 0 w 1072"/>
                  <a:gd name="T11" fmla="*/ 14 h 1073"/>
                  <a:gd name="T12" fmla="*/ 0 w 1072"/>
                  <a:gd name="T13" fmla="*/ 9 h 1073"/>
                  <a:gd name="T14" fmla="*/ 3 w 1072"/>
                  <a:gd name="T15" fmla="*/ 5 h 1073"/>
                  <a:gd name="T16" fmla="*/ 8 w 1072"/>
                  <a:gd name="T17" fmla="*/ 1 h 1073"/>
                  <a:gd name="T18" fmla="*/ 13 w 1072"/>
                  <a:gd name="T19" fmla="*/ 0 h 1073"/>
                  <a:gd name="T20" fmla="*/ 19 w 1072"/>
                  <a:gd name="T21" fmla="*/ 1 h 1073"/>
                  <a:gd name="T22" fmla="*/ 23 w 1072"/>
                  <a:gd name="T23" fmla="*/ 5 h 1073"/>
                  <a:gd name="T24" fmla="*/ 1068 w 1072"/>
                  <a:gd name="T25" fmla="*/ 1049 h 1073"/>
                  <a:gd name="T26" fmla="*/ 1071 w 1072"/>
                  <a:gd name="T27" fmla="*/ 1054 h 1073"/>
                  <a:gd name="T28" fmla="*/ 1072 w 1072"/>
                  <a:gd name="T29" fmla="*/ 1059 h 1073"/>
                  <a:gd name="T30" fmla="*/ 1071 w 1072"/>
                  <a:gd name="T31" fmla="*/ 1065 h 1073"/>
                  <a:gd name="T32" fmla="*/ 1068 w 1072"/>
                  <a:gd name="T33" fmla="*/ 1069 h 1073"/>
                  <a:gd name="T34" fmla="*/ 1064 w 1072"/>
                  <a:gd name="T35" fmla="*/ 1072 h 1073"/>
                  <a:gd name="T36" fmla="*/ 1058 w 1072"/>
                  <a:gd name="T37"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2" h="1073">
                    <a:moveTo>
                      <a:pt x="1058" y="1073"/>
                    </a:moveTo>
                    <a:lnTo>
                      <a:pt x="1054" y="1072"/>
                    </a:lnTo>
                    <a:lnTo>
                      <a:pt x="1049" y="1069"/>
                    </a:lnTo>
                    <a:lnTo>
                      <a:pt x="3" y="24"/>
                    </a:lnTo>
                    <a:lnTo>
                      <a:pt x="0" y="20"/>
                    </a:lnTo>
                    <a:lnTo>
                      <a:pt x="0" y="14"/>
                    </a:lnTo>
                    <a:lnTo>
                      <a:pt x="0" y="9"/>
                    </a:lnTo>
                    <a:lnTo>
                      <a:pt x="3" y="5"/>
                    </a:lnTo>
                    <a:lnTo>
                      <a:pt x="8" y="1"/>
                    </a:lnTo>
                    <a:lnTo>
                      <a:pt x="13" y="0"/>
                    </a:lnTo>
                    <a:lnTo>
                      <a:pt x="19" y="1"/>
                    </a:lnTo>
                    <a:lnTo>
                      <a:pt x="23" y="5"/>
                    </a:lnTo>
                    <a:lnTo>
                      <a:pt x="1068" y="1049"/>
                    </a:lnTo>
                    <a:lnTo>
                      <a:pt x="1071" y="1054"/>
                    </a:lnTo>
                    <a:lnTo>
                      <a:pt x="1072" y="1059"/>
                    </a:lnTo>
                    <a:lnTo>
                      <a:pt x="1071" y="1065"/>
                    </a:lnTo>
                    <a:lnTo>
                      <a:pt x="1068" y="1069"/>
                    </a:lnTo>
                    <a:lnTo>
                      <a:pt x="1064" y="1072"/>
                    </a:lnTo>
                    <a:lnTo>
                      <a:pt x="1058" y="10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4"/>
              <p:cNvSpPr>
                <a:spLocks/>
              </p:cNvSpPr>
              <p:nvPr userDrawn="1"/>
            </p:nvSpPr>
            <p:spPr bwMode="auto">
              <a:xfrm>
                <a:off x="2788" y="2595"/>
                <a:ext cx="657" cy="656"/>
              </a:xfrm>
              <a:custGeom>
                <a:avLst/>
                <a:gdLst>
                  <a:gd name="T0" fmla="*/ 1958 w 1972"/>
                  <a:gd name="T1" fmla="*/ 1970 h 1970"/>
                  <a:gd name="T2" fmla="*/ 1953 w 1972"/>
                  <a:gd name="T3" fmla="*/ 1969 h 1970"/>
                  <a:gd name="T4" fmla="*/ 1948 w 1972"/>
                  <a:gd name="T5" fmla="*/ 1967 h 1970"/>
                  <a:gd name="T6" fmla="*/ 5 w 1972"/>
                  <a:gd name="T7" fmla="*/ 23 h 1970"/>
                  <a:gd name="T8" fmla="*/ 1 w 1972"/>
                  <a:gd name="T9" fmla="*/ 18 h 1970"/>
                  <a:gd name="T10" fmla="*/ 0 w 1972"/>
                  <a:gd name="T11" fmla="*/ 13 h 1970"/>
                  <a:gd name="T12" fmla="*/ 1 w 1972"/>
                  <a:gd name="T13" fmla="*/ 7 h 1970"/>
                  <a:gd name="T14" fmla="*/ 5 w 1972"/>
                  <a:gd name="T15" fmla="*/ 3 h 1970"/>
                  <a:gd name="T16" fmla="*/ 9 w 1972"/>
                  <a:gd name="T17" fmla="*/ 0 h 1970"/>
                  <a:gd name="T18" fmla="*/ 13 w 1972"/>
                  <a:gd name="T19" fmla="*/ 0 h 1970"/>
                  <a:gd name="T20" fmla="*/ 19 w 1972"/>
                  <a:gd name="T21" fmla="*/ 0 h 1970"/>
                  <a:gd name="T22" fmla="*/ 23 w 1972"/>
                  <a:gd name="T23" fmla="*/ 3 h 1970"/>
                  <a:gd name="T24" fmla="*/ 1968 w 1972"/>
                  <a:gd name="T25" fmla="*/ 1947 h 1970"/>
                  <a:gd name="T26" fmla="*/ 1971 w 1972"/>
                  <a:gd name="T27" fmla="*/ 1952 h 1970"/>
                  <a:gd name="T28" fmla="*/ 1972 w 1972"/>
                  <a:gd name="T29" fmla="*/ 1957 h 1970"/>
                  <a:gd name="T30" fmla="*/ 1971 w 1972"/>
                  <a:gd name="T31" fmla="*/ 1962 h 1970"/>
                  <a:gd name="T32" fmla="*/ 1968 w 1972"/>
                  <a:gd name="T33" fmla="*/ 1967 h 1970"/>
                  <a:gd name="T34" fmla="*/ 1963 w 1972"/>
                  <a:gd name="T35" fmla="*/ 1969 h 1970"/>
                  <a:gd name="T36" fmla="*/ 1958 w 1972"/>
                  <a:gd name="T37" fmla="*/ 1970 h 1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2" h="1970">
                    <a:moveTo>
                      <a:pt x="1958" y="1970"/>
                    </a:moveTo>
                    <a:lnTo>
                      <a:pt x="1953" y="1969"/>
                    </a:lnTo>
                    <a:lnTo>
                      <a:pt x="1948" y="1967"/>
                    </a:lnTo>
                    <a:lnTo>
                      <a:pt x="5" y="23"/>
                    </a:lnTo>
                    <a:lnTo>
                      <a:pt x="1" y="18"/>
                    </a:lnTo>
                    <a:lnTo>
                      <a:pt x="0" y="13"/>
                    </a:lnTo>
                    <a:lnTo>
                      <a:pt x="1" y="7"/>
                    </a:lnTo>
                    <a:lnTo>
                      <a:pt x="5" y="3"/>
                    </a:lnTo>
                    <a:lnTo>
                      <a:pt x="9" y="0"/>
                    </a:lnTo>
                    <a:lnTo>
                      <a:pt x="13" y="0"/>
                    </a:lnTo>
                    <a:lnTo>
                      <a:pt x="19" y="0"/>
                    </a:lnTo>
                    <a:lnTo>
                      <a:pt x="23" y="3"/>
                    </a:lnTo>
                    <a:lnTo>
                      <a:pt x="1968" y="1947"/>
                    </a:lnTo>
                    <a:lnTo>
                      <a:pt x="1971" y="1952"/>
                    </a:lnTo>
                    <a:lnTo>
                      <a:pt x="1972" y="1957"/>
                    </a:lnTo>
                    <a:lnTo>
                      <a:pt x="1971" y="1962"/>
                    </a:lnTo>
                    <a:lnTo>
                      <a:pt x="1968" y="1967"/>
                    </a:lnTo>
                    <a:lnTo>
                      <a:pt x="1963" y="1969"/>
                    </a:lnTo>
                    <a:lnTo>
                      <a:pt x="1958" y="1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5"/>
              <p:cNvSpPr>
                <a:spLocks/>
              </p:cNvSpPr>
              <p:nvPr userDrawn="1"/>
            </p:nvSpPr>
            <p:spPr bwMode="auto">
              <a:xfrm>
                <a:off x="3417" y="1733"/>
                <a:ext cx="553" cy="553"/>
              </a:xfrm>
              <a:custGeom>
                <a:avLst/>
                <a:gdLst>
                  <a:gd name="T0" fmla="*/ 1646 w 1659"/>
                  <a:gd name="T1" fmla="*/ 1659 h 1659"/>
                  <a:gd name="T2" fmla="*/ 1641 w 1659"/>
                  <a:gd name="T3" fmla="*/ 1658 h 1659"/>
                  <a:gd name="T4" fmla="*/ 1637 w 1659"/>
                  <a:gd name="T5" fmla="*/ 1654 h 1659"/>
                  <a:gd name="T6" fmla="*/ 4 w 1659"/>
                  <a:gd name="T7" fmla="*/ 22 h 1659"/>
                  <a:gd name="T8" fmla="*/ 1 w 1659"/>
                  <a:gd name="T9" fmla="*/ 18 h 1659"/>
                  <a:gd name="T10" fmla="*/ 0 w 1659"/>
                  <a:gd name="T11" fmla="*/ 14 h 1659"/>
                  <a:gd name="T12" fmla="*/ 1 w 1659"/>
                  <a:gd name="T13" fmla="*/ 8 h 1659"/>
                  <a:gd name="T14" fmla="*/ 4 w 1659"/>
                  <a:gd name="T15" fmla="*/ 4 h 1659"/>
                  <a:gd name="T16" fmla="*/ 8 w 1659"/>
                  <a:gd name="T17" fmla="*/ 1 h 1659"/>
                  <a:gd name="T18" fmla="*/ 14 w 1659"/>
                  <a:gd name="T19" fmla="*/ 0 h 1659"/>
                  <a:gd name="T20" fmla="*/ 18 w 1659"/>
                  <a:gd name="T21" fmla="*/ 1 h 1659"/>
                  <a:gd name="T22" fmla="*/ 23 w 1659"/>
                  <a:gd name="T23" fmla="*/ 4 h 1659"/>
                  <a:gd name="T24" fmla="*/ 1655 w 1659"/>
                  <a:gd name="T25" fmla="*/ 1636 h 1659"/>
                  <a:gd name="T26" fmla="*/ 1658 w 1659"/>
                  <a:gd name="T27" fmla="*/ 1640 h 1659"/>
                  <a:gd name="T28" fmla="*/ 1659 w 1659"/>
                  <a:gd name="T29" fmla="*/ 1646 h 1659"/>
                  <a:gd name="T30" fmla="*/ 1658 w 1659"/>
                  <a:gd name="T31" fmla="*/ 1650 h 1659"/>
                  <a:gd name="T32" fmla="*/ 1655 w 1659"/>
                  <a:gd name="T33" fmla="*/ 1654 h 1659"/>
                  <a:gd name="T34" fmla="*/ 1651 w 1659"/>
                  <a:gd name="T35" fmla="*/ 1658 h 1659"/>
                  <a:gd name="T36" fmla="*/ 1646 w 1659"/>
                  <a:gd name="T37" fmla="*/ 1659 h 1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9" h="1659">
                    <a:moveTo>
                      <a:pt x="1646" y="1659"/>
                    </a:moveTo>
                    <a:lnTo>
                      <a:pt x="1641" y="1658"/>
                    </a:lnTo>
                    <a:lnTo>
                      <a:pt x="1637" y="1654"/>
                    </a:lnTo>
                    <a:lnTo>
                      <a:pt x="4" y="22"/>
                    </a:lnTo>
                    <a:lnTo>
                      <a:pt x="1" y="18"/>
                    </a:lnTo>
                    <a:lnTo>
                      <a:pt x="0" y="14"/>
                    </a:lnTo>
                    <a:lnTo>
                      <a:pt x="1" y="8"/>
                    </a:lnTo>
                    <a:lnTo>
                      <a:pt x="4" y="4"/>
                    </a:lnTo>
                    <a:lnTo>
                      <a:pt x="8" y="1"/>
                    </a:lnTo>
                    <a:lnTo>
                      <a:pt x="14" y="0"/>
                    </a:lnTo>
                    <a:lnTo>
                      <a:pt x="18" y="1"/>
                    </a:lnTo>
                    <a:lnTo>
                      <a:pt x="23" y="4"/>
                    </a:lnTo>
                    <a:lnTo>
                      <a:pt x="1655" y="1636"/>
                    </a:lnTo>
                    <a:lnTo>
                      <a:pt x="1658" y="1640"/>
                    </a:lnTo>
                    <a:lnTo>
                      <a:pt x="1659" y="1646"/>
                    </a:lnTo>
                    <a:lnTo>
                      <a:pt x="1658" y="1650"/>
                    </a:lnTo>
                    <a:lnTo>
                      <a:pt x="1655" y="1654"/>
                    </a:lnTo>
                    <a:lnTo>
                      <a:pt x="1651" y="1658"/>
                    </a:lnTo>
                    <a:lnTo>
                      <a:pt x="1646" y="16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36"/>
              <p:cNvSpPr>
                <a:spLocks/>
              </p:cNvSpPr>
              <p:nvPr userDrawn="1"/>
            </p:nvSpPr>
            <p:spPr bwMode="auto">
              <a:xfrm>
                <a:off x="5266" y="3692"/>
                <a:ext cx="233" cy="233"/>
              </a:xfrm>
              <a:custGeom>
                <a:avLst/>
                <a:gdLst>
                  <a:gd name="T0" fmla="*/ 685 w 698"/>
                  <a:gd name="T1" fmla="*/ 699 h 699"/>
                  <a:gd name="T2" fmla="*/ 680 w 698"/>
                  <a:gd name="T3" fmla="*/ 698 h 699"/>
                  <a:gd name="T4" fmla="*/ 676 w 698"/>
                  <a:gd name="T5" fmla="*/ 694 h 699"/>
                  <a:gd name="T6" fmla="*/ 4 w 698"/>
                  <a:gd name="T7" fmla="*/ 24 h 699"/>
                  <a:gd name="T8" fmla="*/ 1 w 698"/>
                  <a:gd name="T9" fmla="*/ 19 h 699"/>
                  <a:gd name="T10" fmla="*/ 0 w 698"/>
                  <a:gd name="T11" fmla="*/ 14 h 699"/>
                  <a:gd name="T12" fmla="*/ 1 w 698"/>
                  <a:gd name="T13" fmla="*/ 9 h 699"/>
                  <a:gd name="T14" fmla="*/ 4 w 698"/>
                  <a:gd name="T15" fmla="*/ 5 h 699"/>
                  <a:gd name="T16" fmla="*/ 8 w 698"/>
                  <a:gd name="T17" fmla="*/ 1 h 699"/>
                  <a:gd name="T18" fmla="*/ 14 w 698"/>
                  <a:gd name="T19" fmla="*/ 0 h 699"/>
                  <a:gd name="T20" fmla="*/ 19 w 698"/>
                  <a:gd name="T21" fmla="*/ 1 h 699"/>
                  <a:gd name="T22" fmla="*/ 23 w 698"/>
                  <a:gd name="T23" fmla="*/ 5 h 699"/>
                  <a:gd name="T24" fmla="*/ 695 w 698"/>
                  <a:gd name="T25" fmla="*/ 676 h 699"/>
                  <a:gd name="T26" fmla="*/ 697 w 698"/>
                  <a:gd name="T27" fmla="*/ 680 h 699"/>
                  <a:gd name="T28" fmla="*/ 698 w 698"/>
                  <a:gd name="T29" fmla="*/ 685 h 699"/>
                  <a:gd name="T30" fmla="*/ 697 w 698"/>
                  <a:gd name="T31" fmla="*/ 690 h 699"/>
                  <a:gd name="T32" fmla="*/ 695 w 698"/>
                  <a:gd name="T33" fmla="*/ 694 h 699"/>
                  <a:gd name="T34" fmla="*/ 690 w 698"/>
                  <a:gd name="T35" fmla="*/ 698 h 699"/>
                  <a:gd name="T36" fmla="*/ 685 w 698"/>
                  <a:gd name="T3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8" h="699">
                    <a:moveTo>
                      <a:pt x="685" y="699"/>
                    </a:moveTo>
                    <a:lnTo>
                      <a:pt x="680" y="698"/>
                    </a:lnTo>
                    <a:lnTo>
                      <a:pt x="676" y="694"/>
                    </a:lnTo>
                    <a:lnTo>
                      <a:pt x="4" y="24"/>
                    </a:lnTo>
                    <a:lnTo>
                      <a:pt x="1" y="19"/>
                    </a:lnTo>
                    <a:lnTo>
                      <a:pt x="0" y="14"/>
                    </a:lnTo>
                    <a:lnTo>
                      <a:pt x="1" y="9"/>
                    </a:lnTo>
                    <a:lnTo>
                      <a:pt x="4" y="5"/>
                    </a:lnTo>
                    <a:lnTo>
                      <a:pt x="8" y="1"/>
                    </a:lnTo>
                    <a:lnTo>
                      <a:pt x="14" y="0"/>
                    </a:lnTo>
                    <a:lnTo>
                      <a:pt x="19" y="1"/>
                    </a:lnTo>
                    <a:lnTo>
                      <a:pt x="23" y="5"/>
                    </a:lnTo>
                    <a:lnTo>
                      <a:pt x="695" y="676"/>
                    </a:lnTo>
                    <a:lnTo>
                      <a:pt x="697" y="680"/>
                    </a:lnTo>
                    <a:lnTo>
                      <a:pt x="698" y="685"/>
                    </a:lnTo>
                    <a:lnTo>
                      <a:pt x="697" y="690"/>
                    </a:lnTo>
                    <a:lnTo>
                      <a:pt x="695" y="694"/>
                    </a:lnTo>
                    <a:lnTo>
                      <a:pt x="690" y="698"/>
                    </a:lnTo>
                    <a:lnTo>
                      <a:pt x="685" y="6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7"/>
              <p:cNvSpPr>
                <a:spLocks noEditPoints="1"/>
              </p:cNvSpPr>
              <p:nvPr userDrawn="1"/>
            </p:nvSpPr>
            <p:spPr bwMode="auto">
              <a:xfrm>
                <a:off x="5457" y="3538"/>
                <a:ext cx="251" cy="256"/>
              </a:xfrm>
              <a:custGeom>
                <a:avLst/>
                <a:gdLst>
                  <a:gd name="T0" fmla="*/ 567 w 753"/>
                  <a:gd name="T1" fmla="*/ 766 h 766"/>
                  <a:gd name="T2" fmla="*/ 562 w 753"/>
                  <a:gd name="T3" fmla="*/ 765 h 766"/>
                  <a:gd name="T4" fmla="*/ 558 w 753"/>
                  <a:gd name="T5" fmla="*/ 762 h 766"/>
                  <a:gd name="T6" fmla="*/ 4 w 753"/>
                  <a:gd name="T7" fmla="*/ 244 h 766"/>
                  <a:gd name="T8" fmla="*/ 2 w 753"/>
                  <a:gd name="T9" fmla="*/ 241 h 766"/>
                  <a:gd name="T10" fmla="*/ 1 w 753"/>
                  <a:gd name="T11" fmla="*/ 238 h 766"/>
                  <a:gd name="T12" fmla="*/ 0 w 753"/>
                  <a:gd name="T13" fmla="*/ 235 h 766"/>
                  <a:gd name="T14" fmla="*/ 1 w 753"/>
                  <a:gd name="T15" fmla="*/ 231 h 766"/>
                  <a:gd name="T16" fmla="*/ 2 w 753"/>
                  <a:gd name="T17" fmla="*/ 228 h 766"/>
                  <a:gd name="T18" fmla="*/ 4 w 753"/>
                  <a:gd name="T19" fmla="*/ 225 h 766"/>
                  <a:gd name="T20" fmla="*/ 7 w 753"/>
                  <a:gd name="T21" fmla="*/ 223 h 766"/>
                  <a:gd name="T22" fmla="*/ 10 w 753"/>
                  <a:gd name="T23" fmla="*/ 222 h 766"/>
                  <a:gd name="T24" fmla="*/ 735 w 753"/>
                  <a:gd name="T25" fmla="*/ 1 h 766"/>
                  <a:gd name="T26" fmla="*/ 739 w 753"/>
                  <a:gd name="T27" fmla="*/ 0 h 766"/>
                  <a:gd name="T28" fmla="*/ 742 w 753"/>
                  <a:gd name="T29" fmla="*/ 1 h 766"/>
                  <a:gd name="T30" fmla="*/ 745 w 753"/>
                  <a:gd name="T31" fmla="*/ 3 h 766"/>
                  <a:gd name="T32" fmla="*/ 748 w 753"/>
                  <a:gd name="T33" fmla="*/ 5 h 766"/>
                  <a:gd name="T34" fmla="*/ 751 w 753"/>
                  <a:gd name="T35" fmla="*/ 7 h 766"/>
                  <a:gd name="T36" fmla="*/ 752 w 753"/>
                  <a:gd name="T37" fmla="*/ 10 h 766"/>
                  <a:gd name="T38" fmla="*/ 753 w 753"/>
                  <a:gd name="T39" fmla="*/ 14 h 766"/>
                  <a:gd name="T40" fmla="*/ 753 w 753"/>
                  <a:gd name="T41" fmla="*/ 18 h 766"/>
                  <a:gd name="T42" fmla="*/ 580 w 753"/>
                  <a:gd name="T43" fmla="*/ 755 h 766"/>
                  <a:gd name="T44" fmla="*/ 579 w 753"/>
                  <a:gd name="T45" fmla="*/ 758 h 766"/>
                  <a:gd name="T46" fmla="*/ 577 w 753"/>
                  <a:gd name="T47" fmla="*/ 761 h 766"/>
                  <a:gd name="T48" fmla="*/ 574 w 753"/>
                  <a:gd name="T49" fmla="*/ 764 h 766"/>
                  <a:gd name="T50" fmla="*/ 571 w 753"/>
                  <a:gd name="T51" fmla="*/ 765 h 766"/>
                  <a:gd name="T52" fmla="*/ 569 w 753"/>
                  <a:gd name="T53" fmla="*/ 766 h 766"/>
                  <a:gd name="T54" fmla="*/ 567 w 753"/>
                  <a:gd name="T55" fmla="*/ 766 h 766"/>
                  <a:gd name="T56" fmla="*/ 40 w 753"/>
                  <a:gd name="T57" fmla="*/ 240 h 766"/>
                  <a:gd name="T58" fmla="*/ 40 w 753"/>
                  <a:gd name="T59" fmla="*/ 240 h 766"/>
                  <a:gd name="T60" fmla="*/ 559 w 753"/>
                  <a:gd name="T61" fmla="*/ 726 h 766"/>
                  <a:gd name="T62" fmla="*/ 720 w 753"/>
                  <a:gd name="T63" fmla="*/ 34 h 766"/>
                  <a:gd name="T64" fmla="*/ 40 w 753"/>
                  <a:gd name="T65" fmla="*/ 24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3" h="766">
                    <a:moveTo>
                      <a:pt x="567" y="766"/>
                    </a:moveTo>
                    <a:lnTo>
                      <a:pt x="562" y="765"/>
                    </a:lnTo>
                    <a:lnTo>
                      <a:pt x="558" y="762"/>
                    </a:lnTo>
                    <a:lnTo>
                      <a:pt x="4" y="244"/>
                    </a:lnTo>
                    <a:lnTo>
                      <a:pt x="2" y="241"/>
                    </a:lnTo>
                    <a:lnTo>
                      <a:pt x="1" y="238"/>
                    </a:lnTo>
                    <a:lnTo>
                      <a:pt x="0" y="235"/>
                    </a:lnTo>
                    <a:lnTo>
                      <a:pt x="1" y="231"/>
                    </a:lnTo>
                    <a:lnTo>
                      <a:pt x="2" y="228"/>
                    </a:lnTo>
                    <a:lnTo>
                      <a:pt x="4" y="225"/>
                    </a:lnTo>
                    <a:lnTo>
                      <a:pt x="7" y="223"/>
                    </a:lnTo>
                    <a:lnTo>
                      <a:pt x="10" y="222"/>
                    </a:lnTo>
                    <a:lnTo>
                      <a:pt x="735" y="1"/>
                    </a:lnTo>
                    <a:lnTo>
                      <a:pt x="739" y="0"/>
                    </a:lnTo>
                    <a:lnTo>
                      <a:pt x="742" y="1"/>
                    </a:lnTo>
                    <a:lnTo>
                      <a:pt x="745" y="3"/>
                    </a:lnTo>
                    <a:lnTo>
                      <a:pt x="748" y="5"/>
                    </a:lnTo>
                    <a:lnTo>
                      <a:pt x="751" y="7"/>
                    </a:lnTo>
                    <a:lnTo>
                      <a:pt x="752" y="10"/>
                    </a:lnTo>
                    <a:lnTo>
                      <a:pt x="753" y="14"/>
                    </a:lnTo>
                    <a:lnTo>
                      <a:pt x="753" y="18"/>
                    </a:lnTo>
                    <a:lnTo>
                      <a:pt x="580" y="755"/>
                    </a:lnTo>
                    <a:lnTo>
                      <a:pt x="579" y="758"/>
                    </a:lnTo>
                    <a:lnTo>
                      <a:pt x="577" y="761"/>
                    </a:lnTo>
                    <a:lnTo>
                      <a:pt x="574" y="764"/>
                    </a:lnTo>
                    <a:lnTo>
                      <a:pt x="571" y="765"/>
                    </a:lnTo>
                    <a:lnTo>
                      <a:pt x="569" y="766"/>
                    </a:lnTo>
                    <a:lnTo>
                      <a:pt x="567" y="766"/>
                    </a:lnTo>
                    <a:close/>
                    <a:moveTo>
                      <a:pt x="40" y="240"/>
                    </a:moveTo>
                    <a:lnTo>
                      <a:pt x="40" y="240"/>
                    </a:lnTo>
                    <a:lnTo>
                      <a:pt x="559" y="726"/>
                    </a:lnTo>
                    <a:lnTo>
                      <a:pt x="720" y="34"/>
                    </a:lnTo>
                    <a:lnTo>
                      <a:pt x="4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8"/>
              <p:cNvSpPr>
                <a:spLocks/>
              </p:cNvSpPr>
              <p:nvPr userDrawn="1"/>
            </p:nvSpPr>
            <p:spPr bwMode="auto">
              <a:xfrm>
                <a:off x="5164" y="1444"/>
                <a:ext cx="595" cy="600"/>
              </a:xfrm>
              <a:custGeom>
                <a:avLst/>
                <a:gdLst>
                  <a:gd name="T0" fmla="*/ 1784 w 1784"/>
                  <a:gd name="T1" fmla="*/ 1802 h 1802"/>
                  <a:gd name="T2" fmla="*/ 4 w 1784"/>
                  <a:gd name="T3" fmla="*/ 22 h 1802"/>
                  <a:gd name="T4" fmla="*/ 1 w 1784"/>
                  <a:gd name="T5" fmla="*/ 18 h 1802"/>
                  <a:gd name="T6" fmla="*/ 0 w 1784"/>
                  <a:gd name="T7" fmla="*/ 14 h 1802"/>
                  <a:gd name="T8" fmla="*/ 1 w 1784"/>
                  <a:gd name="T9" fmla="*/ 8 h 1802"/>
                  <a:gd name="T10" fmla="*/ 4 w 1784"/>
                  <a:gd name="T11" fmla="*/ 4 h 1802"/>
                  <a:gd name="T12" fmla="*/ 9 w 1784"/>
                  <a:gd name="T13" fmla="*/ 1 h 1802"/>
                  <a:gd name="T14" fmla="*/ 14 w 1784"/>
                  <a:gd name="T15" fmla="*/ 0 h 1802"/>
                  <a:gd name="T16" fmla="*/ 20 w 1784"/>
                  <a:gd name="T17" fmla="*/ 1 h 1802"/>
                  <a:gd name="T18" fmla="*/ 24 w 1784"/>
                  <a:gd name="T19" fmla="*/ 4 h 1802"/>
                  <a:gd name="T20" fmla="*/ 1784 w 1784"/>
                  <a:gd name="T21" fmla="*/ 1764 h 1802"/>
                  <a:gd name="T22" fmla="*/ 1784 w 1784"/>
                  <a:gd name="T23" fmla="*/ 1802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4" h="1802">
                    <a:moveTo>
                      <a:pt x="1784" y="1802"/>
                    </a:moveTo>
                    <a:lnTo>
                      <a:pt x="4" y="22"/>
                    </a:lnTo>
                    <a:lnTo>
                      <a:pt x="1" y="18"/>
                    </a:lnTo>
                    <a:lnTo>
                      <a:pt x="0" y="14"/>
                    </a:lnTo>
                    <a:lnTo>
                      <a:pt x="1" y="8"/>
                    </a:lnTo>
                    <a:lnTo>
                      <a:pt x="4" y="4"/>
                    </a:lnTo>
                    <a:lnTo>
                      <a:pt x="9" y="1"/>
                    </a:lnTo>
                    <a:lnTo>
                      <a:pt x="14" y="0"/>
                    </a:lnTo>
                    <a:lnTo>
                      <a:pt x="20" y="1"/>
                    </a:lnTo>
                    <a:lnTo>
                      <a:pt x="24" y="4"/>
                    </a:lnTo>
                    <a:lnTo>
                      <a:pt x="1784" y="1764"/>
                    </a:lnTo>
                    <a:lnTo>
                      <a:pt x="1784" y="18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9"/>
              <p:cNvSpPr>
                <a:spLocks/>
              </p:cNvSpPr>
              <p:nvPr userDrawn="1"/>
            </p:nvSpPr>
            <p:spPr bwMode="auto">
              <a:xfrm>
                <a:off x="4188" y="1630"/>
                <a:ext cx="478" cy="477"/>
              </a:xfrm>
              <a:custGeom>
                <a:avLst/>
                <a:gdLst>
                  <a:gd name="T0" fmla="*/ 1424 w 1434"/>
                  <a:gd name="T1" fmla="*/ 1433 h 1433"/>
                  <a:gd name="T2" fmla="*/ 1421 w 1434"/>
                  <a:gd name="T3" fmla="*/ 1433 h 1433"/>
                  <a:gd name="T4" fmla="*/ 1417 w 1434"/>
                  <a:gd name="T5" fmla="*/ 1431 h 1433"/>
                  <a:gd name="T6" fmla="*/ 2 w 1434"/>
                  <a:gd name="T7" fmla="*/ 16 h 1433"/>
                  <a:gd name="T8" fmla="*/ 0 w 1434"/>
                  <a:gd name="T9" fmla="*/ 13 h 1433"/>
                  <a:gd name="T10" fmla="*/ 0 w 1434"/>
                  <a:gd name="T11" fmla="*/ 9 h 1433"/>
                  <a:gd name="T12" fmla="*/ 0 w 1434"/>
                  <a:gd name="T13" fmla="*/ 6 h 1433"/>
                  <a:gd name="T14" fmla="*/ 2 w 1434"/>
                  <a:gd name="T15" fmla="*/ 3 h 1433"/>
                  <a:gd name="T16" fmla="*/ 5 w 1434"/>
                  <a:gd name="T17" fmla="*/ 1 h 1433"/>
                  <a:gd name="T18" fmla="*/ 8 w 1434"/>
                  <a:gd name="T19" fmla="*/ 0 h 1433"/>
                  <a:gd name="T20" fmla="*/ 12 w 1434"/>
                  <a:gd name="T21" fmla="*/ 1 h 1433"/>
                  <a:gd name="T22" fmla="*/ 16 w 1434"/>
                  <a:gd name="T23" fmla="*/ 3 h 1433"/>
                  <a:gd name="T24" fmla="*/ 1430 w 1434"/>
                  <a:gd name="T25" fmla="*/ 1417 h 1433"/>
                  <a:gd name="T26" fmla="*/ 1432 w 1434"/>
                  <a:gd name="T27" fmla="*/ 1420 h 1433"/>
                  <a:gd name="T28" fmla="*/ 1434 w 1434"/>
                  <a:gd name="T29" fmla="*/ 1424 h 1433"/>
                  <a:gd name="T30" fmla="*/ 1432 w 1434"/>
                  <a:gd name="T31" fmla="*/ 1428 h 1433"/>
                  <a:gd name="T32" fmla="*/ 1430 w 1434"/>
                  <a:gd name="T33" fmla="*/ 1431 h 1433"/>
                  <a:gd name="T34" fmla="*/ 1427 w 1434"/>
                  <a:gd name="T35" fmla="*/ 1433 h 1433"/>
                  <a:gd name="T36" fmla="*/ 1424 w 1434"/>
                  <a:gd name="T37" fmla="*/ 1433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4" h="1433">
                    <a:moveTo>
                      <a:pt x="1424" y="1433"/>
                    </a:moveTo>
                    <a:lnTo>
                      <a:pt x="1421" y="1433"/>
                    </a:lnTo>
                    <a:lnTo>
                      <a:pt x="1417" y="1431"/>
                    </a:lnTo>
                    <a:lnTo>
                      <a:pt x="2" y="16"/>
                    </a:lnTo>
                    <a:lnTo>
                      <a:pt x="0" y="13"/>
                    </a:lnTo>
                    <a:lnTo>
                      <a:pt x="0" y="9"/>
                    </a:lnTo>
                    <a:lnTo>
                      <a:pt x="0" y="6"/>
                    </a:lnTo>
                    <a:lnTo>
                      <a:pt x="2" y="3"/>
                    </a:lnTo>
                    <a:lnTo>
                      <a:pt x="5" y="1"/>
                    </a:lnTo>
                    <a:lnTo>
                      <a:pt x="8" y="0"/>
                    </a:lnTo>
                    <a:lnTo>
                      <a:pt x="12" y="1"/>
                    </a:lnTo>
                    <a:lnTo>
                      <a:pt x="16" y="3"/>
                    </a:lnTo>
                    <a:lnTo>
                      <a:pt x="1430" y="1417"/>
                    </a:lnTo>
                    <a:lnTo>
                      <a:pt x="1432" y="1420"/>
                    </a:lnTo>
                    <a:lnTo>
                      <a:pt x="1434" y="1424"/>
                    </a:lnTo>
                    <a:lnTo>
                      <a:pt x="1432" y="1428"/>
                    </a:lnTo>
                    <a:lnTo>
                      <a:pt x="1430" y="1431"/>
                    </a:lnTo>
                    <a:lnTo>
                      <a:pt x="1427" y="1433"/>
                    </a:lnTo>
                    <a:lnTo>
                      <a:pt x="1424" y="14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0"/>
              <p:cNvSpPr>
                <a:spLocks/>
              </p:cNvSpPr>
              <p:nvPr userDrawn="1"/>
            </p:nvSpPr>
            <p:spPr bwMode="auto">
              <a:xfrm>
                <a:off x="3086" y="3503"/>
                <a:ext cx="608" cy="608"/>
              </a:xfrm>
              <a:custGeom>
                <a:avLst/>
                <a:gdLst>
                  <a:gd name="T0" fmla="*/ 1810 w 1824"/>
                  <a:gd name="T1" fmla="*/ 1823 h 1823"/>
                  <a:gd name="T2" fmla="*/ 1805 w 1824"/>
                  <a:gd name="T3" fmla="*/ 1822 h 1823"/>
                  <a:gd name="T4" fmla="*/ 1800 w 1824"/>
                  <a:gd name="T5" fmla="*/ 1819 h 1823"/>
                  <a:gd name="T6" fmla="*/ 5 w 1824"/>
                  <a:gd name="T7" fmla="*/ 22 h 1823"/>
                  <a:gd name="T8" fmla="*/ 1 w 1824"/>
                  <a:gd name="T9" fmla="*/ 18 h 1823"/>
                  <a:gd name="T10" fmla="*/ 0 w 1824"/>
                  <a:gd name="T11" fmla="*/ 14 h 1823"/>
                  <a:gd name="T12" fmla="*/ 1 w 1824"/>
                  <a:gd name="T13" fmla="*/ 8 h 1823"/>
                  <a:gd name="T14" fmla="*/ 5 w 1824"/>
                  <a:gd name="T15" fmla="*/ 4 h 1823"/>
                  <a:gd name="T16" fmla="*/ 9 w 1824"/>
                  <a:gd name="T17" fmla="*/ 1 h 1823"/>
                  <a:gd name="T18" fmla="*/ 14 w 1824"/>
                  <a:gd name="T19" fmla="*/ 0 h 1823"/>
                  <a:gd name="T20" fmla="*/ 19 w 1824"/>
                  <a:gd name="T21" fmla="*/ 1 h 1823"/>
                  <a:gd name="T22" fmla="*/ 23 w 1824"/>
                  <a:gd name="T23" fmla="*/ 4 h 1823"/>
                  <a:gd name="T24" fmla="*/ 1820 w 1824"/>
                  <a:gd name="T25" fmla="*/ 1799 h 1823"/>
                  <a:gd name="T26" fmla="*/ 1823 w 1824"/>
                  <a:gd name="T27" fmla="*/ 1804 h 1823"/>
                  <a:gd name="T28" fmla="*/ 1824 w 1824"/>
                  <a:gd name="T29" fmla="*/ 1809 h 1823"/>
                  <a:gd name="T30" fmla="*/ 1823 w 1824"/>
                  <a:gd name="T31" fmla="*/ 1814 h 1823"/>
                  <a:gd name="T32" fmla="*/ 1820 w 1824"/>
                  <a:gd name="T33" fmla="*/ 1819 h 1823"/>
                  <a:gd name="T34" fmla="*/ 1815 w 1824"/>
                  <a:gd name="T35" fmla="*/ 1822 h 1823"/>
                  <a:gd name="T36" fmla="*/ 1810 w 1824"/>
                  <a:gd name="T37" fmla="*/ 1823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4" h="1823">
                    <a:moveTo>
                      <a:pt x="1810" y="1823"/>
                    </a:moveTo>
                    <a:lnTo>
                      <a:pt x="1805" y="1822"/>
                    </a:lnTo>
                    <a:lnTo>
                      <a:pt x="1800" y="1819"/>
                    </a:lnTo>
                    <a:lnTo>
                      <a:pt x="5" y="22"/>
                    </a:lnTo>
                    <a:lnTo>
                      <a:pt x="1" y="18"/>
                    </a:lnTo>
                    <a:lnTo>
                      <a:pt x="0" y="14"/>
                    </a:lnTo>
                    <a:lnTo>
                      <a:pt x="1" y="8"/>
                    </a:lnTo>
                    <a:lnTo>
                      <a:pt x="5" y="4"/>
                    </a:lnTo>
                    <a:lnTo>
                      <a:pt x="9" y="1"/>
                    </a:lnTo>
                    <a:lnTo>
                      <a:pt x="14" y="0"/>
                    </a:lnTo>
                    <a:lnTo>
                      <a:pt x="19" y="1"/>
                    </a:lnTo>
                    <a:lnTo>
                      <a:pt x="23" y="4"/>
                    </a:lnTo>
                    <a:lnTo>
                      <a:pt x="1820" y="1799"/>
                    </a:lnTo>
                    <a:lnTo>
                      <a:pt x="1823" y="1804"/>
                    </a:lnTo>
                    <a:lnTo>
                      <a:pt x="1824" y="1809"/>
                    </a:lnTo>
                    <a:lnTo>
                      <a:pt x="1823" y="1814"/>
                    </a:lnTo>
                    <a:lnTo>
                      <a:pt x="1820" y="1819"/>
                    </a:lnTo>
                    <a:lnTo>
                      <a:pt x="1815" y="1822"/>
                    </a:lnTo>
                    <a:lnTo>
                      <a:pt x="1810" y="18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41"/>
              <p:cNvSpPr>
                <a:spLocks/>
              </p:cNvSpPr>
              <p:nvPr userDrawn="1"/>
            </p:nvSpPr>
            <p:spPr bwMode="auto">
              <a:xfrm>
                <a:off x="1815" y="1539"/>
                <a:ext cx="809" cy="426"/>
              </a:xfrm>
              <a:custGeom>
                <a:avLst/>
                <a:gdLst>
                  <a:gd name="T0" fmla="*/ 2402 w 2429"/>
                  <a:gd name="T1" fmla="*/ 1265 h 1278"/>
                  <a:gd name="T2" fmla="*/ 2381 w 2429"/>
                  <a:gd name="T3" fmla="*/ 1172 h 1278"/>
                  <a:gd name="T4" fmla="*/ 2324 w 2429"/>
                  <a:gd name="T5" fmla="*/ 1049 h 1278"/>
                  <a:gd name="T6" fmla="*/ 2277 w 2429"/>
                  <a:gd name="T7" fmla="*/ 989 h 1278"/>
                  <a:gd name="T8" fmla="*/ 2228 w 2429"/>
                  <a:gd name="T9" fmla="*/ 944 h 1278"/>
                  <a:gd name="T10" fmla="*/ 2215 w 2429"/>
                  <a:gd name="T11" fmla="*/ 900 h 1278"/>
                  <a:gd name="T12" fmla="*/ 2233 w 2429"/>
                  <a:gd name="T13" fmla="*/ 788 h 1278"/>
                  <a:gd name="T14" fmla="*/ 2257 w 2429"/>
                  <a:gd name="T15" fmla="*/ 658 h 1278"/>
                  <a:gd name="T16" fmla="*/ 2244 w 2429"/>
                  <a:gd name="T17" fmla="*/ 576 h 1278"/>
                  <a:gd name="T18" fmla="*/ 2222 w 2429"/>
                  <a:gd name="T19" fmla="*/ 543 h 1278"/>
                  <a:gd name="T20" fmla="*/ 2182 w 2429"/>
                  <a:gd name="T21" fmla="*/ 514 h 1278"/>
                  <a:gd name="T22" fmla="*/ 2125 w 2429"/>
                  <a:gd name="T23" fmla="*/ 500 h 1278"/>
                  <a:gd name="T24" fmla="*/ 2057 w 2429"/>
                  <a:gd name="T25" fmla="*/ 505 h 1278"/>
                  <a:gd name="T26" fmla="*/ 1978 w 2429"/>
                  <a:gd name="T27" fmla="*/ 530 h 1278"/>
                  <a:gd name="T28" fmla="*/ 1847 w 2429"/>
                  <a:gd name="T29" fmla="*/ 599 h 1278"/>
                  <a:gd name="T30" fmla="*/ 1640 w 2429"/>
                  <a:gd name="T31" fmla="*/ 749 h 1278"/>
                  <a:gd name="T32" fmla="*/ 1479 w 2429"/>
                  <a:gd name="T33" fmla="*/ 850 h 1278"/>
                  <a:gd name="T34" fmla="*/ 1342 w 2429"/>
                  <a:gd name="T35" fmla="*/ 913 h 1278"/>
                  <a:gd name="T36" fmla="*/ 1181 w 2429"/>
                  <a:gd name="T37" fmla="*/ 962 h 1278"/>
                  <a:gd name="T38" fmla="*/ 999 w 2429"/>
                  <a:gd name="T39" fmla="*/ 984 h 1278"/>
                  <a:gd name="T40" fmla="*/ 799 w 2429"/>
                  <a:gd name="T41" fmla="*/ 971 h 1278"/>
                  <a:gd name="T42" fmla="*/ 657 w 2429"/>
                  <a:gd name="T43" fmla="*/ 936 h 1278"/>
                  <a:gd name="T44" fmla="*/ 569 w 2429"/>
                  <a:gd name="T45" fmla="*/ 897 h 1278"/>
                  <a:gd name="T46" fmla="*/ 490 w 2429"/>
                  <a:gd name="T47" fmla="*/ 842 h 1278"/>
                  <a:gd name="T48" fmla="*/ 382 w 2429"/>
                  <a:gd name="T49" fmla="*/ 737 h 1278"/>
                  <a:gd name="T50" fmla="*/ 216 w 2429"/>
                  <a:gd name="T51" fmla="*/ 519 h 1278"/>
                  <a:gd name="T52" fmla="*/ 72 w 2429"/>
                  <a:gd name="T53" fmla="*/ 283 h 1278"/>
                  <a:gd name="T54" fmla="*/ 10 w 2429"/>
                  <a:gd name="T55" fmla="*/ 118 h 1278"/>
                  <a:gd name="T56" fmla="*/ 0 w 2429"/>
                  <a:gd name="T57" fmla="*/ 26 h 1278"/>
                  <a:gd name="T58" fmla="*/ 18 w 2429"/>
                  <a:gd name="T59" fmla="*/ 0 h 1278"/>
                  <a:gd name="T60" fmla="*/ 30 w 2429"/>
                  <a:gd name="T61" fmla="*/ 18 h 1278"/>
                  <a:gd name="T62" fmla="*/ 30 w 2429"/>
                  <a:gd name="T63" fmla="*/ 74 h 1278"/>
                  <a:gd name="T64" fmla="*/ 65 w 2429"/>
                  <a:gd name="T65" fmla="*/ 202 h 1278"/>
                  <a:gd name="T66" fmla="*/ 170 w 2429"/>
                  <a:gd name="T67" fmla="*/ 401 h 1278"/>
                  <a:gd name="T68" fmla="*/ 337 w 2429"/>
                  <a:gd name="T69" fmla="*/ 641 h 1278"/>
                  <a:gd name="T70" fmla="*/ 474 w 2429"/>
                  <a:gd name="T71" fmla="*/ 793 h 1278"/>
                  <a:gd name="T72" fmla="*/ 550 w 2429"/>
                  <a:gd name="T73" fmla="*/ 852 h 1278"/>
                  <a:gd name="T74" fmla="*/ 631 w 2429"/>
                  <a:gd name="T75" fmla="*/ 897 h 1278"/>
                  <a:gd name="T76" fmla="*/ 722 w 2429"/>
                  <a:gd name="T77" fmla="*/ 928 h 1278"/>
                  <a:gd name="T78" fmla="*/ 923 w 2429"/>
                  <a:gd name="T79" fmla="*/ 957 h 1278"/>
                  <a:gd name="T80" fmla="*/ 1107 w 2429"/>
                  <a:gd name="T81" fmla="*/ 947 h 1278"/>
                  <a:gd name="T82" fmla="*/ 1272 w 2429"/>
                  <a:gd name="T83" fmla="*/ 909 h 1278"/>
                  <a:gd name="T84" fmla="*/ 1416 w 2429"/>
                  <a:gd name="T85" fmla="*/ 851 h 1278"/>
                  <a:gd name="T86" fmla="*/ 1554 w 2429"/>
                  <a:gd name="T87" fmla="*/ 775 h 1278"/>
                  <a:gd name="T88" fmla="*/ 1750 w 2429"/>
                  <a:gd name="T89" fmla="*/ 632 h 1278"/>
                  <a:gd name="T90" fmla="*/ 1940 w 2429"/>
                  <a:gd name="T91" fmla="*/ 517 h 1278"/>
                  <a:gd name="T92" fmla="*/ 2028 w 2429"/>
                  <a:gd name="T93" fmla="*/ 483 h 1278"/>
                  <a:gd name="T94" fmla="*/ 2105 w 2429"/>
                  <a:gd name="T95" fmla="*/ 471 h 1278"/>
                  <a:gd name="T96" fmla="*/ 2172 w 2429"/>
                  <a:gd name="T97" fmla="*/ 480 h 1278"/>
                  <a:gd name="T98" fmla="*/ 2226 w 2429"/>
                  <a:gd name="T99" fmla="*/ 509 h 1278"/>
                  <a:gd name="T100" fmla="*/ 2259 w 2429"/>
                  <a:gd name="T101" fmla="*/ 546 h 1278"/>
                  <a:gd name="T102" fmla="*/ 2282 w 2429"/>
                  <a:gd name="T103" fmla="*/ 616 h 1278"/>
                  <a:gd name="T104" fmla="*/ 2277 w 2429"/>
                  <a:gd name="T105" fmla="*/ 715 h 1278"/>
                  <a:gd name="T106" fmla="*/ 2245 w 2429"/>
                  <a:gd name="T107" fmla="*/ 861 h 1278"/>
                  <a:gd name="T108" fmla="*/ 2244 w 2429"/>
                  <a:gd name="T109" fmla="*/ 914 h 1278"/>
                  <a:gd name="T110" fmla="*/ 2270 w 2429"/>
                  <a:gd name="T111" fmla="*/ 946 h 1278"/>
                  <a:gd name="T112" fmla="*/ 2327 w 2429"/>
                  <a:gd name="T113" fmla="*/ 1006 h 1278"/>
                  <a:gd name="T114" fmla="*/ 2388 w 2429"/>
                  <a:gd name="T115" fmla="*/ 1112 h 1278"/>
                  <a:gd name="T116" fmla="*/ 2422 w 2429"/>
                  <a:gd name="T117" fmla="*/ 1223 h 1278"/>
                  <a:gd name="T118" fmla="*/ 2422 w 2429"/>
                  <a:gd name="T119" fmla="*/ 1276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29" h="1278">
                    <a:moveTo>
                      <a:pt x="2416" y="1278"/>
                    </a:moveTo>
                    <a:lnTo>
                      <a:pt x="2411" y="1277"/>
                    </a:lnTo>
                    <a:lnTo>
                      <a:pt x="2406" y="1273"/>
                    </a:lnTo>
                    <a:lnTo>
                      <a:pt x="2404" y="1270"/>
                    </a:lnTo>
                    <a:lnTo>
                      <a:pt x="2402" y="1265"/>
                    </a:lnTo>
                    <a:lnTo>
                      <a:pt x="2401" y="1255"/>
                    </a:lnTo>
                    <a:lnTo>
                      <a:pt x="2397" y="1230"/>
                    </a:lnTo>
                    <a:lnTo>
                      <a:pt x="2392" y="1214"/>
                    </a:lnTo>
                    <a:lnTo>
                      <a:pt x="2388" y="1194"/>
                    </a:lnTo>
                    <a:lnTo>
                      <a:pt x="2381" y="1172"/>
                    </a:lnTo>
                    <a:lnTo>
                      <a:pt x="2373" y="1149"/>
                    </a:lnTo>
                    <a:lnTo>
                      <a:pt x="2364" y="1125"/>
                    </a:lnTo>
                    <a:lnTo>
                      <a:pt x="2352" y="1100"/>
                    </a:lnTo>
                    <a:lnTo>
                      <a:pt x="2339" y="1074"/>
                    </a:lnTo>
                    <a:lnTo>
                      <a:pt x="2324" y="1049"/>
                    </a:lnTo>
                    <a:lnTo>
                      <a:pt x="2316" y="1036"/>
                    </a:lnTo>
                    <a:lnTo>
                      <a:pt x="2307" y="1024"/>
                    </a:lnTo>
                    <a:lnTo>
                      <a:pt x="2297" y="1011"/>
                    </a:lnTo>
                    <a:lnTo>
                      <a:pt x="2287" y="999"/>
                    </a:lnTo>
                    <a:lnTo>
                      <a:pt x="2277" y="989"/>
                    </a:lnTo>
                    <a:lnTo>
                      <a:pt x="2265" y="978"/>
                    </a:lnTo>
                    <a:lnTo>
                      <a:pt x="2253" y="967"/>
                    </a:lnTo>
                    <a:lnTo>
                      <a:pt x="2240" y="957"/>
                    </a:lnTo>
                    <a:lnTo>
                      <a:pt x="2233" y="951"/>
                    </a:lnTo>
                    <a:lnTo>
                      <a:pt x="2228" y="944"/>
                    </a:lnTo>
                    <a:lnTo>
                      <a:pt x="2223" y="937"/>
                    </a:lnTo>
                    <a:lnTo>
                      <a:pt x="2219" y="928"/>
                    </a:lnTo>
                    <a:lnTo>
                      <a:pt x="2217" y="919"/>
                    </a:lnTo>
                    <a:lnTo>
                      <a:pt x="2216" y="910"/>
                    </a:lnTo>
                    <a:lnTo>
                      <a:pt x="2215" y="900"/>
                    </a:lnTo>
                    <a:lnTo>
                      <a:pt x="2215" y="889"/>
                    </a:lnTo>
                    <a:lnTo>
                      <a:pt x="2217" y="867"/>
                    </a:lnTo>
                    <a:lnTo>
                      <a:pt x="2222" y="842"/>
                    </a:lnTo>
                    <a:lnTo>
                      <a:pt x="2227" y="815"/>
                    </a:lnTo>
                    <a:lnTo>
                      <a:pt x="2233" y="788"/>
                    </a:lnTo>
                    <a:lnTo>
                      <a:pt x="2242" y="751"/>
                    </a:lnTo>
                    <a:lnTo>
                      <a:pt x="2250" y="713"/>
                    </a:lnTo>
                    <a:lnTo>
                      <a:pt x="2253" y="695"/>
                    </a:lnTo>
                    <a:lnTo>
                      <a:pt x="2255" y="677"/>
                    </a:lnTo>
                    <a:lnTo>
                      <a:pt x="2257" y="658"/>
                    </a:lnTo>
                    <a:lnTo>
                      <a:pt x="2257" y="641"/>
                    </a:lnTo>
                    <a:lnTo>
                      <a:pt x="2256" y="624"/>
                    </a:lnTo>
                    <a:lnTo>
                      <a:pt x="2254" y="607"/>
                    </a:lnTo>
                    <a:lnTo>
                      <a:pt x="2250" y="591"/>
                    </a:lnTo>
                    <a:lnTo>
                      <a:pt x="2244" y="576"/>
                    </a:lnTo>
                    <a:lnTo>
                      <a:pt x="2241" y="569"/>
                    </a:lnTo>
                    <a:lnTo>
                      <a:pt x="2237" y="562"/>
                    </a:lnTo>
                    <a:lnTo>
                      <a:pt x="2232" y="556"/>
                    </a:lnTo>
                    <a:lnTo>
                      <a:pt x="2227" y="548"/>
                    </a:lnTo>
                    <a:lnTo>
                      <a:pt x="2222" y="543"/>
                    </a:lnTo>
                    <a:lnTo>
                      <a:pt x="2216" y="536"/>
                    </a:lnTo>
                    <a:lnTo>
                      <a:pt x="2209" y="531"/>
                    </a:lnTo>
                    <a:lnTo>
                      <a:pt x="2202" y="525"/>
                    </a:lnTo>
                    <a:lnTo>
                      <a:pt x="2192" y="519"/>
                    </a:lnTo>
                    <a:lnTo>
                      <a:pt x="2182" y="514"/>
                    </a:lnTo>
                    <a:lnTo>
                      <a:pt x="2172" y="509"/>
                    </a:lnTo>
                    <a:lnTo>
                      <a:pt x="2161" y="506"/>
                    </a:lnTo>
                    <a:lnTo>
                      <a:pt x="2149" y="503"/>
                    </a:lnTo>
                    <a:lnTo>
                      <a:pt x="2137" y="501"/>
                    </a:lnTo>
                    <a:lnTo>
                      <a:pt x="2125" y="500"/>
                    </a:lnTo>
                    <a:lnTo>
                      <a:pt x="2113" y="498"/>
                    </a:lnTo>
                    <a:lnTo>
                      <a:pt x="2100" y="500"/>
                    </a:lnTo>
                    <a:lnTo>
                      <a:pt x="2086" y="501"/>
                    </a:lnTo>
                    <a:lnTo>
                      <a:pt x="2071" y="502"/>
                    </a:lnTo>
                    <a:lnTo>
                      <a:pt x="2057" y="505"/>
                    </a:lnTo>
                    <a:lnTo>
                      <a:pt x="2042" y="508"/>
                    </a:lnTo>
                    <a:lnTo>
                      <a:pt x="2026" y="512"/>
                    </a:lnTo>
                    <a:lnTo>
                      <a:pt x="2011" y="518"/>
                    </a:lnTo>
                    <a:lnTo>
                      <a:pt x="1995" y="523"/>
                    </a:lnTo>
                    <a:lnTo>
                      <a:pt x="1978" y="530"/>
                    </a:lnTo>
                    <a:lnTo>
                      <a:pt x="1960" y="537"/>
                    </a:lnTo>
                    <a:lnTo>
                      <a:pt x="1942" y="546"/>
                    </a:lnTo>
                    <a:lnTo>
                      <a:pt x="1925" y="555"/>
                    </a:lnTo>
                    <a:lnTo>
                      <a:pt x="1887" y="575"/>
                    </a:lnTo>
                    <a:lnTo>
                      <a:pt x="1847" y="599"/>
                    </a:lnTo>
                    <a:lnTo>
                      <a:pt x="1805" y="627"/>
                    </a:lnTo>
                    <a:lnTo>
                      <a:pt x="1762" y="657"/>
                    </a:lnTo>
                    <a:lnTo>
                      <a:pt x="1715" y="691"/>
                    </a:lnTo>
                    <a:lnTo>
                      <a:pt x="1668" y="727"/>
                    </a:lnTo>
                    <a:lnTo>
                      <a:pt x="1640" y="749"/>
                    </a:lnTo>
                    <a:lnTo>
                      <a:pt x="1607" y="773"/>
                    </a:lnTo>
                    <a:lnTo>
                      <a:pt x="1569" y="797"/>
                    </a:lnTo>
                    <a:lnTo>
                      <a:pt x="1526" y="824"/>
                    </a:lnTo>
                    <a:lnTo>
                      <a:pt x="1502" y="837"/>
                    </a:lnTo>
                    <a:lnTo>
                      <a:pt x="1479" y="850"/>
                    </a:lnTo>
                    <a:lnTo>
                      <a:pt x="1454" y="863"/>
                    </a:lnTo>
                    <a:lnTo>
                      <a:pt x="1427" y="876"/>
                    </a:lnTo>
                    <a:lnTo>
                      <a:pt x="1400" y="889"/>
                    </a:lnTo>
                    <a:lnTo>
                      <a:pt x="1371" y="901"/>
                    </a:lnTo>
                    <a:lnTo>
                      <a:pt x="1342" y="913"/>
                    </a:lnTo>
                    <a:lnTo>
                      <a:pt x="1311" y="924"/>
                    </a:lnTo>
                    <a:lnTo>
                      <a:pt x="1280" y="935"/>
                    </a:lnTo>
                    <a:lnTo>
                      <a:pt x="1248" y="944"/>
                    </a:lnTo>
                    <a:lnTo>
                      <a:pt x="1215" y="953"/>
                    </a:lnTo>
                    <a:lnTo>
                      <a:pt x="1181" y="962"/>
                    </a:lnTo>
                    <a:lnTo>
                      <a:pt x="1146" y="968"/>
                    </a:lnTo>
                    <a:lnTo>
                      <a:pt x="1110" y="974"/>
                    </a:lnTo>
                    <a:lnTo>
                      <a:pt x="1074" y="979"/>
                    </a:lnTo>
                    <a:lnTo>
                      <a:pt x="1037" y="982"/>
                    </a:lnTo>
                    <a:lnTo>
                      <a:pt x="999" y="984"/>
                    </a:lnTo>
                    <a:lnTo>
                      <a:pt x="960" y="985"/>
                    </a:lnTo>
                    <a:lnTo>
                      <a:pt x="921" y="984"/>
                    </a:lnTo>
                    <a:lnTo>
                      <a:pt x="882" y="982"/>
                    </a:lnTo>
                    <a:lnTo>
                      <a:pt x="841" y="978"/>
                    </a:lnTo>
                    <a:lnTo>
                      <a:pt x="799" y="971"/>
                    </a:lnTo>
                    <a:lnTo>
                      <a:pt x="757" y="964"/>
                    </a:lnTo>
                    <a:lnTo>
                      <a:pt x="715" y="954"/>
                    </a:lnTo>
                    <a:lnTo>
                      <a:pt x="696" y="949"/>
                    </a:lnTo>
                    <a:lnTo>
                      <a:pt x="676" y="942"/>
                    </a:lnTo>
                    <a:lnTo>
                      <a:pt x="657" y="936"/>
                    </a:lnTo>
                    <a:lnTo>
                      <a:pt x="639" y="929"/>
                    </a:lnTo>
                    <a:lnTo>
                      <a:pt x="621" y="922"/>
                    </a:lnTo>
                    <a:lnTo>
                      <a:pt x="604" y="914"/>
                    </a:lnTo>
                    <a:lnTo>
                      <a:pt x="587" y="905"/>
                    </a:lnTo>
                    <a:lnTo>
                      <a:pt x="569" y="897"/>
                    </a:lnTo>
                    <a:lnTo>
                      <a:pt x="553" y="887"/>
                    </a:lnTo>
                    <a:lnTo>
                      <a:pt x="537" y="876"/>
                    </a:lnTo>
                    <a:lnTo>
                      <a:pt x="521" y="865"/>
                    </a:lnTo>
                    <a:lnTo>
                      <a:pt x="505" y="854"/>
                    </a:lnTo>
                    <a:lnTo>
                      <a:pt x="490" y="842"/>
                    </a:lnTo>
                    <a:lnTo>
                      <a:pt x="473" y="829"/>
                    </a:lnTo>
                    <a:lnTo>
                      <a:pt x="458" y="816"/>
                    </a:lnTo>
                    <a:lnTo>
                      <a:pt x="443" y="801"/>
                    </a:lnTo>
                    <a:lnTo>
                      <a:pt x="412" y="770"/>
                    </a:lnTo>
                    <a:lnTo>
                      <a:pt x="382" y="737"/>
                    </a:lnTo>
                    <a:lnTo>
                      <a:pt x="350" y="700"/>
                    </a:lnTo>
                    <a:lnTo>
                      <a:pt x="318" y="660"/>
                    </a:lnTo>
                    <a:lnTo>
                      <a:pt x="285" y="616"/>
                    </a:lnTo>
                    <a:lnTo>
                      <a:pt x="252" y="570"/>
                    </a:lnTo>
                    <a:lnTo>
                      <a:pt x="216" y="519"/>
                    </a:lnTo>
                    <a:lnTo>
                      <a:pt x="179" y="465"/>
                    </a:lnTo>
                    <a:lnTo>
                      <a:pt x="146" y="415"/>
                    </a:lnTo>
                    <a:lnTo>
                      <a:pt x="118" y="368"/>
                    </a:lnTo>
                    <a:lnTo>
                      <a:pt x="93" y="324"/>
                    </a:lnTo>
                    <a:lnTo>
                      <a:pt x="72" y="283"/>
                    </a:lnTo>
                    <a:lnTo>
                      <a:pt x="53" y="244"/>
                    </a:lnTo>
                    <a:lnTo>
                      <a:pt x="39" y="208"/>
                    </a:lnTo>
                    <a:lnTo>
                      <a:pt x="26" y="175"/>
                    </a:lnTo>
                    <a:lnTo>
                      <a:pt x="18" y="145"/>
                    </a:lnTo>
                    <a:lnTo>
                      <a:pt x="10" y="118"/>
                    </a:lnTo>
                    <a:lnTo>
                      <a:pt x="5" y="94"/>
                    </a:lnTo>
                    <a:lnTo>
                      <a:pt x="1" y="72"/>
                    </a:lnTo>
                    <a:lnTo>
                      <a:pt x="0" y="54"/>
                    </a:lnTo>
                    <a:lnTo>
                      <a:pt x="0" y="39"/>
                    </a:lnTo>
                    <a:lnTo>
                      <a:pt x="0" y="26"/>
                    </a:lnTo>
                    <a:lnTo>
                      <a:pt x="3" y="15"/>
                    </a:lnTo>
                    <a:lnTo>
                      <a:pt x="5" y="7"/>
                    </a:lnTo>
                    <a:lnTo>
                      <a:pt x="8" y="3"/>
                    </a:lnTo>
                    <a:lnTo>
                      <a:pt x="12" y="1"/>
                    </a:lnTo>
                    <a:lnTo>
                      <a:pt x="18" y="0"/>
                    </a:lnTo>
                    <a:lnTo>
                      <a:pt x="23" y="1"/>
                    </a:lnTo>
                    <a:lnTo>
                      <a:pt x="27" y="4"/>
                    </a:lnTo>
                    <a:lnTo>
                      <a:pt x="30" y="8"/>
                    </a:lnTo>
                    <a:lnTo>
                      <a:pt x="31" y="14"/>
                    </a:lnTo>
                    <a:lnTo>
                      <a:pt x="30" y="18"/>
                    </a:lnTo>
                    <a:lnTo>
                      <a:pt x="28" y="23"/>
                    </a:lnTo>
                    <a:lnTo>
                      <a:pt x="27" y="32"/>
                    </a:lnTo>
                    <a:lnTo>
                      <a:pt x="26" y="44"/>
                    </a:lnTo>
                    <a:lnTo>
                      <a:pt x="27" y="58"/>
                    </a:lnTo>
                    <a:lnTo>
                      <a:pt x="30" y="74"/>
                    </a:lnTo>
                    <a:lnTo>
                      <a:pt x="33" y="94"/>
                    </a:lnTo>
                    <a:lnTo>
                      <a:pt x="37" y="116"/>
                    </a:lnTo>
                    <a:lnTo>
                      <a:pt x="45" y="142"/>
                    </a:lnTo>
                    <a:lnTo>
                      <a:pt x="54" y="170"/>
                    </a:lnTo>
                    <a:lnTo>
                      <a:pt x="65" y="202"/>
                    </a:lnTo>
                    <a:lnTo>
                      <a:pt x="80" y="236"/>
                    </a:lnTo>
                    <a:lnTo>
                      <a:pt x="98" y="273"/>
                    </a:lnTo>
                    <a:lnTo>
                      <a:pt x="118" y="313"/>
                    </a:lnTo>
                    <a:lnTo>
                      <a:pt x="142" y="356"/>
                    </a:lnTo>
                    <a:lnTo>
                      <a:pt x="170" y="401"/>
                    </a:lnTo>
                    <a:lnTo>
                      <a:pt x="201" y="450"/>
                    </a:lnTo>
                    <a:lnTo>
                      <a:pt x="238" y="503"/>
                    </a:lnTo>
                    <a:lnTo>
                      <a:pt x="273" y="552"/>
                    </a:lnTo>
                    <a:lnTo>
                      <a:pt x="306" y="599"/>
                    </a:lnTo>
                    <a:lnTo>
                      <a:pt x="337" y="641"/>
                    </a:lnTo>
                    <a:lnTo>
                      <a:pt x="369" y="680"/>
                    </a:lnTo>
                    <a:lnTo>
                      <a:pt x="399" y="716"/>
                    </a:lnTo>
                    <a:lnTo>
                      <a:pt x="429" y="749"/>
                    </a:lnTo>
                    <a:lnTo>
                      <a:pt x="459" y="779"/>
                    </a:lnTo>
                    <a:lnTo>
                      <a:pt x="474" y="793"/>
                    </a:lnTo>
                    <a:lnTo>
                      <a:pt x="488" y="806"/>
                    </a:lnTo>
                    <a:lnTo>
                      <a:pt x="504" y="819"/>
                    </a:lnTo>
                    <a:lnTo>
                      <a:pt x="519" y="831"/>
                    </a:lnTo>
                    <a:lnTo>
                      <a:pt x="535" y="842"/>
                    </a:lnTo>
                    <a:lnTo>
                      <a:pt x="550" y="852"/>
                    </a:lnTo>
                    <a:lnTo>
                      <a:pt x="566" y="862"/>
                    </a:lnTo>
                    <a:lnTo>
                      <a:pt x="581" y="872"/>
                    </a:lnTo>
                    <a:lnTo>
                      <a:pt x="598" y="881"/>
                    </a:lnTo>
                    <a:lnTo>
                      <a:pt x="615" y="889"/>
                    </a:lnTo>
                    <a:lnTo>
                      <a:pt x="631" y="897"/>
                    </a:lnTo>
                    <a:lnTo>
                      <a:pt x="648" y="904"/>
                    </a:lnTo>
                    <a:lnTo>
                      <a:pt x="667" y="911"/>
                    </a:lnTo>
                    <a:lnTo>
                      <a:pt x="684" y="917"/>
                    </a:lnTo>
                    <a:lnTo>
                      <a:pt x="702" y="923"/>
                    </a:lnTo>
                    <a:lnTo>
                      <a:pt x="722" y="928"/>
                    </a:lnTo>
                    <a:lnTo>
                      <a:pt x="763" y="937"/>
                    </a:lnTo>
                    <a:lnTo>
                      <a:pt x="804" y="945"/>
                    </a:lnTo>
                    <a:lnTo>
                      <a:pt x="844" y="951"/>
                    </a:lnTo>
                    <a:lnTo>
                      <a:pt x="884" y="955"/>
                    </a:lnTo>
                    <a:lnTo>
                      <a:pt x="923" y="957"/>
                    </a:lnTo>
                    <a:lnTo>
                      <a:pt x="960" y="958"/>
                    </a:lnTo>
                    <a:lnTo>
                      <a:pt x="998" y="957"/>
                    </a:lnTo>
                    <a:lnTo>
                      <a:pt x="1035" y="955"/>
                    </a:lnTo>
                    <a:lnTo>
                      <a:pt x="1072" y="952"/>
                    </a:lnTo>
                    <a:lnTo>
                      <a:pt x="1107" y="947"/>
                    </a:lnTo>
                    <a:lnTo>
                      <a:pt x="1142" y="942"/>
                    </a:lnTo>
                    <a:lnTo>
                      <a:pt x="1175" y="935"/>
                    </a:lnTo>
                    <a:lnTo>
                      <a:pt x="1209" y="927"/>
                    </a:lnTo>
                    <a:lnTo>
                      <a:pt x="1241" y="918"/>
                    </a:lnTo>
                    <a:lnTo>
                      <a:pt x="1272" y="909"/>
                    </a:lnTo>
                    <a:lnTo>
                      <a:pt x="1303" y="899"/>
                    </a:lnTo>
                    <a:lnTo>
                      <a:pt x="1333" y="887"/>
                    </a:lnTo>
                    <a:lnTo>
                      <a:pt x="1361" y="876"/>
                    </a:lnTo>
                    <a:lnTo>
                      <a:pt x="1389" y="864"/>
                    </a:lnTo>
                    <a:lnTo>
                      <a:pt x="1416" y="851"/>
                    </a:lnTo>
                    <a:lnTo>
                      <a:pt x="1442" y="840"/>
                    </a:lnTo>
                    <a:lnTo>
                      <a:pt x="1467" y="827"/>
                    </a:lnTo>
                    <a:lnTo>
                      <a:pt x="1491" y="814"/>
                    </a:lnTo>
                    <a:lnTo>
                      <a:pt x="1512" y="801"/>
                    </a:lnTo>
                    <a:lnTo>
                      <a:pt x="1554" y="775"/>
                    </a:lnTo>
                    <a:lnTo>
                      <a:pt x="1592" y="750"/>
                    </a:lnTo>
                    <a:lnTo>
                      <a:pt x="1624" y="727"/>
                    </a:lnTo>
                    <a:lnTo>
                      <a:pt x="1651" y="706"/>
                    </a:lnTo>
                    <a:lnTo>
                      <a:pt x="1701" y="667"/>
                    </a:lnTo>
                    <a:lnTo>
                      <a:pt x="1750" y="632"/>
                    </a:lnTo>
                    <a:lnTo>
                      <a:pt x="1795" y="600"/>
                    </a:lnTo>
                    <a:lnTo>
                      <a:pt x="1839" y="572"/>
                    </a:lnTo>
                    <a:lnTo>
                      <a:pt x="1880" y="547"/>
                    </a:lnTo>
                    <a:lnTo>
                      <a:pt x="1920" y="526"/>
                    </a:lnTo>
                    <a:lnTo>
                      <a:pt x="1940" y="517"/>
                    </a:lnTo>
                    <a:lnTo>
                      <a:pt x="1958" y="508"/>
                    </a:lnTo>
                    <a:lnTo>
                      <a:pt x="1976" y="501"/>
                    </a:lnTo>
                    <a:lnTo>
                      <a:pt x="1994" y="494"/>
                    </a:lnTo>
                    <a:lnTo>
                      <a:pt x="2011" y="489"/>
                    </a:lnTo>
                    <a:lnTo>
                      <a:pt x="2028" y="483"/>
                    </a:lnTo>
                    <a:lnTo>
                      <a:pt x="2044" y="479"/>
                    </a:lnTo>
                    <a:lnTo>
                      <a:pt x="2061" y="476"/>
                    </a:lnTo>
                    <a:lnTo>
                      <a:pt x="2076" y="474"/>
                    </a:lnTo>
                    <a:lnTo>
                      <a:pt x="2091" y="473"/>
                    </a:lnTo>
                    <a:lnTo>
                      <a:pt x="2105" y="471"/>
                    </a:lnTo>
                    <a:lnTo>
                      <a:pt x="2119" y="471"/>
                    </a:lnTo>
                    <a:lnTo>
                      <a:pt x="2133" y="473"/>
                    </a:lnTo>
                    <a:lnTo>
                      <a:pt x="2146" y="475"/>
                    </a:lnTo>
                    <a:lnTo>
                      <a:pt x="2159" y="477"/>
                    </a:lnTo>
                    <a:lnTo>
                      <a:pt x="2172" y="480"/>
                    </a:lnTo>
                    <a:lnTo>
                      <a:pt x="2184" y="484"/>
                    </a:lnTo>
                    <a:lnTo>
                      <a:pt x="2196" y="490"/>
                    </a:lnTo>
                    <a:lnTo>
                      <a:pt x="2206" y="496"/>
                    </a:lnTo>
                    <a:lnTo>
                      <a:pt x="2217" y="503"/>
                    </a:lnTo>
                    <a:lnTo>
                      <a:pt x="2226" y="509"/>
                    </a:lnTo>
                    <a:lnTo>
                      <a:pt x="2233" y="516"/>
                    </a:lnTo>
                    <a:lnTo>
                      <a:pt x="2241" y="523"/>
                    </a:lnTo>
                    <a:lnTo>
                      <a:pt x="2248" y="531"/>
                    </a:lnTo>
                    <a:lnTo>
                      <a:pt x="2254" y="538"/>
                    </a:lnTo>
                    <a:lnTo>
                      <a:pt x="2259" y="546"/>
                    </a:lnTo>
                    <a:lnTo>
                      <a:pt x="2264" y="555"/>
                    </a:lnTo>
                    <a:lnTo>
                      <a:pt x="2268" y="562"/>
                    </a:lnTo>
                    <a:lnTo>
                      <a:pt x="2274" y="579"/>
                    </a:lnTo>
                    <a:lnTo>
                      <a:pt x="2280" y="598"/>
                    </a:lnTo>
                    <a:lnTo>
                      <a:pt x="2282" y="616"/>
                    </a:lnTo>
                    <a:lnTo>
                      <a:pt x="2284" y="636"/>
                    </a:lnTo>
                    <a:lnTo>
                      <a:pt x="2284" y="655"/>
                    </a:lnTo>
                    <a:lnTo>
                      <a:pt x="2282" y="675"/>
                    </a:lnTo>
                    <a:lnTo>
                      <a:pt x="2280" y="695"/>
                    </a:lnTo>
                    <a:lnTo>
                      <a:pt x="2277" y="715"/>
                    </a:lnTo>
                    <a:lnTo>
                      <a:pt x="2269" y="755"/>
                    </a:lnTo>
                    <a:lnTo>
                      <a:pt x="2260" y="793"/>
                    </a:lnTo>
                    <a:lnTo>
                      <a:pt x="2255" y="817"/>
                    </a:lnTo>
                    <a:lnTo>
                      <a:pt x="2250" y="840"/>
                    </a:lnTo>
                    <a:lnTo>
                      <a:pt x="2245" y="861"/>
                    </a:lnTo>
                    <a:lnTo>
                      <a:pt x="2243" y="881"/>
                    </a:lnTo>
                    <a:lnTo>
                      <a:pt x="2242" y="890"/>
                    </a:lnTo>
                    <a:lnTo>
                      <a:pt x="2242" y="899"/>
                    </a:lnTo>
                    <a:lnTo>
                      <a:pt x="2243" y="906"/>
                    </a:lnTo>
                    <a:lnTo>
                      <a:pt x="2244" y="914"/>
                    </a:lnTo>
                    <a:lnTo>
                      <a:pt x="2245" y="921"/>
                    </a:lnTo>
                    <a:lnTo>
                      <a:pt x="2249" y="926"/>
                    </a:lnTo>
                    <a:lnTo>
                      <a:pt x="2252" y="931"/>
                    </a:lnTo>
                    <a:lnTo>
                      <a:pt x="2256" y="936"/>
                    </a:lnTo>
                    <a:lnTo>
                      <a:pt x="2270" y="946"/>
                    </a:lnTo>
                    <a:lnTo>
                      <a:pt x="2283" y="957"/>
                    </a:lnTo>
                    <a:lnTo>
                      <a:pt x="2295" y="969"/>
                    </a:lnTo>
                    <a:lnTo>
                      <a:pt x="2306" y="981"/>
                    </a:lnTo>
                    <a:lnTo>
                      <a:pt x="2317" y="993"/>
                    </a:lnTo>
                    <a:lnTo>
                      <a:pt x="2327" y="1006"/>
                    </a:lnTo>
                    <a:lnTo>
                      <a:pt x="2337" y="1019"/>
                    </a:lnTo>
                    <a:lnTo>
                      <a:pt x="2346" y="1032"/>
                    </a:lnTo>
                    <a:lnTo>
                      <a:pt x="2362" y="1059"/>
                    </a:lnTo>
                    <a:lnTo>
                      <a:pt x="2376" y="1085"/>
                    </a:lnTo>
                    <a:lnTo>
                      <a:pt x="2388" y="1112"/>
                    </a:lnTo>
                    <a:lnTo>
                      <a:pt x="2398" y="1137"/>
                    </a:lnTo>
                    <a:lnTo>
                      <a:pt x="2406" y="1161"/>
                    </a:lnTo>
                    <a:lnTo>
                      <a:pt x="2413" y="1184"/>
                    </a:lnTo>
                    <a:lnTo>
                      <a:pt x="2418" y="1204"/>
                    </a:lnTo>
                    <a:lnTo>
                      <a:pt x="2422" y="1223"/>
                    </a:lnTo>
                    <a:lnTo>
                      <a:pt x="2428" y="1251"/>
                    </a:lnTo>
                    <a:lnTo>
                      <a:pt x="2429" y="1263"/>
                    </a:lnTo>
                    <a:lnTo>
                      <a:pt x="2429" y="1268"/>
                    </a:lnTo>
                    <a:lnTo>
                      <a:pt x="2427" y="1272"/>
                    </a:lnTo>
                    <a:lnTo>
                      <a:pt x="2422" y="1276"/>
                    </a:lnTo>
                    <a:lnTo>
                      <a:pt x="2417" y="1277"/>
                    </a:lnTo>
                    <a:lnTo>
                      <a:pt x="2416" y="1278"/>
                    </a:lnTo>
                    <a:lnTo>
                      <a:pt x="2416" y="1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2"/>
              <p:cNvSpPr>
                <a:spLocks/>
              </p:cNvSpPr>
              <p:nvPr userDrawn="1"/>
            </p:nvSpPr>
            <p:spPr bwMode="auto">
              <a:xfrm>
                <a:off x="1834" y="1512"/>
                <a:ext cx="817" cy="428"/>
              </a:xfrm>
              <a:custGeom>
                <a:avLst/>
                <a:gdLst>
                  <a:gd name="T0" fmla="*/ 2425 w 2451"/>
                  <a:gd name="T1" fmla="*/ 1276 h 1284"/>
                  <a:gd name="T2" fmla="*/ 2400 w 2451"/>
                  <a:gd name="T3" fmla="*/ 1194 h 1284"/>
                  <a:gd name="T4" fmla="*/ 2325 w 2451"/>
                  <a:gd name="T5" fmla="*/ 1060 h 1284"/>
                  <a:gd name="T6" fmla="*/ 2242 w 2451"/>
                  <a:gd name="T7" fmla="*/ 980 h 1284"/>
                  <a:gd name="T8" fmla="*/ 2222 w 2451"/>
                  <a:gd name="T9" fmla="*/ 941 h 1284"/>
                  <a:gd name="T10" fmla="*/ 2226 w 2451"/>
                  <a:gd name="T11" fmla="*/ 850 h 1284"/>
                  <a:gd name="T12" fmla="*/ 2243 w 2451"/>
                  <a:gd name="T13" fmla="*/ 720 h 1284"/>
                  <a:gd name="T14" fmla="*/ 2232 w 2451"/>
                  <a:gd name="T15" fmla="*/ 640 h 1284"/>
                  <a:gd name="T16" fmla="*/ 2195 w 2451"/>
                  <a:gd name="T17" fmla="*/ 588 h 1284"/>
                  <a:gd name="T18" fmla="*/ 2139 w 2451"/>
                  <a:gd name="T19" fmla="*/ 559 h 1284"/>
                  <a:gd name="T20" fmla="*/ 2053 w 2451"/>
                  <a:gd name="T21" fmla="*/ 553 h 1284"/>
                  <a:gd name="T22" fmla="*/ 1948 w 2451"/>
                  <a:gd name="T23" fmla="*/ 582 h 1284"/>
                  <a:gd name="T24" fmla="*/ 1824 w 2451"/>
                  <a:gd name="T25" fmla="*/ 641 h 1284"/>
                  <a:gd name="T26" fmla="*/ 1679 w 2451"/>
                  <a:gd name="T27" fmla="*/ 734 h 1284"/>
                  <a:gd name="T28" fmla="*/ 1482 w 2451"/>
                  <a:gd name="T29" fmla="*/ 857 h 1284"/>
                  <a:gd name="T30" fmla="*/ 1350 w 2451"/>
                  <a:gd name="T31" fmla="*/ 917 h 1284"/>
                  <a:gd name="T32" fmla="*/ 1200 w 2451"/>
                  <a:gd name="T33" fmla="*/ 965 h 1284"/>
                  <a:gd name="T34" fmla="*/ 1032 w 2451"/>
                  <a:gd name="T35" fmla="*/ 993 h 1284"/>
                  <a:gd name="T36" fmla="*/ 849 w 2451"/>
                  <a:gd name="T37" fmla="*/ 992 h 1284"/>
                  <a:gd name="T38" fmla="*/ 676 w 2451"/>
                  <a:gd name="T39" fmla="*/ 959 h 1284"/>
                  <a:gd name="T40" fmla="*/ 586 w 2451"/>
                  <a:gd name="T41" fmla="*/ 926 h 1284"/>
                  <a:gd name="T42" fmla="*/ 505 w 2451"/>
                  <a:gd name="T43" fmla="*/ 876 h 1284"/>
                  <a:gd name="T44" fmla="*/ 428 w 2451"/>
                  <a:gd name="T45" fmla="*/ 810 h 1284"/>
                  <a:gd name="T46" fmla="*/ 273 w 2451"/>
                  <a:gd name="T47" fmla="*/ 623 h 1284"/>
                  <a:gd name="T48" fmla="*/ 114 w 2451"/>
                  <a:gd name="T49" fmla="*/ 380 h 1284"/>
                  <a:gd name="T50" fmla="*/ 27 w 2451"/>
                  <a:gd name="T51" fmla="*/ 193 h 1284"/>
                  <a:gd name="T52" fmla="*/ 0 w 2451"/>
                  <a:gd name="T53" fmla="*/ 63 h 1284"/>
                  <a:gd name="T54" fmla="*/ 11 w 2451"/>
                  <a:gd name="T55" fmla="*/ 3 h 1284"/>
                  <a:gd name="T56" fmla="*/ 33 w 2451"/>
                  <a:gd name="T57" fmla="*/ 9 h 1284"/>
                  <a:gd name="T58" fmla="*/ 27 w 2451"/>
                  <a:gd name="T59" fmla="*/ 44 h 1284"/>
                  <a:gd name="T60" fmla="*/ 41 w 2451"/>
                  <a:gd name="T61" fmla="*/ 143 h 1284"/>
                  <a:gd name="T62" fmla="*/ 110 w 2451"/>
                  <a:gd name="T63" fmla="*/ 316 h 1284"/>
                  <a:gd name="T64" fmla="*/ 261 w 2451"/>
                  <a:gd name="T65" fmla="*/ 558 h 1284"/>
                  <a:gd name="T66" fmla="*/ 414 w 2451"/>
                  <a:gd name="T67" fmla="*/ 757 h 1284"/>
                  <a:gd name="T68" fmla="*/ 504 w 2451"/>
                  <a:gd name="T69" fmla="*/ 841 h 1284"/>
                  <a:gd name="T70" fmla="*/ 581 w 2451"/>
                  <a:gd name="T71" fmla="*/ 892 h 1284"/>
                  <a:gd name="T72" fmla="*/ 665 w 2451"/>
                  <a:gd name="T73" fmla="*/ 928 h 1284"/>
                  <a:gd name="T74" fmla="*/ 815 w 2451"/>
                  <a:gd name="T75" fmla="*/ 960 h 1284"/>
                  <a:gd name="T76" fmla="*/ 995 w 2451"/>
                  <a:gd name="T77" fmla="*/ 968 h 1284"/>
                  <a:gd name="T78" fmla="*/ 1163 w 2451"/>
                  <a:gd name="T79" fmla="*/ 946 h 1284"/>
                  <a:gd name="T80" fmla="*/ 1314 w 2451"/>
                  <a:gd name="T81" fmla="*/ 902 h 1284"/>
                  <a:gd name="T82" fmla="*/ 1447 w 2451"/>
                  <a:gd name="T83" fmla="*/ 845 h 1284"/>
                  <a:gd name="T84" fmla="*/ 1629 w 2451"/>
                  <a:gd name="T85" fmla="*/ 736 h 1284"/>
                  <a:gd name="T86" fmla="*/ 1784 w 2451"/>
                  <a:gd name="T87" fmla="*/ 633 h 1284"/>
                  <a:gd name="T88" fmla="*/ 1915 w 2451"/>
                  <a:gd name="T89" fmla="*/ 565 h 1284"/>
                  <a:gd name="T90" fmla="*/ 2034 w 2451"/>
                  <a:gd name="T91" fmla="*/ 529 h 1284"/>
                  <a:gd name="T92" fmla="*/ 2131 w 2451"/>
                  <a:gd name="T93" fmla="*/ 529 h 1284"/>
                  <a:gd name="T94" fmla="*/ 2205 w 2451"/>
                  <a:gd name="T95" fmla="*/ 561 h 1284"/>
                  <a:gd name="T96" fmla="*/ 2238 w 2451"/>
                  <a:gd name="T97" fmla="*/ 596 h 1284"/>
                  <a:gd name="T98" fmla="*/ 2266 w 2451"/>
                  <a:gd name="T99" fmla="*/ 662 h 1284"/>
                  <a:gd name="T100" fmla="*/ 2267 w 2451"/>
                  <a:gd name="T101" fmla="*/ 754 h 1284"/>
                  <a:gd name="T102" fmla="*/ 2248 w 2451"/>
                  <a:gd name="T103" fmla="*/ 893 h 1284"/>
                  <a:gd name="T104" fmla="*/ 2251 w 2451"/>
                  <a:gd name="T105" fmla="*/ 943 h 1284"/>
                  <a:gd name="T106" fmla="*/ 2287 w 2451"/>
                  <a:gd name="T107" fmla="*/ 981 h 1284"/>
                  <a:gd name="T108" fmla="*/ 2382 w 2451"/>
                  <a:gd name="T109" fmla="*/ 1093 h 1284"/>
                  <a:gd name="T110" fmla="*/ 2442 w 2451"/>
                  <a:gd name="T111" fmla="*/ 1237 h 1284"/>
                  <a:gd name="T112" fmla="*/ 2451 w 2451"/>
                  <a:gd name="T113" fmla="*/ 1266 h 1284"/>
                  <a:gd name="T114" fmla="*/ 2440 w 2451"/>
                  <a:gd name="T115" fmla="*/ 1283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51" h="1284">
                    <a:moveTo>
                      <a:pt x="2438" y="1284"/>
                    </a:moveTo>
                    <a:lnTo>
                      <a:pt x="2435" y="1283"/>
                    </a:lnTo>
                    <a:lnTo>
                      <a:pt x="2431" y="1282"/>
                    </a:lnTo>
                    <a:lnTo>
                      <a:pt x="2428" y="1280"/>
                    </a:lnTo>
                    <a:lnTo>
                      <a:pt x="2425" y="1276"/>
                    </a:lnTo>
                    <a:lnTo>
                      <a:pt x="2423" y="1270"/>
                    </a:lnTo>
                    <a:lnTo>
                      <a:pt x="2421" y="1262"/>
                    </a:lnTo>
                    <a:lnTo>
                      <a:pt x="2416" y="1244"/>
                    </a:lnTo>
                    <a:lnTo>
                      <a:pt x="2410" y="1221"/>
                    </a:lnTo>
                    <a:lnTo>
                      <a:pt x="2400" y="1194"/>
                    </a:lnTo>
                    <a:lnTo>
                      <a:pt x="2387" y="1162"/>
                    </a:lnTo>
                    <a:lnTo>
                      <a:pt x="2373" y="1134"/>
                    </a:lnTo>
                    <a:lnTo>
                      <a:pt x="2358" y="1108"/>
                    </a:lnTo>
                    <a:lnTo>
                      <a:pt x="2343" y="1083"/>
                    </a:lnTo>
                    <a:lnTo>
                      <a:pt x="2325" y="1060"/>
                    </a:lnTo>
                    <a:lnTo>
                      <a:pt x="2308" y="1039"/>
                    </a:lnTo>
                    <a:lnTo>
                      <a:pt x="2290" y="1020"/>
                    </a:lnTo>
                    <a:lnTo>
                      <a:pt x="2269" y="1001"/>
                    </a:lnTo>
                    <a:lnTo>
                      <a:pt x="2249" y="986"/>
                    </a:lnTo>
                    <a:lnTo>
                      <a:pt x="2242" y="980"/>
                    </a:lnTo>
                    <a:lnTo>
                      <a:pt x="2236" y="973"/>
                    </a:lnTo>
                    <a:lnTo>
                      <a:pt x="2232" y="966"/>
                    </a:lnTo>
                    <a:lnTo>
                      <a:pt x="2227" y="958"/>
                    </a:lnTo>
                    <a:lnTo>
                      <a:pt x="2224" y="950"/>
                    </a:lnTo>
                    <a:lnTo>
                      <a:pt x="2222" y="941"/>
                    </a:lnTo>
                    <a:lnTo>
                      <a:pt x="2221" y="931"/>
                    </a:lnTo>
                    <a:lnTo>
                      <a:pt x="2220" y="920"/>
                    </a:lnTo>
                    <a:lnTo>
                      <a:pt x="2221" y="899"/>
                    </a:lnTo>
                    <a:lnTo>
                      <a:pt x="2223" y="875"/>
                    </a:lnTo>
                    <a:lnTo>
                      <a:pt x="2226" y="850"/>
                    </a:lnTo>
                    <a:lnTo>
                      <a:pt x="2230" y="823"/>
                    </a:lnTo>
                    <a:lnTo>
                      <a:pt x="2236" y="789"/>
                    </a:lnTo>
                    <a:lnTo>
                      <a:pt x="2240" y="754"/>
                    </a:lnTo>
                    <a:lnTo>
                      <a:pt x="2242" y="737"/>
                    </a:lnTo>
                    <a:lnTo>
                      <a:pt x="2243" y="720"/>
                    </a:lnTo>
                    <a:lnTo>
                      <a:pt x="2243" y="703"/>
                    </a:lnTo>
                    <a:lnTo>
                      <a:pt x="2242" y="687"/>
                    </a:lnTo>
                    <a:lnTo>
                      <a:pt x="2240" y="671"/>
                    </a:lnTo>
                    <a:lnTo>
                      <a:pt x="2237" y="655"/>
                    </a:lnTo>
                    <a:lnTo>
                      <a:pt x="2232" y="640"/>
                    </a:lnTo>
                    <a:lnTo>
                      <a:pt x="2225" y="626"/>
                    </a:lnTo>
                    <a:lnTo>
                      <a:pt x="2217" y="613"/>
                    </a:lnTo>
                    <a:lnTo>
                      <a:pt x="2207" y="600"/>
                    </a:lnTo>
                    <a:lnTo>
                      <a:pt x="2201" y="594"/>
                    </a:lnTo>
                    <a:lnTo>
                      <a:pt x="2195" y="588"/>
                    </a:lnTo>
                    <a:lnTo>
                      <a:pt x="2188" y="583"/>
                    </a:lnTo>
                    <a:lnTo>
                      <a:pt x="2181" y="578"/>
                    </a:lnTo>
                    <a:lnTo>
                      <a:pt x="2168" y="570"/>
                    </a:lnTo>
                    <a:lnTo>
                      <a:pt x="2154" y="564"/>
                    </a:lnTo>
                    <a:lnTo>
                      <a:pt x="2139" y="559"/>
                    </a:lnTo>
                    <a:lnTo>
                      <a:pt x="2124" y="555"/>
                    </a:lnTo>
                    <a:lnTo>
                      <a:pt x="2107" y="552"/>
                    </a:lnTo>
                    <a:lnTo>
                      <a:pt x="2090" y="551"/>
                    </a:lnTo>
                    <a:lnTo>
                      <a:pt x="2072" y="551"/>
                    </a:lnTo>
                    <a:lnTo>
                      <a:pt x="2053" y="553"/>
                    </a:lnTo>
                    <a:lnTo>
                      <a:pt x="2034" y="557"/>
                    </a:lnTo>
                    <a:lnTo>
                      <a:pt x="2013" y="561"/>
                    </a:lnTo>
                    <a:lnTo>
                      <a:pt x="1993" y="566"/>
                    </a:lnTo>
                    <a:lnTo>
                      <a:pt x="1970" y="573"/>
                    </a:lnTo>
                    <a:lnTo>
                      <a:pt x="1948" y="582"/>
                    </a:lnTo>
                    <a:lnTo>
                      <a:pt x="1924" y="591"/>
                    </a:lnTo>
                    <a:lnTo>
                      <a:pt x="1900" y="602"/>
                    </a:lnTo>
                    <a:lnTo>
                      <a:pt x="1874" y="614"/>
                    </a:lnTo>
                    <a:lnTo>
                      <a:pt x="1849" y="627"/>
                    </a:lnTo>
                    <a:lnTo>
                      <a:pt x="1824" y="641"/>
                    </a:lnTo>
                    <a:lnTo>
                      <a:pt x="1797" y="657"/>
                    </a:lnTo>
                    <a:lnTo>
                      <a:pt x="1769" y="673"/>
                    </a:lnTo>
                    <a:lnTo>
                      <a:pt x="1741" y="692"/>
                    </a:lnTo>
                    <a:lnTo>
                      <a:pt x="1710" y="712"/>
                    </a:lnTo>
                    <a:lnTo>
                      <a:pt x="1679" y="734"/>
                    </a:lnTo>
                    <a:lnTo>
                      <a:pt x="1645" y="757"/>
                    </a:lnTo>
                    <a:lnTo>
                      <a:pt x="1611" y="781"/>
                    </a:lnTo>
                    <a:lnTo>
                      <a:pt x="1572" y="806"/>
                    </a:lnTo>
                    <a:lnTo>
                      <a:pt x="1529" y="832"/>
                    </a:lnTo>
                    <a:lnTo>
                      <a:pt x="1482" y="857"/>
                    </a:lnTo>
                    <a:lnTo>
                      <a:pt x="1457" y="870"/>
                    </a:lnTo>
                    <a:lnTo>
                      <a:pt x="1432" y="882"/>
                    </a:lnTo>
                    <a:lnTo>
                      <a:pt x="1405" y="893"/>
                    </a:lnTo>
                    <a:lnTo>
                      <a:pt x="1378" y="905"/>
                    </a:lnTo>
                    <a:lnTo>
                      <a:pt x="1350" y="917"/>
                    </a:lnTo>
                    <a:lnTo>
                      <a:pt x="1322" y="928"/>
                    </a:lnTo>
                    <a:lnTo>
                      <a:pt x="1293" y="938"/>
                    </a:lnTo>
                    <a:lnTo>
                      <a:pt x="1263" y="947"/>
                    </a:lnTo>
                    <a:lnTo>
                      <a:pt x="1232" y="957"/>
                    </a:lnTo>
                    <a:lnTo>
                      <a:pt x="1200" y="965"/>
                    </a:lnTo>
                    <a:lnTo>
                      <a:pt x="1168" y="972"/>
                    </a:lnTo>
                    <a:lnTo>
                      <a:pt x="1134" y="979"/>
                    </a:lnTo>
                    <a:lnTo>
                      <a:pt x="1101" y="984"/>
                    </a:lnTo>
                    <a:lnTo>
                      <a:pt x="1066" y="990"/>
                    </a:lnTo>
                    <a:lnTo>
                      <a:pt x="1032" y="993"/>
                    </a:lnTo>
                    <a:lnTo>
                      <a:pt x="996" y="995"/>
                    </a:lnTo>
                    <a:lnTo>
                      <a:pt x="961" y="996"/>
                    </a:lnTo>
                    <a:lnTo>
                      <a:pt x="924" y="996"/>
                    </a:lnTo>
                    <a:lnTo>
                      <a:pt x="887" y="995"/>
                    </a:lnTo>
                    <a:lnTo>
                      <a:pt x="849" y="992"/>
                    </a:lnTo>
                    <a:lnTo>
                      <a:pt x="812" y="987"/>
                    </a:lnTo>
                    <a:lnTo>
                      <a:pt x="773" y="982"/>
                    </a:lnTo>
                    <a:lnTo>
                      <a:pt x="734" y="974"/>
                    </a:lnTo>
                    <a:lnTo>
                      <a:pt x="695" y="965"/>
                    </a:lnTo>
                    <a:lnTo>
                      <a:pt x="676" y="959"/>
                    </a:lnTo>
                    <a:lnTo>
                      <a:pt x="657" y="954"/>
                    </a:lnTo>
                    <a:lnTo>
                      <a:pt x="639" y="947"/>
                    </a:lnTo>
                    <a:lnTo>
                      <a:pt x="620" y="941"/>
                    </a:lnTo>
                    <a:lnTo>
                      <a:pt x="603" y="933"/>
                    </a:lnTo>
                    <a:lnTo>
                      <a:pt x="586" y="926"/>
                    </a:lnTo>
                    <a:lnTo>
                      <a:pt x="570" y="917"/>
                    </a:lnTo>
                    <a:lnTo>
                      <a:pt x="552" y="908"/>
                    </a:lnTo>
                    <a:lnTo>
                      <a:pt x="536" y="898"/>
                    </a:lnTo>
                    <a:lnTo>
                      <a:pt x="520" y="887"/>
                    </a:lnTo>
                    <a:lnTo>
                      <a:pt x="505" y="876"/>
                    </a:lnTo>
                    <a:lnTo>
                      <a:pt x="489" y="864"/>
                    </a:lnTo>
                    <a:lnTo>
                      <a:pt x="474" y="851"/>
                    </a:lnTo>
                    <a:lnTo>
                      <a:pt x="458" y="838"/>
                    </a:lnTo>
                    <a:lnTo>
                      <a:pt x="443" y="824"/>
                    </a:lnTo>
                    <a:lnTo>
                      <a:pt x="428" y="810"/>
                    </a:lnTo>
                    <a:lnTo>
                      <a:pt x="397" y="779"/>
                    </a:lnTo>
                    <a:lnTo>
                      <a:pt x="367" y="745"/>
                    </a:lnTo>
                    <a:lnTo>
                      <a:pt x="336" y="707"/>
                    </a:lnTo>
                    <a:lnTo>
                      <a:pt x="305" y="666"/>
                    </a:lnTo>
                    <a:lnTo>
                      <a:pt x="273" y="623"/>
                    </a:lnTo>
                    <a:lnTo>
                      <a:pt x="239" y="575"/>
                    </a:lnTo>
                    <a:lnTo>
                      <a:pt x="205" y="524"/>
                    </a:lnTo>
                    <a:lnTo>
                      <a:pt x="169" y="469"/>
                    </a:lnTo>
                    <a:lnTo>
                      <a:pt x="140" y="424"/>
                    </a:lnTo>
                    <a:lnTo>
                      <a:pt x="114" y="380"/>
                    </a:lnTo>
                    <a:lnTo>
                      <a:pt x="90" y="338"/>
                    </a:lnTo>
                    <a:lnTo>
                      <a:pt x="71" y="299"/>
                    </a:lnTo>
                    <a:lnTo>
                      <a:pt x="54" y="261"/>
                    </a:lnTo>
                    <a:lnTo>
                      <a:pt x="40" y="225"/>
                    </a:lnTo>
                    <a:lnTo>
                      <a:pt x="27" y="193"/>
                    </a:lnTo>
                    <a:lnTo>
                      <a:pt x="17" y="162"/>
                    </a:lnTo>
                    <a:lnTo>
                      <a:pt x="9" y="134"/>
                    </a:lnTo>
                    <a:lnTo>
                      <a:pt x="4" y="108"/>
                    </a:lnTo>
                    <a:lnTo>
                      <a:pt x="1" y="84"/>
                    </a:lnTo>
                    <a:lnTo>
                      <a:pt x="0" y="63"/>
                    </a:lnTo>
                    <a:lnTo>
                      <a:pt x="0" y="45"/>
                    </a:lnTo>
                    <a:lnTo>
                      <a:pt x="1" y="30"/>
                    </a:lnTo>
                    <a:lnTo>
                      <a:pt x="4" y="17"/>
                    </a:lnTo>
                    <a:lnTo>
                      <a:pt x="8" y="6"/>
                    </a:lnTo>
                    <a:lnTo>
                      <a:pt x="11" y="3"/>
                    </a:lnTo>
                    <a:lnTo>
                      <a:pt x="16" y="0"/>
                    </a:lnTo>
                    <a:lnTo>
                      <a:pt x="21" y="0"/>
                    </a:lnTo>
                    <a:lnTo>
                      <a:pt x="27" y="1"/>
                    </a:lnTo>
                    <a:lnTo>
                      <a:pt x="30" y="5"/>
                    </a:lnTo>
                    <a:lnTo>
                      <a:pt x="33" y="9"/>
                    </a:lnTo>
                    <a:lnTo>
                      <a:pt x="33" y="15"/>
                    </a:lnTo>
                    <a:lnTo>
                      <a:pt x="32" y="19"/>
                    </a:lnTo>
                    <a:lnTo>
                      <a:pt x="30" y="24"/>
                    </a:lnTo>
                    <a:lnTo>
                      <a:pt x="28" y="33"/>
                    </a:lnTo>
                    <a:lnTo>
                      <a:pt x="27" y="44"/>
                    </a:lnTo>
                    <a:lnTo>
                      <a:pt x="27" y="58"/>
                    </a:lnTo>
                    <a:lnTo>
                      <a:pt x="28" y="75"/>
                    </a:lnTo>
                    <a:lnTo>
                      <a:pt x="30" y="95"/>
                    </a:lnTo>
                    <a:lnTo>
                      <a:pt x="34" y="117"/>
                    </a:lnTo>
                    <a:lnTo>
                      <a:pt x="41" y="143"/>
                    </a:lnTo>
                    <a:lnTo>
                      <a:pt x="49" y="172"/>
                    </a:lnTo>
                    <a:lnTo>
                      <a:pt x="60" y="204"/>
                    </a:lnTo>
                    <a:lnTo>
                      <a:pt x="73" y="238"/>
                    </a:lnTo>
                    <a:lnTo>
                      <a:pt x="89" y="275"/>
                    </a:lnTo>
                    <a:lnTo>
                      <a:pt x="110" y="316"/>
                    </a:lnTo>
                    <a:lnTo>
                      <a:pt x="132" y="359"/>
                    </a:lnTo>
                    <a:lnTo>
                      <a:pt x="160" y="406"/>
                    </a:lnTo>
                    <a:lnTo>
                      <a:pt x="192" y="455"/>
                    </a:lnTo>
                    <a:lnTo>
                      <a:pt x="226" y="508"/>
                    </a:lnTo>
                    <a:lnTo>
                      <a:pt x="261" y="558"/>
                    </a:lnTo>
                    <a:lnTo>
                      <a:pt x="293" y="604"/>
                    </a:lnTo>
                    <a:lnTo>
                      <a:pt x="325" y="647"/>
                    </a:lnTo>
                    <a:lnTo>
                      <a:pt x="355" y="687"/>
                    </a:lnTo>
                    <a:lnTo>
                      <a:pt x="385" y="724"/>
                    </a:lnTo>
                    <a:lnTo>
                      <a:pt x="414" y="757"/>
                    </a:lnTo>
                    <a:lnTo>
                      <a:pt x="444" y="788"/>
                    </a:lnTo>
                    <a:lnTo>
                      <a:pt x="458" y="803"/>
                    </a:lnTo>
                    <a:lnTo>
                      <a:pt x="474" y="816"/>
                    </a:lnTo>
                    <a:lnTo>
                      <a:pt x="489" y="829"/>
                    </a:lnTo>
                    <a:lnTo>
                      <a:pt x="504" y="841"/>
                    </a:lnTo>
                    <a:lnTo>
                      <a:pt x="519" y="852"/>
                    </a:lnTo>
                    <a:lnTo>
                      <a:pt x="534" y="863"/>
                    </a:lnTo>
                    <a:lnTo>
                      <a:pt x="549" y="874"/>
                    </a:lnTo>
                    <a:lnTo>
                      <a:pt x="565" y="884"/>
                    </a:lnTo>
                    <a:lnTo>
                      <a:pt x="581" y="892"/>
                    </a:lnTo>
                    <a:lnTo>
                      <a:pt x="597" y="901"/>
                    </a:lnTo>
                    <a:lnTo>
                      <a:pt x="614" y="909"/>
                    </a:lnTo>
                    <a:lnTo>
                      <a:pt x="630" y="916"/>
                    </a:lnTo>
                    <a:lnTo>
                      <a:pt x="647" y="923"/>
                    </a:lnTo>
                    <a:lnTo>
                      <a:pt x="665" y="928"/>
                    </a:lnTo>
                    <a:lnTo>
                      <a:pt x="683" y="933"/>
                    </a:lnTo>
                    <a:lnTo>
                      <a:pt x="701" y="939"/>
                    </a:lnTo>
                    <a:lnTo>
                      <a:pt x="739" y="947"/>
                    </a:lnTo>
                    <a:lnTo>
                      <a:pt x="778" y="955"/>
                    </a:lnTo>
                    <a:lnTo>
                      <a:pt x="815" y="960"/>
                    </a:lnTo>
                    <a:lnTo>
                      <a:pt x="853" y="965"/>
                    </a:lnTo>
                    <a:lnTo>
                      <a:pt x="888" y="968"/>
                    </a:lnTo>
                    <a:lnTo>
                      <a:pt x="925" y="969"/>
                    </a:lnTo>
                    <a:lnTo>
                      <a:pt x="961" y="969"/>
                    </a:lnTo>
                    <a:lnTo>
                      <a:pt x="995" y="968"/>
                    </a:lnTo>
                    <a:lnTo>
                      <a:pt x="1030" y="966"/>
                    </a:lnTo>
                    <a:lnTo>
                      <a:pt x="1064" y="963"/>
                    </a:lnTo>
                    <a:lnTo>
                      <a:pt x="1098" y="958"/>
                    </a:lnTo>
                    <a:lnTo>
                      <a:pt x="1130" y="952"/>
                    </a:lnTo>
                    <a:lnTo>
                      <a:pt x="1163" y="946"/>
                    </a:lnTo>
                    <a:lnTo>
                      <a:pt x="1194" y="939"/>
                    </a:lnTo>
                    <a:lnTo>
                      <a:pt x="1225" y="930"/>
                    </a:lnTo>
                    <a:lnTo>
                      <a:pt x="1255" y="922"/>
                    </a:lnTo>
                    <a:lnTo>
                      <a:pt x="1285" y="912"/>
                    </a:lnTo>
                    <a:lnTo>
                      <a:pt x="1314" y="902"/>
                    </a:lnTo>
                    <a:lnTo>
                      <a:pt x="1342" y="891"/>
                    </a:lnTo>
                    <a:lnTo>
                      <a:pt x="1369" y="881"/>
                    </a:lnTo>
                    <a:lnTo>
                      <a:pt x="1396" y="869"/>
                    </a:lnTo>
                    <a:lnTo>
                      <a:pt x="1422" y="857"/>
                    </a:lnTo>
                    <a:lnTo>
                      <a:pt x="1447" y="845"/>
                    </a:lnTo>
                    <a:lnTo>
                      <a:pt x="1470" y="833"/>
                    </a:lnTo>
                    <a:lnTo>
                      <a:pt x="1516" y="808"/>
                    </a:lnTo>
                    <a:lnTo>
                      <a:pt x="1558" y="783"/>
                    </a:lnTo>
                    <a:lnTo>
                      <a:pt x="1596" y="759"/>
                    </a:lnTo>
                    <a:lnTo>
                      <a:pt x="1629" y="736"/>
                    </a:lnTo>
                    <a:lnTo>
                      <a:pt x="1664" y="711"/>
                    </a:lnTo>
                    <a:lnTo>
                      <a:pt x="1696" y="689"/>
                    </a:lnTo>
                    <a:lnTo>
                      <a:pt x="1726" y="669"/>
                    </a:lnTo>
                    <a:lnTo>
                      <a:pt x="1756" y="651"/>
                    </a:lnTo>
                    <a:lnTo>
                      <a:pt x="1784" y="633"/>
                    </a:lnTo>
                    <a:lnTo>
                      <a:pt x="1811" y="617"/>
                    </a:lnTo>
                    <a:lnTo>
                      <a:pt x="1837" y="603"/>
                    </a:lnTo>
                    <a:lnTo>
                      <a:pt x="1862" y="590"/>
                    </a:lnTo>
                    <a:lnTo>
                      <a:pt x="1889" y="577"/>
                    </a:lnTo>
                    <a:lnTo>
                      <a:pt x="1915" y="565"/>
                    </a:lnTo>
                    <a:lnTo>
                      <a:pt x="1941" y="556"/>
                    </a:lnTo>
                    <a:lnTo>
                      <a:pt x="1966" y="547"/>
                    </a:lnTo>
                    <a:lnTo>
                      <a:pt x="1989" y="539"/>
                    </a:lnTo>
                    <a:lnTo>
                      <a:pt x="2012" y="533"/>
                    </a:lnTo>
                    <a:lnTo>
                      <a:pt x="2034" y="529"/>
                    </a:lnTo>
                    <a:lnTo>
                      <a:pt x="2054" y="526"/>
                    </a:lnTo>
                    <a:lnTo>
                      <a:pt x="2075" y="524"/>
                    </a:lnTo>
                    <a:lnTo>
                      <a:pt x="2094" y="524"/>
                    </a:lnTo>
                    <a:lnTo>
                      <a:pt x="2114" y="526"/>
                    </a:lnTo>
                    <a:lnTo>
                      <a:pt x="2131" y="529"/>
                    </a:lnTo>
                    <a:lnTo>
                      <a:pt x="2148" y="533"/>
                    </a:lnTo>
                    <a:lnTo>
                      <a:pt x="2165" y="539"/>
                    </a:lnTo>
                    <a:lnTo>
                      <a:pt x="2181" y="547"/>
                    </a:lnTo>
                    <a:lnTo>
                      <a:pt x="2196" y="556"/>
                    </a:lnTo>
                    <a:lnTo>
                      <a:pt x="2205" y="561"/>
                    </a:lnTo>
                    <a:lnTo>
                      <a:pt x="2212" y="567"/>
                    </a:lnTo>
                    <a:lnTo>
                      <a:pt x="2220" y="574"/>
                    </a:lnTo>
                    <a:lnTo>
                      <a:pt x="2226" y="582"/>
                    </a:lnTo>
                    <a:lnTo>
                      <a:pt x="2233" y="588"/>
                    </a:lnTo>
                    <a:lnTo>
                      <a:pt x="2238" y="596"/>
                    </a:lnTo>
                    <a:lnTo>
                      <a:pt x="2243" y="603"/>
                    </a:lnTo>
                    <a:lnTo>
                      <a:pt x="2248" y="611"/>
                    </a:lnTo>
                    <a:lnTo>
                      <a:pt x="2255" y="628"/>
                    </a:lnTo>
                    <a:lnTo>
                      <a:pt x="2262" y="644"/>
                    </a:lnTo>
                    <a:lnTo>
                      <a:pt x="2266" y="662"/>
                    </a:lnTo>
                    <a:lnTo>
                      <a:pt x="2268" y="680"/>
                    </a:lnTo>
                    <a:lnTo>
                      <a:pt x="2269" y="698"/>
                    </a:lnTo>
                    <a:lnTo>
                      <a:pt x="2270" y="718"/>
                    </a:lnTo>
                    <a:lnTo>
                      <a:pt x="2269" y="736"/>
                    </a:lnTo>
                    <a:lnTo>
                      <a:pt x="2267" y="754"/>
                    </a:lnTo>
                    <a:lnTo>
                      <a:pt x="2263" y="792"/>
                    </a:lnTo>
                    <a:lnTo>
                      <a:pt x="2257" y="828"/>
                    </a:lnTo>
                    <a:lnTo>
                      <a:pt x="2253" y="851"/>
                    </a:lnTo>
                    <a:lnTo>
                      <a:pt x="2250" y="873"/>
                    </a:lnTo>
                    <a:lnTo>
                      <a:pt x="2248" y="893"/>
                    </a:lnTo>
                    <a:lnTo>
                      <a:pt x="2247" y="912"/>
                    </a:lnTo>
                    <a:lnTo>
                      <a:pt x="2247" y="920"/>
                    </a:lnTo>
                    <a:lnTo>
                      <a:pt x="2248" y="929"/>
                    </a:lnTo>
                    <a:lnTo>
                      <a:pt x="2249" y="937"/>
                    </a:lnTo>
                    <a:lnTo>
                      <a:pt x="2251" y="943"/>
                    </a:lnTo>
                    <a:lnTo>
                      <a:pt x="2253" y="950"/>
                    </a:lnTo>
                    <a:lnTo>
                      <a:pt x="2256" y="955"/>
                    </a:lnTo>
                    <a:lnTo>
                      <a:pt x="2260" y="959"/>
                    </a:lnTo>
                    <a:lnTo>
                      <a:pt x="2265" y="964"/>
                    </a:lnTo>
                    <a:lnTo>
                      <a:pt x="2287" y="981"/>
                    </a:lnTo>
                    <a:lnTo>
                      <a:pt x="2308" y="999"/>
                    </a:lnTo>
                    <a:lnTo>
                      <a:pt x="2328" y="1021"/>
                    </a:lnTo>
                    <a:lnTo>
                      <a:pt x="2347" y="1044"/>
                    </a:lnTo>
                    <a:lnTo>
                      <a:pt x="2364" y="1067"/>
                    </a:lnTo>
                    <a:lnTo>
                      <a:pt x="2382" y="1093"/>
                    </a:lnTo>
                    <a:lnTo>
                      <a:pt x="2397" y="1121"/>
                    </a:lnTo>
                    <a:lnTo>
                      <a:pt x="2411" y="1151"/>
                    </a:lnTo>
                    <a:lnTo>
                      <a:pt x="2425" y="1184"/>
                    </a:lnTo>
                    <a:lnTo>
                      <a:pt x="2435" y="1213"/>
                    </a:lnTo>
                    <a:lnTo>
                      <a:pt x="2442" y="1237"/>
                    </a:lnTo>
                    <a:lnTo>
                      <a:pt x="2446" y="1254"/>
                    </a:lnTo>
                    <a:lnTo>
                      <a:pt x="2449" y="1259"/>
                    </a:lnTo>
                    <a:lnTo>
                      <a:pt x="2450" y="1263"/>
                    </a:lnTo>
                    <a:lnTo>
                      <a:pt x="2450" y="1265"/>
                    </a:lnTo>
                    <a:lnTo>
                      <a:pt x="2451" y="1266"/>
                    </a:lnTo>
                    <a:lnTo>
                      <a:pt x="2451" y="1271"/>
                    </a:lnTo>
                    <a:lnTo>
                      <a:pt x="2450" y="1277"/>
                    </a:lnTo>
                    <a:lnTo>
                      <a:pt x="2446" y="1280"/>
                    </a:lnTo>
                    <a:lnTo>
                      <a:pt x="2442" y="1283"/>
                    </a:lnTo>
                    <a:lnTo>
                      <a:pt x="2440" y="1283"/>
                    </a:lnTo>
                    <a:lnTo>
                      <a:pt x="2438" y="1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3"/>
              <p:cNvSpPr>
                <a:spLocks/>
              </p:cNvSpPr>
              <p:nvPr userDrawn="1"/>
            </p:nvSpPr>
            <p:spPr bwMode="auto">
              <a:xfrm>
                <a:off x="1852" y="1484"/>
                <a:ext cx="825" cy="431"/>
              </a:xfrm>
              <a:custGeom>
                <a:avLst/>
                <a:gdLst>
                  <a:gd name="T0" fmla="*/ 2448 w 2475"/>
                  <a:gd name="T1" fmla="*/ 1282 h 1291"/>
                  <a:gd name="T2" fmla="*/ 2415 w 2475"/>
                  <a:gd name="T3" fmla="*/ 1204 h 1291"/>
                  <a:gd name="T4" fmla="*/ 2338 w 2475"/>
                  <a:gd name="T5" fmla="*/ 1085 h 1291"/>
                  <a:gd name="T6" fmla="*/ 2251 w 2475"/>
                  <a:gd name="T7" fmla="*/ 1009 h 1291"/>
                  <a:gd name="T8" fmla="*/ 2230 w 2475"/>
                  <a:gd name="T9" fmla="*/ 970 h 1291"/>
                  <a:gd name="T10" fmla="*/ 2226 w 2475"/>
                  <a:gd name="T11" fmla="*/ 884 h 1291"/>
                  <a:gd name="T12" fmla="*/ 2232 w 2475"/>
                  <a:gd name="T13" fmla="*/ 764 h 1291"/>
                  <a:gd name="T14" fmla="*/ 2214 w 2475"/>
                  <a:gd name="T15" fmla="*/ 689 h 1291"/>
                  <a:gd name="T16" fmla="*/ 2160 w 2475"/>
                  <a:gd name="T17" fmla="*/ 630 h 1291"/>
                  <a:gd name="T18" fmla="*/ 2087 w 2475"/>
                  <a:gd name="T19" fmla="*/ 605 h 1291"/>
                  <a:gd name="T20" fmla="*/ 1994 w 2475"/>
                  <a:gd name="T21" fmla="*/ 611 h 1291"/>
                  <a:gd name="T22" fmla="*/ 1881 w 2475"/>
                  <a:gd name="T23" fmla="*/ 647 h 1291"/>
                  <a:gd name="T24" fmla="*/ 1751 w 2475"/>
                  <a:gd name="T25" fmla="*/ 711 h 1291"/>
                  <a:gd name="T26" fmla="*/ 1592 w 2475"/>
                  <a:gd name="T27" fmla="*/ 806 h 1291"/>
                  <a:gd name="T28" fmla="*/ 1442 w 2475"/>
                  <a:gd name="T29" fmla="*/ 887 h 1291"/>
                  <a:gd name="T30" fmla="*/ 1293 w 2475"/>
                  <a:gd name="T31" fmla="*/ 947 h 1291"/>
                  <a:gd name="T32" fmla="*/ 1144 w 2475"/>
                  <a:gd name="T33" fmla="*/ 987 h 1291"/>
                  <a:gd name="T34" fmla="*/ 996 w 2475"/>
                  <a:gd name="T35" fmla="*/ 1007 h 1291"/>
                  <a:gd name="T36" fmla="*/ 850 w 2475"/>
                  <a:gd name="T37" fmla="*/ 1006 h 1291"/>
                  <a:gd name="T38" fmla="*/ 704 w 2475"/>
                  <a:gd name="T39" fmla="*/ 983 h 1291"/>
                  <a:gd name="T40" fmla="*/ 603 w 2475"/>
                  <a:gd name="T41" fmla="*/ 953 h 1291"/>
                  <a:gd name="T42" fmla="*/ 521 w 2475"/>
                  <a:gd name="T43" fmla="*/ 907 h 1291"/>
                  <a:gd name="T44" fmla="*/ 444 w 2475"/>
                  <a:gd name="T45" fmla="*/ 846 h 1291"/>
                  <a:gd name="T46" fmla="*/ 321 w 2475"/>
                  <a:gd name="T47" fmla="*/ 711 h 1291"/>
                  <a:gd name="T48" fmla="*/ 160 w 2475"/>
                  <a:gd name="T49" fmla="*/ 475 h 1291"/>
                  <a:gd name="T50" fmla="*/ 47 w 2475"/>
                  <a:gd name="T51" fmla="*/ 263 h 1291"/>
                  <a:gd name="T52" fmla="*/ 3 w 2475"/>
                  <a:gd name="T53" fmla="*/ 109 h 1291"/>
                  <a:gd name="T54" fmla="*/ 6 w 2475"/>
                  <a:gd name="T55" fmla="*/ 17 h 1291"/>
                  <a:gd name="T56" fmla="*/ 30 w 2475"/>
                  <a:gd name="T57" fmla="*/ 2 h 1291"/>
                  <a:gd name="T58" fmla="*/ 31 w 2475"/>
                  <a:gd name="T59" fmla="*/ 28 h 1291"/>
                  <a:gd name="T60" fmla="*/ 30 w 2475"/>
                  <a:gd name="T61" fmla="*/ 108 h 1291"/>
                  <a:gd name="T62" fmla="*/ 73 w 2475"/>
                  <a:gd name="T63" fmla="*/ 253 h 1291"/>
                  <a:gd name="T64" fmla="*/ 182 w 2475"/>
                  <a:gd name="T65" fmla="*/ 459 h 1291"/>
                  <a:gd name="T66" fmla="*/ 342 w 2475"/>
                  <a:gd name="T67" fmla="*/ 694 h 1291"/>
                  <a:gd name="T68" fmla="*/ 460 w 2475"/>
                  <a:gd name="T69" fmla="*/ 825 h 1291"/>
                  <a:gd name="T70" fmla="*/ 534 w 2475"/>
                  <a:gd name="T71" fmla="*/ 885 h 1291"/>
                  <a:gd name="T72" fmla="*/ 613 w 2475"/>
                  <a:gd name="T73" fmla="*/ 927 h 1291"/>
                  <a:gd name="T74" fmla="*/ 710 w 2475"/>
                  <a:gd name="T75" fmla="*/ 957 h 1291"/>
                  <a:gd name="T76" fmla="*/ 852 w 2475"/>
                  <a:gd name="T77" fmla="*/ 979 h 1291"/>
                  <a:gd name="T78" fmla="*/ 995 w 2475"/>
                  <a:gd name="T79" fmla="*/ 980 h 1291"/>
                  <a:gd name="T80" fmla="*/ 1140 w 2475"/>
                  <a:gd name="T81" fmla="*/ 960 h 1291"/>
                  <a:gd name="T82" fmla="*/ 1286 w 2475"/>
                  <a:gd name="T83" fmla="*/ 922 h 1291"/>
                  <a:gd name="T84" fmla="*/ 1432 w 2475"/>
                  <a:gd name="T85" fmla="*/ 862 h 1291"/>
                  <a:gd name="T86" fmla="*/ 1579 w 2475"/>
                  <a:gd name="T87" fmla="*/ 783 h 1291"/>
                  <a:gd name="T88" fmla="*/ 1739 w 2475"/>
                  <a:gd name="T89" fmla="*/ 687 h 1291"/>
                  <a:gd name="T90" fmla="*/ 1871 w 2475"/>
                  <a:gd name="T91" fmla="*/ 622 h 1291"/>
                  <a:gd name="T92" fmla="*/ 1993 w 2475"/>
                  <a:gd name="T93" fmla="*/ 584 h 1291"/>
                  <a:gd name="T94" fmla="*/ 2093 w 2475"/>
                  <a:gd name="T95" fmla="*/ 579 h 1291"/>
                  <a:gd name="T96" fmla="*/ 2176 w 2475"/>
                  <a:gd name="T97" fmla="*/ 607 h 1291"/>
                  <a:gd name="T98" fmla="*/ 2219 w 2475"/>
                  <a:gd name="T99" fmla="*/ 645 h 1291"/>
                  <a:gd name="T100" fmla="*/ 2254 w 2475"/>
                  <a:gd name="T101" fmla="*/ 724 h 1291"/>
                  <a:gd name="T102" fmla="*/ 2258 w 2475"/>
                  <a:gd name="T103" fmla="*/ 829 h 1291"/>
                  <a:gd name="T104" fmla="*/ 2252 w 2475"/>
                  <a:gd name="T105" fmla="*/ 942 h 1291"/>
                  <a:gd name="T106" fmla="*/ 2261 w 2475"/>
                  <a:gd name="T107" fmla="*/ 979 h 1291"/>
                  <a:gd name="T108" fmla="*/ 2317 w 2475"/>
                  <a:gd name="T109" fmla="*/ 1026 h 1291"/>
                  <a:gd name="T110" fmla="*/ 2411 w 2475"/>
                  <a:gd name="T111" fmla="*/ 1140 h 1291"/>
                  <a:gd name="T112" fmla="*/ 2464 w 2475"/>
                  <a:gd name="T113" fmla="*/ 1253 h 1291"/>
                  <a:gd name="T114" fmla="*/ 2475 w 2475"/>
                  <a:gd name="T115" fmla="*/ 1278 h 1291"/>
                  <a:gd name="T116" fmla="*/ 2460 w 2475"/>
                  <a:gd name="T117" fmla="*/ 1291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75" h="1291">
                    <a:moveTo>
                      <a:pt x="2460" y="1291"/>
                    </a:moveTo>
                    <a:lnTo>
                      <a:pt x="2456" y="1290"/>
                    </a:lnTo>
                    <a:lnTo>
                      <a:pt x="2453" y="1289"/>
                    </a:lnTo>
                    <a:lnTo>
                      <a:pt x="2450" y="1286"/>
                    </a:lnTo>
                    <a:lnTo>
                      <a:pt x="2448" y="1282"/>
                    </a:lnTo>
                    <a:lnTo>
                      <a:pt x="2443" y="1273"/>
                    </a:lnTo>
                    <a:lnTo>
                      <a:pt x="2439" y="1262"/>
                    </a:lnTo>
                    <a:lnTo>
                      <a:pt x="2433" y="1246"/>
                    </a:lnTo>
                    <a:lnTo>
                      <a:pt x="2425" y="1227"/>
                    </a:lnTo>
                    <a:lnTo>
                      <a:pt x="2415" y="1204"/>
                    </a:lnTo>
                    <a:lnTo>
                      <a:pt x="2403" y="1181"/>
                    </a:lnTo>
                    <a:lnTo>
                      <a:pt x="2387" y="1155"/>
                    </a:lnTo>
                    <a:lnTo>
                      <a:pt x="2372" y="1130"/>
                    </a:lnTo>
                    <a:lnTo>
                      <a:pt x="2355" y="1106"/>
                    </a:lnTo>
                    <a:lnTo>
                      <a:pt x="2338" y="1085"/>
                    </a:lnTo>
                    <a:lnTo>
                      <a:pt x="2318" y="1065"/>
                    </a:lnTo>
                    <a:lnTo>
                      <a:pt x="2300" y="1047"/>
                    </a:lnTo>
                    <a:lnTo>
                      <a:pt x="2279" y="1029"/>
                    </a:lnTo>
                    <a:lnTo>
                      <a:pt x="2259" y="1014"/>
                    </a:lnTo>
                    <a:lnTo>
                      <a:pt x="2251" y="1009"/>
                    </a:lnTo>
                    <a:lnTo>
                      <a:pt x="2246" y="1002"/>
                    </a:lnTo>
                    <a:lnTo>
                      <a:pt x="2240" y="996"/>
                    </a:lnTo>
                    <a:lnTo>
                      <a:pt x="2236" y="987"/>
                    </a:lnTo>
                    <a:lnTo>
                      <a:pt x="2232" y="980"/>
                    </a:lnTo>
                    <a:lnTo>
                      <a:pt x="2230" y="970"/>
                    </a:lnTo>
                    <a:lnTo>
                      <a:pt x="2227" y="961"/>
                    </a:lnTo>
                    <a:lnTo>
                      <a:pt x="2225" y="952"/>
                    </a:lnTo>
                    <a:lnTo>
                      <a:pt x="2224" y="930"/>
                    </a:lnTo>
                    <a:lnTo>
                      <a:pt x="2224" y="907"/>
                    </a:lnTo>
                    <a:lnTo>
                      <a:pt x="2226" y="884"/>
                    </a:lnTo>
                    <a:lnTo>
                      <a:pt x="2228" y="860"/>
                    </a:lnTo>
                    <a:lnTo>
                      <a:pt x="2231" y="828"/>
                    </a:lnTo>
                    <a:lnTo>
                      <a:pt x="2232" y="796"/>
                    </a:lnTo>
                    <a:lnTo>
                      <a:pt x="2232" y="780"/>
                    </a:lnTo>
                    <a:lnTo>
                      <a:pt x="2232" y="764"/>
                    </a:lnTo>
                    <a:lnTo>
                      <a:pt x="2231" y="748"/>
                    </a:lnTo>
                    <a:lnTo>
                      <a:pt x="2228" y="733"/>
                    </a:lnTo>
                    <a:lnTo>
                      <a:pt x="2224" y="717"/>
                    </a:lnTo>
                    <a:lnTo>
                      <a:pt x="2220" y="703"/>
                    </a:lnTo>
                    <a:lnTo>
                      <a:pt x="2214" y="689"/>
                    </a:lnTo>
                    <a:lnTo>
                      <a:pt x="2207" y="675"/>
                    </a:lnTo>
                    <a:lnTo>
                      <a:pt x="2198" y="664"/>
                    </a:lnTo>
                    <a:lnTo>
                      <a:pt x="2187" y="652"/>
                    </a:lnTo>
                    <a:lnTo>
                      <a:pt x="2176" y="641"/>
                    </a:lnTo>
                    <a:lnTo>
                      <a:pt x="2160" y="630"/>
                    </a:lnTo>
                    <a:lnTo>
                      <a:pt x="2147" y="622"/>
                    </a:lnTo>
                    <a:lnTo>
                      <a:pt x="2133" y="617"/>
                    </a:lnTo>
                    <a:lnTo>
                      <a:pt x="2118" y="612"/>
                    </a:lnTo>
                    <a:lnTo>
                      <a:pt x="2103" y="608"/>
                    </a:lnTo>
                    <a:lnTo>
                      <a:pt x="2087" y="605"/>
                    </a:lnTo>
                    <a:lnTo>
                      <a:pt x="2070" y="604"/>
                    </a:lnTo>
                    <a:lnTo>
                      <a:pt x="2052" y="604"/>
                    </a:lnTo>
                    <a:lnTo>
                      <a:pt x="2034" y="605"/>
                    </a:lnTo>
                    <a:lnTo>
                      <a:pt x="2015" y="607"/>
                    </a:lnTo>
                    <a:lnTo>
                      <a:pt x="1994" y="611"/>
                    </a:lnTo>
                    <a:lnTo>
                      <a:pt x="1974" y="616"/>
                    </a:lnTo>
                    <a:lnTo>
                      <a:pt x="1951" y="622"/>
                    </a:lnTo>
                    <a:lnTo>
                      <a:pt x="1928" y="629"/>
                    </a:lnTo>
                    <a:lnTo>
                      <a:pt x="1905" y="638"/>
                    </a:lnTo>
                    <a:lnTo>
                      <a:pt x="1881" y="647"/>
                    </a:lnTo>
                    <a:lnTo>
                      <a:pt x="1855" y="658"/>
                    </a:lnTo>
                    <a:lnTo>
                      <a:pt x="1831" y="670"/>
                    </a:lnTo>
                    <a:lnTo>
                      <a:pt x="1805" y="682"/>
                    </a:lnTo>
                    <a:lnTo>
                      <a:pt x="1779" y="696"/>
                    </a:lnTo>
                    <a:lnTo>
                      <a:pt x="1751" y="711"/>
                    </a:lnTo>
                    <a:lnTo>
                      <a:pt x="1722" y="727"/>
                    </a:lnTo>
                    <a:lnTo>
                      <a:pt x="1692" y="746"/>
                    </a:lnTo>
                    <a:lnTo>
                      <a:pt x="1658" y="766"/>
                    </a:lnTo>
                    <a:lnTo>
                      <a:pt x="1623" y="788"/>
                    </a:lnTo>
                    <a:lnTo>
                      <a:pt x="1592" y="806"/>
                    </a:lnTo>
                    <a:lnTo>
                      <a:pt x="1563" y="824"/>
                    </a:lnTo>
                    <a:lnTo>
                      <a:pt x="1533" y="842"/>
                    </a:lnTo>
                    <a:lnTo>
                      <a:pt x="1503" y="858"/>
                    </a:lnTo>
                    <a:lnTo>
                      <a:pt x="1473" y="873"/>
                    </a:lnTo>
                    <a:lnTo>
                      <a:pt x="1442" y="887"/>
                    </a:lnTo>
                    <a:lnTo>
                      <a:pt x="1412" y="901"/>
                    </a:lnTo>
                    <a:lnTo>
                      <a:pt x="1383" y="914"/>
                    </a:lnTo>
                    <a:lnTo>
                      <a:pt x="1353" y="926"/>
                    </a:lnTo>
                    <a:lnTo>
                      <a:pt x="1322" y="937"/>
                    </a:lnTo>
                    <a:lnTo>
                      <a:pt x="1293" y="947"/>
                    </a:lnTo>
                    <a:lnTo>
                      <a:pt x="1263" y="957"/>
                    </a:lnTo>
                    <a:lnTo>
                      <a:pt x="1233" y="966"/>
                    </a:lnTo>
                    <a:lnTo>
                      <a:pt x="1204" y="974"/>
                    </a:lnTo>
                    <a:lnTo>
                      <a:pt x="1173" y="981"/>
                    </a:lnTo>
                    <a:lnTo>
                      <a:pt x="1144" y="987"/>
                    </a:lnTo>
                    <a:lnTo>
                      <a:pt x="1114" y="993"/>
                    </a:lnTo>
                    <a:lnTo>
                      <a:pt x="1085" y="997"/>
                    </a:lnTo>
                    <a:lnTo>
                      <a:pt x="1055" y="1001"/>
                    </a:lnTo>
                    <a:lnTo>
                      <a:pt x="1026" y="1005"/>
                    </a:lnTo>
                    <a:lnTo>
                      <a:pt x="996" y="1007"/>
                    </a:lnTo>
                    <a:lnTo>
                      <a:pt x="966" y="1008"/>
                    </a:lnTo>
                    <a:lnTo>
                      <a:pt x="937" y="1009"/>
                    </a:lnTo>
                    <a:lnTo>
                      <a:pt x="908" y="1008"/>
                    </a:lnTo>
                    <a:lnTo>
                      <a:pt x="879" y="1007"/>
                    </a:lnTo>
                    <a:lnTo>
                      <a:pt x="850" y="1006"/>
                    </a:lnTo>
                    <a:lnTo>
                      <a:pt x="820" y="1002"/>
                    </a:lnTo>
                    <a:lnTo>
                      <a:pt x="791" y="999"/>
                    </a:lnTo>
                    <a:lnTo>
                      <a:pt x="762" y="995"/>
                    </a:lnTo>
                    <a:lnTo>
                      <a:pt x="733" y="990"/>
                    </a:lnTo>
                    <a:lnTo>
                      <a:pt x="704" y="983"/>
                    </a:lnTo>
                    <a:lnTo>
                      <a:pt x="676" y="977"/>
                    </a:lnTo>
                    <a:lnTo>
                      <a:pt x="657" y="971"/>
                    </a:lnTo>
                    <a:lnTo>
                      <a:pt x="639" y="966"/>
                    </a:lnTo>
                    <a:lnTo>
                      <a:pt x="622" y="959"/>
                    </a:lnTo>
                    <a:lnTo>
                      <a:pt x="603" y="953"/>
                    </a:lnTo>
                    <a:lnTo>
                      <a:pt x="587" y="945"/>
                    </a:lnTo>
                    <a:lnTo>
                      <a:pt x="570" y="937"/>
                    </a:lnTo>
                    <a:lnTo>
                      <a:pt x="554" y="928"/>
                    </a:lnTo>
                    <a:lnTo>
                      <a:pt x="537" y="918"/>
                    </a:lnTo>
                    <a:lnTo>
                      <a:pt x="521" y="907"/>
                    </a:lnTo>
                    <a:lnTo>
                      <a:pt x="505" y="897"/>
                    </a:lnTo>
                    <a:lnTo>
                      <a:pt x="490" y="885"/>
                    </a:lnTo>
                    <a:lnTo>
                      <a:pt x="474" y="873"/>
                    </a:lnTo>
                    <a:lnTo>
                      <a:pt x="459" y="860"/>
                    </a:lnTo>
                    <a:lnTo>
                      <a:pt x="444" y="846"/>
                    </a:lnTo>
                    <a:lnTo>
                      <a:pt x="428" y="832"/>
                    </a:lnTo>
                    <a:lnTo>
                      <a:pt x="413" y="817"/>
                    </a:lnTo>
                    <a:lnTo>
                      <a:pt x="383" y="784"/>
                    </a:lnTo>
                    <a:lnTo>
                      <a:pt x="353" y="749"/>
                    </a:lnTo>
                    <a:lnTo>
                      <a:pt x="321" y="711"/>
                    </a:lnTo>
                    <a:lnTo>
                      <a:pt x="291" y="670"/>
                    </a:lnTo>
                    <a:lnTo>
                      <a:pt x="259" y="626"/>
                    </a:lnTo>
                    <a:lnTo>
                      <a:pt x="228" y="578"/>
                    </a:lnTo>
                    <a:lnTo>
                      <a:pt x="194" y="527"/>
                    </a:lnTo>
                    <a:lnTo>
                      <a:pt x="160" y="475"/>
                    </a:lnTo>
                    <a:lnTo>
                      <a:pt x="131" y="428"/>
                    </a:lnTo>
                    <a:lnTo>
                      <a:pt x="106" y="383"/>
                    </a:lnTo>
                    <a:lnTo>
                      <a:pt x="83" y="341"/>
                    </a:lnTo>
                    <a:lnTo>
                      <a:pt x="65" y="301"/>
                    </a:lnTo>
                    <a:lnTo>
                      <a:pt x="47" y="263"/>
                    </a:lnTo>
                    <a:lnTo>
                      <a:pt x="34" y="227"/>
                    </a:lnTo>
                    <a:lnTo>
                      <a:pt x="22" y="194"/>
                    </a:lnTo>
                    <a:lnTo>
                      <a:pt x="14" y="163"/>
                    </a:lnTo>
                    <a:lnTo>
                      <a:pt x="7" y="135"/>
                    </a:lnTo>
                    <a:lnTo>
                      <a:pt x="3" y="109"/>
                    </a:lnTo>
                    <a:lnTo>
                      <a:pt x="0" y="85"/>
                    </a:lnTo>
                    <a:lnTo>
                      <a:pt x="0" y="64"/>
                    </a:lnTo>
                    <a:lnTo>
                      <a:pt x="1" y="46"/>
                    </a:lnTo>
                    <a:lnTo>
                      <a:pt x="3" y="30"/>
                    </a:lnTo>
                    <a:lnTo>
                      <a:pt x="6" y="17"/>
                    </a:lnTo>
                    <a:lnTo>
                      <a:pt x="12" y="6"/>
                    </a:lnTo>
                    <a:lnTo>
                      <a:pt x="15" y="2"/>
                    </a:lnTo>
                    <a:lnTo>
                      <a:pt x="19" y="0"/>
                    </a:lnTo>
                    <a:lnTo>
                      <a:pt x="25" y="0"/>
                    </a:lnTo>
                    <a:lnTo>
                      <a:pt x="30" y="2"/>
                    </a:lnTo>
                    <a:lnTo>
                      <a:pt x="33" y="5"/>
                    </a:lnTo>
                    <a:lnTo>
                      <a:pt x="36" y="9"/>
                    </a:lnTo>
                    <a:lnTo>
                      <a:pt x="36" y="15"/>
                    </a:lnTo>
                    <a:lnTo>
                      <a:pt x="34" y="20"/>
                    </a:lnTo>
                    <a:lnTo>
                      <a:pt x="31" y="28"/>
                    </a:lnTo>
                    <a:lnTo>
                      <a:pt x="28" y="38"/>
                    </a:lnTo>
                    <a:lnTo>
                      <a:pt x="27" y="51"/>
                    </a:lnTo>
                    <a:lnTo>
                      <a:pt x="27" y="68"/>
                    </a:lnTo>
                    <a:lnTo>
                      <a:pt x="28" y="87"/>
                    </a:lnTo>
                    <a:lnTo>
                      <a:pt x="30" y="108"/>
                    </a:lnTo>
                    <a:lnTo>
                      <a:pt x="34" y="132"/>
                    </a:lnTo>
                    <a:lnTo>
                      <a:pt x="41" y="158"/>
                    </a:lnTo>
                    <a:lnTo>
                      <a:pt x="49" y="187"/>
                    </a:lnTo>
                    <a:lnTo>
                      <a:pt x="60" y="220"/>
                    </a:lnTo>
                    <a:lnTo>
                      <a:pt x="73" y="253"/>
                    </a:lnTo>
                    <a:lnTo>
                      <a:pt x="89" y="290"/>
                    </a:lnTo>
                    <a:lnTo>
                      <a:pt x="108" y="329"/>
                    </a:lnTo>
                    <a:lnTo>
                      <a:pt x="129" y="370"/>
                    </a:lnTo>
                    <a:lnTo>
                      <a:pt x="154" y="414"/>
                    </a:lnTo>
                    <a:lnTo>
                      <a:pt x="182" y="459"/>
                    </a:lnTo>
                    <a:lnTo>
                      <a:pt x="217" y="513"/>
                    </a:lnTo>
                    <a:lnTo>
                      <a:pt x="249" y="563"/>
                    </a:lnTo>
                    <a:lnTo>
                      <a:pt x="282" y="611"/>
                    </a:lnTo>
                    <a:lnTo>
                      <a:pt x="312" y="654"/>
                    </a:lnTo>
                    <a:lnTo>
                      <a:pt x="342" y="694"/>
                    </a:lnTo>
                    <a:lnTo>
                      <a:pt x="372" y="732"/>
                    </a:lnTo>
                    <a:lnTo>
                      <a:pt x="401" y="766"/>
                    </a:lnTo>
                    <a:lnTo>
                      <a:pt x="431" y="797"/>
                    </a:lnTo>
                    <a:lnTo>
                      <a:pt x="445" y="811"/>
                    </a:lnTo>
                    <a:lnTo>
                      <a:pt x="460" y="825"/>
                    </a:lnTo>
                    <a:lnTo>
                      <a:pt x="475" y="838"/>
                    </a:lnTo>
                    <a:lnTo>
                      <a:pt x="489" y="851"/>
                    </a:lnTo>
                    <a:lnTo>
                      <a:pt x="504" y="863"/>
                    </a:lnTo>
                    <a:lnTo>
                      <a:pt x="519" y="874"/>
                    </a:lnTo>
                    <a:lnTo>
                      <a:pt x="534" y="885"/>
                    </a:lnTo>
                    <a:lnTo>
                      <a:pt x="549" y="895"/>
                    </a:lnTo>
                    <a:lnTo>
                      <a:pt x="566" y="903"/>
                    </a:lnTo>
                    <a:lnTo>
                      <a:pt x="581" y="912"/>
                    </a:lnTo>
                    <a:lnTo>
                      <a:pt x="597" y="920"/>
                    </a:lnTo>
                    <a:lnTo>
                      <a:pt x="613" y="927"/>
                    </a:lnTo>
                    <a:lnTo>
                      <a:pt x="630" y="934"/>
                    </a:lnTo>
                    <a:lnTo>
                      <a:pt x="647" y="940"/>
                    </a:lnTo>
                    <a:lnTo>
                      <a:pt x="665" y="945"/>
                    </a:lnTo>
                    <a:lnTo>
                      <a:pt x="682" y="951"/>
                    </a:lnTo>
                    <a:lnTo>
                      <a:pt x="710" y="957"/>
                    </a:lnTo>
                    <a:lnTo>
                      <a:pt x="738" y="963"/>
                    </a:lnTo>
                    <a:lnTo>
                      <a:pt x="766" y="968"/>
                    </a:lnTo>
                    <a:lnTo>
                      <a:pt x="796" y="972"/>
                    </a:lnTo>
                    <a:lnTo>
                      <a:pt x="824" y="975"/>
                    </a:lnTo>
                    <a:lnTo>
                      <a:pt x="852" y="979"/>
                    </a:lnTo>
                    <a:lnTo>
                      <a:pt x="881" y="980"/>
                    </a:lnTo>
                    <a:lnTo>
                      <a:pt x="909" y="981"/>
                    </a:lnTo>
                    <a:lnTo>
                      <a:pt x="938" y="982"/>
                    </a:lnTo>
                    <a:lnTo>
                      <a:pt x="966" y="981"/>
                    </a:lnTo>
                    <a:lnTo>
                      <a:pt x="995" y="980"/>
                    </a:lnTo>
                    <a:lnTo>
                      <a:pt x="1024" y="978"/>
                    </a:lnTo>
                    <a:lnTo>
                      <a:pt x="1053" y="974"/>
                    </a:lnTo>
                    <a:lnTo>
                      <a:pt x="1082" y="971"/>
                    </a:lnTo>
                    <a:lnTo>
                      <a:pt x="1111" y="966"/>
                    </a:lnTo>
                    <a:lnTo>
                      <a:pt x="1140" y="960"/>
                    </a:lnTo>
                    <a:lnTo>
                      <a:pt x="1169" y="955"/>
                    </a:lnTo>
                    <a:lnTo>
                      <a:pt x="1198" y="947"/>
                    </a:lnTo>
                    <a:lnTo>
                      <a:pt x="1227" y="940"/>
                    </a:lnTo>
                    <a:lnTo>
                      <a:pt x="1257" y="931"/>
                    </a:lnTo>
                    <a:lnTo>
                      <a:pt x="1286" y="922"/>
                    </a:lnTo>
                    <a:lnTo>
                      <a:pt x="1315" y="912"/>
                    </a:lnTo>
                    <a:lnTo>
                      <a:pt x="1344" y="900"/>
                    </a:lnTo>
                    <a:lnTo>
                      <a:pt x="1373" y="888"/>
                    </a:lnTo>
                    <a:lnTo>
                      <a:pt x="1402" y="876"/>
                    </a:lnTo>
                    <a:lnTo>
                      <a:pt x="1432" y="862"/>
                    </a:lnTo>
                    <a:lnTo>
                      <a:pt x="1462" y="848"/>
                    </a:lnTo>
                    <a:lnTo>
                      <a:pt x="1491" y="833"/>
                    </a:lnTo>
                    <a:lnTo>
                      <a:pt x="1520" y="817"/>
                    </a:lnTo>
                    <a:lnTo>
                      <a:pt x="1549" y="801"/>
                    </a:lnTo>
                    <a:lnTo>
                      <a:pt x="1579" y="783"/>
                    </a:lnTo>
                    <a:lnTo>
                      <a:pt x="1609" y="765"/>
                    </a:lnTo>
                    <a:lnTo>
                      <a:pt x="1644" y="742"/>
                    </a:lnTo>
                    <a:lnTo>
                      <a:pt x="1678" y="722"/>
                    </a:lnTo>
                    <a:lnTo>
                      <a:pt x="1709" y="703"/>
                    </a:lnTo>
                    <a:lnTo>
                      <a:pt x="1739" y="687"/>
                    </a:lnTo>
                    <a:lnTo>
                      <a:pt x="1767" y="671"/>
                    </a:lnTo>
                    <a:lnTo>
                      <a:pt x="1793" y="658"/>
                    </a:lnTo>
                    <a:lnTo>
                      <a:pt x="1819" y="645"/>
                    </a:lnTo>
                    <a:lnTo>
                      <a:pt x="1844" y="633"/>
                    </a:lnTo>
                    <a:lnTo>
                      <a:pt x="1871" y="622"/>
                    </a:lnTo>
                    <a:lnTo>
                      <a:pt x="1897" y="612"/>
                    </a:lnTo>
                    <a:lnTo>
                      <a:pt x="1923" y="603"/>
                    </a:lnTo>
                    <a:lnTo>
                      <a:pt x="1947" y="596"/>
                    </a:lnTo>
                    <a:lnTo>
                      <a:pt x="1970" y="589"/>
                    </a:lnTo>
                    <a:lnTo>
                      <a:pt x="1993" y="584"/>
                    </a:lnTo>
                    <a:lnTo>
                      <a:pt x="2015" y="580"/>
                    </a:lnTo>
                    <a:lnTo>
                      <a:pt x="2036" y="578"/>
                    </a:lnTo>
                    <a:lnTo>
                      <a:pt x="2056" y="577"/>
                    </a:lnTo>
                    <a:lnTo>
                      <a:pt x="2075" y="577"/>
                    </a:lnTo>
                    <a:lnTo>
                      <a:pt x="2093" y="579"/>
                    </a:lnTo>
                    <a:lnTo>
                      <a:pt x="2111" y="583"/>
                    </a:lnTo>
                    <a:lnTo>
                      <a:pt x="2128" y="587"/>
                    </a:lnTo>
                    <a:lnTo>
                      <a:pt x="2144" y="592"/>
                    </a:lnTo>
                    <a:lnTo>
                      <a:pt x="2160" y="599"/>
                    </a:lnTo>
                    <a:lnTo>
                      <a:pt x="2176" y="607"/>
                    </a:lnTo>
                    <a:lnTo>
                      <a:pt x="2184" y="613"/>
                    </a:lnTo>
                    <a:lnTo>
                      <a:pt x="2192" y="619"/>
                    </a:lnTo>
                    <a:lnTo>
                      <a:pt x="2199" y="626"/>
                    </a:lnTo>
                    <a:lnTo>
                      <a:pt x="2207" y="632"/>
                    </a:lnTo>
                    <a:lnTo>
                      <a:pt x="2219" y="645"/>
                    </a:lnTo>
                    <a:lnTo>
                      <a:pt x="2230" y="660"/>
                    </a:lnTo>
                    <a:lnTo>
                      <a:pt x="2238" y="675"/>
                    </a:lnTo>
                    <a:lnTo>
                      <a:pt x="2245" y="692"/>
                    </a:lnTo>
                    <a:lnTo>
                      <a:pt x="2250" y="708"/>
                    </a:lnTo>
                    <a:lnTo>
                      <a:pt x="2254" y="724"/>
                    </a:lnTo>
                    <a:lnTo>
                      <a:pt x="2257" y="741"/>
                    </a:lnTo>
                    <a:lnTo>
                      <a:pt x="2259" y="759"/>
                    </a:lnTo>
                    <a:lnTo>
                      <a:pt x="2259" y="777"/>
                    </a:lnTo>
                    <a:lnTo>
                      <a:pt x="2259" y="794"/>
                    </a:lnTo>
                    <a:lnTo>
                      <a:pt x="2258" y="829"/>
                    </a:lnTo>
                    <a:lnTo>
                      <a:pt x="2254" y="862"/>
                    </a:lnTo>
                    <a:lnTo>
                      <a:pt x="2253" y="884"/>
                    </a:lnTo>
                    <a:lnTo>
                      <a:pt x="2252" y="905"/>
                    </a:lnTo>
                    <a:lnTo>
                      <a:pt x="2251" y="925"/>
                    </a:lnTo>
                    <a:lnTo>
                      <a:pt x="2252" y="942"/>
                    </a:lnTo>
                    <a:lnTo>
                      <a:pt x="2252" y="951"/>
                    </a:lnTo>
                    <a:lnTo>
                      <a:pt x="2254" y="958"/>
                    </a:lnTo>
                    <a:lnTo>
                      <a:pt x="2255" y="966"/>
                    </a:lnTo>
                    <a:lnTo>
                      <a:pt x="2259" y="972"/>
                    </a:lnTo>
                    <a:lnTo>
                      <a:pt x="2261" y="979"/>
                    </a:lnTo>
                    <a:lnTo>
                      <a:pt x="2265" y="984"/>
                    </a:lnTo>
                    <a:lnTo>
                      <a:pt x="2268" y="988"/>
                    </a:lnTo>
                    <a:lnTo>
                      <a:pt x="2274" y="993"/>
                    </a:lnTo>
                    <a:lnTo>
                      <a:pt x="2295" y="1008"/>
                    </a:lnTo>
                    <a:lnTo>
                      <a:pt x="2317" y="1026"/>
                    </a:lnTo>
                    <a:lnTo>
                      <a:pt x="2338" y="1046"/>
                    </a:lnTo>
                    <a:lnTo>
                      <a:pt x="2357" y="1066"/>
                    </a:lnTo>
                    <a:lnTo>
                      <a:pt x="2375" y="1090"/>
                    </a:lnTo>
                    <a:lnTo>
                      <a:pt x="2394" y="1114"/>
                    </a:lnTo>
                    <a:lnTo>
                      <a:pt x="2411" y="1140"/>
                    </a:lnTo>
                    <a:lnTo>
                      <a:pt x="2426" y="1168"/>
                    </a:lnTo>
                    <a:lnTo>
                      <a:pt x="2440" y="1194"/>
                    </a:lnTo>
                    <a:lnTo>
                      <a:pt x="2450" y="1216"/>
                    </a:lnTo>
                    <a:lnTo>
                      <a:pt x="2458" y="1237"/>
                    </a:lnTo>
                    <a:lnTo>
                      <a:pt x="2464" y="1253"/>
                    </a:lnTo>
                    <a:lnTo>
                      <a:pt x="2467" y="1260"/>
                    </a:lnTo>
                    <a:lnTo>
                      <a:pt x="2469" y="1267"/>
                    </a:lnTo>
                    <a:lnTo>
                      <a:pt x="2471" y="1269"/>
                    </a:lnTo>
                    <a:lnTo>
                      <a:pt x="2474" y="1272"/>
                    </a:lnTo>
                    <a:lnTo>
                      <a:pt x="2475" y="1278"/>
                    </a:lnTo>
                    <a:lnTo>
                      <a:pt x="2472" y="1283"/>
                    </a:lnTo>
                    <a:lnTo>
                      <a:pt x="2469" y="1286"/>
                    </a:lnTo>
                    <a:lnTo>
                      <a:pt x="2465" y="1290"/>
                    </a:lnTo>
                    <a:lnTo>
                      <a:pt x="2462" y="1291"/>
                    </a:lnTo>
                    <a:lnTo>
                      <a:pt x="2460" y="1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4"/>
              <p:cNvSpPr>
                <a:spLocks/>
              </p:cNvSpPr>
              <p:nvPr userDrawn="1"/>
            </p:nvSpPr>
            <p:spPr bwMode="auto">
              <a:xfrm>
                <a:off x="1871" y="1457"/>
                <a:ext cx="832" cy="432"/>
              </a:xfrm>
              <a:custGeom>
                <a:avLst/>
                <a:gdLst>
                  <a:gd name="T0" fmla="*/ 2470 w 2498"/>
                  <a:gd name="T1" fmla="*/ 1288 h 1297"/>
                  <a:gd name="T2" fmla="*/ 2433 w 2498"/>
                  <a:gd name="T3" fmla="*/ 1218 h 1297"/>
                  <a:gd name="T4" fmla="*/ 2348 w 2498"/>
                  <a:gd name="T5" fmla="*/ 1109 h 1297"/>
                  <a:gd name="T6" fmla="*/ 2262 w 2498"/>
                  <a:gd name="T7" fmla="*/ 1038 h 1297"/>
                  <a:gd name="T8" fmla="*/ 2237 w 2498"/>
                  <a:gd name="T9" fmla="*/ 1001 h 1297"/>
                  <a:gd name="T10" fmla="*/ 2226 w 2498"/>
                  <a:gd name="T11" fmla="*/ 919 h 1297"/>
                  <a:gd name="T12" fmla="*/ 2221 w 2498"/>
                  <a:gd name="T13" fmla="*/ 808 h 1297"/>
                  <a:gd name="T14" fmla="*/ 2198 w 2498"/>
                  <a:gd name="T15" fmla="*/ 738 h 1297"/>
                  <a:gd name="T16" fmla="*/ 2142 w 2498"/>
                  <a:gd name="T17" fmla="*/ 683 h 1297"/>
                  <a:gd name="T18" fmla="*/ 2068 w 2498"/>
                  <a:gd name="T19" fmla="*/ 659 h 1297"/>
                  <a:gd name="T20" fmla="*/ 1976 w 2498"/>
                  <a:gd name="T21" fmla="*/ 662 h 1297"/>
                  <a:gd name="T22" fmla="*/ 1861 w 2498"/>
                  <a:gd name="T23" fmla="*/ 693 h 1297"/>
                  <a:gd name="T24" fmla="*/ 1717 w 2498"/>
                  <a:gd name="T25" fmla="*/ 756 h 1297"/>
                  <a:gd name="T26" fmla="*/ 1570 w 2498"/>
                  <a:gd name="T27" fmla="*/ 835 h 1297"/>
                  <a:gd name="T28" fmla="*/ 1414 w 2498"/>
                  <a:gd name="T29" fmla="*/ 911 h 1297"/>
                  <a:gd name="T30" fmla="*/ 1263 w 2498"/>
                  <a:gd name="T31" fmla="*/ 966 h 1297"/>
                  <a:gd name="T32" fmla="*/ 1114 w 2498"/>
                  <a:gd name="T33" fmla="*/ 1001 h 1297"/>
                  <a:gd name="T34" fmla="*/ 968 w 2498"/>
                  <a:gd name="T35" fmla="*/ 1019 h 1297"/>
                  <a:gd name="T36" fmla="*/ 826 w 2498"/>
                  <a:gd name="T37" fmla="*/ 1016 h 1297"/>
                  <a:gd name="T38" fmla="*/ 685 w 2498"/>
                  <a:gd name="T39" fmla="*/ 995 h 1297"/>
                  <a:gd name="T40" fmla="*/ 587 w 2498"/>
                  <a:gd name="T41" fmla="*/ 964 h 1297"/>
                  <a:gd name="T42" fmla="*/ 506 w 2498"/>
                  <a:gd name="T43" fmla="*/ 918 h 1297"/>
                  <a:gd name="T44" fmla="*/ 428 w 2498"/>
                  <a:gd name="T45" fmla="*/ 856 h 1297"/>
                  <a:gd name="T46" fmla="*/ 309 w 2498"/>
                  <a:gd name="T47" fmla="*/ 716 h 1297"/>
                  <a:gd name="T48" fmla="*/ 151 w 2498"/>
                  <a:gd name="T49" fmla="*/ 479 h 1297"/>
                  <a:gd name="T50" fmla="*/ 47 w 2498"/>
                  <a:gd name="T51" fmla="*/ 275 h 1297"/>
                  <a:gd name="T52" fmla="*/ 3 w 2498"/>
                  <a:gd name="T53" fmla="*/ 118 h 1297"/>
                  <a:gd name="T54" fmla="*/ 6 w 2498"/>
                  <a:gd name="T55" fmla="*/ 25 h 1297"/>
                  <a:gd name="T56" fmla="*/ 25 w 2498"/>
                  <a:gd name="T57" fmla="*/ 0 h 1297"/>
                  <a:gd name="T58" fmla="*/ 41 w 2498"/>
                  <a:gd name="T59" fmla="*/ 15 h 1297"/>
                  <a:gd name="T60" fmla="*/ 28 w 2498"/>
                  <a:gd name="T61" fmla="*/ 73 h 1297"/>
                  <a:gd name="T62" fmla="*/ 48 w 2498"/>
                  <a:gd name="T63" fmla="*/ 196 h 1297"/>
                  <a:gd name="T64" fmla="*/ 125 w 2498"/>
                  <a:gd name="T65" fmla="*/ 377 h 1297"/>
                  <a:gd name="T66" fmla="*/ 269 w 2498"/>
                  <a:gd name="T67" fmla="*/ 614 h 1297"/>
                  <a:gd name="T68" fmla="*/ 416 w 2498"/>
                  <a:gd name="T69" fmla="*/ 803 h 1297"/>
                  <a:gd name="T70" fmla="*/ 489 w 2498"/>
                  <a:gd name="T71" fmla="*/ 872 h 1297"/>
                  <a:gd name="T72" fmla="*/ 565 w 2498"/>
                  <a:gd name="T73" fmla="*/ 923 h 1297"/>
                  <a:gd name="T74" fmla="*/ 647 w 2498"/>
                  <a:gd name="T75" fmla="*/ 957 h 1297"/>
                  <a:gd name="T76" fmla="*/ 773 w 2498"/>
                  <a:gd name="T77" fmla="*/ 983 h 1297"/>
                  <a:gd name="T78" fmla="*/ 912 w 2498"/>
                  <a:gd name="T79" fmla="*/ 993 h 1297"/>
                  <a:gd name="T80" fmla="*/ 1054 w 2498"/>
                  <a:gd name="T81" fmla="*/ 984 h 1297"/>
                  <a:gd name="T82" fmla="*/ 1197 w 2498"/>
                  <a:gd name="T83" fmla="*/ 956 h 1297"/>
                  <a:gd name="T84" fmla="*/ 1345 w 2498"/>
                  <a:gd name="T85" fmla="*/ 910 h 1297"/>
                  <a:gd name="T86" fmla="*/ 1496 w 2498"/>
                  <a:gd name="T87" fmla="*/ 843 h 1297"/>
                  <a:gd name="T88" fmla="*/ 1645 w 2498"/>
                  <a:gd name="T89" fmla="*/ 764 h 1297"/>
                  <a:gd name="T90" fmla="*/ 1796 w 2498"/>
                  <a:gd name="T91" fmla="*/ 689 h 1297"/>
                  <a:gd name="T92" fmla="*/ 1928 w 2498"/>
                  <a:gd name="T93" fmla="*/ 644 h 1297"/>
                  <a:gd name="T94" fmla="*/ 2037 w 2498"/>
                  <a:gd name="T95" fmla="*/ 630 h 1297"/>
                  <a:gd name="T96" fmla="*/ 2125 w 2498"/>
                  <a:gd name="T97" fmla="*/ 645 h 1297"/>
                  <a:gd name="T98" fmla="*/ 2200 w 2498"/>
                  <a:gd name="T99" fmla="*/ 695 h 1297"/>
                  <a:gd name="T100" fmla="*/ 2240 w 2498"/>
                  <a:gd name="T101" fmla="*/ 768 h 1297"/>
                  <a:gd name="T102" fmla="*/ 2252 w 2498"/>
                  <a:gd name="T103" fmla="*/ 865 h 1297"/>
                  <a:gd name="T104" fmla="*/ 2258 w 2498"/>
                  <a:gd name="T105" fmla="*/ 972 h 1297"/>
                  <a:gd name="T106" fmla="*/ 2271 w 2498"/>
                  <a:gd name="T107" fmla="*/ 1007 h 1297"/>
                  <a:gd name="T108" fmla="*/ 2327 w 2498"/>
                  <a:gd name="T109" fmla="*/ 1052 h 1297"/>
                  <a:gd name="T110" fmla="*/ 2425 w 2498"/>
                  <a:gd name="T111" fmla="*/ 1158 h 1297"/>
                  <a:gd name="T112" fmla="*/ 2482 w 2498"/>
                  <a:gd name="T113" fmla="*/ 1254 h 1297"/>
                  <a:gd name="T114" fmla="*/ 2498 w 2498"/>
                  <a:gd name="T115" fmla="*/ 1284 h 1297"/>
                  <a:gd name="T116" fmla="*/ 2483 w 2498"/>
                  <a:gd name="T117"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8" h="1297">
                    <a:moveTo>
                      <a:pt x="2483" y="1297"/>
                    </a:moveTo>
                    <a:lnTo>
                      <a:pt x="2480" y="1296"/>
                    </a:lnTo>
                    <a:lnTo>
                      <a:pt x="2476" y="1295"/>
                    </a:lnTo>
                    <a:lnTo>
                      <a:pt x="2473" y="1292"/>
                    </a:lnTo>
                    <a:lnTo>
                      <a:pt x="2470" y="1288"/>
                    </a:lnTo>
                    <a:lnTo>
                      <a:pt x="2464" y="1279"/>
                    </a:lnTo>
                    <a:lnTo>
                      <a:pt x="2457" y="1266"/>
                    </a:lnTo>
                    <a:lnTo>
                      <a:pt x="2451" y="1252"/>
                    </a:lnTo>
                    <a:lnTo>
                      <a:pt x="2442" y="1236"/>
                    </a:lnTo>
                    <a:lnTo>
                      <a:pt x="2433" y="1218"/>
                    </a:lnTo>
                    <a:lnTo>
                      <a:pt x="2421" y="1199"/>
                    </a:lnTo>
                    <a:lnTo>
                      <a:pt x="2403" y="1174"/>
                    </a:lnTo>
                    <a:lnTo>
                      <a:pt x="2385" y="1151"/>
                    </a:lnTo>
                    <a:lnTo>
                      <a:pt x="2368" y="1129"/>
                    </a:lnTo>
                    <a:lnTo>
                      <a:pt x="2348" y="1109"/>
                    </a:lnTo>
                    <a:lnTo>
                      <a:pt x="2330" y="1091"/>
                    </a:lnTo>
                    <a:lnTo>
                      <a:pt x="2311" y="1074"/>
                    </a:lnTo>
                    <a:lnTo>
                      <a:pt x="2290" y="1057"/>
                    </a:lnTo>
                    <a:lnTo>
                      <a:pt x="2270" y="1043"/>
                    </a:lnTo>
                    <a:lnTo>
                      <a:pt x="2262" y="1038"/>
                    </a:lnTo>
                    <a:lnTo>
                      <a:pt x="2256" y="1032"/>
                    </a:lnTo>
                    <a:lnTo>
                      <a:pt x="2250" y="1025"/>
                    </a:lnTo>
                    <a:lnTo>
                      <a:pt x="2245" y="1018"/>
                    </a:lnTo>
                    <a:lnTo>
                      <a:pt x="2240" y="1010"/>
                    </a:lnTo>
                    <a:lnTo>
                      <a:pt x="2237" y="1001"/>
                    </a:lnTo>
                    <a:lnTo>
                      <a:pt x="2235" y="993"/>
                    </a:lnTo>
                    <a:lnTo>
                      <a:pt x="2232" y="983"/>
                    </a:lnTo>
                    <a:lnTo>
                      <a:pt x="2229" y="964"/>
                    </a:lnTo>
                    <a:lnTo>
                      <a:pt x="2227" y="942"/>
                    </a:lnTo>
                    <a:lnTo>
                      <a:pt x="2226" y="919"/>
                    </a:lnTo>
                    <a:lnTo>
                      <a:pt x="2226" y="897"/>
                    </a:lnTo>
                    <a:lnTo>
                      <a:pt x="2225" y="867"/>
                    </a:lnTo>
                    <a:lnTo>
                      <a:pt x="2224" y="837"/>
                    </a:lnTo>
                    <a:lnTo>
                      <a:pt x="2223" y="822"/>
                    </a:lnTo>
                    <a:lnTo>
                      <a:pt x="2221" y="808"/>
                    </a:lnTo>
                    <a:lnTo>
                      <a:pt x="2219" y="793"/>
                    </a:lnTo>
                    <a:lnTo>
                      <a:pt x="2214" y="779"/>
                    </a:lnTo>
                    <a:lnTo>
                      <a:pt x="2210" y="765"/>
                    </a:lnTo>
                    <a:lnTo>
                      <a:pt x="2205" y="751"/>
                    </a:lnTo>
                    <a:lnTo>
                      <a:pt x="2198" y="738"/>
                    </a:lnTo>
                    <a:lnTo>
                      <a:pt x="2190" y="726"/>
                    </a:lnTo>
                    <a:lnTo>
                      <a:pt x="2181" y="714"/>
                    </a:lnTo>
                    <a:lnTo>
                      <a:pt x="2169" y="702"/>
                    </a:lnTo>
                    <a:lnTo>
                      <a:pt x="2156" y="693"/>
                    </a:lnTo>
                    <a:lnTo>
                      <a:pt x="2142" y="683"/>
                    </a:lnTo>
                    <a:lnTo>
                      <a:pt x="2128" y="676"/>
                    </a:lnTo>
                    <a:lnTo>
                      <a:pt x="2114" y="670"/>
                    </a:lnTo>
                    <a:lnTo>
                      <a:pt x="2100" y="666"/>
                    </a:lnTo>
                    <a:lnTo>
                      <a:pt x="2084" y="661"/>
                    </a:lnTo>
                    <a:lnTo>
                      <a:pt x="2068" y="659"/>
                    </a:lnTo>
                    <a:lnTo>
                      <a:pt x="2051" y="657"/>
                    </a:lnTo>
                    <a:lnTo>
                      <a:pt x="2033" y="657"/>
                    </a:lnTo>
                    <a:lnTo>
                      <a:pt x="2015" y="657"/>
                    </a:lnTo>
                    <a:lnTo>
                      <a:pt x="1995" y="659"/>
                    </a:lnTo>
                    <a:lnTo>
                      <a:pt x="1976" y="662"/>
                    </a:lnTo>
                    <a:lnTo>
                      <a:pt x="1954" y="666"/>
                    </a:lnTo>
                    <a:lnTo>
                      <a:pt x="1933" y="671"/>
                    </a:lnTo>
                    <a:lnTo>
                      <a:pt x="1910" y="678"/>
                    </a:lnTo>
                    <a:lnTo>
                      <a:pt x="1886" y="685"/>
                    </a:lnTo>
                    <a:lnTo>
                      <a:pt x="1861" y="693"/>
                    </a:lnTo>
                    <a:lnTo>
                      <a:pt x="1835" y="702"/>
                    </a:lnTo>
                    <a:lnTo>
                      <a:pt x="1806" y="714"/>
                    </a:lnTo>
                    <a:lnTo>
                      <a:pt x="1776" y="728"/>
                    </a:lnTo>
                    <a:lnTo>
                      <a:pt x="1746" y="742"/>
                    </a:lnTo>
                    <a:lnTo>
                      <a:pt x="1717" y="756"/>
                    </a:lnTo>
                    <a:lnTo>
                      <a:pt x="1686" y="772"/>
                    </a:lnTo>
                    <a:lnTo>
                      <a:pt x="1657" y="788"/>
                    </a:lnTo>
                    <a:lnTo>
                      <a:pt x="1629" y="803"/>
                    </a:lnTo>
                    <a:lnTo>
                      <a:pt x="1602" y="818"/>
                    </a:lnTo>
                    <a:lnTo>
                      <a:pt x="1570" y="835"/>
                    </a:lnTo>
                    <a:lnTo>
                      <a:pt x="1539" y="852"/>
                    </a:lnTo>
                    <a:lnTo>
                      <a:pt x="1507" y="867"/>
                    </a:lnTo>
                    <a:lnTo>
                      <a:pt x="1476" y="883"/>
                    </a:lnTo>
                    <a:lnTo>
                      <a:pt x="1446" y="897"/>
                    </a:lnTo>
                    <a:lnTo>
                      <a:pt x="1414" y="911"/>
                    </a:lnTo>
                    <a:lnTo>
                      <a:pt x="1384" y="923"/>
                    </a:lnTo>
                    <a:lnTo>
                      <a:pt x="1354" y="934"/>
                    </a:lnTo>
                    <a:lnTo>
                      <a:pt x="1323" y="946"/>
                    </a:lnTo>
                    <a:lnTo>
                      <a:pt x="1292" y="956"/>
                    </a:lnTo>
                    <a:lnTo>
                      <a:pt x="1263" y="966"/>
                    </a:lnTo>
                    <a:lnTo>
                      <a:pt x="1233" y="974"/>
                    </a:lnTo>
                    <a:lnTo>
                      <a:pt x="1203" y="983"/>
                    </a:lnTo>
                    <a:lnTo>
                      <a:pt x="1174" y="989"/>
                    </a:lnTo>
                    <a:lnTo>
                      <a:pt x="1143" y="996"/>
                    </a:lnTo>
                    <a:lnTo>
                      <a:pt x="1114" y="1001"/>
                    </a:lnTo>
                    <a:lnTo>
                      <a:pt x="1085" y="1007"/>
                    </a:lnTo>
                    <a:lnTo>
                      <a:pt x="1056" y="1011"/>
                    </a:lnTo>
                    <a:lnTo>
                      <a:pt x="1027" y="1014"/>
                    </a:lnTo>
                    <a:lnTo>
                      <a:pt x="998" y="1016"/>
                    </a:lnTo>
                    <a:lnTo>
                      <a:pt x="968" y="1019"/>
                    </a:lnTo>
                    <a:lnTo>
                      <a:pt x="940" y="1020"/>
                    </a:lnTo>
                    <a:lnTo>
                      <a:pt x="911" y="1020"/>
                    </a:lnTo>
                    <a:lnTo>
                      <a:pt x="883" y="1020"/>
                    </a:lnTo>
                    <a:lnTo>
                      <a:pt x="854" y="1019"/>
                    </a:lnTo>
                    <a:lnTo>
                      <a:pt x="826" y="1016"/>
                    </a:lnTo>
                    <a:lnTo>
                      <a:pt x="798" y="1013"/>
                    </a:lnTo>
                    <a:lnTo>
                      <a:pt x="770" y="1010"/>
                    </a:lnTo>
                    <a:lnTo>
                      <a:pt x="741" y="1006"/>
                    </a:lnTo>
                    <a:lnTo>
                      <a:pt x="712" y="1000"/>
                    </a:lnTo>
                    <a:lnTo>
                      <a:pt x="685" y="995"/>
                    </a:lnTo>
                    <a:lnTo>
                      <a:pt x="657" y="987"/>
                    </a:lnTo>
                    <a:lnTo>
                      <a:pt x="639" y="983"/>
                    </a:lnTo>
                    <a:lnTo>
                      <a:pt x="622" y="978"/>
                    </a:lnTo>
                    <a:lnTo>
                      <a:pt x="604" y="971"/>
                    </a:lnTo>
                    <a:lnTo>
                      <a:pt x="587" y="964"/>
                    </a:lnTo>
                    <a:lnTo>
                      <a:pt x="570" y="956"/>
                    </a:lnTo>
                    <a:lnTo>
                      <a:pt x="554" y="947"/>
                    </a:lnTo>
                    <a:lnTo>
                      <a:pt x="538" y="939"/>
                    </a:lnTo>
                    <a:lnTo>
                      <a:pt x="521" y="929"/>
                    </a:lnTo>
                    <a:lnTo>
                      <a:pt x="506" y="918"/>
                    </a:lnTo>
                    <a:lnTo>
                      <a:pt x="490" y="907"/>
                    </a:lnTo>
                    <a:lnTo>
                      <a:pt x="475" y="896"/>
                    </a:lnTo>
                    <a:lnTo>
                      <a:pt x="459" y="883"/>
                    </a:lnTo>
                    <a:lnTo>
                      <a:pt x="444" y="870"/>
                    </a:lnTo>
                    <a:lnTo>
                      <a:pt x="428" y="856"/>
                    </a:lnTo>
                    <a:lnTo>
                      <a:pt x="413" y="841"/>
                    </a:lnTo>
                    <a:lnTo>
                      <a:pt x="398" y="824"/>
                    </a:lnTo>
                    <a:lnTo>
                      <a:pt x="369" y="792"/>
                    </a:lnTo>
                    <a:lnTo>
                      <a:pt x="339" y="755"/>
                    </a:lnTo>
                    <a:lnTo>
                      <a:pt x="309" y="716"/>
                    </a:lnTo>
                    <a:lnTo>
                      <a:pt x="278" y="675"/>
                    </a:lnTo>
                    <a:lnTo>
                      <a:pt x="248" y="631"/>
                    </a:lnTo>
                    <a:lnTo>
                      <a:pt x="217" y="584"/>
                    </a:lnTo>
                    <a:lnTo>
                      <a:pt x="184" y="533"/>
                    </a:lnTo>
                    <a:lnTo>
                      <a:pt x="151" y="479"/>
                    </a:lnTo>
                    <a:lnTo>
                      <a:pt x="125" y="435"/>
                    </a:lnTo>
                    <a:lnTo>
                      <a:pt x="101" y="393"/>
                    </a:lnTo>
                    <a:lnTo>
                      <a:pt x="81" y="352"/>
                    </a:lnTo>
                    <a:lnTo>
                      <a:pt x="62" y="313"/>
                    </a:lnTo>
                    <a:lnTo>
                      <a:pt x="47" y="275"/>
                    </a:lnTo>
                    <a:lnTo>
                      <a:pt x="34" y="239"/>
                    </a:lnTo>
                    <a:lnTo>
                      <a:pt x="22" y="206"/>
                    </a:lnTo>
                    <a:lnTo>
                      <a:pt x="14" y="174"/>
                    </a:lnTo>
                    <a:lnTo>
                      <a:pt x="7" y="145"/>
                    </a:lnTo>
                    <a:lnTo>
                      <a:pt x="3" y="118"/>
                    </a:lnTo>
                    <a:lnTo>
                      <a:pt x="1" y="94"/>
                    </a:lnTo>
                    <a:lnTo>
                      <a:pt x="0" y="71"/>
                    </a:lnTo>
                    <a:lnTo>
                      <a:pt x="2" y="51"/>
                    </a:lnTo>
                    <a:lnTo>
                      <a:pt x="4" y="33"/>
                    </a:lnTo>
                    <a:lnTo>
                      <a:pt x="6" y="25"/>
                    </a:lnTo>
                    <a:lnTo>
                      <a:pt x="10" y="18"/>
                    </a:lnTo>
                    <a:lnTo>
                      <a:pt x="13" y="11"/>
                    </a:lnTo>
                    <a:lnTo>
                      <a:pt x="16" y="6"/>
                    </a:lnTo>
                    <a:lnTo>
                      <a:pt x="19" y="2"/>
                    </a:lnTo>
                    <a:lnTo>
                      <a:pt x="25" y="0"/>
                    </a:lnTo>
                    <a:lnTo>
                      <a:pt x="29" y="0"/>
                    </a:lnTo>
                    <a:lnTo>
                      <a:pt x="34" y="2"/>
                    </a:lnTo>
                    <a:lnTo>
                      <a:pt x="39" y="5"/>
                    </a:lnTo>
                    <a:lnTo>
                      <a:pt x="40" y="10"/>
                    </a:lnTo>
                    <a:lnTo>
                      <a:pt x="41" y="15"/>
                    </a:lnTo>
                    <a:lnTo>
                      <a:pt x="39" y="20"/>
                    </a:lnTo>
                    <a:lnTo>
                      <a:pt x="34" y="30"/>
                    </a:lnTo>
                    <a:lnTo>
                      <a:pt x="30" y="42"/>
                    </a:lnTo>
                    <a:lnTo>
                      <a:pt x="28" y="56"/>
                    </a:lnTo>
                    <a:lnTo>
                      <a:pt x="28" y="73"/>
                    </a:lnTo>
                    <a:lnTo>
                      <a:pt x="28" y="92"/>
                    </a:lnTo>
                    <a:lnTo>
                      <a:pt x="30" y="115"/>
                    </a:lnTo>
                    <a:lnTo>
                      <a:pt x="34" y="140"/>
                    </a:lnTo>
                    <a:lnTo>
                      <a:pt x="41" y="167"/>
                    </a:lnTo>
                    <a:lnTo>
                      <a:pt x="48" y="196"/>
                    </a:lnTo>
                    <a:lnTo>
                      <a:pt x="59" y="228"/>
                    </a:lnTo>
                    <a:lnTo>
                      <a:pt x="71" y="262"/>
                    </a:lnTo>
                    <a:lnTo>
                      <a:pt x="86" y="299"/>
                    </a:lnTo>
                    <a:lnTo>
                      <a:pt x="105" y="337"/>
                    </a:lnTo>
                    <a:lnTo>
                      <a:pt x="125" y="377"/>
                    </a:lnTo>
                    <a:lnTo>
                      <a:pt x="148" y="421"/>
                    </a:lnTo>
                    <a:lnTo>
                      <a:pt x="175" y="465"/>
                    </a:lnTo>
                    <a:lnTo>
                      <a:pt x="207" y="518"/>
                    </a:lnTo>
                    <a:lnTo>
                      <a:pt x="238" y="566"/>
                    </a:lnTo>
                    <a:lnTo>
                      <a:pt x="269" y="614"/>
                    </a:lnTo>
                    <a:lnTo>
                      <a:pt x="299" y="657"/>
                    </a:lnTo>
                    <a:lnTo>
                      <a:pt x="328" y="698"/>
                    </a:lnTo>
                    <a:lnTo>
                      <a:pt x="357" y="736"/>
                    </a:lnTo>
                    <a:lnTo>
                      <a:pt x="386" y="771"/>
                    </a:lnTo>
                    <a:lnTo>
                      <a:pt x="416" y="803"/>
                    </a:lnTo>
                    <a:lnTo>
                      <a:pt x="430" y="819"/>
                    </a:lnTo>
                    <a:lnTo>
                      <a:pt x="445" y="833"/>
                    </a:lnTo>
                    <a:lnTo>
                      <a:pt x="460" y="847"/>
                    </a:lnTo>
                    <a:lnTo>
                      <a:pt x="474" y="860"/>
                    </a:lnTo>
                    <a:lnTo>
                      <a:pt x="489" y="872"/>
                    </a:lnTo>
                    <a:lnTo>
                      <a:pt x="504" y="884"/>
                    </a:lnTo>
                    <a:lnTo>
                      <a:pt x="519" y="894"/>
                    </a:lnTo>
                    <a:lnTo>
                      <a:pt x="534" y="904"/>
                    </a:lnTo>
                    <a:lnTo>
                      <a:pt x="549" y="914"/>
                    </a:lnTo>
                    <a:lnTo>
                      <a:pt x="565" y="923"/>
                    </a:lnTo>
                    <a:lnTo>
                      <a:pt x="581" y="931"/>
                    </a:lnTo>
                    <a:lnTo>
                      <a:pt x="597" y="939"/>
                    </a:lnTo>
                    <a:lnTo>
                      <a:pt x="613" y="945"/>
                    </a:lnTo>
                    <a:lnTo>
                      <a:pt x="629" y="952"/>
                    </a:lnTo>
                    <a:lnTo>
                      <a:pt x="647" y="957"/>
                    </a:lnTo>
                    <a:lnTo>
                      <a:pt x="664" y="961"/>
                    </a:lnTo>
                    <a:lnTo>
                      <a:pt x="691" y="968"/>
                    </a:lnTo>
                    <a:lnTo>
                      <a:pt x="718" y="973"/>
                    </a:lnTo>
                    <a:lnTo>
                      <a:pt x="746" y="979"/>
                    </a:lnTo>
                    <a:lnTo>
                      <a:pt x="773" y="983"/>
                    </a:lnTo>
                    <a:lnTo>
                      <a:pt x="801" y="986"/>
                    </a:lnTo>
                    <a:lnTo>
                      <a:pt x="828" y="989"/>
                    </a:lnTo>
                    <a:lnTo>
                      <a:pt x="856" y="992"/>
                    </a:lnTo>
                    <a:lnTo>
                      <a:pt x="884" y="993"/>
                    </a:lnTo>
                    <a:lnTo>
                      <a:pt x="912" y="993"/>
                    </a:lnTo>
                    <a:lnTo>
                      <a:pt x="940" y="993"/>
                    </a:lnTo>
                    <a:lnTo>
                      <a:pt x="968" y="992"/>
                    </a:lnTo>
                    <a:lnTo>
                      <a:pt x="996" y="989"/>
                    </a:lnTo>
                    <a:lnTo>
                      <a:pt x="1025" y="987"/>
                    </a:lnTo>
                    <a:lnTo>
                      <a:pt x="1054" y="984"/>
                    </a:lnTo>
                    <a:lnTo>
                      <a:pt x="1082" y="980"/>
                    </a:lnTo>
                    <a:lnTo>
                      <a:pt x="1111" y="975"/>
                    </a:lnTo>
                    <a:lnTo>
                      <a:pt x="1139" y="969"/>
                    </a:lnTo>
                    <a:lnTo>
                      <a:pt x="1168" y="964"/>
                    </a:lnTo>
                    <a:lnTo>
                      <a:pt x="1197" y="956"/>
                    </a:lnTo>
                    <a:lnTo>
                      <a:pt x="1226" y="948"/>
                    </a:lnTo>
                    <a:lnTo>
                      <a:pt x="1256" y="940"/>
                    </a:lnTo>
                    <a:lnTo>
                      <a:pt x="1286" y="930"/>
                    </a:lnTo>
                    <a:lnTo>
                      <a:pt x="1315" y="920"/>
                    </a:lnTo>
                    <a:lnTo>
                      <a:pt x="1345" y="910"/>
                    </a:lnTo>
                    <a:lnTo>
                      <a:pt x="1374" y="898"/>
                    </a:lnTo>
                    <a:lnTo>
                      <a:pt x="1405" y="885"/>
                    </a:lnTo>
                    <a:lnTo>
                      <a:pt x="1435" y="872"/>
                    </a:lnTo>
                    <a:lnTo>
                      <a:pt x="1465" y="858"/>
                    </a:lnTo>
                    <a:lnTo>
                      <a:pt x="1496" y="843"/>
                    </a:lnTo>
                    <a:lnTo>
                      <a:pt x="1527" y="828"/>
                    </a:lnTo>
                    <a:lnTo>
                      <a:pt x="1558" y="811"/>
                    </a:lnTo>
                    <a:lnTo>
                      <a:pt x="1589" y="794"/>
                    </a:lnTo>
                    <a:lnTo>
                      <a:pt x="1616" y="779"/>
                    </a:lnTo>
                    <a:lnTo>
                      <a:pt x="1645" y="764"/>
                    </a:lnTo>
                    <a:lnTo>
                      <a:pt x="1675" y="748"/>
                    </a:lnTo>
                    <a:lnTo>
                      <a:pt x="1705" y="733"/>
                    </a:lnTo>
                    <a:lnTo>
                      <a:pt x="1735" y="717"/>
                    </a:lnTo>
                    <a:lnTo>
                      <a:pt x="1765" y="703"/>
                    </a:lnTo>
                    <a:lnTo>
                      <a:pt x="1796" y="689"/>
                    </a:lnTo>
                    <a:lnTo>
                      <a:pt x="1826" y="678"/>
                    </a:lnTo>
                    <a:lnTo>
                      <a:pt x="1853" y="668"/>
                    </a:lnTo>
                    <a:lnTo>
                      <a:pt x="1880" y="658"/>
                    </a:lnTo>
                    <a:lnTo>
                      <a:pt x="1905" y="651"/>
                    </a:lnTo>
                    <a:lnTo>
                      <a:pt x="1928" y="644"/>
                    </a:lnTo>
                    <a:lnTo>
                      <a:pt x="1952" y="639"/>
                    </a:lnTo>
                    <a:lnTo>
                      <a:pt x="1975" y="635"/>
                    </a:lnTo>
                    <a:lnTo>
                      <a:pt x="1996" y="632"/>
                    </a:lnTo>
                    <a:lnTo>
                      <a:pt x="2017" y="630"/>
                    </a:lnTo>
                    <a:lnTo>
                      <a:pt x="2037" y="630"/>
                    </a:lnTo>
                    <a:lnTo>
                      <a:pt x="2056" y="630"/>
                    </a:lnTo>
                    <a:lnTo>
                      <a:pt x="2074" y="632"/>
                    </a:lnTo>
                    <a:lnTo>
                      <a:pt x="2092" y="635"/>
                    </a:lnTo>
                    <a:lnTo>
                      <a:pt x="2109" y="640"/>
                    </a:lnTo>
                    <a:lnTo>
                      <a:pt x="2125" y="645"/>
                    </a:lnTo>
                    <a:lnTo>
                      <a:pt x="2141" y="652"/>
                    </a:lnTo>
                    <a:lnTo>
                      <a:pt x="2155" y="659"/>
                    </a:lnTo>
                    <a:lnTo>
                      <a:pt x="2172" y="671"/>
                    </a:lnTo>
                    <a:lnTo>
                      <a:pt x="2187" y="683"/>
                    </a:lnTo>
                    <a:lnTo>
                      <a:pt x="2200" y="695"/>
                    </a:lnTo>
                    <a:lnTo>
                      <a:pt x="2211" y="709"/>
                    </a:lnTo>
                    <a:lnTo>
                      <a:pt x="2221" y="723"/>
                    </a:lnTo>
                    <a:lnTo>
                      <a:pt x="2229" y="738"/>
                    </a:lnTo>
                    <a:lnTo>
                      <a:pt x="2235" y="753"/>
                    </a:lnTo>
                    <a:lnTo>
                      <a:pt x="2240" y="768"/>
                    </a:lnTo>
                    <a:lnTo>
                      <a:pt x="2245" y="784"/>
                    </a:lnTo>
                    <a:lnTo>
                      <a:pt x="2247" y="801"/>
                    </a:lnTo>
                    <a:lnTo>
                      <a:pt x="2250" y="817"/>
                    </a:lnTo>
                    <a:lnTo>
                      <a:pt x="2251" y="833"/>
                    </a:lnTo>
                    <a:lnTo>
                      <a:pt x="2252" y="865"/>
                    </a:lnTo>
                    <a:lnTo>
                      <a:pt x="2253" y="897"/>
                    </a:lnTo>
                    <a:lnTo>
                      <a:pt x="2253" y="917"/>
                    </a:lnTo>
                    <a:lnTo>
                      <a:pt x="2254" y="938"/>
                    </a:lnTo>
                    <a:lnTo>
                      <a:pt x="2256" y="956"/>
                    </a:lnTo>
                    <a:lnTo>
                      <a:pt x="2258" y="972"/>
                    </a:lnTo>
                    <a:lnTo>
                      <a:pt x="2259" y="981"/>
                    </a:lnTo>
                    <a:lnTo>
                      <a:pt x="2261" y="988"/>
                    </a:lnTo>
                    <a:lnTo>
                      <a:pt x="2264" y="995"/>
                    </a:lnTo>
                    <a:lnTo>
                      <a:pt x="2266" y="1001"/>
                    </a:lnTo>
                    <a:lnTo>
                      <a:pt x="2271" y="1007"/>
                    </a:lnTo>
                    <a:lnTo>
                      <a:pt x="2274" y="1012"/>
                    </a:lnTo>
                    <a:lnTo>
                      <a:pt x="2279" y="1016"/>
                    </a:lnTo>
                    <a:lnTo>
                      <a:pt x="2285" y="1021"/>
                    </a:lnTo>
                    <a:lnTo>
                      <a:pt x="2306" y="1036"/>
                    </a:lnTo>
                    <a:lnTo>
                      <a:pt x="2327" y="1052"/>
                    </a:lnTo>
                    <a:lnTo>
                      <a:pt x="2348" y="1070"/>
                    </a:lnTo>
                    <a:lnTo>
                      <a:pt x="2368" y="1090"/>
                    </a:lnTo>
                    <a:lnTo>
                      <a:pt x="2387" y="1111"/>
                    </a:lnTo>
                    <a:lnTo>
                      <a:pt x="2407" y="1134"/>
                    </a:lnTo>
                    <a:lnTo>
                      <a:pt x="2425" y="1158"/>
                    </a:lnTo>
                    <a:lnTo>
                      <a:pt x="2442" y="1184"/>
                    </a:lnTo>
                    <a:lnTo>
                      <a:pt x="2455" y="1204"/>
                    </a:lnTo>
                    <a:lnTo>
                      <a:pt x="2466" y="1224"/>
                    </a:lnTo>
                    <a:lnTo>
                      <a:pt x="2475" y="1240"/>
                    </a:lnTo>
                    <a:lnTo>
                      <a:pt x="2482" y="1254"/>
                    </a:lnTo>
                    <a:lnTo>
                      <a:pt x="2487" y="1264"/>
                    </a:lnTo>
                    <a:lnTo>
                      <a:pt x="2491" y="1271"/>
                    </a:lnTo>
                    <a:lnTo>
                      <a:pt x="2495" y="1274"/>
                    </a:lnTo>
                    <a:lnTo>
                      <a:pt x="2497" y="1279"/>
                    </a:lnTo>
                    <a:lnTo>
                      <a:pt x="2498" y="1284"/>
                    </a:lnTo>
                    <a:lnTo>
                      <a:pt x="2496" y="1290"/>
                    </a:lnTo>
                    <a:lnTo>
                      <a:pt x="2493" y="1294"/>
                    </a:lnTo>
                    <a:lnTo>
                      <a:pt x="2489" y="1296"/>
                    </a:lnTo>
                    <a:lnTo>
                      <a:pt x="2486" y="1297"/>
                    </a:lnTo>
                    <a:lnTo>
                      <a:pt x="2483" y="12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5"/>
              <p:cNvSpPr>
                <a:spLocks/>
              </p:cNvSpPr>
              <p:nvPr userDrawn="1"/>
            </p:nvSpPr>
            <p:spPr bwMode="auto">
              <a:xfrm>
                <a:off x="1889" y="1430"/>
                <a:ext cx="841" cy="434"/>
              </a:xfrm>
              <a:custGeom>
                <a:avLst/>
                <a:gdLst>
                  <a:gd name="T0" fmla="*/ 2491 w 2521"/>
                  <a:gd name="T1" fmla="*/ 1295 h 1304"/>
                  <a:gd name="T2" fmla="*/ 2448 w 2521"/>
                  <a:gd name="T3" fmla="*/ 1232 h 1304"/>
                  <a:gd name="T4" fmla="*/ 2371 w 2521"/>
                  <a:gd name="T5" fmla="*/ 1145 h 1304"/>
                  <a:gd name="T6" fmla="*/ 2272 w 2521"/>
                  <a:gd name="T7" fmla="*/ 1067 h 1304"/>
                  <a:gd name="T8" fmla="*/ 2245 w 2521"/>
                  <a:gd name="T9" fmla="*/ 1033 h 1304"/>
                  <a:gd name="T10" fmla="*/ 2225 w 2521"/>
                  <a:gd name="T11" fmla="*/ 956 h 1304"/>
                  <a:gd name="T12" fmla="*/ 2209 w 2521"/>
                  <a:gd name="T13" fmla="*/ 852 h 1304"/>
                  <a:gd name="T14" fmla="*/ 2181 w 2521"/>
                  <a:gd name="T15" fmla="*/ 788 h 1304"/>
                  <a:gd name="T16" fmla="*/ 2122 w 2521"/>
                  <a:gd name="T17" fmla="*/ 736 h 1304"/>
                  <a:gd name="T18" fmla="*/ 2047 w 2521"/>
                  <a:gd name="T19" fmla="*/ 712 h 1304"/>
                  <a:gd name="T20" fmla="*/ 1955 w 2521"/>
                  <a:gd name="T21" fmla="*/ 713 h 1304"/>
                  <a:gd name="T22" fmla="*/ 1842 w 2521"/>
                  <a:gd name="T23" fmla="*/ 739 h 1304"/>
                  <a:gd name="T24" fmla="*/ 1697 w 2521"/>
                  <a:gd name="T25" fmla="*/ 793 h 1304"/>
                  <a:gd name="T26" fmla="*/ 1533 w 2521"/>
                  <a:gd name="T27" fmla="*/ 871 h 1304"/>
                  <a:gd name="T28" fmla="*/ 1273 w 2521"/>
                  <a:gd name="T29" fmla="*/ 973 h 1304"/>
                  <a:gd name="T30" fmla="*/ 1127 w 2521"/>
                  <a:gd name="T31" fmla="*/ 1009 h 1304"/>
                  <a:gd name="T32" fmla="*/ 972 w 2521"/>
                  <a:gd name="T33" fmla="*/ 1029 h 1304"/>
                  <a:gd name="T34" fmla="*/ 809 w 2521"/>
                  <a:gd name="T35" fmla="*/ 1027 h 1304"/>
                  <a:gd name="T36" fmla="*/ 638 w 2521"/>
                  <a:gd name="T37" fmla="*/ 999 h 1304"/>
                  <a:gd name="T38" fmla="*/ 553 w 2521"/>
                  <a:gd name="T39" fmla="*/ 967 h 1304"/>
                  <a:gd name="T40" fmla="*/ 473 w 2521"/>
                  <a:gd name="T41" fmla="*/ 916 h 1304"/>
                  <a:gd name="T42" fmla="*/ 396 w 2521"/>
                  <a:gd name="T43" fmla="*/ 846 h 1304"/>
                  <a:gd name="T44" fmla="*/ 263 w 2521"/>
                  <a:gd name="T45" fmla="*/ 677 h 1304"/>
                  <a:gd name="T46" fmla="*/ 117 w 2521"/>
                  <a:gd name="T47" fmla="*/ 439 h 1304"/>
                  <a:gd name="T48" fmla="*/ 29 w 2521"/>
                  <a:gd name="T49" fmla="*/ 242 h 1304"/>
                  <a:gd name="T50" fmla="*/ 0 w 2521"/>
                  <a:gd name="T51" fmla="*/ 96 h 1304"/>
                  <a:gd name="T52" fmla="*/ 12 w 2521"/>
                  <a:gd name="T53" fmla="*/ 19 h 1304"/>
                  <a:gd name="T54" fmla="*/ 32 w 2521"/>
                  <a:gd name="T55" fmla="*/ 0 h 1304"/>
                  <a:gd name="T56" fmla="*/ 42 w 2521"/>
                  <a:gd name="T57" fmla="*/ 20 h 1304"/>
                  <a:gd name="T58" fmla="*/ 28 w 2521"/>
                  <a:gd name="T59" fmla="*/ 95 h 1304"/>
                  <a:gd name="T60" fmla="*/ 55 w 2521"/>
                  <a:gd name="T61" fmla="*/ 232 h 1304"/>
                  <a:gd name="T62" fmla="*/ 140 w 2521"/>
                  <a:gd name="T63" fmla="*/ 425 h 1304"/>
                  <a:gd name="T64" fmla="*/ 284 w 2521"/>
                  <a:gd name="T65" fmla="*/ 659 h 1304"/>
                  <a:gd name="T66" fmla="*/ 414 w 2521"/>
                  <a:gd name="T67" fmla="*/ 824 h 1304"/>
                  <a:gd name="T68" fmla="*/ 487 w 2521"/>
                  <a:gd name="T69" fmla="*/ 892 h 1304"/>
                  <a:gd name="T70" fmla="*/ 563 w 2521"/>
                  <a:gd name="T71" fmla="*/ 942 h 1304"/>
                  <a:gd name="T72" fmla="*/ 645 w 2521"/>
                  <a:gd name="T73" fmla="*/ 973 h 1304"/>
                  <a:gd name="T74" fmla="*/ 811 w 2521"/>
                  <a:gd name="T75" fmla="*/ 1000 h 1304"/>
                  <a:gd name="T76" fmla="*/ 972 w 2521"/>
                  <a:gd name="T77" fmla="*/ 1002 h 1304"/>
                  <a:gd name="T78" fmla="*/ 1123 w 2521"/>
                  <a:gd name="T79" fmla="*/ 983 h 1304"/>
                  <a:gd name="T80" fmla="*/ 1267 w 2521"/>
                  <a:gd name="T81" fmla="*/ 946 h 1304"/>
                  <a:gd name="T82" fmla="*/ 1522 w 2521"/>
                  <a:gd name="T83" fmla="*/ 846 h 1304"/>
                  <a:gd name="T84" fmla="*/ 1688 w 2521"/>
                  <a:gd name="T85" fmla="*/ 768 h 1304"/>
                  <a:gd name="T86" fmla="*/ 1835 w 2521"/>
                  <a:gd name="T87" fmla="*/ 712 h 1304"/>
                  <a:gd name="T88" fmla="*/ 1955 w 2521"/>
                  <a:gd name="T89" fmla="*/ 685 h 1304"/>
                  <a:gd name="T90" fmla="*/ 2054 w 2521"/>
                  <a:gd name="T91" fmla="*/ 685 h 1304"/>
                  <a:gd name="T92" fmla="*/ 2135 w 2521"/>
                  <a:gd name="T93" fmla="*/ 712 h 1304"/>
                  <a:gd name="T94" fmla="*/ 2203 w 2521"/>
                  <a:gd name="T95" fmla="*/ 770 h 1304"/>
                  <a:gd name="T96" fmla="*/ 2235 w 2521"/>
                  <a:gd name="T97" fmla="*/ 843 h 1304"/>
                  <a:gd name="T98" fmla="*/ 2252 w 2521"/>
                  <a:gd name="T99" fmla="*/ 951 h 1304"/>
                  <a:gd name="T100" fmla="*/ 2274 w 2521"/>
                  <a:gd name="T101" fmla="*/ 1030 h 1304"/>
                  <a:gd name="T102" fmla="*/ 2320 w 2521"/>
                  <a:gd name="T103" fmla="*/ 1067 h 1304"/>
                  <a:gd name="T104" fmla="*/ 2427 w 2521"/>
                  <a:gd name="T105" fmla="*/ 1164 h 1304"/>
                  <a:gd name="T106" fmla="*/ 2490 w 2521"/>
                  <a:gd name="T107" fmla="*/ 1245 h 1304"/>
                  <a:gd name="T108" fmla="*/ 2517 w 2521"/>
                  <a:gd name="T109" fmla="*/ 1280 h 1304"/>
                  <a:gd name="T110" fmla="*/ 2517 w 2521"/>
                  <a:gd name="T111" fmla="*/ 1300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21" h="1304">
                    <a:moveTo>
                      <a:pt x="2506" y="1304"/>
                    </a:moveTo>
                    <a:lnTo>
                      <a:pt x="2502" y="1302"/>
                    </a:lnTo>
                    <a:lnTo>
                      <a:pt x="2499" y="1301"/>
                    </a:lnTo>
                    <a:lnTo>
                      <a:pt x="2494" y="1298"/>
                    </a:lnTo>
                    <a:lnTo>
                      <a:pt x="2491" y="1295"/>
                    </a:lnTo>
                    <a:lnTo>
                      <a:pt x="2484" y="1285"/>
                    </a:lnTo>
                    <a:lnTo>
                      <a:pt x="2475" y="1271"/>
                    </a:lnTo>
                    <a:lnTo>
                      <a:pt x="2467" y="1260"/>
                    </a:lnTo>
                    <a:lnTo>
                      <a:pt x="2459" y="1247"/>
                    </a:lnTo>
                    <a:lnTo>
                      <a:pt x="2448" y="1232"/>
                    </a:lnTo>
                    <a:lnTo>
                      <a:pt x="2437" y="1217"/>
                    </a:lnTo>
                    <a:lnTo>
                      <a:pt x="2423" y="1200"/>
                    </a:lnTo>
                    <a:lnTo>
                      <a:pt x="2407" y="1183"/>
                    </a:lnTo>
                    <a:lnTo>
                      <a:pt x="2391" y="1163"/>
                    </a:lnTo>
                    <a:lnTo>
                      <a:pt x="2371" y="1145"/>
                    </a:lnTo>
                    <a:lnTo>
                      <a:pt x="2352" y="1125"/>
                    </a:lnTo>
                    <a:lnTo>
                      <a:pt x="2329" y="1107"/>
                    </a:lnTo>
                    <a:lnTo>
                      <a:pt x="2305" y="1090"/>
                    </a:lnTo>
                    <a:lnTo>
                      <a:pt x="2279" y="1073"/>
                    </a:lnTo>
                    <a:lnTo>
                      <a:pt x="2272" y="1067"/>
                    </a:lnTo>
                    <a:lnTo>
                      <a:pt x="2265" y="1062"/>
                    </a:lnTo>
                    <a:lnTo>
                      <a:pt x="2259" y="1055"/>
                    </a:lnTo>
                    <a:lnTo>
                      <a:pt x="2254" y="1048"/>
                    </a:lnTo>
                    <a:lnTo>
                      <a:pt x="2249" y="1040"/>
                    </a:lnTo>
                    <a:lnTo>
                      <a:pt x="2245" y="1033"/>
                    </a:lnTo>
                    <a:lnTo>
                      <a:pt x="2241" y="1024"/>
                    </a:lnTo>
                    <a:lnTo>
                      <a:pt x="2237" y="1015"/>
                    </a:lnTo>
                    <a:lnTo>
                      <a:pt x="2233" y="996"/>
                    </a:lnTo>
                    <a:lnTo>
                      <a:pt x="2229" y="976"/>
                    </a:lnTo>
                    <a:lnTo>
                      <a:pt x="2225" y="956"/>
                    </a:lnTo>
                    <a:lnTo>
                      <a:pt x="2223" y="934"/>
                    </a:lnTo>
                    <a:lnTo>
                      <a:pt x="2220" y="907"/>
                    </a:lnTo>
                    <a:lnTo>
                      <a:pt x="2216" y="879"/>
                    </a:lnTo>
                    <a:lnTo>
                      <a:pt x="2214" y="865"/>
                    </a:lnTo>
                    <a:lnTo>
                      <a:pt x="2209" y="852"/>
                    </a:lnTo>
                    <a:lnTo>
                      <a:pt x="2206" y="838"/>
                    </a:lnTo>
                    <a:lnTo>
                      <a:pt x="2201" y="825"/>
                    </a:lnTo>
                    <a:lnTo>
                      <a:pt x="2195" y="812"/>
                    </a:lnTo>
                    <a:lnTo>
                      <a:pt x="2189" y="799"/>
                    </a:lnTo>
                    <a:lnTo>
                      <a:pt x="2181" y="788"/>
                    </a:lnTo>
                    <a:lnTo>
                      <a:pt x="2173" y="776"/>
                    </a:lnTo>
                    <a:lnTo>
                      <a:pt x="2162" y="765"/>
                    </a:lnTo>
                    <a:lnTo>
                      <a:pt x="2150" y="754"/>
                    </a:lnTo>
                    <a:lnTo>
                      <a:pt x="2137" y="744"/>
                    </a:lnTo>
                    <a:lnTo>
                      <a:pt x="2122" y="736"/>
                    </a:lnTo>
                    <a:lnTo>
                      <a:pt x="2109" y="729"/>
                    </a:lnTo>
                    <a:lnTo>
                      <a:pt x="2094" y="723"/>
                    </a:lnTo>
                    <a:lnTo>
                      <a:pt x="2080" y="718"/>
                    </a:lnTo>
                    <a:lnTo>
                      <a:pt x="2063" y="714"/>
                    </a:lnTo>
                    <a:lnTo>
                      <a:pt x="2047" y="712"/>
                    </a:lnTo>
                    <a:lnTo>
                      <a:pt x="2031" y="710"/>
                    </a:lnTo>
                    <a:lnTo>
                      <a:pt x="2014" y="709"/>
                    </a:lnTo>
                    <a:lnTo>
                      <a:pt x="1995" y="709"/>
                    </a:lnTo>
                    <a:lnTo>
                      <a:pt x="1976" y="710"/>
                    </a:lnTo>
                    <a:lnTo>
                      <a:pt x="1955" y="713"/>
                    </a:lnTo>
                    <a:lnTo>
                      <a:pt x="1935" y="715"/>
                    </a:lnTo>
                    <a:lnTo>
                      <a:pt x="1913" y="720"/>
                    </a:lnTo>
                    <a:lnTo>
                      <a:pt x="1891" y="725"/>
                    </a:lnTo>
                    <a:lnTo>
                      <a:pt x="1867" y="731"/>
                    </a:lnTo>
                    <a:lnTo>
                      <a:pt x="1842" y="739"/>
                    </a:lnTo>
                    <a:lnTo>
                      <a:pt x="1816" y="747"/>
                    </a:lnTo>
                    <a:lnTo>
                      <a:pt x="1787" y="757"/>
                    </a:lnTo>
                    <a:lnTo>
                      <a:pt x="1757" y="768"/>
                    </a:lnTo>
                    <a:lnTo>
                      <a:pt x="1728" y="780"/>
                    </a:lnTo>
                    <a:lnTo>
                      <a:pt x="1697" y="793"/>
                    </a:lnTo>
                    <a:lnTo>
                      <a:pt x="1668" y="806"/>
                    </a:lnTo>
                    <a:lnTo>
                      <a:pt x="1638" y="820"/>
                    </a:lnTo>
                    <a:lnTo>
                      <a:pt x="1609" y="834"/>
                    </a:lnTo>
                    <a:lnTo>
                      <a:pt x="1580" y="848"/>
                    </a:lnTo>
                    <a:lnTo>
                      <a:pt x="1533" y="871"/>
                    </a:lnTo>
                    <a:lnTo>
                      <a:pt x="1485" y="892"/>
                    </a:lnTo>
                    <a:lnTo>
                      <a:pt x="1434" y="915"/>
                    </a:lnTo>
                    <a:lnTo>
                      <a:pt x="1382" y="935"/>
                    </a:lnTo>
                    <a:lnTo>
                      <a:pt x="1328" y="955"/>
                    </a:lnTo>
                    <a:lnTo>
                      <a:pt x="1273" y="973"/>
                    </a:lnTo>
                    <a:lnTo>
                      <a:pt x="1244" y="981"/>
                    </a:lnTo>
                    <a:lnTo>
                      <a:pt x="1216" y="989"/>
                    </a:lnTo>
                    <a:lnTo>
                      <a:pt x="1187" y="997"/>
                    </a:lnTo>
                    <a:lnTo>
                      <a:pt x="1156" y="1003"/>
                    </a:lnTo>
                    <a:lnTo>
                      <a:pt x="1127" y="1009"/>
                    </a:lnTo>
                    <a:lnTo>
                      <a:pt x="1097" y="1015"/>
                    </a:lnTo>
                    <a:lnTo>
                      <a:pt x="1066" y="1020"/>
                    </a:lnTo>
                    <a:lnTo>
                      <a:pt x="1035" y="1024"/>
                    </a:lnTo>
                    <a:lnTo>
                      <a:pt x="1003" y="1027"/>
                    </a:lnTo>
                    <a:lnTo>
                      <a:pt x="972" y="1029"/>
                    </a:lnTo>
                    <a:lnTo>
                      <a:pt x="939" y="1030"/>
                    </a:lnTo>
                    <a:lnTo>
                      <a:pt x="907" y="1032"/>
                    </a:lnTo>
                    <a:lnTo>
                      <a:pt x="875" y="1032"/>
                    </a:lnTo>
                    <a:lnTo>
                      <a:pt x="842" y="1030"/>
                    </a:lnTo>
                    <a:lnTo>
                      <a:pt x="809" y="1027"/>
                    </a:lnTo>
                    <a:lnTo>
                      <a:pt x="775" y="1024"/>
                    </a:lnTo>
                    <a:lnTo>
                      <a:pt x="741" y="1020"/>
                    </a:lnTo>
                    <a:lnTo>
                      <a:pt x="707" y="1014"/>
                    </a:lnTo>
                    <a:lnTo>
                      <a:pt x="673" y="1007"/>
                    </a:lnTo>
                    <a:lnTo>
                      <a:pt x="638" y="999"/>
                    </a:lnTo>
                    <a:lnTo>
                      <a:pt x="620" y="995"/>
                    </a:lnTo>
                    <a:lnTo>
                      <a:pt x="602" y="988"/>
                    </a:lnTo>
                    <a:lnTo>
                      <a:pt x="586" y="982"/>
                    </a:lnTo>
                    <a:lnTo>
                      <a:pt x="569" y="975"/>
                    </a:lnTo>
                    <a:lnTo>
                      <a:pt x="553" y="967"/>
                    </a:lnTo>
                    <a:lnTo>
                      <a:pt x="537" y="958"/>
                    </a:lnTo>
                    <a:lnTo>
                      <a:pt x="520" y="948"/>
                    </a:lnTo>
                    <a:lnTo>
                      <a:pt x="504" y="939"/>
                    </a:lnTo>
                    <a:lnTo>
                      <a:pt x="488" y="928"/>
                    </a:lnTo>
                    <a:lnTo>
                      <a:pt x="473" y="916"/>
                    </a:lnTo>
                    <a:lnTo>
                      <a:pt x="457" y="903"/>
                    </a:lnTo>
                    <a:lnTo>
                      <a:pt x="442" y="890"/>
                    </a:lnTo>
                    <a:lnTo>
                      <a:pt x="426" y="876"/>
                    </a:lnTo>
                    <a:lnTo>
                      <a:pt x="411" y="861"/>
                    </a:lnTo>
                    <a:lnTo>
                      <a:pt x="396" y="846"/>
                    </a:lnTo>
                    <a:lnTo>
                      <a:pt x="381" y="830"/>
                    </a:lnTo>
                    <a:lnTo>
                      <a:pt x="352" y="796"/>
                    </a:lnTo>
                    <a:lnTo>
                      <a:pt x="322" y="758"/>
                    </a:lnTo>
                    <a:lnTo>
                      <a:pt x="293" y="720"/>
                    </a:lnTo>
                    <a:lnTo>
                      <a:pt x="263" y="677"/>
                    </a:lnTo>
                    <a:lnTo>
                      <a:pt x="233" y="633"/>
                    </a:lnTo>
                    <a:lnTo>
                      <a:pt x="203" y="586"/>
                    </a:lnTo>
                    <a:lnTo>
                      <a:pt x="173" y="536"/>
                    </a:lnTo>
                    <a:lnTo>
                      <a:pt x="142" y="484"/>
                    </a:lnTo>
                    <a:lnTo>
                      <a:pt x="117" y="439"/>
                    </a:lnTo>
                    <a:lnTo>
                      <a:pt x="94" y="397"/>
                    </a:lnTo>
                    <a:lnTo>
                      <a:pt x="74" y="355"/>
                    </a:lnTo>
                    <a:lnTo>
                      <a:pt x="57" y="316"/>
                    </a:lnTo>
                    <a:lnTo>
                      <a:pt x="42" y="278"/>
                    </a:lnTo>
                    <a:lnTo>
                      <a:pt x="29" y="242"/>
                    </a:lnTo>
                    <a:lnTo>
                      <a:pt x="19" y="209"/>
                    </a:lnTo>
                    <a:lnTo>
                      <a:pt x="12" y="178"/>
                    </a:lnTo>
                    <a:lnTo>
                      <a:pt x="5" y="147"/>
                    </a:lnTo>
                    <a:lnTo>
                      <a:pt x="2" y="120"/>
                    </a:lnTo>
                    <a:lnTo>
                      <a:pt x="0" y="96"/>
                    </a:lnTo>
                    <a:lnTo>
                      <a:pt x="1" y="73"/>
                    </a:lnTo>
                    <a:lnTo>
                      <a:pt x="3" y="52"/>
                    </a:lnTo>
                    <a:lnTo>
                      <a:pt x="6" y="34"/>
                    </a:lnTo>
                    <a:lnTo>
                      <a:pt x="9" y="27"/>
                    </a:lnTo>
                    <a:lnTo>
                      <a:pt x="12" y="19"/>
                    </a:lnTo>
                    <a:lnTo>
                      <a:pt x="15" y="11"/>
                    </a:lnTo>
                    <a:lnTo>
                      <a:pt x="19" y="5"/>
                    </a:lnTo>
                    <a:lnTo>
                      <a:pt x="23" y="2"/>
                    </a:lnTo>
                    <a:lnTo>
                      <a:pt x="28" y="0"/>
                    </a:lnTo>
                    <a:lnTo>
                      <a:pt x="32" y="0"/>
                    </a:lnTo>
                    <a:lnTo>
                      <a:pt x="38" y="2"/>
                    </a:lnTo>
                    <a:lnTo>
                      <a:pt x="42" y="5"/>
                    </a:lnTo>
                    <a:lnTo>
                      <a:pt x="43" y="10"/>
                    </a:lnTo>
                    <a:lnTo>
                      <a:pt x="43" y="15"/>
                    </a:lnTo>
                    <a:lnTo>
                      <a:pt x="42" y="20"/>
                    </a:lnTo>
                    <a:lnTo>
                      <a:pt x="37" y="30"/>
                    </a:lnTo>
                    <a:lnTo>
                      <a:pt x="32" y="43"/>
                    </a:lnTo>
                    <a:lnTo>
                      <a:pt x="29" y="58"/>
                    </a:lnTo>
                    <a:lnTo>
                      <a:pt x="28" y="75"/>
                    </a:lnTo>
                    <a:lnTo>
                      <a:pt x="28" y="95"/>
                    </a:lnTo>
                    <a:lnTo>
                      <a:pt x="29" y="117"/>
                    </a:lnTo>
                    <a:lnTo>
                      <a:pt x="32" y="142"/>
                    </a:lnTo>
                    <a:lnTo>
                      <a:pt x="38" y="170"/>
                    </a:lnTo>
                    <a:lnTo>
                      <a:pt x="45" y="199"/>
                    </a:lnTo>
                    <a:lnTo>
                      <a:pt x="55" y="232"/>
                    </a:lnTo>
                    <a:lnTo>
                      <a:pt x="67" y="265"/>
                    </a:lnTo>
                    <a:lnTo>
                      <a:pt x="81" y="302"/>
                    </a:lnTo>
                    <a:lnTo>
                      <a:pt x="97" y="341"/>
                    </a:lnTo>
                    <a:lnTo>
                      <a:pt x="118" y="382"/>
                    </a:lnTo>
                    <a:lnTo>
                      <a:pt x="140" y="425"/>
                    </a:lnTo>
                    <a:lnTo>
                      <a:pt x="165" y="470"/>
                    </a:lnTo>
                    <a:lnTo>
                      <a:pt x="195" y="521"/>
                    </a:lnTo>
                    <a:lnTo>
                      <a:pt x="226" y="570"/>
                    </a:lnTo>
                    <a:lnTo>
                      <a:pt x="255" y="616"/>
                    </a:lnTo>
                    <a:lnTo>
                      <a:pt x="284" y="659"/>
                    </a:lnTo>
                    <a:lnTo>
                      <a:pt x="312" y="700"/>
                    </a:lnTo>
                    <a:lnTo>
                      <a:pt x="341" y="739"/>
                    </a:lnTo>
                    <a:lnTo>
                      <a:pt x="369" y="776"/>
                    </a:lnTo>
                    <a:lnTo>
                      <a:pt x="398" y="809"/>
                    </a:lnTo>
                    <a:lnTo>
                      <a:pt x="414" y="824"/>
                    </a:lnTo>
                    <a:lnTo>
                      <a:pt x="428" y="839"/>
                    </a:lnTo>
                    <a:lnTo>
                      <a:pt x="442" y="853"/>
                    </a:lnTo>
                    <a:lnTo>
                      <a:pt x="457" y="867"/>
                    </a:lnTo>
                    <a:lnTo>
                      <a:pt x="472" y="880"/>
                    </a:lnTo>
                    <a:lnTo>
                      <a:pt x="487" y="892"/>
                    </a:lnTo>
                    <a:lnTo>
                      <a:pt x="501" y="904"/>
                    </a:lnTo>
                    <a:lnTo>
                      <a:pt x="516" y="914"/>
                    </a:lnTo>
                    <a:lnTo>
                      <a:pt x="532" y="925"/>
                    </a:lnTo>
                    <a:lnTo>
                      <a:pt x="547" y="933"/>
                    </a:lnTo>
                    <a:lnTo>
                      <a:pt x="563" y="942"/>
                    </a:lnTo>
                    <a:lnTo>
                      <a:pt x="579" y="949"/>
                    </a:lnTo>
                    <a:lnTo>
                      <a:pt x="595" y="957"/>
                    </a:lnTo>
                    <a:lnTo>
                      <a:pt x="611" y="962"/>
                    </a:lnTo>
                    <a:lnTo>
                      <a:pt x="627" y="968"/>
                    </a:lnTo>
                    <a:lnTo>
                      <a:pt x="645" y="973"/>
                    </a:lnTo>
                    <a:lnTo>
                      <a:pt x="678" y="981"/>
                    </a:lnTo>
                    <a:lnTo>
                      <a:pt x="712" y="987"/>
                    </a:lnTo>
                    <a:lnTo>
                      <a:pt x="745" y="993"/>
                    </a:lnTo>
                    <a:lnTo>
                      <a:pt x="778" y="997"/>
                    </a:lnTo>
                    <a:lnTo>
                      <a:pt x="811" y="1000"/>
                    </a:lnTo>
                    <a:lnTo>
                      <a:pt x="844" y="1003"/>
                    </a:lnTo>
                    <a:lnTo>
                      <a:pt x="877" y="1005"/>
                    </a:lnTo>
                    <a:lnTo>
                      <a:pt x="908" y="1005"/>
                    </a:lnTo>
                    <a:lnTo>
                      <a:pt x="940" y="1003"/>
                    </a:lnTo>
                    <a:lnTo>
                      <a:pt x="972" y="1002"/>
                    </a:lnTo>
                    <a:lnTo>
                      <a:pt x="1002" y="1000"/>
                    </a:lnTo>
                    <a:lnTo>
                      <a:pt x="1033" y="997"/>
                    </a:lnTo>
                    <a:lnTo>
                      <a:pt x="1064" y="993"/>
                    </a:lnTo>
                    <a:lnTo>
                      <a:pt x="1094" y="988"/>
                    </a:lnTo>
                    <a:lnTo>
                      <a:pt x="1123" y="983"/>
                    </a:lnTo>
                    <a:lnTo>
                      <a:pt x="1153" y="976"/>
                    </a:lnTo>
                    <a:lnTo>
                      <a:pt x="1181" y="970"/>
                    </a:lnTo>
                    <a:lnTo>
                      <a:pt x="1210" y="962"/>
                    </a:lnTo>
                    <a:lnTo>
                      <a:pt x="1238" y="955"/>
                    </a:lnTo>
                    <a:lnTo>
                      <a:pt x="1267" y="946"/>
                    </a:lnTo>
                    <a:lnTo>
                      <a:pt x="1321" y="929"/>
                    </a:lnTo>
                    <a:lnTo>
                      <a:pt x="1373" y="910"/>
                    </a:lnTo>
                    <a:lnTo>
                      <a:pt x="1425" y="889"/>
                    </a:lnTo>
                    <a:lnTo>
                      <a:pt x="1475" y="867"/>
                    </a:lnTo>
                    <a:lnTo>
                      <a:pt x="1522" y="846"/>
                    </a:lnTo>
                    <a:lnTo>
                      <a:pt x="1568" y="824"/>
                    </a:lnTo>
                    <a:lnTo>
                      <a:pt x="1597" y="810"/>
                    </a:lnTo>
                    <a:lnTo>
                      <a:pt x="1627" y="795"/>
                    </a:lnTo>
                    <a:lnTo>
                      <a:pt x="1657" y="782"/>
                    </a:lnTo>
                    <a:lnTo>
                      <a:pt x="1688" y="768"/>
                    </a:lnTo>
                    <a:lnTo>
                      <a:pt x="1718" y="755"/>
                    </a:lnTo>
                    <a:lnTo>
                      <a:pt x="1748" y="743"/>
                    </a:lnTo>
                    <a:lnTo>
                      <a:pt x="1777" y="731"/>
                    </a:lnTo>
                    <a:lnTo>
                      <a:pt x="1808" y="721"/>
                    </a:lnTo>
                    <a:lnTo>
                      <a:pt x="1835" y="712"/>
                    </a:lnTo>
                    <a:lnTo>
                      <a:pt x="1860" y="704"/>
                    </a:lnTo>
                    <a:lnTo>
                      <a:pt x="1886" y="698"/>
                    </a:lnTo>
                    <a:lnTo>
                      <a:pt x="1910" y="693"/>
                    </a:lnTo>
                    <a:lnTo>
                      <a:pt x="1933" y="688"/>
                    </a:lnTo>
                    <a:lnTo>
                      <a:pt x="1955" y="685"/>
                    </a:lnTo>
                    <a:lnTo>
                      <a:pt x="1977" y="683"/>
                    </a:lnTo>
                    <a:lnTo>
                      <a:pt x="1998" y="682"/>
                    </a:lnTo>
                    <a:lnTo>
                      <a:pt x="2017" y="682"/>
                    </a:lnTo>
                    <a:lnTo>
                      <a:pt x="2035" y="683"/>
                    </a:lnTo>
                    <a:lnTo>
                      <a:pt x="2054" y="685"/>
                    </a:lnTo>
                    <a:lnTo>
                      <a:pt x="2071" y="688"/>
                    </a:lnTo>
                    <a:lnTo>
                      <a:pt x="2088" y="693"/>
                    </a:lnTo>
                    <a:lnTo>
                      <a:pt x="2104" y="698"/>
                    </a:lnTo>
                    <a:lnTo>
                      <a:pt x="2120" y="704"/>
                    </a:lnTo>
                    <a:lnTo>
                      <a:pt x="2135" y="712"/>
                    </a:lnTo>
                    <a:lnTo>
                      <a:pt x="2152" y="722"/>
                    </a:lnTo>
                    <a:lnTo>
                      <a:pt x="2167" y="734"/>
                    </a:lnTo>
                    <a:lnTo>
                      <a:pt x="2180" y="745"/>
                    </a:lnTo>
                    <a:lnTo>
                      <a:pt x="2192" y="757"/>
                    </a:lnTo>
                    <a:lnTo>
                      <a:pt x="2203" y="770"/>
                    </a:lnTo>
                    <a:lnTo>
                      <a:pt x="2211" y="784"/>
                    </a:lnTo>
                    <a:lnTo>
                      <a:pt x="2219" y="798"/>
                    </a:lnTo>
                    <a:lnTo>
                      <a:pt x="2225" y="813"/>
                    </a:lnTo>
                    <a:lnTo>
                      <a:pt x="2231" y="828"/>
                    </a:lnTo>
                    <a:lnTo>
                      <a:pt x="2235" y="843"/>
                    </a:lnTo>
                    <a:lnTo>
                      <a:pt x="2239" y="858"/>
                    </a:lnTo>
                    <a:lnTo>
                      <a:pt x="2242" y="873"/>
                    </a:lnTo>
                    <a:lnTo>
                      <a:pt x="2247" y="903"/>
                    </a:lnTo>
                    <a:lnTo>
                      <a:pt x="2250" y="931"/>
                    </a:lnTo>
                    <a:lnTo>
                      <a:pt x="2252" y="951"/>
                    </a:lnTo>
                    <a:lnTo>
                      <a:pt x="2255" y="969"/>
                    </a:lnTo>
                    <a:lnTo>
                      <a:pt x="2258" y="987"/>
                    </a:lnTo>
                    <a:lnTo>
                      <a:pt x="2262" y="1003"/>
                    </a:lnTo>
                    <a:lnTo>
                      <a:pt x="2268" y="1017"/>
                    </a:lnTo>
                    <a:lnTo>
                      <a:pt x="2274" y="1030"/>
                    </a:lnTo>
                    <a:lnTo>
                      <a:pt x="2278" y="1036"/>
                    </a:lnTo>
                    <a:lnTo>
                      <a:pt x="2283" y="1041"/>
                    </a:lnTo>
                    <a:lnTo>
                      <a:pt x="2288" y="1046"/>
                    </a:lnTo>
                    <a:lnTo>
                      <a:pt x="2293" y="1050"/>
                    </a:lnTo>
                    <a:lnTo>
                      <a:pt x="2320" y="1067"/>
                    </a:lnTo>
                    <a:lnTo>
                      <a:pt x="2345" y="1087"/>
                    </a:lnTo>
                    <a:lnTo>
                      <a:pt x="2369" y="1105"/>
                    </a:lnTo>
                    <a:lnTo>
                      <a:pt x="2390" y="1125"/>
                    </a:lnTo>
                    <a:lnTo>
                      <a:pt x="2409" y="1145"/>
                    </a:lnTo>
                    <a:lnTo>
                      <a:pt x="2427" y="1164"/>
                    </a:lnTo>
                    <a:lnTo>
                      <a:pt x="2444" y="1183"/>
                    </a:lnTo>
                    <a:lnTo>
                      <a:pt x="2458" y="1200"/>
                    </a:lnTo>
                    <a:lnTo>
                      <a:pt x="2471" y="1216"/>
                    </a:lnTo>
                    <a:lnTo>
                      <a:pt x="2480" y="1231"/>
                    </a:lnTo>
                    <a:lnTo>
                      <a:pt x="2490" y="1245"/>
                    </a:lnTo>
                    <a:lnTo>
                      <a:pt x="2498" y="1257"/>
                    </a:lnTo>
                    <a:lnTo>
                      <a:pt x="2504" y="1268"/>
                    </a:lnTo>
                    <a:lnTo>
                      <a:pt x="2510" y="1277"/>
                    </a:lnTo>
                    <a:lnTo>
                      <a:pt x="2514" y="1278"/>
                    </a:lnTo>
                    <a:lnTo>
                      <a:pt x="2517" y="1280"/>
                    </a:lnTo>
                    <a:lnTo>
                      <a:pt x="2519" y="1282"/>
                    </a:lnTo>
                    <a:lnTo>
                      <a:pt x="2520" y="1285"/>
                    </a:lnTo>
                    <a:lnTo>
                      <a:pt x="2521" y="1291"/>
                    </a:lnTo>
                    <a:lnTo>
                      <a:pt x="2519" y="1296"/>
                    </a:lnTo>
                    <a:lnTo>
                      <a:pt x="2517" y="1300"/>
                    </a:lnTo>
                    <a:lnTo>
                      <a:pt x="2512" y="1302"/>
                    </a:lnTo>
                    <a:lnTo>
                      <a:pt x="2508" y="1304"/>
                    </a:lnTo>
                    <a:lnTo>
                      <a:pt x="2506" y="1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6"/>
              <p:cNvSpPr>
                <a:spLocks/>
              </p:cNvSpPr>
              <p:nvPr userDrawn="1"/>
            </p:nvSpPr>
            <p:spPr bwMode="auto">
              <a:xfrm>
                <a:off x="1908" y="1402"/>
                <a:ext cx="848" cy="437"/>
              </a:xfrm>
              <a:custGeom>
                <a:avLst/>
                <a:gdLst>
                  <a:gd name="T0" fmla="*/ 2511 w 2544"/>
                  <a:gd name="T1" fmla="*/ 1301 h 1310"/>
                  <a:gd name="T2" fmla="*/ 2464 w 2544"/>
                  <a:gd name="T3" fmla="*/ 1247 h 1310"/>
                  <a:gd name="T4" fmla="*/ 2379 w 2544"/>
                  <a:gd name="T5" fmla="*/ 1165 h 1310"/>
                  <a:gd name="T6" fmla="*/ 2282 w 2544"/>
                  <a:gd name="T7" fmla="*/ 1096 h 1310"/>
                  <a:gd name="T8" fmla="*/ 2251 w 2544"/>
                  <a:gd name="T9" fmla="*/ 1064 h 1310"/>
                  <a:gd name="T10" fmla="*/ 2226 w 2544"/>
                  <a:gd name="T11" fmla="*/ 993 h 1310"/>
                  <a:gd name="T12" fmla="*/ 2199 w 2544"/>
                  <a:gd name="T13" fmla="*/ 897 h 1310"/>
                  <a:gd name="T14" fmla="*/ 2164 w 2544"/>
                  <a:gd name="T15" fmla="*/ 836 h 1310"/>
                  <a:gd name="T16" fmla="*/ 2102 w 2544"/>
                  <a:gd name="T17" fmla="*/ 789 h 1310"/>
                  <a:gd name="T18" fmla="*/ 2027 w 2544"/>
                  <a:gd name="T19" fmla="*/ 765 h 1310"/>
                  <a:gd name="T20" fmla="*/ 1935 w 2544"/>
                  <a:gd name="T21" fmla="*/ 764 h 1310"/>
                  <a:gd name="T22" fmla="*/ 1822 w 2544"/>
                  <a:gd name="T23" fmla="*/ 784 h 1310"/>
                  <a:gd name="T24" fmla="*/ 1682 w 2544"/>
                  <a:gd name="T25" fmla="*/ 829 h 1310"/>
                  <a:gd name="T26" fmla="*/ 1520 w 2544"/>
                  <a:gd name="T27" fmla="*/ 894 h 1310"/>
                  <a:gd name="T28" fmla="*/ 1281 w 2544"/>
                  <a:gd name="T29" fmla="*/ 982 h 1310"/>
                  <a:gd name="T30" fmla="*/ 1134 w 2544"/>
                  <a:gd name="T31" fmla="*/ 1017 h 1310"/>
                  <a:gd name="T32" fmla="*/ 973 w 2544"/>
                  <a:gd name="T33" fmla="*/ 1040 h 1310"/>
                  <a:gd name="T34" fmla="*/ 800 w 2544"/>
                  <a:gd name="T35" fmla="*/ 1040 h 1310"/>
                  <a:gd name="T36" fmla="*/ 619 w 2544"/>
                  <a:gd name="T37" fmla="*/ 1011 h 1310"/>
                  <a:gd name="T38" fmla="*/ 529 w 2544"/>
                  <a:gd name="T39" fmla="*/ 975 h 1310"/>
                  <a:gd name="T40" fmla="*/ 446 w 2544"/>
                  <a:gd name="T41" fmla="*/ 916 h 1310"/>
                  <a:gd name="T42" fmla="*/ 367 w 2544"/>
                  <a:gd name="T43" fmla="*/ 839 h 1310"/>
                  <a:gd name="T44" fmla="*/ 239 w 2544"/>
                  <a:gd name="T45" fmla="*/ 666 h 1310"/>
                  <a:gd name="T46" fmla="*/ 111 w 2544"/>
                  <a:gd name="T47" fmla="*/ 449 h 1310"/>
                  <a:gd name="T48" fmla="*/ 31 w 2544"/>
                  <a:gd name="T49" fmla="*/ 262 h 1310"/>
                  <a:gd name="T50" fmla="*/ 0 w 2544"/>
                  <a:gd name="T51" fmla="*/ 110 h 1310"/>
                  <a:gd name="T52" fmla="*/ 7 w 2544"/>
                  <a:gd name="T53" fmla="*/ 39 h 1310"/>
                  <a:gd name="T54" fmla="*/ 26 w 2544"/>
                  <a:gd name="T55" fmla="*/ 2 h 1310"/>
                  <a:gd name="T56" fmla="*/ 47 w 2544"/>
                  <a:gd name="T57" fmla="*/ 10 h 1310"/>
                  <a:gd name="T58" fmla="*/ 36 w 2544"/>
                  <a:gd name="T59" fmla="*/ 38 h 1310"/>
                  <a:gd name="T60" fmla="*/ 29 w 2544"/>
                  <a:gd name="T61" fmla="*/ 128 h 1310"/>
                  <a:gd name="T62" fmla="*/ 65 w 2544"/>
                  <a:gd name="T63" fmla="*/ 278 h 1310"/>
                  <a:gd name="T64" fmla="*/ 157 w 2544"/>
                  <a:gd name="T65" fmla="*/ 476 h 1310"/>
                  <a:gd name="T66" fmla="*/ 286 w 2544"/>
                  <a:gd name="T67" fmla="*/ 689 h 1310"/>
                  <a:gd name="T68" fmla="*/ 400 w 2544"/>
                  <a:gd name="T69" fmla="*/ 834 h 1310"/>
                  <a:gd name="T70" fmla="*/ 475 w 2544"/>
                  <a:gd name="T71" fmla="*/ 906 h 1310"/>
                  <a:gd name="T72" fmla="*/ 556 w 2544"/>
                  <a:gd name="T73" fmla="*/ 959 h 1310"/>
                  <a:gd name="T74" fmla="*/ 661 w 2544"/>
                  <a:gd name="T75" fmla="*/ 993 h 1310"/>
                  <a:gd name="T76" fmla="*/ 838 w 2544"/>
                  <a:gd name="T77" fmla="*/ 1014 h 1310"/>
                  <a:gd name="T78" fmla="*/ 1005 w 2544"/>
                  <a:gd name="T79" fmla="*/ 1010 h 1310"/>
                  <a:gd name="T80" fmla="*/ 1161 w 2544"/>
                  <a:gd name="T81" fmla="*/ 985 h 1310"/>
                  <a:gd name="T82" fmla="*/ 1328 w 2544"/>
                  <a:gd name="T83" fmla="*/ 939 h 1310"/>
                  <a:gd name="T84" fmla="*/ 1547 w 2544"/>
                  <a:gd name="T85" fmla="*/ 853 h 1310"/>
                  <a:gd name="T86" fmla="*/ 1703 w 2544"/>
                  <a:gd name="T87" fmla="*/ 792 h 1310"/>
                  <a:gd name="T88" fmla="*/ 1842 w 2544"/>
                  <a:gd name="T89" fmla="*/ 752 h 1310"/>
                  <a:gd name="T90" fmla="*/ 1957 w 2544"/>
                  <a:gd name="T91" fmla="*/ 735 h 1310"/>
                  <a:gd name="T92" fmla="*/ 2051 w 2544"/>
                  <a:gd name="T93" fmla="*/ 742 h 1310"/>
                  <a:gd name="T94" fmla="*/ 2132 w 2544"/>
                  <a:gd name="T95" fmla="*/ 773 h 1310"/>
                  <a:gd name="T96" fmla="*/ 2194 w 2544"/>
                  <a:gd name="T97" fmla="*/ 831 h 1310"/>
                  <a:gd name="T98" fmla="*/ 2228 w 2544"/>
                  <a:gd name="T99" fmla="*/ 899 h 1310"/>
                  <a:gd name="T100" fmla="*/ 2256 w 2544"/>
                  <a:gd name="T101" fmla="*/ 1001 h 1310"/>
                  <a:gd name="T102" fmla="*/ 2286 w 2544"/>
                  <a:gd name="T103" fmla="*/ 1065 h 1310"/>
                  <a:gd name="T104" fmla="*/ 2352 w 2544"/>
                  <a:gd name="T105" fmla="*/ 1110 h 1310"/>
                  <a:gd name="T106" fmla="*/ 2454 w 2544"/>
                  <a:gd name="T107" fmla="*/ 1199 h 1310"/>
                  <a:gd name="T108" fmla="*/ 2512 w 2544"/>
                  <a:gd name="T109" fmla="*/ 1261 h 1310"/>
                  <a:gd name="T110" fmla="*/ 2541 w 2544"/>
                  <a:gd name="T111" fmla="*/ 1288 h 1310"/>
                  <a:gd name="T112" fmla="*/ 2534 w 2544"/>
                  <a:gd name="T113" fmla="*/ 1309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44" h="1310">
                    <a:moveTo>
                      <a:pt x="2529" y="1310"/>
                    </a:moveTo>
                    <a:lnTo>
                      <a:pt x="2524" y="1309"/>
                    </a:lnTo>
                    <a:lnTo>
                      <a:pt x="2519" y="1308"/>
                    </a:lnTo>
                    <a:lnTo>
                      <a:pt x="2515" y="1305"/>
                    </a:lnTo>
                    <a:lnTo>
                      <a:pt x="2511" y="1301"/>
                    </a:lnTo>
                    <a:lnTo>
                      <a:pt x="2502" y="1292"/>
                    </a:lnTo>
                    <a:lnTo>
                      <a:pt x="2491" y="1279"/>
                    </a:lnTo>
                    <a:lnTo>
                      <a:pt x="2484" y="1269"/>
                    </a:lnTo>
                    <a:lnTo>
                      <a:pt x="2474" y="1259"/>
                    </a:lnTo>
                    <a:lnTo>
                      <a:pt x="2464" y="1247"/>
                    </a:lnTo>
                    <a:lnTo>
                      <a:pt x="2453" y="1236"/>
                    </a:lnTo>
                    <a:lnTo>
                      <a:pt x="2436" y="1218"/>
                    </a:lnTo>
                    <a:lnTo>
                      <a:pt x="2418" y="1201"/>
                    </a:lnTo>
                    <a:lnTo>
                      <a:pt x="2399" y="1183"/>
                    </a:lnTo>
                    <a:lnTo>
                      <a:pt x="2379" y="1165"/>
                    </a:lnTo>
                    <a:lnTo>
                      <a:pt x="2358" y="1149"/>
                    </a:lnTo>
                    <a:lnTo>
                      <a:pt x="2337" y="1132"/>
                    </a:lnTo>
                    <a:lnTo>
                      <a:pt x="2314" y="1117"/>
                    </a:lnTo>
                    <a:lnTo>
                      <a:pt x="2289" y="1102"/>
                    </a:lnTo>
                    <a:lnTo>
                      <a:pt x="2282" y="1096"/>
                    </a:lnTo>
                    <a:lnTo>
                      <a:pt x="2274" y="1091"/>
                    </a:lnTo>
                    <a:lnTo>
                      <a:pt x="2268" y="1084"/>
                    </a:lnTo>
                    <a:lnTo>
                      <a:pt x="2262" y="1078"/>
                    </a:lnTo>
                    <a:lnTo>
                      <a:pt x="2257" y="1071"/>
                    </a:lnTo>
                    <a:lnTo>
                      <a:pt x="2251" y="1064"/>
                    </a:lnTo>
                    <a:lnTo>
                      <a:pt x="2247" y="1055"/>
                    </a:lnTo>
                    <a:lnTo>
                      <a:pt x="2243" y="1048"/>
                    </a:lnTo>
                    <a:lnTo>
                      <a:pt x="2236" y="1030"/>
                    </a:lnTo>
                    <a:lnTo>
                      <a:pt x="2231" y="1011"/>
                    </a:lnTo>
                    <a:lnTo>
                      <a:pt x="2226" y="993"/>
                    </a:lnTo>
                    <a:lnTo>
                      <a:pt x="2220" y="972"/>
                    </a:lnTo>
                    <a:lnTo>
                      <a:pt x="2215" y="947"/>
                    </a:lnTo>
                    <a:lnTo>
                      <a:pt x="2207" y="921"/>
                    </a:lnTo>
                    <a:lnTo>
                      <a:pt x="2203" y="908"/>
                    </a:lnTo>
                    <a:lnTo>
                      <a:pt x="2199" y="897"/>
                    </a:lnTo>
                    <a:lnTo>
                      <a:pt x="2193" y="884"/>
                    </a:lnTo>
                    <a:lnTo>
                      <a:pt x="2187" y="872"/>
                    </a:lnTo>
                    <a:lnTo>
                      <a:pt x="2180" y="860"/>
                    </a:lnTo>
                    <a:lnTo>
                      <a:pt x="2173" y="848"/>
                    </a:lnTo>
                    <a:lnTo>
                      <a:pt x="2164" y="836"/>
                    </a:lnTo>
                    <a:lnTo>
                      <a:pt x="2154" y="825"/>
                    </a:lnTo>
                    <a:lnTo>
                      <a:pt x="2144" y="816"/>
                    </a:lnTo>
                    <a:lnTo>
                      <a:pt x="2131" y="806"/>
                    </a:lnTo>
                    <a:lnTo>
                      <a:pt x="2118" y="796"/>
                    </a:lnTo>
                    <a:lnTo>
                      <a:pt x="2102" y="789"/>
                    </a:lnTo>
                    <a:lnTo>
                      <a:pt x="2088" y="782"/>
                    </a:lnTo>
                    <a:lnTo>
                      <a:pt x="2074" y="776"/>
                    </a:lnTo>
                    <a:lnTo>
                      <a:pt x="2059" y="771"/>
                    </a:lnTo>
                    <a:lnTo>
                      <a:pt x="2043" y="768"/>
                    </a:lnTo>
                    <a:lnTo>
                      <a:pt x="2027" y="765"/>
                    </a:lnTo>
                    <a:lnTo>
                      <a:pt x="2011" y="763"/>
                    </a:lnTo>
                    <a:lnTo>
                      <a:pt x="1993" y="762"/>
                    </a:lnTo>
                    <a:lnTo>
                      <a:pt x="1974" y="762"/>
                    </a:lnTo>
                    <a:lnTo>
                      <a:pt x="1956" y="762"/>
                    </a:lnTo>
                    <a:lnTo>
                      <a:pt x="1935" y="764"/>
                    </a:lnTo>
                    <a:lnTo>
                      <a:pt x="1915" y="766"/>
                    </a:lnTo>
                    <a:lnTo>
                      <a:pt x="1893" y="769"/>
                    </a:lnTo>
                    <a:lnTo>
                      <a:pt x="1870" y="773"/>
                    </a:lnTo>
                    <a:lnTo>
                      <a:pt x="1847" y="778"/>
                    </a:lnTo>
                    <a:lnTo>
                      <a:pt x="1822" y="784"/>
                    </a:lnTo>
                    <a:lnTo>
                      <a:pt x="1796" y="791"/>
                    </a:lnTo>
                    <a:lnTo>
                      <a:pt x="1769" y="799"/>
                    </a:lnTo>
                    <a:lnTo>
                      <a:pt x="1741" y="808"/>
                    </a:lnTo>
                    <a:lnTo>
                      <a:pt x="1712" y="818"/>
                    </a:lnTo>
                    <a:lnTo>
                      <a:pt x="1682" y="829"/>
                    </a:lnTo>
                    <a:lnTo>
                      <a:pt x="1653" y="839"/>
                    </a:lnTo>
                    <a:lnTo>
                      <a:pt x="1623" y="851"/>
                    </a:lnTo>
                    <a:lnTo>
                      <a:pt x="1591" y="865"/>
                    </a:lnTo>
                    <a:lnTo>
                      <a:pt x="1558" y="878"/>
                    </a:lnTo>
                    <a:lnTo>
                      <a:pt x="1520" y="894"/>
                    </a:lnTo>
                    <a:lnTo>
                      <a:pt x="1479" y="912"/>
                    </a:lnTo>
                    <a:lnTo>
                      <a:pt x="1434" y="929"/>
                    </a:lnTo>
                    <a:lnTo>
                      <a:pt x="1387" y="947"/>
                    </a:lnTo>
                    <a:lnTo>
                      <a:pt x="1336" y="965"/>
                    </a:lnTo>
                    <a:lnTo>
                      <a:pt x="1281" y="982"/>
                    </a:lnTo>
                    <a:lnTo>
                      <a:pt x="1253" y="989"/>
                    </a:lnTo>
                    <a:lnTo>
                      <a:pt x="1225" y="997"/>
                    </a:lnTo>
                    <a:lnTo>
                      <a:pt x="1195" y="1005"/>
                    </a:lnTo>
                    <a:lnTo>
                      <a:pt x="1165" y="1012"/>
                    </a:lnTo>
                    <a:lnTo>
                      <a:pt x="1134" y="1017"/>
                    </a:lnTo>
                    <a:lnTo>
                      <a:pt x="1104" y="1024"/>
                    </a:lnTo>
                    <a:lnTo>
                      <a:pt x="1071" y="1028"/>
                    </a:lnTo>
                    <a:lnTo>
                      <a:pt x="1039" y="1034"/>
                    </a:lnTo>
                    <a:lnTo>
                      <a:pt x="1006" y="1037"/>
                    </a:lnTo>
                    <a:lnTo>
                      <a:pt x="973" y="1040"/>
                    </a:lnTo>
                    <a:lnTo>
                      <a:pt x="940" y="1041"/>
                    </a:lnTo>
                    <a:lnTo>
                      <a:pt x="905" y="1042"/>
                    </a:lnTo>
                    <a:lnTo>
                      <a:pt x="870" y="1042"/>
                    </a:lnTo>
                    <a:lnTo>
                      <a:pt x="836" y="1041"/>
                    </a:lnTo>
                    <a:lnTo>
                      <a:pt x="800" y="1040"/>
                    </a:lnTo>
                    <a:lnTo>
                      <a:pt x="765" y="1036"/>
                    </a:lnTo>
                    <a:lnTo>
                      <a:pt x="728" y="1031"/>
                    </a:lnTo>
                    <a:lnTo>
                      <a:pt x="692" y="1026"/>
                    </a:lnTo>
                    <a:lnTo>
                      <a:pt x="656" y="1019"/>
                    </a:lnTo>
                    <a:lnTo>
                      <a:pt x="619" y="1011"/>
                    </a:lnTo>
                    <a:lnTo>
                      <a:pt x="600" y="1006"/>
                    </a:lnTo>
                    <a:lnTo>
                      <a:pt x="582" y="999"/>
                    </a:lnTo>
                    <a:lnTo>
                      <a:pt x="564" y="992"/>
                    </a:lnTo>
                    <a:lnTo>
                      <a:pt x="546" y="984"/>
                    </a:lnTo>
                    <a:lnTo>
                      <a:pt x="529" y="975"/>
                    </a:lnTo>
                    <a:lnTo>
                      <a:pt x="512" y="965"/>
                    </a:lnTo>
                    <a:lnTo>
                      <a:pt x="495" y="954"/>
                    </a:lnTo>
                    <a:lnTo>
                      <a:pt x="478" y="942"/>
                    </a:lnTo>
                    <a:lnTo>
                      <a:pt x="462" y="930"/>
                    </a:lnTo>
                    <a:lnTo>
                      <a:pt x="446" y="916"/>
                    </a:lnTo>
                    <a:lnTo>
                      <a:pt x="430" y="902"/>
                    </a:lnTo>
                    <a:lnTo>
                      <a:pt x="414" y="888"/>
                    </a:lnTo>
                    <a:lnTo>
                      <a:pt x="399" y="872"/>
                    </a:lnTo>
                    <a:lnTo>
                      <a:pt x="382" y="857"/>
                    </a:lnTo>
                    <a:lnTo>
                      <a:pt x="367" y="839"/>
                    </a:lnTo>
                    <a:lnTo>
                      <a:pt x="352" y="822"/>
                    </a:lnTo>
                    <a:lnTo>
                      <a:pt x="323" y="785"/>
                    </a:lnTo>
                    <a:lnTo>
                      <a:pt x="294" y="748"/>
                    </a:lnTo>
                    <a:lnTo>
                      <a:pt x="266" y="708"/>
                    </a:lnTo>
                    <a:lnTo>
                      <a:pt x="239" y="666"/>
                    </a:lnTo>
                    <a:lnTo>
                      <a:pt x="211" y="622"/>
                    </a:lnTo>
                    <a:lnTo>
                      <a:pt x="185" y="579"/>
                    </a:lnTo>
                    <a:lnTo>
                      <a:pt x="159" y="534"/>
                    </a:lnTo>
                    <a:lnTo>
                      <a:pt x="133" y="489"/>
                    </a:lnTo>
                    <a:lnTo>
                      <a:pt x="111" y="449"/>
                    </a:lnTo>
                    <a:lnTo>
                      <a:pt x="92" y="410"/>
                    </a:lnTo>
                    <a:lnTo>
                      <a:pt x="74" y="371"/>
                    </a:lnTo>
                    <a:lnTo>
                      <a:pt x="57" y="334"/>
                    </a:lnTo>
                    <a:lnTo>
                      <a:pt x="43" y="297"/>
                    </a:lnTo>
                    <a:lnTo>
                      <a:pt x="31" y="262"/>
                    </a:lnTo>
                    <a:lnTo>
                      <a:pt x="21" y="228"/>
                    </a:lnTo>
                    <a:lnTo>
                      <a:pt x="12" y="196"/>
                    </a:lnTo>
                    <a:lnTo>
                      <a:pt x="7" y="166"/>
                    </a:lnTo>
                    <a:lnTo>
                      <a:pt x="2" y="137"/>
                    </a:lnTo>
                    <a:lnTo>
                      <a:pt x="0" y="110"/>
                    </a:lnTo>
                    <a:lnTo>
                      <a:pt x="0" y="84"/>
                    </a:lnTo>
                    <a:lnTo>
                      <a:pt x="1" y="72"/>
                    </a:lnTo>
                    <a:lnTo>
                      <a:pt x="2" y="61"/>
                    </a:lnTo>
                    <a:lnTo>
                      <a:pt x="4" y="50"/>
                    </a:lnTo>
                    <a:lnTo>
                      <a:pt x="7" y="39"/>
                    </a:lnTo>
                    <a:lnTo>
                      <a:pt x="10" y="30"/>
                    </a:lnTo>
                    <a:lnTo>
                      <a:pt x="13" y="21"/>
                    </a:lnTo>
                    <a:lnTo>
                      <a:pt x="17" y="12"/>
                    </a:lnTo>
                    <a:lnTo>
                      <a:pt x="23" y="5"/>
                    </a:lnTo>
                    <a:lnTo>
                      <a:pt x="26" y="2"/>
                    </a:lnTo>
                    <a:lnTo>
                      <a:pt x="31" y="0"/>
                    </a:lnTo>
                    <a:lnTo>
                      <a:pt x="36" y="0"/>
                    </a:lnTo>
                    <a:lnTo>
                      <a:pt x="41" y="2"/>
                    </a:lnTo>
                    <a:lnTo>
                      <a:pt x="44" y="5"/>
                    </a:lnTo>
                    <a:lnTo>
                      <a:pt x="47" y="10"/>
                    </a:lnTo>
                    <a:lnTo>
                      <a:pt x="47" y="16"/>
                    </a:lnTo>
                    <a:lnTo>
                      <a:pt x="44" y="20"/>
                    </a:lnTo>
                    <a:lnTo>
                      <a:pt x="41" y="25"/>
                    </a:lnTo>
                    <a:lnTo>
                      <a:pt x="38" y="32"/>
                    </a:lnTo>
                    <a:lnTo>
                      <a:pt x="36" y="38"/>
                    </a:lnTo>
                    <a:lnTo>
                      <a:pt x="34" y="46"/>
                    </a:lnTo>
                    <a:lnTo>
                      <a:pt x="30" y="63"/>
                    </a:lnTo>
                    <a:lnTo>
                      <a:pt x="28" y="83"/>
                    </a:lnTo>
                    <a:lnTo>
                      <a:pt x="28" y="104"/>
                    </a:lnTo>
                    <a:lnTo>
                      <a:pt x="29" y="128"/>
                    </a:lnTo>
                    <a:lnTo>
                      <a:pt x="32" y="154"/>
                    </a:lnTo>
                    <a:lnTo>
                      <a:pt x="38" y="182"/>
                    </a:lnTo>
                    <a:lnTo>
                      <a:pt x="44" y="212"/>
                    </a:lnTo>
                    <a:lnTo>
                      <a:pt x="54" y="243"/>
                    </a:lnTo>
                    <a:lnTo>
                      <a:pt x="65" y="278"/>
                    </a:lnTo>
                    <a:lnTo>
                      <a:pt x="79" y="314"/>
                    </a:lnTo>
                    <a:lnTo>
                      <a:pt x="94" y="352"/>
                    </a:lnTo>
                    <a:lnTo>
                      <a:pt x="112" y="391"/>
                    </a:lnTo>
                    <a:lnTo>
                      <a:pt x="133" y="432"/>
                    </a:lnTo>
                    <a:lnTo>
                      <a:pt x="157" y="476"/>
                    </a:lnTo>
                    <a:lnTo>
                      <a:pt x="181" y="520"/>
                    </a:lnTo>
                    <a:lnTo>
                      <a:pt x="207" y="564"/>
                    </a:lnTo>
                    <a:lnTo>
                      <a:pt x="233" y="606"/>
                    </a:lnTo>
                    <a:lnTo>
                      <a:pt x="259" y="648"/>
                    </a:lnTo>
                    <a:lnTo>
                      <a:pt x="286" y="689"/>
                    </a:lnTo>
                    <a:lnTo>
                      <a:pt x="313" y="728"/>
                    </a:lnTo>
                    <a:lnTo>
                      <a:pt x="341" y="766"/>
                    </a:lnTo>
                    <a:lnTo>
                      <a:pt x="370" y="802"/>
                    </a:lnTo>
                    <a:lnTo>
                      <a:pt x="384" y="818"/>
                    </a:lnTo>
                    <a:lnTo>
                      <a:pt x="400" y="834"/>
                    </a:lnTo>
                    <a:lnTo>
                      <a:pt x="415" y="850"/>
                    </a:lnTo>
                    <a:lnTo>
                      <a:pt x="430" y="865"/>
                    </a:lnTo>
                    <a:lnTo>
                      <a:pt x="445" y="879"/>
                    </a:lnTo>
                    <a:lnTo>
                      <a:pt x="460" y="893"/>
                    </a:lnTo>
                    <a:lnTo>
                      <a:pt x="475" y="906"/>
                    </a:lnTo>
                    <a:lnTo>
                      <a:pt x="491" y="918"/>
                    </a:lnTo>
                    <a:lnTo>
                      <a:pt x="508" y="930"/>
                    </a:lnTo>
                    <a:lnTo>
                      <a:pt x="524" y="941"/>
                    </a:lnTo>
                    <a:lnTo>
                      <a:pt x="540" y="949"/>
                    </a:lnTo>
                    <a:lnTo>
                      <a:pt x="556" y="959"/>
                    </a:lnTo>
                    <a:lnTo>
                      <a:pt x="573" y="967"/>
                    </a:lnTo>
                    <a:lnTo>
                      <a:pt x="591" y="973"/>
                    </a:lnTo>
                    <a:lnTo>
                      <a:pt x="608" y="980"/>
                    </a:lnTo>
                    <a:lnTo>
                      <a:pt x="625" y="984"/>
                    </a:lnTo>
                    <a:lnTo>
                      <a:pt x="661" y="993"/>
                    </a:lnTo>
                    <a:lnTo>
                      <a:pt x="697" y="999"/>
                    </a:lnTo>
                    <a:lnTo>
                      <a:pt x="732" y="1006"/>
                    </a:lnTo>
                    <a:lnTo>
                      <a:pt x="768" y="1010"/>
                    </a:lnTo>
                    <a:lnTo>
                      <a:pt x="802" y="1013"/>
                    </a:lnTo>
                    <a:lnTo>
                      <a:pt x="838" y="1014"/>
                    </a:lnTo>
                    <a:lnTo>
                      <a:pt x="871" y="1015"/>
                    </a:lnTo>
                    <a:lnTo>
                      <a:pt x="906" y="1015"/>
                    </a:lnTo>
                    <a:lnTo>
                      <a:pt x="940" y="1014"/>
                    </a:lnTo>
                    <a:lnTo>
                      <a:pt x="972" y="1012"/>
                    </a:lnTo>
                    <a:lnTo>
                      <a:pt x="1005" y="1010"/>
                    </a:lnTo>
                    <a:lnTo>
                      <a:pt x="1038" y="1006"/>
                    </a:lnTo>
                    <a:lnTo>
                      <a:pt x="1069" y="1001"/>
                    </a:lnTo>
                    <a:lnTo>
                      <a:pt x="1100" y="997"/>
                    </a:lnTo>
                    <a:lnTo>
                      <a:pt x="1131" y="990"/>
                    </a:lnTo>
                    <a:lnTo>
                      <a:pt x="1161" y="985"/>
                    </a:lnTo>
                    <a:lnTo>
                      <a:pt x="1190" y="978"/>
                    </a:lnTo>
                    <a:lnTo>
                      <a:pt x="1219" y="971"/>
                    </a:lnTo>
                    <a:lnTo>
                      <a:pt x="1247" y="963"/>
                    </a:lnTo>
                    <a:lnTo>
                      <a:pt x="1275" y="955"/>
                    </a:lnTo>
                    <a:lnTo>
                      <a:pt x="1328" y="939"/>
                    </a:lnTo>
                    <a:lnTo>
                      <a:pt x="1379" y="921"/>
                    </a:lnTo>
                    <a:lnTo>
                      <a:pt x="1425" y="903"/>
                    </a:lnTo>
                    <a:lnTo>
                      <a:pt x="1470" y="886"/>
                    </a:lnTo>
                    <a:lnTo>
                      <a:pt x="1511" y="870"/>
                    </a:lnTo>
                    <a:lnTo>
                      <a:pt x="1547" y="853"/>
                    </a:lnTo>
                    <a:lnTo>
                      <a:pt x="1581" y="839"/>
                    </a:lnTo>
                    <a:lnTo>
                      <a:pt x="1612" y="826"/>
                    </a:lnTo>
                    <a:lnTo>
                      <a:pt x="1644" y="815"/>
                    </a:lnTo>
                    <a:lnTo>
                      <a:pt x="1674" y="803"/>
                    </a:lnTo>
                    <a:lnTo>
                      <a:pt x="1703" y="792"/>
                    </a:lnTo>
                    <a:lnTo>
                      <a:pt x="1732" y="782"/>
                    </a:lnTo>
                    <a:lnTo>
                      <a:pt x="1761" y="773"/>
                    </a:lnTo>
                    <a:lnTo>
                      <a:pt x="1789" y="765"/>
                    </a:lnTo>
                    <a:lnTo>
                      <a:pt x="1816" y="757"/>
                    </a:lnTo>
                    <a:lnTo>
                      <a:pt x="1842" y="752"/>
                    </a:lnTo>
                    <a:lnTo>
                      <a:pt x="1867" y="747"/>
                    </a:lnTo>
                    <a:lnTo>
                      <a:pt x="1891" y="742"/>
                    </a:lnTo>
                    <a:lnTo>
                      <a:pt x="1914" y="739"/>
                    </a:lnTo>
                    <a:lnTo>
                      <a:pt x="1936" y="737"/>
                    </a:lnTo>
                    <a:lnTo>
                      <a:pt x="1957" y="735"/>
                    </a:lnTo>
                    <a:lnTo>
                      <a:pt x="1977" y="735"/>
                    </a:lnTo>
                    <a:lnTo>
                      <a:pt x="1997" y="735"/>
                    </a:lnTo>
                    <a:lnTo>
                      <a:pt x="2016" y="736"/>
                    </a:lnTo>
                    <a:lnTo>
                      <a:pt x="2033" y="739"/>
                    </a:lnTo>
                    <a:lnTo>
                      <a:pt x="2051" y="742"/>
                    </a:lnTo>
                    <a:lnTo>
                      <a:pt x="2068" y="745"/>
                    </a:lnTo>
                    <a:lnTo>
                      <a:pt x="2084" y="751"/>
                    </a:lnTo>
                    <a:lnTo>
                      <a:pt x="2099" y="757"/>
                    </a:lnTo>
                    <a:lnTo>
                      <a:pt x="2114" y="764"/>
                    </a:lnTo>
                    <a:lnTo>
                      <a:pt x="2132" y="773"/>
                    </a:lnTo>
                    <a:lnTo>
                      <a:pt x="2147" y="784"/>
                    </a:lnTo>
                    <a:lnTo>
                      <a:pt x="2161" y="795"/>
                    </a:lnTo>
                    <a:lnTo>
                      <a:pt x="2173" y="806"/>
                    </a:lnTo>
                    <a:lnTo>
                      <a:pt x="2185" y="819"/>
                    </a:lnTo>
                    <a:lnTo>
                      <a:pt x="2194" y="831"/>
                    </a:lnTo>
                    <a:lnTo>
                      <a:pt x="2203" y="845"/>
                    </a:lnTo>
                    <a:lnTo>
                      <a:pt x="2210" y="858"/>
                    </a:lnTo>
                    <a:lnTo>
                      <a:pt x="2217" y="871"/>
                    </a:lnTo>
                    <a:lnTo>
                      <a:pt x="2223" y="885"/>
                    </a:lnTo>
                    <a:lnTo>
                      <a:pt x="2228" y="899"/>
                    </a:lnTo>
                    <a:lnTo>
                      <a:pt x="2233" y="913"/>
                    </a:lnTo>
                    <a:lnTo>
                      <a:pt x="2241" y="940"/>
                    </a:lnTo>
                    <a:lnTo>
                      <a:pt x="2247" y="967"/>
                    </a:lnTo>
                    <a:lnTo>
                      <a:pt x="2251" y="984"/>
                    </a:lnTo>
                    <a:lnTo>
                      <a:pt x="2256" y="1001"/>
                    </a:lnTo>
                    <a:lnTo>
                      <a:pt x="2261" y="1019"/>
                    </a:lnTo>
                    <a:lnTo>
                      <a:pt x="2267" y="1034"/>
                    </a:lnTo>
                    <a:lnTo>
                      <a:pt x="2273" y="1047"/>
                    </a:lnTo>
                    <a:lnTo>
                      <a:pt x="2282" y="1060"/>
                    </a:lnTo>
                    <a:lnTo>
                      <a:pt x="2286" y="1065"/>
                    </a:lnTo>
                    <a:lnTo>
                      <a:pt x="2291" y="1069"/>
                    </a:lnTo>
                    <a:lnTo>
                      <a:pt x="2297" y="1074"/>
                    </a:lnTo>
                    <a:lnTo>
                      <a:pt x="2303" y="1078"/>
                    </a:lnTo>
                    <a:lnTo>
                      <a:pt x="2328" y="1094"/>
                    </a:lnTo>
                    <a:lnTo>
                      <a:pt x="2352" y="1110"/>
                    </a:lnTo>
                    <a:lnTo>
                      <a:pt x="2375" y="1128"/>
                    </a:lnTo>
                    <a:lnTo>
                      <a:pt x="2396" y="1145"/>
                    </a:lnTo>
                    <a:lnTo>
                      <a:pt x="2417" y="1163"/>
                    </a:lnTo>
                    <a:lnTo>
                      <a:pt x="2436" y="1180"/>
                    </a:lnTo>
                    <a:lnTo>
                      <a:pt x="2454" y="1199"/>
                    </a:lnTo>
                    <a:lnTo>
                      <a:pt x="2473" y="1217"/>
                    </a:lnTo>
                    <a:lnTo>
                      <a:pt x="2485" y="1229"/>
                    </a:lnTo>
                    <a:lnTo>
                      <a:pt x="2494" y="1241"/>
                    </a:lnTo>
                    <a:lnTo>
                      <a:pt x="2504" y="1252"/>
                    </a:lnTo>
                    <a:lnTo>
                      <a:pt x="2512" y="1261"/>
                    </a:lnTo>
                    <a:lnTo>
                      <a:pt x="2523" y="1274"/>
                    </a:lnTo>
                    <a:lnTo>
                      <a:pt x="2530" y="1283"/>
                    </a:lnTo>
                    <a:lnTo>
                      <a:pt x="2534" y="1283"/>
                    </a:lnTo>
                    <a:lnTo>
                      <a:pt x="2539" y="1285"/>
                    </a:lnTo>
                    <a:lnTo>
                      <a:pt x="2541" y="1288"/>
                    </a:lnTo>
                    <a:lnTo>
                      <a:pt x="2543" y="1292"/>
                    </a:lnTo>
                    <a:lnTo>
                      <a:pt x="2544" y="1297"/>
                    </a:lnTo>
                    <a:lnTo>
                      <a:pt x="2543" y="1302"/>
                    </a:lnTo>
                    <a:lnTo>
                      <a:pt x="2540" y="1307"/>
                    </a:lnTo>
                    <a:lnTo>
                      <a:pt x="2534" y="1309"/>
                    </a:lnTo>
                    <a:lnTo>
                      <a:pt x="2531" y="1310"/>
                    </a:lnTo>
                    <a:lnTo>
                      <a:pt x="2529" y="1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7"/>
              <p:cNvSpPr>
                <a:spLocks/>
              </p:cNvSpPr>
              <p:nvPr userDrawn="1"/>
            </p:nvSpPr>
            <p:spPr bwMode="auto">
              <a:xfrm>
                <a:off x="1927" y="1375"/>
                <a:ext cx="856" cy="439"/>
              </a:xfrm>
              <a:custGeom>
                <a:avLst/>
                <a:gdLst>
                  <a:gd name="T0" fmla="*/ 2530 w 2568"/>
                  <a:gd name="T1" fmla="*/ 1310 h 1317"/>
                  <a:gd name="T2" fmla="*/ 2481 w 2568"/>
                  <a:gd name="T3" fmla="*/ 1265 h 1317"/>
                  <a:gd name="T4" fmla="*/ 2410 w 2568"/>
                  <a:gd name="T5" fmla="*/ 1206 h 1317"/>
                  <a:gd name="T6" fmla="*/ 2299 w 2568"/>
                  <a:gd name="T7" fmla="*/ 1132 h 1317"/>
                  <a:gd name="T8" fmla="*/ 2259 w 2568"/>
                  <a:gd name="T9" fmla="*/ 1096 h 1317"/>
                  <a:gd name="T10" fmla="*/ 2218 w 2568"/>
                  <a:gd name="T11" fmla="*/ 1012 h 1317"/>
                  <a:gd name="T12" fmla="*/ 2180 w 2568"/>
                  <a:gd name="T13" fmla="*/ 929 h 1317"/>
                  <a:gd name="T14" fmla="*/ 2136 w 2568"/>
                  <a:gd name="T15" fmla="*/ 876 h 1317"/>
                  <a:gd name="T16" fmla="*/ 2068 w 2568"/>
                  <a:gd name="T17" fmla="*/ 836 h 1317"/>
                  <a:gd name="T18" fmla="*/ 1990 w 2568"/>
                  <a:gd name="T19" fmla="*/ 817 h 1317"/>
                  <a:gd name="T20" fmla="*/ 1894 w 2568"/>
                  <a:gd name="T21" fmla="*/ 817 h 1317"/>
                  <a:gd name="T22" fmla="*/ 1777 w 2568"/>
                  <a:gd name="T23" fmla="*/ 836 h 1317"/>
                  <a:gd name="T24" fmla="*/ 1624 w 2568"/>
                  <a:gd name="T25" fmla="*/ 879 h 1317"/>
                  <a:gd name="T26" fmla="*/ 1442 w 2568"/>
                  <a:gd name="T27" fmla="*/ 943 h 1317"/>
                  <a:gd name="T28" fmla="*/ 1174 w 2568"/>
                  <a:gd name="T29" fmla="*/ 1021 h 1317"/>
                  <a:gd name="T30" fmla="*/ 995 w 2568"/>
                  <a:gd name="T31" fmla="*/ 1050 h 1317"/>
                  <a:gd name="T32" fmla="*/ 835 w 2568"/>
                  <a:gd name="T33" fmla="*/ 1055 h 1317"/>
                  <a:gd name="T34" fmla="*/ 668 w 2568"/>
                  <a:gd name="T35" fmla="*/ 1038 h 1317"/>
                  <a:gd name="T36" fmla="*/ 544 w 2568"/>
                  <a:gd name="T37" fmla="*/ 1003 h 1317"/>
                  <a:gd name="T38" fmla="*/ 457 w 2568"/>
                  <a:gd name="T39" fmla="*/ 950 h 1317"/>
                  <a:gd name="T40" fmla="*/ 376 w 2568"/>
                  <a:gd name="T41" fmla="*/ 876 h 1317"/>
                  <a:gd name="T42" fmla="*/ 273 w 2568"/>
                  <a:gd name="T43" fmla="*/ 745 h 1317"/>
                  <a:gd name="T44" fmla="*/ 146 w 2568"/>
                  <a:gd name="T45" fmla="*/ 536 h 1317"/>
                  <a:gd name="T46" fmla="*/ 51 w 2568"/>
                  <a:gd name="T47" fmla="*/ 337 h 1317"/>
                  <a:gd name="T48" fmla="*/ 5 w 2568"/>
                  <a:gd name="T49" fmla="*/ 168 h 1317"/>
                  <a:gd name="T50" fmla="*/ 3 w 2568"/>
                  <a:gd name="T51" fmla="*/ 63 h 1317"/>
                  <a:gd name="T52" fmla="*/ 21 w 2568"/>
                  <a:gd name="T53" fmla="*/ 13 h 1317"/>
                  <a:gd name="T54" fmla="*/ 45 w 2568"/>
                  <a:gd name="T55" fmla="*/ 3 h 1317"/>
                  <a:gd name="T56" fmla="*/ 43 w 2568"/>
                  <a:gd name="T57" fmla="*/ 29 h 1317"/>
                  <a:gd name="T58" fmla="*/ 29 w 2568"/>
                  <a:gd name="T59" fmla="*/ 73 h 1317"/>
                  <a:gd name="T60" fmla="*/ 33 w 2568"/>
                  <a:gd name="T61" fmla="*/ 172 h 1317"/>
                  <a:gd name="T62" fmla="*/ 79 w 2568"/>
                  <a:gd name="T63" fmla="*/ 334 h 1317"/>
                  <a:gd name="T64" fmla="*/ 170 w 2568"/>
                  <a:gd name="T65" fmla="*/ 523 h 1317"/>
                  <a:gd name="T66" fmla="*/ 293 w 2568"/>
                  <a:gd name="T67" fmla="*/ 727 h 1317"/>
                  <a:gd name="T68" fmla="*/ 393 w 2568"/>
                  <a:gd name="T69" fmla="*/ 854 h 1317"/>
                  <a:gd name="T70" fmla="*/ 471 w 2568"/>
                  <a:gd name="T71" fmla="*/ 927 h 1317"/>
                  <a:gd name="T72" fmla="*/ 553 w 2568"/>
                  <a:gd name="T73" fmla="*/ 978 h 1317"/>
                  <a:gd name="T74" fmla="*/ 673 w 2568"/>
                  <a:gd name="T75" fmla="*/ 1011 h 1317"/>
                  <a:gd name="T76" fmla="*/ 837 w 2568"/>
                  <a:gd name="T77" fmla="*/ 1028 h 1317"/>
                  <a:gd name="T78" fmla="*/ 994 w 2568"/>
                  <a:gd name="T79" fmla="*/ 1023 h 1317"/>
                  <a:gd name="T80" fmla="*/ 1171 w 2568"/>
                  <a:gd name="T81" fmla="*/ 995 h 1317"/>
                  <a:gd name="T82" fmla="*/ 1434 w 2568"/>
                  <a:gd name="T83" fmla="*/ 917 h 1317"/>
                  <a:gd name="T84" fmla="*/ 1617 w 2568"/>
                  <a:gd name="T85" fmla="*/ 853 h 1317"/>
                  <a:gd name="T86" fmla="*/ 1771 w 2568"/>
                  <a:gd name="T87" fmla="*/ 809 h 1317"/>
                  <a:gd name="T88" fmla="*/ 1894 w 2568"/>
                  <a:gd name="T89" fmla="*/ 790 h 1317"/>
                  <a:gd name="T90" fmla="*/ 1995 w 2568"/>
                  <a:gd name="T91" fmla="*/ 790 h 1317"/>
                  <a:gd name="T92" fmla="*/ 2079 w 2568"/>
                  <a:gd name="T93" fmla="*/ 811 h 1317"/>
                  <a:gd name="T94" fmla="*/ 2153 w 2568"/>
                  <a:gd name="T95" fmla="*/ 855 h 1317"/>
                  <a:gd name="T96" fmla="*/ 2203 w 2568"/>
                  <a:gd name="T97" fmla="*/ 915 h 1317"/>
                  <a:gd name="T98" fmla="*/ 2243 w 2568"/>
                  <a:gd name="T99" fmla="*/ 1002 h 1317"/>
                  <a:gd name="T100" fmla="*/ 2280 w 2568"/>
                  <a:gd name="T101" fmla="*/ 1078 h 1317"/>
                  <a:gd name="T102" fmla="*/ 2312 w 2568"/>
                  <a:gd name="T103" fmla="*/ 1108 h 1317"/>
                  <a:gd name="T104" fmla="*/ 2427 w 2568"/>
                  <a:gd name="T105" fmla="*/ 1185 h 1317"/>
                  <a:gd name="T106" fmla="*/ 2498 w 2568"/>
                  <a:gd name="T107" fmla="*/ 1244 h 1317"/>
                  <a:gd name="T108" fmla="*/ 2552 w 2568"/>
                  <a:gd name="T109" fmla="*/ 1290 h 1317"/>
                  <a:gd name="T110" fmla="*/ 2568 w 2568"/>
                  <a:gd name="T111" fmla="*/ 1302 h 1317"/>
                  <a:gd name="T112" fmla="*/ 2557 w 2568"/>
                  <a:gd name="T113" fmla="*/ 1316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68" h="1317">
                    <a:moveTo>
                      <a:pt x="2551" y="1317"/>
                    </a:moveTo>
                    <a:lnTo>
                      <a:pt x="2545" y="1317"/>
                    </a:lnTo>
                    <a:lnTo>
                      <a:pt x="2541" y="1315"/>
                    </a:lnTo>
                    <a:lnTo>
                      <a:pt x="2536" y="1313"/>
                    </a:lnTo>
                    <a:lnTo>
                      <a:pt x="2530" y="1310"/>
                    </a:lnTo>
                    <a:lnTo>
                      <a:pt x="2519" y="1300"/>
                    </a:lnTo>
                    <a:lnTo>
                      <a:pt x="2506" y="1288"/>
                    </a:lnTo>
                    <a:lnTo>
                      <a:pt x="2499" y="1281"/>
                    </a:lnTo>
                    <a:lnTo>
                      <a:pt x="2490" y="1272"/>
                    </a:lnTo>
                    <a:lnTo>
                      <a:pt x="2481" y="1265"/>
                    </a:lnTo>
                    <a:lnTo>
                      <a:pt x="2470" y="1255"/>
                    </a:lnTo>
                    <a:lnTo>
                      <a:pt x="2462" y="1248"/>
                    </a:lnTo>
                    <a:lnTo>
                      <a:pt x="2446" y="1235"/>
                    </a:lnTo>
                    <a:lnTo>
                      <a:pt x="2429" y="1220"/>
                    </a:lnTo>
                    <a:lnTo>
                      <a:pt x="2410" y="1206"/>
                    </a:lnTo>
                    <a:lnTo>
                      <a:pt x="2390" y="1191"/>
                    </a:lnTo>
                    <a:lnTo>
                      <a:pt x="2369" y="1176"/>
                    </a:lnTo>
                    <a:lnTo>
                      <a:pt x="2347" y="1161"/>
                    </a:lnTo>
                    <a:lnTo>
                      <a:pt x="2324" y="1146"/>
                    </a:lnTo>
                    <a:lnTo>
                      <a:pt x="2299" y="1132"/>
                    </a:lnTo>
                    <a:lnTo>
                      <a:pt x="2292" y="1126"/>
                    </a:lnTo>
                    <a:lnTo>
                      <a:pt x="2284" y="1121"/>
                    </a:lnTo>
                    <a:lnTo>
                      <a:pt x="2276" y="1116"/>
                    </a:lnTo>
                    <a:lnTo>
                      <a:pt x="2270" y="1109"/>
                    </a:lnTo>
                    <a:lnTo>
                      <a:pt x="2259" y="1096"/>
                    </a:lnTo>
                    <a:lnTo>
                      <a:pt x="2249" y="1081"/>
                    </a:lnTo>
                    <a:lnTo>
                      <a:pt x="2241" y="1065"/>
                    </a:lnTo>
                    <a:lnTo>
                      <a:pt x="2232" y="1048"/>
                    </a:lnTo>
                    <a:lnTo>
                      <a:pt x="2226" y="1030"/>
                    </a:lnTo>
                    <a:lnTo>
                      <a:pt x="2218" y="1012"/>
                    </a:lnTo>
                    <a:lnTo>
                      <a:pt x="2208" y="988"/>
                    </a:lnTo>
                    <a:lnTo>
                      <a:pt x="2199" y="964"/>
                    </a:lnTo>
                    <a:lnTo>
                      <a:pt x="2193" y="953"/>
                    </a:lnTo>
                    <a:lnTo>
                      <a:pt x="2187" y="941"/>
                    </a:lnTo>
                    <a:lnTo>
                      <a:pt x="2180" y="929"/>
                    </a:lnTo>
                    <a:lnTo>
                      <a:pt x="2173" y="918"/>
                    </a:lnTo>
                    <a:lnTo>
                      <a:pt x="2165" y="907"/>
                    </a:lnTo>
                    <a:lnTo>
                      <a:pt x="2157" y="896"/>
                    </a:lnTo>
                    <a:lnTo>
                      <a:pt x="2147" y="887"/>
                    </a:lnTo>
                    <a:lnTo>
                      <a:pt x="2136" y="876"/>
                    </a:lnTo>
                    <a:lnTo>
                      <a:pt x="2124" y="867"/>
                    </a:lnTo>
                    <a:lnTo>
                      <a:pt x="2111" y="858"/>
                    </a:lnTo>
                    <a:lnTo>
                      <a:pt x="2097" y="850"/>
                    </a:lnTo>
                    <a:lnTo>
                      <a:pt x="2082" y="841"/>
                    </a:lnTo>
                    <a:lnTo>
                      <a:pt x="2068" y="836"/>
                    </a:lnTo>
                    <a:lnTo>
                      <a:pt x="2054" y="831"/>
                    </a:lnTo>
                    <a:lnTo>
                      <a:pt x="2039" y="825"/>
                    </a:lnTo>
                    <a:lnTo>
                      <a:pt x="2023" y="822"/>
                    </a:lnTo>
                    <a:lnTo>
                      <a:pt x="2007" y="819"/>
                    </a:lnTo>
                    <a:lnTo>
                      <a:pt x="1990" y="817"/>
                    </a:lnTo>
                    <a:lnTo>
                      <a:pt x="1972" y="815"/>
                    </a:lnTo>
                    <a:lnTo>
                      <a:pt x="1954" y="814"/>
                    </a:lnTo>
                    <a:lnTo>
                      <a:pt x="1935" y="814"/>
                    </a:lnTo>
                    <a:lnTo>
                      <a:pt x="1915" y="815"/>
                    </a:lnTo>
                    <a:lnTo>
                      <a:pt x="1894" y="817"/>
                    </a:lnTo>
                    <a:lnTo>
                      <a:pt x="1873" y="819"/>
                    </a:lnTo>
                    <a:lnTo>
                      <a:pt x="1850" y="822"/>
                    </a:lnTo>
                    <a:lnTo>
                      <a:pt x="1826" y="826"/>
                    </a:lnTo>
                    <a:lnTo>
                      <a:pt x="1802" y="831"/>
                    </a:lnTo>
                    <a:lnTo>
                      <a:pt x="1777" y="836"/>
                    </a:lnTo>
                    <a:lnTo>
                      <a:pt x="1746" y="842"/>
                    </a:lnTo>
                    <a:lnTo>
                      <a:pt x="1716" y="851"/>
                    </a:lnTo>
                    <a:lnTo>
                      <a:pt x="1686" y="860"/>
                    </a:lnTo>
                    <a:lnTo>
                      <a:pt x="1655" y="869"/>
                    </a:lnTo>
                    <a:lnTo>
                      <a:pt x="1624" y="879"/>
                    </a:lnTo>
                    <a:lnTo>
                      <a:pt x="1595" y="889"/>
                    </a:lnTo>
                    <a:lnTo>
                      <a:pt x="1565" y="900"/>
                    </a:lnTo>
                    <a:lnTo>
                      <a:pt x="1536" y="909"/>
                    </a:lnTo>
                    <a:lnTo>
                      <a:pt x="1489" y="927"/>
                    </a:lnTo>
                    <a:lnTo>
                      <a:pt x="1442" y="943"/>
                    </a:lnTo>
                    <a:lnTo>
                      <a:pt x="1392" y="960"/>
                    </a:lnTo>
                    <a:lnTo>
                      <a:pt x="1340" y="976"/>
                    </a:lnTo>
                    <a:lnTo>
                      <a:pt x="1286" y="993"/>
                    </a:lnTo>
                    <a:lnTo>
                      <a:pt x="1231" y="1008"/>
                    </a:lnTo>
                    <a:lnTo>
                      <a:pt x="1174" y="1021"/>
                    </a:lnTo>
                    <a:lnTo>
                      <a:pt x="1116" y="1032"/>
                    </a:lnTo>
                    <a:lnTo>
                      <a:pt x="1087" y="1038"/>
                    </a:lnTo>
                    <a:lnTo>
                      <a:pt x="1056" y="1042"/>
                    </a:lnTo>
                    <a:lnTo>
                      <a:pt x="1025" y="1046"/>
                    </a:lnTo>
                    <a:lnTo>
                      <a:pt x="995" y="1050"/>
                    </a:lnTo>
                    <a:lnTo>
                      <a:pt x="963" y="1053"/>
                    </a:lnTo>
                    <a:lnTo>
                      <a:pt x="931" y="1054"/>
                    </a:lnTo>
                    <a:lnTo>
                      <a:pt x="900" y="1055"/>
                    </a:lnTo>
                    <a:lnTo>
                      <a:pt x="867" y="1056"/>
                    </a:lnTo>
                    <a:lnTo>
                      <a:pt x="835" y="1055"/>
                    </a:lnTo>
                    <a:lnTo>
                      <a:pt x="803" y="1054"/>
                    </a:lnTo>
                    <a:lnTo>
                      <a:pt x="769" y="1051"/>
                    </a:lnTo>
                    <a:lnTo>
                      <a:pt x="736" y="1048"/>
                    </a:lnTo>
                    <a:lnTo>
                      <a:pt x="702" y="1043"/>
                    </a:lnTo>
                    <a:lnTo>
                      <a:pt x="668" y="1038"/>
                    </a:lnTo>
                    <a:lnTo>
                      <a:pt x="633" y="1030"/>
                    </a:lnTo>
                    <a:lnTo>
                      <a:pt x="600" y="1023"/>
                    </a:lnTo>
                    <a:lnTo>
                      <a:pt x="580" y="1017"/>
                    </a:lnTo>
                    <a:lnTo>
                      <a:pt x="562" y="1011"/>
                    </a:lnTo>
                    <a:lnTo>
                      <a:pt x="544" y="1003"/>
                    </a:lnTo>
                    <a:lnTo>
                      <a:pt x="526" y="995"/>
                    </a:lnTo>
                    <a:lnTo>
                      <a:pt x="509" y="985"/>
                    </a:lnTo>
                    <a:lnTo>
                      <a:pt x="492" y="975"/>
                    </a:lnTo>
                    <a:lnTo>
                      <a:pt x="474" y="963"/>
                    </a:lnTo>
                    <a:lnTo>
                      <a:pt x="457" y="950"/>
                    </a:lnTo>
                    <a:lnTo>
                      <a:pt x="441" y="937"/>
                    </a:lnTo>
                    <a:lnTo>
                      <a:pt x="425" y="923"/>
                    </a:lnTo>
                    <a:lnTo>
                      <a:pt x="408" y="908"/>
                    </a:lnTo>
                    <a:lnTo>
                      <a:pt x="392" y="892"/>
                    </a:lnTo>
                    <a:lnTo>
                      <a:pt x="376" y="876"/>
                    </a:lnTo>
                    <a:lnTo>
                      <a:pt x="361" y="859"/>
                    </a:lnTo>
                    <a:lnTo>
                      <a:pt x="346" y="841"/>
                    </a:lnTo>
                    <a:lnTo>
                      <a:pt x="331" y="823"/>
                    </a:lnTo>
                    <a:lnTo>
                      <a:pt x="302" y="785"/>
                    </a:lnTo>
                    <a:lnTo>
                      <a:pt x="273" y="745"/>
                    </a:lnTo>
                    <a:lnTo>
                      <a:pt x="245" y="705"/>
                    </a:lnTo>
                    <a:lnTo>
                      <a:pt x="219" y="663"/>
                    </a:lnTo>
                    <a:lnTo>
                      <a:pt x="194" y="621"/>
                    </a:lnTo>
                    <a:lnTo>
                      <a:pt x="170" y="579"/>
                    </a:lnTo>
                    <a:lnTo>
                      <a:pt x="146" y="536"/>
                    </a:lnTo>
                    <a:lnTo>
                      <a:pt x="123" y="495"/>
                    </a:lnTo>
                    <a:lnTo>
                      <a:pt x="103" y="454"/>
                    </a:lnTo>
                    <a:lnTo>
                      <a:pt x="83" y="414"/>
                    </a:lnTo>
                    <a:lnTo>
                      <a:pt x="66" y="375"/>
                    </a:lnTo>
                    <a:lnTo>
                      <a:pt x="51" y="337"/>
                    </a:lnTo>
                    <a:lnTo>
                      <a:pt x="38" y="301"/>
                    </a:lnTo>
                    <a:lnTo>
                      <a:pt x="26" y="265"/>
                    </a:lnTo>
                    <a:lnTo>
                      <a:pt x="18" y="231"/>
                    </a:lnTo>
                    <a:lnTo>
                      <a:pt x="10" y="199"/>
                    </a:lnTo>
                    <a:lnTo>
                      <a:pt x="5" y="168"/>
                    </a:lnTo>
                    <a:lnTo>
                      <a:pt x="1" y="139"/>
                    </a:lnTo>
                    <a:lnTo>
                      <a:pt x="0" y="112"/>
                    </a:lnTo>
                    <a:lnTo>
                      <a:pt x="1" y="86"/>
                    </a:lnTo>
                    <a:lnTo>
                      <a:pt x="2" y="74"/>
                    </a:lnTo>
                    <a:lnTo>
                      <a:pt x="3" y="63"/>
                    </a:lnTo>
                    <a:lnTo>
                      <a:pt x="6" y="52"/>
                    </a:lnTo>
                    <a:lnTo>
                      <a:pt x="9" y="41"/>
                    </a:lnTo>
                    <a:lnTo>
                      <a:pt x="12" y="32"/>
                    </a:lnTo>
                    <a:lnTo>
                      <a:pt x="16" y="22"/>
                    </a:lnTo>
                    <a:lnTo>
                      <a:pt x="21" y="13"/>
                    </a:lnTo>
                    <a:lnTo>
                      <a:pt x="25" y="6"/>
                    </a:lnTo>
                    <a:lnTo>
                      <a:pt x="29" y="3"/>
                    </a:lnTo>
                    <a:lnTo>
                      <a:pt x="35" y="0"/>
                    </a:lnTo>
                    <a:lnTo>
                      <a:pt x="39" y="0"/>
                    </a:lnTo>
                    <a:lnTo>
                      <a:pt x="45" y="3"/>
                    </a:lnTo>
                    <a:lnTo>
                      <a:pt x="48" y="6"/>
                    </a:lnTo>
                    <a:lnTo>
                      <a:pt x="50" y="11"/>
                    </a:lnTo>
                    <a:lnTo>
                      <a:pt x="50" y="17"/>
                    </a:lnTo>
                    <a:lnTo>
                      <a:pt x="48" y="21"/>
                    </a:lnTo>
                    <a:lnTo>
                      <a:pt x="43" y="29"/>
                    </a:lnTo>
                    <a:lnTo>
                      <a:pt x="40" y="36"/>
                    </a:lnTo>
                    <a:lnTo>
                      <a:pt x="37" y="45"/>
                    </a:lnTo>
                    <a:lnTo>
                      <a:pt x="34" y="53"/>
                    </a:lnTo>
                    <a:lnTo>
                      <a:pt x="32" y="63"/>
                    </a:lnTo>
                    <a:lnTo>
                      <a:pt x="29" y="73"/>
                    </a:lnTo>
                    <a:lnTo>
                      <a:pt x="28" y="84"/>
                    </a:lnTo>
                    <a:lnTo>
                      <a:pt x="27" y="94"/>
                    </a:lnTo>
                    <a:lnTo>
                      <a:pt x="27" y="118"/>
                    </a:lnTo>
                    <a:lnTo>
                      <a:pt x="29" y="144"/>
                    </a:lnTo>
                    <a:lnTo>
                      <a:pt x="33" y="172"/>
                    </a:lnTo>
                    <a:lnTo>
                      <a:pt x="39" y="201"/>
                    </a:lnTo>
                    <a:lnTo>
                      <a:pt x="46" y="233"/>
                    </a:lnTo>
                    <a:lnTo>
                      <a:pt x="55" y="265"/>
                    </a:lnTo>
                    <a:lnTo>
                      <a:pt x="66" y="299"/>
                    </a:lnTo>
                    <a:lnTo>
                      <a:pt x="79" y="334"/>
                    </a:lnTo>
                    <a:lnTo>
                      <a:pt x="94" y="370"/>
                    </a:lnTo>
                    <a:lnTo>
                      <a:pt x="110" y="406"/>
                    </a:lnTo>
                    <a:lnTo>
                      <a:pt x="128" y="444"/>
                    </a:lnTo>
                    <a:lnTo>
                      <a:pt x="147" y="482"/>
                    </a:lnTo>
                    <a:lnTo>
                      <a:pt x="170" y="523"/>
                    </a:lnTo>
                    <a:lnTo>
                      <a:pt x="192" y="564"/>
                    </a:lnTo>
                    <a:lnTo>
                      <a:pt x="216" y="605"/>
                    </a:lnTo>
                    <a:lnTo>
                      <a:pt x="241" y="647"/>
                    </a:lnTo>
                    <a:lnTo>
                      <a:pt x="267" y="687"/>
                    </a:lnTo>
                    <a:lnTo>
                      <a:pt x="293" y="727"/>
                    </a:lnTo>
                    <a:lnTo>
                      <a:pt x="321" y="766"/>
                    </a:lnTo>
                    <a:lnTo>
                      <a:pt x="349" y="803"/>
                    </a:lnTo>
                    <a:lnTo>
                      <a:pt x="363" y="820"/>
                    </a:lnTo>
                    <a:lnTo>
                      <a:pt x="378" y="837"/>
                    </a:lnTo>
                    <a:lnTo>
                      <a:pt x="393" y="854"/>
                    </a:lnTo>
                    <a:lnTo>
                      <a:pt x="408" y="871"/>
                    </a:lnTo>
                    <a:lnTo>
                      <a:pt x="424" y="886"/>
                    </a:lnTo>
                    <a:lnTo>
                      <a:pt x="439" y="900"/>
                    </a:lnTo>
                    <a:lnTo>
                      <a:pt x="455" y="914"/>
                    </a:lnTo>
                    <a:lnTo>
                      <a:pt x="471" y="927"/>
                    </a:lnTo>
                    <a:lnTo>
                      <a:pt x="487" y="939"/>
                    </a:lnTo>
                    <a:lnTo>
                      <a:pt x="503" y="950"/>
                    </a:lnTo>
                    <a:lnTo>
                      <a:pt x="520" y="960"/>
                    </a:lnTo>
                    <a:lnTo>
                      <a:pt x="537" y="970"/>
                    </a:lnTo>
                    <a:lnTo>
                      <a:pt x="553" y="978"/>
                    </a:lnTo>
                    <a:lnTo>
                      <a:pt x="570" y="986"/>
                    </a:lnTo>
                    <a:lnTo>
                      <a:pt x="588" y="991"/>
                    </a:lnTo>
                    <a:lnTo>
                      <a:pt x="606" y="997"/>
                    </a:lnTo>
                    <a:lnTo>
                      <a:pt x="639" y="1004"/>
                    </a:lnTo>
                    <a:lnTo>
                      <a:pt x="673" y="1011"/>
                    </a:lnTo>
                    <a:lnTo>
                      <a:pt x="706" y="1016"/>
                    </a:lnTo>
                    <a:lnTo>
                      <a:pt x="739" y="1021"/>
                    </a:lnTo>
                    <a:lnTo>
                      <a:pt x="772" y="1024"/>
                    </a:lnTo>
                    <a:lnTo>
                      <a:pt x="805" y="1027"/>
                    </a:lnTo>
                    <a:lnTo>
                      <a:pt x="837" y="1028"/>
                    </a:lnTo>
                    <a:lnTo>
                      <a:pt x="868" y="1028"/>
                    </a:lnTo>
                    <a:lnTo>
                      <a:pt x="901" y="1028"/>
                    </a:lnTo>
                    <a:lnTo>
                      <a:pt x="932" y="1027"/>
                    </a:lnTo>
                    <a:lnTo>
                      <a:pt x="962" y="1025"/>
                    </a:lnTo>
                    <a:lnTo>
                      <a:pt x="994" y="1023"/>
                    </a:lnTo>
                    <a:lnTo>
                      <a:pt x="1024" y="1019"/>
                    </a:lnTo>
                    <a:lnTo>
                      <a:pt x="1054" y="1015"/>
                    </a:lnTo>
                    <a:lnTo>
                      <a:pt x="1083" y="1011"/>
                    </a:lnTo>
                    <a:lnTo>
                      <a:pt x="1112" y="1005"/>
                    </a:lnTo>
                    <a:lnTo>
                      <a:pt x="1171" y="995"/>
                    </a:lnTo>
                    <a:lnTo>
                      <a:pt x="1227" y="981"/>
                    </a:lnTo>
                    <a:lnTo>
                      <a:pt x="1281" y="966"/>
                    </a:lnTo>
                    <a:lnTo>
                      <a:pt x="1334" y="950"/>
                    </a:lnTo>
                    <a:lnTo>
                      <a:pt x="1385" y="934"/>
                    </a:lnTo>
                    <a:lnTo>
                      <a:pt x="1434" y="917"/>
                    </a:lnTo>
                    <a:lnTo>
                      <a:pt x="1482" y="901"/>
                    </a:lnTo>
                    <a:lnTo>
                      <a:pt x="1527" y="885"/>
                    </a:lnTo>
                    <a:lnTo>
                      <a:pt x="1556" y="874"/>
                    </a:lnTo>
                    <a:lnTo>
                      <a:pt x="1586" y="863"/>
                    </a:lnTo>
                    <a:lnTo>
                      <a:pt x="1617" y="853"/>
                    </a:lnTo>
                    <a:lnTo>
                      <a:pt x="1647" y="844"/>
                    </a:lnTo>
                    <a:lnTo>
                      <a:pt x="1678" y="834"/>
                    </a:lnTo>
                    <a:lnTo>
                      <a:pt x="1708" y="825"/>
                    </a:lnTo>
                    <a:lnTo>
                      <a:pt x="1740" y="817"/>
                    </a:lnTo>
                    <a:lnTo>
                      <a:pt x="1771" y="809"/>
                    </a:lnTo>
                    <a:lnTo>
                      <a:pt x="1797" y="804"/>
                    </a:lnTo>
                    <a:lnTo>
                      <a:pt x="1823" y="799"/>
                    </a:lnTo>
                    <a:lnTo>
                      <a:pt x="1848" y="795"/>
                    </a:lnTo>
                    <a:lnTo>
                      <a:pt x="1872" y="792"/>
                    </a:lnTo>
                    <a:lnTo>
                      <a:pt x="1894" y="790"/>
                    </a:lnTo>
                    <a:lnTo>
                      <a:pt x="1916" y="788"/>
                    </a:lnTo>
                    <a:lnTo>
                      <a:pt x="1936" y="787"/>
                    </a:lnTo>
                    <a:lnTo>
                      <a:pt x="1957" y="787"/>
                    </a:lnTo>
                    <a:lnTo>
                      <a:pt x="1976" y="788"/>
                    </a:lnTo>
                    <a:lnTo>
                      <a:pt x="1995" y="790"/>
                    </a:lnTo>
                    <a:lnTo>
                      <a:pt x="2013" y="793"/>
                    </a:lnTo>
                    <a:lnTo>
                      <a:pt x="2030" y="796"/>
                    </a:lnTo>
                    <a:lnTo>
                      <a:pt x="2048" y="800"/>
                    </a:lnTo>
                    <a:lnTo>
                      <a:pt x="2064" y="805"/>
                    </a:lnTo>
                    <a:lnTo>
                      <a:pt x="2079" y="811"/>
                    </a:lnTo>
                    <a:lnTo>
                      <a:pt x="2094" y="818"/>
                    </a:lnTo>
                    <a:lnTo>
                      <a:pt x="2111" y="826"/>
                    </a:lnTo>
                    <a:lnTo>
                      <a:pt x="2126" y="835"/>
                    </a:lnTo>
                    <a:lnTo>
                      <a:pt x="2140" y="846"/>
                    </a:lnTo>
                    <a:lnTo>
                      <a:pt x="2153" y="855"/>
                    </a:lnTo>
                    <a:lnTo>
                      <a:pt x="2165" y="867"/>
                    </a:lnTo>
                    <a:lnTo>
                      <a:pt x="2176" y="878"/>
                    </a:lnTo>
                    <a:lnTo>
                      <a:pt x="2186" y="890"/>
                    </a:lnTo>
                    <a:lnTo>
                      <a:pt x="2194" y="902"/>
                    </a:lnTo>
                    <a:lnTo>
                      <a:pt x="2203" y="915"/>
                    </a:lnTo>
                    <a:lnTo>
                      <a:pt x="2210" y="927"/>
                    </a:lnTo>
                    <a:lnTo>
                      <a:pt x="2217" y="940"/>
                    </a:lnTo>
                    <a:lnTo>
                      <a:pt x="2222" y="951"/>
                    </a:lnTo>
                    <a:lnTo>
                      <a:pt x="2233" y="977"/>
                    </a:lnTo>
                    <a:lnTo>
                      <a:pt x="2243" y="1002"/>
                    </a:lnTo>
                    <a:lnTo>
                      <a:pt x="2249" y="1019"/>
                    </a:lnTo>
                    <a:lnTo>
                      <a:pt x="2257" y="1036"/>
                    </a:lnTo>
                    <a:lnTo>
                      <a:pt x="2264" y="1051"/>
                    </a:lnTo>
                    <a:lnTo>
                      <a:pt x="2271" y="1065"/>
                    </a:lnTo>
                    <a:lnTo>
                      <a:pt x="2280" y="1078"/>
                    </a:lnTo>
                    <a:lnTo>
                      <a:pt x="2289" y="1090"/>
                    </a:lnTo>
                    <a:lnTo>
                      <a:pt x="2294" y="1094"/>
                    </a:lnTo>
                    <a:lnTo>
                      <a:pt x="2300" y="1099"/>
                    </a:lnTo>
                    <a:lnTo>
                      <a:pt x="2306" y="1104"/>
                    </a:lnTo>
                    <a:lnTo>
                      <a:pt x="2312" y="1108"/>
                    </a:lnTo>
                    <a:lnTo>
                      <a:pt x="2338" y="1122"/>
                    </a:lnTo>
                    <a:lnTo>
                      <a:pt x="2362" y="1137"/>
                    </a:lnTo>
                    <a:lnTo>
                      <a:pt x="2384" y="1153"/>
                    </a:lnTo>
                    <a:lnTo>
                      <a:pt x="2406" y="1168"/>
                    </a:lnTo>
                    <a:lnTo>
                      <a:pt x="2427" y="1185"/>
                    </a:lnTo>
                    <a:lnTo>
                      <a:pt x="2445" y="1200"/>
                    </a:lnTo>
                    <a:lnTo>
                      <a:pt x="2463" y="1214"/>
                    </a:lnTo>
                    <a:lnTo>
                      <a:pt x="2479" y="1228"/>
                    </a:lnTo>
                    <a:lnTo>
                      <a:pt x="2487" y="1234"/>
                    </a:lnTo>
                    <a:lnTo>
                      <a:pt x="2498" y="1244"/>
                    </a:lnTo>
                    <a:lnTo>
                      <a:pt x="2508" y="1253"/>
                    </a:lnTo>
                    <a:lnTo>
                      <a:pt x="2517" y="1260"/>
                    </a:lnTo>
                    <a:lnTo>
                      <a:pt x="2525" y="1269"/>
                    </a:lnTo>
                    <a:lnTo>
                      <a:pt x="2540" y="1283"/>
                    </a:lnTo>
                    <a:lnTo>
                      <a:pt x="2552" y="1290"/>
                    </a:lnTo>
                    <a:lnTo>
                      <a:pt x="2556" y="1290"/>
                    </a:lnTo>
                    <a:lnTo>
                      <a:pt x="2562" y="1292"/>
                    </a:lnTo>
                    <a:lnTo>
                      <a:pt x="2565" y="1295"/>
                    </a:lnTo>
                    <a:lnTo>
                      <a:pt x="2567" y="1299"/>
                    </a:lnTo>
                    <a:lnTo>
                      <a:pt x="2568" y="1302"/>
                    </a:lnTo>
                    <a:lnTo>
                      <a:pt x="2568" y="1304"/>
                    </a:lnTo>
                    <a:lnTo>
                      <a:pt x="2567" y="1307"/>
                    </a:lnTo>
                    <a:lnTo>
                      <a:pt x="2566" y="1310"/>
                    </a:lnTo>
                    <a:lnTo>
                      <a:pt x="2563" y="1314"/>
                    </a:lnTo>
                    <a:lnTo>
                      <a:pt x="2557" y="1316"/>
                    </a:lnTo>
                    <a:lnTo>
                      <a:pt x="2554" y="1317"/>
                    </a:lnTo>
                    <a:lnTo>
                      <a:pt x="2551" y="13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8"/>
              <p:cNvSpPr>
                <a:spLocks/>
              </p:cNvSpPr>
              <p:nvPr userDrawn="1"/>
            </p:nvSpPr>
            <p:spPr bwMode="auto">
              <a:xfrm>
                <a:off x="1945" y="1347"/>
                <a:ext cx="864" cy="442"/>
              </a:xfrm>
              <a:custGeom>
                <a:avLst/>
                <a:gdLst>
                  <a:gd name="T0" fmla="*/ 2549 w 2590"/>
                  <a:gd name="T1" fmla="*/ 1316 h 1324"/>
                  <a:gd name="T2" fmla="*/ 2496 w 2590"/>
                  <a:gd name="T3" fmla="*/ 1280 h 1324"/>
                  <a:gd name="T4" fmla="*/ 2453 w 2590"/>
                  <a:gd name="T5" fmla="*/ 1250 h 1324"/>
                  <a:gd name="T6" fmla="*/ 2300 w 2590"/>
                  <a:gd name="T7" fmla="*/ 1155 h 1324"/>
                  <a:gd name="T8" fmla="*/ 2255 w 2590"/>
                  <a:gd name="T9" fmla="*/ 1113 h 1324"/>
                  <a:gd name="T10" fmla="*/ 2204 w 2590"/>
                  <a:gd name="T11" fmla="*/ 1030 h 1324"/>
                  <a:gd name="T12" fmla="*/ 2141 w 2590"/>
                  <a:gd name="T13" fmla="*/ 946 h 1324"/>
                  <a:gd name="T14" fmla="*/ 2078 w 2590"/>
                  <a:gd name="T15" fmla="*/ 902 h 1324"/>
                  <a:gd name="T16" fmla="*/ 2002 w 2590"/>
                  <a:gd name="T17" fmla="*/ 875 h 1324"/>
                  <a:gd name="T18" fmla="*/ 1914 w 2590"/>
                  <a:gd name="T19" fmla="*/ 866 h 1324"/>
                  <a:gd name="T20" fmla="*/ 1757 w 2590"/>
                  <a:gd name="T21" fmla="*/ 880 h 1324"/>
                  <a:gd name="T22" fmla="*/ 1602 w 2590"/>
                  <a:gd name="T23" fmla="*/ 915 h 1324"/>
                  <a:gd name="T24" fmla="*/ 1431 w 2590"/>
                  <a:gd name="T25" fmla="*/ 964 h 1324"/>
                  <a:gd name="T26" fmla="*/ 1170 w 2590"/>
                  <a:gd name="T27" fmla="*/ 1033 h 1324"/>
                  <a:gd name="T28" fmla="*/ 974 w 2590"/>
                  <a:gd name="T29" fmla="*/ 1063 h 1324"/>
                  <a:gd name="T30" fmla="*/ 828 w 2590"/>
                  <a:gd name="T31" fmla="*/ 1067 h 1324"/>
                  <a:gd name="T32" fmla="*/ 674 w 2590"/>
                  <a:gd name="T33" fmla="*/ 1053 h 1324"/>
                  <a:gd name="T34" fmla="*/ 551 w 2590"/>
                  <a:gd name="T35" fmla="*/ 1026 h 1324"/>
                  <a:gd name="T36" fmla="*/ 481 w 2590"/>
                  <a:gd name="T37" fmla="*/ 989 h 1324"/>
                  <a:gd name="T38" fmla="*/ 409 w 2590"/>
                  <a:gd name="T39" fmla="*/ 933 h 1324"/>
                  <a:gd name="T40" fmla="*/ 321 w 2590"/>
                  <a:gd name="T41" fmla="*/ 837 h 1324"/>
                  <a:gd name="T42" fmla="*/ 174 w 2590"/>
                  <a:gd name="T43" fmla="*/ 612 h 1324"/>
                  <a:gd name="T44" fmla="*/ 60 w 2590"/>
                  <a:gd name="T45" fmla="*/ 377 h 1324"/>
                  <a:gd name="T46" fmla="*/ 7 w 2590"/>
                  <a:gd name="T47" fmla="*/ 200 h 1324"/>
                  <a:gd name="T48" fmla="*/ 4 w 2590"/>
                  <a:gd name="T49" fmla="*/ 75 h 1324"/>
                  <a:gd name="T50" fmla="*/ 19 w 2590"/>
                  <a:gd name="T51" fmla="*/ 23 h 1324"/>
                  <a:gd name="T52" fmla="*/ 42 w 2590"/>
                  <a:gd name="T53" fmla="*/ 0 h 1324"/>
                  <a:gd name="T54" fmla="*/ 51 w 2590"/>
                  <a:gd name="T55" fmla="*/ 21 h 1324"/>
                  <a:gd name="T56" fmla="*/ 33 w 2590"/>
                  <a:gd name="T57" fmla="*/ 64 h 1324"/>
                  <a:gd name="T58" fmla="*/ 27 w 2590"/>
                  <a:gd name="T59" fmla="*/ 146 h 1324"/>
                  <a:gd name="T60" fmla="*/ 61 w 2590"/>
                  <a:gd name="T61" fmla="*/ 301 h 1324"/>
                  <a:gd name="T62" fmla="*/ 139 w 2590"/>
                  <a:gd name="T63" fmla="*/ 487 h 1324"/>
                  <a:gd name="T64" fmla="*/ 282 w 2590"/>
                  <a:gd name="T65" fmla="*/ 739 h 1324"/>
                  <a:gd name="T66" fmla="*/ 424 w 2590"/>
                  <a:gd name="T67" fmla="*/ 909 h 1324"/>
                  <a:gd name="T68" fmla="*/ 492 w 2590"/>
                  <a:gd name="T69" fmla="*/ 965 h 1324"/>
                  <a:gd name="T70" fmla="*/ 560 w 2590"/>
                  <a:gd name="T71" fmla="*/ 1000 h 1324"/>
                  <a:gd name="T72" fmla="*/ 680 w 2590"/>
                  <a:gd name="T73" fmla="*/ 1027 h 1324"/>
                  <a:gd name="T74" fmla="*/ 830 w 2590"/>
                  <a:gd name="T75" fmla="*/ 1040 h 1324"/>
                  <a:gd name="T76" fmla="*/ 973 w 2590"/>
                  <a:gd name="T77" fmla="*/ 1036 h 1324"/>
                  <a:gd name="T78" fmla="*/ 1167 w 2590"/>
                  <a:gd name="T79" fmla="*/ 1007 h 1324"/>
                  <a:gd name="T80" fmla="*/ 1424 w 2590"/>
                  <a:gd name="T81" fmla="*/ 938 h 1324"/>
                  <a:gd name="T82" fmla="*/ 1595 w 2590"/>
                  <a:gd name="T83" fmla="*/ 889 h 1324"/>
                  <a:gd name="T84" fmla="*/ 1752 w 2590"/>
                  <a:gd name="T85" fmla="*/ 853 h 1324"/>
                  <a:gd name="T86" fmla="*/ 1874 w 2590"/>
                  <a:gd name="T87" fmla="*/ 839 h 1324"/>
                  <a:gd name="T88" fmla="*/ 1974 w 2590"/>
                  <a:gd name="T89" fmla="*/ 842 h 1324"/>
                  <a:gd name="T90" fmla="*/ 2059 w 2590"/>
                  <a:gd name="T91" fmla="*/ 863 h 1324"/>
                  <a:gd name="T92" fmla="*/ 2135 w 2590"/>
                  <a:gd name="T93" fmla="*/ 905 h 1324"/>
                  <a:gd name="T94" fmla="*/ 2198 w 2590"/>
                  <a:gd name="T95" fmla="*/ 970 h 1324"/>
                  <a:gd name="T96" fmla="*/ 2257 w 2590"/>
                  <a:gd name="T97" fmla="*/ 1068 h 1324"/>
                  <a:gd name="T98" fmla="*/ 2308 w 2590"/>
                  <a:gd name="T99" fmla="*/ 1128 h 1324"/>
                  <a:gd name="T100" fmla="*/ 2469 w 2590"/>
                  <a:gd name="T101" fmla="*/ 1228 h 1324"/>
                  <a:gd name="T102" fmla="*/ 2511 w 2590"/>
                  <a:gd name="T103" fmla="*/ 1257 h 1324"/>
                  <a:gd name="T104" fmla="*/ 2557 w 2590"/>
                  <a:gd name="T105" fmla="*/ 1290 h 1324"/>
                  <a:gd name="T106" fmla="*/ 2587 w 2590"/>
                  <a:gd name="T107" fmla="*/ 1301 h 1324"/>
                  <a:gd name="T108" fmla="*/ 2581 w 2590"/>
                  <a:gd name="T109" fmla="*/ 1323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90" h="1324">
                    <a:moveTo>
                      <a:pt x="2571" y="1324"/>
                    </a:moveTo>
                    <a:lnTo>
                      <a:pt x="2566" y="1324"/>
                    </a:lnTo>
                    <a:lnTo>
                      <a:pt x="2561" y="1323"/>
                    </a:lnTo>
                    <a:lnTo>
                      <a:pt x="2555" y="1320"/>
                    </a:lnTo>
                    <a:lnTo>
                      <a:pt x="2549" y="1316"/>
                    </a:lnTo>
                    <a:lnTo>
                      <a:pt x="2536" y="1308"/>
                    </a:lnTo>
                    <a:lnTo>
                      <a:pt x="2520" y="1297"/>
                    </a:lnTo>
                    <a:lnTo>
                      <a:pt x="2513" y="1291"/>
                    </a:lnTo>
                    <a:lnTo>
                      <a:pt x="2504" y="1286"/>
                    </a:lnTo>
                    <a:lnTo>
                      <a:pt x="2496" y="1280"/>
                    </a:lnTo>
                    <a:lnTo>
                      <a:pt x="2487" y="1273"/>
                    </a:lnTo>
                    <a:lnTo>
                      <a:pt x="2479" y="1268"/>
                    </a:lnTo>
                    <a:lnTo>
                      <a:pt x="2470" y="1262"/>
                    </a:lnTo>
                    <a:lnTo>
                      <a:pt x="2461" y="1256"/>
                    </a:lnTo>
                    <a:lnTo>
                      <a:pt x="2453" y="1250"/>
                    </a:lnTo>
                    <a:lnTo>
                      <a:pt x="2421" y="1229"/>
                    </a:lnTo>
                    <a:lnTo>
                      <a:pt x="2387" y="1205"/>
                    </a:lnTo>
                    <a:lnTo>
                      <a:pt x="2349" y="1182"/>
                    </a:lnTo>
                    <a:lnTo>
                      <a:pt x="2309" y="1160"/>
                    </a:lnTo>
                    <a:lnTo>
                      <a:pt x="2300" y="1155"/>
                    </a:lnTo>
                    <a:lnTo>
                      <a:pt x="2293" y="1150"/>
                    </a:lnTo>
                    <a:lnTo>
                      <a:pt x="2286" y="1145"/>
                    </a:lnTo>
                    <a:lnTo>
                      <a:pt x="2279" y="1139"/>
                    </a:lnTo>
                    <a:lnTo>
                      <a:pt x="2267" y="1127"/>
                    </a:lnTo>
                    <a:lnTo>
                      <a:pt x="2255" y="1113"/>
                    </a:lnTo>
                    <a:lnTo>
                      <a:pt x="2244" y="1098"/>
                    </a:lnTo>
                    <a:lnTo>
                      <a:pt x="2235" y="1083"/>
                    </a:lnTo>
                    <a:lnTo>
                      <a:pt x="2226" y="1067"/>
                    </a:lnTo>
                    <a:lnTo>
                      <a:pt x="2216" y="1051"/>
                    </a:lnTo>
                    <a:lnTo>
                      <a:pt x="2204" y="1030"/>
                    </a:lnTo>
                    <a:lnTo>
                      <a:pt x="2191" y="1009"/>
                    </a:lnTo>
                    <a:lnTo>
                      <a:pt x="2176" y="987"/>
                    </a:lnTo>
                    <a:lnTo>
                      <a:pt x="2160" y="967"/>
                    </a:lnTo>
                    <a:lnTo>
                      <a:pt x="2151" y="956"/>
                    </a:lnTo>
                    <a:lnTo>
                      <a:pt x="2141" y="946"/>
                    </a:lnTo>
                    <a:lnTo>
                      <a:pt x="2130" y="936"/>
                    </a:lnTo>
                    <a:lnTo>
                      <a:pt x="2119" y="927"/>
                    </a:lnTo>
                    <a:lnTo>
                      <a:pt x="2106" y="918"/>
                    </a:lnTo>
                    <a:lnTo>
                      <a:pt x="2093" y="909"/>
                    </a:lnTo>
                    <a:lnTo>
                      <a:pt x="2078" y="902"/>
                    </a:lnTo>
                    <a:lnTo>
                      <a:pt x="2063" y="894"/>
                    </a:lnTo>
                    <a:lnTo>
                      <a:pt x="2048" y="889"/>
                    </a:lnTo>
                    <a:lnTo>
                      <a:pt x="2034" y="883"/>
                    </a:lnTo>
                    <a:lnTo>
                      <a:pt x="2019" y="879"/>
                    </a:lnTo>
                    <a:lnTo>
                      <a:pt x="2002" y="875"/>
                    </a:lnTo>
                    <a:lnTo>
                      <a:pt x="1986" y="872"/>
                    </a:lnTo>
                    <a:lnTo>
                      <a:pt x="1969" y="869"/>
                    </a:lnTo>
                    <a:lnTo>
                      <a:pt x="1952" y="867"/>
                    </a:lnTo>
                    <a:lnTo>
                      <a:pt x="1933" y="866"/>
                    </a:lnTo>
                    <a:lnTo>
                      <a:pt x="1914" y="866"/>
                    </a:lnTo>
                    <a:lnTo>
                      <a:pt x="1894" y="866"/>
                    </a:lnTo>
                    <a:lnTo>
                      <a:pt x="1873" y="866"/>
                    </a:lnTo>
                    <a:lnTo>
                      <a:pt x="1852" y="868"/>
                    </a:lnTo>
                    <a:lnTo>
                      <a:pt x="1806" y="873"/>
                    </a:lnTo>
                    <a:lnTo>
                      <a:pt x="1757" y="880"/>
                    </a:lnTo>
                    <a:lnTo>
                      <a:pt x="1726" y="886"/>
                    </a:lnTo>
                    <a:lnTo>
                      <a:pt x="1695" y="892"/>
                    </a:lnTo>
                    <a:lnTo>
                      <a:pt x="1663" y="899"/>
                    </a:lnTo>
                    <a:lnTo>
                      <a:pt x="1633" y="906"/>
                    </a:lnTo>
                    <a:lnTo>
                      <a:pt x="1602" y="915"/>
                    </a:lnTo>
                    <a:lnTo>
                      <a:pt x="1573" y="922"/>
                    </a:lnTo>
                    <a:lnTo>
                      <a:pt x="1542" y="931"/>
                    </a:lnTo>
                    <a:lnTo>
                      <a:pt x="1513" y="940"/>
                    </a:lnTo>
                    <a:lnTo>
                      <a:pt x="1481" y="950"/>
                    </a:lnTo>
                    <a:lnTo>
                      <a:pt x="1431" y="964"/>
                    </a:lnTo>
                    <a:lnTo>
                      <a:pt x="1380" y="980"/>
                    </a:lnTo>
                    <a:lnTo>
                      <a:pt x="1330" y="995"/>
                    </a:lnTo>
                    <a:lnTo>
                      <a:pt x="1277" y="1009"/>
                    </a:lnTo>
                    <a:lnTo>
                      <a:pt x="1224" y="1022"/>
                    </a:lnTo>
                    <a:lnTo>
                      <a:pt x="1170" y="1033"/>
                    </a:lnTo>
                    <a:lnTo>
                      <a:pt x="1116" y="1044"/>
                    </a:lnTo>
                    <a:lnTo>
                      <a:pt x="1060" y="1053"/>
                    </a:lnTo>
                    <a:lnTo>
                      <a:pt x="1032" y="1057"/>
                    </a:lnTo>
                    <a:lnTo>
                      <a:pt x="1004" y="1060"/>
                    </a:lnTo>
                    <a:lnTo>
                      <a:pt x="974" y="1063"/>
                    </a:lnTo>
                    <a:lnTo>
                      <a:pt x="945" y="1065"/>
                    </a:lnTo>
                    <a:lnTo>
                      <a:pt x="916" y="1067"/>
                    </a:lnTo>
                    <a:lnTo>
                      <a:pt x="887" y="1068"/>
                    </a:lnTo>
                    <a:lnTo>
                      <a:pt x="858" y="1068"/>
                    </a:lnTo>
                    <a:lnTo>
                      <a:pt x="828" y="1067"/>
                    </a:lnTo>
                    <a:lnTo>
                      <a:pt x="797" y="1066"/>
                    </a:lnTo>
                    <a:lnTo>
                      <a:pt x="767" y="1065"/>
                    </a:lnTo>
                    <a:lnTo>
                      <a:pt x="737" y="1062"/>
                    </a:lnTo>
                    <a:lnTo>
                      <a:pt x="706" y="1058"/>
                    </a:lnTo>
                    <a:lnTo>
                      <a:pt x="674" y="1053"/>
                    </a:lnTo>
                    <a:lnTo>
                      <a:pt x="643" y="1048"/>
                    </a:lnTo>
                    <a:lnTo>
                      <a:pt x="612" y="1042"/>
                    </a:lnTo>
                    <a:lnTo>
                      <a:pt x="580" y="1035"/>
                    </a:lnTo>
                    <a:lnTo>
                      <a:pt x="566" y="1030"/>
                    </a:lnTo>
                    <a:lnTo>
                      <a:pt x="551" y="1026"/>
                    </a:lnTo>
                    <a:lnTo>
                      <a:pt x="537" y="1021"/>
                    </a:lnTo>
                    <a:lnTo>
                      <a:pt x="523" y="1014"/>
                    </a:lnTo>
                    <a:lnTo>
                      <a:pt x="509" y="1007"/>
                    </a:lnTo>
                    <a:lnTo>
                      <a:pt x="495" y="999"/>
                    </a:lnTo>
                    <a:lnTo>
                      <a:pt x="481" y="989"/>
                    </a:lnTo>
                    <a:lnTo>
                      <a:pt x="466" y="980"/>
                    </a:lnTo>
                    <a:lnTo>
                      <a:pt x="452" y="970"/>
                    </a:lnTo>
                    <a:lnTo>
                      <a:pt x="438" y="958"/>
                    </a:lnTo>
                    <a:lnTo>
                      <a:pt x="423" y="946"/>
                    </a:lnTo>
                    <a:lnTo>
                      <a:pt x="409" y="933"/>
                    </a:lnTo>
                    <a:lnTo>
                      <a:pt x="395" y="919"/>
                    </a:lnTo>
                    <a:lnTo>
                      <a:pt x="379" y="904"/>
                    </a:lnTo>
                    <a:lnTo>
                      <a:pt x="365" y="889"/>
                    </a:lnTo>
                    <a:lnTo>
                      <a:pt x="350" y="873"/>
                    </a:lnTo>
                    <a:lnTo>
                      <a:pt x="321" y="837"/>
                    </a:lnTo>
                    <a:lnTo>
                      <a:pt x="292" y="799"/>
                    </a:lnTo>
                    <a:lnTo>
                      <a:pt x="263" y="757"/>
                    </a:lnTo>
                    <a:lnTo>
                      <a:pt x="234" y="712"/>
                    </a:lnTo>
                    <a:lnTo>
                      <a:pt x="203" y="663"/>
                    </a:lnTo>
                    <a:lnTo>
                      <a:pt x="174" y="612"/>
                    </a:lnTo>
                    <a:lnTo>
                      <a:pt x="144" y="557"/>
                    </a:lnTo>
                    <a:lnTo>
                      <a:pt x="115" y="499"/>
                    </a:lnTo>
                    <a:lnTo>
                      <a:pt x="94" y="458"/>
                    </a:lnTo>
                    <a:lnTo>
                      <a:pt x="76" y="417"/>
                    </a:lnTo>
                    <a:lnTo>
                      <a:pt x="60" y="377"/>
                    </a:lnTo>
                    <a:lnTo>
                      <a:pt x="46" y="339"/>
                    </a:lnTo>
                    <a:lnTo>
                      <a:pt x="33" y="303"/>
                    </a:lnTo>
                    <a:lnTo>
                      <a:pt x="22" y="267"/>
                    </a:lnTo>
                    <a:lnTo>
                      <a:pt x="14" y="233"/>
                    </a:lnTo>
                    <a:lnTo>
                      <a:pt x="7" y="200"/>
                    </a:lnTo>
                    <a:lnTo>
                      <a:pt x="3" y="169"/>
                    </a:lnTo>
                    <a:lnTo>
                      <a:pt x="0" y="140"/>
                    </a:lnTo>
                    <a:lnTo>
                      <a:pt x="0" y="113"/>
                    </a:lnTo>
                    <a:lnTo>
                      <a:pt x="1" y="87"/>
                    </a:lnTo>
                    <a:lnTo>
                      <a:pt x="4" y="75"/>
                    </a:lnTo>
                    <a:lnTo>
                      <a:pt x="6" y="63"/>
                    </a:lnTo>
                    <a:lnTo>
                      <a:pt x="8" y="52"/>
                    </a:lnTo>
                    <a:lnTo>
                      <a:pt x="11" y="41"/>
                    </a:lnTo>
                    <a:lnTo>
                      <a:pt x="14" y="32"/>
                    </a:lnTo>
                    <a:lnTo>
                      <a:pt x="19" y="23"/>
                    </a:lnTo>
                    <a:lnTo>
                      <a:pt x="24" y="14"/>
                    </a:lnTo>
                    <a:lnTo>
                      <a:pt x="28" y="6"/>
                    </a:lnTo>
                    <a:lnTo>
                      <a:pt x="33" y="2"/>
                    </a:lnTo>
                    <a:lnTo>
                      <a:pt x="37" y="0"/>
                    </a:lnTo>
                    <a:lnTo>
                      <a:pt x="42" y="0"/>
                    </a:lnTo>
                    <a:lnTo>
                      <a:pt x="48" y="3"/>
                    </a:lnTo>
                    <a:lnTo>
                      <a:pt x="51" y="6"/>
                    </a:lnTo>
                    <a:lnTo>
                      <a:pt x="53" y="11"/>
                    </a:lnTo>
                    <a:lnTo>
                      <a:pt x="53" y="17"/>
                    </a:lnTo>
                    <a:lnTo>
                      <a:pt x="51" y="21"/>
                    </a:lnTo>
                    <a:lnTo>
                      <a:pt x="47" y="28"/>
                    </a:lnTo>
                    <a:lnTo>
                      <a:pt x="42" y="36"/>
                    </a:lnTo>
                    <a:lnTo>
                      <a:pt x="38" y="45"/>
                    </a:lnTo>
                    <a:lnTo>
                      <a:pt x="35" y="54"/>
                    </a:lnTo>
                    <a:lnTo>
                      <a:pt x="33" y="64"/>
                    </a:lnTo>
                    <a:lnTo>
                      <a:pt x="31" y="74"/>
                    </a:lnTo>
                    <a:lnTo>
                      <a:pt x="28" y="85"/>
                    </a:lnTo>
                    <a:lnTo>
                      <a:pt x="27" y="95"/>
                    </a:lnTo>
                    <a:lnTo>
                      <a:pt x="26" y="120"/>
                    </a:lnTo>
                    <a:lnTo>
                      <a:pt x="27" y="146"/>
                    </a:lnTo>
                    <a:lnTo>
                      <a:pt x="31" y="173"/>
                    </a:lnTo>
                    <a:lnTo>
                      <a:pt x="35" y="202"/>
                    </a:lnTo>
                    <a:lnTo>
                      <a:pt x="41" y="234"/>
                    </a:lnTo>
                    <a:lnTo>
                      <a:pt x="50" y="266"/>
                    </a:lnTo>
                    <a:lnTo>
                      <a:pt x="61" y="301"/>
                    </a:lnTo>
                    <a:lnTo>
                      <a:pt x="73" y="335"/>
                    </a:lnTo>
                    <a:lnTo>
                      <a:pt x="87" y="372"/>
                    </a:lnTo>
                    <a:lnTo>
                      <a:pt x="102" y="410"/>
                    </a:lnTo>
                    <a:lnTo>
                      <a:pt x="119" y="448"/>
                    </a:lnTo>
                    <a:lnTo>
                      <a:pt x="139" y="487"/>
                    </a:lnTo>
                    <a:lnTo>
                      <a:pt x="168" y="544"/>
                    </a:lnTo>
                    <a:lnTo>
                      <a:pt x="197" y="597"/>
                    </a:lnTo>
                    <a:lnTo>
                      <a:pt x="225" y="648"/>
                    </a:lnTo>
                    <a:lnTo>
                      <a:pt x="254" y="695"/>
                    </a:lnTo>
                    <a:lnTo>
                      <a:pt x="282" y="739"/>
                    </a:lnTo>
                    <a:lnTo>
                      <a:pt x="311" y="780"/>
                    </a:lnTo>
                    <a:lnTo>
                      <a:pt x="339" y="817"/>
                    </a:lnTo>
                    <a:lnTo>
                      <a:pt x="368" y="851"/>
                    </a:lnTo>
                    <a:lnTo>
                      <a:pt x="396" y="882"/>
                    </a:lnTo>
                    <a:lnTo>
                      <a:pt x="424" y="909"/>
                    </a:lnTo>
                    <a:lnTo>
                      <a:pt x="437" y="922"/>
                    </a:lnTo>
                    <a:lnTo>
                      <a:pt x="451" y="934"/>
                    </a:lnTo>
                    <a:lnTo>
                      <a:pt x="465" y="945"/>
                    </a:lnTo>
                    <a:lnTo>
                      <a:pt x="479" y="956"/>
                    </a:lnTo>
                    <a:lnTo>
                      <a:pt x="492" y="965"/>
                    </a:lnTo>
                    <a:lnTo>
                      <a:pt x="506" y="974"/>
                    </a:lnTo>
                    <a:lnTo>
                      <a:pt x="519" y="982"/>
                    </a:lnTo>
                    <a:lnTo>
                      <a:pt x="533" y="988"/>
                    </a:lnTo>
                    <a:lnTo>
                      <a:pt x="546" y="995"/>
                    </a:lnTo>
                    <a:lnTo>
                      <a:pt x="560" y="1000"/>
                    </a:lnTo>
                    <a:lnTo>
                      <a:pt x="573" y="1004"/>
                    </a:lnTo>
                    <a:lnTo>
                      <a:pt x="586" y="1008"/>
                    </a:lnTo>
                    <a:lnTo>
                      <a:pt x="617" y="1015"/>
                    </a:lnTo>
                    <a:lnTo>
                      <a:pt x="648" y="1022"/>
                    </a:lnTo>
                    <a:lnTo>
                      <a:pt x="680" y="1027"/>
                    </a:lnTo>
                    <a:lnTo>
                      <a:pt x="710" y="1031"/>
                    </a:lnTo>
                    <a:lnTo>
                      <a:pt x="740" y="1035"/>
                    </a:lnTo>
                    <a:lnTo>
                      <a:pt x="770" y="1038"/>
                    </a:lnTo>
                    <a:lnTo>
                      <a:pt x="799" y="1039"/>
                    </a:lnTo>
                    <a:lnTo>
                      <a:pt x="830" y="1040"/>
                    </a:lnTo>
                    <a:lnTo>
                      <a:pt x="859" y="1041"/>
                    </a:lnTo>
                    <a:lnTo>
                      <a:pt x="888" y="1040"/>
                    </a:lnTo>
                    <a:lnTo>
                      <a:pt x="917" y="1040"/>
                    </a:lnTo>
                    <a:lnTo>
                      <a:pt x="945" y="1038"/>
                    </a:lnTo>
                    <a:lnTo>
                      <a:pt x="973" y="1036"/>
                    </a:lnTo>
                    <a:lnTo>
                      <a:pt x="1002" y="1033"/>
                    </a:lnTo>
                    <a:lnTo>
                      <a:pt x="1029" y="1030"/>
                    </a:lnTo>
                    <a:lnTo>
                      <a:pt x="1058" y="1026"/>
                    </a:lnTo>
                    <a:lnTo>
                      <a:pt x="1113" y="1017"/>
                    </a:lnTo>
                    <a:lnTo>
                      <a:pt x="1167" y="1007"/>
                    </a:lnTo>
                    <a:lnTo>
                      <a:pt x="1219" y="995"/>
                    </a:lnTo>
                    <a:lnTo>
                      <a:pt x="1272" y="982"/>
                    </a:lnTo>
                    <a:lnTo>
                      <a:pt x="1323" y="968"/>
                    </a:lnTo>
                    <a:lnTo>
                      <a:pt x="1374" y="954"/>
                    </a:lnTo>
                    <a:lnTo>
                      <a:pt x="1424" y="938"/>
                    </a:lnTo>
                    <a:lnTo>
                      <a:pt x="1472" y="924"/>
                    </a:lnTo>
                    <a:lnTo>
                      <a:pt x="1506" y="914"/>
                    </a:lnTo>
                    <a:lnTo>
                      <a:pt x="1535" y="905"/>
                    </a:lnTo>
                    <a:lnTo>
                      <a:pt x="1565" y="896"/>
                    </a:lnTo>
                    <a:lnTo>
                      <a:pt x="1595" y="889"/>
                    </a:lnTo>
                    <a:lnTo>
                      <a:pt x="1627" y="880"/>
                    </a:lnTo>
                    <a:lnTo>
                      <a:pt x="1658" y="873"/>
                    </a:lnTo>
                    <a:lnTo>
                      <a:pt x="1689" y="865"/>
                    </a:lnTo>
                    <a:lnTo>
                      <a:pt x="1721" y="859"/>
                    </a:lnTo>
                    <a:lnTo>
                      <a:pt x="1752" y="853"/>
                    </a:lnTo>
                    <a:lnTo>
                      <a:pt x="1779" y="849"/>
                    </a:lnTo>
                    <a:lnTo>
                      <a:pt x="1804" y="846"/>
                    </a:lnTo>
                    <a:lnTo>
                      <a:pt x="1827" y="842"/>
                    </a:lnTo>
                    <a:lnTo>
                      <a:pt x="1851" y="841"/>
                    </a:lnTo>
                    <a:lnTo>
                      <a:pt x="1874" y="839"/>
                    </a:lnTo>
                    <a:lnTo>
                      <a:pt x="1895" y="839"/>
                    </a:lnTo>
                    <a:lnTo>
                      <a:pt x="1916" y="839"/>
                    </a:lnTo>
                    <a:lnTo>
                      <a:pt x="1936" y="839"/>
                    </a:lnTo>
                    <a:lnTo>
                      <a:pt x="1956" y="840"/>
                    </a:lnTo>
                    <a:lnTo>
                      <a:pt x="1974" y="842"/>
                    </a:lnTo>
                    <a:lnTo>
                      <a:pt x="1993" y="846"/>
                    </a:lnTo>
                    <a:lnTo>
                      <a:pt x="2010" y="849"/>
                    </a:lnTo>
                    <a:lnTo>
                      <a:pt x="2026" y="853"/>
                    </a:lnTo>
                    <a:lnTo>
                      <a:pt x="2042" y="858"/>
                    </a:lnTo>
                    <a:lnTo>
                      <a:pt x="2059" y="863"/>
                    </a:lnTo>
                    <a:lnTo>
                      <a:pt x="2074" y="869"/>
                    </a:lnTo>
                    <a:lnTo>
                      <a:pt x="2091" y="878"/>
                    </a:lnTo>
                    <a:lnTo>
                      <a:pt x="2106" y="887"/>
                    </a:lnTo>
                    <a:lnTo>
                      <a:pt x="2121" y="895"/>
                    </a:lnTo>
                    <a:lnTo>
                      <a:pt x="2135" y="905"/>
                    </a:lnTo>
                    <a:lnTo>
                      <a:pt x="2147" y="915"/>
                    </a:lnTo>
                    <a:lnTo>
                      <a:pt x="2159" y="926"/>
                    </a:lnTo>
                    <a:lnTo>
                      <a:pt x="2170" y="936"/>
                    </a:lnTo>
                    <a:lnTo>
                      <a:pt x="2179" y="947"/>
                    </a:lnTo>
                    <a:lnTo>
                      <a:pt x="2198" y="970"/>
                    </a:lnTo>
                    <a:lnTo>
                      <a:pt x="2213" y="992"/>
                    </a:lnTo>
                    <a:lnTo>
                      <a:pt x="2227" y="1015"/>
                    </a:lnTo>
                    <a:lnTo>
                      <a:pt x="2240" y="1038"/>
                    </a:lnTo>
                    <a:lnTo>
                      <a:pt x="2249" y="1053"/>
                    </a:lnTo>
                    <a:lnTo>
                      <a:pt x="2257" y="1068"/>
                    </a:lnTo>
                    <a:lnTo>
                      <a:pt x="2266" y="1082"/>
                    </a:lnTo>
                    <a:lnTo>
                      <a:pt x="2276" y="1095"/>
                    </a:lnTo>
                    <a:lnTo>
                      <a:pt x="2285" y="1108"/>
                    </a:lnTo>
                    <a:lnTo>
                      <a:pt x="2296" y="1119"/>
                    </a:lnTo>
                    <a:lnTo>
                      <a:pt x="2308" y="1128"/>
                    </a:lnTo>
                    <a:lnTo>
                      <a:pt x="2322" y="1136"/>
                    </a:lnTo>
                    <a:lnTo>
                      <a:pt x="2363" y="1160"/>
                    </a:lnTo>
                    <a:lnTo>
                      <a:pt x="2401" y="1182"/>
                    </a:lnTo>
                    <a:lnTo>
                      <a:pt x="2435" y="1206"/>
                    </a:lnTo>
                    <a:lnTo>
                      <a:pt x="2469" y="1228"/>
                    </a:lnTo>
                    <a:lnTo>
                      <a:pt x="2477" y="1234"/>
                    </a:lnTo>
                    <a:lnTo>
                      <a:pt x="2485" y="1240"/>
                    </a:lnTo>
                    <a:lnTo>
                      <a:pt x="2494" y="1245"/>
                    </a:lnTo>
                    <a:lnTo>
                      <a:pt x="2502" y="1250"/>
                    </a:lnTo>
                    <a:lnTo>
                      <a:pt x="2511" y="1257"/>
                    </a:lnTo>
                    <a:lnTo>
                      <a:pt x="2521" y="1263"/>
                    </a:lnTo>
                    <a:lnTo>
                      <a:pt x="2528" y="1270"/>
                    </a:lnTo>
                    <a:lnTo>
                      <a:pt x="2536" y="1275"/>
                    </a:lnTo>
                    <a:lnTo>
                      <a:pt x="2547" y="1283"/>
                    </a:lnTo>
                    <a:lnTo>
                      <a:pt x="2557" y="1290"/>
                    </a:lnTo>
                    <a:lnTo>
                      <a:pt x="2566" y="1296"/>
                    </a:lnTo>
                    <a:lnTo>
                      <a:pt x="2572" y="1297"/>
                    </a:lnTo>
                    <a:lnTo>
                      <a:pt x="2578" y="1297"/>
                    </a:lnTo>
                    <a:lnTo>
                      <a:pt x="2582" y="1298"/>
                    </a:lnTo>
                    <a:lnTo>
                      <a:pt x="2587" y="1301"/>
                    </a:lnTo>
                    <a:lnTo>
                      <a:pt x="2589" y="1306"/>
                    </a:lnTo>
                    <a:lnTo>
                      <a:pt x="2590" y="1311"/>
                    </a:lnTo>
                    <a:lnTo>
                      <a:pt x="2589" y="1316"/>
                    </a:lnTo>
                    <a:lnTo>
                      <a:pt x="2585" y="1321"/>
                    </a:lnTo>
                    <a:lnTo>
                      <a:pt x="2581" y="1323"/>
                    </a:lnTo>
                    <a:lnTo>
                      <a:pt x="2576" y="1324"/>
                    </a:lnTo>
                    <a:lnTo>
                      <a:pt x="2571" y="13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9"/>
              <p:cNvSpPr>
                <a:spLocks/>
              </p:cNvSpPr>
              <p:nvPr userDrawn="1"/>
            </p:nvSpPr>
            <p:spPr bwMode="auto">
              <a:xfrm>
                <a:off x="1964" y="1320"/>
                <a:ext cx="871" cy="444"/>
              </a:xfrm>
              <a:custGeom>
                <a:avLst/>
                <a:gdLst>
                  <a:gd name="T0" fmla="*/ 2567 w 2614"/>
                  <a:gd name="T1" fmla="*/ 1324 h 1331"/>
                  <a:gd name="T2" fmla="*/ 2488 w 2614"/>
                  <a:gd name="T3" fmla="*/ 1283 h 1331"/>
                  <a:gd name="T4" fmla="*/ 2381 w 2614"/>
                  <a:gd name="T5" fmla="*/ 1221 h 1331"/>
                  <a:gd name="T6" fmla="*/ 2276 w 2614"/>
                  <a:gd name="T7" fmla="*/ 1159 h 1331"/>
                  <a:gd name="T8" fmla="*/ 2185 w 2614"/>
                  <a:gd name="T9" fmla="*/ 1052 h 1331"/>
                  <a:gd name="T10" fmla="*/ 2115 w 2614"/>
                  <a:gd name="T11" fmla="*/ 986 h 1331"/>
                  <a:gd name="T12" fmla="*/ 2043 w 2614"/>
                  <a:gd name="T13" fmla="*/ 947 h 1331"/>
                  <a:gd name="T14" fmla="*/ 1966 w 2614"/>
                  <a:gd name="T15" fmla="*/ 924 h 1331"/>
                  <a:gd name="T16" fmla="*/ 1874 w 2614"/>
                  <a:gd name="T17" fmla="*/ 916 h 1331"/>
                  <a:gd name="T18" fmla="*/ 1705 w 2614"/>
                  <a:gd name="T19" fmla="*/ 928 h 1331"/>
                  <a:gd name="T20" fmla="*/ 1549 w 2614"/>
                  <a:gd name="T21" fmla="*/ 957 h 1331"/>
                  <a:gd name="T22" fmla="*/ 1431 w 2614"/>
                  <a:gd name="T23" fmla="*/ 985 h 1331"/>
                  <a:gd name="T24" fmla="*/ 1217 w 2614"/>
                  <a:gd name="T25" fmla="*/ 1036 h 1331"/>
                  <a:gd name="T26" fmla="*/ 957 w 2614"/>
                  <a:gd name="T27" fmla="*/ 1074 h 1331"/>
                  <a:gd name="T28" fmla="*/ 792 w 2614"/>
                  <a:gd name="T29" fmla="*/ 1078 h 1331"/>
                  <a:gd name="T30" fmla="*/ 649 w 2614"/>
                  <a:gd name="T31" fmla="*/ 1064 h 1331"/>
                  <a:gd name="T32" fmla="*/ 523 w 2614"/>
                  <a:gd name="T33" fmla="*/ 1032 h 1331"/>
                  <a:gd name="T34" fmla="*/ 430 w 2614"/>
                  <a:gd name="T35" fmla="*/ 975 h 1331"/>
                  <a:gd name="T36" fmla="*/ 345 w 2614"/>
                  <a:gd name="T37" fmla="*/ 891 h 1331"/>
                  <a:gd name="T38" fmla="*/ 253 w 2614"/>
                  <a:gd name="T39" fmla="*/ 769 h 1331"/>
                  <a:gd name="T40" fmla="*/ 137 w 2614"/>
                  <a:gd name="T41" fmla="*/ 567 h 1331"/>
                  <a:gd name="T42" fmla="*/ 49 w 2614"/>
                  <a:gd name="T43" fmla="*/ 365 h 1331"/>
                  <a:gd name="T44" fmla="*/ 5 w 2614"/>
                  <a:gd name="T45" fmla="*/ 188 h 1331"/>
                  <a:gd name="T46" fmla="*/ 2 w 2614"/>
                  <a:gd name="T47" fmla="*/ 104 h 1331"/>
                  <a:gd name="T48" fmla="*/ 19 w 2614"/>
                  <a:gd name="T49" fmla="*/ 31 h 1331"/>
                  <a:gd name="T50" fmla="*/ 47 w 2614"/>
                  <a:gd name="T51" fmla="*/ 0 h 1331"/>
                  <a:gd name="T52" fmla="*/ 56 w 2614"/>
                  <a:gd name="T53" fmla="*/ 21 h 1331"/>
                  <a:gd name="T54" fmla="*/ 35 w 2614"/>
                  <a:gd name="T55" fmla="*/ 64 h 1331"/>
                  <a:gd name="T56" fmla="*/ 27 w 2614"/>
                  <a:gd name="T57" fmla="*/ 146 h 1331"/>
                  <a:gd name="T58" fmla="*/ 57 w 2614"/>
                  <a:gd name="T59" fmla="*/ 300 h 1331"/>
                  <a:gd name="T60" fmla="*/ 130 w 2614"/>
                  <a:gd name="T61" fmla="*/ 493 h 1331"/>
                  <a:gd name="T62" fmla="*/ 222 w 2614"/>
                  <a:gd name="T63" fmla="*/ 669 h 1331"/>
                  <a:gd name="T64" fmla="*/ 330 w 2614"/>
                  <a:gd name="T65" fmla="*/ 832 h 1331"/>
                  <a:gd name="T66" fmla="*/ 410 w 2614"/>
                  <a:gd name="T67" fmla="*/ 921 h 1331"/>
                  <a:gd name="T68" fmla="*/ 496 w 2614"/>
                  <a:gd name="T69" fmla="*/ 989 h 1331"/>
                  <a:gd name="T70" fmla="*/ 597 w 2614"/>
                  <a:gd name="T71" fmla="*/ 1026 h 1331"/>
                  <a:gd name="T72" fmla="*/ 738 w 2614"/>
                  <a:gd name="T73" fmla="*/ 1047 h 1331"/>
                  <a:gd name="T74" fmla="*/ 873 w 2614"/>
                  <a:gd name="T75" fmla="*/ 1053 h 1331"/>
                  <a:gd name="T76" fmla="*/ 1107 w 2614"/>
                  <a:gd name="T77" fmla="*/ 1029 h 1331"/>
                  <a:gd name="T78" fmla="*/ 1356 w 2614"/>
                  <a:gd name="T79" fmla="*/ 976 h 1331"/>
                  <a:gd name="T80" fmla="*/ 1486 w 2614"/>
                  <a:gd name="T81" fmla="*/ 944 h 1331"/>
                  <a:gd name="T82" fmla="*/ 1636 w 2614"/>
                  <a:gd name="T83" fmla="*/ 911 h 1331"/>
                  <a:gd name="T84" fmla="*/ 1832 w 2614"/>
                  <a:gd name="T85" fmla="*/ 890 h 1331"/>
                  <a:gd name="T86" fmla="*/ 1935 w 2614"/>
                  <a:gd name="T87" fmla="*/ 893 h 1331"/>
                  <a:gd name="T88" fmla="*/ 2023 w 2614"/>
                  <a:gd name="T89" fmla="*/ 910 h 1331"/>
                  <a:gd name="T90" fmla="*/ 2103 w 2614"/>
                  <a:gd name="T91" fmla="*/ 946 h 1331"/>
                  <a:gd name="T92" fmla="*/ 2165 w 2614"/>
                  <a:gd name="T93" fmla="*/ 992 h 1331"/>
                  <a:gd name="T94" fmla="*/ 2259 w 2614"/>
                  <a:gd name="T95" fmla="*/ 1101 h 1331"/>
                  <a:gd name="T96" fmla="*/ 2332 w 2614"/>
                  <a:gd name="T97" fmla="*/ 1165 h 1331"/>
                  <a:gd name="T98" fmla="*/ 2467 w 2614"/>
                  <a:gd name="T99" fmla="*/ 1240 h 1331"/>
                  <a:gd name="T100" fmla="*/ 2546 w 2614"/>
                  <a:gd name="T101" fmla="*/ 1283 h 1331"/>
                  <a:gd name="T102" fmla="*/ 2593 w 2614"/>
                  <a:gd name="T103" fmla="*/ 1304 h 1331"/>
                  <a:gd name="T104" fmla="*/ 2614 w 2614"/>
                  <a:gd name="T105" fmla="*/ 1312 h 1331"/>
                  <a:gd name="T106" fmla="*/ 2600 w 2614"/>
                  <a:gd name="T107" fmla="*/ 1330 h 1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14" h="1331">
                    <a:moveTo>
                      <a:pt x="2593" y="1331"/>
                    </a:moveTo>
                    <a:lnTo>
                      <a:pt x="2588" y="1330"/>
                    </a:lnTo>
                    <a:lnTo>
                      <a:pt x="2581" y="1329"/>
                    </a:lnTo>
                    <a:lnTo>
                      <a:pt x="2574" y="1327"/>
                    </a:lnTo>
                    <a:lnTo>
                      <a:pt x="2567" y="1324"/>
                    </a:lnTo>
                    <a:lnTo>
                      <a:pt x="2551" y="1316"/>
                    </a:lnTo>
                    <a:lnTo>
                      <a:pt x="2533" y="1307"/>
                    </a:lnTo>
                    <a:lnTo>
                      <a:pt x="2520" y="1299"/>
                    </a:lnTo>
                    <a:lnTo>
                      <a:pt x="2505" y="1291"/>
                    </a:lnTo>
                    <a:lnTo>
                      <a:pt x="2488" y="1283"/>
                    </a:lnTo>
                    <a:lnTo>
                      <a:pt x="2471" y="1273"/>
                    </a:lnTo>
                    <a:lnTo>
                      <a:pt x="2454" y="1263"/>
                    </a:lnTo>
                    <a:lnTo>
                      <a:pt x="2435" y="1253"/>
                    </a:lnTo>
                    <a:lnTo>
                      <a:pt x="2410" y="1237"/>
                    </a:lnTo>
                    <a:lnTo>
                      <a:pt x="2381" y="1221"/>
                    </a:lnTo>
                    <a:lnTo>
                      <a:pt x="2351" y="1205"/>
                    </a:lnTo>
                    <a:lnTo>
                      <a:pt x="2320" y="1189"/>
                    </a:lnTo>
                    <a:lnTo>
                      <a:pt x="2304" y="1180"/>
                    </a:lnTo>
                    <a:lnTo>
                      <a:pt x="2289" y="1169"/>
                    </a:lnTo>
                    <a:lnTo>
                      <a:pt x="2276" y="1159"/>
                    </a:lnTo>
                    <a:lnTo>
                      <a:pt x="2263" y="1146"/>
                    </a:lnTo>
                    <a:lnTo>
                      <a:pt x="2239" y="1119"/>
                    </a:lnTo>
                    <a:lnTo>
                      <a:pt x="2216" y="1091"/>
                    </a:lnTo>
                    <a:lnTo>
                      <a:pt x="2201" y="1071"/>
                    </a:lnTo>
                    <a:lnTo>
                      <a:pt x="2185" y="1052"/>
                    </a:lnTo>
                    <a:lnTo>
                      <a:pt x="2168" y="1032"/>
                    </a:lnTo>
                    <a:lnTo>
                      <a:pt x="2148" y="1013"/>
                    </a:lnTo>
                    <a:lnTo>
                      <a:pt x="2137" y="1004"/>
                    </a:lnTo>
                    <a:lnTo>
                      <a:pt x="2127" y="995"/>
                    </a:lnTo>
                    <a:lnTo>
                      <a:pt x="2115" y="986"/>
                    </a:lnTo>
                    <a:lnTo>
                      <a:pt x="2102" y="977"/>
                    </a:lnTo>
                    <a:lnTo>
                      <a:pt x="2089" y="969"/>
                    </a:lnTo>
                    <a:lnTo>
                      <a:pt x="2075" y="961"/>
                    </a:lnTo>
                    <a:lnTo>
                      <a:pt x="2060" y="954"/>
                    </a:lnTo>
                    <a:lnTo>
                      <a:pt x="2043" y="947"/>
                    </a:lnTo>
                    <a:lnTo>
                      <a:pt x="2029" y="942"/>
                    </a:lnTo>
                    <a:lnTo>
                      <a:pt x="2014" y="936"/>
                    </a:lnTo>
                    <a:lnTo>
                      <a:pt x="1998" y="932"/>
                    </a:lnTo>
                    <a:lnTo>
                      <a:pt x="1983" y="928"/>
                    </a:lnTo>
                    <a:lnTo>
                      <a:pt x="1966" y="924"/>
                    </a:lnTo>
                    <a:lnTo>
                      <a:pt x="1948" y="922"/>
                    </a:lnTo>
                    <a:lnTo>
                      <a:pt x="1931" y="920"/>
                    </a:lnTo>
                    <a:lnTo>
                      <a:pt x="1913" y="918"/>
                    </a:lnTo>
                    <a:lnTo>
                      <a:pt x="1893" y="917"/>
                    </a:lnTo>
                    <a:lnTo>
                      <a:pt x="1874" y="916"/>
                    </a:lnTo>
                    <a:lnTo>
                      <a:pt x="1853" y="916"/>
                    </a:lnTo>
                    <a:lnTo>
                      <a:pt x="1832" y="917"/>
                    </a:lnTo>
                    <a:lnTo>
                      <a:pt x="1786" y="919"/>
                    </a:lnTo>
                    <a:lnTo>
                      <a:pt x="1738" y="923"/>
                    </a:lnTo>
                    <a:lnTo>
                      <a:pt x="1705" y="928"/>
                    </a:lnTo>
                    <a:lnTo>
                      <a:pt x="1672" y="933"/>
                    </a:lnTo>
                    <a:lnTo>
                      <a:pt x="1641" y="938"/>
                    </a:lnTo>
                    <a:lnTo>
                      <a:pt x="1609" y="944"/>
                    </a:lnTo>
                    <a:lnTo>
                      <a:pt x="1578" y="950"/>
                    </a:lnTo>
                    <a:lnTo>
                      <a:pt x="1549" y="957"/>
                    </a:lnTo>
                    <a:lnTo>
                      <a:pt x="1520" y="963"/>
                    </a:lnTo>
                    <a:lnTo>
                      <a:pt x="1493" y="970"/>
                    </a:lnTo>
                    <a:lnTo>
                      <a:pt x="1472" y="975"/>
                    </a:lnTo>
                    <a:lnTo>
                      <a:pt x="1452" y="979"/>
                    </a:lnTo>
                    <a:lnTo>
                      <a:pt x="1431" y="985"/>
                    </a:lnTo>
                    <a:lnTo>
                      <a:pt x="1411" y="990"/>
                    </a:lnTo>
                    <a:lnTo>
                      <a:pt x="1364" y="1002"/>
                    </a:lnTo>
                    <a:lnTo>
                      <a:pt x="1316" y="1013"/>
                    </a:lnTo>
                    <a:lnTo>
                      <a:pt x="1267" y="1025"/>
                    </a:lnTo>
                    <a:lnTo>
                      <a:pt x="1217" y="1036"/>
                    </a:lnTo>
                    <a:lnTo>
                      <a:pt x="1167" y="1046"/>
                    </a:lnTo>
                    <a:lnTo>
                      <a:pt x="1116" y="1055"/>
                    </a:lnTo>
                    <a:lnTo>
                      <a:pt x="1063" y="1064"/>
                    </a:lnTo>
                    <a:lnTo>
                      <a:pt x="1011" y="1070"/>
                    </a:lnTo>
                    <a:lnTo>
                      <a:pt x="957" y="1074"/>
                    </a:lnTo>
                    <a:lnTo>
                      <a:pt x="903" y="1078"/>
                    </a:lnTo>
                    <a:lnTo>
                      <a:pt x="875" y="1079"/>
                    </a:lnTo>
                    <a:lnTo>
                      <a:pt x="848" y="1079"/>
                    </a:lnTo>
                    <a:lnTo>
                      <a:pt x="820" y="1079"/>
                    </a:lnTo>
                    <a:lnTo>
                      <a:pt x="792" y="1078"/>
                    </a:lnTo>
                    <a:lnTo>
                      <a:pt x="764" y="1077"/>
                    </a:lnTo>
                    <a:lnTo>
                      <a:pt x="736" y="1074"/>
                    </a:lnTo>
                    <a:lnTo>
                      <a:pt x="707" y="1071"/>
                    </a:lnTo>
                    <a:lnTo>
                      <a:pt x="679" y="1068"/>
                    </a:lnTo>
                    <a:lnTo>
                      <a:pt x="649" y="1064"/>
                    </a:lnTo>
                    <a:lnTo>
                      <a:pt x="620" y="1058"/>
                    </a:lnTo>
                    <a:lnTo>
                      <a:pt x="591" y="1053"/>
                    </a:lnTo>
                    <a:lnTo>
                      <a:pt x="561" y="1045"/>
                    </a:lnTo>
                    <a:lnTo>
                      <a:pt x="543" y="1040"/>
                    </a:lnTo>
                    <a:lnTo>
                      <a:pt x="523" y="1032"/>
                    </a:lnTo>
                    <a:lnTo>
                      <a:pt x="504" y="1024"/>
                    </a:lnTo>
                    <a:lnTo>
                      <a:pt x="485" y="1014"/>
                    </a:lnTo>
                    <a:lnTo>
                      <a:pt x="467" y="1002"/>
                    </a:lnTo>
                    <a:lnTo>
                      <a:pt x="449" y="989"/>
                    </a:lnTo>
                    <a:lnTo>
                      <a:pt x="430" y="975"/>
                    </a:lnTo>
                    <a:lnTo>
                      <a:pt x="413" y="960"/>
                    </a:lnTo>
                    <a:lnTo>
                      <a:pt x="395" y="944"/>
                    </a:lnTo>
                    <a:lnTo>
                      <a:pt x="378" y="927"/>
                    </a:lnTo>
                    <a:lnTo>
                      <a:pt x="361" y="909"/>
                    </a:lnTo>
                    <a:lnTo>
                      <a:pt x="345" y="891"/>
                    </a:lnTo>
                    <a:lnTo>
                      <a:pt x="328" y="872"/>
                    </a:lnTo>
                    <a:lnTo>
                      <a:pt x="313" y="852"/>
                    </a:lnTo>
                    <a:lnTo>
                      <a:pt x="296" y="832"/>
                    </a:lnTo>
                    <a:lnTo>
                      <a:pt x="281" y="811"/>
                    </a:lnTo>
                    <a:lnTo>
                      <a:pt x="253" y="769"/>
                    </a:lnTo>
                    <a:lnTo>
                      <a:pt x="225" y="726"/>
                    </a:lnTo>
                    <a:lnTo>
                      <a:pt x="200" y="684"/>
                    </a:lnTo>
                    <a:lnTo>
                      <a:pt x="176" y="643"/>
                    </a:lnTo>
                    <a:lnTo>
                      <a:pt x="156" y="604"/>
                    </a:lnTo>
                    <a:lnTo>
                      <a:pt x="137" y="567"/>
                    </a:lnTo>
                    <a:lnTo>
                      <a:pt x="120" y="534"/>
                    </a:lnTo>
                    <a:lnTo>
                      <a:pt x="106" y="505"/>
                    </a:lnTo>
                    <a:lnTo>
                      <a:pt x="85" y="456"/>
                    </a:lnTo>
                    <a:lnTo>
                      <a:pt x="61" y="398"/>
                    </a:lnTo>
                    <a:lnTo>
                      <a:pt x="49" y="365"/>
                    </a:lnTo>
                    <a:lnTo>
                      <a:pt x="38" y="331"/>
                    </a:lnTo>
                    <a:lnTo>
                      <a:pt x="27" y="296"/>
                    </a:lnTo>
                    <a:lnTo>
                      <a:pt x="18" y="259"/>
                    </a:lnTo>
                    <a:lnTo>
                      <a:pt x="10" y="224"/>
                    </a:lnTo>
                    <a:lnTo>
                      <a:pt x="5" y="188"/>
                    </a:lnTo>
                    <a:lnTo>
                      <a:pt x="3" y="171"/>
                    </a:lnTo>
                    <a:lnTo>
                      <a:pt x="2" y="154"/>
                    </a:lnTo>
                    <a:lnTo>
                      <a:pt x="0" y="136"/>
                    </a:lnTo>
                    <a:lnTo>
                      <a:pt x="0" y="120"/>
                    </a:lnTo>
                    <a:lnTo>
                      <a:pt x="2" y="104"/>
                    </a:lnTo>
                    <a:lnTo>
                      <a:pt x="4" y="88"/>
                    </a:lnTo>
                    <a:lnTo>
                      <a:pt x="6" y="73"/>
                    </a:lnTo>
                    <a:lnTo>
                      <a:pt x="9" y="58"/>
                    </a:lnTo>
                    <a:lnTo>
                      <a:pt x="13" y="44"/>
                    </a:lnTo>
                    <a:lnTo>
                      <a:pt x="19" y="31"/>
                    </a:lnTo>
                    <a:lnTo>
                      <a:pt x="25" y="18"/>
                    </a:lnTo>
                    <a:lnTo>
                      <a:pt x="33" y="6"/>
                    </a:lnTo>
                    <a:lnTo>
                      <a:pt x="37" y="1"/>
                    </a:lnTo>
                    <a:lnTo>
                      <a:pt x="41" y="0"/>
                    </a:lnTo>
                    <a:lnTo>
                      <a:pt x="47" y="0"/>
                    </a:lnTo>
                    <a:lnTo>
                      <a:pt x="52" y="3"/>
                    </a:lnTo>
                    <a:lnTo>
                      <a:pt x="56" y="6"/>
                    </a:lnTo>
                    <a:lnTo>
                      <a:pt x="58" y="11"/>
                    </a:lnTo>
                    <a:lnTo>
                      <a:pt x="58" y="17"/>
                    </a:lnTo>
                    <a:lnTo>
                      <a:pt x="56" y="21"/>
                    </a:lnTo>
                    <a:lnTo>
                      <a:pt x="50" y="28"/>
                    </a:lnTo>
                    <a:lnTo>
                      <a:pt x="46" y="37"/>
                    </a:lnTo>
                    <a:lnTo>
                      <a:pt x="41" y="46"/>
                    </a:lnTo>
                    <a:lnTo>
                      <a:pt x="38" y="54"/>
                    </a:lnTo>
                    <a:lnTo>
                      <a:pt x="35" y="64"/>
                    </a:lnTo>
                    <a:lnTo>
                      <a:pt x="33" y="75"/>
                    </a:lnTo>
                    <a:lnTo>
                      <a:pt x="31" y="86"/>
                    </a:lnTo>
                    <a:lnTo>
                      <a:pt x="30" y="96"/>
                    </a:lnTo>
                    <a:lnTo>
                      <a:pt x="27" y="120"/>
                    </a:lnTo>
                    <a:lnTo>
                      <a:pt x="27" y="146"/>
                    </a:lnTo>
                    <a:lnTo>
                      <a:pt x="30" y="174"/>
                    </a:lnTo>
                    <a:lnTo>
                      <a:pt x="34" y="203"/>
                    </a:lnTo>
                    <a:lnTo>
                      <a:pt x="39" y="235"/>
                    </a:lnTo>
                    <a:lnTo>
                      <a:pt x="47" y="267"/>
                    </a:lnTo>
                    <a:lnTo>
                      <a:pt x="57" y="300"/>
                    </a:lnTo>
                    <a:lnTo>
                      <a:pt x="67" y="336"/>
                    </a:lnTo>
                    <a:lnTo>
                      <a:pt x="80" y="374"/>
                    </a:lnTo>
                    <a:lnTo>
                      <a:pt x="95" y="412"/>
                    </a:lnTo>
                    <a:lnTo>
                      <a:pt x="112" y="452"/>
                    </a:lnTo>
                    <a:lnTo>
                      <a:pt x="130" y="493"/>
                    </a:lnTo>
                    <a:lnTo>
                      <a:pt x="144" y="522"/>
                    </a:lnTo>
                    <a:lnTo>
                      <a:pt x="160" y="554"/>
                    </a:lnTo>
                    <a:lnTo>
                      <a:pt x="179" y="590"/>
                    </a:lnTo>
                    <a:lnTo>
                      <a:pt x="199" y="629"/>
                    </a:lnTo>
                    <a:lnTo>
                      <a:pt x="222" y="669"/>
                    </a:lnTo>
                    <a:lnTo>
                      <a:pt x="247" y="710"/>
                    </a:lnTo>
                    <a:lnTo>
                      <a:pt x="273" y="751"/>
                    </a:lnTo>
                    <a:lnTo>
                      <a:pt x="301" y="792"/>
                    </a:lnTo>
                    <a:lnTo>
                      <a:pt x="316" y="812"/>
                    </a:lnTo>
                    <a:lnTo>
                      <a:pt x="330" y="832"/>
                    </a:lnTo>
                    <a:lnTo>
                      <a:pt x="346" y="851"/>
                    </a:lnTo>
                    <a:lnTo>
                      <a:pt x="361" y="869"/>
                    </a:lnTo>
                    <a:lnTo>
                      <a:pt x="377" y="888"/>
                    </a:lnTo>
                    <a:lnTo>
                      <a:pt x="394" y="905"/>
                    </a:lnTo>
                    <a:lnTo>
                      <a:pt x="410" y="921"/>
                    </a:lnTo>
                    <a:lnTo>
                      <a:pt x="426" y="937"/>
                    </a:lnTo>
                    <a:lnTo>
                      <a:pt x="443" y="951"/>
                    </a:lnTo>
                    <a:lnTo>
                      <a:pt x="460" y="965"/>
                    </a:lnTo>
                    <a:lnTo>
                      <a:pt x="478" y="977"/>
                    </a:lnTo>
                    <a:lnTo>
                      <a:pt x="496" y="989"/>
                    </a:lnTo>
                    <a:lnTo>
                      <a:pt x="513" y="999"/>
                    </a:lnTo>
                    <a:lnTo>
                      <a:pt x="532" y="1008"/>
                    </a:lnTo>
                    <a:lnTo>
                      <a:pt x="549" y="1014"/>
                    </a:lnTo>
                    <a:lnTo>
                      <a:pt x="567" y="1019"/>
                    </a:lnTo>
                    <a:lnTo>
                      <a:pt x="597" y="1026"/>
                    </a:lnTo>
                    <a:lnTo>
                      <a:pt x="626" y="1031"/>
                    </a:lnTo>
                    <a:lnTo>
                      <a:pt x="654" y="1037"/>
                    </a:lnTo>
                    <a:lnTo>
                      <a:pt x="682" y="1041"/>
                    </a:lnTo>
                    <a:lnTo>
                      <a:pt x="710" y="1044"/>
                    </a:lnTo>
                    <a:lnTo>
                      <a:pt x="738" y="1047"/>
                    </a:lnTo>
                    <a:lnTo>
                      <a:pt x="765" y="1050"/>
                    </a:lnTo>
                    <a:lnTo>
                      <a:pt x="792" y="1052"/>
                    </a:lnTo>
                    <a:lnTo>
                      <a:pt x="820" y="1053"/>
                    </a:lnTo>
                    <a:lnTo>
                      <a:pt x="847" y="1053"/>
                    </a:lnTo>
                    <a:lnTo>
                      <a:pt x="873" y="1053"/>
                    </a:lnTo>
                    <a:lnTo>
                      <a:pt x="900" y="1052"/>
                    </a:lnTo>
                    <a:lnTo>
                      <a:pt x="953" y="1049"/>
                    </a:lnTo>
                    <a:lnTo>
                      <a:pt x="1005" y="1044"/>
                    </a:lnTo>
                    <a:lnTo>
                      <a:pt x="1057" y="1038"/>
                    </a:lnTo>
                    <a:lnTo>
                      <a:pt x="1107" y="1029"/>
                    </a:lnTo>
                    <a:lnTo>
                      <a:pt x="1158" y="1020"/>
                    </a:lnTo>
                    <a:lnTo>
                      <a:pt x="1208" y="1010"/>
                    </a:lnTo>
                    <a:lnTo>
                      <a:pt x="1257" y="999"/>
                    </a:lnTo>
                    <a:lnTo>
                      <a:pt x="1307" y="988"/>
                    </a:lnTo>
                    <a:lnTo>
                      <a:pt x="1356" y="976"/>
                    </a:lnTo>
                    <a:lnTo>
                      <a:pt x="1404" y="963"/>
                    </a:lnTo>
                    <a:lnTo>
                      <a:pt x="1425" y="959"/>
                    </a:lnTo>
                    <a:lnTo>
                      <a:pt x="1445" y="954"/>
                    </a:lnTo>
                    <a:lnTo>
                      <a:pt x="1466" y="948"/>
                    </a:lnTo>
                    <a:lnTo>
                      <a:pt x="1486" y="944"/>
                    </a:lnTo>
                    <a:lnTo>
                      <a:pt x="1514" y="937"/>
                    </a:lnTo>
                    <a:lnTo>
                      <a:pt x="1544" y="931"/>
                    </a:lnTo>
                    <a:lnTo>
                      <a:pt x="1573" y="924"/>
                    </a:lnTo>
                    <a:lnTo>
                      <a:pt x="1604" y="918"/>
                    </a:lnTo>
                    <a:lnTo>
                      <a:pt x="1636" y="911"/>
                    </a:lnTo>
                    <a:lnTo>
                      <a:pt x="1669" y="906"/>
                    </a:lnTo>
                    <a:lnTo>
                      <a:pt x="1701" y="901"/>
                    </a:lnTo>
                    <a:lnTo>
                      <a:pt x="1735" y="897"/>
                    </a:lnTo>
                    <a:lnTo>
                      <a:pt x="1785" y="892"/>
                    </a:lnTo>
                    <a:lnTo>
                      <a:pt x="1832" y="890"/>
                    </a:lnTo>
                    <a:lnTo>
                      <a:pt x="1854" y="889"/>
                    </a:lnTo>
                    <a:lnTo>
                      <a:pt x="1876" y="889"/>
                    </a:lnTo>
                    <a:lnTo>
                      <a:pt x="1897" y="890"/>
                    </a:lnTo>
                    <a:lnTo>
                      <a:pt x="1916" y="891"/>
                    </a:lnTo>
                    <a:lnTo>
                      <a:pt x="1935" y="893"/>
                    </a:lnTo>
                    <a:lnTo>
                      <a:pt x="1954" y="895"/>
                    </a:lnTo>
                    <a:lnTo>
                      <a:pt x="1972" y="899"/>
                    </a:lnTo>
                    <a:lnTo>
                      <a:pt x="1989" y="902"/>
                    </a:lnTo>
                    <a:lnTo>
                      <a:pt x="2007" y="906"/>
                    </a:lnTo>
                    <a:lnTo>
                      <a:pt x="2023" y="910"/>
                    </a:lnTo>
                    <a:lnTo>
                      <a:pt x="2038" y="916"/>
                    </a:lnTo>
                    <a:lnTo>
                      <a:pt x="2054" y="922"/>
                    </a:lnTo>
                    <a:lnTo>
                      <a:pt x="2072" y="929"/>
                    </a:lnTo>
                    <a:lnTo>
                      <a:pt x="2088" y="937"/>
                    </a:lnTo>
                    <a:lnTo>
                      <a:pt x="2103" y="946"/>
                    </a:lnTo>
                    <a:lnTo>
                      <a:pt x="2117" y="955"/>
                    </a:lnTo>
                    <a:lnTo>
                      <a:pt x="2130" y="963"/>
                    </a:lnTo>
                    <a:lnTo>
                      <a:pt x="2143" y="973"/>
                    </a:lnTo>
                    <a:lnTo>
                      <a:pt x="2155" y="983"/>
                    </a:lnTo>
                    <a:lnTo>
                      <a:pt x="2165" y="992"/>
                    </a:lnTo>
                    <a:lnTo>
                      <a:pt x="2186" y="1013"/>
                    </a:lnTo>
                    <a:lnTo>
                      <a:pt x="2204" y="1033"/>
                    </a:lnTo>
                    <a:lnTo>
                      <a:pt x="2222" y="1054"/>
                    </a:lnTo>
                    <a:lnTo>
                      <a:pt x="2237" y="1073"/>
                    </a:lnTo>
                    <a:lnTo>
                      <a:pt x="2259" y="1101"/>
                    </a:lnTo>
                    <a:lnTo>
                      <a:pt x="2281" y="1126"/>
                    </a:lnTo>
                    <a:lnTo>
                      <a:pt x="2293" y="1137"/>
                    </a:lnTo>
                    <a:lnTo>
                      <a:pt x="2305" y="1148"/>
                    </a:lnTo>
                    <a:lnTo>
                      <a:pt x="2318" y="1157"/>
                    </a:lnTo>
                    <a:lnTo>
                      <a:pt x="2332" y="1165"/>
                    </a:lnTo>
                    <a:lnTo>
                      <a:pt x="2364" y="1181"/>
                    </a:lnTo>
                    <a:lnTo>
                      <a:pt x="2394" y="1198"/>
                    </a:lnTo>
                    <a:lnTo>
                      <a:pt x="2422" y="1214"/>
                    </a:lnTo>
                    <a:lnTo>
                      <a:pt x="2449" y="1229"/>
                    </a:lnTo>
                    <a:lnTo>
                      <a:pt x="2467" y="1240"/>
                    </a:lnTo>
                    <a:lnTo>
                      <a:pt x="2484" y="1249"/>
                    </a:lnTo>
                    <a:lnTo>
                      <a:pt x="2501" y="1259"/>
                    </a:lnTo>
                    <a:lnTo>
                      <a:pt x="2517" y="1268"/>
                    </a:lnTo>
                    <a:lnTo>
                      <a:pt x="2532" y="1275"/>
                    </a:lnTo>
                    <a:lnTo>
                      <a:pt x="2546" y="1283"/>
                    </a:lnTo>
                    <a:lnTo>
                      <a:pt x="2562" y="1291"/>
                    </a:lnTo>
                    <a:lnTo>
                      <a:pt x="2577" y="1299"/>
                    </a:lnTo>
                    <a:lnTo>
                      <a:pt x="2582" y="1301"/>
                    </a:lnTo>
                    <a:lnTo>
                      <a:pt x="2588" y="1303"/>
                    </a:lnTo>
                    <a:lnTo>
                      <a:pt x="2593" y="1304"/>
                    </a:lnTo>
                    <a:lnTo>
                      <a:pt x="2596" y="1303"/>
                    </a:lnTo>
                    <a:lnTo>
                      <a:pt x="2602" y="1303"/>
                    </a:lnTo>
                    <a:lnTo>
                      <a:pt x="2606" y="1304"/>
                    </a:lnTo>
                    <a:lnTo>
                      <a:pt x="2610" y="1308"/>
                    </a:lnTo>
                    <a:lnTo>
                      <a:pt x="2614" y="1312"/>
                    </a:lnTo>
                    <a:lnTo>
                      <a:pt x="2614" y="1317"/>
                    </a:lnTo>
                    <a:lnTo>
                      <a:pt x="2613" y="1323"/>
                    </a:lnTo>
                    <a:lnTo>
                      <a:pt x="2609" y="1327"/>
                    </a:lnTo>
                    <a:lnTo>
                      <a:pt x="2605" y="1329"/>
                    </a:lnTo>
                    <a:lnTo>
                      <a:pt x="2600" y="1330"/>
                    </a:lnTo>
                    <a:lnTo>
                      <a:pt x="2593" y="1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50"/>
              <p:cNvSpPr>
                <a:spLocks/>
              </p:cNvSpPr>
              <p:nvPr userDrawn="1"/>
            </p:nvSpPr>
            <p:spPr bwMode="auto">
              <a:xfrm>
                <a:off x="1983" y="1293"/>
                <a:ext cx="878" cy="446"/>
              </a:xfrm>
              <a:custGeom>
                <a:avLst/>
                <a:gdLst>
                  <a:gd name="T0" fmla="*/ 2588 w 2635"/>
                  <a:gd name="T1" fmla="*/ 1335 h 1338"/>
                  <a:gd name="T2" fmla="*/ 2521 w 2635"/>
                  <a:gd name="T3" fmla="*/ 1310 h 1338"/>
                  <a:gd name="T4" fmla="*/ 2407 w 2635"/>
                  <a:gd name="T5" fmla="*/ 1256 h 1338"/>
                  <a:gd name="T6" fmla="*/ 2329 w 2635"/>
                  <a:gd name="T7" fmla="*/ 1218 h 1338"/>
                  <a:gd name="T8" fmla="*/ 2268 w 2635"/>
                  <a:gd name="T9" fmla="*/ 1179 h 1338"/>
                  <a:gd name="T10" fmla="*/ 2178 w 2635"/>
                  <a:gd name="T11" fmla="*/ 1095 h 1338"/>
                  <a:gd name="T12" fmla="*/ 2085 w 2635"/>
                  <a:gd name="T13" fmla="*/ 1028 h 1338"/>
                  <a:gd name="T14" fmla="*/ 2023 w 2635"/>
                  <a:gd name="T15" fmla="*/ 999 h 1338"/>
                  <a:gd name="T16" fmla="*/ 1961 w 2635"/>
                  <a:gd name="T17" fmla="*/ 981 h 1338"/>
                  <a:gd name="T18" fmla="*/ 1809 w 2635"/>
                  <a:gd name="T19" fmla="*/ 965 h 1338"/>
                  <a:gd name="T20" fmla="*/ 1661 w 2635"/>
                  <a:gd name="T21" fmla="*/ 972 h 1338"/>
                  <a:gd name="T22" fmla="*/ 1539 w 2635"/>
                  <a:gd name="T23" fmla="*/ 988 h 1338"/>
                  <a:gd name="T24" fmla="*/ 1403 w 2635"/>
                  <a:gd name="T25" fmla="*/ 1013 h 1338"/>
                  <a:gd name="T26" fmla="*/ 1245 w 2635"/>
                  <a:gd name="T27" fmla="*/ 1044 h 1338"/>
                  <a:gd name="T28" fmla="*/ 1054 w 2635"/>
                  <a:gd name="T29" fmla="*/ 1076 h 1338"/>
                  <a:gd name="T30" fmla="*/ 856 w 2635"/>
                  <a:gd name="T31" fmla="*/ 1091 h 1338"/>
                  <a:gd name="T32" fmla="*/ 701 w 2635"/>
                  <a:gd name="T33" fmla="*/ 1084 h 1338"/>
                  <a:gd name="T34" fmla="*/ 596 w 2635"/>
                  <a:gd name="T35" fmla="*/ 1069 h 1338"/>
                  <a:gd name="T36" fmla="*/ 508 w 2635"/>
                  <a:gd name="T37" fmla="*/ 1046 h 1338"/>
                  <a:gd name="T38" fmla="*/ 443 w 2635"/>
                  <a:gd name="T39" fmla="*/ 1011 h 1338"/>
                  <a:gd name="T40" fmla="*/ 381 w 2635"/>
                  <a:gd name="T41" fmla="*/ 957 h 1338"/>
                  <a:gd name="T42" fmla="*/ 319 w 2635"/>
                  <a:gd name="T43" fmla="*/ 890 h 1338"/>
                  <a:gd name="T44" fmla="*/ 234 w 2635"/>
                  <a:gd name="T45" fmla="*/ 771 h 1338"/>
                  <a:gd name="T46" fmla="*/ 136 w 2635"/>
                  <a:gd name="T47" fmla="*/ 595 h 1338"/>
                  <a:gd name="T48" fmla="*/ 70 w 2635"/>
                  <a:gd name="T49" fmla="*/ 444 h 1338"/>
                  <a:gd name="T50" fmla="*/ 24 w 2635"/>
                  <a:gd name="T51" fmla="*/ 306 h 1338"/>
                  <a:gd name="T52" fmla="*/ 1 w 2635"/>
                  <a:gd name="T53" fmla="*/ 170 h 1338"/>
                  <a:gd name="T54" fmla="*/ 1 w 2635"/>
                  <a:gd name="T55" fmla="*/ 108 h 1338"/>
                  <a:gd name="T56" fmla="*/ 13 w 2635"/>
                  <a:gd name="T57" fmla="*/ 52 h 1338"/>
                  <a:gd name="T58" fmla="*/ 35 w 2635"/>
                  <a:gd name="T59" fmla="*/ 6 h 1338"/>
                  <a:gd name="T60" fmla="*/ 55 w 2635"/>
                  <a:gd name="T61" fmla="*/ 3 h 1338"/>
                  <a:gd name="T62" fmla="*/ 58 w 2635"/>
                  <a:gd name="T63" fmla="*/ 21 h 1338"/>
                  <a:gd name="T64" fmla="*/ 36 w 2635"/>
                  <a:gd name="T65" fmla="*/ 64 h 1338"/>
                  <a:gd name="T66" fmla="*/ 27 w 2635"/>
                  <a:gd name="T67" fmla="*/ 116 h 1338"/>
                  <a:gd name="T68" fmla="*/ 28 w 2635"/>
                  <a:gd name="T69" fmla="*/ 174 h 1338"/>
                  <a:gd name="T70" fmla="*/ 51 w 2635"/>
                  <a:gd name="T71" fmla="*/ 304 h 1338"/>
                  <a:gd name="T72" fmla="*/ 95 w 2635"/>
                  <a:gd name="T73" fmla="*/ 435 h 1338"/>
                  <a:gd name="T74" fmla="*/ 159 w 2635"/>
                  <a:gd name="T75" fmla="*/ 583 h 1338"/>
                  <a:gd name="T76" fmla="*/ 254 w 2635"/>
                  <a:gd name="T77" fmla="*/ 753 h 1338"/>
                  <a:gd name="T78" fmla="*/ 366 w 2635"/>
                  <a:gd name="T79" fmla="*/ 903 h 1338"/>
                  <a:gd name="T80" fmla="*/ 425 w 2635"/>
                  <a:gd name="T81" fmla="*/ 962 h 1338"/>
                  <a:gd name="T82" fmla="*/ 486 w 2635"/>
                  <a:gd name="T83" fmla="*/ 1005 h 1338"/>
                  <a:gd name="T84" fmla="*/ 547 w 2635"/>
                  <a:gd name="T85" fmla="*/ 1030 h 1338"/>
                  <a:gd name="T86" fmla="*/ 653 w 2635"/>
                  <a:gd name="T87" fmla="*/ 1051 h 1338"/>
                  <a:gd name="T88" fmla="*/ 755 w 2635"/>
                  <a:gd name="T89" fmla="*/ 1061 h 1338"/>
                  <a:gd name="T90" fmla="*/ 955 w 2635"/>
                  <a:gd name="T91" fmla="*/ 1059 h 1338"/>
                  <a:gd name="T92" fmla="*/ 1146 w 2635"/>
                  <a:gd name="T93" fmla="*/ 1034 h 1338"/>
                  <a:gd name="T94" fmla="*/ 1333 w 2635"/>
                  <a:gd name="T95" fmla="*/ 999 h 1338"/>
                  <a:gd name="T96" fmla="*/ 1465 w 2635"/>
                  <a:gd name="T97" fmla="*/ 974 h 1338"/>
                  <a:gd name="T98" fmla="*/ 1600 w 2635"/>
                  <a:gd name="T99" fmla="*/ 952 h 1338"/>
                  <a:gd name="T100" fmla="*/ 1715 w 2635"/>
                  <a:gd name="T101" fmla="*/ 941 h 1338"/>
                  <a:gd name="T102" fmla="*/ 1894 w 2635"/>
                  <a:gd name="T103" fmla="*/ 943 h 1338"/>
                  <a:gd name="T104" fmla="*/ 2000 w 2635"/>
                  <a:gd name="T105" fmla="*/ 963 h 1338"/>
                  <a:gd name="T106" fmla="*/ 2066 w 2635"/>
                  <a:gd name="T107" fmla="*/ 988 h 1338"/>
                  <a:gd name="T108" fmla="*/ 2151 w 2635"/>
                  <a:gd name="T109" fmla="*/ 1038 h 1338"/>
                  <a:gd name="T110" fmla="*/ 2234 w 2635"/>
                  <a:gd name="T111" fmla="*/ 1111 h 1338"/>
                  <a:gd name="T112" fmla="*/ 2311 w 2635"/>
                  <a:gd name="T113" fmla="*/ 1177 h 1338"/>
                  <a:gd name="T114" fmla="*/ 2381 w 2635"/>
                  <a:gd name="T115" fmla="*/ 1213 h 1338"/>
                  <a:gd name="T116" fmla="*/ 2478 w 2635"/>
                  <a:gd name="T117" fmla="*/ 1261 h 1338"/>
                  <a:gd name="T118" fmla="*/ 2571 w 2635"/>
                  <a:gd name="T119" fmla="*/ 1300 h 1338"/>
                  <a:gd name="T120" fmla="*/ 2613 w 2635"/>
                  <a:gd name="T121" fmla="*/ 1311 h 1338"/>
                  <a:gd name="T122" fmla="*/ 2632 w 2635"/>
                  <a:gd name="T123" fmla="*/ 1314 h 1338"/>
                  <a:gd name="T124" fmla="*/ 2631 w 2635"/>
                  <a:gd name="T125" fmla="*/ 1334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5" h="1338">
                    <a:moveTo>
                      <a:pt x="2612" y="1338"/>
                    </a:moveTo>
                    <a:lnTo>
                      <a:pt x="2604" y="1338"/>
                    </a:lnTo>
                    <a:lnTo>
                      <a:pt x="2597" y="1337"/>
                    </a:lnTo>
                    <a:lnTo>
                      <a:pt x="2588" y="1335"/>
                    </a:lnTo>
                    <a:lnTo>
                      <a:pt x="2579" y="1332"/>
                    </a:lnTo>
                    <a:lnTo>
                      <a:pt x="2560" y="1325"/>
                    </a:lnTo>
                    <a:lnTo>
                      <a:pt x="2536" y="1316"/>
                    </a:lnTo>
                    <a:lnTo>
                      <a:pt x="2521" y="1310"/>
                    </a:lnTo>
                    <a:lnTo>
                      <a:pt x="2494" y="1298"/>
                    </a:lnTo>
                    <a:lnTo>
                      <a:pt x="2466" y="1285"/>
                    </a:lnTo>
                    <a:lnTo>
                      <a:pt x="2437" y="1271"/>
                    </a:lnTo>
                    <a:lnTo>
                      <a:pt x="2407" y="1256"/>
                    </a:lnTo>
                    <a:lnTo>
                      <a:pt x="2387" y="1247"/>
                    </a:lnTo>
                    <a:lnTo>
                      <a:pt x="2369" y="1237"/>
                    </a:lnTo>
                    <a:lnTo>
                      <a:pt x="2349" y="1228"/>
                    </a:lnTo>
                    <a:lnTo>
                      <a:pt x="2329" y="1218"/>
                    </a:lnTo>
                    <a:lnTo>
                      <a:pt x="2313" y="1209"/>
                    </a:lnTo>
                    <a:lnTo>
                      <a:pt x="2297" y="1200"/>
                    </a:lnTo>
                    <a:lnTo>
                      <a:pt x="2282" y="1190"/>
                    </a:lnTo>
                    <a:lnTo>
                      <a:pt x="2268" y="1179"/>
                    </a:lnTo>
                    <a:lnTo>
                      <a:pt x="2241" y="1155"/>
                    </a:lnTo>
                    <a:lnTo>
                      <a:pt x="2215" y="1131"/>
                    </a:lnTo>
                    <a:lnTo>
                      <a:pt x="2197" y="1113"/>
                    </a:lnTo>
                    <a:lnTo>
                      <a:pt x="2178" y="1095"/>
                    </a:lnTo>
                    <a:lnTo>
                      <a:pt x="2157" y="1078"/>
                    </a:lnTo>
                    <a:lnTo>
                      <a:pt x="2135" y="1060"/>
                    </a:lnTo>
                    <a:lnTo>
                      <a:pt x="2111" y="1043"/>
                    </a:lnTo>
                    <a:lnTo>
                      <a:pt x="2085" y="1028"/>
                    </a:lnTo>
                    <a:lnTo>
                      <a:pt x="2070" y="1020"/>
                    </a:lnTo>
                    <a:lnTo>
                      <a:pt x="2056" y="1013"/>
                    </a:lnTo>
                    <a:lnTo>
                      <a:pt x="2039" y="1005"/>
                    </a:lnTo>
                    <a:lnTo>
                      <a:pt x="2023" y="999"/>
                    </a:lnTo>
                    <a:lnTo>
                      <a:pt x="2008" y="995"/>
                    </a:lnTo>
                    <a:lnTo>
                      <a:pt x="1993" y="989"/>
                    </a:lnTo>
                    <a:lnTo>
                      <a:pt x="1977" y="985"/>
                    </a:lnTo>
                    <a:lnTo>
                      <a:pt x="1961" y="981"/>
                    </a:lnTo>
                    <a:lnTo>
                      <a:pt x="1926" y="974"/>
                    </a:lnTo>
                    <a:lnTo>
                      <a:pt x="1889" y="970"/>
                    </a:lnTo>
                    <a:lnTo>
                      <a:pt x="1850" y="966"/>
                    </a:lnTo>
                    <a:lnTo>
                      <a:pt x="1809" y="965"/>
                    </a:lnTo>
                    <a:lnTo>
                      <a:pt x="1764" y="965"/>
                    </a:lnTo>
                    <a:lnTo>
                      <a:pt x="1717" y="968"/>
                    </a:lnTo>
                    <a:lnTo>
                      <a:pt x="1690" y="970"/>
                    </a:lnTo>
                    <a:lnTo>
                      <a:pt x="1661" y="972"/>
                    </a:lnTo>
                    <a:lnTo>
                      <a:pt x="1632" y="975"/>
                    </a:lnTo>
                    <a:lnTo>
                      <a:pt x="1603" y="978"/>
                    </a:lnTo>
                    <a:lnTo>
                      <a:pt x="1572" y="983"/>
                    </a:lnTo>
                    <a:lnTo>
                      <a:pt x="1539" y="988"/>
                    </a:lnTo>
                    <a:lnTo>
                      <a:pt x="1505" y="993"/>
                    </a:lnTo>
                    <a:lnTo>
                      <a:pt x="1469" y="1000"/>
                    </a:lnTo>
                    <a:lnTo>
                      <a:pt x="1437" y="1006"/>
                    </a:lnTo>
                    <a:lnTo>
                      <a:pt x="1403" y="1013"/>
                    </a:lnTo>
                    <a:lnTo>
                      <a:pt x="1371" y="1019"/>
                    </a:lnTo>
                    <a:lnTo>
                      <a:pt x="1339" y="1026"/>
                    </a:lnTo>
                    <a:lnTo>
                      <a:pt x="1291" y="1036"/>
                    </a:lnTo>
                    <a:lnTo>
                      <a:pt x="1245" y="1044"/>
                    </a:lnTo>
                    <a:lnTo>
                      <a:pt x="1197" y="1053"/>
                    </a:lnTo>
                    <a:lnTo>
                      <a:pt x="1150" y="1061"/>
                    </a:lnTo>
                    <a:lnTo>
                      <a:pt x="1102" y="1069"/>
                    </a:lnTo>
                    <a:lnTo>
                      <a:pt x="1054" y="1076"/>
                    </a:lnTo>
                    <a:lnTo>
                      <a:pt x="1005" y="1082"/>
                    </a:lnTo>
                    <a:lnTo>
                      <a:pt x="955" y="1086"/>
                    </a:lnTo>
                    <a:lnTo>
                      <a:pt x="906" y="1090"/>
                    </a:lnTo>
                    <a:lnTo>
                      <a:pt x="856" y="1091"/>
                    </a:lnTo>
                    <a:lnTo>
                      <a:pt x="805" y="1091"/>
                    </a:lnTo>
                    <a:lnTo>
                      <a:pt x="753" y="1088"/>
                    </a:lnTo>
                    <a:lnTo>
                      <a:pt x="727" y="1086"/>
                    </a:lnTo>
                    <a:lnTo>
                      <a:pt x="701" y="1084"/>
                    </a:lnTo>
                    <a:lnTo>
                      <a:pt x="674" y="1081"/>
                    </a:lnTo>
                    <a:lnTo>
                      <a:pt x="649" y="1078"/>
                    </a:lnTo>
                    <a:lnTo>
                      <a:pt x="622" y="1073"/>
                    </a:lnTo>
                    <a:lnTo>
                      <a:pt x="596" y="1069"/>
                    </a:lnTo>
                    <a:lnTo>
                      <a:pt x="569" y="1064"/>
                    </a:lnTo>
                    <a:lnTo>
                      <a:pt x="541" y="1057"/>
                    </a:lnTo>
                    <a:lnTo>
                      <a:pt x="524" y="1053"/>
                    </a:lnTo>
                    <a:lnTo>
                      <a:pt x="508" y="1046"/>
                    </a:lnTo>
                    <a:lnTo>
                      <a:pt x="492" y="1039"/>
                    </a:lnTo>
                    <a:lnTo>
                      <a:pt x="476" y="1030"/>
                    </a:lnTo>
                    <a:lnTo>
                      <a:pt x="460" y="1020"/>
                    </a:lnTo>
                    <a:lnTo>
                      <a:pt x="443" y="1011"/>
                    </a:lnTo>
                    <a:lnTo>
                      <a:pt x="428" y="999"/>
                    </a:lnTo>
                    <a:lnTo>
                      <a:pt x="412" y="986"/>
                    </a:lnTo>
                    <a:lnTo>
                      <a:pt x="396" y="972"/>
                    </a:lnTo>
                    <a:lnTo>
                      <a:pt x="381" y="957"/>
                    </a:lnTo>
                    <a:lnTo>
                      <a:pt x="365" y="942"/>
                    </a:lnTo>
                    <a:lnTo>
                      <a:pt x="349" y="924"/>
                    </a:lnTo>
                    <a:lnTo>
                      <a:pt x="334" y="908"/>
                    </a:lnTo>
                    <a:lnTo>
                      <a:pt x="319" y="890"/>
                    </a:lnTo>
                    <a:lnTo>
                      <a:pt x="304" y="871"/>
                    </a:lnTo>
                    <a:lnTo>
                      <a:pt x="290" y="852"/>
                    </a:lnTo>
                    <a:lnTo>
                      <a:pt x="261" y="812"/>
                    </a:lnTo>
                    <a:lnTo>
                      <a:pt x="234" y="771"/>
                    </a:lnTo>
                    <a:lnTo>
                      <a:pt x="207" y="728"/>
                    </a:lnTo>
                    <a:lnTo>
                      <a:pt x="182" y="684"/>
                    </a:lnTo>
                    <a:lnTo>
                      <a:pt x="158" y="639"/>
                    </a:lnTo>
                    <a:lnTo>
                      <a:pt x="136" y="595"/>
                    </a:lnTo>
                    <a:lnTo>
                      <a:pt x="115" y="552"/>
                    </a:lnTo>
                    <a:lnTo>
                      <a:pt x="96" y="509"/>
                    </a:lnTo>
                    <a:lnTo>
                      <a:pt x="83" y="476"/>
                    </a:lnTo>
                    <a:lnTo>
                      <a:pt x="70" y="444"/>
                    </a:lnTo>
                    <a:lnTo>
                      <a:pt x="57" y="409"/>
                    </a:lnTo>
                    <a:lnTo>
                      <a:pt x="45" y="375"/>
                    </a:lnTo>
                    <a:lnTo>
                      <a:pt x="34" y="340"/>
                    </a:lnTo>
                    <a:lnTo>
                      <a:pt x="24" y="306"/>
                    </a:lnTo>
                    <a:lnTo>
                      <a:pt x="16" y="270"/>
                    </a:lnTo>
                    <a:lnTo>
                      <a:pt x="8" y="237"/>
                    </a:lnTo>
                    <a:lnTo>
                      <a:pt x="4" y="202"/>
                    </a:lnTo>
                    <a:lnTo>
                      <a:pt x="1" y="170"/>
                    </a:lnTo>
                    <a:lnTo>
                      <a:pt x="0" y="154"/>
                    </a:lnTo>
                    <a:lnTo>
                      <a:pt x="0" y="139"/>
                    </a:lnTo>
                    <a:lnTo>
                      <a:pt x="0" y="122"/>
                    </a:lnTo>
                    <a:lnTo>
                      <a:pt x="1" y="108"/>
                    </a:lnTo>
                    <a:lnTo>
                      <a:pt x="3" y="93"/>
                    </a:lnTo>
                    <a:lnTo>
                      <a:pt x="5" y="79"/>
                    </a:lnTo>
                    <a:lnTo>
                      <a:pt x="8" y="65"/>
                    </a:lnTo>
                    <a:lnTo>
                      <a:pt x="13" y="52"/>
                    </a:lnTo>
                    <a:lnTo>
                      <a:pt x="17" y="40"/>
                    </a:lnTo>
                    <a:lnTo>
                      <a:pt x="22" y="27"/>
                    </a:lnTo>
                    <a:lnTo>
                      <a:pt x="29" y="17"/>
                    </a:lnTo>
                    <a:lnTo>
                      <a:pt x="35" y="6"/>
                    </a:lnTo>
                    <a:lnTo>
                      <a:pt x="40" y="1"/>
                    </a:lnTo>
                    <a:lnTo>
                      <a:pt x="44" y="0"/>
                    </a:lnTo>
                    <a:lnTo>
                      <a:pt x="49" y="0"/>
                    </a:lnTo>
                    <a:lnTo>
                      <a:pt x="55" y="3"/>
                    </a:lnTo>
                    <a:lnTo>
                      <a:pt x="58" y="6"/>
                    </a:lnTo>
                    <a:lnTo>
                      <a:pt x="60" y="11"/>
                    </a:lnTo>
                    <a:lnTo>
                      <a:pt x="60" y="17"/>
                    </a:lnTo>
                    <a:lnTo>
                      <a:pt x="58" y="21"/>
                    </a:lnTo>
                    <a:lnTo>
                      <a:pt x="51" y="31"/>
                    </a:lnTo>
                    <a:lnTo>
                      <a:pt x="45" y="41"/>
                    </a:lnTo>
                    <a:lnTo>
                      <a:pt x="41" y="52"/>
                    </a:lnTo>
                    <a:lnTo>
                      <a:pt x="36" y="64"/>
                    </a:lnTo>
                    <a:lnTo>
                      <a:pt x="33" y="77"/>
                    </a:lnTo>
                    <a:lnTo>
                      <a:pt x="30" y="89"/>
                    </a:lnTo>
                    <a:lnTo>
                      <a:pt x="29" y="103"/>
                    </a:lnTo>
                    <a:lnTo>
                      <a:pt x="27" y="116"/>
                    </a:lnTo>
                    <a:lnTo>
                      <a:pt x="27" y="130"/>
                    </a:lnTo>
                    <a:lnTo>
                      <a:pt x="26" y="145"/>
                    </a:lnTo>
                    <a:lnTo>
                      <a:pt x="27" y="159"/>
                    </a:lnTo>
                    <a:lnTo>
                      <a:pt x="28" y="174"/>
                    </a:lnTo>
                    <a:lnTo>
                      <a:pt x="31" y="205"/>
                    </a:lnTo>
                    <a:lnTo>
                      <a:pt x="36" y="238"/>
                    </a:lnTo>
                    <a:lnTo>
                      <a:pt x="43" y="270"/>
                    </a:lnTo>
                    <a:lnTo>
                      <a:pt x="51" y="304"/>
                    </a:lnTo>
                    <a:lnTo>
                      <a:pt x="61" y="336"/>
                    </a:lnTo>
                    <a:lnTo>
                      <a:pt x="71" y="370"/>
                    </a:lnTo>
                    <a:lnTo>
                      <a:pt x="83" y="403"/>
                    </a:lnTo>
                    <a:lnTo>
                      <a:pt x="95" y="435"/>
                    </a:lnTo>
                    <a:lnTo>
                      <a:pt x="108" y="468"/>
                    </a:lnTo>
                    <a:lnTo>
                      <a:pt x="121" y="498"/>
                    </a:lnTo>
                    <a:lnTo>
                      <a:pt x="139" y="540"/>
                    </a:lnTo>
                    <a:lnTo>
                      <a:pt x="159" y="583"/>
                    </a:lnTo>
                    <a:lnTo>
                      <a:pt x="181" y="625"/>
                    </a:lnTo>
                    <a:lnTo>
                      <a:pt x="204" y="669"/>
                    </a:lnTo>
                    <a:lnTo>
                      <a:pt x="229" y="712"/>
                    </a:lnTo>
                    <a:lnTo>
                      <a:pt x="254" y="753"/>
                    </a:lnTo>
                    <a:lnTo>
                      <a:pt x="280" y="794"/>
                    </a:lnTo>
                    <a:lnTo>
                      <a:pt x="308" y="833"/>
                    </a:lnTo>
                    <a:lnTo>
                      <a:pt x="337" y="869"/>
                    </a:lnTo>
                    <a:lnTo>
                      <a:pt x="366" y="903"/>
                    </a:lnTo>
                    <a:lnTo>
                      <a:pt x="380" y="919"/>
                    </a:lnTo>
                    <a:lnTo>
                      <a:pt x="395" y="934"/>
                    </a:lnTo>
                    <a:lnTo>
                      <a:pt x="410" y="948"/>
                    </a:lnTo>
                    <a:lnTo>
                      <a:pt x="425" y="962"/>
                    </a:lnTo>
                    <a:lnTo>
                      <a:pt x="440" y="974"/>
                    </a:lnTo>
                    <a:lnTo>
                      <a:pt x="455" y="986"/>
                    </a:lnTo>
                    <a:lnTo>
                      <a:pt x="470" y="997"/>
                    </a:lnTo>
                    <a:lnTo>
                      <a:pt x="486" y="1005"/>
                    </a:lnTo>
                    <a:lnTo>
                      <a:pt x="502" y="1014"/>
                    </a:lnTo>
                    <a:lnTo>
                      <a:pt x="517" y="1020"/>
                    </a:lnTo>
                    <a:lnTo>
                      <a:pt x="532" y="1026"/>
                    </a:lnTo>
                    <a:lnTo>
                      <a:pt x="547" y="1030"/>
                    </a:lnTo>
                    <a:lnTo>
                      <a:pt x="574" y="1037"/>
                    </a:lnTo>
                    <a:lnTo>
                      <a:pt x="600" y="1042"/>
                    </a:lnTo>
                    <a:lnTo>
                      <a:pt x="627" y="1047"/>
                    </a:lnTo>
                    <a:lnTo>
                      <a:pt x="653" y="1051"/>
                    </a:lnTo>
                    <a:lnTo>
                      <a:pt x="679" y="1055"/>
                    </a:lnTo>
                    <a:lnTo>
                      <a:pt x="705" y="1057"/>
                    </a:lnTo>
                    <a:lnTo>
                      <a:pt x="731" y="1060"/>
                    </a:lnTo>
                    <a:lnTo>
                      <a:pt x="755" y="1061"/>
                    </a:lnTo>
                    <a:lnTo>
                      <a:pt x="806" y="1064"/>
                    </a:lnTo>
                    <a:lnTo>
                      <a:pt x="856" y="1064"/>
                    </a:lnTo>
                    <a:lnTo>
                      <a:pt x="906" y="1063"/>
                    </a:lnTo>
                    <a:lnTo>
                      <a:pt x="955" y="1059"/>
                    </a:lnTo>
                    <a:lnTo>
                      <a:pt x="1003" y="1055"/>
                    </a:lnTo>
                    <a:lnTo>
                      <a:pt x="1051" y="1049"/>
                    </a:lnTo>
                    <a:lnTo>
                      <a:pt x="1099" y="1042"/>
                    </a:lnTo>
                    <a:lnTo>
                      <a:pt x="1146" y="1034"/>
                    </a:lnTo>
                    <a:lnTo>
                      <a:pt x="1194" y="1026"/>
                    </a:lnTo>
                    <a:lnTo>
                      <a:pt x="1240" y="1017"/>
                    </a:lnTo>
                    <a:lnTo>
                      <a:pt x="1287" y="1009"/>
                    </a:lnTo>
                    <a:lnTo>
                      <a:pt x="1333" y="999"/>
                    </a:lnTo>
                    <a:lnTo>
                      <a:pt x="1366" y="992"/>
                    </a:lnTo>
                    <a:lnTo>
                      <a:pt x="1399" y="986"/>
                    </a:lnTo>
                    <a:lnTo>
                      <a:pt x="1431" y="979"/>
                    </a:lnTo>
                    <a:lnTo>
                      <a:pt x="1465" y="974"/>
                    </a:lnTo>
                    <a:lnTo>
                      <a:pt x="1501" y="968"/>
                    </a:lnTo>
                    <a:lnTo>
                      <a:pt x="1535" y="961"/>
                    </a:lnTo>
                    <a:lnTo>
                      <a:pt x="1569" y="957"/>
                    </a:lnTo>
                    <a:lnTo>
                      <a:pt x="1600" y="952"/>
                    </a:lnTo>
                    <a:lnTo>
                      <a:pt x="1630" y="948"/>
                    </a:lnTo>
                    <a:lnTo>
                      <a:pt x="1659" y="945"/>
                    </a:lnTo>
                    <a:lnTo>
                      <a:pt x="1687" y="943"/>
                    </a:lnTo>
                    <a:lnTo>
                      <a:pt x="1715" y="941"/>
                    </a:lnTo>
                    <a:lnTo>
                      <a:pt x="1764" y="938"/>
                    </a:lnTo>
                    <a:lnTo>
                      <a:pt x="1810" y="938"/>
                    </a:lnTo>
                    <a:lnTo>
                      <a:pt x="1854" y="939"/>
                    </a:lnTo>
                    <a:lnTo>
                      <a:pt x="1894" y="943"/>
                    </a:lnTo>
                    <a:lnTo>
                      <a:pt x="1931" y="948"/>
                    </a:lnTo>
                    <a:lnTo>
                      <a:pt x="1967" y="955"/>
                    </a:lnTo>
                    <a:lnTo>
                      <a:pt x="1984" y="959"/>
                    </a:lnTo>
                    <a:lnTo>
                      <a:pt x="2000" y="963"/>
                    </a:lnTo>
                    <a:lnTo>
                      <a:pt x="2017" y="969"/>
                    </a:lnTo>
                    <a:lnTo>
                      <a:pt x="2032" y="974"/>
                    </a:lnTo>
                    <a:lnTo>
                      <a:pt x="2050" y="981"/>
                    </a:lnTo>
                    <a:lnTo>
                      <a:pt x="2066" y="988"/>
                    </a:lnTo>
                    <a:lnTo>
                      <a:pt x="2083" y="996"/>
                    </a:lnTo>
                    <a:lnTo>
                      <a:pt x="2098" y="1004"/>
                    </a:lnTo>
                    <a:lnTo>
                      <a:pt x="2125" y="1020"/>
                    </a:lnTo>
                    <a:lnTo>
                      <a:pt x="2151" y="1038"/>
                    </a:lnTo>
                    <a:lnTo>
                      <a:pt x="2173" y="1056"/>
                    </a:lnTo>
                    <a:lnTo>
                      <a:pt x="2195" y="1074"/>
                    </a:lnTo>
                    <a:lnTo>
                      <a:pt x="2214" y="1093"/>
                    </a:lnTo>
                    <a:lnTo>
                      <a:pt x="2234" y="1111"/>
                    </a:lnTo>
                    <a:lnTo>
                      <a:pt x="2260" y="1136"/>
                    </a:lnTo>
                    <a:lnTo>
                      <a:pt x="2286" y="1158"/>
                    </a:lnTo>
                    <a:lnTo>
                      <a:pt x="2299" y="1168"/>
                    </a:lnTo>
                    <a:lnTo>
                      <a:pt x="2311" y="1177"/>
                    </a:lnTo>
                    <a:lnTo>
                      <a:pt x="2326" y="1186"/>
                    </a:lnTo>
                    <a:lnTo>
                      <a:pt x="2341" y="1193"/>
                    </a:lnTo>
                    <a:lnTo>
                      <a:pt x="2360" y="1203"/>
                    </a:lnTo>
                    <a:lnTo>
                      <a:pt x="2381" y="1213"/>
                    </a:lnTo>
                    <a:lnTo>
                      <a:pt x="2400" y="1222"/>
                    </a:lnTo>
                    <a:lnTo>
                      <a:pt x="2418" y="1232"/>
                    </a:lnTo>
                    <a:lnTo>
                      <a:pt x="2449" y="1247"/>
                    </a:lnTo>
                    <a:lnTo>
                      <a:pt x="2478" y="1261"/>
                    </a:lnTo>
                    <a:lnTo>
                      <a:pt x="2505" y="1273"/>
                    </a:lnTo>
                    <a:lnTo>
                      <a:pt x="2531" y="1285"/>
                    </a:lnTo>
                    <a:lnTo>
                      <a:pt x="2547" y="1290"/>
                    </a:lnTo>
                    <a:lnTo>
                      <a:pt x="2571" y="1300"/>
                    </a:lnTo>
                    <a:lnTo>
                      <a:pt x="2590" y="1308"/>
                    </a:lnTo>
                    <a:lnTo>
                      <a:pt x="2599" y="1310"/>
                    </a:lnTo>
                    <a:lnTo>
                      <a:pt x="2606" y="1311"/>
                    </a:lnTo>
                    <a:lnTo>
                      <a:pt x="2613" y="1311"/>
                    </a:lnTo>
                    <a:lnTo>
                      <a:pt x="2618" y="1310"/>
                    </a:lnTo>
                    <a:lnTo>
                      <a:pt x="2624" y="1310"/>
                    </a:lnTo>
                    <a:lnTo>
                      <a:pt x="2628" y="1311"/>
                    </a:lnTo>
                    <a:lnTo>
                      <a:pt x="2632" y="1314"/>
                    </a:lnTo>
                    <a:lnTo>
                      <a:pt x="2635" y="1318"/>
                    </a:lnTo>
                    <a:lnTo>
                      <a:pt x="2635" y="1324"/>
                    </a:lnTo>
                    <a:lnTo>
                      <a:pt x="2634" y="1329"/>
                    </a:lnTo>
                    <a:lnTo>
                      <a:pt x="2631" y="1334"/>
                    </a:lnTo>
                    <a:lnTo>
                      <a:pt x="2627" y="1336"/>
                    </a:lnTo>
                    <a:lnTo>
                      <a:pt x="2619" y="1338"/>
                    </a:lnTo>
                    <a:lnTo>
                      <a:pt x="2612" y="1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51"/>
              <p:cNvSpPr>
                <a:spLocks/>
              </p:cNvSpPr>
              <p:nvPr userDrawn="1"/>
            </p:nvSpPr>
            <p:spPr bwMode="auto">
              <a:xfrm>
                <a:off x="2001" y="1265"/>
                <a:ext cx="886" cy="449"/>
              </a:xfrm>
              <a:custGeom>
                <a:avLst/>
                <a:gdLst>
                  <a:gd name="T0" fmla="*/ 2566 w 2659"/>
                  <a:gd name="T1" fmla="*/ 1335 h 1345"/>
                  <a:gd name="T2" fmla="*/ 2479 w 2659"/>
                  <a:gd name="T3" fmla="*/ 1308 h 1345"/>
                  <a:gd name="T4" fmla="*/ 2394 w 2659"/>
                  <a:gd name="T5" fmla="*/ 1271 h 1345"/>
                  <a:gd name="T6" fmla="*/ 2308 w 2659"/>
                  <a:gd name="T7" fmla="*/ 1231 h 1345"/>
                  <a:gd name="T8" fmla="*/ 2219 w 2659"/>
                  <a:gd name="T9" fmla="*/ 1172 h 1345"/>
                  <a:gd name="T10" fmla="*/ 2126 w 2659"/>
                  <a:gd name="T11" fmla="*/ 1108 h 1345"/>
                  <a:gd name="T12" fmla="*/ 2004 w 2659"/>
                  <a:gd name="T13" fmla="*/ 1052 h 1345"/>
                  <a:gd name="T14" fmla="*/ 1868 w 2659"/>
                  <a:gd name="T15" fmla="*/ 1021 h 1345"/>
                  <a:gd name="T16" fmla="*/ 1698 w 2659"/>
                  <a:gd name="T17" fmla="*/ 1012 h 1345"/>
                  <a:gd name="T18" fmla="*/ 1581 w 2659"/>
                  <a:gd name="T19" fmla="*/ 1016 h 1345"/>
                  <a:gd name="T20" fmla="*/ 1448 w 2659"/>
                  <a:gd name="T21" fmla="*/ 1030 h 1345"/>
                  <a:gd name="T22" fmla="*/ 1356 w 2659"/>
                  <a:gd name="T23" fmla="*/ 1043 h 1345"/>
                  <a:gd name="T24" fmla="*/ 1266 w 2659"/>
                  <a:gd name="T25" fmla="*/ 1057 h 1345"/>
                  <a:gd name="T26" fmla="*/ 999 w 2659"/>
                  <a:gd name="T27" fmla="*/ 1094 h 1345"/>
                  <a:gd name="T28" fmla="*/ 814 w 2659"/>
                  <a:gd name="T29" fmla="*/ 1102 h 1345"/>
                  <a:gd name="T30" fmla="*/ 622 w 2659"/>
                  <a:gd name="T31" fmla="*/ 1087 h 1345"/>
                  <a:gd name="T32" fmla="*/ 489 w 2659"/>
                  <a:gd name="T33" fmla="*/ 1057 h 1345"/>
                  <a:gd name="T34" fmla="*/ 423 w 2659"/>
                  <a:gd name="T35" fmla="*/ 1018 h 1345"/>
                  <a:gd name="T36" fmla="*/ 358 w 2659"/>
                  <a:gd name="T37" fmla="*/ 961 h 1345"/>
                  <a:gd name="T38" fmla="*/ 297 w 2659"/>
                  <a:gd name="T39" fmla="*/ 890 h 1345"/>
                  <a:gd name="T40" fmla="*/ 212 w 2659"/>
                  <a:gd name="T41" fmla="*/ 766 h 1345"/>
                  <a:gd name="T42" fmla="*/ 121 w 2659"/>
                  <a:gd name="T43" fmla="*/ 593 h 1345"/>
                  <a:gd name="T44" fmla="*/ 64 w 2659"/>
                  <a:gd name="T45" fmla="*/ 450 h 1345"/>
                  <a:gd name="T46" fmla="*/ 22 w 2659"/>
                  <a:gd name="T47" fmla="*/ 313 h 1345"/>
                  <a:gd name="T48" fmla="*/ 1 w 2659"/>
                  <a:gd name="T49" fmla="*/ 176 h 1345"/>
                  <a:gd name="T50" fmla="*/ 2 w 2659"/>
                  <a:gd name="T51" fmla="*/ 113 h 1345"/>
                  <a:gd name="T52" fmla="*/ 15 w 2659"/>
                  <a:gd name="T53" fmla="*/ 55 h 1345"/>
                  <a:gd name="T54" fmla="*/ 40 w 2659"/>
                  <a:gd name="T55" fmla="*/ 6 h 1345"/>
                  <a:gd name="T56" fmla="*/ 59 w 2659"/>
                  <a:gd name="T57" fmla="*/ 2 h 1345"/>
                  <a:gd name="T58" fmla="*/ 61 w 2659"/>
                  <a:gd name="T59" fmla="*/ 21 h 1345"/>
                  <a:gd name="T60" fmla="*/ 39 w 2659"/>
                  <a:gd name="T61" fmla="*/ 67 h 1345"/>
                  <a:gd name="T62" fmla="*/ 28 w 2659"/>
                  <a:gd name="T63" fmla="*/ 121 h 1345"/>
                  <a:gd name="T64" fmla="*/ 28 w 2659"/>
                  <a:gd name="T65" fmla="*/ 182 h 1345"/>
                  <a:gd name="T66" fmla="*/ 49 w 2659"/>
                  <a:gd name="T67" fmla="*/ 312 h 1345"/>
                  <a:gd name="T68" fmla="*/ 113 w 2659"/>
                  <a:gd name="T69" fmla="*/ 503 h 1345"/>
                  <a:gd name="T70" fmla="*/ 195 w 2659"/>
                  <a:gd name="T71" fmla="*/ 681 h 1345"/>
                  <a:gd name="T72" fmla="*/ 299 w 2659"/>
                  <a:gd name="T73" fmla="*/ 848 h 1345"/>
                  <a:gd name="T74" fmla="*/ 385 w 2659"/>
                  <a:gd name="T75" fmla="*/ 948 h 1345"/>
                  <a:gd name="T76" fmla="*/ 443 w 2659"/>
                  <a:gd name="T77" fmla="*/ 999 h 1345"/>
                  <a:gd name="T78" fmla="*/ 501 w 2659"/>
                  <a:gd name="T79" fmla="*/ 1032 h 1345"/>
                  <a:gd name="T80" fmla="*/ 626 w 2659"/>
                  <a:gd name="T81" fmla="*/ 1061 h 1345"/>
                  <a:gd name="T82" fmla="*/ 815 w 2659"/>
                  <a:gd name="T83" fmla="*/ 1075 h 1345"/>
                  <a:gd name="T84" fmla="*/ 997 w 2659"/>
                  <a:gd name="T85" fmla="*/ 1067 h 1345"/>
                  <a:gd name="T86" fmla="*/ 1262 w 2659"/>
                  <a:gd name="T87" fmla="*/ 1030 h 1345"/>
                  <a:gd name="T88" fmla="*/ 1353 w 2659"/>
                  <a:gd name="T89" fmla="*/ 1016 h 1345"/>
                  <a:gd name="T90" fmla="*/ 1444 w 2659"/>
                  <a:gd name="T91" fmla="*/ 1003 h 1345"/>
                  <a:gd name="T92" fmla="*/ 1578 w 2659"/>
                  <a:gd name="T93" fmla="*/ 989 h 1345"/>
                  <a:gd name="T94" fmla="*/ 1698 w 2659"/>
                  <a:gd name="T95" fmla="*/ 985 h 1345"/>
                  <a:gd name="T96" fmla="*/ 1871 w 2659"/>
                  <a:gd name="T97" fmla="*/ 995 h 1345"/>
                  <a:gd name="T98" fmla="*/ 2012 w 2659"/>
                  <a:gd name="T99" fmla="*/ 1026 h 1345"/>
                  <a:gd name="T100" fmla="*/ 2139 w 2659"/>
                  <a:gd name="T101" fmla="*/ 1085 h 1345"/>
                  <a:gd name="T102" fmla="*/ 2235 w 2659"/>
                  <a:gd name="T103" fmla="*/ 1150 h 1345"/>
                  <a:gd name="T104" fmla="*/ 2320 w 2659"/>
                  <a:gd name="T105" fmla="*/ 1207 h 1345"/>
                  <a:gd name="T106" fmla="*/ 2403 w 2659"/>
                  <a:gd name="T107" fmla="*/ 1246 h 1345"/>
                  <a:gd name="T108" fmla="*/ 2488 w 2659"/>
                  <a:gd name="T109" fmla="*/ 1282 h 1345"/>
                  <a:gd name="T110" fmla="*/ 2578 w 2659"/>
                  <a:gd name="T111" fmla="*/ 1310 h 1345"/>
                  <a:gd name="T112" fmla="*/ 2634 w 2659"/>
                  <a:gd name="T113" fmla="*/ 1318 h 1345"/>
                  <a:gd name="T114" fmla="*/ 2656 w 2659"/>
                  <a:gd name="T115" fmla="*/ 1321 h 1345"/>
                  <a:gd name="T116" fmla="*/ 2655 w 2659"/>
                  <a:gd name="T117" fmla="*/ 134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9" h="1345">
                    <a:moveTo>
                      <a:pt x="2628" y="1345"/>
                    </a:moveTo>
                    <a:lnTo>
                      <a:pt x="2610" y="1344"/>
                    </a:lnTo>
                    <a:lnTo>
                      <a:pt x="2589" y="1341"/>
                    </a:lnTo>
                    <a:lnTo>
                      <a:pt x="2566" y="1335"/>
                    </a:lnTo>
                    <a:lnTo>
                      <a:pt x="2539" y="1328"/>
                    </a:lnTo>
                    <a:lnTo>
                      <a:pt x="2519" y="1322"/>
                    </a:lnTo>
                    <a:lnTo>
                      <a:pt x="2499" y="1315"/>
                    </a:lnTo>
                    <a:lnTo>
                      <a:pt x="2479" y="1308"/>
                    </a:lnTo>
                    <a:lnTo>
                      <a:pt x="2458" y="1299"/>
                    </a:lnTo>
                    <a:lnTo>
                      <a:pt x="2437" y="1290"/>
                    </a:lnTo>
                    <a:lnTo>
                      <a:pt x="2415" y="1281"/>
                    </a:lnTo>
                    <a:lnTo>
                      <a:pt x="2394" y="1271"/>
                    </a:lnTo>
                    <a:lnTo>
                      <a:pt x="2370" y="1260"/>
                    </a:lnTo>
                    <a:lnTo>
                      <a:pt x="2340" y="1247"/>
                    </a:lnTo>
                    <a:lnTo>
                      <a:pt x="2323" y="1240"/>
                    </a:lnTo>
                    <a:lnTo>
                      <a:pt x="2308" y="1231"/>
                    </a:lnTo>
                    <a:lnTo>
                      <a:pt x="2293" y="1222"/>
                    </a:lnTo>
                    <a:lnTo>
                      <a:pt x="2278" y="1213"/>
                    </a:lnTo>
                    <a:lnTo>
                      <a:pt x="2249" y="1192"/>
                    </a:lnTo>
                    <a:lnTo>
                      <a:pt x="2219" y="1172"/>
                    </a:lnTo>
                    <a:lnTo>
                      <a:pt x="2197" y="1155"/>
                    </a:lnTo>
                    <a:lnTo>
                      <a:pt x="2174" y="1140"/>
                    </a:lnTo>
                    <a:lnTo>
                      <a:pt x="2151" y="1124"/>
                    </a:lnTo>
                    <a:lnTo>
                      <a:pt x="2126" y="1108"/>
                    </a:lnTo>
                    <a:lnTo>
                      <a:pt x="2099" y="1093"/>
                    </a:lnTo>
                    <a:lnTo>
                      <a:pt x="2070" y="1079"/>
                    </a:lnTo>
                    <a:lnTo>
                      <a:pt x="2037" y="1065"/>
                    </a:lnTo>
                    <a:lnTo>
                      <a:pt x="2004" y="1052"/>
                    </a:lnTo>
                    <a:lnTo>
                      <a:pt x="1972" y="1042"/>
                    </a:lnTo>
                    <a:lnTo>
                      <a:pt x="1939" y="1033"/>
                    </a:lnTo>
                    <a:lnTo>
                      <a:pt x="1904" y="1027"/>
                    </a:lnTo>
                    <a:lnTo>
                      <a:pt x="1868" y="1021"/>
                    </a:lnTo>
                    <a:lnTo>
                      <a:pt x="1829" y="1017"/>
                    </a:lnTo>
                    <a:lnTo>
                      <a:pt x="1787" y="1014"/>
                    </a:lnTo>
                    <a:lnTo>
                      <a:pt x="1744" y="1012"/>
                    </a:lnTo>
                    <a:lnTo>
                      <a:pt x="1698" y="1012"/>
                    </a:lnTo>
                    <a:lnTo>
                      <a:pt x="1670" y="1012"/>
                    </a:lnTo>
                    <a:lnTo>
                      <a:pt x="1641" y="1013"/>
                    </a:lnTo>
                    <a:lnTo>
                      <a:pt x="1611" y="1014"/>
                    </a:lnTo>
                    <a:lnTo>
                      <a:pt x="1581" y="1016"/>
                    </a:lnTo>
                    <a:lnTo>
                      <a:pt x="1549" y="1019"/>
                    </a:lnTo>
                    <a:lnTo>
                      <a:pt x="1517" y="1023"/>
                    </a:lnTo>
                    <a:lnTo>
                      <a:pt x="1483" y="1026"/>
                    </a:lnTo>
                    <a:lnTo>
                      <a:pt x="1448" y="1030"/>
                    </a:lnTo>
                    <a:lnTo>
                      <a:pt x="1425" y="1033"/>
                    </a:lnTo>
                    <a:lnTo>
                      <a:pt x="1402" y="1037"/>
                    </a:lnTo>
                    <a:lnTo>
                      <a:pt x="1380" y="1040"/>
                    </a:lnTo>
                    <a:lnTo>
                      <a:pt x="1356" y="1043"/>
                    </a:lnTo>
                    <a:lnTo>
                      <a:pt x="1333" y="1046"/>
                    </a:lnTo>
                    <a:lnTo>
                      <a:pt x="1311" y="1051"/>
                    </a:lnTo>
                    <a:lnTo>
                      <a:pt x="1288" y="1054"/>
                    </a:lnTo>
                    <a:lnTo>
                      <a:pt x="1266" y="1057"/>
                    </a:lnTo>
                    <a:lnTo>
                      <a:pt x="1178" y="1071"/>
                    </a:lnTo>
                    <a:lnTo>
                      <a:pt x="1088" y="1083"/>
                    </a:lnTo>
                    <a:lnTo>
                      <a:pt x="1044" y="1090"/>
                    </a:lnTo>
                    <a:lnTo>
                      <a:pt x="999" y="1094"/>
                    </a:lnTo>
                    <a:lnTo>
                      <a:pt x="953" y="1098"/>
                    </a:lnTo>
                    <a:lnTo>
                      <a:pt x="907" y="1100"/>
                    </a:lnTo>
                    <a:lnTo>
                      <a:pt x="860" y="1102"/>
                    </a:lnTo>
                    <a:lnTo>
                      <a:pt x="814" y="1102"/>
                    </a:lnTo>
                    <a:lnTo>
                      <a:pt x="766" y="1101"/>
                    </a:lnTo>
                    <a:lnTo>
                      <a:pt x="719" y="1099"/>
                    </a:lnTo>
                    <a:lnTo>
                      <a:pt x="670" y="1094"/>
                    </a:lnTo>
                    <a:lnTo>
                      <a:pt x="622" y="1087"/>
                    </a:lnTo>
                    <a:lnTo>
                      <a:pt x="573" y="1079"/>
                    </a:lnTo>
                    <a:lnTo>
                      <a:pt x="522" y="1068"/>
                    </a:lnTo>
                    <a:lnTo>
                      <a:pt x="506" y="1064"/>
                    </a:lnTo>
                    <a:lnTo>
                      <a:pt x="489" y="1057"/>
                    </a:lnTo>
                    <a:lnTo>
                      <a:pt x="473" y="1050"/>
                    </a:lnTo>
                    <a:lnTo>
                      <a:pt x="456" y="1040"/>
                    </a:lnTo>
                    <a:lnTo>
                      <a:pt x="439" y="1030"/>
                    </a:lnTo>
                    <a:lnTo>
                      <a:pt x="423" y="1018"/>
                    </a:lnTo>
                    <a:lnTo>
                      <a:pt x="407" y="1005"/>
                    </a:lnTo>
                    <a:lnTo>
                      <a:pt x="391" y="991"/>
                    </a:lnTo>
                    <a:lnTo>
                      <a:pt x="374" y="976"/>
                    </a:lnTo>
                    <a:lnTo>
                      <a:pt x="358" y="961"/>
                    </a:lnTo>
                    <a:lnTo>
                      <a:pt x="342" y="944"/>
                    </a:lnTo>
                    <a:lnTo>
                      <a:pt x="327" y="927"/>
                    </a:lnTo>
                    <a:lnTo>
                      <a:pt x="312" y="908"/>
                    </a:lnTo>
                    <a:lnTo>
                      <a:pt x="297" y="890"/>
                    </a:lnTo>
                    <a:lnTo>
                      <a:pt x="282" y="869"/>
                    </a:lnTo>
                    <a:lnTo>
                      <a:pt x="267" y="850"/>
                    </a:lnTo>
                    <a:lnTo>
                      <a:pt x="239" y="808"/>
                    </a:lnTo>
                    <a:lnTo>
                      <a:pt x="212" y="766"/>
                    </a:lnTo>
                    <a:lnTo>
                      <a:pt x="186" y="721"/>
                    </a:lnTo>
                    <a:lnTo>
                      <a:pt x="163" y="678"/>
                    </a:lnTo>
                    <a:lnTo>
                      <a:pt x="141" y="635"/>
                    </a:lnTo>
                    <a:lnTo>
                      <a:pt x="121" y="593"/>
                    </a:lnTo>
                    <a:lnTo>
                      <a:pt x="103" y="552"/>
                    </a:lnTo>
                    <a:lnTo>
                      <a:pt x="87" y="513"/>
                    </a:lnTo>
                    <a:lnTo>
                      <a:pt x="75" y="483"/>
                    </a:lnTo>
                    <a:lnTo>
                      <a:pt x="64" y="450"/>
                    </a:lnTo>
                    <a:lnTo>
                      <a:pt x="53" y="417"/>
                    </a:lnTo>
                    <a:lnTo>
                      <a:pt x="42" y="384"/>
                    </a:lnTo>
                    <a:lnTo>
                      <a:pt x="31" y="349"/>
                    </a:lnTo>
                    <a:lnTo>
                      <a:pt x="22" y="313"/>
                    </a:lnTo>
                    <a:lnTo>
                      <a:pt x="15" y="279"/>
                    </a:lnTo>
                    <a:lnTo>
                      <a:pt x="8" y="244"/>
                    </a:lnTo>
                    <a:lnTo>
                      <a:pt x="3" y="210"/>
                    </a:lnTo>
                    <a:lnTo>
                      <a:pt x="1" y="176"/>
                    </a:lnTo>
                    <a:lnTo>
                      <a:pt x="0" y="160"/>
                    </a:lnTo>
                    <a:lnTo>
                      <a:pt x="0" y="144"/>
                    </a:lnTo>
                    <a:lnTo>
                      <a:pt x="1" y="129"/>
                    </a:lnTo>
                    <a:lnTo>
                      <a:pt x="2" y="113"/>
                    </a:lnTo>
                    <a:lnTo>
                      <a:pt x="4" y="97"/>
                    </a:lnTo>
                    <a:lnTo>
                      <a:pt x="6" y="83"/>
                    </a:lnTo>
                    <a:lnTo>
                      <a:pt x="10" y="69"/>
                    </a:lnTo>
                    <a:lnTo>
                      <a:pt x="15" y="55"/>
                    </a:lnTo>
                    <a:lnTo>
                      <a:pt x="19" y="41"/>
                    </a:lnTo>
                    <a:lnTo>
                      <a:pt x="26" y="29"/>
                    </a:lnTo>
                    <a:lnTo>
                      <a:pt x="32" y="17"/>
                    </a:lnTo>
                    <a:lnTo>
                      <a:pt x="40" y="6"/>
                    </a:lnTo>
                    <a:lnTo>
                      <a:pt x="44" y="1"/>
                    </a:lnTo>
                    <a:lnTo>
                      <a:pt x="48" y="0"/>
                    </a:lnTo>
                    <a:lnTo>
                      <a:pt x="54" y="0"/>
                    </a:lnTo>
                    <a:lnTo>
                      <a:pt x="59" y="2"/>
                    </a:lnTo>
                    <a:lnTo>
                      <a:pt x="62" y="6"/>
                    </a:lnTo>
                    <a:lnTo>
                      <a:pt x="64" y="11"/>
                    </a:lnTo>
                    <a:lnTo>
                      <a:pt x="63" y="17"/>
                    </a:lnTo>
                    <a:lnTo>
                      <a:pt x="61" y="21"/>
                    </a:lnTo>
                    <a:lnTo>
                      <a:pt x="55" y="32"/>
                    </a:lnTo>
                    <a:lnTo>
                      <a:pt x="48" y="42"/>
                    </a:lnTo>
                    <a:lnTo>
                      <a:pt x="43" y="54"/>
                    </a:lnTo>
                    <a:lnTo>
                      <a:pt x="39" y="67"/>
                    </a:lnTo>
                    <a:lnTo>
                      <a:pt x="35" y="80"/>
                    </a:lnTo>
                    <a:lnTo>
                      <a:pt x="32" y="93"/>
                    </a:lnTo>
                    <a:lnTo>
                      <a:pt x="30" y="107"/>
                    </a:lnTo>
                    <a:lnTo>
                      <a:pt x="28" y="121"/>
                    </a:lnTo>
                    <a:lnTo>
                      <a:pt x="27" y="135"/>
                    </a:lnTo>
                    <a:lnTo>
                      <a:pt x="27" y="150"/>
                    </a:lnTo>
                    <a:lnTo>
                      <a:pt x="27" y="165"/>
                    </a:lnTo>
                    <a:lnTo>
                      <a:pt x="28" y="182"/>
                    </a:lnTo>
                    <a:lnTo>
                      <a:pt x="30" y="213"/>
                    </a:lnTo>
                    <a:lnTo>
                      <a:pt x="35" y="245"/>
                    </a:lnTo>
                    <a:lnTo>
                      <a:pt x="42" y="279"/>
                    </a:lnTo>
                    <a:lnTo>
                      <a:pt x="49" y="312"/>
                    </a:lnTo>
                    <a:lnTo>
                      <a:pt x="58" y="346"/>
                    </a:lnTo>
                    <a:lnTo>
                      <a:pt x="69" y="378"/>
                    </a:lnTo>
                    <a:lnTo>
                      <a:pt x="90" y="443"/>
                    </a:lnTo>
                    <a:lnTo>
                      <a:pt x="113" y="503"/>
                    </a:lnTo>
                    <a:lnTo>
                      <a:pt x="130" y="548"/>
                    </a:lnTo>
                    <a:lnTo>
                      <a:pt x="151" y="593"/>
                    </a:lnTo>
                    <a:lnTo>
                      <a:pt x="172" y="637"/>
                    </a:lnTo>
                    <a:lnTo>
                      <a:pt x="195" y="681"/>
                    </a:lnTo>
                    <a:lnTo>
                      <a:pt x="219" y="725"/>
                    </a:lnTo>
                    <a:lnTo>
                      <a:pt x="245" y="768"/>
                    </a:lnTo>
                    <a:lnTo>
                      <a:pt x="272" y="809"/>
                    </a:lnTo>
                    <a:lnTo>
                      <a:pt x="299" y="848"/>
                    </a:lnTo>
                    <a:lnTo>
                      <a:pt x="327" y="883"/>
                    </a:lnTo>
                    <a:lnTo>
                      <a:pt x="356" y="918"/>
                    </a:lnTo>
                    <a:lnTo>
                      <a:pt x="370" y="934"/>
                    </a:lnTo>
                    <a:lnTo>
                      <a:pt x="385" y="948"/>
                    </a:lnTo>
                    <a:lnTo>
                      <a:pt x="399" y="962"/>
                    </a:lnTo>
                    <a:lnTo>
                      <a:pt x="414" y="976"/>
                    </a:lnTo>
                    <a:lnTo>
                      <a:pt x="428" y="988"/>
                    </a:lnTo>
                    <a:lnTo>
                      <a:pt x="443" y="999"/>
                    </a:lnTo>
                    <a:lnTo>
                      <a:pt x="458" y="1010"/>
                    </a:lnTo>
                    <a:lnTo>
                      <a:pt x="472" y="1018"/>
                    </a:lnTo>
                    <a:lnTo>
                      <a:pt x="487" y="1026"/>
                    </a:lnTo>
                    <a:lnTo>
                      <a:pt x="501" y="1032"/>
                    </a:lnTo>
                    <a:lnTo>
                      <a:pt x="515" y="1038"/>
                    </a:lnTo>
                    <a:lnTo>
                      <a:pt x="529" y="1042"/>
                    </a:lnTo>
                    <a:lnTo>
                      <a:pt x="577" y="1053"/>
                    </a:lnTo>
                    <a:lnTo>
                      <a:pt x="626" y="1061"/>
                    </a:lnTo>
                    <a:lnTo>
                      <a:pt x="675" y="1068"/>
                    </a:lnTo>
                    <a:lnTo>
                      <a:pt x="721" y="1072"/>
                    </a:lnTo>
                    <a:lnTo>
                      <a:pt x="769" y="1074"/>
                    </a:lnTo>
                    <a:lnTo>
                      <a:pt x="815" y="1075"/>
                    </a:lnTo>
                    <a:lnTo>
                      <a:pt x="861" y="1075"/>
                    </a:lnTo>
                    <a:lnTo>
                      <a:pt x="907" y="1073"/>
                    </a:lnTo>
                    <a:lnTo>
                      <a:pt x="952" y="1071"/>
                    </a:lnTo>
                    <a:lnTo>
                      <a:pt x="997" y="1067"/>
                    </a:lnTo>
                    <a:lnTo>
                      <a:pt x="1042" y="1063"/>
                    </a:lnTo>
                    <a:lnTo>
                      <a:pt x="1086" y="1056"/>
                    </a:lnTo>
                    <a:lnTo>
                      <a:pt x="1175" y="1044"/>
                    </a:lnTo>
                    <a:lnTo>
                      <a:pt x="1262" y="1030"/>
                    </a:lnTo>
                    <a:lnTo>
                      <a:pt x="1285" y="1027"/>
                    </a:lnTo>
                    <a:lnTo>
                      <a:pt x="1307" y="1024"/>
                    </a:lnTo>
                    <a:lnTo>
                      <a:pt x="1330" y="1020"/>
                    </a:lnTo>
                    <a:lnTo>
                      <a:pt x="1353" y="1016"/>
                    </a:lnTo>
                    <a:lnTo>
                      <a:pt x="1375" y="1013"/>
                    </a:lnTo>
                    <a:lnTo>
                      <a:pt x="1398" y="1010"/>
                    </a:lnTo>
                    <a:lnTo>
                      <a:pt x="1422" y="1006"/>
                    </a:lnTo>
                    <a:lnTo>
                      <a:pt x="1444" y="1003"/>
                    </a:lnTo>
                    <a:lnTo>
                      <a:pt x="1480" y="999"/>
                    </a:lnTo>
                    <a:lnTo>
                      <a:pt x="1515" y="996"/>
                    </a:lnTo>
                    <a:lnTo>
                      <a:pt x="1547" y="992"/>
                    </a:lnTo>
                    <a:lnTo>
                      <a:pt x="1578" y="989"/>
                    </a:lnTo>
                    <a:lnTo>
                      <a:pt x="1610" y="987"/>
                    </a:lnTo>
                    <a:lnTo>
                      <a:pt x="1640" y="986"/>
                    </a:lnTo>
                    <a:lnTo>
                      <a:pt x="1669" y="985"/>
                    </a:lnTo>
                    <a:lnTo>
                      <a:pt x="1698" y="985"/>
                    </a:lnTo>
                    <a:lnTo>
                      <a:pt x="1745" y="985"/>
                    </a:lnTo>
                    <a:lnTo>
                      <a:pt x="1789" y="987"/>
                    </a:lnTo>
                    <a:lnTo>
                      <a:pt x="1831" y="990"/>
                    </a:lnTo>
                    <a:lnTo>
                      <a:pt x="1871" y="995"/>
                    </a:lnTo>
                    <a:lnTo>
                      <a:pt x="1910" y="1001"/>
                    </a:lnTo>
                    <a:lnTo>
                      <a:pt x="1945" y="1007"/>
                    </a:lnTo>
                    <a:lnTo>
                      <a:pt x="1980" y="1016"/>
                    </a:lnTo>
                    <a:lnTo>
                      <a:pt x="2012" y="1026"/>
                    </a:lnTo>
                    <a:lnTo>
                      <a:pt x="2048" y="1040"/>
                    </a:lnTo>
                    <a:lnTo>
                      <a:pt x="2080" y="1054"/>
                    </a:lnTo>
                    <a:lnTo>
                      <a:pt x="2111" y="1069"/>
                    </a:lnTo>
                    <a:lnTo>
                      <a:pt x="2139" y="1085"/>
                    </a:lnTo>
                    <a:lnTo>
                      <a:pt x="2165" y="1100"/>
                    </a:lnTo>
                    <a:lnTo>
                      <a:pt x="2190" y="1118"/>
                    </a:lnTo>
                    <a:lnTo>
                      <a:pt x="2212" y="1134"/>
                    </a:lnTo>
                    <a:lnTo>
                      <a:pt x="2235" y="1150"/>
                    </a:lnTo>
                    <a:lnTo>
                      <a:pt x="2263" y="1170"/>
                    </a:lnTo>
                    <a:lnTo>
                      <a:pt x="2292" y="1190"/>
                    </a:lnTo>
                    <a:lnTo>
                      <a:pt x="2306" y="1199"/>
                    </a:lnTo>
                    <a:lnTo>
                      <a:pt x="2320" y="1207"/>
                    </a:lnTo>
                    <a:lnTo>
                      <a:pt x="2335" y="1215"/>
                    </a:lnTo>
                    <a:lnTo>
                      <a:pt x="2350" y="1222"/>
                    </a:lnTo>
                    <a:lnTo>
                      <a:pt x="2381" y="1236"/>
                    </a:lnTo>
                    <a:lnTo>
                      <a:pt x="2403" y="1246"/>
                    </a:lnTo>
                    <a:lnTo>
                      <a:pt x="2426" y="1256"/>
                    </a:lnTo>
                    <a:lnTo>
                      <a:pt x="2448" y="1265"/>
                    </a:lnTo>
                    <a:lnTo>
                      <a:pt x="2468" y="1274"/>
                    </a:lnTo>
                    <a:lnTo>
                      <a:pt x="2488" y="1282"/>
                    </a:lnTo>
                    <a:lnTo>
                      <a:pt x="2508" y="1289"/>
                    </a:lnTo>
                    <a:lnTo>
                      <a:pt x="2528" y="1296"/>
                    </a:lnTo>
                    <a:lnTo>
                      <a:pt x="2546" y="1301"/>
                    </a:lnTo>
                    <a:lnTo>
                      <a:pt x="2578" y="1310"/>
                    </a:lnTo>
                    <a:lnTo>
                      <a:pt x="2605" y="1316"/>
                    </a:lnTo>
                    <a:lnTo>
                      <a:pt x="2616" y="1318"/>
                    </a:lnTo>
                    <a:lnTo>
                      <a:pt x="2626" y="1318"/>
                    </a:lnTo>
                    <a:lnTo>
                      <a:pt x="2634" y="1318"/>
                    </a:lnTo>
                    <a:lnTo>
                      <a:pt x="2642" y="1316"/>
                    </a:lnTo>
                    <a:lnTo>
                      <a:pt x="2647" y="1316"/>
                    </a:lnTo>
                    <a:lnTo>
                      <a:pt x="2653" y="1317"/>
                    </a:lnTo>
                    <a:lnTo>
                      <a:pt x="2656" y="1321"/>
                    </a:lnTo>
                    <a:lnTo>
                      <a:pt x="2659" y="1325"/>
                    </a:lnTo>
                    <a:lnTo>
                      <a:pt x="2659" y="1330"/>
                    </a:lnTo>
                    <a:lnTo>
                      <a:pt x="2658" y="1336"/>
                    </a:lnTo>
                    <a:lnTo>
                      <a:pt x="2655" y="1340"/>
                    </a:lnTo>
                    <a:lnTo>
                      <a:pt x="2651" y="1342"/>
                    </a:lnTo>
                    <a:lnTo>
                      <a:pt x="2640" y="1345"/>
                    </a:lnTo>
                    <a:lnTo>
                      <a:pt x="2628"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2"/>
              <p:cNvSpPr>
                <a:spLocks/>
              </p:cNvSpPr>
              <p:nvPr userDrawn="1"/>
            </p:nvSpPr>
            <p:spPr bwMode="auto">
              <a:xfrm>
                <a:off x="2019" y="1238"/>
                <a:ext cx="895" cy="451"/>
              </a:xfrm>
              <a:custGeom>
                <a:avLst/>
                <a:gdLst>
                  <a:gd name="T0" fmla="*/ 2579 w 2683"/>
                  <a:gd name="T1" fmla="*/ 1350 h 1355"/>
                  <a:gd name="T2" fmla="*/ 2482 w 2683"/>
                  <a:gd name="T3" fmla="*/ 1328 h 1355"/>
                  <a:gd name="T4" fmla="*/ 2377 w 2683"/>
                  <a:gd name="T5" fmla="*/ 1288 h 1355"/>
                  <a:gd name="T6" fmla="*/ 2261 w 2683"/>
                  <a:gd name="T7" fmla="*/ 1233 h 1355"/>
                  <a:gd name="T8" fmla="*/ 2150 w 2683"/>
                  <a:gd name="T9" fmla="*/ 1173 h 1355"/>
                  <a:gd name="T10" fmla="*/ 2021 w 2683"/>
                  <a:gd name="T11" fmla="*/ 1117 h 1355"/>
                  <a:gd name="T12" fmla="*/ 1881 w 2683"/>
                  <a:gd name="T13" fmla="*/ 1080 h 1355"/>
                  <a:gd name="T14" fmla="*/ 1723 w 2683"/>
                  <a:gd name="T15" fmla="*/ 1059 h 1355"/>
                  <a:gd name="T16" fmla="*/ 1589 w 2683"/>
                  <a:gd name="T17" fmla="*/ 1055 h 1355"/>
                  <a:gd name="T18" fmla="*/ 1462 w 2683"/>
                  <a:gd name="T19" fmla="*/ 1059 h 1355"/>
                  <a:gd name="T20" fmla="*/ 1338 w 2683"/>
                  <a:gd name="T21" fmla="*/ 1069 h 1355"/>
                  <a:gd name="T22" fmla="*/ 1221 w 2683"/>
                  <a:gd name="T23" fmla="*/ 1082 h 1355"/>
                  <a:gd name="T24" fmla="*/ 981 w 2683"/>
                  <a:gd name="T25" fmla="*/ 1109 h 1355"/>
                  <a:gd name="T26" fmla="*/ 812 w 2683"/>
                  <a:gd name="T27" fmla="*/ 1115 h 1355"/>
                  <a:gd name="T28" fmla="*/ 639 w 2683"/>
                  <a:gd name="T29" fmla="*/ 1104 h 1355"/>
                  <a:gd name="T30" fmla="*/ 489 w 2683"/>
                  <a:gd name="T31" fmla="*/ 1076 h 1355"/>
                  <a:gd name="T32" fmla="*/ 425 w 2683"/>
                  <a:gd name="T33" fmla="*/ 1044 h 1355"/>
                  <a:gd name="T34" fmla="*/ 363 w 2683"/>
                  <a:gd name="T35" fmla="*/ 991 h 1355"/>
                  <a:gd name="T36" fmla="*/ 301 w 2683"/>
                  <a:gd name="T37" fmla="*/ 923 h 1355"/>
                  <a:gd name="T38" fmla="*/ 229 w 2683"/>
                  <a:gd name="T39" fmla="*/ 822 h 1355"/>
                  <a:gd name="T40" fmla="*/ 130 w 2683"/>
                  <a:gd name="T41" fmla="*/ 646 h 1355"/>
                  <a:gd name="T42" fmla="*/ 56 w 2683"/>
                  <a:gd name="T43" fmla="*/ 448 h 1355"/>
                  <a:gd name="T44" fmla="*/ 11 w 2683"/>
                  <a:gd name="T45" fmla="*/ 272 h 1355"/>
                  <a:gd name="T46" fmla="*/ 0 w 2683"/>
                  <a:gd name="T47" fmla="*/ 157 h 1355"/>
                  <a:gd name="T48" fmla="*/ 6 w 2683"/>
                  <a:gd name="T49" fmla="*/ 96 h 1355"/>
                  <a:gd name="T50" fmla="*/ 24 w 2683"/>
                  <a:gd name="T51" fmla="*/ 42 h 1355"/>
                  <a:gd name="T52" fmla="*/ 48 w 2683"/>
                  <a:gd name="T53" fmla="*/ 2 h 1355"/>
                  <a:gd name="T54" fmla="*/ 67 w 2683"/>
                  <a:gd name="T55" fmla="*/ 7 h 1355"/>
                  <a:gd name="T56" fmla="*/ 59 w 2683"/>
                  <a:gd name="T57" fmla="*/ 33 h 1355"/>
                  <a:gd name="T58" fmla="*/ 38 w 2683"/>
                  <a:gd name="T59" fmla="*/ 80 h 1355"/>
                  <a:gd name="T60" fmla="*/ 28 w 2683"/>
                  <a:gd name="T61" fmla="*/ 134 h 1355"/>
                  <a:gd name="T62" fmla="*/ 29 w 2683"/>
                  <a:gd name="T63" fmla="*/ 209 h 1355"/>
                  <a:gd name="T64" fmla="*/ 53 w 2683"/>
                  <a:gd name="T65" fmla="*/ 340 h 1355"/>
                  <a:gd name="T66" fmla="*/ 119 w 2683"/>
                  <a:gd name="T67" fmla="*/ 549 h 1355"/>
                  <a:gd name="T68" fmla="*/ 197 w 2683"/>
                  <a:gd name="T69" fmla="*/ 717 h 1355"/>
                  <a:gd name="T70" fmla="*/ 303 w 2683"/>
                  <a:gd name="T71" fmla="*/ 882 h 1355"/>
                  <a:gd name="T72" fmla="*/ 377 w 2683"/>
                  <a:gd name="T73" fmla="*/ 967 h 1355"/>
                  <a:gd name="T74" fmla="*/ 437 w 2683"/>
                  <a:gd name="T75" fmla="*/ 1019 h 1355"/>
                  <a:gd name="T76" fmla="*/ 496 w 2683"/>
                  <a:gd name="T77" fmla="*/ 1051 h 1355"/>
                  <a:gd name="T78" fmla="*/ 643 w 2683"/>
                  <a:gd name="T79" fmla="*/ 1079 h 1355"/>
                  <a:gd name="T80" fmla="*/ 813 w 2683"/>
                  <a:gd name="T81" fmla="*/ 1088 h 1355"/>
                  <a:gd name="T82" fmla="*/ 980 w 2683"/>
                  <a:gd name="T83" fmla="*/ 1081 h 1355"/>
                  <a:gd name="T84" fmla="*/ 1219 w 2683"/>
                  <a:gd name="T85" fmla="*/ 1056 h 1355"/>
                  <a:gd name="T86" fmla="*/ 1335 w 2683"/>
                  <a:gd name="T87" fmla="*/ 1042 h 1355"/>
                  <a:gd name="T88" fmla="*/ 1460 w 2683"/>
                  <a:gd name="T89" fmla="*/ 1032 h 1355"/>
                  <a:gd name="T90" fmla="*/ 1589 w 2683"/>
                  <a:gd name="T91" fmla="*/ 1028 h 1355"/>
                  <a:gd name="T92" fmla="*/ 1725 w 2683"/>
                  <a:gd name="T93" fmla="*/ 1032 h 1355"/>
                  <a:gd name="T94" fmla="*/ 1886 w 2683"/>
                  <a:gd name="T95" fmla="*/ 1053 h 1355"/>
                  <a:gd name="T96" fmla="*/ 2031 w 2683"/>
                  <a:gd name="T97" fmla="*/ 1093 h 1355"/>
                  <a:gd name="T98" fmla="*/ 2162 w 2683"/>
                  <a:gd name="T99" fmla="*/ 1149 h 1355"/>
                  <a:gd name="T100" fmla="*/ 2274 w 2683"/>
                  <a:gd name="T101" fmla="*/ 1208 h 1355"/>
                  <a:gd name="T102" fmla="*/ 2388 w 2683"/>
                  <a:gd name="T103" fmla="*/ 1263 h 1355"/>
                  <a:gd name="T104" fmla="*/ 2490 w 2683"/>
                  <a:gd name="T105" fmla="*/ 1301 h 1355"/>
                  <a:gd name="T106" fmla="*/ 2599 w 2683"/>
                  <a:gd name="T107" fmla="*/ 1326 h 1355"/>
                  <a:gd name="T108" fmla="*/ 2658 w 2683"/>
                  <a:gd name="T109" fmla="*/ 1326 h 1355"/>
                  <a:gd name="T110" fmla="*/ 2680 w 2683"/>
                  <a:gd name="T111" fmla="*/ 1328 h 1355"/>
                  <a:gd name="T112" fmla="*/ 2679 w 2683"/>
                  <a:gd name="T113" fmla="*/ 1347 h 1355"/>
                  <a:gd name="T114" fmla="*/ 2646 w 2683"/>
                  <a:gd name="T115" fmla="*/ 1355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3" h="1355">
                    <a:moveTo>
                      <a:pt x="2636" y="1355"/>
                    </a:moveTo>
                    <a:lnTo>
                      <a:pt x="2618" y="1355"/>
                    </a:lnTo>
                    <a:lnTo>
                      <a:pt x="2599" y="1353"/>
                    </a:lnTo>
                    <a:lnTo>
                      <a:pt x="2579" y="1350"/>
                    </a:lnTo>
                    <a:lnTo>
                      <a:pt x="2557" y="1346"/>
                    </a:lnTo>
                    <a:lnTo>
                      <a:pt x="2533" y="1341"/>
                    </a:lnTo>
                    <a:lnTo>
                      <a:pt x="2508" y="1336"/>
                    </a:lnTo>
                    <a:lnTo>
                      <a:pt x="2482" y="1328"/>
                    </a:lnTo>
                    <a:lnTo>
                      <a:pt x="2457" y="1319"/>
                    </a:lnTo>
                    <a:lnTo>
                      <a:pt x="2431" y="1310"/>
                    </a:lnTo>
                    <a:lnTo>
                      <a:pt x="2404" y="1299"/>
                    </a:lnTo>
                    <a:lnTo>
                      <a:pt x="2377" y="1288"/>
                    </a:lnTo>
                    <a:lnTo>
                      <a:pt x="2350" y="1276"/>
                    </a:lnTo>
                    <a:lnTo>
                      <a:pt x="2320" y="1263"/>
                    </a:lnTo>
                    <a:lnTo>
                      <a:pt x="2291" y="1248"/>
                    </a:lnTo>
                    <a:lnTo>
                      <a:pt x="2261" y="1233"/>
                    </a:lnTo>
                    <a:lnTo>
                      <a:pt x="2231" y="1216"/>
                    </a:lnTo>
                    <a:lnTo>
                      <a:pt x="2205" y="1202"/>
                    </a:lnTo>
                    <a:lnTo>
                      <a:pt x="2178" y="1188"/>
                    </a:lnTo>
                    <a:lnTo>
                      <a:pt x="2150" y="1173"/>
                    </a:lnTo>
                    <a:lnTo>
                      <a:pt x="2120" y="1158"/>
                    </a:lnTo>
                    <a:lnTo>
                      <a:pt x="2089" y="1144"/>
                    </a:lnTo>
                    <a:lnTo>
                      <a:pt x="2057" y="1130"/>
                    </a:lnTo>
                    <a:lnTo>
                      <a:pt x="2021" y="1117"/>
                    </a:lnTo>
                    <a:lnTo>
                      <a:pt x="1984" y="1106"/>
                    </a:lnTo>
                    <a:lnTo>
                      <a:pt x="1951" y="1096"/>
                    </a:lnTo>
                    <a:lnTo>
                      <a:pt x="1916" y="1087"/>
                    </a:lnTo>
                    <a:lnTo>
                      <a:pt x="1881" y="1080"/>
                    </a:lnTo>
                    <a:lnTo>
                      <a:pt x="1843" y="1073"/>
                    </a:lnTo>
                    <a:lnTo>
                      <a:pt x="1805" y="1068"/>
                    </a:lnTo>
                    <a:lnTo>
                      <a:pt x="1764" y="1062"/>
                    </a:lnTo>
                    <a:lnTo>
                      <a:pt x="1723" y="1059"/>
                    </a:lnTo>
                    <a:lnTo>
                      <a:pt x="1679" y="1057"/>
                    </a:lnTo>
                    <a:lnTo>
                      <a:pt x="1650" y="1055"/>
                    </a:lnTo>
                    <a:lnTo>
                      <a:pt x="1619" y="1055"/>
                    </a:lnTo>
                    <a:lnTo>
                      <a:pt x="1589" y="1055"/>
                    </a:lnTo>
                    <a:lnTo>
                      <a:pt x="1558" y="1055"/>
                    </a:lnTo>
                    <a:lnTo>
                      <a:pt x="1527" y="1056"/>
                    </a:lnTo>
                    <a:lnTo>
                      <a:pt x="1494" y="1057"/>
                    </a:lnTo>
                    <a:lnTo>
                      <a:pt x="1462" y="1059"/>
                    </a:lnTo>
                    <a:lnTo>
                      <a:pt x="1427" y="1061"/>
                    </a:lnTo>
                    <a:lnTo>
                      <a:pt x="1397" y="1063"/>
                    </a:lnTo>
                    <a:lnTo>
                      <a:pt x="1368" y="1067"/>
                    </a:lnTo>
                    <a:lnTo>
                      <a:pt x="1338" y="1069"/>
                    </a:lnTo>
                    <a:lnTo>
                      <a:pt x="1308" y="1072"/>
                    </a:lnTo>
                    <a:lnTo>
                      <a:pt x="1279" y="1075"/>
                    </a:lnTo>
                    <a:lnTo>
                      <a:pt x="1250" y="1079"/>
                    </a:lnTo>
                    <a:lnTo>
                      <a:pt x="1221" y="1082"/>
                    </a:lnTo>
                    <a:lnTo>
                      <a:pt x="1193" y="1086"/>
                    </a:lnTo>
                    <a:lnTo>
                      <a:pt x="1108" y="1096"/>
                    </a:lnTo>
                    <a:lnTo>
                      <a:pt x="1023" y="1104"/>
                    </a:lnTo>
                    <a:lnTo>
                      <a:pt x="981" y="1109"/>
                    </a:lnTo>
                    <a:lnTo>
                      <a:pt x="939" y="1111"/>
                    </a:lnTo>
                    <a:lnTo>
                      <a:pt x="897" y="1114"/>
                    </a:lnTo>
                    <a:lnTo>
                      <a:pt x="855" y="1115"/>
                    </a:lnTo>
                    <a:lnTo>
                      <a:pt x="812" y="1115"/>
                    </a:lnTo>
                    <a:lnTo>
                      <a:pt x="770" y="1115"/>
                    </a:lnTo>
                    <a:lnTo>
                      <a:pt x="726" y="1113"/>
                    </a:lnTo>
                    <a:lnTo>
                      <a:pt x="683" y="1110"/>
                    </a:lnTo>
                    <a:lnTo>
                      <a:pt x="639" y="1104"/>
                    </a:lnTo>
                    <a:lnTo>
                      <a:pt x="595" y="1099"/>
                    </a:lnTo>
                    <a:lnTo>
                      <a:pt x="549" y="1090"/>
                    </a:lnTo>
                    <a:lnTo>
                      <a:pt x="504" y="1081"/>
                    </a:lnTo>
                    <a:lnTo>
                      <a:pt x="489" y="1076"/>
                    </a:lnTo>
                    <a:lnTo>
                      <a:pt x="473" y="1070"/>
                    </a:lnTo>
                    <a:lnTo>
                      <a:pt x="458" y="1062"/>
                    </a:lnTo>
                    <a:lnTo>
                      <a:pt x="441" y="1054"/>
                    </a:lnTo>
                    <a:lnTo>
                      <a:pt x="425" y="1044"/>
                    </a:lnTo>
                    <a:lnTo>
                      <a:pt x="410" y="1032"/>
                    </a:lnTo>
                    <a:lnTo>
                      <a:pt x="394" y="1019"/>
                    </a:lnTo>
                    <a:lnTo>
                      <a:pt x="378" y="1006"/>
                    </a:lnTo>
                    <a:lnTo>
                      <a:pt x="363" y="991"/>
                    </a:lnTo>
                    <a:lnTo>
                      <a:pt x="346" y="975"/>
                    </a:lnTo>
                    <a:lnTo>
                      <a:pt x="331" y="959"/>
                    </a:lnTo>
                    <a:lnTo>
                      <a:pt x="316" y="940"/>
                    </a:lnTo>
                    <a:lnTo>
                      <a:pt x="301" y="923"/>
                    </a:lnTo>
                    <a:lnTo>
                      <a:pt x="286" y="904"/>
                    </a:lnTo>
                    <a:lnTo>
                      <a:pt x="271" y="884"/>
                    </a:lnTo>
                    <a:lnTo>
                      <a:pt x="257" y="864"/>
                    </a:lnTo>
                    <a:lnTo>
                      <a:pt x="229" y="822"/>
                    </a:lnTo>
                    <a:lnTo>
                      <a:pt x="202" y="778"/>
                    </a:lnTo>
                    <a:lnTo>
                      <a:pt x="176" y="734"/>
                    </a:lnTo>
                    <a:lnTo>
                      <a:pt x="152" y="690"/>
                    </a:lnTo>
                    <a:lnTo>
                      <a:pt x="130" y="646"/>
                    </a:lnTo>
                    <a:lnTo>
                      <a:pt x="111" y="601"/>
                    </a:lnTo>
                    <a:lnTo>
                      <a:pt x="94" y="559"/>
                    </a:lnTo>
                    <a:lnTo>
                      <a:pt x="80" y="518"/>
                    </a:lnTo>
                    <a:lnTo>
                      <a:pt x="56" y="448"/>
                    </a:lnTo>
                    <a:lnTo>
                      <a:pt x="34" y="378"/>
                    </a:lnTo>
                    <a:lnTo>
                      <a:pt x="26" y="342"/>
                    </a:lnTo>
                    <a:lnTo>
                      <a:pt x="17" y="307"/>
                    </a:lnTo>
                    <a:lnTo>
                      <a:pt x="11" y="272"/>
                    </a:lnTo>
                    <a:lnTo>
                      <a:pt x="5" y="239"/>
                    </a:lnTo>
                    <a:lnTo>
                      <a:pt x="2" y="205"/>
                    </a:lnTo>
                    <a:lnTo>
                      <a:pt x="0" y="173"/>
                    </a:lnTo>
                    <a:lnTo>
                      <a:pt x="0" y="157"/>
                    </a:lnTo>
                    <a:lnTo>
                      <a:pt x="1" y="142"/>
                    </a:lnTo>
                    <a:lnTo>
                      <a:pt x="2" y="126"/>
                    </a:lnTo>
                    <a:lnTo>
                      <a:pt x="4" y="111"/>
                    </a:lnTo>
                    <a:lnTo>
                      <a:pt x="6" y="96"/>
                    </a:lnTo>
                    <a:lnTo>
                      <a:pt x="9" y="82"/>
                    </a:lnTo>
                    <a:lnTo>
                      <a:pt x="13" y="68"/>
                    </a:lnTo>
                    <a:lnTo>
                      <a:pt x="18" y="55"/>
                    </a:lnTo>
                    <a:lnTo>
                      <a:pt x="24" y="42"/>
                    </a:lnTo>
                    <a:lnTo>
                      <a:pt x="29" y="29"/>
                    </a:lnTo>
                    <a:lnTo>
                      <a:pt x="36" y="17"/>
                    </a:lnTo>
                    <a:lnTo>
                      <a:pt x="44" y="7"/>
                    </a:lnTo>
                    <a:lnTo>
                      <a:pt x="48" y="2"/>
                    </a:lnTo>
                    <a:lnTo>
                      <a:pt x="53" y="0"/>
                    </a:lnTo>
                    <a:lnTo>
                      <a:pt x="58" y="1"/>
                    </a:lnTo>
                    <a:lnTo>
                      <a:pt x="62" y="3"/>
                    </a:lnTo>
                    <a:lnTo>
                      <a:pt x="67" y="7"/>
                    </a:lnTo>
                    <a:lnTo>
                      <a:pt x="68" y="12"/>
                    </a:lnTo>
                    <a:lnTo>
                      <a:pt x="68" y="17"/>
                    </a:lnTo>
                    <a:lnTo>
                      <a:pt x="66" y="22"/>
                    </a:lnTo>
                    <a:lnTo>
                      <a:pt x="59" y="33"/>
                    </a:lnTo>
                    <a:lnTo>
                      <a:pt x="53" y="43"/>
                    </a:lnTo>
                    <a:lnTo>
                      <a:pt x="47" y="55"/>
                    </a:lnTo>
                    <a:lnTo>
                      <a:pt x="42" y="67"/>
                    </a:lnTo>
                    <a:lnTo>
                      <a:pt x="38" y="80"/>
                    </a:lnTo>
                    <a:lnTo>
                      <a:pt x="34" y="93"/>
                    </a:lnTo>
                    <a:lnTo>
                      <a:pt x="32" y="106"/>
                    </a:lnTo>
                    <a:lnTo>
                      <a:pt x="30" y="120"/>
                    </a:lnTo>
                    <a:lnTo>
                      <a:pt x="28" y="134"/>
                    </a:lnTo>
                    <a:lnTo>
                      <a:pt x="27" y="148"/>
                    </a:lnTo>
                    <a:lnTo>
                      <a:pt x="27" y="163"/>
                    </a:lnTo>
                    <a:lnTo>
                      <a:pt x="27" y="178"/>
                    </a:lnTo>
                    <a:lnTo>
                      <a:pt x="29" y="209"/>
                    </a:lnTo>
                    <a:lnTo>
                      <a:pt x="32" y="241"/>
                    </a:lnTo>
                    <a:lnTo>
                      <a:pt x="38" y="273"/>
                    </a:lnTo>
                    <a:lnTo>
                      <a:pt x="45" y="307"/>
                    </a:lnTo>
                    <a:lnTo>
                      <a:pt x="53" y="340"/>
                    </a:lnTo>
                    <a:lnTo>
                      <a:pt x="61" y="374"/>
                    </a:lnTo>
                    <a:lnTo>
                      <a:pt x="82" y="443"/>
                    </a:lnTo>
                    <a:lnTo>
                      <a:pt x="104" y="510"/>
                    </a:lnTo>
                    <a:lnTo>
                      <a:pt x="119" y="549"/>
                    </a:lnTo>
                    <a:lnTo>
                      <a:pt x="136" y="590"/>
                    </a:lnTo>
                    <a:lnTo>
                      <a:pt x="154" y="631"/>
                    </a:lnTo>
                    <a:lnTo>
                      <a:pt x="175" y="674"/>
                    </a:lnTo>
                    <a:lnTo>
                      <a:pt x="197" y="717"/>
                    </a:lnTo>
                    <a:lnTo>
                      <a:pt x="222" y="760"/>
                    </a:lnTo>
                    <a:lnTo>
                      <a:pt x="248" y="802"/>
                    </a:lnTo>
                    <a:lnTo>
                      <a:pt x="275" y="843"/>
                    </a:lnTo>
                    <a:lnTo>
                      <a:pt x="303" y="882"/>
                    </a:lnTo>
                    <a:lnTo>
                      <a:pt x="332" y="919"/>
                    </a:lnTo>
                    <a:lnTo>
                      <a:pt x="346" y="936"/>
                    </a:lnTo>
                    <a:lnTo>
                      <a:pt x="361" y="952"/>
                    </a:lnTo>
                    <a:lnTo>
                      <a:pt x="377" y="967"/>
                    </a:lnTo>
                    <a:lnTo>
                      <a:pt x="392" y="981"/>
                    </a:lnTo>
                    <a:lnTo>
                      <a:pt x="407" y="995"/>
                    </a:lnTo>
                    <a:lnTo>
                      <a:pt x="422" y="1007"/>
                    </a:lnTo>
                    <a:lnTo>
                      <a:pt x="437" y="1019"/>
                    </a:lnTo>
                    <a:lnTo>
                      <a:pt x="451" y="1029"/>
                    </a:lnTo>
                    <a:lnTo>
                      <a:pt x="466" y="1038"/>
                    </a:lnTo>
                    <a:lnTo>
                      <a:pt x="481" y="1044"/>
                    </a:lnTo>
                    <a:lnTo>
                      <a:pt x="496" y="1051"/>
                    </a:lnTo>
                    <a:lnTo>
                      <a:pt x="510" y="1055"/>
                    </a:lnTo>
                    <a:lnTo>
                      <a:pt x="555" y="1065"/>
                    </a:lnTo>
                    <a:lnTo>
                      <a:pt x="599" y="1072"/>
                    </a:lnTo>
                    <a:lnTo>
                      <a:pt x="643" y="1079"/>
                    </a:lnTo>
                    <a:lnTo>
                      <a:pt x="687" y="1083"/>
                    </a:lnTo>
                    <a:lnTo>
                      <a:pt x="729" y="1086"/>
                    </a:lnTo>
                    <a:lnTo>
                      <a:pt x="771" y="1088"/>
                    </a:lnTo>
                    <a:lnTo>
                      <a:pt x="813" y="1088"/>
                    </a:lnTo>
                    <a:lnTo>
                      <a:pt x="855" y="1088"/>
                    </a:lnTo>
                    <a:lnTo>
                      <a:pt x="897" y="1086"/>
                    </a:lnTo>
                    <a:lnTo>
                      <a:pt x="939" y="1084"/>
                    </a:lnTo>
                    <a:lnTo>
                      <a:pt x="980" y="1081"/>
                    </a:lnTo>
                    <a:lnTo>
                      <a:pt x="1022" y="1078"/>
                    </a:lnTo>
                    <a:lnTo>
                      <a:pt x="1105" y="1069"/>
                    </a:lnTo>
                    <a:lnTo>
                      <a:pt x="1190" y="1059"/>
                    </a:lnTo>
                    <a:lnTo>
                      <a:pt x="1219" y="1056"/>
                    </a:lnTo>
                    <a:lnTo>
                      <a:pt x="1247" y="1052"/>
                    </a:lnTo>
                    <a:lnTo>
                      <a:pt x="1276" y="1048"/>
                    </a:lnTo>
                    <a:lnTo>
                      <a:pt x="1306" y="1045"/>
                    </a:lnTo>
                    <a:lnTo>
                      <a:pt x="1335" y="1042"/>
                    </a:lnTo>
                    <a:lnTo>
                      <a:pt x="1365" y="1040"/>
                    </a:lnTo>
                    <a:lnTo>
                      <a:pt x="1395" y="1036"/>
                    </a:lnTo>
                    <a:lnTo>
                      <a:pt x="1425" y="1034"/>
                    </a:lnTo>
                    <a:lnTo>
                      <a:pt x="1460" y="1032"/>
                    </a:lnTo>
                    <a:lnTo>
                      <a:pt x="1493" y="1030"/>
                    </a:lnTo>
                    <a:lnTo>
                      <a:pt x="1527" y="1029"/>
                    </a:lnTo>
                    <a:lnTo>
                      <a:pt x="1558" y="1028"/>
                    </a:lnTo>
                    <a:lnTo>
                      <a:pt x="1589" y="1028"/>
                    </a:lnTo>
                    <a:lnTo>
                      <a:pt x="1621" y="1028"/>
                    </a:lnTo>
                    <a:lnTo>
                      <a:pt x="1651" y="1028"/>
                    </a:lnTo>
                    <a:lnTo>
                      <a:pt x="1681" y="1030"/>
                    </a:lnTo>
                    <a:lnTo>
                      <a:pt x="1725" y="1032"/>
                    </a:lnTo>
                    <a:lnTo>
                      <a:pt x="1767" y="1035"/>
                    </a:lnTo>
                    <a:lnTo>
                      <a:pt x="1808" y="1041"/>
                    </a:lnTo>
                    <a:lnTo>
                      <a:pt x="1848" y="1046"/>
                    </a:lnTo>
                    <a:lnTo>
                      <a:pt x="1886" y="1053"/>
                    </a:lnTo>
                    <a:lnTo>
                      <a:pt x="1923" y="1061"/>
                    </a:lnTo>
                    <a:lnTo>
                      <a:pt x="1959" y="1070"/>
                    </a:lnTo>
                    <a:lnTo>
                      <a:pt x="1993" y="1080"/>
                    </a:lnTo>
                    <a:lnTo>
                      <a:pt x="2031" y="1093"/>
                    </a:lnTo>
                    <a:lnTo>
                      <a:pt x="2067" y="1106"/>
                    </a:lnTo>
                    <a:lnTo>
                      <a:pt x="2100" y="1120"/>
                    </a:lnTo>
                    <a:lnTo>
                      <a:pt x="2131" y="1134"/>
                    </a:lnTo>
                    <a:lnTo>
                      <a:pt x="2162" y="1149"/>
                    </a:lnTo>
                    <a:lnTo>
                      <a:pt x="2190" y="1163"/>
                    </a:lnTo>
                    <a:lnTo>
                      <a:pt x="2218" y="1178"/>
                    </a:lnTo>
                    <a:lnTo>
                      <a:pt x="2244" y="1192"/>
                    </a:lnTo>
                    <a:lnTo>
                      <a:pt x="2274" y="1208"/>
                    </a:lnTo>
                    <a:lnTo>
                      <a:pt x="2303" y="1224"/>
                    </a:lnTo>
                    <a:lnTo>
                      <a:pt x="2332" y="1238"/>
                    </a:lnTo>
                    <a:lnTo>
                      <a:pt x="2361" y="1251"/>
                    </a:lnTo>
                    <a:lnTo>
                      <a:pt x="2388" y="1263"/>
                    </a:lnTo>
                    <a:lnTo>
                      <a:pt x="2414" y="1274"/>
                    </a:lnTo>
                    <a:lnTo>
                      <a:pt x="2440" y="1284"/>
                    </a:lnTo>
                    <a:lnTo>
                      <a:pt x="2465" y="1293"/>
                    </a:lnTo>
                    <a:lnTo>
                      <a:pt x="2490" y="1301"/>
                    </a:lnTo>
                    <a:lnTo>
                      <a:pt x="2515" y="1309"/>
                    </a:lnTo>
                    <a:lnTo>
                      <a:pt x="2538" y="1315"/>
                    </a:lnTo>
                    <a:lnTo>
                      <a:pt x="2562" y="1319"/>
                    </a:lnTo>
                    <a:lnTo>
                      <a:pt x="2599" y="1326"/>
                    </a:lnTo>
                    <a:lnTo>
                      <a:pt x="2627" y="1328"/>
                    </a:lnTo>
                    <a:lnTo>
                      <a:pt x="2639" y="1328"/>
                    </a:lnTo>
                    <a:lnTo>
                      <a:pt x="2650" y="1328"/>
                    </a:lnTo>
                    <a:lnTo>
                      <a:pt x="2658" y="1326"/>
                    </a:lnTo>
                    <a:lnTo>
                      <a:pt x="2666" y="1324"/>
                    </a:lnTo>
                    <a:lnTo>
                      <a:pt x="2671" y="1324"/>
                    </a:lnTo>
                    <a:lnTo>
                      <a:pt x="2677" y="1325"/>
                    </a:lnTo>
                    <a:lnTo>
                      <a:pt x="2680" y="1328"/>
                    </a:lnTo>
                    <a:lnTo>
                      <a:pt x="2683" y="1332"/>
                    </a:lnTo>
                    <a:lnTo>
                      <a:pt x="2683" y="1338"/>
                    </a:lnTo>
                    <a:lnTo>
                      <a:pt x="2682" y="1343"/>
                    </a:lnTo>
                    <a:lnTo>
                      <a:pt x="2679" y="1347"/>
                    </a:lnTo>
                    <a:lnTo>
                      <a:pt x="2674" y="1350"/>
                    </a:lnTo>
                    <a:lnTo>
                      <a:pt x="2666" y="1352"/>
                    </a:lnTo>
                    <a:lnTo>
                      <a:pt x="2656" y="1354"/>
                    </a:lnTo>
                    <a:lnTo>
                      <a:pt x="2646" y="1355"/>
                    </a:lnTo>
                    <a:lnTo>
                      <a:pt x="2636" y="1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3"/>
              <p:cNvSpPr>
                <a:spLocks/>
              </p:cNvSpPr>
              <p:nvPr userDrawn="1"/>
            </p:nvSpPr>
            <p:spPr bwMode="auto">
              <a:xfrm>
                <a:off x="2038" y="1210"/>
                <a:ext cx="902" cy="456"/>
              </a:xfrm>
              <a:custGeom>
                <a:avLst/>
                <a:gdLst>
                  <a:gd name="T0" fmla="*/ 2587 w 2707"/>
                  <a:gd name="T1" fmla="*/ 1365 h 1366"/>
                  <a:gd name="T2" fmla="*/ 2521 w 2707"/>
                  <a:gd name="T3" fmla="*/ 1357 h 1366"/>
                  <a:gd name="T4" fmla="*/ 2396 w 2707"/>
                  <a:gd name="T5" fmla="*/ 1319 h 1366"/>
                  <a:gd name="T6" fmla="*/ 2221 w 2707"/>
                  <a:gd name="T7" fmla="*/ 1248 h 1366"/>
                  <a:gd name="T8" fmla="*/ 2054 w 2707"/>
                  <a:gd name="T9" fmla="*/ 1185 h 1366"/>
                  <a:gd name="T10" fmla="*/ 1895 w 2707"/>
                  <a:gd name="T11" fmla="*/ 1140 h 1366"/>
                  <a:gd name="T12" fmla="*/ 1710 w 2707"/>
                  <a:gd name="T13" fmla="*/ 1107 h 1366"/>
                  <a:gd name="T14" fmla="*/ 1551 w 2707"/>
                  <a:gd name="T15" fmla="*/ 1093 h 1366"/>
                  <a:gd name="T16" fmla="*/ 1312 w 2707"/>
                  <a:gd name="T17" fmla="*/ 1095 h 1366"/>
                  <a:gd name="T18" fmla="*/ 1040 w 2707"/>
                  <a:gd name="T19" fmla="*/ 1116 h 1366"/>
                  <a:gd name="T20" fmla="*/ 845 w 2707"/>
                  <a:gd name="T21" fmla="*/ 1127 h 1366"/>
                  <a:gd name="T22" fmla="*/ 688 w 2707"/>
                  <a:gd name="T23" fmla="*/ 1123 h 1366"/>
                  <a:gd name="T24" fmla="*/ 527 w 2707"/>
                  <a:gd name="T25" fmla="*/ 1101 h 1366"/>
                  <a:gd name="T26" fmla="*/ 438 w 2707"/>
                  <a:gd name="T27" fmla="*/ 1074 h 1366"/>
                  <a:gd name="T28" fmla="*/ 376 w 2707"/>
                  <a:gd name="T29" fmla="*/ 1030 h 1366"/>
                  <a:gd name="T30" fmla="*/ 313 w 2707"/>
                  <a:gd name="T31" fmla="*/ 966 h 1366"/>
                  <a:gd name="T32" fmla="*/ 253 w 2707"/>
                  <a:gd name="T33" fmla="*/ 890 h 1366"/>
                  <a:gd name="T34" fmla="*/ 160 w 2707"/>
                  <a:gd name="T35" fmla="*/ 736 h 1366"/>
                  <a:gd name="T36" fmla="*/ 82 w 2707"/>
                  <a:gd name="T37" fmla="*/ 563 h 1366"/>
                  <a:gd name="T38" fmla="*/ 28 w 2707"/>
                  <a:gd name="T39" fmla="*/ 371 h 1366"/>
                  <a:gd name="T40" fmla="*/ 3 w 2707"/>
                  <a:gd name="T41" fmla="*/ 240 h 1366"/>
                  <a:gd name="T42" fmla="*/ 1 w 2707"/>
                  <a:gd name="T43" fmla="*/ 145 h 1366"/>
                  <a:gd name="T44" fmla="*/ 11 w 2707"/>
                  <a:gd name="T45" fmla="*/ 84 h 1366"/>
                  <a:gd name="T46" fmla="*/ 31 w 2707"/>
                  <a:gd name="T47" fmla="*/ 30 h 1366"/>
                  <a:gd name="T48" fmla="*/ 56 w 2707"/>
                  <a:gd name="T49" fmla="*/ 0 h 1366"/>
                  <a:gd name="T50" fmla="*/ 71 w 2707"/>
                  <a:gd name="T51" fmla="*/ 12 h 1366"/>
                  <a:gd name="T52" fmla="*/ 55 w 2707"/>
                  <a:gd name="T53" fmla="*/ 44 h 1366"/>
                  <a:gd name="T54" fmla="*/ 36 w 2707"/>
                  <a:gd name="T55" fmla="*/ 95 h 1366"/>
                  <a:gd name="T56" fmla="*/ 27 w 2707"/>
                  <a:gd name="T57" fmla="*/ 151 h 1366"/>
                  <a:gd name="T58" fmla="*/ 30 w 2707"/>
                  <a:gd name="T59" fmla="*/ 242 h 1366"/>
                  <a:gd name="T60" fmla="*/ 55 w 2707"/>
                  <a:gd name="T61" fmla="*/ 368 h 1366"/>
                  <a:gd name="T62" fmla="*/ 108 w 2707"/>
                  <a:gd name="T63" fmla="*/ 554 h 1366"/>
                  <a:gd name="T64" fmla="*/ 183 w 2707"/>
                  <a:gd name="T65" fmla="*/ 723 h 1366"/>
                  <a:gd name="T66" fmla="*/ 288 w 2707"/>
                  <a:gd name="T67" fmla="*/ 892 h 1366"/>
                  <a:gd name="T68" fmla="*/ 361 w 2707"/>
                  <a:gd name="T69" fmla="*/ 978 h 1366"/>
                  <a:gd name="T70" fmla="*/ 420 w 2707"/>
                  <a:gd name="T71" fmla="*/ 1030 h 1366"/>
                  <a:gd name="T72" fmla="*/ 477 w 2707"/>
                  <a:gd name="T73" fmla="*/ 1061 h 1366"/>
                  <a:gd name="T74" fmla="*/ 612 w 2707"/>
                  <a:gd name="T75" fmla="*/ 1088 h 1366"/>
                  <a:gd name="T76" fmla="*/ 769 w 2707"/>
                  <a:gd name="T77" fmla="*/ 1100 h 1366"/>
                  <a:gd name="T78" fmla="*/ 923 w 2707"/>
                  <a:gd name="T79" fmla="*/ 1097 h 1366"/>
                  <a:gd name="T80" fmla="*/ 1181 w 2707"/>
                  <a:gd name="T81" fmla="*/ 1077 h 1366"/>
                  <a:gd name="T82" fmla="*/ 1447 w 2707"/>
                  <a:gd name="T83" fmla="*/ 1063 h 1366"/>
                  <a:gd name="T84" fmla="*/ 1625 w 2707"/>
                  <a:gd name="T85" fmla="*/ 1070 h 1366"/>
                  <a:gd name="T86" fmla="*/ 1811 w 2707"/>
                  <a:gd name="T87" fmla="*/ 1095 h 1366"/>
                  <a:gd name="T88" fmla="*/ 1985 w 2707"/>
                  <a:gd name="T89" fmla="*/ 1136 h 1366"/>
                  <a:gd name="T90" fmla="*/ 2133 w 2707"/>
                  <a:gd name="T91" fmla="*/ 1184 h 1366"/>
                  <a:gd name="T92" fmla="*/ 2329 w 2707"/>
                  <a:gd name="T93" fmla="*/ 1263 h 1366"/>
                  <a:gd name="T94" fmla="*/ 2475 w 2707"/>
                  <a:gd name="T95" fmla="*/ 1317 h 1366"/>
                  <a:gd name="T96" fmla="*/ 2560 w 2707"/>
                  <a:gd name="T97" fmla="*/ 1335 h 1366"/>
                  <a:gd name="T98" fmla="*/ 2627 w 2707"/>
                  <a:gd name="T99" fmla="*/ 1339 h 1366"/>
                  <a:gd name="T100" fmla="*/ 2679 w 2707"/>
                  <a:gd name="T101" fmla="*/ 1333 h 1366"/>
                  <a:gd name="T102" fmla="*/ 2704 w 2707"/>
                  <a:gd name="T103" fmla="*/ 1334 h 1366"/>
                  <a:gd name="T104" fmla="*/ 2702 w 2707"/>
                  <a:gd name="T105" fmla="*/ 1354 h 1366"/>
                  <a:gd name="T106" fmla="*/ 2643 w 2707"/>
                  <a:gd name="T107" fmla="*/ 1366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7" h="1366">
                    <a:moveTo>
                      <a:pt x="2622" y="1366"/>
                    </a:moveTo>
                    <a:lnTo>
                      <a:pt x="2611" y="1366"/>
                    </a:lnTo>
                    <a:lnTo>
                      <a:pt x="2599" y="1366"/>
                    </a:lnTo>
                    <a:lnTo>
                      <a:pt x="2587" y="1365"/>
                    </a:lnTo>
                    <a:lnTo>
                      <a:pt x="2574" y="1364"/>
                    </a:lnTo>
                    <a:lnTo>
                      <a:pt x="2557" y="1362"/>
                    </a:lnTo>
                    <a:lnTo>
                      <a:pt x="2540" y="1359"/>
                    </a:lnTo>
                    <a:lnTo>
                      <a:pt x="2521" y="1357"/>
                    </a:lnTo>
                    <a:lnTo>
                      <a:pt x="2504" y="1353"/>
                    </a:lnTo>
                    <a:lnTo>
                      <a:pt x="2468" y="1343"/>
                    </a:lnTo>
                    <a:lnTo>
                      <a:pt x="2433" y="1332"/>
                    </a:lnTo>
                    <a:lnTo>
                      <a:pt x="2396" y="1319"/>
                    </a:lnTo>
                    <a:lnTo>
                      <a:pt x="2358" y="1304"/>
                    </a:lnTo>
                    <a:lnTo>
                      <a:pt x="2319" y="1289"/>
                    </a:lnTo>
                    <a:lnTo>
                      <a:pt x="2279" y="1272"/>
                    </a:lnTo>
                    <a:lnTo>
                      <a:pt x="2221" y="1248"/>
                    </a:lnTo>
                    <a:lnTo>
                      <a:pt x="2157" y="1222"/>
                    </a:lnTo>
                    <a:lnTo>
                      <a:pt x="2124" y="1210"/>
                    </a:lnTo>
                    <a:lnTo>
                      <a:pt x="2089" y="1197"/>
                    </a:lnTo>
                    <a:lnTo>
                      <a:pt x="2054" y="1185"/>
                    </a:lnTo>
                    <a:lnTo>
                      <a:pt x="2016" y="1172"/>
                    </a:lnTo>
                    <a:lnTo>
                      <a:pt x="1977" y="1162"/>
                    </a:lnTo>
                    <a:lnTo>
                      <a:pt x="1937" y="1151"/>
                    </a:lnTo>
                    <a:lnTo>
                      <a:pt x="1895" y="1140"/>
                    </a:lnTo>
                    <a:lnTo>
                      <a:pt x="1852" y="1130"/>
                    </a:lnTo>
                    <a:lnTo>
                      <a:pt x="1806" y="1122"/>
                    </a:lnTo>
                    <a:lnTo>
                      <a:pt x="1759" y="1113"/>
                    </a:lnTo>
                    <a:lnTo>
                      <a:pt x="1710" y="1107"/>
                    </a:lnTo>
                    <a:lnTo>
                      <a:pt x="1660" y="1100"/>
                    </a:lnTo>
                    <a:lnTo>
                      <a:pt x="1623" y="1097"/>
                    </a:lnTo>
                    <a:lnTo>
                      <a:pt x="1586" y="1095"/>
                    </a:lnTo>
                    <a:lnTo>
                      <a:pt x="1551" y="1093"/>
                    </a:lnTo>
                    <a:lnTo>
                      <a:pt x="1516" y="1092"/>
                    </a:lnTo>
                    <a:lnTo>
                      <a:pt x="1447" y="1090"/>
                    </a:lnTo>
                    <a:lnTo>
                      <a:pt x="1379" y="1092"/>
                    </a:lnTo>
                    <a:lnTo>
                      <a:pt x="1312" y="1095"/>
                    </a:lnTo>
                    <a:lnTo>
                      <a:pt x="1247" y="1099"/>
                    </a:lnTo>
                    <a:lnTo>
                      <a:pt x="1182" y="1104"/>
                    </a:lnTo>
                    <a:lnTo>
                      <a:pt x="1119" y="1110"/>
                    </a:lnTo>
                    <a:lnTo>
                      <a:pt x="1040" y="1116"/>
                    </a:lnTo>
                    <a:lnTo>
                      <a:pt x="962" y="1122"/>
                    </a:lnTo>
                    <a:lnTo>
                      <a:pt x="923" y="1124"/>
                    </a:lnTo>
                    <a:lnTo>
                      <a:pt x="884" y="1126"/>
                    </a:lnTo>
                    <a:lnTo>
                      <a:pt x="845" y="1127"/>
                    </a:lnTo>
                    <a:lnTo>
                      <a:pt x="807" y="1127"/>
                    </a:lnTo>
                    <a:lnTo>
                      <a:pt x="767" y="1127"/>
                    </a:lnTo>
                    <a:lnTo>
                      <a:pt x="728" y="1125"/>
                    </a:lnTo>
                    <a:lnTo>
                      <a:pt x="688" y="1123"/>
                    </a:lnTo>
                    <a:lnTo>
                      <a:pt x="649" y="1120"/>
                    </a:lnTo>
                    <a:lnTo>
                      <a:pt x="608" y="1114"/>
                    </a:lnTo>
                    <a:lnTo>
                      <a:pt x="568" y="1109"/>
                    </a:lnTo>
                    <a:lnTo>
                      <a:pt x="527" y="1101"/>
                    </a:lnTo>
                    <a:lnTo>
                      <a:pt x="485" y="1092"/>
                    </a:lnTo>
                    <a:lnTo>
                      <a:pt x="470" y="1087"/>
                    </a:lnTo>
                    <a:lnTo>
                      <a:pt x="454" y="1082"/>
                    </a:lnTo>
                    <a:lnTo>
                      <a:pt x="438" y="1074"/>
                    </a:lnTo>
                    <a:lnTo>
                      <a:pt x="423" y="1065"/>
                    </a:lnTo>
                    <a:lnTo>
                      <a:pt x="407" y="1055"/>
                    </a:lnTo>
                    <a:lnTo>
                      <a:pt x="392" y="1043"/>
                    </a:lnTo>
                    <a:lnTo>
                      <a:pt x="376" y="1030"/>
                    </a:lnTo>
                    <a:lnTo>
                      <a:pt x="361" y="1015"/>
                    </a:lnTo>
                    <a:lnTo>
                      <a:pt x="344" y="1000"/>
                    </a:lnTo>
                    <a:lnTo>
                      <a:pt x="329" y="984"/>
                    </a:lnTo>
                    <a:lnTo>
                      <a:pt x="313" y="966"/>
                    </a:lnTo>
                    <a:lnTo>
                      <a:pt x="298" y="948"/>
                    </a:lnTo>
                    <a:lnTo>
                      <a:pt x="283" y="930"/>
                    </a:lnTo>
                    <a:lnTo>
                      <a:pt x="268" y="910"/>
                    </a:lnTo>
                    <a:lnTo>
                      <a:pt x="253" y="890"/>
                    </a:lnTo>
                    <a:lnTo>
                      <a:pt x="239" y="869"/>
                    </a:lnTo>
                    <a:lnTo>
                      <a:pt x="210" y="826"/>
                    </a:lnTo>
                    <a:lnTo>
                      <a:pt x="185" y="782"/>
                    </a:lnTo>
                    <a:lnTo>
                      <a:pt x="160" y="736"/>
                    </a:lnTo>
                    <a:lnTo>
                      <a:pt x="137" y="692"/>
                    </a:lnTo>
                    <a:lnTo>
                      <a:pt x="115" y="647"/>
                    </a:lnTo>
                    <a:lnTo>
                      <a:pt x="98" y="604"/>
                    </a:lnTo>
                    <a:lnTo>
                      <a:pt x="82" y="563"/>
                    </a:lnTo>
                    <a:lnTo>
                      <a:pt x="70" y="524"/>
                    </a:lnTo>
                    <a:lnTo>
                      <a:pt x="61" y="495"/>
                    </a:lnTo>
                    <a:lnTo>
                      <a:pt x="44" y="435"/>
                    </a:lnTo>
                    <a:lnTo>
                      <a:pt x="28" y="371"/>
                    </a:lnTo>
                    <a:lnTo>
                      <a:pt x="20" y="339"/>
                    </a:lnTo>
                    <a:lnTo>
                      <a:pt x="13" y="306"/>
                    </a:lnTo>
                    <a:lnTo>
                      <a:pt x="7" y="273"/>
                    </a:lnTo>
                    <a:lnTo>
                      <a:pt x="3" y="240"/>
                    </a:lnTo>
                    <a:lnTo>
                      <a:pt x="0" y="207"/>
                    </a:lnTo>
                    <a:lnTo>
                      <a:pt x="0" y="176"/>
                    </a:lnTo>
                    <a:lnTo>
                      <a:pt x="0" y="160"/>
                    </a:lnTo>
                    <a:lnTo>
                      <a:pt x="1" y="145"/>
                    </a:lnTo>
                    <a:lnTo>
                      <a:pt x="2" y="129"/>
                    </a:lnTo>
                    <a:lnTo>
                      <a:pt x="4" y="113"/>
                    </a:lnTo>
                    <a:lnTo>
                      <a:pt x="7" y="99"/>
                    </a:lnTo>
                    <a:lnTo>
                      <a:pt x="11" y="84"/>
                    </a:lnTo>
                    <a:lnTo>
                      <a:pt x="15" y="70"/>
                    </a:lnTo>
                    <a:lnTo>
                      <a:pt x="19" y="57"/>
                    </a:lnTo>
                    <a:lnTo>
                      <a:pt x="25" y="43"/>
                    </a:lnTo>
                    <a:lnTo>
                      <a:pt x="31" y="30"/>
                    </a:lnTo>
                    <a:lnTo>
                      <a:pt x="39" y="18"/>
                    </a:lnTo>
                    <a:lnTo>
                      <a:pt x="47" y="6"/>
                    </a:lnTo>
                    <a:lnTo>
                      <a:pt x="51" y="2"/>
                    </a:lnTo>
                    <a:lnTo>
                      <a:pt x="56" y="0"/>
                    </a:lnTo>
                    <a:lnTo>
                      <a:pt x="61" y="1"/>
                    </a:lnTo>
                    <a:lnTo>
                      <a:pt x="66" y="3"/>
                    </a:lnTo>
                    <a:lnTo>
                      <a:pt x="70" y="7"/>
                    </a:lnTo>
                    <a:lnTo>
                      <a:pt x="71" y="12"/>
                    </a:lnTo>
                    <a:lnTo>
                      <a:pt x="71" y="17"/>
                    </a:lnTo>
                    <a:lnTo>
                      <a:pt x="69" y="22"/>
                    </a:lnTo>
                    <a:lnTo>
                      <a:pt x="61" y="33"/>
                    </a:lnTo>
                    <a:lnTo>
                      <a:pt x="55" y="44"/>
                    </a:lnTo>
                    <a:lnTo>
                      <a:pt x="50" y="56"/>
                    </a:lnTo>
                    <a:lnTo>
                      <a:pt x="44" y="69"/>
                    </a:lnTo>
                    <a:lnTo>
                      <a:pt x="40" y="82"/>
                    </a:lnTo>
                    <a:lnTo>
                      <a:pt x="36" y="95"/>
                    </a:lnTo>
                    <a:lnTo>
                      <a:pt x="32" y="108"/>
                    </a:lnTo>
                    <a:lnTo>
                      <a:pt x="30" y="122"/>
                    </a:lnTo>
                    <a:lnTo>
                      <a:pt x="29" y="136"/>
                    </a:lnTo>
                    <a:lnTo>
                      <a:pt x="27" y="151"/>
                    </a:lnTo>
                    <a:lnTo>
                      <a:pt x="27" y="166"/>
                    </a:lnTo>
                    <a:lnTo>
                      <a:pt x="27" y="180"/>
                    </a:lnTo>
                    <a:lnTo>
                      <a:pt x="28" y="212"/>
                    </a:lnTo>
                    <a:lnTo>
                      <a:pt x="30" y="242"/>
                    </a:lnTo>
                    <a:lnTo>
                      <a:pt x="34" y="274"/>
                    </a:lnTo>
                    <a:lnTo>
                      <a:pt x="41" y="306"/>
                    </a:lnTo>
                    <a:lnTo>
                      <a:pt x="47" y="337"/>
                    </a:lnTo>
                    <a:lnTo>
                      <a:pt x="55" y="368"/>
                    </a:lnTo>
                    <a:lnTo>
                      <a:pt x="71" y="430"/>
                    </a:lnTo>
                    <a:lnTo>
                      <a:pt x="87" y="487"/>
                    </a:lnTo>
                    <a:lnTo>
                      <a:pt x="96" y="516"/>
                    </a:lnTo>
                    <a:lnTo>
                      <a:pt x="108" y="554"/>
                    </a:lnTo>
                    <a:lnTo>
                      <a:pt x="123" y="595"/>
                    </a:lnTo>
                    <a:lnTo>
                      <a:pt x="141" y="637"/>
                    </a:lnTo>
                    <a:lnTo>
                      <a:pt x="161" y="680"/>
                    </a:lnTo>
                    <a:lnTo>
                      <a:pt x="183" y="723"/>
                    </a:lnTo>
                    <a:lnTo>
                      <a:pt x="207" y="768"/>
                    </a:lnTo>
                    <a:lnTo>
                      <a:pt x="233" y="810"/>
                    </a:lnTo>
                    <a:lnTo>
                      <a:pt x="260" y="852"/>
                    </a:lnTo>
                    <a:lnTo>
                      <a:pt x="288" y="892"/>
                    </a:lnTo>
                    <a:lnTo>
                      <a:pt x="316" y="928"/>
                    </a:lnTo>
                    <a:lnTo>
                      <a:pt x="331" y="946"/>
                    </a:lnTo>
                    <a:lnTo>
                      <a:pt x="345" y="963"/>
                    </a:lnTo>
                    <a:lnTo>
                      <a:pt x="361" y="978"/>
                    </a:lnTo>
                    <a:lnTo>
                      <a:pt x="376" y="993"/>
                    </a:lnTo>
                    <a:lnTo>
                      <a:pt x="390" y="1006"/>
                    </a:lnTo>
                    <a:lnTo>
                      <a:pt x="405" y="1019"/>
                    </a:lnTo>
                    <a:lnTo>
                      <a:pt x="420" y="1030"/>
                    </a:lnTo>
                    <a:lnTo>
                      <a:pt x="434" y="1041"/>
                    </a:lnTo>
                    <a:lnTo>
                      <a:pt x="449" y="1048"/>
                    </a:lnTo>
                    <a:lnTo>
                      <a:pt x="463" y="1056"/>
                    </a:lnTo>
                    <a:lnTo>
                      <a:pt x="477" y="1061"/>
                    </a:lnTo>
                    <a:lnTo>
                      <a:pt x="491" y="1066"/>
                    </a:lnTo>
                    <a:lnTo>
                      <a:pt x="532" y="1074"/>
                    </a:lnTo>
                    <a:lnTo>
                      <a:pt x="572" y="1082"/>
                    </a:lnTo>
                    <a:lnTo>
                      <a:pt x="612" y="1088"/>
                    </a:lnTo>
                    <a:lnTo>
                      <a:pt x="652" y="1093"/>
                    </a:lnTo>
                    <a:lnTo>
                      <a:pt x="691" y="1096"/>
                    </a:lnTo>
                    <a:lnTo>
                      <a:pt x="730" y="1098"/>
                    </a:lnTo>
                    <a:lnTo>
                      <a:pt x="769" y="1100"/>
                    </a:lnTo>
                    <a:lnTo>
                      <a:pt x="808" y="1100"/>
                    </a:lnTo>
                    <a:lnTo>
                      <a:pt x="846" y="1100"/>
                    </a:lnTo>
                    <a:lnTo>
                      <a:pt x="884" y="1099"/>
                    </a:lnTo>
                    <a:lnTo>
                      <a:pt x="923" y="1097"/>
                    </a:lnTo>
                    <a:lnTo>
                      <a:pt x="961" y="1095"/>
                    </a:lnTo>
                    <a:lnTo>
                      <a:pt x="1039" y="1089"/>
                    </a:lnTo>
                    <a:lnTo>
                      <a:pt x="1116" y="1083"/>
                    </a:lnTo>
                    <a:lnTo>
                      <a:pt x="1181" y="1077"/>
                    </a:lnTo>
                    <a:lnTo>
                      <a:pt x="1246" y="1072"/>
                    </a:lnTo>
                    <a:lnTo>
                      <a:pt x="1312" y="1068"/>
                    </a:lnTo>
                    <a:lnTo>
                      <a:pt x="1379" y="1065"/>
                    </a:lnTo>
                    <a:lnTo>
                      <a:pt x="1447" y="1063"/>
                    </a:lnTo>
                    <a:lnTo>
                      <a:pt x="1517" y="1065"/>
                    </a:lnTo>
                    <a:lnTo>
                      <a:pt x="1553" y="1066"/>
                    </a:lnTo>
                    <a:lnTo>
                      <a:pt x="1588" y="1068"/>
                    </a:lnTo>
                    <a:lnTo>
                      <a:pt x="1625" y="1070"/>
                    </a:lnTo>
                    <a:lnTo>
                      <a:pt x="1662" y="1073"/>
                    </a:lnTo>
                    <a:lnTo>
                      <a:pt x="1714" y="1080"/>
                    </a:lnTo>
                    <a:lnTo>
                      <a:pt x="1763" y="1086"/>
                    </a:lnTo>
                    <a:lnTo>
                      <a:pt x="1811" y="1095"/>
                    </a:lnTo>
                    <a:lnTo>
                      <a:pt x="1857" y="1103"/>
                    </a:lnTo>
                    <a:lnTo>
                      <a:pt x="1901" y="1113"/>
                    </a:lnTo>
                    <a:lnTo>
                      <a:pt x="1944" y="1124"/>
                    </a:lnTo>
                    <a:lnTo>
                      <a:pt x="1985" y="1136"/>
                    </a:lnTo>
                    <a:lnTo>
                      <a:pt x="2023" y="1147"/>
                    </a:lnTo>
                    <a:lnTo>
                      <a:pt x="2061" y="1160"/>
                    </a:lnTo>
                    <a:lnTo>
                      <a:pt x="2098" y="1171"/>
                    </a:lnTo>
                    <a:lnTo>
                      <a:pt x="2133" y="1184"/>
                    </a:lnTo>
                    <a:lnTo>
                      <a:pt x="2166" y="1197"/>
                    </a:lnTo>
                    <a:lnTo>
                      <a:pt x="2231" y="1222"/>
                    </a:lnTo>
                    <a:lnTo>
                      <a:pt x="2290" y="1247"/>
                    </a:lnTo>
                    <a:lnTo>
                      <a:pt x="2329" y="1263"/>
                    </a:lnTo>
                    <a:lnTo>
                      <a:pt x="2367" y="1279"/>
                    </a:lnTo>
                    <a:lnTo>
                      <a:pt x="2404" y="1293"/>
                    </a:lnTo>
                    <a:lnTo>
                      <a:pt x="2439" y="1306"/>
                    </a:lnTo>
                    <a:lnTo>
                      <a:pt x="2475" y="1317"/>
                    </a:lnTo>
                    <a:lnTo>
                      <a:pt x="2509" y="1326"/>
                    </a:lnTo>
                    <a:lnTo>
                      <a:pt x="2526" y="1330"/>
                    </a:lnTo>
                    <a:lnTo>
                      <a:pt x="2543" y="1333"/>
                    </a:lnTo>
                    <a:lnTo>
                      <a:pt x="2560" y="1335"/>
                    </a:lnTo>
                    <a:lnTo>
                      <a:pt x="2576" y="1337"/>
                    </a:lnTo>
                    <a:lnTo>
                      <a:pt x="2595" y="1338"/>
                    </a:lnTo>
                    <a:lnTo>
                      <a:pt x="2612" y="1339"/>
                    </a:lnTo>
                    <a:lnTo>
                      <a:pt x="2627" y="1339"/>
                    </a:lnTo>
                    <a:lnTo>
                      <a:pt x="2642" y="1339"/>
                    </a:lnTo>
                    <a:lnTo>
                      <a:pt x="2655" y="1338"/>
                    </a:lnTo>
                    <a:lnTo>
                      <a:pt x="2668" y="1335"/>
                    </a:lnTo>
                    <a:lnTo>
                      <a:pt x="2679" y="1333"/>
                    </a:lnTo>
                    <a:lnTo>
                      <a:pt x="2689" y="1330"/>
                    </a:lnTo>
                    <a:lnTo>
                      <a:pt x="2694" y="1330"/>
                    </a:lnTo>
                    <a:lnTo>
                      <a:pt x="2699" y="1331"/>
                    </a:lnTo>
                    <a:lnTo>
                      <a:pt x="2704" y="1334"/>
                    </a:lnTo>
                    <a:lnTo>
                      <a:pt x="2706" y="1339"/>
                    </a:lnTo>
                    <a:lnTo>
                      <a:pt x="2707" y="1344"/>
                    </a:lnTo>
                    <a:lnTo>
                      <a:pt x="2705" y="1349"/>
                    </a:lnTo>
                    <a:lnTo>
                      <a:pt x="2702" y="1354"/>
                    </a:lnTo>
                    <a:lnTo>
                      <a:pt x="2697" y="1356"/>
                    </a:lnTo>
                    <a:lnTo>
                      <a:pt x="2682" y="1360"/>
                    </a:lnTo>
                    <a:lnTo>
                      <a:pt x="2664" y="1364"/>
                    </a:lnTo>
                    <a:lnTo>
                      <a:pt x="2643" y="1366"/>
                    </a:lnTo>
                    <a:lnTo>
                      <a:pt x="2622"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4"/>
              <p:cNvSpPr>
                <a:spLocks/>
              </p:cNvSpPr>
              <p:nvPr userDrawn="1"/>
            </p:nvSpPr>
            <p:spPr bwMode="auto">
              <a:xfrm>
                <a:off x="3129" y="3416"/>
                <a:ext cx="280" cy="904"/>
              </a:xfrm>
              <a:custGeom>
                <a:avLst/>
                <a:gdLst>
                  <a:gd name="T0" fmla="*/ 761 w 840"/>
                  <a:gd name="T1" fmla="*/ 2652 h 2712"/>
                  <a:gd name="T2" fmla="*/ 743 w 840"/>
                  <a:gd name="T3" fmla="*/ 2549 h 2712"/>
                  <a:gd name="T4" fmla="*/ 722 w 840"/>
                  <a:gd name="T5" fmla="*/ 2432 h 2712"/>
                  <a:gd name="T6" fmla="*/ 712 w 840"/>
                  <a:gd name="T7" fmla="*/ 2346 h 2712"/>
                  <a:gd name="T8" fmla="*/ 715 w 840"/>
                  <a:gd name="T9" fmla="*/ 2292 h 2712"/>
                  <a:gd name="T10" fmla="*/ 732 w 840"/>
                  <a:gd name="T11" fmla="*/ 2220 h 2712"/>
                  <a:gd name="T12" fmla="*/ 771 w 840"/>
                  <a:gd name="T13" fmla="*/ 2090 h 2712"/>
                  <a:gd name="T14" fmla="*/ 789 w 840"/>
                  <a:gd name="T15" fmla="*/ 2011 h 2712"/>
                  <a:gd name="T16" fmla="*/ 804 w 840"/>
                  <a:gd name="T17" fmla="*/ 1921 h 2712"/>
                  <a:gd name="T18" fmla="*/ 812 w 840"/>
                  <a:gd name="T19" fmla="*/ 1817 h 2712"/>
                  <a:gd name="T20" fmla="*/ 811 w 840"/>
                  <a:gd name="T21" fmla="*/ 1696 h 2712"/>
                  <a:gd name="T22" fmla="*/ 798 w 840"/>
                  <a:gd name="T23" fmla="*/ 1558 h 2712"/>
                  <a:gd name="T24" fmla="*/ 770 w 840"/>
                  <a:gd name="T25" fmla="*/ 1399 h 2712"/>
                  <a:gd name="T26" fmla="*/ 724 w 840"/>
                  <a:gd name="T27" fmla="*/ 1220 h 2712"/>
                  <a:gd name="T28" fmla="*/ 660 w 840"/>
                  <a:gd name="T29" fmla="*/ 1017 h 2712"/>
                  <a:gd name="T30" fmla="*/ 571 w 840"/>
                  <a:gd name="T31" fmla="*/ 788 h 2712"/>
                  <a:gd name="T32" fmla="*/ 491 w 840"/>
                  <a:gd name="T33" fmla="*/ 611 h 2712"/>
                  <a:gd name="T34" fmla="*/ 412 w 840"/>
                  <a:gd name="T35" fmla="*/ 474 h 2712"/>
                  <a:gd name="T36" fmla="*/ 319 w 840"/>
                  <a:gd name="T37" fmla="*/ 343 h 2712"/>
                  <a:gd name="T38" fmla="*/ 213 w 840"/>
                  <a:gd name="T39" fmla="*/ 218 h 2712"/>
                  <a:gd name="T40" fmla="*/ 93 w 840"/>
                  <a:gd name="T41" fmla="*/ 100 h 2712"/>
                  <a:gd name="T42" fmla="*/ 2 w 840"/>
                  <a:gd name="T43" fmla="*/ 20 h 2712"/>
                  <a:gd name="T44" fmla="*/ 3 w 840"/>
                  <a:gd name="T45" fmla="*/ 5 h 2712"/>
                  <a:gd name="T46" fmla="*/ 17 w 840"/>
                  <a:gd name="T47" fmla="*/ 0 h 2712"/>
                  <a:gd name="T48" fmla="*/ 111 w 840"/>
                  <a:gd name="T49" fmla="*/ 79 h 2712"/>
                  <a:gd name="T50" fmla="*/ 233 w 840"/>
                  <a:gd name="T51" fmla="*/ 200 h 2712"/>
                  <a:gd name="T52" fmla="*/ 341 w 840"/>
                  <a:gd name="T53" fmla="*/ 326 h 2712"/>
                  <a:gd name="T54" fmla="*/ 435 w 840"/>
                  <a:gd name="T55" fmla="*/ 460 h 2712"/>
                  <a:gd name="T56" fmla="*/ 515 w 840"/>
                  <a:gd name="T57" fmla="*/ 599 h 2712"/>
                  <a:gd name="T58" fmla="*/ 596 w 840"/>
                  <a:gd name="T59" fmla="*/ 778 h 2712"/>
                  <a:gd name="T60" fmla="*/ 685 w 840"/>
                  <a:gd name="T61" fmla="*/ 1010 h 2712"/>
                  <a:gd name="T62" fmla="*/ 751 w 840"/>
                  <a:gd name="T63" fmla="*/ 1215 h 2712"/>
                  <a:gd name="T64" fmla="*/ 797 w 840"/>
                  <a:gd name="T65" fmla="*/ 1397 h 2712"/>
                  <a:gd name="T66" fmla="*/ 825 w 840"/>
                  <a:gd name="T67" fmla="*/ 1557 h 2712"/>
                  <a:gd name="T68" fmla="*/ 838 w 840"/>
                  <a:gd name="T69" fmla="*/ 1697 h 2712"/>
                  <a:gd name="T70" fmla="*/ 839 w 840"/>
                  <a:gd name="T71" fmla="*/ 1819 h 2712"/>
                  <a:gd name="T72" fmla="*/ 831 w 840"/>
                  <a:gd name="T73" fmla="*/ 1925 h 2712"/>
                  <a:gd name="T74" fmla="*/ 816 w 840"/>
                  <a:gd name="T75" fmla="*/ 2017 h 2712"/>
                  <a:gd name="T76" fmla="*/ 797 w 840"/>
                  <a:gd name="T77" fmla="*/ 2097 h 2712"/>
                  <a:gd name="T78" fmla="*/ 758 w 840"/>
                  <a:gd name="T79" fmla="*/ 2226 h 2712"/>
                  <a:gd name="T80" fmla="*/ 742 w 840"/>
                  <a:gd name="T81" fmla="*/ 2294 h 2712"/>
                  <a:gd name="T82" fmla="*/ 739 w 840"/>
                  <a:gd name="T83" fmla="*/ 2345 h 2712"/>
                  <a:gd name="T84" fmla="*/ 749 w 840"/>
                  <a:gd name="T85" fmla="*/ 2429 h 2712"/>
                  <a:gd name="T86" fmla="*/ 769 w 840"/>
                  <a:gd name="T87" fmla="*/ 2545 h 2712"/>
                  <a:gd name="T88" fmla="*/ 788 w 840"/>
                  <a:gd name="T89" fmla="*/ 2648 h 2712"/>
                  <a:gd name="T90" fmla="*/ 771 w 840"/>
                  <a:gd name="T91" fmla="*/ 2712 h 2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0" h="2712">
                    <a:moveTo>
                      <a:pt x="771" y="2712"/>
                    </a:moveTo>
                    <a:lnTo>
                      <a:pt x="765" y="2681"/>
                    </a:lnTo>
                    <a:lnTo>
                      <a:pt x="761" y="2652"/>
                    </a:lnTo>
                    <a:lnTo>
                      <a:pt x="756" y="2622"/>
                    </a:lnTo>
                    <a:lnTo>
                      <a:pt x="750" y="2594"/>
                    </a:lnTo>
                    <a:lnTo>
                      <a:pt x="743" y="2549"/>
                    </a:lnTo>
                    <a:lnTo>
                      <a:pt x="735" y="2507"/>
                    </a:lnTo>
                    <a:lnTo>
                      <a:pt x="729" y="2468"/>
                    </a:lnTo>
                    <a:lnTo>
                      <a:pt x="722" y="2432"/>
                    </a:lnTo>
                    <a:lnTo>
                      <a:pt x="718" y="2400"/>
                    </a:lnTo>
                    <a:lnTo>
                      <a:pt x="715" y="2371"/>
                    </a:lnTo>
                    <a:lnTo>
                      <a:pt x="712" y="2346"/>
                    </a:lnTo>
                    <a:lnTo>
                      <a:pt x="711" y="2324"/>
                    </a:lnTo>
                    <a:lnTo>
                      <a:pt x="712" y="2308"/>
                    </a:lnTo>
                    <a:lnTo>
                      <a:pt x="715" y="2292"/>
                    </a:lnTo>
                    <a:lnTo>
                      <a:pt x="718" y="2275"/>
                    </a:lnTo>
                    <a:lnTo>
                      <a:pt x="721" y="2258"/>
                    </a:lnTo>
                    <a:lnTo>
                      <a:pt x="732" y="2220"/>
                    </a:lnTo>
                    <a:lnTo>
                      <a:pt x="744" y="2179"/>
                    </a:lnTo>
                    <a:lnTo>
                      <a:pt x="757" y="2137"/>
                    </a:lnTo>
                    <a:lnTo>
                      <a:pt x="771" y="2090"/>
                    </a:lnTo>
                    <a:lnTo>
                      <a:pt x="777" y="2065"/>
                    </a:lnTo>
                    <a:lnTo>
                      <a:pt x="784" y="2039"/>
                    </a:lnTo>
                    <a:lnTo>
                      <a:pt x="789" y="2011"/>
                    </a:lnTo>
                    <a:lnTo>
                      <a:pt x="795" y="1983"/>
                    </a:lnTo>
                    <a:lnTo>
                      <a:pt x="800" y="1953"/>
                    </a:lnTo>
                    <a:lnTo>
                      <a:pt x="804" y="1921"/>
                    </a:lnTo>
                    <a:lnTo>
                      <a:pt x="808" y="1888"/>
                    </a:lnTo>
                    <a:lnTo>
                      <a:pt x="811" y="1853"/>
                    </a:lnTo>
                    <a:lnTo>
                      <a:pt x="812" y="1817"/>
                    </a:lnTo>
                    <a:lnTo>
                      <a:pt x="813" y="1778"/>
                    </a:lnTo>
                    <a:lnTo>
                      <a:pt x="813" y="1738"/>
                    </a:lnTo>
                    <a:lnTo>
                      <a:pt x="811" y="1696"/>
                    </a:lnTo>
                    <a:lnTo>
                      <a:pt x="808" y="1652"/>
                    </a:lnTo>
                    <a:lnTo>
                      <a:pt x="803" y="1607"/>
                    </a:lnTo>
                    <a:lnTo>
                      <a:pt x="798" y="1558"/>
                    </a:lnTo>
                    <a:lnTo>
                      <a:pt x="790" y="1507"/>
                    </a:lnTo>
                    <a:lnTo>
                      <a:pt x="781" y="1454"/>
                    </a:lnTo>
                    <a:lnTo>
                      <a:pt x="770" y="1399"/>
                    </a:lnTo>
                    <a:lnTo>
                      <a:pt x="757" y="1342"/>
                    </a:lnTo>
                    <a:lnTo>
                      <a:pt x="742" y="1283"/>
                    </a:lnTo>
                    <a:lnTo>
                      <a:pt x="724" y="1220"/>
                    </a:lnTo>
                    <a:lnTo>
                      <a:pt x="705" y="1155"/>
                    </a:lnTo>
                    <a:lnTo>
                      <a:pt x="683" y="1087"/>
                    </a:lnTo>
                    <a:lnTo>
                      <a:pt x="660" y="1017"/>
                    </a:lnTo>
                    <a:lnTo>
                      <a:pt x="633" y="944"/>
                    </a:lnTo>
                    <a:lnTo>
                      <a:pt x="603" y="867"/>
                    </a:lnTo>
                    <a:lnTo>
                      <a:pt x="571" y="788"/>
                    </a:lnTo>
                    <a:lnTo>
                      <a:pt x="535" y="705"/>
                    </a:lnTo>
                    <a:lnTo>
                      <a:pt x="514" y="658"/>
                    </a:lnTo>
                    <a:lnTo>
                      <a:pt x="491" y="611"/>
                    </a:lnTo>
                    <a:lnTo>
                      <a:pt x="466" y="565"/>
                    </a:lnTo>
                    <a:lnTo>
                      <a:pt x="440" y="520"/>
                    </a:lnTo>
                    <a:lnTo>
                      <a:pt x="412" y="474"/>
                    </a:lnTo>
                    <a:lnTo>
                      <a:pt x="383" y="430"/>
                    </a:lnTo>
                    <a:lnTo>
                      <a:pt x="352" y="386"/>
                    </a:lnTo>
                    <a:lnTo>
                      <a:pt x="319" y="343"/>
                    </a:lnTo>
                    <a:lnTo>
                      <a:pt x="285" y="300"/>
                    </a:lnTo>
                    <a:lnTo>
                      <a:pt x="250" y="259"/>
                    </a:lnTo>
                    <a:lnTo>
                      <a:pt x="213" y="218"/>
                    </a:lnTo>
                    <a:lnTo>
                      <a:pt x="174" y="177"/>
                    </a:lnTo>
                    <a:lnTo>
                      <a:pt x="134" y="139"/>
                    </a:lnTo>
                    <a:lnTo>
                      <a:pt x="93" y="100"/>
                    </a:lnTo>
                    <a:lnTo>
                      <a:pt x="49" y="61"/>
                    </a:lnTo>
                    <a:lnTo>
                      <a:pt x="5" y="24"/>
                    </a:lnTo>
                    <a:lnTo>
                      <a:pt x="2" y="20"/>
                    </a:lnTo>
                    <a:lnTo>
                      <a:pt x="0" y="14"/>
                    </a:lnTo>
                    <a:lnTo>
                      <a:pt x="1" y="10"/>
                    </a:lnTo>
                    <a:lnTo>
                      <a:pt x="3" y="5"/>
                    </a:lnTo>
                    <a:lnTo>
                      <a:pt x="7" y="1"/>
                    </a:lnTo>
                    <a:lnTo>
                      <a:pt x="13" y="0"/>
                    </a:lnTo>
                    <a:lnTo>
                      <a:pt x="17" y="0"/>
                    </a:lnTo>
                    <a:lnTo>
                      <a:pt x="22" y="4"/>
                    </a:lnTo>
                    <a:lnTo>
                      <a:pt x="67" y="41"/>
                    </a:lnTo>
                    <a:lnTo>
                      <a:pt x="111" y="79"/>
                    </a:lnTo>
                    <a:lnTo>
                      <a:pt x="153" y="119"/>
                    </a:lnTo>
                    <a:lnTo>
                      <a:pt x="194" y="159"/>
                    </a:lnTo>
                    <a:lnTo>
                      <a:pt x="233" y="200"/>
                    </a:lnTo>
                    <a:lnTo>
                      <a:pt x="271" y="241"/>
                    </a:lnTo>
                    <a:lnTo>
                      <a:pt x="306" y="284"/>
                    </a:lnTo>
                    <a:lnTo>
                      <a:pt x="341" y="326"/>
                    </a:lnTo>
                    <a:lnTo>
                      <a:pt x="373" y="371"/>
                    </a:lnTo>
                    <a:lnTo>
                      <a:pt x="405" y="415"/>
                    </a:lnTo>
                    <a:lnTo>
                      <a:pt x="435" y="460"/>
                    </a:lnTo>
                    <a:lnTo>
                      <a:pt x="463" y="506"/>
                    </a:lnTo>
                    <a:lnTo>
                      <a:pt x="490" y="552"/>
                    </a:lnTo>
                    <a:lnTo>
                      <a:pt x="515" y="599"/>
                    </a:lnTo>
                    <a:lnTo>
                      <a:pt x="539" y="647"/>
                    </a:lnTo>
                    <a:lnTo>
                      <a:pt x="560" y="694"/>
                    </a:lnTo>
                    <a:lnTo>
                      <a:pt x="596" y="778"/>
                    </a:lnTo>
                    <a:lnTo>
                      <a:pt x="628" y="859"/>
                    </a:lnTo>
                    <a:lnTo>
                      <a:pt x="658" y="935"/>
                    </a:lnTo>
                    <a:lnTo>
                      <a:pt x="685" y="1010"/>
                    </a:lnTo>
                    <a:lnTo>
                      <a:pt x="709" y="1081"/>
                    </a:lnTo>
                    <a:lnTo>
                      <a:pt x="732" y="1149"/>
                    </a:lnTo>
                    <a:lnTo>
                      <a:pt x="751" y="1215"/>
                    </a:lnTo>
                    <a:lnTo>
                      <a:pt x="769" y="1278"/>
                    </a:lnTo>
                    <a:lnTo>
                      <a:pt x="784" y="1339"/>
                    </a:lnTo>
                    <a:lnTo>
                      <a:pt x="797" y="1397"/>
                    </a:lnTo>
                    <a:lnTo>
                      <a:pt x="809" y="1452"/>
                    </a:lnTo>
                    <a:lnTo>
                      <a:pt x="817" y="1506"/>
                    </a:lnTo>
                    <a:lnTo>
                      <a:pt x="825" y="1557"/>
                    </a:lnTo>
                    <a:lnTo>
                      <a:pt x="831" y="1606"/>
                    </a:lnTo>
                    <a:lnTo>
                      <a:pt x="836" y="1652"/>
                    </a:lnTo>
                    <a:lnTo>
                      <a:pt x="838" y="1697"/>
                    </a:lnTo>
                    <a:lnTo>
                      <a:pt x="840" y="1739"/>
                    </a:lnTo>
                    <a:lnTo>
                      <a:pt x="840" y="1780"/>
                    </a:lnTo>
                    <a:lnTo>
                      <a:pt x="839" y="1819"/>
                    </a:lnTo>
                    <a:lnTo>
                      <a:pt x="838" y="1856"/>
                    </a:lnTo>
                    <a:lnTo>
                      <a:pt x="835" y="1892"/>
                    </a:lnTo>
                    <a:lnTo>
                      <a:pt x="831" y="1925"/>
                    </a:lnTo>
                    <a:lnTo>
                      <a:pt x="827" y="1957"/>
                    </a:lnTo>
                    <a:lnTo>
                      <a:pt x="822" y="1988"/>
                    </a:lnTo>
                    <a:lnTo>
                      <a:pt x="816" y="2017"/>
                    </a:lnTo>
                    <a:lnTo>
                      <a:pt x="810" y="2045"/>
                    </a:lnTo>
                    <a:lnTo>
                      <a:pt x="803" y="2071"/>
                    </a:lnTo>
                    <a:lnTo>
                      <a:pt x="797" y="2097"/>
                    </a:lnTo>
                    <a:lnTo>
                      <a:pt x="784" y="2144"/>
                    </a:lnTo>
                    <a:lnTo>
                      <a:pt x="770" y="2187"/>
                    </a:lnTo>
                    <a:lnTo>
                      <a:pt x="758" y="2226"/>
                    </a:lnTo>
                    <a:lnTo>
                      <a:pt x="748" y="2262"/>
                    </a:lnTo>
                    <a:lnTo>
                      <a:pt x="745" y="2278"/>
                    </a:lnTo>
                    <a:lnTo>
                      <a:pt x="742" y="2294"/>
                    </a:lnTo>
                    <a:lnTo>
                      <a:pt x="739" y="2309"/>
                    </a:lnTo>
                    <a:lnTo>
                      <a:pt x="738" y="2324"/>
                    </a:lnTo>
                    <a:lnTo>
                      <a:pt x="739" y="2345"/>
                    </a:lnTo>
                    <a:lnTo>
                      <a:pt x="742" y="2370"/>
                    </a:lnTo>
                    <a:lnTo>
                      <a:pt x="745" y="2398"/>
                    </a:lnTo>
                    <a:lnTo>
                      <a:pt x="749" y="2429"/>
                    </a:lnTo>
                    <a:lnTo>
                      <a:pt x="755" y="2465"/>
                    </a:lnTo>
                    <a:lnTo>
                      <a:pt x="762" y="2503"/>
                    </a:lnTo>
                    <a:lnTo>
                      <a:pt x="769" y="2545"/>
                    </a:lnTo>
                    <a:lnTo>
                      <a:pt x="777" y="2590"/>
                    </a:lnTo>
                    <a:lnTo>
                      <a:pt x="783" y="2619"/>
                    </a:lnTo>
                    <a:lnTo>
                      <a:pt x="788" y="2648"/>
                    </a:lnTo>
                    <a:lnTo>
                      <a:pt x="793" y="2680"/>
                    </a:lnTo>
                    <a:lnTo>
                      <a:pt x="799" y="2712"/>
                    </a:lnTo>
                    <a:lnTo>
                      <a:pt x="771" y="27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5"/>
              <p:cNvSpPr>
                <a:spLocks/>
              </p:cNvSpPr>
              <p:nvPr userDrawn="1"/>
            </p:nvSpPr>
            <p:spPr bwMode="auto">
              <a:xfrm>
                <a:off x="1202" y="3964"/>
                <a:ext cx="174" cy="356"/>
              </a:xfrm>
              <a:custGeom>
                <a:avLst/>
                <a:gdLst>
                  <a:gd name="T0" fmla="*/ 494 w 524"/>
                  <a:gd name="T1" fmla="*/ 1067 h 1067"/>
                  <a:gd name="T2" fmla="*/ 482 w 524"/>
                  <a:gd name="T3" fmla="*/ 1042 h 1067"/>
                  <a:gd name="T4" fmla="*/ 470 w 524"/>
                  <a:gd name="T5" fmla="*/ 1017 h 1067"/>
                  <a:gd name="T6" fmla="*/ 458 w 524"/>
                  <a:gd name="T7" fmla="*/ 995 h 1067"/>
                  <a:gd name="T8" fmla="*/ 446 w 524"/>
                  <a:gd name="T9" fmla="*/ 971 h 1067"/>
                  <a:gd name="T10" fmla="*/ 433 w 524"/>
                  <a:gd name="T11" fmla="*/ 944 h 1067"/>
                  <a:gd name="T12" fmla="*/ 415 w 524"/>
                  <a:gd name="T13" fmla="*/ 906 h 1067"/>
                  <a:gd name="T14" fmla="*/ 395 w 524"/>
                  <a:gd name="T15" fmla="*/ 864 h 1067"/>
                  <a:gd name="T16" fmla="*/ 372 w 524"/>
                  <a:gd name="T17" fmla="*/ 819 h 1067"/>
                  <a:gd name="T18" fmla="*/ 348 w 524"/>
                  <a:gd name="T19" fmla="*/ 770 h 1067"/>
                  <a:gd name="T20" fmla="*/ 323 w 524"/>
                  <a:gd name="T21" fmla="*/ 719 h 1067"/>
                  <a:gd name="T22" fmla="*/ 297 w 524"/>
                  <a:gd name="T23" fmla="*/ 664 h 1067"/>
                  <a:gd name="T24" fmla="*/ 270 w 524"/>
                  <a:gd name="T25" fmla="*/ 608 h 1067"/>
                  <a:gd name="T26" fmla="*/ 242 w 524"/>
                  <a:gd name="T27" fmla="*/ 549 h 1067"/>
                  <a:gd name="T28" fmla="*/ 213 w 524"/>
                  <a:gd name="T29" fmla="*/ 488 h 1067"/>
                  <a:gd name="T30" fmla="*/ 184 w 524"/>
                  <a:gd name="T31" fmla="*/ 425 h 1067"/>
                  <a:gd name="T32" fmla="*/ 154 w 524"/>
                  <a:gd name="T33" fmla="*/ 360 h 1067"/>
                  <a:gd name="T34" fmla="*/ 124 w 524"/>
                  <a:gd name="T35" fmla="*/ 294 h 1067"/>
                  <a:gd name="T36" fmla="*/ 93 w 524"/>
                  <a:gd name="T37" fmla="*/ 226 h 1067"/>
                  <a:gd name="T38" fmla="*/ 63 w 524"/>
                  <a:gd name="T39" fmla="*/ 158 h 1067"/>
                  <a:gd name="T40" fmla="*/ 32 w 524"/>
                  <a:gd name="T41" fmla="*/ 89 h 1067"/>
                  <a:gd name="T42" fmla="*/ 2 w 524"/>
                  <a:gd name="T43" fmla="*/ 19 h 1067"/>
                  <a:gd name="T44" fmla="*/ 0 w 524"/>
                  <a:gd name="T45" fmla="*/ 15 h 1067"/>
                  <a:gd name="T46" fmla="*/ 2 w 524"/>
                  <a:gd name="T47" fmla="*/ 9 h 1067"/>
                  <a:gd name="T48" fmla="*/ 5 w 524"/>
                  <a:gd name="T49" fmla="*/ 5 h 1067"/>
                  <a:gd name="T50" fmla="*/ 9 w 524"/>
                  <a:gd name="T51" fmla="*/ 2 h 1067"/>
                  <a:gd name="T52" fmla="*/ 15 w 524"/>
                  <a:gd name="T53" fmla="*/ 0 h 1067"/>
                  <a:gd name="T54" fmla="*/ 20 w 524"/>
                  <a:gd name="T55" fmla="*/ 2 h 1067"/>
                  <a:gd name="T56" fmla="*/ 24 w 524"/>
                  <a:gd name="T57" fmla="*/ 4 h 1067"/>
                  <a:gd name="T58" fmla="*/ 26 w 524"/>
                  <a:gd name="T59" fmla="*/ 9 h 1067"/>
                  <a:gd name="T60" fmla="*/ 57 w 524"/>
                  <a:gd name="T61" fmla="*/ 78 h 1067"/>
                  <a:gd name="T62" fmla="*/ 88 w 524"/>
                  <a:gd name="T63" fmla="*/ 147 h 1067"/>
                  <a:gd name="T64" fmla="*/ 118 w 524"/>
                  <a:gd name="T65" fmla="*/ 215 h 1067"/>
                  <a:gd name="T66" fmla="*/ 148 w 524"/>
                  <a:gd name="T67" fmla="*/ 283 h 1067"/>
                  <a:gd name="T68" fmla="*/ 179 w 524"/>
                  <a:gd name="T69" fmla="*/ 349 h 1067"/>
                  <a:gd name="T70" fmla="*/ 209 w 524"/>
                  <a:gd name="T71" fmla="*/ 414 h 1067"/>
                  <a:gd name="T72" fmla="*/ 238 w 524"/>
                  <a:gd name="T73" fmla="*/ 477 h 1067"/>
                  <a:gd name="T74" fmla="*/ 267 w 524"/>
                  <a:gd name="T75" fmla="*/ 538 h 1067"/>
                  <a:gd name="T76" fmla="*/ 295 w 524"/>
                  <a:gd name="T77" fmla="*/ 596 h 1067"/>
                  <a:gd name="T78" fmla="*/ 322 w 524"/>
                  <a:gd name="T79" fmla="*/ 654 h 1067"/>
                  <a:gd name="T80" fmla="*/ 348 w 524"/>
                  <a:gd name="T81" fmla="*/ 708 h 1067"/>
                  <a:gd name="T82" fmla="*/ 373 w 524"/>
                  <a:gd name="T83" fmla="*/ 758 h 1067"/>
                  <a:gd name="T84" fmla="*/ 397 w 524"/>
                  <a:gd name="T85" fmla="*/ 807 h 1067"/>
                  <a:gd name="T86" fmla="*/ 418 w 524"/>
                  <a:gd name="T87" fmla="*/ 852 h 1067"/>
                  <a:gd name="T88" fmla="*/ 439 w 524"/>
                  <a:gd name="T89" fmla="*/ 894 h 1067"/>
                  <a:gd name="T90" fmla="*/ 457 w 524"/>
                  <a:gd name="T91" fmla="*/ 932 h 1067"/>
                  <a:gd name="T92" fmla="*/ 471 w 524"/>
                  <a:gd name="T93" fmla="*/ 959 h 1067"/>
                  <a:gd name="T94" fmla="*/ 484 w 524"/>
                  <a:gd name="T95" fmla="*/ 985 h 1067"/>
                  <a:gd name="T96" fmla="*/ 497 w 524"/>
                  <a:gd name="T97" fmla="*/ 1012 h 1067"/>
                  <a:gd name="T98" fmla="*/ 510 w 524"/>
                  <a:gd name="T99" fmla="*/ 1039 h 1067"/>
                  <a:gd name="T100" fmla="*/ 524 w 524"/>
                  <a:gd name="T101" fmla="*/ 1067 h 1067"/>
                  <a:gd name="T102" fmla="*/ 494 w 524"/>
                  <a:gd name="T103" fmla="*/ 10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4" h="1067">
                    <a:moveTo>
                      <a:pt x="494" y="1067"/>
                    </a:moveTo>
                    <a:lnTo>
                      <a:pt x="482" y="1042"/>
                    </a:lnTo>
                    <a:lnTo>
                      <a:pt x="470" y="1017"/>
                    </a:lnTo>
                    <a:lnTo>
                      <a:pt x="458" y="995"/>
                    </a:lnTo>
                    <a:lnTo>
                      <a:pt x="446" y="971"/>
                    </a:lnTo>
                    <a:lnTo>
                      <a:pt x="433" y="944"/>
                    </a:lnTo>
                    <a:lnTo>
                      <a:pt x="415" y="906"/>
                    </a:lnTo>
                    <a:lnTo>
                      <a:pt x="395" y="864"/>
                    </a:lnTo>
                    <a:lnTo>
                      <a:pt x="372" y="819"/>
                    </a:lnTo>
                    <a:lnTo>
                      <a:pt x="348" y="770"/>
                    </a:lnTo>
                    <a:lnTo>
                      <a:pt x="323" y="719"/>
                    </a:lnTo>
                    <a:lnTo>
                      <a:pt x="297" y="664"/>
                    </a:lnTo>
                    <a:lnTo>
                      <a:pt x="270" y="608"/>
                    </a:lnTo>
                    <a:lnTo>
                      <a:pt x="242" y="549"/>
                    </a:lnTo>
                    <a:lnTo>
                      <a:pt x="213" y="488"/>
                    </a:lnTo>
                    <a:lnTo>
                      <a:pt x="184" y="425"/>
                    </a:lnTo>
                    <a:lnTo>
                      <a:pt x="154" y="360"/>
                    </a:lnTo>
                    <a:lnTo>
                      <a:pt x="124" y="294"/>
                    </a:lnTo>
                    <a:lnTo>
                      <a:pt x="93" y="226"/>
                    </a:lnTo>
                    <a:lnTo>
                      <a:pt x="63" y="158"/>
                    </a:lnTo>
                    <a:lnTo>
                      <a:pt x="32" y="89"/>
                    </a:lnTo>
                    <a:lnTo>
                      <a:pt x="2" y="19"/>
                    </a:lnTo>
                    <a:lnTo>
                      <a:pt x="0" y="15"/>
                    </a:lnTo>
                    <a:lnTo>
                      <a:pt x="2" y="9"/>
                    </a:lnTo>
                    <a:lnTo>
                      <a:pt x="5" y="5"/>
                    </a:lnTo>
                    <a:lnTo>
                      <a:pt x="9" y="2"/>
                    </a:lnTo>
                    <a:lnTo>
                      <a:pt x="15" y="0"/>
                    </a:lnTo>
                    <a:lnTo>
                      <a:pt x="20" y="2"/>
                    </a:lnTo>
                    <a:lnTo>
                      <a:pt x="24" y="4"/>
                    </a:lnTo>
                    <a:lnTo>
                      <a:pt x="26" y="9"/>
                    </a:lnTo>
                    <a:lnTo>
                      <a:pt x="57" y="78"/>
                    </a:lnTo>
                    <a:lnTo>
                      <a:pt x="88" y="147"/>
                    </a:lnTo>
                    <a:lnTo>
                      <a:pt x="118" y="215"/>
                    </a:lnTo>
                    <a:lnTo>
                      <a:pt x="148" y="283"/>
                    </a:lnTo>
                    <a:lnTo>
                      <a:pt x="179" y="349"/>
                    </a:lnTo>
                    <a:lnTo>
                      <a:pt x="209" y="414"/>
                    </a:lnTo>
                    <a:lnTo>
                      <a:pt x="238" y="477"/>
                    </a:lnTo>
                    <a:lnTo>
                      <a:pt x="267" y="538"/>
                    </a:lnTo>
                    <a:lnTo>
                      <a:pt x="295" y="596"/>
                    </a:lnTo>
                    <a:lnTo>
                      <a:pt x="322" y="654"/>
                    </a:lnTo>
                    <a:lnTo>
                      <a:pt x="348" y="708"/>
                    </a:lnTo>
                    <a:lnTo>
                      <a:pt x="373" y="758"/>
                    </a:lnTo>
                    <a:lnTo>
                      <a:pt x="397" y="807"/>
                    </a:lnTo>
                    <a:lnTo>
                      <a:pt x="418" y="852"/>
                    </a:lnTo>
                    <a:lnTo>
                      <a:pt x="439" y="894"/>
                    </a:lnTo>
                    <a:lnTo>
                      <a:pt x="457" y="932"/>
                    </a:lnTo>
                    <a:lnTo>
                      <a:pt x="471" y="959"/>
                    </a:lnTo>
                    <a:lnTo>
                      <a:pt x="484" y="985"/>
                    </a:lnTo>
                    <a:lnTo>
                      <a:pt x="497" y="1012"/>
                    </a:lnTo>
                    <a:lnTo>
                      <a:pt x="510" y="1039"/>
                    </a:lnTo>
                    <a:lnTo>
                      <a:pt x="524" y="1067"/>
                    </a:lnTo>
                    <a:lnTo>
                      <a:pt x="494" y="10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6"/>
              <p:cNvSpPr>
                <a:spLocks noEditPoints="1"/>
              </p:cNvSpPr>
              <p:nvPr userDrawn="1"/>
            </p:nvSpPr>
            <p:spPr bwMode="auto">
              <a:xfrm>
                <a:off x="2389" y="1683"/>
                <a:ext cx="195" cy="174"/>
              </a:xfrm>
              <a:custGeom>
                <a:avLst/>
                <a:gdLst>
                  <a:gd name="T0" fmla="*/ 529 w 585"/>
                  <a:gd name="T1" fmla="*/ 519 h 522"/>
                  <a:gd name="T2" fmla="*/ 457 w 585"/>
                  <a:gd name="T3" fmla="*/ 492 h 522"/>
                  <a:gd name="T4" fmla="*/ 365 w 585"/>
                  <a:gd name="T5" fmla="*/ 477 h 522"/>
                  <a:gd name="T6" fmla="*/ 286 w 585"/>
                  <a:gd name="T7" fmla="*/ 478 h 522"/>
                  <a:gd name="T8" fmla="*/ 163 w 585"/>
                  <a:gd name="T9" fmla="*/ 498 h 522"/>
                  <a:gd name="T10" fmla="*/ 109 w 585"/>
                  <a:gd name="T11" fmla="*/ 512 h 522"/>
                  <a:gd name="T12" fmla="*/ 61 w 585"/>
                  <a:gd name="T13" fmla="*/ 509 h 522"/>
                  <a:gd name="T14" fmla="*/ 32 w 585"/>
                  <a:gd name="T15" fmla="*/ 490 h 522"/>
                  <a:gd name="T16" fmla="*/ 11 w 585"/>
                  <a:gd name="T17" fmla="*/ 459 h 522"/>
                  <a:gd name="T18" fmla="*/ 0 w 585"/>
                  <a:gd name="T19" fmla="*/ 415 h 522"/>
                  <a:gd name="T20" fmla="*/ 14 w 585"/>
                  <a:gd name="T21" fmla="*/ 357 h 522"/>
                  <a:gd name="T22" fmla="*/ 70 w 585"/>
                  <a:gd name="T23" fmla="*/ 264 h 522"/>
                  <a:gd name="T24" fmla="*/ 162 w 585"/>
                  <a:gd name="T25" fmla="*/ 158 h 522"/>
                  <a:gd name="T26" fmla="*/ 265 w 585"/>
                  <a:gd name="T27" fmla="*/ 68 h 522"/>
                  <a:gd name="T28" fmla="*/ 350 w 585"/>
                  <a:gd name="T29" fmla="*/ 17 h 522"/>
                  <a:gd name="T30" fmla="*/ 393 w 585"/>
                  <a:gd name="T31" fmla="*/ 4 h 522"/>
                  <a:gd name="T32" fmla="*/ 439 w 585"/>
                  <a:gd name="T33" fmla="*/ 1 h 522"/>
                  <a:gd name="T34" fmla="*/ 479 w 585"/>
                  <a:gd name="T35" fmla="*/ 9 h 522"/>
                  <a:gd name="T36" fmla="*/ 512 w 585"/>
                  <a:gd name="T37" fmla="*/ 29 h 522"/>
                  <a:gd name="T38" fmla="*/ 541 w 585"/>
                  <a:gd name="T39" fmla="*/ 64 h 522"/>
                  <a:gd name="T40" fmla="*/ 568 w 585"/>
                  <a:gd name="T41" fmla="*/ 132 h 522"/>
                  <a:gd name="T42" fmla="*/ 583 w 585"/>
                  <a:gd name="T43" fmla="*/ 220 h 522"/>
                  <a:gd name="T44" fmla="*/ 584 w 585"/>
                  <a:gd name="T45" fmla="*/ 302 h 522"/>
                  <a:gd name="T46" fmla="*/ 560 w 585"/>
                  <a:gd name="T47" fmla="*/ 476 h 522"/>
                  <a:gd name="T48" fmla="*/ 550 w 585"/>
                  <a:gd name="T49" fmla="*/ 518 h 522"/>
                  <a:gd name="T50" fmla="*/ 540 w 585"/>
                  <a:gd name="T51" fmla="*/ 522 h 522"/>
                  <a:gd name="T52" fmla="*/ 343 w 585"/>
                  <a:gd name="T53" fmla="*/ 449 h 522"/>
                  <a:gd name="T54" fmla="*/ 462 w 585"/>
                  <a:gd name="T55" fmla="*/ 465 h 522"/>
                  <a:gd name="T56" fmla="*/ 530 w 585"/>
                  <a:gd name="T57" fmla="*/ 489 h 522"/>
                  <a:gd name="T58" fmla="*/ 550 w 585"/>
                  <a:gd name="T59" fmla="*/ 363 h 522"/>
                  <a:gd name="T60" fmla="*/ 558 w 585"/>
                  <a:gd name="T61" fmla="*/ 253 h 522"/>
                  <a:gd name="T62" fmla="*/ 552 w 585"/>
                  <a:gd name="T63" fmla="*/ 188 h 522"/>
                  <a:gd name="T64" fmla="*/ 533 w 585"/>
                  <a:gd name="T65" fmla="*/ 112 h 522"/>
                  <a:gd name="T66" fmla="*/ 502 w 585"/>
                  <a:gd name="T67" fmla="*/ 58 h 522"/>
                  <a:gd name="T68" fmla="*/ 470 w 585"/>
                  <a:gd name="T69" fmla="*/ 35 h 522"/>
                  <a:gd name="T70" fmla="*/ 437 w 585"/>
                  <a:gd name="T71" fmla="*/ 28 h 522"/>
                  <a:gd name="T72" fmla="*/ 397 w 585"/>
                  <a:gd name="T73" fmla="*/ 30 h 522"/>
                  <a:gd name="T74" fmla="*/ 358 w 585"/>
                  <a:gd name="T75" fmla="*/ 43 h 522"/>
                  <a:gd name="T76" fmla="*/ 278 w 585"/>
                  <a:gd name="T77" fmla="*/ 91 h 522"/>
                  <a:gd name="T78" fmla="*/ 179 w 585"/>
                  <a:gd name="T79" fmla="*/ 179 h 522"/>
                  <a:gd name="T80" fmla="*/ 92 w 585"/>
                  <a:gd name="T81" fmla="*/ 279 h 522"/>
                  <a:gd name="T82" fmla="*/ 40 w 585"/>
                  <a:gd name="T83" fmla="*/ 367 h 522"/>
                  <a:gd name="T84" fmla="*/ 27 w 585"/>
                  <a:gd name="T85" fmla="*/ 413 h 522"/>
                  <a:gd name="T86" fmla="*/ 35 w 585"/>
                  <a:gd name="T87" fmla="*/ 450 h 522"/>
                  <a:gd name="T88" fmla="*/ 65 w 585"/>
                  <a:gd name="T89" fmla="*/ 481 h 522"/>
                  <a:gd name="T90" fmla="*/ 102 w 585"/>
                  <a:gd name="T91" fmla="*/ 486 h 522"/>
                  <a:gd name="T92" fmla="*/ 154 w 585"/>
                  <a:gd name="T93" fmla="*/ 472 h 522"/>
                  <a:gd name="T94" fmla="*/ 273 w 585"/>
                  <a:gd name="T95" fmla="*/ 45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5" h="522">
                    <a:moveTo>
                      <a:pt x="540" y="522"/>
                    </a:moveTo>
                    <a:lnTo>
                      <a:pt x="536" y="522"/>
                    </a:lnTo>
                    <a:lnTo>
                      <a:pt x="532" y="520"/>
                    </a:lnTo>
                    <a:lnTo>
                      <a:pt x="529" y="519"/>
                    </a:lnTo>
                    <a:lnTo>
                      <a:pt x="520" y="513"/>
                    </a:lnTo>
                    <a:lnTo>
                      <a:pt x="505" y="507"/>
                    </a:lnTo>
                    <a:lnTo>
                      <a:pt x="484" y="499"/>
                    </a:lnTo>
                    <a:lnTo>
                      <a:pt x="457" y="492"/>
                    </a:lnTo>
                    <a:lnTo>
                      <a:pt x="424" y="484"/>
                    </a:lnTo>
                    <a:lnTo>
                      <a:pt x="406" y="481"/>
                    </a:lnTo>
                    <a:lnTo>
                      <a:pt x="385" y="479"/>
                    </a:lnTo>
                    <a:lnTo>
                      <a:pt x="365" y="477"/>
                    </a:lnTo>
                    <a:lnTo>
                      <a:pt x="342" y="476"/>
                    </a:lnTo>
                    <a:lnTo>
                      <a:pt x="324" y="476"/>
                    </a:lnTo>
                    <a:lnTo>
                      <a:pt x="305" y="476"/>
                    </a:lnTo>
                    <a:lnTo>
                      <a:pt x="286" y="478"/>
                    </a:lnTo>
                    <a:lnTo>
                      <a:pt x="267" y="479"/>
                    </a:lnTo>
                    <a:lnTo>
                      <a:pt x="229" y="485"/>
                    </a:lnTo>
                    <a:lnTo>
                      <a:pt x="194" y="492"/>
                    </a:lnTo>
                    <a:lnTo>
                      <a:pt x="163" y="498"/>
                    </a:lnTo>
                    <a:lnTo>
                      <a:pt x="139" y="505"/>
                    </a:lnTo>
                    <a:lnTo>
                      <a:pt x="123" y="509"/>
                    </a:lnTo>
                    <a:lnTo>
                      <a:pt x="116" y="510"/>
                    </a:lnTo>
                    <a:lnTo>
                      <a:pt x="109" y="512"/>
                    </a:lnTo>
                    <a:lnTo>
                      <a:pt x="90" y="514"/>
                    </a:lnTo>
                    <a:lnTo>
                      <a:pt x="82" y="514"/>
                    </a:lnTo>
                    <a:lnTo>
                      <a:pt x="72" y="512"/>
                    </a:lnTo>
                    <a:lnTo>
                      <a:pt x="61" y="509"/>
                    </a:lnTo>
                    <a:lnTo>
                      <a:pt x="49" y="504"/>
                    </a:lnTo>
                    <a:lnTo>
                      <a:pt x="44" y="499"/>
                    </a:lnTo>
                    <a:lnTo>
                      <a:pt x="39" y="495"/>
                    </a:lnTo>
                    <a:lnTo>
                      <a:pt x="32" y="490"/>
                    </a:lnTo>
                    <a:lnTo>
                      <a:pt x="27" y="483"/>
                    </a:lnTo>
                    <a:lnTo>
                      <a:pt x="21" y="477"/>
                    </a:lnTo>
                    <a:lnTo>
                      <a:pt x="16" y="468"/>
                    </a:lnTo>
                    <a:lnTo>
                      <a:pt x="11" y="459"/>
                    </a:lnTo>
                    <a:lnTo>
                      <a:pt x="5" y="449"/>
                    </a:lnTo>
                    <a:lnTo>
                      <a:pt x="2" y="439"/>
                    </a:lnTo>
                    <a:lnTo>
                      <a:pt x="0" y="427"/>
                    </a:lnTo>
                    <a:lnTo>
                      <a:pt x="0" y="415"/>
                    </a:lnTo>
                    <a:lnTo>
                      <a:pt x="1" y="402"/>
                    </a:lnTo>
                    <a:lnTo>
                      <a:pt x="3" y="388"/>
                    </a:lnTo>
                    <a:lnTo>
                      <a:pt x="7" y="373"/>
                    </a:lnTo>
                    <a:lnTo>
                      <a:pt x="14" y="357"/>
                    </a:lnTo>
                    <a:lnTo>
                      <a:pt x="21" y="341"/>
                    </a:lnTo>
                    <a:lnTo>
                      <a:pt x="35" y="316"/>
                    </a:lnTo>
                    <a:lnTo>
                      <a:pt x="52" y="290"/>
                    </a:lnTo>
                    <a:lnTo>
                      <a:pt x="70" y="264"/>
                    </a:lnTo>
                    <a:lnTo>
                      <a:pt x="90" y="237"/>
                    </a:lnTo>
                    <a:lnTo>
                      <a:pt x="113" y="210"/>
                    </a:lnTo>
                    <a:lnTo>
                      <a:pt x="137" y="184"/>
                    </a:lnTo>
                    <a:lnTo>
                      <a:pt x="162" y="158"/>
                    </a:lnTo>
                    <a:lnTo>
                      <a:pt x="188" y="133"/>
                    </a:lnTo>
                    <a:lnTo>
                      <a:pt x="214" y="110"/>
                    </a:lnTo>
                    <a:lnTo>
                      <a:pt x="240" y="88"/>
                    </a:lnTo>
                    <a:lnTo>
                      <a:pt x="265" y="68"/>
                    </a:lnTo>
                    <a:lnTo>
                      <a:pt x="291" y="50"/>
                    </a:lnTo>
                    <a:lnTo>
                      <a:pt x="315" y="34"/>
                    </a:lnTo>
                    <a:lnTo>
                      <a:pt x="339" y="22"/>
                    </a:lnTo>
                    <a:lnTo>
                      <a:pt x="350" y="17"/>
                    </a:lnTo>
                    <a:lnTo>
                      <a:pt x="360" y="13"/>
                    </a:lnTo>
                    <a:lnTo>
                      <a:pt x="370" y="8"/>
                    </a:lnTo>
                    <a:lnTo>
                      <a:pt x="380" y="6"/>
                    </a:lnTo>
                    <a:lnTo>
                      <a:pt x="393" y="4"/>
                    </a:lnTo>
                    <a:lnTo>
                      <a:pt x="405" y="2"/>
                    </a:lnTo>
                    <a:lnTo>
                      <a:pt x="417" y="1"/>
                    </a:lnTo>
                    <a:lnTo>
                      <a:pt x="427" y="0"/>
                    </a:lnTo>
                    <a:lnTo>
                      <a:pt x="439" y="1"/>
                    </a:lnTo>
                    <a:lnTo>
                      <a:pt x="450" y="2"/>
                    </a:lnTo>
                    <a:lnTo>
                      <a:pt x="461" y="4"/>
                    </a:lnTo>
                    <a:lnTo>
                      <a:pt x="471" y="6"/>
                    </a:lnTo>
                    <a:lnTo>
                      <a:pt x="479" y="9"/>
                    </a:lnTo>
                    <a:lnTo>
                      <a:pt x="488" y="14"/>
                    </a:lnTo>
                    <a:lnTo>
                      <a:pt x="497" y="18"/>
                    </a:lnTo>
                    <a:lnTo>
                      <a:pt x="504" y="23"/>
                    </a:lnTo>
                    <a:lnTo>
                      <a:pt x="512" y="29"/>
                    </a:lnTo>
                    <a:lnTo>
                      <a:pt x="518" y="35"/>
                    </a:lnTo>
                    <a:lnTo>
                      <a:pt x="525" y="42"/>
                    </a:lnTo>
                    <a:lnTo>
                      <a:pt x="530" y="49"/>
                    </a:lnTo>
                    <a:lnTo>
                      <a:pt x="541" y="64"/>
                    </a:lnTo>
                    <a:lnTo>
                      <a:pt x="549" y="81"/>
                    </a:lnTo>
                    <a:lnTo>
                      <a:pt x="557" y="98"/>
                    </a:lnTo>
                    <a:lnTo>
                      <a:pt x="563" y="115"/>
                    </a:lnTo>
                    <a:lnTo>
                      <a:pt x="568" y="132"/>
                    </a:lnTo>
                    <a:lnTo>
                      <a:pt x="572" y="150"/>
                    </a:lnTo>
                    <a:lnTo>
                      <a:pt x="579" y="183"/>
                    </a:lnTo>
                    <a:lnTo>
                      <a:pt x="582" y="212"/>
                    </a:lnTo>
                    <a:lnTo>
                      <a:pt x="583" y="220"/>
                    </a:lnTo>
                    <a:lnTo>
                      <a:pt x="585" y="238"/>
                    </a:lnTo>
                    <a:lnTo>
                      <a:pt x="585" y="258"/>
                    </a:lnTo>
                    <a:lnTo>
                      <a:pt x="585" y="279"/>
                    </a:lnTo>
                    <a:lnTo>
                      <a:pt x="584" y="302"/>
                    </a:lnTo>
                    <a:lnTo>
                      <a:pt x="579" y="349"/>
                    </a:lnTo>
                    <a:lnTo>
                      <a:pt x="573" y="397"/>
                    </a:lnTo>
                    <a:lnTo>
                      <a:pt x="567" y="439"/>
                    </a:lnTo>
                    <a:lnTo>
                      <a:pt x="560" y="476"/>
                    </a:lnTo>
                    <a:lnTo>
                      <a:pt x="555" y="500"/>
                    </a:lnTo>
                    <a:lnTo>
                      <a:pt x="553" y="511"/>
                    </a:lnTo>
                    <a:lnTo>
                      <a:pt x="552" y="514"/>
                    </a:lnTo>
                    <a:lnTo>
                      <a:pt x="550" y="518"/>
                    </a:lnTo>
                    <a:lnTo>
                      <a:pt x="548" y="520"/>
                    </a:lnTo>
                    <a:lnTo>
                      <a:pt x="545" y="521"/>
                    </a:lnTo>
                    <a:lnTo>
                      <a:pt x="542" y="522"/>
                    </a:lnTo>
                    <a:lnTo>
                      <a:pt x="540" y="522"/>
                    </a:lnTo>
                    <a:close/>
                    <a:moveTo>
                      <a:pt x="329" y="449"/>
                    </a:moveTo>
                    <a:lnTo>
                      <a:pt x="329" y="449"/>
                    </a:lnTo>
                    <a:lnTo>
                      <a:pt x="336" y="449"/>
                    </a:lnTo>
                    <a:lnTo>
                      <a:pt x="343" y="449"/>
                    </a:lnTo>
                    <a:lnTo>
                      <a:pt x="378" y="451"/>
                    </a:lnTo>
                    <a:lnTo>
                      <a:pt x="409" y="454"/>
                    </a:lnTo>
                    <a:lnTo>
                      <a:pt x="437" y="459"/>
                    </a:lnTo>
                    <a:lnTo>
                      <a:pt x="462" y="465"/>
                    </a:lnTo>
                    <a:lnTo>
                      <a:pt x="484" y="471"/>
                    </a:lnTo>
                    <a:lnTo>
                      <a:pt x="502" y="477"/>
                    </a:lnTo>
                    <a:lnTo>
                      <a:pt x="518" y="483"/>
                    </a:lnTo>
                    <a:lnTo>
                      <a:pt x="530" y="489"/>
                    </a:lnTo>
                    <a:lnTo>
                      <a:pt x="534" y="466"/>
                    </a:lnTo>
                    <a:lnTo>
                      <a:pt x="540" y="436"/>
                    </a:lnTo>
                    <a:lnTo>
                      <a:pt x="545" y="401"/>
                    </a:lnTo>
                    <a:lnTo>
                      <a:pt x="550" y="363"/>
                    </a:lnTo>
                    <a:lnTo>
                      <a:pt x="555" y="325"/>
                    </a:lnTo>
                    <a:lnTo>
                      <a:pt x="557" y="288"/>
                    </a:lnTo>
                    <a:lnTo>
                      <a:pt x="558" y="269"/>
                    </a:lnTo>
                    <a:lnTo>
                      <a:pt x="558" y="253"/>
                    </a:lnTo>
                    <a:lnTo>
                      <a:pt x="558" y="237"/>
                    </a:lnTo>
                    <a:lnTo>
                      <a:pt x="556" y="223"/>
                    </a:lnTo>
                    <a:lnTo>
                      <a:pt x="555" y="215"/>
                    </a:lnTo>
                    <a:lnTo>
                      <a:pt x="552" y="188"/>
                    </a:lnTo>
                    <a:lnTo>
                      <a:pt x="546" y="158"/>
                    </a:lnTo>
                    <a:lnTo>
                      <a:pt x="543" y="143"/>
                    </a:lnTo>
                    <a:lnTo>
                      <a:pt x="539" y="127"/>
                    </a:lnTo>
                    <a:lnTo>
                      <a:pt x="533" y="112"/>
                    </a:lnTo>
                    <a:lnTo>
                      <a:pt x="527" y="97"/>
                    </a:lnTo>
                    <a:lnTo>
                      <a:pt x="520" y="83"/>
                    </a:lnTo>
                    <a:lnTo>
                      <a:pt x="512" y="70"/>
                    </a:lnTo>
                    <a:lnTo>
                      <a:pt x="502" y="58"/>
                    </a:lnTo>
                    <a:lnTo>
                      <a:pt x="490" y="47"/>
                    </a:lnTo>
                    <a:lnTo>
                      <a:pt x="484" y="43"/>
                    </a:lnTo>
                    <a:lnTo>
                      <a:pt x="477" y="38"/>
                    </a:lnTo>
                    <a:lnTo>
                      <a:pt x="470" y="35"/>
                    </a:lnTo>
                    <a:lnTo>
                      <a:pt x="462" y="33"/>
                    </a:lnTo>
                    <a:lnTo>
                      <a:pt x="454" y="30"/>
                    </a:lnTo>
                    <a:lnTo>
                      <a:pt x="446" y="29"/>
                    </a:lnTo>
                    <a:lnTo>
                      <a:pt x="437" y="28"/>
                    </a:lnTo>
                    <a:lnTo>
                      <a:pt x="427" y="28"/>
                    </a:lnTo>
                    <a:lnTo>
                      <a:pt x="418" y="28"/>
                    </a:lnTo>
                    <a:lnTo>
                      <a:pt x="408" y="29"/>
                    </a:lnTo>
                    <a:lnTo>
                      <a:pt x="397" y="30"/>
                    </a:lnTo>
                    <a:lnTo>
                      <a:pt x="386" y="32"/>
                    </a:lnTo>
                    <a:lnTo>
                      <a:pt x="378" y="35"/>
                    </a:lnTo>
                    <a:lnTo>
                      <a:pt x="368" y="38"/>
                    </a:lnTo>
                    <a:lnTo>
                      <a:pt x="358" y="43"/>
                    </a:lnTo>
                    <a:lnTo>
                      <a:pt x="347" y="47"/>
                    </a:lnTo>
                    <a:lnTo>
                      <a:pt x="326" y="60"/>
                    </a:lnTo>
                    <a:lnTo>
                      <a:pt x="302" y="74"/>
                    </a:lnTo>
                    <a:lnTo>
                      <a:pt x="278" y="91"/>
                    </a:lnTo>
                    <a:lnTo>
                      <a:pt x="254" y="111"/>
                    </a:lnTo>
                    <a:lnTo>
                      <a:pt x="229" y="132"/>
                    </a:lnTo>
                    <a:lnTo>
                      <a:pt x="204" y="155"/>
                    </a:lnTo>
                    <a:lnTo>
                      <a:pt x="179" y="179"/>
                    </a:lnTo>
                    <a:lnTo>
                      <a:pt x="155" y="204"/>
                    </a:lnTo>
                    <a:lnTo>
                      <a:pt x="133" y="228"/>
                    </a:lnTo>
                    <a:lnTo>
                      <a:pt x="111" y="254"/>
                    </a:lnTo>
                    <a:lnTo>
                      <a:pt x="92" y="279"/>
                    </a:lnTo>
                    <a:lnTo>
                      <a:pt x="74" y="305"/>
                    </a:lnTo>
                    <a:lnTo>
                      <a:pt x="58" y="329"/>
                    </a:lnTo>
                    <a:lnTo>
                      <a:pt x="46" y="353"/>
                    </a:lnTo>
                    <a:lnTo>
                      <a:pt x="40" y="367"/>
                    </a:lnTo>
                    <a:lnTo>
                      <a:pt x="34" y="380"/>
                    </a:lnTo>
                    <a:lnTo>
                      <a:pt x="30" y="391"/>
                    </a:lnTo>
                    <a:lnTo>
                      <a:pt x="28" y="402"/>
                    </a:lnTo>
                    <a:lnTo>
                      <a:pt x="27" y="413"/>
                    </a:lnTo>
                    <a:lnTo>
                      <a:pt x="27" y="422"/>
                    </a:lnTo>
                    <a:lnTo>
                      <a:pt x="28" y="430"/>
                    </a:lnTo>
                    <a:lnTo>
                      <a:pt x="30" y="438"/>
                    </a:lnTo>
                    <a:lnTo>
                      <a:pt x="35" y="450"/>
                    </a:lnTo>
                    <a:lnTo>
                      <a:pt x="42" y="459"/>
                    </a:lnTo>
                    <a:lnTo>
                      <a:pt x="49" y="468"/>
                    </a:lnTo>
                    <a:lnTo>
                      <a:pt x="57" y="475"/>
                    </a:lnTo>
                    <a:lnTo>
                      <a:pt x="65" y="481"/>
                    </a:lnTo>
                    <a:lnTo>
                      <a:pt x="73" y="484"/>
                    </a:lnTo>
                    <a:lnTo>
                      <a:pt x="82" y="486"/>
                    </a:lnTo>
                    <a:lnTo>
                      <a:pt x="90" y="488"/>
                    </a:lnTo>
                    <a:lnTo>
                      <a:pt x="102" y="486"/>
                    </a:lnTo>
                    <a:lnTo>
                      <a:pt x="108" y="485"/>
                    </a:lnTo>
                    <a:lnTo>
                      <a:pt x="114" y="483"/>
                    </a:lnTo>
                    <a:lnTo>
                      <a:pt x="132" y="479"/>
                    </a:lnTo>
                    <a:lnTo>
                      <a:pt x="154" y="472"/>
                    </a:lnTo>
                    <a:lnTo>
                      <a:pt x="184" y="466"/>
                    </a:lnTo>
                    <a:lnTo>
                      <a:pt x="218" y="459"/>
                    </a:lnTo>
                    <a:lnTo>
                      <a:pt x="255" y="454"/>
                    </a:lnTo>
                    <a:lnTo>
                      <a:pt x="273" y="452"/>
                    </a:lnTo>
                    <a:lnTo>
                      <a:pt x="292" y="450"/>
                    </a:lnTo>
                    <a:lnTo>
                      <a:pt x="311" y="449"/>
                    </a:lnTo>
                    <a:lnTo>
                      <a:pt x="329" y="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7"/>
              <p:cNvSpPr>
                <a:spLocks/>
              </p:cNvSpPr>
              <p:nvPr userDrawn="1"/>
            </p:nvSpPr>
            <p:spPr bwMode="auto">
              <a:xfrm>
                <a:off x="1636" y="1977"/>
                <a:ext cx="1040" cy="403"/>
              </a:xfrm>
              <a:custGeom>
                <a:avLst/>
                <a:gdLst>
                  <a:gd name="T0" fmla="*/ 1224 w 3121"/>
                  <a:gd name="T1" fmla="*/ 1190 h 1209"/>
                  <a:gd name="T2" fmla="*/ 1001 w 3121"/>
                  <a:gd name="T3" fmla="*/ 1105 h 1209"/>
                  <a:gd name="T4" fmla="*/ 740 w 3121"/>
                  <a:gd name="T5" fmla="*/ 932 h 1209"/>
                  <a:gd name="T6" fmla="*/ 505 w 3121"/>
                  <a:gd name="T7" fmla="*/ 713 h 1209"/>
                  <a:gd name="T8" fmla="*/ 265 w 3121"/>
                  <a:gd name="T9" fmla="*/ 421 h 1209"/>
                  <a:gd name="T10" fmla="*/ 37 w 3121"/>
                  <a:gd name="T11" fmla="*/ 77 h 1209"/>
                  <a:gd name="T12" fmla="*/ 6 w 3121"/>
                  <a:gd name="T13" fmla="*/ 3 h 1209"/>
                  <a:gd name="T14" fmla="*/ 60 w 3121"/>
                  <a:gd name="T15" fmla="*/ 63 h 1209"/>
                  <a:gd name="T16" fmla="*/ 286 w 3121"/>
                  <a:gd name="T17" fmla="*/ 404 h 1209"/>
                  <a:gd name="T18" fmla="*/ 524 w 3121"/>
                  <a:gd name="T19" fmla="*/ 693 h 1209"/>
                  <a:gd name="T20" fmla="*/ 758 w 3121"/>
                  <a:gd name="T21" fmla="*/ 910 h 1209"/>
                  <a:gd name="T22" fmla="*/ 1013 w 3121"/>
                  <a:gd name="T23" fmla="*/ 1080 h 1209"/>
                  <a:gd name="T24" fmla="*/ 1227 w 3121"/>
                  <a:gd name="T25" fmla="*/ 1164 h 1209"/>
                  <a:gd name="T26" fmla="*/ 1410 w 3121"/>
                  <a:gd name="T27" fmla="*/ 1184 h 1209"/>
                  <a:gd name="T28" fmla="*/ 1563 w 3121"/>
                  <a:gd name="T29" fmla="*/ 1159 h 1209"/>
                  <a:gd name="T30" fmla="*/ 1784 w 3121"/>
                  <a:gd name="T31" fmla="*/ 1058 h 1209"/>
                  <a:gd name="T32" fmla="*/ 2107 w 3121"/>
                  <a:gd name="T33" fmla="*/ 875 h 1209"/>
                  <a:gd name="T34" fmla="*/ 2346 w 3121"/>
                  <a:gd name="T35" fmla="*/ 679 h 1209"/>
                  <a:gd name="T36" fmla="*/ 2503 w 3121"/>
                  <a:gd name="T37" fmla="*/ 561 h 1209"/>
                  <a:gd name="T38" fmla="*/ 2669 w 3121"/>
                  <a:gd name="T39" fmla="*/ 483 h 1209"/>
                  <a:gd name="T40" fmla="*/ 2828 w 3121"/>
                  <a:gd name="T41" fmla="*/ 450 h 1209"/>
                  <a:gd name="T42" fmla="*/ 2962 w 3121"/>
                  <a:gd name="T43" fmla="*/ 466 h 1209"/>
                  <a:gd name="T44" fmla="*/ 3061 w 3121"/>
                  <a:gd name="T45" fmla="*/ 543 h 1209"/>
                  <a:gd name="T46" fmla="*/ 3093 w 3121"/>
                  <a:gd name="T47" fmla="*/ 577 h 1209"/>
                  <a:gd name="T48" fmla="*/ 3051 w 3121"/>
                  <a:gd name="T49" fmla="*/ 430 h 1209"/>
                  <a:gd name="T50" fmla="*/ 2939 w 3121"/>
                  <a:gd name="T51" fmla="*/ 359 h 1209"/>
                  <a:gd name="T52" fmla="*/ 2802 w 3121"/>
                  <a:gd name="T53" fmla="*/ 338 h 1209"/>
                  <a:gd name="T54" fmla="*/ 2671 w 3121"/>
                  <a:gd name="T55" fmla="*/ 370 h 1209"/>
                  <a:gd name="T56" fmla="*/ 2471 w 3121"/>
                  <a:gd name="T57" fmla="*/ 486 h 1209"/>
                  <a:gd name="T58" fmla="*/ 2103 w 3121"/>
                  <a:gd name="T59" fmla="*/ 763 h 1209"/>
                  <a:gd name="T60" fmla="*/ 1891 w 3121"/>
                  <a:gd name="T61" fmla="*/ 882 h 1209"/>
                  <a:gd name="T62" fmla="*/ 1485 w 3121"/>
                  <a:gd name="T63" fmla="*/ 986 h 1209"/>
                  <a:gd name="T64" fmla="*/ 1136 w 3121"/>
                  <a:gd name="T65" fmla="*/ 931 h 1209"/>
                  <a:gd name="T66" fmla="*/ 872 w 3121"/>
                  <a:gd name="T67" fmla="*/ 759 h 1209"/>
                  <a:gd name="T68" fmla="*/ 684 w 3121"/>
                  <a:gd name="T69" fmla="*/ 535 h 1209"/>
                  <a:gd name="T70" fmla="*/ 591 w 3121"/>
                  <a:gd name="T71" fmla="*/ 363 h 1209"/>
                  <a:gd name="T72" fmla="*/ 632 w 3121"/>
                  <a:gd name="T73" fmla="*/ 392 h 1209"/>
                  <a:gd name="T74" fmla="*/ 775 w 3121"/>
                  <a:gd name="T75" fmla="*/ 615 h 1209"/>
                  <a:gd name="T76" fmla="*/ 989 w 3121"/>
                  <a:gd name="T77" fmla="*/ 819 h 1209"/>
                  <a:gd name="T78" fmla="*/ 1280 w 3121"/>
                  <a:gd name="T79" fmla="*/ 945 h 1209"/>
                  <a:gd name="T80" fmla="*/ 1658 w 3121"/>
                  <a:gd name="T81" fmla="*/ 933 h 1209"/>
                  <a:gd name="T82" fmla="*/ 1972 w 3121"/>
                  <a:gd name="T83" fmla="*/ 811 h 1209"/>
                  <a:gd name="T84" fmla="*/ 2254 w 3121"/>
                  <a:gd name="T85" fmla="*/ 618 h 1209"/>
                  <a:gd name="T86" fmla="*/ 2547 w 3121"/>
                  <a:gd name="T87" fmla="*/ 403 h 1209"/>
                  <a:gd name="T88" fmla="*/ 2737 w 3121"/>
                  <a:gd name="T89" fmla="*/ 320 h 1209"/>
                  <a:gd name="T90" fmla="*/ 2863 w 3121"/>
                  <a:gd name="T91" fmla="*/ 315 h 1209"/>
                  <a:gd name="T92" fmla="*/ 3008 w 3121"/>
                  <a:gd name="T93" fmla="*/ 361 h 1209"/>
                  <a:gd name="T94" fmla="*/ 3087 w 3121"/>
                  <a:gd name="T95" fmla="*/ 433 h 1209"/>
                  <a:gd name="T96" fmla="*/ 3121 w 3121"/>
                  <a:gd name="T97" fmla="*/ 583 h 1209"/>
                  <a:gd name="T98" fmla="*/ 3110 w 3121"/>
                  <a:gd name="T99" fmla="*/ 756 h 1209"/>
                  <a:gd name="T100" fmla="*/ 3100 w 3121"/>
                  <a:gd name="T101" fmla="*/ 815 h 1209"/>
                  <a:gd name="T102" fmla="*/ 3074 w 3121"/>
                  <a:gd name="T103" fmla="*/ 874 h 1209"/>
                  <a:gd name="T104" fmla="*/ 3065 w 3121"/>
                  <a:gd name="T105" fmla="*/ 820 h 1209"/>
                  <a:gd name="T106" fmla="*/ 3071 w 3121"/>
                  <a:gd name="T107" fmla="*/ 649 h 1209"/>
                  <a:gd name="T108" fmla="*/ 3019 w 3121"/>
                  <a:gd name="T109" fmla="*/ 534 h 1209"/>
                  <a:gd name="T110" fmla="*/ 2923 w 3121"/>
                  <a:gd name="T111" fmla="*/ 483 h 1209"/>
                  <a:gd name="T112" fmla="*/ 2792 w 3121"/>
                  <a:gd name="T113" fmla="*/ 481 h 1209"/>
                  <a:gd name="T114" fmla="*/ 2638 w 3121"/>
                  <a:gd name="T115" fmla="*/ 523 h 1209"/>
                  <a:gd name="T116" fmla="*/ 2476 w 3121"/>
                  <a:gd name="T117" fmla="*/ 609 h 1209"/>
                  <a:gd name="T118" fmla="*/ 2289 w 3121"/>
                  <a:gd name="T119" fmla="*/ 767 h 1209"/>
                  <a:gd name="T120" fmla="*/ 2058 w 3121"/>
                  <a:gd name="T121" fmla="*/ 940 h 1209"/>
                  <a:gd name="T122" fmla="*/ 1688 w 3121"/>
                  <a:gd name="T123" fmla="*/ 1138 h 1209"/>
                  <a:gd name="T124" fmla="*/ 1533 w 3121"/>
                  <a:gd name="T125" fmla="*/ 1193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21" h="1209">
                    <a:moveTo>
                      <a:pt x="1389" y="1209"/>
                    </a:moveTo>
                    <a:lnTo>
                      <a:pt x="1363" y="1209"/>
                    </a:lnTo>
                    <a:lnTo>
                      <a:pt x="1336" y="1207"/>
                    </a:lnTo>
                    <a:lnTo>
                      <a:pt x="1309" y="1205"/>
                    </a:lnTo>
                    <a:lnTo>
                      <a:pt x="1282" y="1201"/>
                    </a:lnTo>
                    <a:lnTo>
                      <a:pt x="1253" y="1196"/>
                    </a:lnTo>
                    <a:lnTo>
                      <a:pt x="1224" y="1190"/>
                    </a:lnTo>
                    <a:lnTo>
                      <a:pt x="1195" y="1182"/>
                    </a:lnTo>
                    <a:lnTo>
                      <a:pt x="1164" y="1173"/>
                    </a:lnTo>
                    <a:lnTo>
                      <a:pt x="1132" y="1163"/>
                    </a:lnTo>
                    <a:lnTo>
                      <a:pt x="1101" y="1150"/>
                    </a:lnTo>
                    <a:lnTo>
                      <a:pt x="1069" y="1137"/>
                    </a:lnTo>
                    <a:lnTo>
                      <a:pt x="1035" y="1121"/>
                    </a:lnTo>
                    <a:lnTo>
                      <a:pt x="1001" y="1105"/>
                    </a:lnTo>
                    <a:lnTo>
                      <a:pt x="966" y="1085"/>
                    </a:lnTo>
                    <a:lnTo>
                      <a:pt x="930" y="1065"/>
                    </a:lnTo>
                    <a:lnTo>
                      <a:pt x="895" y="1042"/>
                    </a:lnTo>
                    <a:lnTo>
                      <a:pt x="855" y="1016"/>
                    </a:lnTo>
                    <a:lnTo>
                      <a:pt x="816" y="989"/>
                    </a:lnTo>
                    <a:lnTo>
                      <a:pt x="778" y="961"/>
                    </a:lnTo>
                    <a:lnTo>
                      <a:pt x="740" y="932"/>
                    </a:lnTo>
                    <a:lnTo>
                      <a:pt x="705" y="902"/>
                    </a:lnTo>
                    <a:lnTo>
                      <a:pt x="669" y="872"/>
                    </a:lnTo>
                    <a:lnTo>
                      <a:pt x="635" y="841"/>
                    </a:lnTo>
                    <a:lnTo>
                      <a:pt x="601" y="810"/>
                    </a:lnTo>
                    <a:lnTo>
                      <a:pt x="569" y="778"/>
                    </a:lnTo>
                    <a:lnTo>
                      <a:pt x="536" y="745"/>
                    </a:lnTo>
                    <a:lnTo>
                      <a:pt x="505" y="713"/>
                    </a:lnTo>
                    <a:lnTo>
                      <a:pt x="475" y="681"/>
                    </a:lnTo>
                    <a:lnTo>
                      <a:pt x="446" y="648"/>
                    </a:lnTo>
                    <a:lnTo>
                      <a:pt x="418" y="615"/>
                    </a:lnTo>
                    <a:lnTo>
                      <a:pt x="389" y="582"/>
                    </a:lnTo>
                    <a:lnTo>
                      <a:pt x="364" y="550"/>
                    </a:lnTo>
                    <a:lnTo>
                      <a:pt x="313" y="485"/>
                    </a:lnTo>
                    <a:lnTo>
                      <a:pt x="265" y="421"/>
                    </a:lnTo>
                    <a:lnTo>
                      <a:pt x="221" y="360"/>
                    </a:lnTo>
                    <a:lnTo>
                      <a:pt x="180" y="301"/>
                    </a:lnTo>
                    <a:lnTo>
                      <a:pt x="143" y="244"/>
                    </a:lnTo>
                    <a:lnTo>
                      <a:pt x="110" y="193"/>
                    </a:lnTo>
                    <a:lnTo>
                      <a:pt x="80" y="144"/>
                    </a:lnTo>
                    <a:lnTo>
                      <a:pt x="53" y="101"/>
                    </a:lnTo>
                    <a:lnTo>
                      <a:pt x="37" y="77"/>
                    </a:lnTo>
                    <a:lnTo>
                      <a:pt x="25" y="57"/>
                    </a:lnTo>
                    <a:lnTo>
                      <a:pt x="13" y="37"/>
                    </a:lnTo>
                    <a:lnTo>
                      <a:pt x="2" y="21"/>
                    </a:lnTo>
                    <a:lnTo>
                      <a:pt x="0" y="17"/>
                    </a:lnTo>
                    <a:lnTo>
                      <a:pt x="0" y="11"/>
                    </a:lnTo>
                    <a:lnTo>
                      <a:pt x="2" y="6"/>
                    </a:lnTo>
                    <a:lnTo>
                      <a:pt x="6" y="3"/>
                    </a:lnTo>
                    <a:lnTo>
                      <a:pt x="10" y="0"/>
                    </a:lnTo>
                    <a:lnTo>
                      <a:pt x="16" y="0"/>
                    </a:lnTo>
                    <a:lnTo>
                      <a:pt x="21" y="3"/>
                    </a:lnTo>
                    <a:lnTo>
                      <a:pt x="25" y="6"/>
                    </a:lnTo>
                    <a:lnTo>
                      <a:pt x="35" y="22"/>
                    </a:lnTo>
                    <a:lnTo>
                      <a:pt x="47" y="41"/>
                    </a:lnTo>
                    <a:lnTo>
                      <a:pt x="60" y="63"/>
                    </a:lnTo>
                    <a:lnTo>
                      <a:pt x="75" y="87"/>
                    </a:lnTo>
                    <a:lnTo>
                      <a:pt x="102" y="130"/>
                    </a:lnTo>
                    <a:lnTo>
                      <a:pt x="132" y="177"/>
                    </a:lnTo>
                    <a:lnTo>
                      <a:pt x="166" y="229"/>
                    </a:lnTo>
                    <a:lnTo>
                      <a:pt x="203" y="284"/>
                    </a:lnTo>
                    <a:lnTo>
                      <a:pt x="243" y="344"/>
                    </a:lnTo>
                    <a:lnTo>
                      <a:pt x="286" y="404"/>
                    </a:lnTo>
                    <a:lnTo>
                      <a:pt x="333" y="468"/>
                    </a:lnTo>
                    <a:lnTo>
                      <a:pt x="384" y="532"/>
                    </a:lnTo>
                    <a:lnTo>
                      <a:pt x="410" y="564"/>
                    </a:lnTo>
                    <a:lnTo>
                      <a:pt x="437" y="596"/>
                    </a:lnTo>
                    <a:lnTo>
                      <a:pt x="465" y="629"/>
                    </a:lnTo>
                    <a:lnTo>
                      <a:pt x="494" y="662"/>
                    </a:lnTo>
                    <a:lnTo>
                      <a:pt x="524" y="693"/>
                    </a:lnTo>
                    <a:lnTo>
                      <a:pt x="555" y="726"/>
                    </a:lnTo>
                    <a:lnTo>
                      <a:pt x="587" y="758"/>
                    </a:lnTo>
                    <a:lnTo>
                      <a:pt x="619" y="790"/>
                    </a:lnTo>
                    <a:lnTo>
                      <a:pt x="652" y="821"/>
                    </a:lnTo>
                    <a:lnTo>
                      <a:pt x="686" y="851"/>
                    </a:lnTo>
                    <a:lnTo>
                      <a:pt x="721" y="881"/>
                    </a:lnTo>
                    <a:lnTo>
                      <a:pt x="758" y="910"/>
                    </a:lnTo>
                    <a:lnTo>
                      <a:pt x="794" y="939"/>
                    </a:lnTo>
                    <a:lnTo>
                      <a:pt x="831" y="967"/>
                    </a:lnTo>
                    <a:lnTo>
                      <a:pt x="870" y="994"/>
                    </a:lnTo>
                    <a:lnTo>
                      <a:pt x="909" y="1019"/>
                    </a:lnTo>
                    <a:lnTo>
                      <a:pt x="945" y="1042"/>
                    </a:lnTo>
                    <a:lnTo>
                      <a:pt x="979" y="1062"/>
                    </a:lnTo>
                    <a:lnTo>
                      <a:pt x="1013" y="1080"/>
                    </a:lnTo>
                    <a:lnTo>
                      <a:pt x="1045" y="1096"/>
                    </a:lnTo>
                    <a:lnTo>
                      <a:pt x="1077" y="1111"/>
                    </a:lnTo>
                    <a:lnTo>
                      <a:pt x="1109" y="1125"/>
                    </a:lnTo>
                    <a:lnTo>
                      <a:pt x="1139" y="1137"/>
                    </a:lnTo>
                    <a:lnTo>
                      <a:pt x="1169" y="1147"/>
                    </a:lnTo>
                    <a:lnTo>
                      <a:pt x="1198" y="1157"/>
                    </a:lnTo>
                    <a:lnTo>
                      <a:pt x="1227" y="1164"/>
                    </a:lnTo>
                    <a:lnTo>
                      <a:pt x="1255" y="1171"/>
                    </a:lnTo>
                    <a:lnTo>
                      <a:pt x="1282" y="1175"/>
                    </a:lnTo>
                    <a:lnTo>
                      <a:pt x="1309" y="1179"/>
                    </a:lnTo>
                    <a:lnTo>
                      <a:pt x="1335" y="1181"/>
                    </a:lnTo>
                    <a:lnTo>
                      <a:pt x="1360" y="1184"/>
                    </a:lnTo>
                    <a:lnTo>
                      <a:pt x="1385" y="1184"/>
                    </a:lnTo>
                    <a:lnTo>
                      <a:pt x="1410" y="1184"/>
                    </a:lnTo>
                    <a:lnTo>
                      <a:pt x="1434" y="1182"/>
                    </a:lnTo>
                    <a:lnTo>
                      <a:pt x="1456" y="1180"/>
                    </a:lnTo>
                    <a:lnTo>
                      <a:pt x="1479" y="1177"/>
                    </a:lnTo>
                    <a:lnTo>
                      <a:pt x="1501" y="1174"/>
                    </a:lnTo>
                    <a:lnTo>
                      <a:pt x="1522" y="1170"/>
                    </a:lnTo>
                    <a:lnTo>
                      <a:pt x="1543" y="1164"/>
                    </a:lnTo>
                    <a:lnTo>
                      <a:pt x="1563" y="1159"/>
                    </a:lnTo>
                    <a:lnTo>
                      <a:pt x="1584" y="1152"/>
                    </a:lnTo>
                    <a:lnTo>
                      <a:pt x="1603" y="1146"/>
                    </a:lnTo>
                    <a:lnTo>
                      <a:pt x="1622" y="1138"/>
                    </a:lnTo>
                    <a:lnTo>
                      <a:pt x="1640" y="1131"/>
                    </a:lnTo>
                    <a:lnTo>
                      <a:pt x="1676" y="1114"/>
                    </a:lnTo>
                    <a:lnTo>
                      <a:pt x="1709" y="1098"/>
                    </a:lnTo>
                    <a:lnTo>
                      <a:pt x="1784" y="1058"/>
                    </a:lnTo>
                    <a:lnTo>
                      <a:pt x="1868" y="1015"/>
                    </a:lnTo>
                    <a:lnTo>
                      <a:pt x="1942" y="975"/>
                    </a:lnTo>
                    <a:lnTo>
                      <a:pt x="1977" y="956"/>
                    </a:lnTo>
                    <a:lnTo>
                      <a:pt x="2010" y="936"/>
                    </a:lnTo>
                    <a:lnTo>
                      <a:pt x="2043" y="917"/>
                    </a:lnTo>
                    <a:lnTo>
                      <a:pt x="2075" y="896"/>
                    </a:lnTo>
                    <a:lnTo>
                      <a:pt x="2107" y="875"/>
                    </a:lnTo>
                    <a:lnTo>
                      <a:pt x="2139" y="853"/>
                    </a:lnTo>
                    <a:lnTo>
                      <a:pt x="2171" y="829"/>
                    </a:lnTo>
                    <a:lnTo>
                      <a:pt x="2204" y="804"/>
                    </a:lnTo>
                    <a:lnTo>
                      <a:pt x="2237" y="777"/>
                    </a:lnTo>
                    <a:lnTo>
                      <a:pt x="2272" y="746"/>
                    </a:lnTo>
                    <a:lnTo>
                      <a:pt x="2308" y="715"/>
                    </a:lnTo>
                    <a:lnTo>
                      <a:pt x="2346" y="679"/>
                    </a:lnTo>
                    <a:lnTo>
                      <a:pt x="2367" y="660"/>
                    </a:lnTo>
                    <a:lnTo>
                      <a:pt x="2388" y="642"/>
                    </a:lnTo>
                    <a:lnTo>
                      <a:pt x="2411" y="624"/>
                    </a:lnTo>
                    <a:lnTo>
                      <a:pt x="2434" y="607"/>
                    </a:lnTo>
                    <a:lnTo>
                      <a:pt x="2456" y="591"/>
                    </a:lnTo>
                    <a:lnTo>
                      <a:pt x="2479" y="576"/>
                    </a:lnTo>
                    <a:lnTo>
                      <a:pt x="2503" y="561"/>
                    </a:lnTo>
                    <a:lnTo>
                      <a:pt x="2526" y="547"/>
                    </a:lnTo>
                    <a:lnTo>
                      <a:pt x="2550" y="534"/>
                    </a:lnTo>
                    <a:lnTo>
                      <a:pt x="2574" y="522"/>
                    </a:lnTo>
                    <a:lnTo>
                      <a:pt x="2598" y="511"/>
                    </a:lnTo>
                    <a:lnTo>
                      <a:pt x="2621" y="500"/>
                    </a:lnTo>
                    <a:lnTo>
                      <a:pt x="2645" y="492"/>
                    </a:lnTo>
                    <a:lnTo>
                      <a:pt x="2669" y="483"/>
                    </a:lnTo>
                    <a:lnTo>
                      <a:pt x="2693" y="475"/>
                    </a:lnTo>
                    <a:lnTo>
                      <a:pt x="2715" y="468"/>
                    </a:lnTo>
                    <a:lnTo>
                      <a:pt x="2739" y="462"/>
                    </a:lnTo>
                    <a:lnTo>
                      <a:pt x="2762" y="458"/>
                    </a:lnTo>
                    <a:lnTo>
                      <a:pt x="2785" y="454"/>
                    </a:lnTo>
                    <a:lnTo>
                      <a:pt x="2806" y="452"/>
                    </a:lnTo>
                    <a:lnTo>
                      <a:pt x="2828" y="450"/>
                    </a:lnTo>
                    <a:lnTo>
                      <a:pt x="2849" y="448"/>
                    </a:lnTo>
                    <a:lnTo>
                      <a:pt x="2870" y="448"/>
                    </a:lnTo>
                    <a:lnTo>
                      <a:pt x="2889" y="451"/>
                    </a:lnTo>
                    <a:lnTo>
                      <a:pt x="2909" y="453"/>
                    </a:lnTo>
                    <a:lnTo>
                      <a:pt x="2927" y="456"/>
                    </a:lnTo>
                    <a:lnTo>
                      <a:pt x="2945" y="460"/>
                    </a:lnTo>
                    <a:lnTo>
                      <a:pt x="2962" y="466"/>
                    </a:lnTo>
                    <a:lnTo>
                      <a:pt x="2978" y="472"/>
                    </a:lnTo>
                    <a:lnTo>
                      <a:pt x="2993" y="480"/>
                    </a:lnTo>
                    <a:lnTo>
                      <a:pt x="3008" y="489"/>
                    </a:lnTo>
                    <a:lnTo>
                      <a:pt x="3021" y="499"/>
                    </a:lnTo>
                    <a:lnTo>
                      <a:pt x="3036" y="513"/>
                    </a:lnTo>
                    <a:lnTo>
                      <a:pt x="3050" y="527"/>
                    </a:lnTo>
                    <a:lnTo>
                      <a:pt x="3061" y="543"/>
                    </a:lnTo>
                    <a:lnTo>
                      <a:pt x="3071" y="560"/>
                    </a:lnTo>
                    <a:lnTo>
                      <a:pt x="3079" y="576"/>
                    </a:lnTo>
                    <a:lnTo>
                      <a:pt x="3086" y="593"/>
                    </a:lnTo>
                    <a:lnTo>
                      <a:pt x="3090" y="611"/>
                    </a:lnTo>
                    <a:lnTo>
                      <a:pt x="3094" y="630"/>
                    </a:lnTo>
                    <a:lnTo>
                      <a:pt x="3094" y="602"/>
                    </a:lnTo>
                    <a:lnTo>
                      <a:pt x="3093" y="577"/>
                    </a:lnTo>
                    <a:lnTo>
                      <a:pt x="3091" y="554"/>
                    </a:lnTo>
                    <a:lnTo>
                      <a:pt x="3087" y="533"/>
                    </a:lnTo>
                    <a:lnTo>
                      <a:pt x="3083" y="511"/>
                    </a:lnTo>
                    <a:lnTo>
                      <a:pt x="3076" y="491"/>
                    </a:lnTo>
                    <a:lnTo>
                      <a:pt x="3070" y="468"/>
                    </a:lnTo>
                    <a:lnTo>
                      <a:pt x="3062" y="444"/>
                    </a:lnTo>
                    <a:lnTo>
                      <a:pt x="3051" y="430"/>
                    </a:lnTo>
                    <a:lnTo>
                      <a:pt x="3038" y="417"/>
                    </a:lnTo>
                    <a:lnTo>
                      <a:pt x="3024" y="405"/>
                    </a:lnTo>
                    <a:lnTo>
                      <a:pt x="3009" y="393"/>
                    </a:lnTo>
                    <a:lnTo>
                      <a:pt x="2993" y="384"/>
                    </a:lnTo>
                    <a:lnTo>
                      <a:pt x="2976" y="375"/>
                    </a:lnTo>
                    <a:lnTo>
                      <a:pt x="2957" y="366"/>
                    </a:lnTo>
                    <a:lnTo>
                      <a:pt x="2939" y="359"/>
                    </a:lnTo>
                    <a:lnTo>
                      <a:pt x="2919" y="353"/>
                    </a:lnTo>
                    <a:lnTo>
                      <a:pt x="2900" y="348"/>
                    </a:lnTo>
                    <a:lnTo>
                      <a:pt x="2880" y="345"/>
                    </a:lnTo>
                    <a:lnTo>
                      <a:pt x="2860" y="342"/>
                    </a:lnTo>
                    <a:lnTo>
                      <a:pt x="2841" y="339"/>
                    </a:lnTo>
                    <a:lnTo>
                      <a:pt x="2821" y="338"/>
                    </a:lnTo>
                    <a:lnTo>
                      <a:pt x="2802" y="338"/>
                    </a:lnTo>
                    <a:lnTo>
                      <a:pt x="2783" y="340"/>
                    </a:lnTo>
                    <a:lnTo>
                      <a:pt x="2769" y="342"/>
                    </a:lnTo>
                    <a:lnTo>
                      <a:pt x="2755" y="344"/>
                    </a:lnTo>
                    <a:lnTo>
                      <a:pt x="2741" y="347"/>
                    </a:lnTo>
                    <a:lnTo>
                      <a:pt x="2727" y="350"/>
                    </a:lnTo>
                    <a:lnTo>
                      <a:pt x="2699" y="359"/>
                    </a:lnTo>
                    <a:lnTo>
                      <a:pt x="2671" y="370"/>
                    </a:lnTo>
                    <a:lnTo>
                      <a:pt x="2643" y="381"/>
                    </a:lnTo>
                    <a:lnTo>
                      <a:pt x="2615" y="396"/>
                    </a:lnTo>
                    <a:lnTo>
                      <a:pt x="2587" y="411"/>
                    </a:lnTo>
                    <a:lnTo>
                      <a:pt x="2558" y="428"/>
                    </a:lnTo>
                    <a:lnTo>
                      <a:pt x="2530" y="446"/>
                    </a:lnTo>
                    <a:lnTo>
                      <a:pt x="2501" y="466"/>
                    </a:lnTo>
                    <a:lnTo>
                      <a:pt x="2471" y="486"/>
                    </a:lnTo>
                    <a:lnTo>
                      <a:pt x="2442" y="507"/>
                    </a:lnTo>
                    <a:lnTo>
                      <a:pt x="2384" y="551"/>
                    </a:lnTo>
                    <a:lnTo>
                      <a:pt x="2325" y="597"/>
                    </a:lnTo>
                    <a:lnTo>
                      <a:pt x="2271" y="639"/>
                    </a:lnTo>
                    <a:lnTo>
                      <a:pt x="2215" y="682"/>
                    </a:lnTo>
                    <a:lnTo>
                      <a:pt x="2159" y="723"/>
                    </a:lnTo>
                    <a:lnTo>
                      <a:pt x="2103" y="763"/>
                    </a:lnTo>
                    <a:lnTo>
                      <a:pt x="2074" y="781"/>
                    </a:lnTo>
                    <a:lnTo>
                      <a:pt x="2045" y="800"/>
                    </a:lnTo>
                    <a:lnTo>
                      <a:pt x="2015" y="818"/>
                    </a:lnTo>
                    <a:lnTo>
                      <a:pt x="1984" y="835"/>
                    </a:lnTo>
                    <a:lnTo>
                      <a:pt x="1954" y="852"/>
                    </a:lnTo>
                    <a:lnTo>
                      <a:pt x="1923" y="867"/>
                    </a:lnTo>
                    <a:lnTo>
                      <a:pt x="1891" y="882"/>
                    </a:lnTo>
                    <a:lnTo>
                      <a:pt x="1859" y="896"/>
                    </a:lnTo>
                    <a:lnTo>
                      <a:pt x="1791" y="922"/>
                    </a:lnTo>
                    <a:lnTo>
                      <a:pt x="1726" y="943"/>
                    </a:lnTo>
                    <a:lnTo>
                      <a:pt x="1663" y="960"/>
                    </a:lnTo>
                    <a:lnTo>
                      <a:pt x="1602" y="973"/>
                    </a:lnTo>
                    <a:lnTo>
                      <a:pt x="1543" y="982"/>
                    </a:lnTo>
                    <a:lnTo>
                      <a:pt x="1485" y="986"/>
                    </a:lnTo>
                    <a:lnTo>
                      <a:pt x="1429" y="988"/>
                    </a:lnTo>
                    <a:lnTo>
                      <a:pt x="1376" y="986"/>
                    </a:lnTo>
                    <a:lnTo>
                      <a:pt x="1325" y="981"/>
                    </a:lnTo>
                    <a:lnTo>
                      <a:pt x="1275" y="972"/>
                    </a:lnTo>
                    <a:lnTo>
                      <a:pt x="1226" y="961"/>
                    </a:lnTo>
                    <a:lnTo>
                      <a:pt x="1180" y="947"/>
                    </a:lnTo>
                    <a:lnTo>
                      <a:pt x="1136" y="931"/>
                    </a:lnTo>
                    <a:lnTo>
                      <a:pt x="1094" y="912"/>
                    </a:lnTo>
                    <a:lnTo>
                      <a:pt x="1052" y="891"/>
                    </a:lnTo>
                    <a:lnTo>
                      <a:pt x="1013" y="868"/>
                    </a:lnTo>
                    <a:lnTo>
                      <a:pt x="975" y="844"/>
                    </a:lnTo>
                    <a:lnTo>
                      <a:pt x="939" y="817"/>
                    </a:lnTo>
                    <a:lnTo>
                      <a:pt x="905" y="788"/>
                    </a:lnTo>
                    <a:lnTo>
                      <a:pt x="872" y="759"/>
                    </a:lnTo>
                    <a:lnTo>
                      <a:pt x="841" y="729"/>
                    </a:lnTo>
                    <a:lnTo>
                      <a:pt x="811" y="698"/>
                    </a:lnTo>
                    <a:lnTo>
                      <a:pt x="783" y="666"/>
                    </a:lnTo>
                    <a:lnTo>
                      <a:pt x="756" y="634"/>
                    </a:lnTo>
                    <a:lnTo>
                      <a:pt x="731" y="601"/>
                    </a:lnTo>
                    <a:lnTo>
                      <a:pt x="707" y="567"/>
                    </a:lnTo>
                    <a:lnTo>
                      <a:pt x="684" y="535"/>
                    </a:lnTo>
                    <a:lnTo>
                      <a:pt x="663" y="501"/>
                    </a:lnTo>
                    <a:lnTo>
                      <a:pt x="643" y="469"/>
                    </a:lnTo>
                    <a:lnTo>
                      <a:pt x="625" y="437"/>
                    </a:lnTo>
                    <a:lnTo>
                      <a:pt x="609" y="404"/>
                    </a:lnTo>
                    <a:lnTo>
                      <a:pt x="592" y="374"/>
                    </a:lnTo>
                    <a:lnTo>
                      <a:pt x="591" y="369"/>
                    </a:lnTo>
                    <a:lnTo>
                      <a:pt x="591" y="363"/>
                    </a:lnTo>
                    <a:lnTo>
                      <a:pt x="595" y="359"/>
                    </a:lnTo>
                    <a:lnTo>
                      <a:pt x="599" y="356"/>
                    </a:lnTo>
                    <a:lnTo>
                      <a:pt x="603" y="355"/>
                    </a:lnTo>
                    <a:lnTo>
                      <a:pt x="609" y="356"/>
                    </a:lnTo>
                    <a:lnTo>
                      <a:pt x="613" y="358"/>
                    </a:lnTo>
                    <a:lnTo>
                      <a:pt x="616" y="362"/>
                    </a:lnTo>
                    <a:lnTo>
                      <a:pt x="632" y="392"/>
                    </a:lnTo>
                    <a:lnTo>
                      <a:pt x="649" y="423"/>
                    </a:lnTo>
                    <a:lnTo>
                      <a:pt x="666" y="454"/>
                    </a:lnTo>
                    <a:lnTo>
                      <a:pt x="685" y="486"/>
                    </a:lnTo>
                    <a:lnTo>
                      <a:pt x="706" y="519"/>
                    </a:lnTo>
                    <a:lnTo>
                      <a:pt x="727" y="551"/>
                    </a:lnTo>
                    <a:lnTo>
                      <a:pt x="751" y="583"/>
                    </a:lnTo>
                    <a:lnTo>
                      <a:pt x="775" y="615"/>
                    </a:lnTo>
                    <a:lnTo>
                      <a:pt x="802" y="647"/>
                    </a:lnTo>
                    <a:lnTo>
                      <a:pt x="829" y="678"/>
                    </a:lnTo>
                    <a:lnTo>
                      <a:pt x="858" y="709"/>
                    </a:lnTo>
                    <a:lnTo>
                      <a:pt x="888" y="738"/>
                    </a:lnTo>
                    <a:lnTo>
                      <a:pt x="921" y="766"/>
                    </a:lnTo>
                    <a:lnTo>
                      <a:pt x="954" y="794"/>
                    </a:lnTo>
                    <a:lnTo>
                      <a:pt x="989" y="819"/>
                    </a:lnTo>
                    <a:lnTo>
                      <a:pt x="1025" y="844"/>
                    </a:lnTo>
                    <a:lnTo>
                      <a:pt x="1064" y="865"/>
                    </a:lnTo>
                    <a:lnTo>
                      <a:pt x="1104" y="886"/>
                    </a:lnTo>
                    <a:lnTo>
                      <a:pt x="1145" y="904"/>
                    </a:lnTo>
                    <a:lnTo>
                      <a:pt x="1189" y="920"/>
                    </a:lnTo>
                    <a:lnTo>
                      <a:pt x="1234" y="934"/>
                    </a:lnTo>
                    <a:lnTo>
                      <a:pt x="1280" y="945"/>
                    </a:lnTo>
                    <a:lnTo>
                      <a:pt x="1329" y="953"/>
                    </a:lnTo>
                    <a:lnTo>
                      <a:pt x="1380" y="958"/>
                    </a:lnTo>
                    <a:lnTo>
                      <a:pt x="1431" y="960"/>
                    </a:lnTo>
                    <a:lnTo>
                      <a:pt x="1485" y="959"/>
                    </a:lnTo>
                    <a:lnTo>
                      <a:pt x="1541" y="954"/>
                    </a:lnTo>
                    <a:lnTo>
                      <a:pt x="1599" y="945"/>
                    </a:lnTo>
                    <a:lnTo>
                      <a:pt x="1658" y="933"/>
                    </a:lnTo>
                    <a:lnTo>
                      <a:pt x="1720" y="917"/>
                    </a:lnTo>
                    <a:lnTo>
                      <a:pt x="1784" y="896"/>
                    </a:lnTo>
                    <a:lnTo>
                      <a:pt x="1848" y="872"/>
                    </a:lnTo>
                    <a:lnTo>
                      <a:pt x="1880" y="858"/>
                    </a:lnTo>
                    <a:lnTo>
                      <a:pt x="1911" y="844"/>
                    </a:lnTo>
                    <a:lnTo>
                      <a:pt x="1942" y="827"/>
                    </a:lnTo>
                    <a:lnTo>
                      <a:pt x="1972" y="811"/>
                    </a:lnTo>
                    <a:lnTo>
                      <a:pt x="2002" y="794"/>
                    </a:lnTo>
                    <a:lnTo>
                      <a:pt x="2031" y="777"/>
                    </a:lnTo>
                    <a:lnTo>
                      <a:pt x="2060" y="758"/>
                    </a:lnTo>
                    <a:lnTo>
                      <a:pt x="2089" y="739"/>
                    </a:lnTo>
                    <a:lnTo>
                      <a:pt x="2145" y="700"/>
                    </a:lnTo>
                    <a:lnTo>
                      <a:pt x="2200" y="659"/>
                    </a:lnTo>
                    <a:lnTo>
                      <a:pt x="2254" y="618"/>
                    </a:lnTo>
                    <a:lnTo>
                      <a:pt x="2307" y="576"/>
                    </a:lnTo>
                    <a:lnTo>
                      <a:pt x="2369" y="529"/>
                    </a:lnTo>
                    <a:lnTo>
                      <a:pt x="2428" y="484"/>
                    </a:lnTo>
                    <a:lnTo>
                      <a:pt x="2458" y="462"/>
                    </a:lnTo>
                    <a:lnTo>
                      <a:pt x="2488" y="442"/>
                    </a:lnTo>
                    <a:lnTo>
                      <a:pt x="2517" y="421"/>
                    </a:lnTo>
                    <a:lnTo>
                      <a:pt x="2547" y="403"/>
                    </a:lnTo>
                    <a:lnTo>
                      <a:pt x="2576" y="386"/>
                    </a:lnTo>
                    <a:lnTo>
                      <a:pt x="2605" y="370"/>
                    </a:lnTo>
                    <a:lnTo>
                      <a:pt x="2634" y="356"/>
                    </a:lnTo>
                    <a:lnTo>
                      <a:pt x="2664" y="344"/>
                    </a:lnTo>
                    <a:lnTo>
                      <a:pt x="2693" y="333"/>
                    </a:lnTo>
                    <a:lnTo>
                      <a:pt x="2722" y="324"/>
                    </a:lnTo>
                    <a:lnTo>
                      <a:pt x="2737" y="320"/>
                    </a:lnTo>
                    <a:lnTo>
                      <a:pt x="2751" y="318"/>
                    </a:lnTo>
                    <a:lnTo>
                      <a:pt x="2766" y="315"/>
                    </a:lnTo>
                    <a:lnTo>
                      <a:pt x="2781" y="313"/>
                    </a:lnTo>
                    <a:lnTo>
                      <a:pt x="2801" y="311"/>
                    </a:lnTo>
                    <a:lnTo>
                      <a:pt x="2821" y="311"/>
                    </a:lnTo>
                    <a:lnTo>
                      <a:pt x="2842" y="312"/>
                    </a:lnTo>
                    <a:lnTo>
                      <a:pt x="2863" y="315"/>
                    </a:lnTo>
                    <a:lnTo>
                      <a:pt x="2885" y="318"/>
                    </a:lnTo>
                    <a:lnTo>
                      <a:pt x="2907" y="322"/>
                    </a:lnTo>
                    <a:lnTo>
                      <a:pt x="2928" y="328"/>
                    </a:lnTo>
                    <a:lnTo>
                      <a:pt x="2949" y="334"/>
                    </a:lnTo>
                    <a:lnTo>
                      <a:pt x="2969" y="342"/>
                    </a:lnTo>
                    <a:lnTo>
                      <a:pt x="2990" y="351"/>
                    </a:lnTo>
                    <a:lnTo>
                      <a:pt x="3008" y="361"/>
                    </a:lnTo>
                    <a:lnTo>
                      <a:pt x="3026" y="373"/>
                    </a:lnTo>
                    <a:lnTo>
                      <a:pt x="3044" y="386"/>
                    </a:lnTo>
                    <a:lnTo>
                      <a:pt x="3059" y="399"/>
                    </a:lnTo>
                    <a:lnTo>
                      <a:pt x="3073" y="414"/>
                    </a:lnTo>
                    <a:lnTo>
                      <a:pt x="3085" y="430"/>
                    </a:lnTo>
                    <a:lnTo>
                      <a:pt x="3086" y="432"/>
                    </a:lnTo>
                    <a:lnTo>
                      <a:pt x="3087" y="433"/>
                    </a:lnTo>
                    <a:lnTo>
                      <a:pt x="3098" y="468"/>
                    </a:lnTo>
                    <a:lnTo>
                      <a:pt x="3107" y="500"/>
                    </a:lnTo>
                    <a:lnTo>
                      <a:pt x="3112" y="516"/>
                    </a:lnTo>
                    <a:lnTo>
                      <a:pt x="3115" y="533"/>
                    </a:lnTo>
                    <a:lnTo>
                      <a:pt x="3117" y="549"/>
                    </a:lnTo>
                    <a:lnTo>
                      <a:pt x="3119" y="566"/>
                    </a:lnTo>
                    <a:lnTo>
                      <a:pt x="3121" y="583"/>
                    </a:lnTo>
                    <a:lnTo>
                      <a:pt x="3121" y="603"/>
                    </a:lnTo>
                    <a:lnTo>
                      <a:pt x="3121" y="623"/>
                    </a:lnTo>
                    <a:lnTo>
                      <a:pt x="3121" y="646"/>
                    </a:lnTo>
                    <a:lnTo>
                      <a:pt x="3119" y="670"/>
                    </a:lnTo>
                    <a:lnTo>
                      <a:pt x="3117" y="696"/>
                    </a:lnTo>
                    <a:lnTo>
                      <a:pt x="3114" y="725"/>
                    </a:lnTo>
                    <a:lnTo>
                      <a:pt x="3110" y="756"/>
                    </a:lnTo>
                    <a:lnTo>
                      <a:pt x="3110" y="760"/>
                    </a:lnTo>
                    <a:lnTo>
                      <a:pt x="3108" y="769"/>
                    </a:lnTo>
                    <a:lnTo>
                      <a:pt x="3106" y="778"/>
                    </a:lnTo>
                    <a:lnTo>
                      <a:pt x="3105" y="785"/>
                    </a:lnTo>
                    <a:lnTo>
                      <a:pt x="3104" y="794"/>
                    </a:lnTo>
                    <a:lnTo>
                      <a:pt x="3102" y="804"/>
                    </a:lnTo>
                    <a:lnTo>
                      <a:pt x="3100" y="815"/>
                    </a:lnTo>
                    <a:lnTo>
                      <a:pt x="3097" y="831"/>
                    </a:lnTo>
                    <a:lnTo>
                      <a:pt x="3093" y="844"/>
                    </a:lnTo>
                    <a:lnTo>
                      <a:pt x="3089" y="863"/>
                    </a:lnTo>
                    <a:lnTo>
                      <a:pt x="3087" y="868"/>
                    </a:lnTo>
                    <a:lnTo>
                      <a:pt x="3084" y="872"/>
                    </a:lnTo>
                    <a:lnTo>
                      <a:pt x="3078" y="874"/>
                    </a:lnTo>
                    <a:lnTo>
                      <a:pt x="3074" y="874"/>
                    </a:lnTo>
                    <a:lnTo>
                      <a:pt x="3068" y="873"/>
                    </a:lnTo>
                    <a:lnTo>
                      <a:pt x="3065" y="869"/>
                    </a:lnTo>
                    <a:lnTo>
                      <a:pt x="3063" y="865"/>
                    </a:lnTo>
                    <a:lnTo>
                      <a:pt x="3062" y="860"/>
                    </a:lnTo>
                    <a:lnTo>
                      <a:pt x="3063" y="847"/>
                    </a:lnTo>
                    <a:lnTo>
                      <a:pt x="3064" y="833"/>
                    </a:lnTo>
                    <a:lnTo>
                      <a:pt x="3065" y="820"/>
                    </a:lnTo>
                    <a:lnTo>
                      <a:pt x="3066" y="806"/>
                    </a:lnTo>
                    <a:lnTo>
                      <a:pt x="3071" y="766"/>
                    </a:lnTo>
                    <a:lnTo>
                      <a:pt x="3073" y="726"/>
                    </a:lnTo>
                    <a:lnTo>
                      <a:pt x="3074" y="706"/>
                    </a:lnTo>
                    <a:lnTo>
                      <a:pt x="3073" y="687"/>
                    </a:lnTo>
                    <a:lnTo>
                      <a:pt x="3073" y="668"/>
                    </a:lnTo>
                    <a:lnTo>
                      <a:pt x="3071" y="649"/>
                    </a:lnTo>
                    <a:lnTo>
                      <a:pt x="3067" y="631"/>
                    </a:lnTo>
                    <a:lnTo>
                      <a:pt x="3063" y="613"/>
                    </a:lnTo>
                    <a:lnTo>
                      <a:pt x="3058" y="595"/>
                    </a:lnTo>
                    <a:lnTo>
                      <a:pt x="3050" y="579"/>
                    </a:lnTo>
                    <a:lnTo>
                      <a:pt x="3041" y="563"/>
                    </a:lnTo>
                    <a:lnTo>
                      <a:pt x="3031" y="548"/>
                    </a:lnTo>
                    <a:lnTo>
                      <a:pt x="3019" y="534"/>
                    </a:lnTo>
                    <a:lnTo>
                      <a:pt x="3004" y="520"/>
                    </a:lnTo>
                    <a:lnTo>
                      <a:pt x="2993" y="512"/>
                    </a:lnTo>
                    <a:lnTo>
                      <a:pt x="2981" y="505"/>
                    </a:lnTo>
                    <a:lnTo>
                      <a:pt x="2968" y="498"/>
                    </a:lnTo>
                    <a:lnTo>
                      <a:pt x="2954" y="492"/>
                    </a:lnTo>
                    <a:lnTo>
                      <a:pt x="2939" y="487"/>
                    </a:lnTo>
                    <a:lnTo>
                      <a:pt x="2923" y="483"/>
                    </a:lnTo>
                    <a:lnTo>
                      <a:pt x="2907" y="481"/>
                    </a:lnTo>
                    <a:lnTo>
                      <a:pt x="2889" y="479"/>
                    </a:lnTo>
                    <a:lnTo>
                      <a:pt x="2871" y="478"/>
                    </a:lnTo>
                    <a:lnTo>
                      <a:pt x="2851" y="476"/>
                    </a:lnTo>
                    <a:lnTo>
                      <a:pt x="2833" y="478"/>
                    </a:lnTo>
                    <a:lnTo>
                      <a:pt x="2813" y="479"/>
                    </a:lnTo>
                    <a:lnTo>
                      <a:pt x="2792" y="481"/>
                    </a:lnTo>
                    <a:lnTo>
                      <a:pt x="2772" y="484"/>
                    </a:lnTo>
                    <a:lnTo>
                      <a:pt x="2750" y="488"/>
                    </a:lnTo>
                    <a:lnTo>
                      <a:pt x="2728" y="494"/>
                    </a:lnTo>
                    <a:lnTo>
                      <a:pt x="2706" y="500"/>
                    </a:lnTo>
                    <a:lnTo>
                      <a:pt x="2683" y="507"/>
                    </a:lnTo>
                    <a:lnTo>
                      <a:pt x="2660" y="514"/>
                    </a:lnTo>
                    <a:lnTo>
                      <a:pt x="2638" y="523"/>
                    </a:lnTo>
                    <a:lnTo>
                      <a:pt x="2615" y="533"/>
                    </a:lnTo>
                    <a:lnTo>
                      <a:pt x="2591" y="543"/>
                    </a:lnTo>
                    <a:lnTo>
                      <a:pt x="2569" y="555"/>
                    </a:lnTo>
                    <a:lnTo>
                      <a:pt x="2545" y="567"/>
                    </a:lnTo>
                    <a:lnTo>
                      <a:pt x="2522" y="580"/>
                    </a:lnTo>
                    <a:lnTo>
                      <a:pt x="2499" y="594"/>
                    </a:lnTo>
                    <a:lnTo>
                      <a:pt x="2476" y="609"/>
                    </a:lnTo>
                    <a:lnTo>
                      <a:pt x="2453" y="625"/>
                    </a:lnTo>
                    <a:lnTo>
                      <a:pt x="2430" y="643"/>
                    </a:lnTo>
                    <a:lnTo>
                      <a:pt x="2408" y="661"/>
                    </a:lnTo>
                    <a:lnTo>
                      <a:pt x="2386" y="679"/>
                    </a:lnTo>
                    <a:lnTo>
                      <a:pt x="2364" y="699"/>
                    </a:lnTo>
                    <a:lnTo>
                      <a:pt x="2326" y="734"/>
                    </a:lnTo>
                    <a:lnTo>
                      <a:pt x="2289" y="767"/>
                    </a:lnTo>
                    <a:lnTo>
                      <a:pt x="2254" y="797"/>
                    </a:lnTo>
                    <a:lnTo>
                      <a:pt x="2220" y="825"/>
                    </a:lnTo>
                    <a:lnTo>
                      <a:pt x="2187" y="851"/>
                    </a:lnTo>
                    <a:lnTo>
                      <a:pt x="2155" y="875"/>
                    </a:lnTo>
                    <a:lnTo>
                      <a:pt x="2123" y="897"/>
                    </a:lnTo>
                    <a:lnTo>
                      <a:pt x="2090" y="919"/>
                    </a:lnTo>
                    <a:lnTo>
                      <a:pt x="2058" y="940"/>
                    </a:lnTo>
                    <a:lnTo>
                      <a:pt x="2025" y="959"/>
                    </a:lnTo>
                    <a:lnTo>
                      <a:pt x="1991" y="978"/>
                    </a:lnTo>
                    <a:lnTo>
                      <a:pt x="1956" y="998"/>
                    </a:lnTo>
                    <a:lnTo>
                      <a:pt x="1881" y="1039"/>
                    </a:lnTo>
                    <a:lnTo>
                      <a:pt x="1796" y="1083"/>
                    </a:lnTo>
                    <a:lnTo>
                      <a:pt x="1721" y="1122"/>
                    </a:lnTo>
                    <a:lnTo>
                      <a:pt x="1688" y="1138"/>
                    </a:lnTo>
                    <a:lnTo>
                      <a:pt x="1653" y="1154"/>
                    </a:lnTo>
                    <a:lnTo>
                      <a:pt x="1635" y="1162"/>
                    </a:lnTo>
                    <a:lnTo>
                      <a:pt x="1616" y="1170"/>
                    </a:lnTo>
                    <a:lnTo>
                      <a:pt x="1596" y="1176"/>
                    </a:lnTo>
                    <a:lnTo>
                      <a:pt x="1575" y="1182"/>
                    </a:lnTo>
                    <a:lnTo>
                      <a:pt x="1555" y="1188"/>
                    </a:lnTo>
                    <a:lnTo>
                      <a:pt x="1533" y="1193"/>
                    </a:lnTo>
                    <a:lnTo>
                      <a:pt x="1510" y="1199"/>
                    </a:lnTo>
                    <a:lnTo>
                      <a:pt x="1488" y="1202"/>
                    </a:lnTo>
                    <a:lnTo>
                      <a:pt x="1464" y="1205"/>
                    </a:lnTo>
                    <a:lnTo>
                      <a:pt x="1440" y="1207"/>
                    </a:lnTo>
                    <a:lnTo>
                      <a:pt x="1415" y="1209"/>
                    </a:lnTo>
                    <a:lnTo>
                      <a:pt x="1389" y="1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8"/>
              <p:cNvSpPr>
                <a:spLocks noEditPoints="1"/>
              </p:cNvSpPr>
              <p:nvPr userDrawn="1"/>
            </p:nvSpPr>
            <p:spPr bwMode="auto">
              <a:xfrm>
                <a:off x="1368" y="1356"/>
                <a:ext cx="612" cy="1265"/>
              </a:xfrm>
              <a:custGeom>
                <a:avLst/>
                <a:gdLst>
                  <a:gd name="T0" fmla="*/ 1013 w 1837"/>
                  <a:gd name="T1" fmla="*/ 3653 h 3794"/>
                  <a:gd name="T2" fmla="*/ 660 w 1837"/>
                  <a:gd name="T3" fmla="*/ 3373 h 3794"/>
                  <a:gd name="T4" fmla="*/ 278 w 1837"/>
                  <a:gd name="T5" fmla="*/ 2940 h 3794"/>
                  <a:gd name="T6" fmla="*/ 34 w 1837"/>
                  <a:gd name="T7" fmla="*/ 2469 h 3794"/>
                  <a:gd name="T8" fmla="*/ 3 w 1837"/>
                  <a:gd name="T9" fmla="*/ 2255 h 3794"/>
                  <a:gd name="T10" fmla="*/ 47 w 1837"/>
                  <a:gd name="T11" fmla="*/ 2099 h 3794"/>
                  <a:gd name="T12" fmla="*/ 113 w 1837"/>
                  <a:gd name="T13" fmla="*/ 1943 h 3794"/>
                  <a:gd name="T14" fmla="*/ 79 w 1837"/>
                  <a:gd name="T15" fmla="*/ 1722 h 3794"/>
                  <a:gd name="T16" fmla="*/ 118 w 1837"/>
                  <a:gd name="T17" fmla="*/ 1368 h 3794"/>
                  <a:gd name="T18" fmla="*/ 227 w 1837"/>
                  <a:gd name="T19" fmla="*/ 1029 h 3794"/>
                  <a:gd name="T20" fmla="*/ 399 w 1837"/>
                  <a:gd name="T21" fmla="*/ 731 h 3794"/>
                  <a:gd name="T22" fmla="*/ 651 w 1837"/>
                  <a:gd name="T23" fmla="*/ 462 h 3794"/>
                  <a:gd name="T24" fmla="*/ 1080 w 1837"/>
                  <a:gd name="T25" fmla="*/ 176 h 3794"/>
                  <a:gd name="T26" fmla="*/ 1439 w 1837"/>
                  <a:gd name="T27" fmla="*/ 41 h 3794"/>
                  <a:gd name="T28" fmla="*/ 1731 w 1837"/>
                  <a:gd name="T29" fmla="*/ 0 h 3794"/>
                  <a:gd name="T30" fmla="*/ 1836 w 1837"/>
                  <a:gd name="T31" fmla="*/ 498 h 3794"/>
                  <a:gd name="T32" fmla="*/ 1617 w 1837"/>
                  <a:gd name="T33" fmla="*/ 791 h 3794"/>
                  <a:gd name="T34" fmla="*/ 1316 w 1837"/>
                  <a:gd name="T35" fmla="*/ 1244 h 3794"/>
                  <a:gd name="T36" fmla="*/ 1280 w 1837"/>
                  <a:gd name="T37" fmla="*/ 1419 h 3794"/>
                  <a:gd name="T38" fmla="*/ 1332 w 1837"/>
                  <a:gd name="T39" fmla="*/ 1787 h 3794"/>
                  <a:gd name="T40" fmla="*/ 1228 w 1837"/>
                  <a:gd name="T41" fmla="*/ 1891 h 3794"/>
                  <a:gd name="T42" fmla="*/ 1111 w 1837"/>
                  <a:gd name="T43" fmla="*/ 1813 h 3794"/>
                  <a:gd name="T44" fmla="*/ 942 w 1837"/>
                  <a:gd name="T45" fmla="*/ 1772 h 3794"/>
                  <a:gd name="T46" fmla="*/ 809 w 1837"/>
                  <a:gd name="T47" fmla="*/ 1826 h 3794"/>
                  <a:gd name="T48" fmla="*/ 749 w 1837"/>
                  <a:gd name="T49" fmla="*/ 1951 h 3794"/>
                  <a:gd name="T50" fmla="*/ 738 w 1837"/>
                  <a:gd name="T51" fmla="*/ 2309 h 3794"/>
                  <a:gd name="T52" fmla="*/ 838 w 1837"/>
                  <a:gd name="T53" fmla="*/ 2601 h 3794"/>
                  <a:gd name="T54" fmla="*/ 1147 w 1837"/>
                  <a:gd name="T55" fmla="*/ 3019 h 3794"/>
                  <a:gd name="T56" fmla="*/ 1285 w 1837"/>
                  <a:gd name="T57" fmla="*/ 3270 h 3794"/>
                  <a:gd name="T58" fmla="*/ 1294 w 1837"/>
                  <a:gd name="T59" fmla="*/ 3614 h 3794"/>
                  <a:gd name="T60" fmla="*/ 1254 w 1837"/>
                  <a:gd name="T61" fmla="*/ 3789 h 3794"/>
                  <a:gd name="T62" fmla="*/ 1638 w 1837"/>
                  <a:gd name="T63" fmla="*/ 33 h 3794"/>
                  <a:gd name="T64" fmla="*/ 1337 w 1837"/>
                  <a:gd name="T65" fmla="*/ 99 h 3794"/>
                  <a:gd name="T66" fmla="*/ 956 w 1837"/>
                  <a:gd name="T67" fmla="*/ 276 h 3794"/>
                  <a:gd name="T68" fmla="*/ 565 w 1837"/>
                  <a:gd name="T69" fmla="*/ 578 h 3794"/>
                  <a:gd name="T70" fmla="*/ 358 w 1837"/>
                  <a:gd name="T71" fmla="*/ 840 h 3794"/>
                  <a:gd name="T72" fmla="*/ 209 w 1837"/>
                  <a:gd name="T73" fmla="*/ 1148 h 3794"/>
                  <a:gd name="T74" fmla="*/ 122 w 1837"/>
                  <a:gd name="T75" fmla="*/ 1492 h 3794"/>
                  <a:gd name="T76" fmla="*/ 116 w 1837"/>
                  <a:gd name="T77" fmla="*/ 1835 h 3794"/>
                  <a:gd name="T78" fmla="*/ 159 w 1837"/>
                  <a:gd name="T79" fmla="*/ 1988 h 3794"/>
                  <a:gd name="T80" fmla="*/ 69 w 1837"/>
                  <a:gd name="T81" fmla="*/ 2112 h 3794"/>
                  <a:gd name="T82" fmla="*/ 28 w 1837"/>
                  <a:gd name="T83" fmla="*/ 2260 h 3794"/>
                  <a:gd name="T84" fmla="*/ 76 w 1837"/>
                  <a:gd name="T85" fmla="*/ 2510 h 3794"/>
                  <a:gd name="T86" fmla="*/ 330 w 1837"/>
                  <a:gd name="T87" fmla="*/ 2966 h 3794"/>
                  <a:gd name="T88" fmla="*/ 678 w 1837"/>
                  <a:gd name="T89" fmla="*/ 3352 h 3794"/>
                  <a:gd name="T90" fmla="*/ 1033 w 1837"/>
                  <a:gd name="T91" fmla="*/ 3635 h 3794"/>
                  <a:gd name="T92" fmla="*/ 1261 w 1837"/>
                  <a:gd name="T93" fmla="*/ 3657 h 3794"/>
                  <a:gd name="T94" fmla="*/ 1273 w 1837"/>
                  <a:gd name="T95" fmla="*/ 3365 h 3794"/>
                  <a:gd name="T96" fmla="*/ 1182 w 1837"/>
                  <a:gd name="T97" fmla="*/ 3116 h 3794"/>
                  <a:gd name="T98" fmla="*/ 887 w 1837"/>
                  <a:gd name="T99" fmla="*/ 2723 h 3794"/>
                  <a:gd name="T100" fmla="*/ 740 w 1837"/>
                  <a:gd name="T101" fmla="*/ 2446 h 3794"/>
                  <a:gd name="T102" fmla="*/ 703 w 1837"/>
                  <a:gd name="T103" fmla="*/ 2052 h 3794"/>
                  <a:gd name="T104" fmla="*/ 761 w 1837"/>
                  <a:gd name="T105" fmla="*/ 1849 h 3794"/>
                  <a:gd name="T106" fmla="*/ 843 w 1837"/>
                  <a:gd name="T107" fmla="*/ 1764 h 3794"/>
                  <a:gd name="T108" fmla="*/ 938 w 1837"/>
                  <a:gd name="T109" fmla="*/ 1745 h 3794"/>
                  <a:gd name="T110" fmla="*/ 1138 w 1837"/>
                  <a:gd name="T111" fmla="*/ 1796 h 3794"/>
                  <a:gd name="T112" fmla="*/ 1278 w 1837"/>
                  <a:gd name="T113" fmla="*/ 1653 h 3794"/>
                  <a:gd name="T114" fmla="*/ 1258 w 1837"/>
                  <a:gd name="T115" fmla="*/ 1316 h 3794"/>
                  <a:gd name="T116" fmla="*/ 1387 w 1837"/>
                  <a:gd name="T117" fmla="*/ 1072 h 3794"/>
                  <a:gd name="T118" fmla="*/ 1771 w 1837"/>
                  <a:gd name="T119" fmla="*/ 539 h 3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7" h="3794">
                    <a:moveTo>
                      <a:pt x="1244" y="3794"/>
                    </a:moveTo>
                    <a:lnTo>
                      <a:pt x="1241" y="3793"/>
                    </a:lnTo>
                    <a:lnTo>
                      <a:pt x="1238" y="3791"/>
                    </a:lnTo>
                    <a:lnTo>
                      <a:pt x="1230" y="3787"/>
                    </a:lnTo>
                    <a:lnTo>
                      <a:pt x="1209" y="3775"/>
                    </a:lnTo>
                    <a:lnTo>
                      <a:pt x="1174" y="3757"/>
                    </a:lnTo>
                    <a:lnTo>
                      <a:pt x="1130" y="3730"/>
                    </a:lnTo>
                    <a:lnTo>
                      <a:pt x="1076" y="3695"/>
                    </a:lnTo>
                    <a:lnTo>
                      <a:pt x="1013" y="3653"/>
                    </a:lnTo>
                    <a:lnTo>
                      <a:pt x="979" y="3630"/>
                    </a:lnTo>
                    <a:lnTo>
                      <a:pt x="943" y="3605"/>
                    </a:lnTo>
                    <a:lnTo>
                      <a:pt x="905" y="3577"/>
                    </a:lnTo>
                    <a:lnTo>
                      <a:pt x="867" y="3548"/>
                    </a:lnTo>
                    <a:lnTo>
                      <a:pt x="828" y="3516"/>
                    </a:lnTo>
                    <a:lnTo>
                      <a:pt x="786" y="3484"/>
                    </a:lnTo>
                    <a:lnTo>
                      <a:pt x="745" y="3448"/>
                    </a:lnTo>
                    <a:lnTo>
                      <a:pt x="703" y="3411"/>
                    </a:lnTo>
                    <a:lnTo>
                      <a:pt x="660" y="3373"/>
                    </a:lnTo>
                    <a:lnTo>
                      <a:pt x="617" y="3333"/>
                    </a:lnTo>
                    <a:lnTo>
                      <a:pt x="574" y="3290"/>
                    </a:lnTo>
                    <a:lnTo>
                      <a:pt x="531" y="3245"/>
                    </a:lnTo>
                    <a:lnTo>
                      <a:pt x="487" y="3199"/>
                    </a:lnTo>
                    <a:lnTo>
                      <a:pt x="444" y="3151"/>
                    </a:lnTo>
                    <a:lnTo>
                      <a:pt x="402" y="3101"/>
                    </a:lnTo>
                    <a:lnTo>
                      <a:pt x="360" y="3049"/>
                    </a:lnTo>
                    <a:lnTo>
                      <a:pt x="319" y="2995"/>
                    </a:lnTo>
                    <a:lnTo>
                      <a:pt x="278" y="2940"/>
                    </a:lnTo>
                    <a:lnTo>
                      <a:pt x="239" y="2881"/>
                    </a:lnTo>
                    <a:lnTo>
                      <a:pt x="200" y="2822"/>
                    </a:lnTo>
                    <a:lnTo>
                      <a:pt x="171" y="2774"/>
                    </a:lnTo>
                    <a:lnTo>
                      <a:pt x="144" y="2724"/>
                    </a:lnTo>
                    <a:lnTo>
                      <a:pt x="118" y="2673"/>
                    </a:lnTo>
                    <a:lnTo>
                      <a:pt x="93" y="2621"/>
                    </a:lnTo>
                    <a:lnTo>
                      <a:pt x="71" y="2569"/>
                    </a:lnTo>
                    <a:lnTo>
                      <a:pt x="51" y="2519"/>
                    </a:lnTo>
                    <a:lnTo>
                      <a:pt x="34" y="2469"/>
                    </a:lnTo>
                    <a:lnTo>
                      <a:pt x="19" y="2422"/>
                    </a:lnTo>
                    <a:lnTo>
                      <a:pt x="13" y="2399"/>
                    </a:lnTo>
                    <a:lnTo>
                      <a:pt x="9" y="2376"/>
                    </a:lnTo>
                    <a:lnTo>
                      <a:pt x="5" y="2355"/>
                    </a:lnTo>
                    <a:lnTo>
                      <a:pt x="3" y="2334"/>
                    </a:lnTo>
                    <a:lnTo>
                      <a:pt x="1" y="2314"/>
                    </a:lnTo>
                    <a:lnTo>
                      <a:pt x="0" y="2293"/>
                    </a:lnTo>
                    <a:lnTo>
                      <a:pt x="1" y="2274"/>
                    </a:lnTo>
                    <a:lnTo>
                      <a:pt x="3" y="2255"/>
                    </a:lnTo>
                    <a:lnTo>
                      <a:pt x="5" y="2237"/>
                    </a:lnTo>
                    <a:lnTo>
                      <a:pt x="7" y="2219"/>
                    </a:lnTo>
                    <a:lnTo>
                      <a:pt x="10" y="2201"/>
                    </a:lnTo>
                    <a:lnTo>
                      <a:pt x="14" y="2185"/>
                    </a:lnTo>
                    <a:lnTo>
                      <a:pt x="19" y="2169"/>
                    </a:lnTo>
                    <a:lnTo>
                      <a:pt x="24" y="2154"/>
                    </a:lnTo>
                    <a:lnTo>
                      <a:pt x="30" y="2139"/>
                    </a:lnTo>
                    <a:lnTo>
                      <a:pt x="35" y="2125"/>
                    </a:lnTo>
                    <a:lnTo>
                      <a:pt x="47" y="2099"/>
                    </a:lnTo>
                    <a:lnTo>
                      <a:pt x="61" y="2075"/>
                    </a:lnTo>
                    <a:lnTo>
                      <a:pt x="74" y="2054"/>
                    </a:lnTo>
                    <a:lnTo>
                      <a:pt x="87" y="2034"/>
                    </a:lnTo>
                    <a:lnTo>
                      <a:pt x="100" y="2019"/>
                    </a:lnTo>
                    <a:lnTo>
                      <a:pt x="112" y="2005"/>
                    </a:lnTo>
                    <a:lnTo>
                      <a:pt x="121" y="1994"/>
                    </a:lnTo>
                    <a:lnTo>
                      <a:pt x="129" y="1987"/>
                    </a:lnTo>
                    <a:lnTo>
                      <a:pt x="122" y="1969"/>
                    </a:lnTo>
                    <a:lnTo>
                      <a:pt x="113" y="1943"/>
                    </a:lnTo>
                    <a:lnTo>
                      <a:pt x="108" y="1927"/>
                    </a:lnTo>
                    <a:lnTo>
                      <a:pt x="103" y="1909"/>
                    </a:lnTo>
                    <a:lnTo>
                      <a:pt x="98" y="1888"/>
                    </a:lnTo>
                    <a:lnTo>
                      <a:pt x="93" y="1866"/>
                    </a:lnTo>
                    <a:lnTo>
                      <a:pt x="89" y="1842"/>
                    </a:lnTo>
                    <a:lnTo>
                      <a:pt x="86" y="1815"/>
                    </a:lnTo>
                    <a:lnTo>
                      <a:pt x="82" y="1786"/>
                    </a:lnTo>
                    <a:lnTo>
                      <a:pt x="80" y="1756"/>
                    </a:lnTo>
                    <a:lnTo>
                      <a:pt x="79" y="1722"/>
                    </a:lnTo>
                    <a:lnTo>
                      <a:pt x="78" y="1688"/>
                    </a:lnTo>
                    <a:lnTo>
                      <a:pt x="79" y="1650"/>
                    </a:lnTo>
                    <a:lnTo>
                      <a:pt x="82" y="1611"/>
                    </a:lnTo>
                    <a:lnTo>
                      <a:pt x="86" y="1570"/>
                    </a:lnTo>
                    <a:lnTo>
                      <a:pt x="90" y="1529"/>
                    </a:lnTo>
                    <a:lnTo>
                      <a:pt x="96" y="1488"/>
                    </a:lnTo>
                    <a:lnTo>
                      <a:pt x="102" y="1448"/>
                    </a:lnTo>
                    <a:lnTo>
                      <a:pt x="109" y="1408"/>
                    </a:lnTo>
                    <a:lnTo>
                      <a:pt x="118" y="1368"/>
                    </a:lnTo>
                    <a:lnTo>
                      <a:pt x="127" y="1328"/>
                    </a:lnTo>
                    <a:lnTo>
                      <a:pt x="136" y="1289"/>
                    </a:lnTo>
                    <a:lnTo>
                      <a:pt x="146" y="1251"/>
                    </a:lnTo>
                    <a:lnTo>
                      <a:pt x="158" y="1214"/>
                    </a:lnTo>
                    <a:lnTo>
                      <a:pt x="170" y="1176"/>
                    </a:lnTo>
                    <a:lnTo>
                      <a:pt x="183" y="1138"/>
                    </a:lnTo>
                    <a:lnTo>
                      <a:pt x="197" y="1101"/>
                    </a:lnTo>
                    <a:lnTo>
                      <a:pt x="211" y="1065"/>
                    </a:lnTo>
                    <a:lnTo>
                      <a:pt x="227" y="1029"/>
                    </a:lnTo>
                    <a:lnTo>
                      <a:pt x="242" y="995"/>
                    </a:lnTo>
                    <a:lnTo>
                      <a:pt x="260" y="959"/>
                    </a:lnTo>
                    <a:lnTo>
                      <a:pt x="277" y="925"/>
                    </a:lnTo>
                    <a:lnTo>
                      <a:pt x="295" y="891"/>
                    </a:lnTo>
                    <a:lnTo>
                      <a:pt x="315" y="857"/>
                    </a:lnTo>
                    <a:lnTo>
                      <a:pt x="335" y="825"/>
                    </a:lnTo>
                    <a:lnTo>
                      <a:pt x="356" y="793"/>
                    </a:lnTo>
                    <a:lnTo>
                      <a:pt x="377" y="761"/>
                    </a:lnTo>
                    <a:lnTo>
                      <a:pt x="399" y="731"/>
                    </a:lnTo>
                    <a:lnTo>
                      <a:pt x="421" y="701"/>
                    </a:lnTo>
                    <a:lnTo>
                      <a:pt x="445" y="671"/>
                    </a:lnTo>
                    <a:lnTo>
                      <a:pt x="469" y="642"/>
                    </a:lnTo>
                    <a:lnTo>
                      <a:pt x="494" y="613"/>
                    </a:lnTo>
                    <a:lnTo>
                      <a:pt x="520" y="585"/>
                    </a:lnTo>
                    <a:lnTo>
                      <a:pt x="547" y="558"/>
                    </a:lnTo>
                    <a:lnTo>
                      <a:pt x="574" y="533"/>
                    </a:lnTo>
                    <a:lnTo>
                      <a:pt x="601" y="507"/>
                    </a:lnTo>
                    <a:lnTo>
                      <a:pt x="651" y="462"/>
                    </a:lnTo>
                    <a:lnTo>
                      <a:pt x="701" y="421"/>
                    </a:lnTo>
                    <a:lnTo>
                      <a:pt x="750" y="382"/>
                    </a:lnTo>
                    <a:lnTo>
                      <a:pt x="799" y="347"/>
                    </a:lnTo>
                    <a:lnTo>
                      <a:pt x="847" y="312"/>
                    </a:lnTo>
                    <a:lnTo>
                      <a:pt x="896" y="281"/>
                    </a:lnTo>
                    <a:lnTo>
                      <a:pt x="943" y="252"/>
                    </a:lnTo>
                    <a:lnTo>
                      <a:pt x="989" y="224"/>
                    </a:lnTo>
                    <a:lnTo>
                      <a:pt x="1035" y="199"/>
                    </a:lnTo>
                    <a:lnTo>
                      <a:pt x="1080" y="176"/>
                    </a:lnTo>
                    <a:lnTo>
                      <a:pt x="1124" y="155"/>
                    </a:lnTo>
                    <a:lnTo>
                      <a:pt x="1168" y="135"/>
                    </a:lnTo>
                    <a:lnTo>
                      <a:pt x="1210" y="117"/>
                    </a:lnTo>
                    <a:lnTo>
                      <a:pt x="1252" y="101"/>
                    </a:lnTo>
                    <a:lnTo>
                      <a:pt x="1292" y="86"/>
                    </a:lnTo>
                    <a:lnTo>
                      <a:pt x="1331" y="73"/>
                    </a:lnTo>
                    <a:lnTo>
                      <a:pt x="1368" y="61"/>
                    </a:lnTo>
                    <a:lnTo>
                      <a:pt x="1404" y="51"/>
                    </a:lnTo>
                    <a:lnTo>
                      <a:pt x="1439" y="41"/>
                    </a:lnTo>
                    <a:lnTo>
                      <a:pt x="1472" y="34"/>
                    </a:lnTo>
                    <a:lnTo>
                      <a:pt x="1505" y="27"/>
                    </a:lnTo>
                    <a:lnTo>
                      <a:pt x="1535" y="21"/>
                    </a:lnTo>
                    <a:lnTo>
                      <a:pt x="1563" y="15"/>
                    </a:lnTo>
                    <a:lnTo>
                      <a:pt x="1590" y="12"/>
                    </a:lnTo>
                    <a:lnTo>
                      <a:pt x="1637" y="6"/>
                    </a:lnTo>
                    <a:lnTo>
                      <a:pt x="1677" y="2"/>
                    </a:lnTo>
                    <a:lnTo>
                      <a:pt x="1709" y="1"/>
                    </a:lnTo>
                    <a:lnTo>
                      <a:pt x="1731" y="0"/>
                    </a:lnTo>
                    <a:lnTo>
                      <a:pt x="1740" y="0"/>
                    </a:lnTo>
                    <a:lnTo>
                      <a:pt x="1743" y="0"/>
                    </a:lnTo>
                    <a:lnTo>
                      <a:pt x="1749" y="1"/>
                    </a:lnTo>
                    <a:lnTo>
                      <a:pt x="1752" y="5"/>
                    </a:lnTo>
                    <a:lnTo>
                      <a:pt x="1755" y="8"/>
                    </a:lnTo>
                    <a:lnTo>
                      <a:pt x="1756" y="12"/>
                    </a:lnTo>
                    <a:lnTo>
                      <a:pt x="1836" y="493"/>
                    </a:lnTo>
                    <a:lnTo>
                      <a:pt x="1837" y="495"/>
                    </a:lnTo>
                    <a:lnTo>
                      <a:pt x="1836" y="498"/>
                    </a:lnTo>
                    <a:lnTo>
                      <a:pt x="1835" y="500"/>
                    </a:lnTo>
                    <a:lnTo>
                      <a:pt x="1834" y="502"/>
                    </a:lnTo>
                    <a:lnTo>
                      <a:pt x="1827" y="511"/>
                    </a:lnTo>
                    <a:lnTo>
                      <a:pt x="1810" y="534"/>
                    </a:lnTo>
                    <a:lnTo>
                      <a:pt x="1783" y="568"/>
                    </a:lnTo>
                    <a:lnTo>
                      <a:pt x="1750" y="612"/>
                    </a:lnTo>
                    <a:lnTo>
                      <a:pt x="1710" y="665"/>
                    </a:lnTo>
                    <a:lnTo>
                      <a:pt x="1664" y="726"/>
                    </a:lnTo>
                    <a:lnTo>
                      <a:pt x="1617" y="791"/>
                    </a:lnTo>
                    <a:lnTo>
                      <a:pt x="1567" y="859"/>
                    </a:lnTo>
                    <a:lnTo>
                      <a:pt x="1518" y="929"/>
                    </a:lnTo>
                    <a:lnTo>
                      <a:pt x="1469" y="999"/>
                    </a:lnTo>
                    <a:lnTo>
                      <a:pt x="1422" y="1067"/>
                    </a:lnTo>
                    <a:lnTo>
                      <a:pt x="1381" y="1132"/>
                    </a:lnTo>
                    <a:lnTo>
                      <a:pt x="1362" y="1162"/>
                    </a:lnTo>
                    <a:lnTo>
                      <a:pt x="1345" y="1191"/>
                    </a:lnTo>
                    <a:lnTo>
                      <a:pt x="1330" y="1218"/>
                    </a:lnTo>
                    <a:lnTo>
                      <a:pt x="1316" y="1244"/>
                    </a:lnTo>
                    <a:lnTo>
                      <a:pt x="1305" y="1267"/>
                    </a:lnTo>
                    <a:lnTo>
                      <a:pt x="1296" y="1287"/>
                    </a:lnTo>
                    <a:lnTo>
                      <a:pt x="1290" y="1305"/>
                    </a:lnTo>
                    <a:lnTo>
                      <a:pt x="1285" y="1321"/>
                    </a:lnTo>
                    <a:lnTo>
                      <a:pt x="1283" y="1335"/>
                    </a:lnTo>
                    <a:lnTo>
                      <a:pt x="1282" y="1351"/>
                    </a:lnTo>
                    <a:lnTo>
                      <a:pt x="1281" y="1366"/>
                    </a:lnTo>
                    <a:lnTo>
                      <a:pt x="1280" y="1383"/>
                    </a:lnTo>
                    <a:lnTo>
                      <a:pt x="1280" y="1419"/>
                    </a:lnTo>
                    <a:lnTo>
                      <a:pt x="1282" y="1455"/>
                    </a:lnTo>
                    <a:lnTo>
                      <a:pt x="1284" y="1494"/>
                    </a:lnTo>
                    <a:lnTo>
                      <a:pt x="1289" y="1532"/>
                    </a:lnTo>
                    <a:lnTo>
                      <a:pt x="1293" y="1571"/>
                    </a:lnTo>
                    <a:lnTo>
                      <a:pt x="1298" y="1609"/>
                    </a:lnTo>
                    <a:lnTo>
                      <a:pt x="1310" y="1677"/>
                    </a:lnTo>
                    <a:lnTo>
                      <a:pt x="1320" y="1734"/>
                    </a:lnTo>
                    <a:lnTo>
                      <a:pt x="1329" y="1772"/>
                    </a:lnTo>
                    <a:lnTo>
                      <a:pt x="1332" y="1787"/>
                    </a:lnTo>
                    <a:lnTo>
                      <a:pt x="1332" y="1790"/>
                    </a:lnTo>
                    <a:lnTo>
                      <a:pt x="1331" y="1794"/>
                    </a:lnTo>
                    <a:lnTo>
                      <a:pt x="1330" y="1798"/>
                    </a:lnTo>
                    <a:lnTo>
                      <a:pt x="1327" y="1800"/>
                    </a:lnTo>
                    <a:lnTo>
                      <a:pt x="1238" y="1886"/>
                    </a:lnTo>
                    <a:lnTo>
                      <a:pt x="1236" y="1888"/>
                    </a:lnTo>
                    <a:lnTo>
                      <a:pt x="1232" y="1889"/>
                    </a:lnTo>
                    <a:lnTo>
                      <a:pt x="1230" y="1891"/>
                    </a:lnTo>
                    <a:lnTo>
                      <a:pt x="1228" y="1891"/>
                    </a:lnTo>
                    <a:lnTo>
                      <a:pt x="1223" y="1889"/>
                    </a:lnTo>
                    <a:lnTo>
                      <a:pt x="1218" y="1886"/>
                    </a:lnTo>
                    <a:lnTo>
                      <a:pt x="1212" y="1880"/>
                    </a:lnTo>
                    <a:lnTo>
                      <a:pt x="1196" y="1866"/>
                    </a:lnTo>
                    <a:lnTo>
                      <a:pt x="1184" y="1856"/>
                    </a:lnTo>
                    <a:lnTo>
                      <a:pt x="1169" y="1846"/>
                    </a:lnTo>
                    <a:lnTo>
                      <a:pt x="1151" y="1834"/>
                    </a:lnTo>
                    <a:lnTo>
                      <a:pt x="1133" y="1824"/>
                    </a:lnTo>
                    <a:lnTo>
                      <a:pt x="1111" y="1813"/>
                    </a:lnTo>
                    <a:lnTo>
                      <a:pt x="1088" y="1802"/>
                    </a:lnTo>
                    <a:lnTo>
                      <a:pt x="1063" y="1792"/>
                    </a:lnTo>
                    <a:lnTo>
                      <a:pt x="1035" y="1785"/>
                    </a:lnTo>
                    <a:lnTo>
                      <a:pt x="1021" y="1780"/>
                    </a:lnTo>
                    <a:lnTo>
                      <a:pt x="1006" y="1778"/>
                    </a:lnTo>
                    <a:lnTo>
                      <a:pt x="991" y="1775"/>
                    </a:lnTo>
                    <a:lnTo>
                      <a:pt x="974" y="1774"/>
                    </a:lnTo>
                    <a:lnTo>
                      <a:pt x="959" y="1772"/>
                    </a:lnTo>
                    <a:lnTo>
                      <a:pt x="942" y="1772"/>
                    </a:lnTo>
                    <a:lnTo>
                      <a:pt x="925" y="1772"/>
                    </a:lnTo>
                    <a:lnTo>
                      <a:pt x="907" y="1773"/>
                    </a:lnTo>
                    <a:lnTo>
                      <a:pt x="892" y="1775"/>
                    </a:lnTo>
                    <a:lnTo>
                      <a:pt x="876" y="1778"/>
                    </a:lnTo>
                    <a:lnTo>
                      <a:pt x="862" y="1785"/>
                    </a:lnTo>
                    <a:lnTo>
                      <a:pt x="848" y="1792"/>
                    </a:lnTo>
                    <a:lnTo>
                      <a:pt x="834" y="1802"/>
                    </a:lnTo>
                    <a:lnTo>
                      <a:pt x="821" y="1813"/>
                    </a:lnTo>
                    <a:lnTo>
                      <a:pt x="809" y="1826"/>
                    </a:lnTo>
                    <a:lnTo>
                      <a:pt x="797" y="1841"/>
                    </a:lnTo>
                    <a:lnTo>
                      <a:pt x="791" y="1852"/>
                    </a:lnTo>
                    <a:lnTo>
                      <a:pt x="783" y="1865"/>
                    </a:lnTo>
                    <a:lnTo>
                      <a:pt x="777" y="1878"/>
                    </a:lnTo>
                    <a:lnTo>
                      <a:pt x="770" y="1891"/>
                    </a:lnTo>
                    <a:lnTo>
                      <a:pt x="764" y="1905"/>
                    </a:lnTo>
                    <a:lnTo>
                      <a:pt x="758" y="1920"/>
                    </a:lnTo>
                    <a:lnTo>
                      <a:pt x="754" y="1936"/>
                    </a:lnTo>
                    <a:lnTo>
                      <a:pt x="749" y="1951"/>
                    </a:lnTo>
                    <a:lnTo>
                      <a:pt x="741" y="1985"/>
                    </a:lnTo>
                    <a:lnTo>
                      <a:pt x="735" y="2021"/>
                    </a:lnTo>
                    <a:lnTo>
                      <a:pt x="730" y="2059"/>
                    </a:lnTo>
                    <a:lnTo>
                      <a:pt x="727" y="2098"/>
                    </a:lnTo>
                    <a:lnTo>
                      <a:pt x="726" y="2139"/>
                    </a:lnTo>
                    <a:lnTo>
                      <a:pt x="726" y="2180"/>
                    </a:lnTo>
                    <a:lnTo>
                      <a:pt x="728" y="2223"/>
                    </a:lnTo>
                    <a:lnTo>
                      <a:pt x="732" y="2265"/>
                    </a:lnTo>
                    <a:lnTo>
                      <a:pt x="738" y="2309"/>
                    </a:lnTo>
                    <a:lnTo>
                      <a:pt x="745" y="2353"/>
                    </a:lnTo>
                    <a:lnTo>
                      <a:pt x="755" y="2397"/>
                    </a:lnTo>
                    <a:lnTo>
                      <a:pt x="766" y="2440"/>
                    </a:lnTo>
                    <a:lnTo>
                      <a:pt x="775" y="2466"/>
                    </a:lnTo>
                    <a:lnTo>
                      <a:pt x="784" y="2493"/>
                    </a:lnTo>
                    <a:lnTo>
                      <a:pt x="795" y="2520"/>
                    </a:lnTo>
                    <a:lnTo>
                      <a:pt x="808" y="2547"/>
                    </a:lnTo>
                    <a:lnTo>
                      <a:pt x="823" y="2574"/>
                    </a:lnTo>
                    <a:lnTo>
                      <a:pt x="838" y="2601"/>
                    </a:lnTo>
                    <a:lnTo>
                      <a:pt x="854" y="2628"/>
                    </a:lnTo>
                    <a:lnTo>
                      <a:pt x="873" y="2655"/>
                    </a:lnTo>
                    <a:lnTo>
                      <a:pt x="911" y="2709"/>
                    </a:lnTo>
                    <a:lnTo>
                      <a:pt x="951" y="2763"/>
                    </a:lnTo>
                    <a:lnTo>
                      <a:pt x="992" y="2817"/>
                    </a:lnTo>
                    <a:lnTo>
                      <a:pt x="1034" y="2871"/>
                    </a:lnTo>
                    <a:lnTo>
                      <a:pt x="1081" y="2930"/>
                    </a:lnTo>
                    <a:lnTo>
                      <a:pt x="1127" y="2989"/>
                    </a:lnTo>
                    <a:lnTo>
                      <a:pt x="1147" y="3019"/>
                    </a:lnTo>
                    <a:lnTo>
                      <a:pt x="1169" y="3047"/>
                    </a:lnTo>
                    <a:lnTo>
                      <a:pt x="1188" y="3076"/>
                    </a:lnTo>
                    <a:lnTo>
                      <a:pt x="1207" y="3104"/>
                    </a:lnTo>
                    <a:lnTo>
                      <a:pt x="1224" y="3132"/>
                    </a:lnTo>
                    <a:lnTo>
                      <a:pt x="1239" y="3160"/>
                    </a:lnTo>
                    <a:lnTo>
                      <a:pt x="1254" y="3188"/>
                    </a:lnTo>
                    <a:lnTo>
                      <a:pt x="1266" y="3215"/>
                    </a:lnTo>
                    <a:lnTo>
                      <a:pt x="1277" y="3243"/>
                    </a:lnTo>
                    <a:lnTo>
                      <a:pt x="1285" y="3270"/>
                    </a:lnTo>
                    <a:lnTo>
                      <a:pt x="1292" y="3297"/>
                    </a:lnTo>
                    <a:lnTo>
                      <a:pt x="1297" y="3323"/>
                    </a:lnTo>
                    <a:lnTo>
                      <a:pt x="1302" y="3370"/>
                    </a:lnTo>
                    <a:lnTo>
                      <a:pt x="1304" y="3417"/>
                    </a:lnTo>
                    <a:lnTo>
                      <a:pt x="1305" y="3460"/>
                    </a:lnTo>
                    <a:lnTo>
                      <a:pt x="1304" y="3502"/>
                    </a:lnTo>
                    <a:lnTo>
                      <a:pt x="1302" y="3542"/>
                    </a:lnTo>
                    <a:lnTo>
                      <a:pt x="1298" y="3580"/>
                    </a:lnTo>
                    <a:lnTo>
                      <a:pt x="1294" y="3614"/>
                    </a:lnTo>
                    <a:lnTo>
                      <a:pt x="1290" y="3647"/>
                    </a:lnTo>
                    <a:lnTo>
                      <a:pt x="1284" y="3676"/>
                    </a:lnTo>
                    <a:lnTo>
                      <a:pt x="1279" y="3703"/>
                    </a:lnTo>
                    <a:lnTo>
                      <a:pt x="1273" y="3726"/>
                    </a:lnTo>
                    <a:lnTo>
                      <a:pt x="1269" y="3745"/>
                    </a:lnTo>
                    <a:lnTo>
                      <a:pt x="1261" y="3773"/>
                    </a:lnTo>
                    <a:lnTo>
                      <a:pt x="1257" y="3784"/>
                    </a:lnTo>
                    <a:lnTo>
                      <a:pt x="1256" y="3787"/>
                    </a:lnTo>
                    <a:lnTo>
                      <a:pt x="1254" y="3789"/>
                    </a:lnTo>
                    <a:lnTo>
                      <a:pt x="1252" y="3791"/>
                    </a:lnTo>
                    <a:lnTo>
                      <a:pt x="1250" y="3793"/>
                    </a:lnTo>
                    <a:lnTo>
                      <a:pt x="1246" y="3794"/>
                    </a:lnTo>
                    <a:lnTo>
                      <a:pt x="1244" y="3794"/>
                    </a:lnTo>
                    <a:close/>
                    <a:moveTo>
                      <a:pt x="1731" y="27"/>
                    </a:moveTo>
                    <a:lnTo>
                      <a:pt x="1731" y="27"/>
                    </a:lnTo>
                    <a:lnTo>
                      <a:pt x="1709" y="28"/>
                    </a:lnTo>
                    <a:lnTo>
                      <a:pt x="1678" y="29"/>
                    </a:lnTo>
                    <a:lnTo>
                      <a:pt x="1638" y="33"/>
                    </a:lnTo>
                    <a:lnTo>
                      <a:pt x="1592" y="39"/>
                    </a:lnTo>
                    <a:lnTo>
                      <a:pt x="1566" y="42"/>
                    </a:lnTo>
                    <a:lnTo>
                      <a:pt x="1538" y="48"/>
                    </a:lnTo>
                    <a:lnTo>
                      <a:pt x="1508" y="53"/>
                    </a:lnTo>
                    <a:lnTo>
                      <a:pt x="1476" y="60"/>
                    </a:lnTo>
                    <a:lnTo>
                      <a:pt x="1444" y="68"/>
                    </a:lnTo>
                    <a:lnTo>
                      <a:pt x="1410" y="77"/>
                    </a:lnTo>
                    <a:lnTo>
                      <a:pt x="1374" y="88"/>
                    </a:lnTo>
                    <a:lnTo>
                      <a:pt x="1337" y="99"/>
                    </a:lnTo>
                    <a:lnTo>
                      <a:pt x="1299" y="112"/>
                    </a:lnTo>
                    <a:lnTo>
                      <a:pt x="1259" y="127"/>
                    </a:lnTo>
                    <a:lnTo>
                      <a:pt x="1219" y="143"/>
                    </a:lnTo>
                    <a:lnTo>
                      <a:pt x="1177" y="160"/>
                    </a:lnTo>
                    <a:lnTo>
                      <a:pt x="1135" y="180"/>
                    </a:lnTo>
                    <a:lnTo>
                      <a:pt x="1091" y="200"/>
                    </a:lnTo>
                    <a:lnTo>
                      <a:pt x="1047" y="224"/>
                    </a:lnTo>
                    <a:lnTo>
                      <a:pt x="1001" y="249"/>
                    </a:lnTo>
                    <a:lnTo>
                      <a:pt x="956" y="276"/>
                    </a:lnTo>
                    <a:lnTo>
                      <a:pt x="910" y="304"/>
                    </a:lnTo>
                    <a:lnTo>
                      <a:pt x="862" y="335"/>
                    </a:lnTo>
                    <a:lnTo>
                      <a:pt x="815" y="368"/>
                    </a:lnTo>
                    <a:lnTo>
                      <a:pt x="766" y="404"/>
                    </a:lnTo>
                    <a:lnTo>
                      <a:pt x="717" y="443"/>
                    </a:lnTo>
                    <a:lnTo>
                      <a:pt x="669" y="483"/>
                    </a:lnTo>
                    <a:lnTo>
                      <a:pt x="619" y="526"/>
                    </a:lnTo>
                    <a:lnTo>
                      <a:pt x="592" y="552"/>
                    </a:lnTo>
                    <a:lnTo>
                      <a:pt x="565" y="578"/>
                    </a:lnTo>
                    <a:lnTo>
                      <a:pt x="539" y="604"/>
                    </a:lnTo>
                    <a:lnTo>
                      <a:pt x="514" y="632"/>
                    </a:lnTo>
                    <a:lnTo>
                      <a:pt x="490" y="660"/>
                    </a:lnTo>
                    <a:lnTo>
                      <a:pt x="466" y="688"/>
                    </a:lnTo>
                    <a:lnTo>
                      <a:pt x="443" y="717"/>
                    </a:lnTo>
                    <a:lnTo>
                      <a:pt x="420" y="747"/>
                    </a:lnTo>
                    <a:lnTo>
                      <a:pt x="399" y="778"/>
                    </a:lnTo>
                    <a:lnTo>
                      <a:pt x="377" y="809"/>
                    </a:lnTo>
                    <a:lnTo>
                      <a:pt x="358" y="840"/>
                    </a:lnTo>
                    <a:lnTo>
                      <a:pt x="337" y="873"/>
                    </a:lnTo>
                    <a:lnTo>
                      <a:pt x="319" y="905"/>
                    </a:lnTo>
                    <a:lnTo>
                      <a:pt x="301" y="938"/>
                    </a:lnTo>
                    <a:lnTo>
                      <a:pt x="283" y="972"/>
                    </a:lnTo>
                    <a:lnTo>
                      <a:pt x="267" y="1006"/>
                    </a:lnTo>
                    <a:lnTo>
                      <a:pt x="251" y="1041"/>
                    </a:lnTo>
                    <a:lnTo>
                      <a:pt x="236" y="1077"/>
                    </a:lnTo>
                    <a:lnTo>
                      <a:pt x="222" y="1112"/>
                    </a:lnTo>
                    <a:lnTo>
                      <a:pt x="209" y="1148"/>
                    </a:lnTo>
                    <a:lnTo>
                      <a:pt x="196" y="1185"/>
                    </a:lnTo>
                    <a:lnTo>
                      <a:pt x="184" y="1221"/>
                    </a:lnTo>
                    <a:lnTo>
                      <a:pt x="172" y="1259"/>
                    </a:lnTo>
                    <a:lnTo>
                      <a:pt x="162" y="1297"/>
                    </a:lnTo>
                    <a:lnTo>
                      <a:pt x="153" y="1336"/>
                    </a:lnTo>
                    <a:lnTo>
                      <a:pt x="144" y="1373"/>
                    </a:lnTo>
                    <a:lnTo>
                      <a:pt x="136" y="1413"/>
                    </a:lnTo>
                    <a:lnTo>
                      <a:pt x="129" y="1452"/>
                    </a:lnTo>
                    <a:lnTo>
                      <a:pt x="122" y="1492"/>
                    </a:lnTo>
                    <a:lnTo>
                      <a:pt x="117" y="1532"/>
                    </a:lnTo>
                    <a:lnTo>
                      <a:pt x="113" y="1572"/>
                    </a:lnTo>
                    <a:lnTo>
                      <a:pt x="109" y="1613"/>
                    </a:lnTo>
                    <a:lnTo>
                      <a:pt x="106" y="1657"/>
                    </a:lnTo>
                    <a:lnTo>
                      <a:pt x="105" y="1698"/>
                    </a:lnTo>
                    <a:lnTo>
                      <a:pt x="106" y="1736"/>
                    </a:lnTo>
                    <a:lnTo>
                      <a:pt x="108" y="1772"/>
                    </a:lnTo>
                    <a:lnTo>
                      <a:pt x="112" y="1805"/>
                    </a:lnTo>
                    <a:lnTo>
                      <a:pt x="116" y="1835"/>
                    </a:lnTo>
                    <a:lnTo>
                      <a:pt x="120" y="1864"/>
                    </a:lnTo>
                    <a:lnTo>
                      <a:pt x="126" y="1888"/>
                    </a:lnTo>
                    <a:lnTo>
                      <a:pt x="131" y="1910"/>
                    </a:lnTo>
                    <a:lnTo>
                      <a:pt x="138" y="1929"/>
                    </a:lnTo>
                    <a:lnTo>
                      <a:pt x="142" y="1946"/>
                    </a:lnTo>
                    <a:lnTo>
                      <a:pt x="147" y="1959"/>
                    </a:lnTo>
                    <a:lnTo>
                      <a:pt x="155" y="1977"/>
                    </a:lnTo>
                    <a:lnTo>
                      <a:pt x="158" y="1983"/>
                    </a:lnTo>
                    <a:lnTo>
                      <a:pt x="159" y="1988"/>
                    </a:lnTo>
                    <a:lnTo>
                      <a:pt x="159" y="1992"/>
                    </a:lnTo>
                    <a:lnTo>
                      <a:pt x="158" y="1996"/>
                    </a:lnTo>
                    <a:lnTo>
                      <a:pt x="155" y="2001"/>
                    </a:lnTo>
                    <a:lnTo>
                      <a:pt x="145" y="2009"/>
                    </a:lnTo>
                    <a:lnTo>
                      <a:pt x="123" y="2031"/>
                    </a:lnTo>
                    <a:lnTo>
                      <a:pt x="112" y="2046"/>
                    </a:lnTo>
                    <a:lnTo>
                      <a:pt x="98" y="2065"/>
                    </a:lnTo>
                    <a:lnTo>
                      <a:pt x="84" y="2087"/>
                    </a:lnTo>
                    <a:lnTo>
                      <a:pt x="69" y="2112"/>
                    </a:lnTo>
                    <a:lnTo>
                      <a:pt x="63" y="2126"/>
                    </a:lnTo>
                    <a:lnTo>
                      <a:pt x="57" y="2140"/>
                    </a:lnTo>
                    <a:lnTo>
                      <a:pt x="51" y="2155"/>
                    </a:lnTo>
                    <a:lnTo>
                      <a:pt x="46" y="2170"/>
                    </a:lnTo>
                    <a:lnTo>
                      <a:pt x="40" y="2186"/>
                    </a:lnTo>
                    <a:lnTo>
                      <a:pt x="36" y="2204"/>
                    </a:lnTo>
                    <a:lnTo>
                      <a:pt x="33" y="2222"/>
                    </a:lnTo>
                    <a:lnTo>
                      <a:pt x="31" y="2240"/>
                    </a:lnTo>
                    <a:lnTo>
                      <a:pt x="28" y="2260"/>
                    </a:lnTo>
                    <a:lnTo>
                      <a:pt x="27" y="2280"/>
                    </a:lnTo>
                    <a:lnTo>
                      <a:pt x="27" y="2301"/>
                    </a:lnTo>
                    <a:lnTo>
                      <a:pt x="28" y="2322"/>
                    </a:lnTo>
                    <a:lnTo>
                      <a:pt x="31" y="2344"/>
                    </a:lnTo>
                    <a:lnTo>
                      <a:pt x="34" y="2367"/>
                    </a:lnTo>
                    <a:lnTo>
                      <a:pt x="39" y="2390"/>
                    </a:lnTo>
                    <a:lnTo>
                      <a:pt x="45" y="2414"/>
                    </a:lnTo>
                    <a:lnTo>
                      <a:pt x="60" y="2460"/>
                    </a:lnTo>
                    <a:lnTo>
                      <a:pt x="76" y="2510"/>
                    </a:lnTo>
                    <a:lnTo>
                      <a:pt x="96" y="2560"/>
                    </a:lnTo>
                    <a:lnTo>
                      <a:pt x="118" y="2611"/>
                    </a:lnTo>
                    <a:lnTo>
                      <a:pt x="142" y="2661"/>
                    </a:lnTo>
                    <a:lnTo>
                      <a:pt x="168" y="2711"/>
                    </a:lnTo>
                    <a:lnTo>
                      <a:pt x="195" y="2761"/>
                    </a:lnTo>
                    <a:lnTo>
                      <a:pt x="224" y="2808"/>
                    </a:lnTo>
                    <a:lnTo>
                      <a:pt x="258" y="2862"/>
                    </a:lnTo>
                    <a:lnTo>
                      <a:pt x="293" y="2915"/>
                    </a:lnTo>
                    <a:lnTo>
                      <a:pt x="330" y="2966"/>
                    </a:lnTo>
                    <a:lnTo>
                      <a:pt x="368" y="3014"/>
                    </a:lnTo>
                    <a:lnTo>
                      <a:pt x="405" y="3063"/>
                    </a:lnTo>
                    <a:lnTo>
                      <a:pt x="443" y="3108"/>
                    </a:lnTo>
                    <a:lnTo>
                      <a:pt x="482" y="3153"/>
                    </a:lnTo>
                    <a:lnTo>
                      <a:pt x="522" y="3197"/>
                    </a:lnTo>
                    <a:lnTo>
                      <a:pt x="561" y="3238"/>
                    </a:lnTo>
                    <a:lnTo>
                      <a:pt x="600" y="3278"/>
                    </a:lnTo>
                    <a:lnTo>
                      <a:pt x="640" y="3315"/>
                    </a:lnTo>
                    <a:lnTo>
                      <a:pt x="678" y="3352"/>
                    </a:lnTo>
                    <a:lnTo>
                      <a:pt x="717" y="3388"/>
                    </a:lnTo>
                    <a:lnTo>
                      <a:pt x="755" y="3421"/>
                    </a:lnTo>
                    <a:lnTo>
                      <a:pt x="793" y="3454"/>
                    </a:lnTo>
                    <a:lnTo>
                      <a:pt x="831" y="3484"/>
                    </a:lnTo>
                    <a:lnTo>
                      <a:pt x="866" y="3513"/>
                    </a:lnTo>
                    <a:lnTo>
                      <a:pt x="902" y="3540"/>
                    </a:lnTo>
                    <a:lnTo>
                      <a:pt x="937" y="3566"/>
                    </a:lnTo>
                    <a:lnTo>
                      <a:pt x="970" y="3591"/>
                    </a:lnTo>
                    <a:lnTo>
                      <a:pt x="1033" y="3635"/>
                    </a:lnTo>
                    <a:lnTo>
                      <a:pt x="1089" y="3672"/>
                    </a:lnTo>
                    <a:lnTo>
                      <a:pt x="1138" y="3704"/>
                    </a:lnTo>
                    <a:lnTo>
                      <a:pt x="1181" y="3729"/>
                    </a:lnTo>
                    <a:lnTo>
                      <a:pt x="1213" y="3747"/>
                    </a:lnTo>
                    <a:lnTo>
                      <a:pt x="1237" y="3760"/>
                    </a:lnTo>
                    <a:lnTo>
                      <a:pt x="1243" y="3735"/>
                    </a:lnTo>
                    <a:lnTo>
                      <a:pt x="1252" y="3701"/>
                    </a:lnTo>
                    <a:lnTo>
                      <a:pt x="1256" y="3680"/>
                    </a:lnTo>
                    <a:lnTo>
                      <a:pt x="1261" y="3657"/>
                    </a:lnTo>
                    <a:lnTo>
                      <a:pt x="1265" y="3631"/>
                    </a:lnTo>
                    <a:lnTo>
                      <a:pt x="1268" y="3604"/>
                    </a:lnTo>
                    <a:lnTo>
                      <a:pt x="1271" y="3574"/>
                    </a:lnTo>
                    <a:lnTo>
                      <a:pt x="1275" y="3543"/>
                    </a:lnTo>
                    <a:lnTo>
                      <a:pt x="1277" y="3511"/>
                    </a:lnTo>
                    <a:lnTo>
                      <a:pt x="1278" y="3476"/>
                    </a:lnTo>
                    <a:lnTo>
                      <a:pt x="1278" y="3441"/>
                    </a:lnTo>
                    <a:lnTo>
                      <a:pt x="1277" y="3404"/>
                    </a:lnTo>
                    <a:lnTo>
                      <a:pt x="1273" y="3365"/>
                    </a:lnTo>
                    <a:lnTo>
                      <a:pt x="1270" y="3326"/>
                    </a:lnTo>
                    <a:lnTo>
                      <a:pt x="1266" y="3301"/>
                    </a:lnTo>
                    <a:lnTo>
                      <a:pt x="1259" y="3275"/>
                    </a:lnTo>
                    <a:lnTo>
                      <a:pt x="1251" y="3250"/>
                    </a:lnTo>
                    <a:lnTo>
                      <a:pt x="1240" y="3224"/>
                    </a:lnTo>
                    <a:lnTo>
                      <a:pt x="1228" y="3197"/>
                    </a:lnTo>
                    <a:lnTo>
                      <a:pt x="1214" y="3170"/>
                    </a:lnTo>
                    <a:lnTo>
                      <a:pt x="1199" y="3143"/>
                    </a:lnTo>
                    <a:lnTo>
                      <a:pt x="1182" y="3116"/>
                    </a:lnTo>
                    <a:lnTo>
                      <a:pt x="1163" y="3088"/>
                    </a:lnTo>
                    <a:lnTo>
                      <a:pt x="1145" y="3061"/>
                    </a:lnTo>
                    <a:lnTo>
                      <a:pt x="1124" y="3032"/>
                    </a:lnTo>
                    <a:lnTo>
                      <a:pt x="1103" y="3003"/>
                    </a:lnTo>
                    <a:lnTo>
                      <a:pt x="1059" y="2946"/>
                    </a:lnTo>
                    <a:lnTo>
                      <a:pt x="1013" y="2888"/>
                    </a:lnTo>
                    <a:lnTo>
                      <a:pt x="970" y="2833"/>
                    </a:lnTo>
                    <a:lnTo>
                      <a:pt x="928" y="2778"/>
                    </a:lnTo>
                    <a:lnTo>
                      <a:pt x="887" y="2723"/>
                    </a:lnTo>
                    <a:lnTo>
                      <a:pt x="849" y="2668"/>
                    </a:lnTo>
                    <a:lnTo>
                      <a:pt x="831" y="2640"/>
                    </a:lnTo>
                    <a:lnTo>
                      <a:pt x="813" y="2613"/>
                    </a:lnTo>
                    <a:lnTo>
                      <a:pt x="798" y="2585"/>
                    </a:lnTo>
                    <a:lnTo>
                      <a:pt x="783" y="2557"/>
                    </a:lnTo>
                    <a:lnTo>
                      <a:pt x="770" y="2530"/>
                    </a:lnTo>
                    <a:lnTo>
                      <a:pt x="758" y="2501"/>
                    </a:lnTo>
                    <a:lnTo>
                      <a:pt x="749" y="2475"/>
                    </a:lnTo>
                    <a:lnTo>
                      <a:pt x="740" y="2446"/>
                    </a:lnTo>
                    <a:lnTo>
                      <a:pt x="728" y="2402"/>
                    </a:lnTo>
                    <a:lnTo>
                      <a:pt x="718" y="2357"/>
                    </a:lnTo>
                    <a:lnTo>
                      <a:pt x="711" y="2313"/>
                    </a:lnTo>
                    <a:lnTo>
                      <a:pt x="705" y="2267"/>
                    </a:lnTo>
                    <a:lnTo>
                      <a:pt x="701" y="2223"/>
                    </a:lnTo>
                    <a:lnTo>
                      <a:pt x="699" y="2179"/>
                    </a:lnTo>
                    <a:lnTo>
                      <a:pt x="699" y="2136"/>
                    </a:lnTo>
                    <a:lnTo>
                      <a:pt x="700" y="2093"/>
                    </a:lnTo>
                    <a:lnTo>
                      <a:pt x="703" y="2052"/>
                    </a:lnTo>
                    <a:lnTo>
                      <a:pt x="709" y="2014"/>
                    </a:lnTo>
                    <a:lnTo>
                      <a:pt x="715" y="1976"/>
                    </a:lnTo>
                    <a:lnTo>
                      <a:pt x="724" y="1941"/>
                    </a:lnTo>
                    <a:lnTo>
                      <a:pt x="729" y="1924"/>
                    </a:lnTo>
                    <a:lnTo>
                      <a:pt x="735" y="1908"/>
                    </a:lnTo>
                    <a:lnTo>
                      <a:pt x="740" y="1893"/>
                    </a:lnTo>
                    <a:lnTo>
                      <a:pt x="747" y="1878"/>
                    </a:lnTo>
                    <a:lnTo>
                      <a:pt x="753" y="1864"/>
                    </a:lnTo>
                    <a:lnTo>
                      <a:pt x="761" y="1849"/>
                    </a:lnTo>
                    <a:lnTo>
                      <a:pt x="768" y="1838"/>
                    </a:lnTo>
                    <a:lnTo>
                      <a:pt x="776" y="1825"/>
                    </a:lnTo>
                    <a:lnTo>
                      <a:pt x="789" y="1807"/>
                    </a:lnTo>
                    <a:lnTo>
                      <a:pt x="804" y="1792"/>
                    </a:lnTo>
                    <a:lnTo>
                      <a:pt x="810" y="1786"/>
                    </a:lnTo>
                    <a:lnTo>
                      <a:pt x="818" y="1779"/>
                    </a:lnTo>
                    <a:lnTo>
                      <a:pt x="826" y="1774"/>
                    </a:lnTo>
                    <a:lnTo>
                      <a:pt x="834" y="1769"/>
                    </a:lnTo>
                    <a:lnTo>
                      <a:pt x="843" y="1764"/>
                    </a:lnTo>
                    <a:lnTo>
                      <a:pt x="851" y="1760"/>
                    </a:lnTo>
                    <a:lnTo>
                      <a:pt x="860" y="1756"/>
                    </a:lnTo>
                    <a:lnTo>
                      <a:pt x="869" y="1752"/>
                    </a:lnTo>
                    <a:lnTo>
                      <a:pt x="877" y="1750"/>
                    </a:lnTo>
                    <a:lnTo>
                      <a:pt x="887" y="1748"/>
                    </a:lnTo>
                    <a:lnTo>
                      <a:pt x="897" y="1747"/>
                    </a:lnTo>
                    <a:lnTo>
                      <a:pt x="906" y="1746"/>
                    </a:lnTo>
                    <a:lnTo>
                      <a:pt x="921" y="1745"/>
                    </a:lnTo>
                    <a:lnTo>
                      <a:pt x="938" y="1745"/>
                    </a:lnTo>
                    <a:lnTo>
                      <a:pt x="953" y="1745"/>
                    </a:lnTo>
                    <a:lnTo>
                      <a:pt x="968" y="1746"/>
                    </a:lnTo>
                    <a:lnTo>
                      <a:pt x="996" y="1749"/>
                    </a:lnTo>
                    <a:lnTo>
                      <a:pt x="1024" y="1753"/>
                    </a:lnTo>
                    <a:lnTo>
                      <a:pt x="1050" y="1760"/>
                    </a:lnTo>
                    <a:lnTo>
                      <a:pt x="1074" y="1767"/>
                    </a:lnTo>
                    <a:lnTo>
                      <a:pt x="1097" y="1776"/>
                    </a:lnTo>
                    <a:lnTo>
                      <a:pt x="1118" y="1786"/>
                    </a:lnTo>
                    <a:lnTo>
                      <a:pt x="1138" y="1796"/>
                    </a:lnTo>
                    <a:lnTo>
                      <a:pt x="1157" y="1805"/>
                    </a:lnTo>
                    <a:lnTo>
                      <a:pt x="1173" y="1816"/>
                    </a:lnTo>
                    <a:lnTo>
                      <a:pt x="1187" y="1826"/>
                    </a:lnTo>
                    <a:lnTo>
                      <a:pt x="1212" y="1844"/>
                    </a:lnTo>
                    <a:lnTo>
                      <a:pt x="1228" y="1858"/>
                    </a:lnTo>
                    <a:lnTo>
                      <a:pt x="1304" y="1786"/>
                    </a:lnTo>
                    <a:lnTo>
                      <a:pt x="1297" y="1757"/>
                    </a:lnTo>
                    <a:lnTo>
                      <a:pt x="1289" y="1711"/>
                    </a:lnTo>
                    <a:lnTo>
                      <a:pt x="1278" y="1653"/>
                    </a:lnTo>
                    <a:lnTo>
                      <a:pt x="1268" y="1585"/>
                    </a:lnTo>
                    <a:lnTo>
                      <a:pt x="1264" y="1549"/>
                    </a:lnTo>
                    <a:lnTo>
                      <a:pt x="1259" y="1514"/>
                    </a:lnTo>
                    <a:lnTo>
                      <a:pt x="1256" y="1478"/>
                    </a:lnTo>
                    <a:lnTo>
                      <a:pt x="1254" y="1443"/>
                    </a:lnTo>
                    <a:lnTo>
                      <a:pt x="1253" y="1408"/>
                    </a:lnTo>
                    <a:lnTo>
                      <a:pt x="1253" y="1375"/>
                    </a:lnTo>
                    <a:lnTo>
                      <a:pt x="1255" y="1344"/>
                    </a:lnTo>
                    <a:lnTo>
                      <a:pt x="1258" y="1316"/>
                    </a:lnTo>
                    <a:lnTo>
                      <a:pt x="1263" y="1301"/>
                    </a:lnTo>
                    <a:lnTo>
                      <a:pt x="1268" y="1283"/>
                    </a:lnTo>
                    <a:lnTo>
                      <a:pt x="1277" y="1263"/>
                    </a:lnTo>
                    <a:lnTo>
                      <a:pt x="1288" y="1241"/>
                    </a:lnTo>
                    <a:lnTo>
                      <a:pt x="1300" y="1216"/>
                    </a:lnTo>
                    <a:lnTo>
                      <a:pt x="1314" y="1190"/>
                    </a:lnTo>
                    <a:lnTo>
                      <a:pt x="1331" y="1163"/>
                    </a:lnTo>
                    <a:lnTo>
                      <a:pt x="1348" y="1134"/>
                    </a:lnTo>
                    <a:lnTo>
                      <a:pt x="1387" y="1072"/>
                    </a:lnTo>
                    <a:lnTo>
                      <a:pt x="1431" y="1006"/>
                    </a:lnTo>
                    <a:lnTo>
                      <a:pt x="1476" y="939"/>
                    </a:lnTo>
                    <a:lnTo>
                      <a:pt x="1524" y="871"/>
                    </a:lnTo>
                    <a:lnTo>
                      <a:pt x="1573" y="806"/>
                    </a:lnTo>
                    <a:lnTo>
                      <a:pt x="1619" y="741"/>
                    </a:lnTo>
                    <a:lnTo>
                      <a:pt x="1664" y="681"/>
                    </a:lnTo>
                    <a:lnTo>
                      <a:pt x="1705" y="626"/>
                    </a:lnTo>
                    <a:lnTo>
                      <a:pt x="1741" y="578"/>
                    </a:lnTo>
                    <a:lnTo>
                      <a:pt x="1771" y="539"/>
                    </a:lnTo>
                    <a:lnTo>
                      <a:pt x="1795" y="509"/>
                    </a:lnTo>
                    <a:lnTo>
                      <a:pt x="1809" y="490"/>
                    </a:lnTo>
                    <a:lnTo>
                      <a:pt x="1731" y="27"/>
                    </a:lnTo>
                    <a:lnTo>
                      <a:pt x="1731" y="27"/>
                    </a:lnTo>
                    <a:lnTo>
                      <a:pt x="173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9"/>
              <p:cNvSpPr>
                <a:spLocks/>
              </p:cNvSpPr>
              <p:nvPr userDrawn="1"/>
            </p:nvSpPr>
            <p:spPr bwMode="auto">
              <a:xfrm>
                <a:off x="1429" y="1392"/>
                <a:ext cx="526" cy="1226"/>
              </a:xfrm>
              <a:custGeom>
                <a:avLst/>
                <a:gdLst>
                  <a:gd name="T0" fmla="*/ 985 w 1577"/>
                  <a:gd name="T1" fmla="*/ 3620 h 3679"/>
                  <a:gd name="T2" fmla="*/ 720 w 1577"/>
                  <a:gd name="T3" fmla="*/ 3412 h 3679"/>
                  <a:gd name="T4" fmla="*/ 543 w 1577"/>
                  <a:gd name="T5" fmla="*/ 3243 h 3679"/>
                  <a:gd name="T6" fmla="*/ 395 w 1577"/>
                  <a:gd name="T7" fmla="*/ 3078 h 3679"/>
                  <a:gd name="T8" fmla="*/ 253 w 1577"/>
                  <a:gd name="T9" fmla="*/ 2889 h 3679"/>
                  <a:gd name="T10" fmla="*/ 116 w 1577"/>
                  <a:gd name="T11" fmla="*/ 2657 h 3679"/>
                  <a:gd name="T12" fmla="*/ 18 w 1577"/>
                  <a:gd name="T13" fmla="*/ 2405 h 3679"/>
                  <a:gd name="T14" fmla="*/ 0 w 1577"/>
                  <a:gd name="T15" fmla="*/ 2297 h 3679"/>
                  <a:gd name="T16" fmla="*/ 6 w 1577"/>
                  <a:gd name="T17" fmla="*/ 2203 h 3679"/>
                  <a:gd name="T18" fmla="*/ 28 w 1577"/>
                  <a:gd name="T19" fmla="*/ 2124 h 3679"/>
                  <a:gd name="T20" fmla="*/ 86 w 1577"/>
                  <a:gd name="T21" fmla="*/ 2019 h 3679"/>
                  <a:gd name="T22" fmla="*/ 122 w 1577"/>
                  <a:gd name="T23" fmla="*/ 1953 h 3679"/>
                  <a:gd name="T24" fmla="*/ 93 w 1577"/>
                  <a:gd name="T25" fmla="*/ 1850 h 3679"/>
                  <a:gd name="T26" fmla="*/ 78 w 1577"/>
                  <a:gd name="T27" fmla="*/ 1707 h 3679"/>
                  <a:gd name="T28" fmla="*/ 89 w 1577"/>
                  <a:gd name="T29" fmla="*/ 1513 h 3679"/>
                  <a:gd name="T30" fmla="*/ 126 w 1577"/>
                  <a:gd name="T31" fmla="*/ 1313 h 3679"/>
                  <a:gd name="T32" fmla="*/ 182 w 1577"/>
                  <a:gd name="T33" fmla="*/ 1123 h 3679"/>
                  <a:gd name="T34" fmla="*/ 259 w 1577"/>
                  <a:gd name="T35" fmla="*/ 944 h 3679"/>
                  <a:gd name="T36" fmla="*/ 355 w 1577"/>
                  <a:gd name="T37" fmla="*/ 777 h 3679"/>
                  <a:gd name="T38" fmla="*/ 468 w 1577"/>
                  <a:gd name="T39" fmla="*/ 626 h 3679"/>
                  <a:gd name="T40" fmla="*/ 600 w 1577"/>
                  <a:gd name="T41" fmla="*/ 490 h 3679"/>
                  <a:gd name="T42" fmla="*/ 782 w 1577"/>
                  <a:gd name="T43" fmla="*/ 342 h 3679"/>
                  <a:gd name="T44" fmla="*/ 958 w 1577"/>
                  <a:gd name="T45" fmla="*/ 227 h 3679"/>
                  <a:gd name="T46" fmla="*/ 1124 w 1577"/>
                  <a:gd name="T47" fmla="*/ 139 h 3679"/>
                  <a:gd name="T48" fmla="*/ 1276 w 1577"/>
                  <a:gd name="T49" fmla="*/ 76 h 3679"/>
                  <a:gd name="T50" fmla="*/ 1523 w 1577"/>
                  <a:gd name="T51" fmla="*/ 8 h 3679"/>
                  <a:gd name="T52" fmla="*/ 1577 w 1577"/>
                  <a:gd name="T53" fmla="*/ 12 h 3679"/>
                  <a:gd name="T54" fmla="*/ 1529 w 1577"/>
                  <a:gd name="T55" fmla="*/ 34 h 3679"/>
                  <a:gd name="T56" fmla="*/ 1285 w 1577"/>
                  <a:gd name="T57" fmla="*/ 102 h 3679"/>
                  <a:gd name="T58" fmla="*/ 1135 w 1577"/>
                  <a:gd name="T59" fmla="*/ 164 h 3679"/>
                  <a:gd name="T60" fmla="*/ 972 w 1577"/>
                  <a:gd name="T61" fmla="*/ 251 h 3679"/>
                  <a:gd name="T62" fmla="*/ 798 w 1577"/>
                  <a:gd name="T63" fmla="*/ 364 h 3679"/>
                  <a:gd name="T64" fmla="*/ 619 w 1577"/>
                  <a:gd name="T65" fmla="*/ 511 h 3679"/>
                  <a:gd name="T66" fmla="*/ 489 w 1577"/>
                  <a:gd name="T67" fmla="*/ 644 h 3679"/>
                  <a:gd name="T68" fmla="*/ 377 w 1577"/>
                  <a:gd name="T69" fmla="*/ 793 h 3679"/>
                  <a:gd name="T70" fmla="*/ 283 w 1577"/>
                  <a:gd name="T71" fmla="*/ 956 h 3679"/>
                  <a:gd name="T72" fmla="*/ 207 w 1577"/>
                  <a:gd name="T73" fmla="*/ 1131 h 3679"/>
                  <a:gd name="T74" fmla="*/ 152 w 1577"/>
                  <a:gd name="T75" fmla="*/ 1319 h 3679"/>
                  <a:gd name="T76" fmla="*/ 116 w 1577"/>
                  <a:gd name="T77" fmla="*/ 1516 h 3679"/>
                  <a:gd name="T78" fmla="*/ 106 w 1577"/>
                  <a:gd name="T79" fmla="*/ 1721 h 3679"/>
                  <a:gd name="T80" fmla="*/ 125 w 1577"/>
                  <a:gd name="T81" fmla="*/ 1872 h 3679"/>
                  <a:gd name="T82" fmla="*/ 154 w 1577"/>
                  <a:gd name="T83" fmla="*/ 1961 h 3679"/>
                  <a:gd name="T84" fmla="*/ 154 w 1577"/>
                  <a:gd name="T85" fmla="*/ 1984 h 3679"/>
                  <a:gd name="T86" fmla="*/ 83 w 1577"/>
                  <a:gd name="T87" fmla="*/ 2071 h 3679"/>
                  <a:gd name="T88" fmla="*/ 45 w 1577"/>
                  <a:gd name="T89" fmla="*/ 2155 h 3679"/>
                  <a:gd name="T90" fmla="*/ 28 w 1577"/>
                  <a:gd name="T91" fmla="*/ 2243 h 3679"/>
                  <a:gd name="T92" fmla="*/ 33 w 1577"/>
                  <a:gd name="T93" fmla="*/ 2350 h 3679"/>
                  <a:gd name="T94" fmla="*/ 95 w 1577"/>
                  <a:gd name="T95" fmla="*/ 2543 h 3679"/>
                  <a:gd name="T96" fmla="*/ 222 w 1577"/>
                  <a:gd name="T97" fmla="*/ 2793 h 3679"/>
                  <a:gd name="T98" fmla="*/ 358 w 1577"/>
                  <a:gd name="T99" fmla="*/ 2988 h 3679"/>
                  <a:gd name="T100" fmla="*/ 503 w 1577"/>
                  <a:gd name="T101" fmla="*/ 3162 h 3679"/>
                  <a:gd name="T102" fmla="*/ 651 w 1577"/>
                  <a:gd name="T103" fmla="*/ 3312 h 3679"/>
                  <a:gd name="T104" fmla="*/ 903 w 1577"/>
                  <a:gd name="T105" fmla="*/ 3526 h 3679"/>
                  <a:gd name="T106" fmla="*/ 1088 w 1577"/>
                  <a:gd name="T107" fmla="*/ 3659 h 3679"/>
                  <a:gd name="T108" fmla="*/ 1084 w 1577"/>
                  <a:gd name="T109" fmla="*/ 3678 h 3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7" h="3679">
                    <a:moveTo>
                      <a:pt x="1078" y="3679"/>
                    </a:moveTo>
                    <a:lnTo>
                      <a:pt x="1073" y="3679"/>
                    </a:lnTo>
                    <a:lnTo>
                      <a:pt x="1070" y="3677"/>
                    </a:lnTo>
                    <a:lnTo>
                      <a:pt x="1029" y="3650"/>
                    </a:lnTo>
                    <a:lnTo>
                      <a:pt x="985" y="3620"/>
                    </a:lnTo>
                    <a:lnTo>
                      <a:pt x="937" y="3585"/>
                    </a:lnTo>
                    <a:lnTo>
                      <a:pt x="886" y="3547"/>
                    </a:lnTo>
                    <a:lnTo>
                      <a:pt x="832" y="3506"/>
                    </a:lnTo>
                    <a:lnTo>
                      <a:pt x="777" y="3461"/>
                    </a:lnTo>
                    <a:lnTo>
                      <a:pt x="720" y="3412"/>
                    </a:lnTo>
                    <a:lnTo>
                      <a:pt x="662" y="3360"/>
                    </a:lnTo>
                    <a:lnTo>
                      <a:pt x="633" y="3331"/>
                    </a:lnTo>
                    <a:lnTo>
                      <a:pt x="602" y="3303"/>
                    </a:lnTo>
                    <a:lnTo>
                      <a:pt x="572" y="3273"/>
                    </a:lnTo>
                    <a:lnTo>
                      <a:pt x="543" y="3243"/>
                    </a:lnTo>
                    <a:lnTo>
                      <a:pt x="513" y="3212"/>
                    </a:lnTo>
                    <a:lnTo>
                      <a:pt x="484" y="3179"/>
                    </a:lnTo>
                    <a:lnTo>
                      <a:pt x="453" y="3147"/>
                    </a:lnTo>
                    <a:lnTo>
                      <a:pt x="424" y="3112"/>
                    </a:lnTo>
                    <a:lnTo>
                      <a:pt x="395" y="3078"/>
                    </a:lnTo>
                    <a:lnTo>
                      <a:pt x="366" y="3041"/>
                    </a:lnTo>
                    <a:lnTo>
                      <a:pt x="337" y="3004"/>
                    </a:lnTo>
                    <a:lnTo>
                      <a:pt x="309" y="2967"/>
                    </a:lnTo>
                    <a:lnTo>
                      <a:pt x="281" y="2928"/>
                    </a:lnTo>
                    <a:lnTo>
                      <a:pt x="253" y="2889"/>
                    </a:lnTo>
                    <a:lnTo>
                      <a:pt x="226" y="2848"/>
                    </a:lnTo>
                    <a:lnTo>
                      <a:pt x="200" y="2807"/>
                    </a:lnTo>
                    <a:lnTo>
                      <a:pt x="170" y="2758"/>
                    </a:lnTo>
                    <a:lnTo>
                      <a:pt x="143" y="2708"/>
                    </a:lnTo>
                    <a:lnTo>
                      <a:pt x="116" y="2657"/>
                    </a:lnTo>
                    <a:lnTo>
                      <a:pt x="93" y="2605"/>
                    </a:lnTo>
                    <a:lnTo>
                      <a:pt x="70" y="2553"/>
                    </a:lnTo>
                    <a:lnTo>
                      <a:pt x="51" y="2502"/>
                    </a:lnTo>
                    <a:lnTo>
                      <a:pt x="32" y="2453"/>
                    </a:lnTo>
                    <a:lnTo>
                      <a:pt x="18" y="2405"/>
                    </a:lnTo>
                    <a:lnTo>
                      <a:pt x="13" y="2383"/>
                    </a:lnTo>
                    <a:lnTo>
                      <a:pt x="7" y="2361"/>
                    </a:lnTo>
                    <a:lnTo>
                      <a:pt x="4" y="2339"/>
                    </a:lnTo>
                    <a:lnTo>
                      <a:pt x="2" y="2318"/>
                    </a:lnTo>
                    <a:lnTo>
                      <a:pt x="0" y="2297"/>
                    </a:lnTo>
                    <a:lnTo>
                      <a:pt x="0" y="2277"/>
                    </a:lnTo>
                    <a:lnTo>
                      <a:pt x="0" y="2257"/>
                    </a:lnTo>
                    <a:lnTo>
                      <a:pt x="1" y="2239"/>
                    </a:lnTo>
                    <a:lnTo>
                      <a:pt x="3" y="2221"/>
                    </a:lnTo>
                    <a:lnTo>
                      <a:pt x="6" y="2203"/>
                    </a:lnTo>
                    <a:lnTo>
                      <a:pt x="10" y="2186"/>
                    </a:lnTo>
                    <a:lnTo>
                      <a:pt x="14" y="2169"/>
                    </a:lnTo>
                    <a:lnTo>
                      <a:pt x="18" y="2154"/>
                    </a:lnTo>
                    <a:lnTo>
                      <a:pt x="23" y="2138"/>
                    </a:lnTo>
                    <a:lnTo>
                      <a:pt x="28" y="2124"/>
                    </a:lnTo>
                    <a:lnTo>
                      <a:pt x="34" y="2110"/>
                    </a:lnTo>
                    <a:lnTo>
                      <a:pt x="46" y="2083"/>
                    </a:lnTo>
                    <a:lnTo>
                      <a:pt x="59" y="2059"/>
                    </a:lnTo>
                    <a:lnTo>
                      <a:pt x="73" y="2037"/>
                    </a:lnTo>
                    <a:lnTo>
                      <a:pt x="86" y="2019"/>
                    </a:lnTo>
                    <a:lnTo>
                      <a:pt x="99" y="2003"/>
                    </a:lnTo>
                    <a:lnTo>
                      <a:pt x="111" y="1990"/>
                    </a:lnTo>
                    <a:lnTo>
                      <a:pt x="121" y="1979"/>
                    </a:lnTo>
                    <a:lnTo>
                      <a:pt x="128" y="1970"/>
                    </a:lnTo>
                    <a:lnTo>
                      <a:pt x="122" y="1953"/>
                    </a:lnTo>
                    <a:lnTo>
                      <a:pt x="112" y="1927"/>
                    </a:lnTo>
                    <a:lnTo>
                      <a:pt x="107" y="1911"/>
                    </a:lnTo>
                    <a:lnTo>
                      <a:pt x="102" y="1894"/>
                    </a:lnTo>
                    <a:lnTo>
                      <a:pt x="97" y="1873"/>
                    </a:lnTo>
                    <a:lnTo>
                      <a:pt x="93" y="1850"/>
                    </a:lnTo>
                    <a:lnTo>
                      <a:pt x="88" y="1826"/>
                    </a:lnTo>
                    <a:lnTo>
                      <a:pt x="84" y="1799"/>
                    </a:lnTo>
                    <a:lnTo>
                      <a:pt x="82" y="1771"/>
                    </a:lnTo>
                    <a:lnTo>
                      <a:pt x="80" y="1739"/>
                    </a:lnTo>
                    <a:lnTo>
                      <a:pt x="78" y="1707"/>
                    </a:lnTo>
                    <a:lnTo>
                      <a:pt x="78" y="1671"/>
                    </a:lnTo>
                    <a:lnTo>
                      <a:pt x="79" y="1635"/>
                    </a:lnTo>
                    <a:lnTo>
                      <a:pt x="81" y="1595"/>
                    </a:lnTo>
                    <a:lnTo>
                      <a:pt x="85" y="1554"/>
                    </a:lnTo>
                    <a:lnTo>
                      <a:pt x="89" y="1513"/>
                    </a:lnTo>
                    <a:lnTo>
                      <a:pt x="95" y="1472"/>
                    </a:lnTo>
                    <a:lnTo>
                      <a:pt x="101" y="1432"/>
                    </a:lnTo>
                    <a:lnTo>
                      <a:pt x="109" y="1392"/>
                    </a:lnTo>
                    <a:lnTo>
                      <a:pt x="116" y="1352"/>
                    </a:lnTo>
                    <a:lnTo>
                      <a:pt x="126" y="1313"/>
                    </a:lnTo>
                    <a:lnTo>
                      <a:pt x="136" y="1274"/>
                    </a:lnTo>
                    <a:lnTo>
                      <a:pt x="146" y="1235"/>
                    </a:lnTo>
                    <a:lnTo>
                      <a:pt x="158" y="1197"/>
                    </a:lnTo>
                    <a:lnTo>
                      <a:pt x="169" y="1160"/>
                    </a:lnTo>
                    <a:lnTo>
                      <a:pt x="182" y="1123"/>
                    </a:lnTo>
                    <a:lnTo>
                      <a:pt x="196" y="1085"/>
                    </a:lnTo>
                    <a:lnTo>
                      <a:pt x="210" y="1049"/>
                    </a:lnTo>
                    <a:lnTo>
                      <a:pt x="226" y="1014"/>
                    </a:lnTo>
                    <a:lnTo>
                      <a:pt x="242" y="978"/>
                    </a:lnTo>
                    <a:lnTo>
                      <a:pt x="259" y="944"/>
                    </a:lnTo>
                    <a:lnTo>
                      <a:pt x="276" y="909"/>
                    </a:lnTo>
                    <a:lnTo>
                      <a:pt x="295" y="876"/>
                    </a:lnTo>
                    <a:lnTo>
                      <a:pt x="314" y="842"/>
                    </a:lnTo>
                    <a:lnTo>
                      <a:pt x="334" y="810"/>
                    </a:lnTo>
                    <a:lnTo>
                      <a:pt x="355" y="777"/>
                    </a:lnTo>
                    <a:lnTo>
                      <a:pt x="376" y="746"/>
                    </a:lnTo>
                    <a:lnTo>
                      <a:pt x="398" y="715"/>
                    </a:lnTo>
                    <a:lnTo>
                      <a:pt x="421" y="685"/>
                    </a:lnTo>
                    <a:lnTo>
                      <a:pt x="445" y="654"/>
                    </a:lnTo>
                    <a:lnTo>
                      <a:pt x="468" y="626"/>
                    </a:lnTo>
                    <a:lnTo>
                      <a:pt x="493" y="597"/>
                    </a:lnTo>
                    <a:lnTo>
                      <a:pt x="519" y="569"/>
                    </a:lnTo>
                    <a:lnTo>
                      <a:pt x="545" y="542"/>
                    </a:lnTo>
                    <a:lnTo>
                      <a:pt x="572" y="516"/>
                    </a:lnTo>
                    <a:lnTo>
                      <a:pt x="600" y="490"/>
                    </a:lnTo>
                    <a:lnTo>
                      <a:pt x="637" y="458"/>
                    </a:lnTo>
                    <a:lnTo>
                      <a:pt x="674" y="428"/>
                    </a:lnTo>
                    <a:lnTo>
                      <a:pt x="710" y="397"/>
                    </a:lnTo>
                    <a:lnTo>
                      <a:pt x="746" y="369"/>
                    </a:lnTo>
                    <a:lnTo>
                      <a:pt x="782" y="342"/>
                    </a:lnTo>
                    <a:lnTo>
                      <a:pt x="818" y="316"/>
                    </a:lnTo>
                    <a:lnTo>
                      <a:pt x="853" y="293"/>
                    </a:lnTo>
                    <a:lnTo>
                      <a:pt x="889" y="269"/>
                    </a:lnTo>
                    <a:lnTo>
                      <a:pt x="923" y="247"/>
                    </a:lnTo>
                    <a:lnTo>
                      <a:pt x="958" y="227"/>
                    </a:lnTo>
                    <a:lnTo>
                      <a:pt x="992" y="207"/>
                    </a:lnTo>
                    <a:lnTo>
                      <a:pt x="1026" y="189"/>
                    </a:lnTo>
                    <a:lnTo>
                      <a:pt x="1059" y="171"/>
                    </a:lnTo>
                    <a:lnTo>
                      <a:pt x="1092" y="155"/>
                    </a:lnTo>
                    <a:lnTo>
                      <a:pt x="1124" y="139"/>
                    </a:lnTo>
                    <a:lnTo>
                      <a:pt x="1156" y="125"/>
                    </a:lnTo>
                    <a:lnTo>
                      <a:pt x="1187" y="111"/>
                    </a:lnTo>
                    <a:lnTo>
                      <a:pt x="1218" y="98"/>
                    </a:lnTo>
                    <a:lnTo>
                      <a:pt x="1247" y="88"/>
                    </a:lnTo>
                    <a:lnTo>
                      <a:pt x="1276" y="76"/>
                    </a:lnTo>
                    <a:lnTo>
                      <a:pt x="1332" y="57"/>
                    </a:lnTo>
                    <a:lnTo>
                      <a:pt x="1385" y="40"/>
                    </a:lnTo>
                    <a:lnTo>
                      <a:pt x="1435" y="27"/>
                    </a:lnTo>
                    <a:lnTo>
                      <a:pt x="1481" y="16"/>
                    </a:lnTo>
                    <a:lnTo>
                      <a:pt x="1523" y="8"/>
                    </a:lnTo>
                    <a:lnTo>
                      <a:pt x="1561" y="0"/>
                    </a:lnTo>
                    <a:lnTo>
                      <a:pt x="1567" y="0"/>
                    </a:lnTo>
                    <a:lnTo>
                      <a:pt x="1572" y="2"/>
                    </a:lnTo>
                    <a:lnTo>
                      <a:pt x="1575" y="7"/>
                    </a:lnTo>
                    <a:lnTo>
                      <a:pt x="1577" y="12"/>
                    </a:lnTo>
                    <a:lnTo>
                      <a:pt x="1576" y="17"/>
                    </a:lnTo>
                    <a:lnTo>
                      <a:pt x="1574" y="22"/>
                    </a:lnTo>
                    <a:lnTo>
                      <a:pt x="1571" y="25"/>
                    </a:lnTo>
                    <a:lnTo>
                      <a:pt x="1566" y="27"/>
                    </a:lnTo>
                    <a:lnTo>
                      <a:pt x="1529" y="34"/>
                    </a:lnTo>
                    <a:lnTo>
                      <a:pt x="1487" y="42"/>
                    </a:lnTo>
                    <a:lnTo>
                      <a:pt x="1441" y="53"/>
                    </a:lnTo>
                    <a:lnTo>
                      <a:pt x="1393" y="67"/>
                    </a:lnTo>
                    <a:lnTo>
                      <a:pt x="1341" y="83"/>
                    </a:lnTo>
                    <a:lnTo>
                      <a:pt x="1285" y="102"/>
                    </a:lnTo>
                    <a:lnTo>
                      <a:pt x="1257" y="112"/>
                    </a:lnTo>
                    <a:lnTo>
                      <a:pt x="1227" y="124"/>
                    </a:lnTo>
                    <a:lnTo>
                      <a:pt x="1197" y="136"/>
                    </a:lnTo>
                    <a:lnTo>
                      <a:pt x="1166" y="150"/>
                    </a:lnTo>
                    <a:lnTo>
                      <a:pt x="1135" y="164"/>
                    </a:lnTo>
                    <a:lnTo>
                      <a:pt x="1103" y="179"/>
                    </a:lnTo>
                    <a:lnTo>
                      <a:pt x="1071" y="196"/>
                    </a:lnTo>
                    <a:lnTo>
                      <a:pt x="1039" y="213"/>
                    </a:lnTo>
                    <a:lnTo>
                      <a:pt x="1005" y="231"/>
                    </a:lnTo>
                    <a:lnTo>
                      <a:pt x="972" y="251"/>
                    </a:lnTo>
                    <a:lnTo>
                      <a:pt x="937" y="271"/>
                    </a:lnTo>
                    <a:lnTo>
                      <a:pt x="903" y="293"/>
                    </a:lnTo>
                    <a:lnTo>
                      <a:pt x="868" y="315"/>
                    </a:lnTo>
                    <a:lnTo>
                      <a:pt x="833" y="339"/>
                    </a:lnTo>
                    <a:lnTo>
                      <a:pt x="798" y="364"/>
                    </a:lnTo>
                    <a:lnTo>
                      <a:pt x="762" y="391"/>
                    </a:lnTo>
                    <a:lnTo>
                      <a:pt x="727" y="419"/>
                    </a:lnTo>
                    <a:lnTo>
                      <a:pt x="691" y="448"/>
                    </a:lnTo>
                    <a:lnTo>
                      <a:pt x="654" y="478"/>
                    </a:lnTo>
                    <a:lnTo>
                      <a:pt x="619" y="511"/>
                    </a:lnTo>
                    <a:lnTo>
                      <a:pt x="592" y="536"/>
                    </a:lnTo>
                    <a:lnTo>
                      <a:pt x="565" y="562"/>
                    </a:lnTo>
                    <a:lnTo>
                      <a:pt x="539" y="589"/>
                    </a:lnTo>
                    <a:lnTo>
                      <a:pt x="514" y="616"/>
                    </a:lnTo>
                    <a:lnTo>
                      <a:pt x="489" y="644"/>
                    </a:lnTo>
                    <a:lnTo>
                      <a:pt x="465" y="672"/>
                    </a:lnTo>
                    <a:lnTo>
                      <a:pt x="443" y="701"/>
                    </a:lnTo>
                    <a:lnTo>
                      <a:pt x="420" y="731"/>
                    </a:lnTo>
                    <a:lnTo>
                      <a:pt x="398" y="761"/>
                    </a:lnTo>
                    <a:lnTo>
                      <a:pt x="377" y="793"/>
                    </a:lnTo>
                    <a:lnTo>
                      <a:pt x="356" y="824"/>
                    </a:lnTo>
                    <a:lnTo>
                      <a:pt x="337" y="856"/>
                    </a:lnTo>
                    <a:lnTo>
                      <a:pt x="318" y="889"/>
                    </a:lnTo>
                    <a:lnTo>
                      <a:pt x="300" y="922"/>
                    </a:lnTo>
                    <a:lnTo>
                      <a:pt x="283" y="956"/>
                    </a:lnTo>
                    <a:lnTo>
                      <a:pt x="267" y="990"/>
                    </a:lnTo>
                    <a:lnTo>
                      <a:pt x="250" y="1025"/>
                    </a:lnTo>
                    <a:lnTo>
                      <a:pt x="235" y="1060"/>
                    </a:lnTo>
                    <a:lnTo>
                      <a:pt x="221" y="1096"/>
                    </a:lnTo>
                    <a:lnTo>
                      <a:pt x="207" y="1131"/>
                    </a:lnTo>
                    <a:lnTo>
                      <a:pt x="195" y="1168"/>
                    </a:lnTo>
                    <a:lnTo>
                      <a:pt x="183" y="1206"/>
                    </a:lnTo>
                    <a:lnTo>
                      <a:pt x="172" y="1243"/>
                    </a:lnTo>
                    <a:lnTo>
                      <a:pt x="162" y="1282"/>
                    </a:lnTo>
                    <a:lnTo>
                      <a:pt x="152" y="1319"/>
                    </a:lnTo>
                    <a:lnTo>
                      <a:pt x="143" y="1358"/>
                    </a:lnTo>
                    <a:lnTo>
                      <a:pt x="135" y="1397"/>
                    </a:lnTo>
                    <a:lnTo>
                      <a:pt x="128" y="1436"/>
                    </a:lnTo>
                    <a:lnTo>
                      <a:pt x="122" y="1476"/>
                    </a:lnTo>
                    <a:lnTo>
                      <a:pt x="116" y="1516"/>
                    </a:lnTo>
                    <a:lnTo>
                      <a:pt x="112" y="1557"/>
                    </a:lnTo>
                    <a:lnTo>
                      <a:pt x="108" y="1597"/>
                    </a:lnTo>
                    <a:lnTo>
                      <a:pt x="106" y="1641"/>
                    </a:lnTo>
                    <a:lnTo>
                      <a:pt x="105" y="1682"/>
                    </a:lnTo>
                    <a:lnTo>
                      <a:pt x="106" y="1721"/>
                    </a:lnTo>
                    <a:lnTo>
                      <a:pt x="108" y="1757"/>
                    </a:lnTo>
                    <a:lnTo>
                      <a:pt x="111" y="1790"/>
                    </a:lnTo>
                    <a:lnTo>
                      <a:pt x="115" y="1820"/>
                    </a:lnTo>
                    <a:lnTo>
                      <a:pt x="120" y="1847"/>
                    </a:lnTo>
                    <a:lnTo>
                      <a:pt x="125" y="1872"/>
                    </a:lnTo>
                    <a:lnTo>
                      <a:pt x="131" y="1894"/>
                    </a:lnTo>
                    <a:lnTo>
                      <a:pt x="136" y="1913"/>
                    </a:lnTo>
                    <a:lnTo>
                      <a:pt x="141" y="1929"/>
                    </a:lnTo>
                    <a:lnTo>
                      <a:pt x="147" y="1943"/>
                    </a:lnTo>
                    <a:lnTo>
                      <a:pt x="154" y="1961"/>
                    </a:lnTo>
                    <a:lnTo>
                      <a:pt x="158" y="1967"/>
                    </a:lnTo>
                    <a:lnTo>
                      <a:pt x="159" y="1971"/>
                    </a:lnTo>
                    <a:lnTo>
                      <a:pt x="159" y="1977"/>
                    </a:lnTo>
                    <a:lnTo>
                      <a:pt x="156" y="1981"/>
                    </a:lnTo>
                    <a:lnTo>
                      <a:pt x="154" y="1984"/>
                    </a:lnTo>
                    <a:lnTo>
                      <a:pt x="143" y="1993"/>
                    </a:lnTo>
                    <a:lnTo>
                      <a:pt x="123" y="2015"/>
                    </a:lnTo>
                    <a:lnTo>
                      <a:pt x="110" y="2031"/>
                    </a:lnTo>
                    <a:lnTo>
                      <a:pt x="97" y="2049"/>
                    </a:lnTo>
                    <a:lnTo>
                      <a:pt x="83" y="2071"/>
                    </a:lnTo>
                    <a:lnTo>
                      <a:pt x="69" y="2095"/>
                    </a:lnTo>
                    <a:lnTo>
                      <a:pt x="62" y="2110"/>
                    </a:lnTo>
                    <a:lnTo>
                      <a:pt x="56" y="2124"/>
                    </a:lnTo>
                    <a:lnTo>
                      <a:pt x="51" y="2139"/>
                    </a:lnTo>
                    <a:lnTo>
                      <a:pt x="45" y="2155"/>
                    </a:lnTo>
                    <a:lnTo>
                      <a:pt x="40" y="2171"/>
                    </a:lnTo>
                    <a:lnTo>
                      <a:pt x="35" y="2188"/>
                    </a:lnTo>
                    <a:lnTo>
                      <a:pt x="32" y="2206"/>
                    </a:lnTo>
                    <a:lnTo>
                      <a:pt x="29" y="2225"/>
                    </a:lnTo>
                    <a:lnTo>
                      <a:pt x="28" y="2243"/>
                    </a:lnTo>
                    <a:lnTo>
                      <a:pt x="27" y="2264"/>
                    </a:lnTo>
                    <a:lnTo>
                      <a:pt x="27" y="2284"/>
                    </a:lnTo>
                    <a:lnTo>
                      <a:pt x="28" y="2306"/>
                    </a:lnTo>
                    <a:lnTo>
                      <a:pt x="30" y="2328"/>
                    </a:lnTo>
                    <a:lnTo>
                      <a:pt x="33" y="2350"/>
                    </a:lnTo>
                    <a:lnTo>
                      <a:pt x="38" y="2374"/>
                    </a:lnTo>
                    <a:lnTo>
                      <a:pt x="44" y="2398"/>
                    </a:lnTo>
                    <a:lnTo>
                      <a:pt x="58" y="2445"/>
                    </a:lnTo>
                    <a:lnTo>
                      <a:pt x="75" y="2494"/>
                    </a:lnTo>
                    <a:lnTo>
                      <a:pt x="95" y="2543"/>
                    </a:lnTo>
                    <a:lnTo>
                      <a:pt x="118" y="2594"/>
                    </a:lnTo>
                    <a:lnTo>
                      <a:pt x="141" y="2645"/>
                    </a:lnTo>
                    <a:lnTo>
                      <a:pt x="167" y="2696"/>
                    </a:lnTo>
                    <a:lnTo>
                      <a:pt x="194" y="2744"/>
                    </a:lnTo>
                    <a:lnTo>
                      <a:pt x="222" y="2793"/>
                    </a:lnTo>
                    <a:lnTo>
                      <a:pt x="248" y="2834"/>
                    </a:lnTo>
                    <a:lnTo>
                      <a:pt x="275" y="2874"/>
                    </a:lnTo>
                    <a:lnTo>
                      <a:pt x="302" y="2913"/>
                    </a:lnTo>
                    <a:lnTo>
                      <a:pt x="330" y="2950"/>
                    </a:lnTo>
                    <a:lnTo>
                      <a:pt x="358" y="2988"/>
                    </a:lnTo>
                    <a:lnTo>
                      <a:pt x="386" y="3025"/>
                    </a:lnTo>
                    <a:lnTo>
                      <a:pt x="416" y="3061"/>
                    </a:lnTo>
                    <a:lnTo>
                      <a:pt x="445" y="3095"/>
                    </a:lnTo>
                    <a:lnTo>
                      <a:pt x="474" y="3129"/>
                    </a:lnTo>
                    <a:lnTo>
                      <a:pt x="503" y="3162"/>
                    </a:lnTo>
                    <a:lnTo>
                      <a:pt x="533" y="3193"/>
                    </a:lnTo>
                    <a:lnTo>
                      <a:pt x="562" y="3225"/>
                    </a:lnTo>
                    <a:lnTo>
                      <a:pt x="592" y="3255"/>
                    </a:lnTo>
                    <a:lnTo>
                      <a:pt x="622" y="3284"/>
                    </a:lnTo>
                    <a:lnTo>
                      <a:pt x="651" y="3312"/>
                    </a:lnTo>
                    <a:lnTo>
                      <a:pt x="680" y="3340"/>
                    </a:lnTo>
                    <a:lnTo>
                      <a:pt x="738" y="3392"/>
                    </a:lnTo>
                    <a:lnTo>
                      <a:pt x="795" y="3441"/>
                    </a:lnTo>
                    <a:lnTo>
                      <a:pt x="850" y="3485"/>
                    </a:lnTo>
                    <a:lnTo>
                      <a:pt x="903" y="3526"/>
                    </a:lnTo>
                    <a:lnTo>
                      <a:pt x="953" y="3564"/>
                    </a:lnTo>
                    <a:lnTo>
                      <a:pt x="1001" y="3597"/>
                    </a:lnTo>
                    <a:lnTo>
                      <a:pt x="1044" y="3627"/>
                    </a:lnTo>
                    <a:lnTo>
                      <a:pt x="1085" y="3654"/>
                    </a:lnTo>
                    <a:lnTo>
                      <a:pt x="1088" y="3659"/>
                    </a:lnTo>
                    <a:lnTo>
                      <a:pt x="1090" y="3663"/>
                    </a:lnTo>
                    <a:lnTo>
                      <a:pt x="1090" y="3668"/>
                    </a:lnTo>
                    <a:lnTo>
                      <a:pt x="1088" y="3673"/>
                    </a:lnTo>
                    <a:lnTo>
                      <a:pt x="1086" y="3676"/>
                    </a:lnTo>
                    <a:lnTo>
                      <a:pt x="1084" y="3678"/>
                    </a:lnTo>
                    <a:lnTo>
                      <a:pt x="1081" y="3679"/>
                    </a:lnTo>
                    <a:lnTo>
                      <a:pt x="1078" y="36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60"/>
              <p:cNvSpPr>
                <a:spLocks/>
              </p:cNvSpPr>
              <p:nvPr userDrawn="1"/>
            </p:nvSpPr>
            <p:spPr bwMode="auto">
              <a:xfrm>
                <a:off x="1419" y="1427"/>
                <a:ext cx="455" cy="1209"/>
              </a:xfrm>
              <a:custGeom>
                <a:avLst/>
                <a:gdLst>
                  <a:gd name="T0" fmla="*/ 1021 w 1366"/>
                  <a:gd name="T1" fmla="*/ 3578 h 3628"/>
                  <a:gd name="T2" fmla="*/ 753 w 1366"/>
                  <a:gd name="T3" fmla="*/ 3378 h 3628"/>
                  <a:gd name="T4" fmla="*/ 548 w 1366"/>
                  <a:gd name="T5" fmla="*/ 3190 h 3628"/>
                  <a:gd name="T6" fmla="*/ 442 w 1366"/>
                  <a:gd name="T7" fmla="*/ 3079 h 3628"/>
                  <a:gd name="T8" fmla="*/ 346 w 1366"/>
                  <a:gd name="T9" fmla="*/ 2964 h 3628"/>
                  <a:gd name="T10" fmla="*/ 259 w 1366"/>
                  <a:gd name="T11" fmla="*/ 2845 h 3628"/>
                  <a:gd name="T12" fmla="*/ 171 w 1366"/>
                  <a:gd name="T13" fmla="*/ 2707 h 3628"/>
                  <a:gd name="T14" fmla="*/ 71 w 1366"/>
                  <a:gd name="T15" fmla="*/ 2503 h 3628"/>
                  <a:gd name="T16" fmla="*/ 13 w 1366"/>
                  <a:gd name="T17" fmla="*/ 2332 h 3628"/>
                  <a:gd name="T18" fmla="*/ 1 w 1366"/>
                  <a:gd name="T19" fmla="*/ 2246 h 3628"/>
                  <a:gd name="T20" fmla="*/ 4 w 1366"/>
                  <a:gd name="T21" fmla="*/ 2170 h 3628"/>
                  <a:gd name="T22" fmla="*/ 18 w 1366"/>
                  <a:gd name="T23" fmla="*/ 2103 h 3628"/>
                  <a:gd name="T24" fmla="*/ 47 w 1366"/>
                  <a:gd name="T25" fmla="*/ 2031 h 3628"/>
                  <a:gd name="T26" fmla="*/ 99 w 1366"/>
                  <a:gd name="T27" fmla="*/ 1952 h 3628"/>
                  <a:gd name="T28" fmla="*/ 122 w 1366"/>
                  <a:gd name="T29" fmla="*/ 1902 h 3628"/>
                  <a:gd name="T30" fmla="*/ 98 w 1366"/>
                  <a:gd name="T31" fmla="*/ 1822 h 3628"/>
                  <a:gd name="T32" fmla="*/ 82 w 1366"/>
                  <a:gd name="T33" fmla="*/ 1720 h 3628"/>
                  <a:gd name="T34" fmla="*/ 80 w 1366"/>
                  <a:gd name="T35" fmla="*/ 1584 h 3628"/>
                  <a:gd name="T36" fmla="*/ 96 w 1366"/>
                  <a:gd name="T37" fmla="*/ 1421 h 3628"/>
                  <a:gd name="T38" fmla="*/ 126 w 1366"/>
                  <a:gd name="T39" fmla="*/ 1262 h 3628"/>
                  <a:gd name="T40" fmla="*/ 169 w 1366"/>
                  <a:gd name="T41" fmla="*/ 1109 h 3628"/>
                  <a:gd name="T42" fmla="*/ 226 w 1366"/>
                  <a:gd name="T43" fmla="*/ 963 h 3628"/>
                  <a:gd name="T44" fmla="*/ 295 w 1366"/>
                  <a:gd name="T45" fmla="*/ 825 h 3628"/>
                  <a:gd name="T46" fmla="*/ 376 w 1366"/>
                  <a:gd name="T47" fmla="*/ 695 h 3628"/>
                  <a:gd name="T48" fmla="*/ 469 w 1366"/>
                  <a:gd name="T49" fmla="*/ 575 h 3628"/>
                  <a:gd name="T50" fmla="*/ 573 w 1366"/>
                  <a:gd name="T51" fmla="*/ 465 h 3628"/>
                  <a:gd name="T52" fmla="*/ 733 w 1366"/>
                  <a:gd name="T53" fmla="*/ 329 h 3628"/>
                  <a:gd name="T54" fmla="*/ 914 w 1366"/>
                  <a:gd name="T55" fmla="*/ 202 h 3628"/>
                  <a:gd name="T56" fmla="*/ 1103 w 1366"/>
                  <a:gd name="T57" fmla="*/ 97 h 3628"/>
                  <a:gd name="T58" fmla="*/ 1299 w 1366"/>
                  <a:gd name="T59" fmla="*/ 17 h 3628"/>
                  <a:gd name="T60" fmla="*/ 1362 w 1366"/>
                  <a:gd name="T61" fmla="*/ 5 h 3628"/>
                  <a:gd name="T62" fmla="*/ 1361 w 1366"/>
                  <a:gd name="T63" fmla="*/ 24 h 3628"/>
                  <a:gd name="T64" fmla="*/ 1210 w 1366"/>
                  <a:gd name="T65" fmla="*/ 79 h 3628"/>
                  <a:gd name="T66" fmla="*/ 1021 w 1366"/>
                  <a:gd name="T67" fmla="*/ 170 h 3628"/>
                  <a:gd name="T68" fmla="*/ 838 w 1366"/>
                  <a:gd name="T69" fmla="*/ 285 h 3628"/>
                  <a:gd name="T70" fmla="*/ 662 w 1366"/>
                  <a:gd name="T71" fmla="*/ 422 h 3628"/>
                  <a:gd name="T72" fmla="*/ 540 w 1366"/>
                  <a:gd name="T73" fmla="*/ 537 h 3628"/>
                  <a:gd name="T74" fmla="*/ 442 w 1366"/>
                  <a:gd name="T75" fmla="*/ 651 h 3628"/>
                  <a:gd name="T76" fmla="*/ 357 w 1366"/>
                  <a:gd name="T77" fmla="*/ 773 h 3628"/>
                  <a:gd name="T78" fmla="*/ 284 w 1366"/>
                  <a:gd name="T79" fmla="*/ 905 h 3628"/>
                  <a:gd name="T80" fmla="*/ 221 w 1366"/>
                  <a:gd name="T81" fmla="*/ 1045 h 3628"/>
                  <a:gd name="T82" fmla="*/ 172 w 1366"/>
                  <a:gd name="T83" fmla="*/ 1192 h 3628"/>
                  <a:gd name="T84" fmla="*/ 136 w 1366"/>
                  <a:gd name="T85" fmla="*/ 1346 h 3628"/>
                  <a:gd name="T86" fmla="*/ 112 w 1366"/>
                  <a:gd name="T87" fmla="*/ 1506 h 3628"/>
                  <a:gd name="T88" fmla="*/ 105 w 1366"/>
                  <a:gd name="T89" fmla="*/ 1670 h 3628"/>
                  <a:gd name="T90" fmla="*/ 121 w 1366"/>
                  <a:gd name="T91" fmla="*/ 1796 h 3628"/>
                  <a:gd name="T92" fmla="*/ 142 w 1366"/>
                  <a:gd name="T93" fmla="*/ 1878 h 3628"/>
                  <a:gd name="T94" fmla="*/ 158 w 1366"/>
                  <a:gd name="T95" fmla="*/ 1920 h 3628"/>
                  <a:gd name="T96" fmla="*/ 144 w 1366"/>
                  <a:gd name="T97" fmla="*/ 1942 h 3628"/>
                  <a:gd name="T98" fmla="*/ 83 w 1366"/>
                  <a:gd name="T99" fmla="*/ 2020 h 3628"/>
                  <a:gd name="T100" fmla="*/ 50 w 1366"/>
                  <a:gd name="T101" fmla="*/ 2088 h 3628"/>
                  <a:gd name="T102" fmla="*/ 32 w 1366"/>
                  <a:gd name="T103" fmla="*/ 2155 h 3628"/>
                  <a:gd name="T104" fmla="*/ 27 w 1366"/>
                  <a:gd name="T105" fmla="*/ 2233 h 3628"/>
                  <a:gd name="T106" fmla="*/ 38 w 1366"/>
                  <a:gd name="T107" fmla="*/ 2323 h 3628"/>
                  <a:gd name="T108" fmla="*/ 96 w 1366"/>
                  <a:gd name="T109" fmla="*/ 2492 h 3628"/>
                  <a:gd name="T110" fmla="*/ 194 w 1366"/>
                  <a:gd name="T111" fmla="*/ 2693 h 3628"/>
                  <a:gd name="T112" fmla="*/ 281 w 1366"/>
                  <a:gd name="T113" fmla="*/ 2830 h 3628"/>
                  <a:gd name="T114" fmla="*/ 368 w 1366"/>
                  <a:gd name="T115" fmla="*/ 2947 h 3628"/>
                  <a:gd name="T116" fmla="*/ 463 w 1366"/>
                  <a:gd name="T117" fmla="*/ 3061 h 3628"/>
                  <a:gd name="T118" fmla="*/ 652 w 1366"/>
                  <a:gd name="T119" fmla="*/ 3252 h 3628"/>
                  <a:gd name="T120" fmla="*/ 899 w 1366"/>
                  <a:gd name="T121" fmla="*/ 3457 h 3628"/>
                  <a:gd name="T122" fmla="*/ 1112 w 1366"/>
                  <a:gd name="T123" fmla="*/ 3608 h 3628"/>
                  <a:gd name="T124" fmla="*/ 1110 w 1366"/>
                  <a:gd name="T125" fmla="*/ 3625 h 3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6" h="3628">
                    <a:moveTo>
                      <a:pt x="1101" y="3628"/>
                    </a:moveTo>
                    <a:lnTo>
                      <a:pt x="1097" y="3628"/>
                    </a:lnTo>
                    <a:lnTo>
                      <a:pt x="1093" y="3626"/>
                    </a:lnTo>
                    <a:lnTo>
                      <a:pt x="1021" y="3578"/>
                    </a:lnTo>
                    <a:lnTo>
                      <a:pt x="951" y="3529"/>
                    </a:lnTo>
                    <a:lnTo>
                      <a:pt x="883" y="3479"/>
                    </a:lnTo>
                    <a:lnTo>
                      <a:pt x="817" y="3428"/>
                    </a:lnTo>
                    <a:lnTo>
                      <a:pt x="753" y="3378"/>
                    </a:lnTo>
                    <a:lnTo>
                      <a:pt x="692" y="3325"/>
                    </a:lnTo>
                    <a:lnTo>
                      <a:pt x="632" y="3272"/>
                    </a:lnTo>
                    <a:lnTo>
                      <a:pt x="575" y="3218"/>
                    </a:lnTo>
                    <a:lnTo>
                      <a:pt x="548" y="3190"/>
                    </a:lnTo>
                    <a:lnTo>
                      <a:pt x="520" y="3163"/>
                    </a:lnTo>
                    <a:lnTo>
                      <a:pt x="494" y="3135"/>
                    </a:lnTo>
                    <a:lnTo>
                      <a:pt x="468" y="3107"/>
                    </a:lnTo>
                    <a:lnTo>
                      <a:pt x="442" y="3079"/>
                    </a:lnTo>
                    <a:lnTo>
                      <a:pt x="418" y="3051"/>
                    </a:lnTo>
                    <a:lnTo>
                      <a:pt x="394" y="3021"/>
                    </a:lnTo>
                    <a:lnTo>
                      <a:pt x="370" y="2992"/>
                    </a:lnTo>
                    <a:lnTo>
                      <a:pt x="346" y="2964"/>
                    </a:lnTo>
                    <a:lnTo>
                      <a:pt x="324" y="2935"/>
                    </a:lnTo>
                    <a:lnTo>
                      <a:pt x="302" y="2905"/>
                    </a:lnTo>
                    <a:lnTo>
                      <a:pt x="280" y="2876"/>
                    </a:lnTo>
                    <a:lnTo>
                      <a:pt x="259" y="2845"/>
                    </a:lnTo>
                    <a:lnTo>
                      <a:pt x="239" y="2816"/>
                    </a:lnTo>
                    <a:lnTo>
                      <a:pt x="219" y="2786"/>
                    </a:lnTo>
                    <a:lnTo>
                      <a:pt x="200" y="2756"/>
                    </a:lnTo>
                    <a:lnTo>
                      <a:pt x="171" y="2707"/>
                    </a:lnTo>
                    <a:lnTo>
                      <a:pt x="143" y="2657"/>
                    </a:lnTo>
                    <a:lnTo>
                      <a:pt x="117" y="2606"/>
                    </a:lnTo>
                    <a:lnTo>
                      <a:pt x="92" y="2554"/>
                    </a:lnTo>
                    <a:lnTo>
                      <a:pt x="71" y="2503"/>
                    </a:lnTo>
                    <a:lnTo>
                      <a:pt x="50" y="2451"/>
                    </a:lnTo>
                    <a:lnTo>
                      <a:pt x="33" y="2402"/>
                    </a:lnTo>
                    <a:lnTo>
                      <a:pt x="18" y="2354"/>
                    </a:lnTo>
                    <a:lnTo>
                      <a:pt x="13" y="2332"/>
                    </a:lnTo>
                    <a:lnTo>
                      <a:pt x="8" y="2310"/>
                    </a:lnTo>
                    <a:lnTo>
                      <a:pt x="5" y="2288"/>
                    </a:lnTo>
                    <a:lnTo>
                      <a:pt x="2" y="2267"/>
                    </a:lnTo>
                    <a:lnTo>
                      <a:pt x="1" y="2246"/>
                    </a:lnTo>
                    <a:lnTo>
                      <a:pt x="0" y="2227"/>
                    </a:lnTo>
                    <a:lnTo>
                      <a:pt x="1" y="2207"/>
                    </a:lnTo>
                    <a:lnTo>
                      <a:pt x="2" y="2188"/>
                    </a:lnTo>
                    <a:lnTo>
                      <a:pt x="4" y="2170"/>
                    </a:lnTo>
                    <a:lnTo>
                      <a:pt x="6" y="2152"/>
                    </a:lnTo>
                    <a:lnTo>
                      <a:pt x="9" y="2135"/>
                    </a:lnTo>
                    <a:lnTo>
                      <a:pt x="14" y="2118"/>
                    </a:lnTo>
                    <a:lnTo>
                      <a:pt x="18" y="2103"/>
                    </a:lnTo>
                    <a:lnTo>
                      <a:pt x="23" y="2087"/>
                    </a:lnTo>
                    <a:lnTo>
                      <a:pt x="29" y="2073"/>
                    </a:lnTo>
                    <a:lnTo>
                      <a:pt x="34" y="2058"/>
                    </a:lnTo>
                    <a:lnTo>
                      <a:pt x="47" y="2031"/>
                    </a:lnTo>
                    <a:lnTo>
                      <a:pt x="60" y="2008"/>
                    </a:lnTo>
                    <a:lnTo>
                      <a:pt x="73" y="1986"/>
                    </a:lnTo>
                    <a:lnTo>
                      <a:pt x="87" y="1968"/>
                    </a:lnTo>
                    <a:lnTo>
                      <a:pt x="99" y="1952"/>
                    </a:lnTo>
                    <a:lnTo>
                      <a:pt x="111" y="1939"/>
                    </a:lnTo>
                    <a:lnTo>
                      <a:pt x="121" y="1928"/>
                    </a:lnTo>
                    <a:lnTo>
                      <a:pt x="129" y="1919"/>
                    </a:lnTo>
                    <a:lnTo>
                      <a:pt x="122" y="1902"/>
                    </a:lnTo>
                    <a:lnTo>
                      <a:pt x="112" y="1876"/>
                    </a:lnTo>
                    <a:lnTo>
                      <a:pt x="108" y="1860"/>
                    </a:lnTo>
                    <a:lnTo>
                      <a:pt x="102" y="1843"/>
                    </a:lnTo>
                    <a:lnTo>
                      <a:pt x="98" y="1822"/>
                    </a:lnTo>
                    <a:lnTo>
                      <a:pt x="92" y="1799"/>
                    </a:lnTo>
                    <a:lnTo>
                      <a:pt x="88" y="1775"/>
                    </a:lnTo>
                    <a:lnTo>
                      <a:pt x="85" y="1748"/>
                    </a:lnTo>
                    <a:lnTo>
                      <a:pt x="82" y="1720"/>
                    </a:lnTo>
                    <a:lnTo>
                      <a:pt x="80" y="1688"/>
                    </a:lnTo>
                    <a:lnTo>
                      <a:pt x="78" y="1656"/>
                    </a:lnTo>
                    <a:lnTo>
                      <a:pt x="78" y="1620"/>
                    </a:lnTo>
                    <a:lnTo>
                      <a:pt x="80" y="1584"/>
                    </a:lnTo>
                    <a:lnTo>
                      <a:pt x="82" y="1544"/>
                    </a:lnTo>
                    <a:lnTo>
                      <a:pt x="85" y="1503"/>
                    </a:lnTo>
                    <a:lnTo>
                      <a:pt x="90" y="1462"/>
                    </a:lnTo>
                    <a:lnTo>
                      <a:pt x="96" y="1421"/>
                    </a:lnTo>
                    <a:lnTo>
                      <a:pt x="102" y="1381"/>
                    </a:lnTo>
                    <a:lnTo>
                      <a:pt x="109" y="1341"/>
                    </a:lnTo>
                    <a:lnTo>
                      <a:pt x="117" y="1301"/>
                    </a:lnTo>
                    <a:lnTo>
                      <a:pt x="126" y="1262"/>
                    </a:lnTo>
                    <a:lnTo>
                      <a:pt x="136" y="1223"/>
                    </a:lnTo>
                    <a:lnTo>
                      <a:pt x="146" y="1184"/>
                    </a:lnTo>
                    <a:lnTo>
                      <a:pt x="157" y="1146"/>
                    </a:lnTo>
                    <a:lnTo>
                      <a:pt x="169" y="1109"/>
                    </a:lnTo>
                    <a:lnTo>
                      <a:pt x="182" y="1072"/>
                    </a:lnTo>
                    <a:lnTo>
                      <a:pt x="196" y="1035"/>
                    </a:lnTo>
                    <a:lnTo>
                      <a:pt x="211" y="998"/>
                    </a:lnTo>
                    <a:lnTo>
                      <a:pt x="226" y="963"/>
                    </a:lnTo>
                    <a:lnTo>
                      <a:pt x="243" y="927"/>
                    </a:lnTo>
                    <a:lnTo>
                      <a:pt x="259" y="893"/>
                    </a:lnTo>
                    <a:lnTo>
                      <a:pt x="277" y="858"/>
                    </a:lnTo>
                    <a:lnTo>
                      <a:pt x="295" y="825"/>
                    </a:lnTo>
                    <a:lnTo>
                      <a:pt x="314" y="791"/>
                    </a:lnTo>
                    <a:lnTo>
                      <a:pt x="334" y="759"/>
                    </a:lnTo>
                    <a:lnTo>
                      <a:pt x="355" y="726"/>
                    </a:lnTo>
                    <a:lnTo>
                      <a:pt x="376" y="695"/>
                    </a:lnTo>
                    <a:lnTo>
                      <a:pt x="398" y="664"/>
                    </a:lnTo>
                    <a:lnTo>
                      <a:pt x="421" y="634"/>
                    </a:lnTo>
                    <a:lnTo>
                      <a:pt x="445" y="603"/>
                    </a:lnTo>
                    <a:lnTo>
                      <a:pt x="469" y="575"/>
                    </a:lnTo>
                    <a:lnTo>
                      <a:pt x="494" y="546"/>
                    </a:lnTo>
                    <a:lnTo>
                      <a:pt x="520" y="519"/>
                    </a:lnTo>
                    <a:lnTo>
                      <a:pt x="546" y="491"/>
                    </a:lnTo>
                    <a:lnTo>
                      <a:pt x="573" y="465"/>
                    </a:lnTo>
                    <a:lnTo>
                      <a:pt x="601" y="439"/>
                    </a:lnTo>
                    <a:lnTo>
                      <a:pt x="644" y="401"/>
                    </a:lnTo>
                    <a:lnTo>
                      <a:pt x="689" y="365"/>
                    </a:lnTo>
                    <a:lnTo>
                      <a:pt x="733" y="329"/>
                    </a:lnTo>
                    <a:lnTo>
                      <a:pt x="777" y="295"/>
                    </a:lnTo>
                    <a:lnTo>
                      <a:pt x="822" y="262"/>
                    </a:lnTo>
                    <a:lnTo>
                      <a:pt x="869" y="231"/>
                    </a:lnTo>
                    <a:lnTo>
                      <a:pt x="914" y="202"/>
                    </a:lnTo>
                    <a:lnTo>
                      <a:pt x="962" y="174"/>
                    </a:lnTo>
                    <a:lnTo>
                      <a:pt x="1008" y="147"/>
                    </a:lnTo>
                    <a:lnTo>
                      <a:pt x="1056" y="121"/>
                    </a:lnTo>
                    <a:lnTo>
                      <a:pt x="1103" y="97"/>
                    </a:lnTo>
                    <a:lnTo>
                      <a:pt x="1152" y="75"/>
                    </a:lnTo>
                    <a:lnTo>
                      <a:pt x="1200" y="54"/>
                    </a:lnTo>
                    <a:lnTo>
                      <a:pt x="1249" y="34"/>
                    </a:lnTo>
                    <a:lnTo>
                      <a:pt x="1299" y="17"/>
                    </a:lnTo>
                    <a:lnTo>
                      <a:pt x="1348" y="1"/>
                    </a:lnTo>
                    <a:lnTo>
                      <a:pt x="1354" y="0"/>
                    </a:lnTo>
                    <a:lnTo>
                      <a:pt x="1358" y="2"/>
                    </a:lnTo>
                    <a:lnTo>
                      <a:pt x="1362" y="5"/>
                    </a:lnTo>
                    <a:lnTo>
                      <a:pt x="1366" y="10"/>
                    </a:lnTo>
                    <a:lnTo>
                      <a:pt x="1366" y="15"/>
                    </a:lnTo>
                    <a:lnTo>
                      <a:pt x="1365" y="19"/>
                    </a:lnTo>
                    <a:lnTo>
                      <a:pt x="1361" y="24"/>
                    </a:lnTo>
                    <a:lnTo>
                      <a:pt x="1356" y="27"/>
                    </a:lnTo>
                    <a:lnTo>
                      <a:pt x="1307" y="43"/>
                    </a:lnTo>
                    <a:lnTo>
                      <a:pt x="1259" y="60"/>
                    </a:lnTo>
                    <a:lnTo>
                      <a:pt x="1210" y="79"/>
                    </a:lnTo>
                    <a:lnTo>
                      <a:pt x="1163" y="100"/>
                    </a:lnTo>
                    <a:lnTo>
                      <a:pt x="1115" y="122"/>
                    </a:lnTo>
                    <a:lnTo>
                      <a:pt x="1068" y="146"/>
                    </a:lnTo>
                    <a:lnTo>
                      <a:pt x="1021" y="170"/>
                    </a:lnTo>
                    <a:lnTo>
                      <a:pt x="975" y="196"/>
                    </a:lnTo>
                    <a:lnTo>
                      <a:pt x="928" y="224"/>
                    </a:lnTo>
                    <a:lnTo>
                      <a:pt x="883" y="254"/>
                    </a:lnTo>
                    <a:lnTo>
                      <a:pt x="838" y="285"/>
                    </a:lnTo>
                    <a:lnTo>
                      <a:pt x="793" y="317"/>
                    </a:lnTo>
                    <a:lnTo>
                      <a:pt x="749" y="351"/>
                    </a:lnTo>
                    <a:lnTo>
                      <a:pt x="705" y="385"/>
                    </a:lnTo>
                    <a:lnTo>
                      <a:pt x="662" y="422"/>
                    </a:lnTo>
                    <a:lnTo>
                      <a:pt x="618" y="460"/>
                    </a:lnTo>
                    <a:lnTo>
                      <a:pt x="591" y="485"/>
                    </a:lnTo>
                    <a:lnTo>
                      <a:pt x="565" y="511"/>
                    </a:lnTo>
                    <a:lnTo>
                      <a:pt x="540" y="537"/>
                    </a:lnTo>
                    <a:lnTo>
                      <a:pt x="514" y="564"/>
                    </a:lnTo>
                    <a:lnTo>
                      <a:pt x="489" y="593"/>
                    </a:lnTo>
                    <a:lnTo>
                      <a:pt x="465" y="621"/>
                    </a:lnTo>
                    <a:lnTo>
                      <a:pt x="442" y="651"/>
                    </a:lnTo>
                    <a:lnTo>
                      <a:pt x="420" y="680"/>
                    </a:lnTo>
                    <a:lnTo>
                      <a:pt x="398" y="710"/>
                    </a:lnTo>
                    <a:lnTo>
                      <a:pt x="378" y="742"/>
                    </a:lnTo>
                    <a:lnTo>
                      <a:pt x="357" y="773"/>
                    </a:lnTo>
                    <a:lnTo>
                      <a:pt x="338" y="805"/>
                    </a:lnTo>
                    <a:lnTo>
                      <a:pt x="318" y="838"/>
                    </a:lnTo>
                    <a:lnTo>
                      <a:pt x="301" y="871"/>
                    </a:lnTo>
                    <a:lnTo>
                      <a:pt x="284" y="905"/>
                    </a:lnTo>
                    <a:lnTo>
                      <a:pt x="266" y="939"/>
                    </a:lnTo>
                    <a:lnTo>
                      <a:pt x="251" y="974"/>
                    </a:lnTo>
                    <a:lnTo>
                      <a:pt x="236" y="1009"/>
                    </a:lnTo>
                    <a:lnTo>
                      <a:pt x="221" y="1045"/>
                    </a:lnTo>
                    <a:lnTo>
                      <a:pt x="208" y="1082"/>
                    </a:lnTo>
                    <a:lnTo>
                      <a:pt x="195" y="1117"/>
                    </a:lnTo>
                    <a:lnTo>
                      <a:pt x="183" y="1155"/>
                    </a:lnTo>
                    <a:lnTo>
                      <a:pt x="172" y="1192"/>
                    </a:lnTo>
                    <a:lnTo>
                      <a:pt x="162" y="1231"/>
                    </a:lnTo>
                    <a:lnTo>
                      <a:pt x="152" y="1268"/>
                    </a:lnTo>
                    <a:lnTo>
                      <a:pt x="143" y="1307"/>
                    </a:lnTo>
                    <a:lnTo>
                      <a:pt x="136" y="1346"/>
                    </a:lnTo>
                    <a:lnTo>
                      <a:pt x="128" y="1385"/>
                    </a:lnTo>
                    <a:lnTo>
                      <a:pt x="123" y="1425"/>
                    </a:lnTo>
                    <a:lnTo>
                      <a:pt x="117" y="1465"/>
                    </a:lnTo>
                    <a:lnTo>
                      <a:pt x="112" y="1506"/>
                    </a:lnTo>
                    <a:lnTo>
                      <a:pt x="109" y="1546"/>
                    </a:lnTo>
                    <a:lnTo>
                      <a:pt x="105" y="1590"/>
                    </a:lnTo>
                    <a:lnTo>
                      <a:pt x="105" y="1631"/>
                    </a:lnTo>
                    <a:lnTo>
                      <a:pt x="105" y="1670"/>
                    </a:lnTo>
                    <a:lnTo>
                      <a:pt x="108" y="1705"/>
                    </a:lnTo>
                    <a:lnTo>
                      <a:pt x="111" y="1739"/>
                    </a:lnTo>
                    <a:lnTo>
                      <a:pt x="115" y="1769"/>
                    </a:lnTo>
                    <a:lnTo>
                      <a:pt x="121" y="1796"/>
                    </a:lnTo>
                    <a:lnTo>
                      <a:pt x="126" y="1821"/>
                    </a:lnTo>
                    <a:lnTo>
                      <a:pt x="131" y="1844"/>
                    </a:lnTo>
                    <a:lnTo>
                      <a:pt x="137" y="1862"/>
                    </a:lnTo>
                    <a:lnTo>
                      <a:pt x="142" y="1878"/>
                    </a:lnTo>
                    <a:lnTo>
                      <a:pt x="146" y="1892"/>
                    </a:lnTo>
                    <a:lnTo>
                      <a:pt x="154" y="1910"/>
                    </a:lnTo>
                    <a:lnTo>
                      <a:pt x="157" y="1916"/>
                    </a:lnTo>
                    <a:lnTo>
                      <a:pt x="158" y="1920"/>
                    </a:lnTo>
                    <a:lnTo>
                      <a:pt x="158" y="1926"/>
                    </a:lnTo>
                    <a:lnTo>
                      <a:pt x="157" y="1930"/>
                    </a:lnTo>
                    <a:lnTo>
                      <a:pt x="154" y="1933"/>
                    </a:lnTo>
                    <a:lnTo>
                      <a:pt x="144" y="1942"/>
                    </a:lnTo>
                    <a:lnTo>
                      <a:pt x="124" y="1963"/>
                    </a:lnTo>
                    <a:lnTo>
                      <a:pt x="111" y="1980"/>
                    </a:lnTo>
                    <a:lnTo>
                      <a:pt x="97" y="1998"/>
                    </a:lnTo>
                    <a:lnTo>
                      <a:pt x="83" y="2020"/>
                    </a:lnTo>
                    <a:lnTo>
                      <a:pt x="69" y="2044"/>
                    </a:lnTo>
                    <a:lnTo>
                      <a:pt x="62" y="2058"/>
                    </a:lnTo>
                    <a:lnTo>
                      <a:pt x="57" y="2073"/>
                    </a:lnTo>
                    <a:lnTo>
                      <a:pt x="50" y="2088"/>
                    </a:lnTo>
                    <a:lnTo>
                      <a:pt x="45" y="2104"/>
                    </a:lnTo>
                    <a:lnTo>
                      <a:pt x="41" y="2120"/>
                    </a:lnTo>
                    <a:lnTo>
                      <a:pt x="36" y="2137"/>
                    </a:lnTo>
                    <a:lnTo>
                      <a:pt x="32" y="2155"/>
                    </a:lnTo>
                    <a:lnTo>
                      <a:pt x="30" y="2174"/>
                    </a:lnTo>
                    <a:lnTo>
                      <a:pt x="28" y="2192"/>
                    </a:lnTo>
                    <a:lnTo>
                      <a:pt x="27" y="2213"/>
                    </a:lnTo>
                    <a:lnTo>
                      <a:pt x="27" y="2233"/>
                    </a:lnTo>
                    <a:lnTo>
                      <a:pt x="28" y="2255"/>
                    </a:lnTo>
                    <a:lnTo>
                      <a:pt x="30" y="2277"/>
                    </a:lnTo>
                    <a:lnTo>
                      <a:pt x="33" y="2299"/>
                    </a:lnTo>
                    <a:lnTo>
                      <a:pt x="38" y="2323"/>
                    </a:lnTo>
                    <a:lnTo>
                      <a:pt x="45" y="2347"/>
                    </a:lnTo>
                    <a:lnTo>
                      <a:pt x="59" y="2394"/>
                    </a:lnTo>
                    <a:lnTo>
                      <a:pt x="76" y="2443"/>
                    </a:lnTo>
                    <a:lnTo>
                      <a:pt x="96" y="2492"/>
                    </a:lnTo>
                    <a:lnTo>
                      <a:pt x="117" y="2543"/>
                    </a:lnTo>
                    <a:lnTo>
                      <a:pt x="141" y="2594"/>
                    </a:lnTo>
                    <a:lnTo>
                      <a:pt x="167" y="2645"/>
                    </a:lnTo>
                    <a:lnTo>
                      <a:pt x="194" y="2693"/>
                    </a:lnTo>
                    <a:lnTo>
                      <a:pt x="223" y="2742"/>
                    </a:lnTo>
                    <a:lnTo>
                      <a:pt x="241" y="2771"/>
                    </a:lnTo>
                    <a:lnTo>
                      <a:pt x="261" y="2801"/>
                    </a:lnTo>
                    <a:lnTo>
                      <a:pt x="281" y="2830"/>
                    </a:lnTo>
                    <a:lnTo>
                      <a:pt x="302" y="2861"/>
                    </a:lnTo>
                    <a:lnTo>
                      <a:pt x="324" y="2890"/>
                    </a:lnTo>
                    <a:lnTo>
                      <a:pt x="345" y="2919"/>
                    </a:lnTo>
                    <a:lnTo>
                      <a:pt x="368" y="2947"/>
                    </a:lnTo>
                    <a:lnTo>
                      <a:pt x="391" y="2976"/>
                    </a:lnTo>
                    <a:lnTo>
                      <a:pt x="414" y="3004"/>
                    </a:lnTo>
                    <a:lnTo>
                      <a:pt x="438" y="3033"/>
                    </a:lnTo>
                    <a:lnTo>
                      <a:pt x="463" y="3061"/>
                    </a:lnTo>
                    <a:lnTo>
                      <a:pt x="489" y="3088"/>
                    </a:lnTo>
                    <a:lnTo>
                      <a:pt x="541" y="3144"/>
                    </a:lnTo>
                    <a:lnTo>
                      <a:pt x="595" y="3198"/>
                    </a:lnTo>
                    <a:lnTo>
                      <a:pt x="652" y="3252"/>
                    </a:lnTo>
                    <a:lnTo>
                      <a:pt x="710" y="3305"/>
                    </a:lnTo>
                    <a:lnTo>
                      <a:pt x="771" y="3357"/>
                    </a:lnTo>
                    <a:lnTo>
                      <a:pt x="834" y="3408"/>
                    </a:lnTo>
                    <a:lnTo>
                      <a:pt x="899" y="3457"/>
                    </a:lnTo>
                    <a:lnTo>
                      <a:pt x="967" y="3507"/>
                    </a:lnTo>
                    <a:lnTo>
                      <a:pt x="1036" y="3556"/>
                    </a:lnTo>
                    <a:lnTo>
                      <a:pt x="1108" y="3603"/>
                    </a:lnTo>
                    <a:lnTo>
                      <a:pt x="1112" y="3608"/>
                    </a:lnTo>
                    <a:lnTo>
                      <a:pt x="1114" y="3612"/>
                    </a:lnTo>
                    <a:lnTo>
                      <a:pt x="1114" y="3617"/>
                    </a:lnTo>
                    <a:lnTo>
                      <a:pt x="1112" y="3622"/>
                    </a:lnTo>
                    <a:lnTo>
                      <a:pt x="1110" y="3625"/>
                    </a:lnTo>
                    <a:lnTo>
                      <a:pt x="1108" y="3627"/>
                    </a:lnTo>
                    <a:lnTo>
                      <a:pt x="1104" y="3628"/>
                    </a:lnTo>
                    <a:lnTo>
                      <a:pt x="1101" y="36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61"/>
              <p:cNvSpPr>
                <a:spLocks/>
              </p:cNvSpPr>
              <p:nvPr userDrawn="1"/>
            </p:nvSpPr>
            <p:spPr bwMode="auto">
              <a:xfrm>
                <a:off x="1475" y="1468"/>
                <a:ext cx="373" cy="1146"/>
              </a:xfrm>
              <a:custGeom>
                <a:avLst/>
                <a:gdLst>
                  <a:gd name="T0" fmla="*/ 860 w 1120"/>
                  <a:gd name="T1" fmla="*/ 3397 h 3439"/>
                  <a:gd name="T2" fmla="*/ 659 w 1120"/>
                  <a:gd name="T3" fmla="*/ 3227 h 3439"/>
                  <a:gd name="T4" fmla="*/ 475 w 1120"/>
                  <a:gd name="T5" fmla="*/ 3039 h 3439"/>
                  <a:gd name="T6" fmla="*/ 310 w 1120"/>
                  <a:gd name="T7" fmla="*/ 2835 h 3439"/>
                  <a:gd name="T8" fmla="*/ 171 w 1120"/>
                  <a:gd name="T9" fmla="*/ 2621 h 3439"/>
                  <a:gd name="T10" fmla="*/ 70 w 1120"/>
                  <a:gd name="T11" fmla="*/ 2417 h 3439"/>
                  <a:gd name="T12" fmla="*/ 12 w 1120"/>
                  <a:gd name="T13" fmla="*/ 2246 h 3439"/>
                  <a:gd name="T14" fmla="*/ 0 w 1120"/>
                  <a:gd name="T15" fmla="*/ 2160 h 3439"/>
                  <a:gd name="T16" fmla="*/ 3 w 1120"/>
                  <a:gd name="T17" fmla="*/ 2083 h 3439"/>
                  <a:gd name="T18" fmla="*/ 17 w 1120"/>
                  <a:gd name="T19" fmla="*/ 2016 h 3439"/>
                  <a:gd name="T20" fmla="*/ 46 w 1120"/>
                  <a:gd name="T21" fmla="*/ 1946 h 3439"/>
                  <a:gd name="T22" fmla="*/ 99 w 1120"/>
                  <a:gd name="T23" fmla="*/ 1865 h 3439"/>
                  <a:gd name="T24" fmla="*/ 121 w 1120"/>
                  <a:gd name="T25" fmla="*/ 1817 h 3439"/>
                  <a:gd name="T26" fmla="*/ 97 w 1120"/>
                  <a:gd name="T27" fmla="*/ 1736 h 3439"/>
                  <a:gd name="T28" fmla="*/ 81 w 1120"/>
                  <a:gd name="T29" fmla="*/ 1633 h 3439"/>
                  <a:gd name="T30" fmla="*/ 79 w 1120"/>
                  <a:gd name="T31" fmla="*/ 1497 h 3439"/>
                  <a:gd name="T32" fmla="*/ 95 w 1120"/>
                  <a:gd name="T33" fmla="*/ 1335 h 3439"/>
                  <a:gd name="T34" fmla="*/ 125 w 1120"/>
                  <a:gd name="T35" fmla="*/ 1176 h 3439"/>
                  <a:gd name="T36" fmla="*/ 170 w 1120"/>
                  <a:gd name="T37" fmla="*/ 1022 h 3439"/>
                  <a:gd name="T38" fmla="*/ 226 w 1120"/>
                  <a:gd name="T39" fmla="*/ 877 h 3439"/>
                  <a:gd name="T40" fmla="*/ 295 w 1120"/>
                  <a:gd name="T41" fmla="*/ 738 h 3439"/>
                  <a:gd name="T42" fmla="*/ 376 w 1120"/>
                  <a:gd name="T43" fmla="*/ 609 h 3439"/>
                  <a:gd name="T44" fmla="*/ 469 w 1120"/>
                  <a:gd name="T45" fmla="*/ 489 h 3439"/>
                  <a:gd name="T46" fmla="*/ 572 w 1120"/>
                  <a:gd name="T47" fmla="*/ 379 h 3439"/>
                  <a:gd name="T48" fmla="*/ 693 w 1120"/>
                  <a:gd name="T49" fmla="*/ 273 h 3439"/>
                  <a:gd name="T50" fmla="*/ 818 w 1120"/>
                  <a:gd name="T51" fmla="*/ 175 h 3439"/>
                  <a:gd name="T52" fmla="*/ 944 w 1120"/>
                  <a:gd name="T53" fmla="*/ 90 h 3439"/>
                  <a:gd name="T54" fmla="*/ 1069 w 1120"/>
                  <a:gd name="T55" fmla="*/ 17 h 3439"/>
                  <a:gd name="T56" fmla="*/ 1114 w 1120"/>
                  <a:gd name="T57" fmla="*/ 3 h 3439"/>
                  <a:gd name="T58" fmla="*/ 1117 w 1120"/>
                  <a:gd name="T59" fmla="*/ 23 h 3439"/>
                  <a:gd name="T60" fmla="*/ 1019 w 1120"/>
                  <a:gd name="T61" fmla="*/ 76 h 3439"/>
                  <a:gd name="T62" fmla="*/ 896 w 1120"/>
                  <a:gd name="T63" fmla="*/ 153 h 3439"/>
                  <a:gd name="T64" fmla="*/ 773 w 1120"/>
                  <a:gd name="T65" fmla="*/ 244 h 3439"/>
                  <a:gd name="T66" fmla="*/ 649 w 1120"/>
                  <a:gd name="T67" fmla="*/ 346 h 3439"/>
                  <a:gd name="T68" fmla="*/ 539 w 1120"/>
                  <a:gd name="T69" fmla="*/ 451 h 3439"/>
                  <a:gd name="T70" fmla="*/ 442 w 1120"/>
                  <a:gd name="T71" fmla="*/ 565 h 3439"/>
                  <a:gd name="T72" fmla="*/ 356 w 1120"/>
                  <a:gd name="T73" fmla="*/ 688 h 3439"/>
                  <a:gd name="T74" fmla="*/ 283 w 1120"/>
                  <a:gd name="T75" fmla="*/ 819 h 3439"/>
                  <a:gd name="T76" fmla="*/ 220 w 1120"/>
                  <a:gd name="T77" fmla="*/ 959 h 3439"/>
                  <a:gd name="T78" fmla="*/ 172 w 1120"/>
                  <a:gd name="T79" fmla="*/ 1106 h 3439"/>
                  <a:gd name="T80" fmla="*/ 135 w 1120"/>
                  <a:gd name="T81" fmla="*/ 1260 h 3439"/>
                  <a:gd name="T82" fmla="*/ 111 w 1120"/>
                  <a:gd name="T83" fmla="*/ 1419 h 3439"/>
                  <a:gd name="T84" fmla="*/ 106 w 1120"/>
                  <a:gd name="T85" fmla="*/ 1584 h 3439"/>
                  <a:gd name="T86" fmla="*/ 120 w 1120"/>
                  <a:gd name="T87" fmla="*/ 1711 h 3439"/>
                  <a:gd name="T88" fmla="*/ 141 w 1120"/>
                  <a:gd name="T89" fmla="*/ 1793 h 3439"/>
                  <a:gd name="T90" fmla="*/ 159 w 1120"/>
                  <a:gd name="T91" fmla="*/ 1835 h 3439"/>
                  <a:gd name="T92" fmla="*/ 144 w 1120"/>
                  <a:gd name="T93" fmla="*/ 1857 h 3439"/>
                  <a:gd name="T94" fmla="*/ 82 w 1120"/>
                  <a:gd name="T95" fmla="*/ 1934 h 3439"/>
                  <a:gd name="T96" fmla="*/ 50 w 1120"/>
                  <a:gd name="T97" fmla="*/ 2001 h 3439"/>
                  <a:gd name="T98" fmla="*/ 32 w 1120"/>
                  <a:gd name="T99" fmla="*/ 2069 h 3439"/>
                  <a:gd name="T100" fmla="*/ 26 w 1120"/>
                  <a:gd name="T101" fmla="*/ 2148 h 3439"/>
                  <a:gd name="T102" fmla="*/ 38 w 1120"/>
                  <a:gd name="T103" fmla="*/ 2238 h 3439"/>
                  <a:gd name="T104" fmla="*/ 95 w 1120"/>
                  <a:gd name="T105" fmla="*/ 2407 h 3439"/>
                  <a:gd name="T106" fmla="*/ 193 w 1120"/>
                  <a:gd name="T107" fmla="*/ 2608 h 3439"/>
                  <a:gd name="T108" fmla="*/ 331 w 1120"/>
                  <a:gd name="T109" fmla="*/ 2818 h 3439"/>
                  <a:gd name="T110" fmla="*/ 495 w 1120"/>
                  <a:gd name="T111" fmla="*/ 3021 h 3439"/>
                  <a:gd name="T112" fmla="*/ 677 w 1120"/>
                  <a:gd name="T113" fmla="*/ 3207 h 3439"/>
                  <a:gd name="T114" fmla="*/ 877 w 1120"/>
                  <a:gd name="T115" fmla="*/ 3376 h 3439"/>
                  <a:gd name="T116" fmla="*/ 934 w 1120"/>
                  <a:gd name="T117" fmla="*/ 3428 h 3439"/>
                  <a:gd name="T118" fmla="*/ 924 w 1120"/>
                  <a:gd name="T119" fmla="*/ 3438 h 3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0" h="3439">
                    <a:moveTo>
                      <a:pt x="921" y="3439"/>
                    </a:moveTo>
                    <a:lnTo>
                      <a:pt x="917" y="3438"/>
                    </a:lnTo>
                    <a:lnTo>
                      <a:pt x="914" y="3436"/>
                    </a:lnTo>
                    <a:lnTo>
                      <a:pt x="860" y="3397"/>
                    </a:lnTo>
                    <a:lnTo>
                      <a:pt x="808" y="3356"/>
                    </a:lnTo>
                    <a:lnTo>
                      <a:pt x="757" y="3314"/>
                    </a:lnTo>
                    <a:lnTo>
                      <a:pt x="707" y="3271"/>
                    </a:lnTo>
                    <a:lnTo>
                      <a:pt x="659" y="3227"/>
                    </a:lnTo>
                    <a:lnTo>
                      <a:pt x="611" y="3181"/>
                    </a:lnTo>
                    <a:lnTo>
                      <a:pt x="565" y="3135"/>
                    </a:lnTo>
                    <a:lnTo>
                      <a:pt x="519" y="3087"/>
                    </a:lnTo>
                    <a:lnTo>
                      <a:pt x="475" y="3039"/>
                    </a:lnTo>
                    <a:lnTo>
                      <a:pt x="432" y="2990"/>
                    </a:lnTo>
                    <a:lnTo>
                      <a:pt x="390" y="2939"/>
                    </a:lnTo>
                    <a:lnTo>
                      <a:pt x="350" y="2888"/>
                    </a:lnTo>
                    <a:lnTo>
                      <a:pt x="310" y="2835"/>
                    </a:lnTo>
                    <a:lnTo>
                      <a:pt x="272" y="2781"/>
                    </a:lnTo>
                    <a:lnTo>
                      <a:pt x="235" y="2726"/>
                    </a:lnTo>
                    <a:lnTo>
                      <a:pt x="200" y="2670"/>
                    </a:lnTo>
                    <a:lnTo>
                      <a:pt x="171" y="2621"/>
                    </a:lnTo>
                    <a:lnTo>
                      <a:pt x="143" y="2571"/>
                    </a:lnTo>
                    <a:lnTo>
                      <a:pt x="117" y="2519"/>
                    </a:lnTo>
                    <a:lnTo>
                      <a:pt x="92" y="2469"/>
                    </a:lnTo>
                    <a:lnTo>
                      <a:pt x="70" y="2417"/>
                    </a:lnTo>
                    <a:lnTo>
                      <a:pt x="50" y="2366"/>
                    </a:lnTo>
                    <a:lnTo>
                      <a:pt x="32" y="2317"/>
                    </a:lnTo>
                    <a:lnTo>
                      <a:pt x="18" y="2269"/>
                    </a:lnTo>
                    <a:lnTo>
                      <a:pt x="12" y="2246"/>
                    </a:lnTo>
                    <a:lnTo>
                      <a:pt x="8" y="2224"/>
                    </a:lnTo>
                    <a:lnTo>
                      <a:pt x="4" y="2202"/>
                    </a:lnTo>
                    <a:lnTo>
                      <a:pt x="1" y="2181"/>
                    </a:lnTo>
                    <a:lnTo>
                      <a:pt x="0" y="2160"/>
                    </a:lnTo>
                    <a:lnTo>
                      <a:pt x="0" y="2141"/>
                    </a:lnTo>
                    <a:lnTo>
                      <a:pt x="0" y="2121"/>
                    </a:lnTo>
                    <a:lnTo>
                      <a:pt x="1" y="2102"/>
                    </a:lnTo>
                    <a:lnTo>
                      <a:pt x="3" y="2083"/>
                    </a:lnTo>
                    <a:lnTo>
                      <a:pt x="5" y="2066"/>
                    </a:lnTo>
                    <a:lnTo>
                      <a:pt x="9" y="2049"/>
                    </a:lnTo>
                    <a:lnTo>
                      <a:pt x="13" y="2033"/>
                    </a:lnTo>
                    <a:lnTo>
                      <a:pt x="17" y="2016"/>
                    </a:lnTo>
                    <a:lnTo>
                      <a:pt x="23" y="2001"/>
                    </a:lnTo>
                    <a:lnTo>
                      <a:pt x="28" y="1986"/>
                    </a:lnTo>
                    <a:lnTo>
                      <a:pt x="33" y="1972"/>
                    </a:lnTo>
                    <a:lnTo>
                      <a:pt x="46" y="1946"/>
                    </a:lnTo>
                    <a:lnTo>
                      <a:pt x="59" y="1921"/>
                    </a:lnTo>
                    <a:lnTo>
                      <a:pt x="72" y="1901"/>
                    </a:lnTo>
                    <a:lnTo>
                      <a:pt x="86" y="1882"/>
                    </a:lnTo>
                    <a:lnTo>
                      <a:pt x="99" y="1865"/>
                    </a:lnTo>
                    <a:lnTo>
                      <a:pt x="110" y="1852"/>
                    </a:lnTo>
                    <a:lnTo>
                      <a:pt x="120" y="1842"/>
                    </a:lnTo>
                    <a:lnTo>
                      <a:pt x="128" y="1834"/>
                    </a:lnTo>
                    <a:lnTo>
                      <a:pt x="121" y="1817"/>
                    </a:lnTo>
                    <a:lnTo>
                      <a:pt x="112" y="1791"/>
                    </a:lnTo>
                    <a:lnTo>
                      <a:pt x="107" y="1775"/>
                    </a:lnTo>
                    <a:lnTo>
                      <a:pt x="101" y="1756"/>
                    </a:lnTo>
                    <a:lnTo>
                      <a:pt x="97" y="1736"/>
                    </a:lnTo>
                    <a:lnTo>
                      <a:pt x="92" y="1713"/>
                    </a:lnTo>
                    <a:lnTo>
                      <a:pt x="89" y="1688"/>
                    </a:lnTo>
                    <a:lnTo>
                      <a:pt x="84" y="1662"/>
                    </a:lnTo>
                    <a:lnTo>
                      <a:pt x="81" y="1633"/>
                    </a:lnTo>
                    <a:lnTo>
                      <a:pt x="79" y="1602"/>
                    </a:lnTo>
                    <a:lnTo>
                      <a:pt x="78" y="1570"/>
                    </a:lnTo>
                    <a:lnTo>
                      <a:pt x="78" y="1534"/>
                    </a:lnTo>
                    <a:lnTo>
                      <a:pt x="79" y="1497"/>
                    </a:lnTo>
                    <a:lnTo>
                      <a:pt x="81" y="1458"/>
                    </a:lnTo>
                    <a:lnTo>
                      <a:pt x="85" y="1416"/>
                    </a:lnTo>
                    <a:lnTo>
                      <a:pt x="90" y="1375"/>
                    </a:lnTo>
                    <a:lnTo>
                      <a:pt x="95" y="1335"/>
                    </a:lnTo>
                    <a:lnTo>
                      <a:pt x="101" y="1294"/>
                    </a:lnTo>
                    <a:lnTo>
                      <a:pt x="108" y="1254"/>
                    </a:lnTo>
                    <a:lnTo>
                      <a:pt x="117" y="1215"/>
                    </a:lnTo>
                    <a:lnTo>
                      <a:pt x="125" y="1176"/>
                    </a:lnTo>
                    <a:lnTo>
                      <a:pt x="135" y="1137"/>
                    </a:lnTo>
                    <a:lnTo>
                      <a:pt x="146" y="1099"/>
                    </a:lnTo>
                    <a:lnTo>
                      <a:pt x="157" y="1060"/>
                    </a:lnTo>
                    <a:lnTo>
                      <a:pt x="170" y="1022"/>
                    </a:lnTo>
                    <a:lnTo>
                      <a:pt x="182" y="986"/>
                    </a:lnTo>
                    <a:lnTo>
                      <a:pt x="195" y="949"/>
                    </a:lnTo>
                    <a:lnTo>
                      <a:pt x="211" y="912"/>
                    </a:lnTo>
                    <a:lnTo>
                      <a:pt x="226" y="877"/>
                    </a:lnTo>
                    <a:lnTo>
                      <a:pt x="242" y="841"/>
                    </a:lnTo>
                    <a:lnTo>
                      <a:pt x="258" y="806"/>
                    </a:lnTo>
                    <a:lnTo>
                      <a:pt x="276" y="772"/>
                    </a:lnTo>
                    <a:lnTo>
                      <a:pt x="295" y="738"/>
                    </a:lnTo>
                    <a:lnTo>
                      <a:pt x="314" y="705"/>
                    </a:lnTo>
                    <a:lnTo>
                      <a:pt x="334" y="672"/>
                    </a:lnTo>
                    <a:lnTo>
                      <a:pt x="354" y="640"/>
                    </a:lnTo>
                    <a:lnTo>
                      <a:pt x="376" y="609"/>
                    </a:lnTo>
                    <a:lnTo>
                      <a:pt x="397" y="577"/>
                    </a:lnTo>
                    <a:lnTo>
                      <a:pt x="420" y="547"/>
                    </a:lnTo>
                    <a:lnTo>
                      <a:pt x="444" y="518"/>
                    </a:lnTo>
                    <a:lnTo>
                      <a:pt x="469" y="489"/>
                    </a:lnTo>
                    <a:lnTo>
                      <a:pt x="493" y="461"/>
                    </a:lnTo>
                    <a:lnTo>
                      <a:pt x="519" y="433"/>
                    </a:lnTo>
                    <a:lnTo>
                      <a:pt x="545" y="406"/>
                    </a:lnTo>
                    <a:lnTo>
                      <a:pt x="572" y="379"/>
                    </a:lnTo>
                    <a:lnTo>
                      <a:pt x="600" y="354"/>
                    </a:lnTo>
                    <a:lnTo>
                      <a:pt x="632" y="326"/>
                    </a:lnTo>
                    <a:lnTo>
                      <a:pt x="662" y="299"/>
                    </a:lnTo>
                    <a:lnTo>
                      <a:pt x="693" y="273"/>
                    </a:lnTo>
                    <a:lnTo>
                      <a:pt x="725" y="247"/>
                    </a:lnTo>
                    <a:lnTo>
                      <a:pt x="756" y="222"/>
                    </a:lnTo>
                    <a:lnTo>
                      <a:pt x="787" y="199"/>
                    </a:lnTo>
                    <a:lnTo>
                      <a:pt x="818" y="175"/>
                    </a:lnTo>
                    <a:lnTo>
                      <a:pt x="850" y="152"/>
                    </a:lnTo>
                    <a:lnTo>
                      <a:pt x="881" y="131"/>
                    </a:lnTo>
                    <a:lnTo>
                      <a:pt x="912" y="110"/>
                    </a:lnTo>
                    <a:lnTo>
                      <a:pt x="944" y="90"/>
                    </a:lnTo>
                    <a:lnTo>
                      <a:pt x="975" y="71"/>
                    </a:lnTo>
                    <a:lnTo>
                      <a:pt x="1006" y="52"/>
                    </a:lnTo>
                    <a:lnTo>
                      <a:pt x="1038" y="35"/>
                    </a:lnTo>
                    <a:lnTo>
                      <a:pt x="1069" y="17"/>
                    </a:lnTo>
                    <a:lnTo>
                      <a:pt x="1100" y="1"/>
                    </a:lnTo>
                    <a:lnTo>
                      <a:pt x="1105" y="0"/>
                    </a:lnTo>
                    <a:lnTo>
                      <a:pt x="1110" y="1"/>
                    </a:lnTo>
                    <a:lnTo>
                      <a:pt x="1114" y="3"/>
                    </a:lnTo>
                    <a:lnTo>
                      <a:pt x="1118" y="8"/>
                    </a:lnTo>
                    <a:lnTo>
                      <a:pt x="1120" y="13"/>
                    </a:lnTo>
                    <a:lnTo>
                      <a:pt x="1119" y="17"/>
                    </a:lnTo>
                    <a:lnTo>
                      <a:pt x="1117" y="23"/>
                    </a:lnTo>
                    <a:lnTo>
                      <a:pt x="1112" y="26"/>
                    </a:lnTo>
                    <a:lnTo>
                      <a:pt x="1081" y="41"/>
                    </a:lnTo>
                    <a:lnTo>
                      <a:pt x="1051" y="58"/>
                    </a:lnTo>
                    <a:lnTo>
                      <a:pt x="1019" y="76"/>
                    </a:lnTo>
                    <a:lnTo>
                      <a:pt x="989" y="94"/>
                    </a:lnTo>
                    <a:lnTo>
                      <a:pt x="958" y="113"/>
                    </a:lnTo>
                    <a:lnTo>
                      <a:pt x="928" y="133"/>
                    </a:lnTo>
                    <a:lnTo>
                      <a:pt x="896" y="153"/>
                    </a:lnTo>
                    <a:lnTo>
                      <a:pt x="866" y="175"/>
                    </a:lnTo>
                    <a:lnTo>
                      <a:pt x="835" y="198"/>
                    </a:lnTo>
                    <a:lnTo>
                      <a:pt x="803" y="220"/>
                    </a:lnTo>
                    <a:lnTo>
                      <a:pt x="773" y="244"/>
                    </a:lnTo>
                    <a:lnTo>
                      <a:pt x="742" y="269"/>
                    </a:lnTo>
                    <a:lnTo>
                      <a:pt x="711" y="294"/>
                    </a:lnTo>
                    <a:lnTo>
                      <a:pt x="680" y="320"/>
                    </a:lnTo>
                    <a:lnTo>
                      <a:pt x="649" y="346"/>
                    </a:lnTo>
                    <a:lnTo>
                      <a:pt x="618" y="373"/>
                    </a:lnTo>
                    <a:lnTo>
                      <a:pt x="591" y="399"/>
                    </a:lnTo>
                    <a:lnTo>
                      <a:pt x="565" y="425"/>
                    </a:lnTo>
                    <a:lnTo>
                      <a:pt x="539" y="451"/>
                    </a:lnTo>
                    <a:lnTo>
                      <a:pt x="513" y="478"/>
                    </a:lnTo>
                    <a:lnTo>
                      <a:pt x="489" y="506"/>
                    </a:lnTo>
                    <a:lnTo>
                      <a:pt x="465" y="535"/>
                    </a:lnTo>
                    <a:lnTo>
                      <a:pt x="442" y="565"/>
                    </a:lnTo>
                    <a:lnTo>
                      <a:pt x="419" y="594"/>
                    </a:lnTo>
                    <a:lnTo>
                      <a:pt x="397" y="625"/>
                    </a:lnTo>
                    <a:lnTo>
                      <a:pt x="377" y="655"/>
                    </a:lnTo>
                    <a:lnTo>
                      <a:pt x="356" y="688"/>
                    </a:lnTo>
                    <a:lnTo>
                      <a:pt x="337" y="719"/>
                    </a:lnTo>
                    <a:lnTo>
                      <a:pt x="317" y="752"/>
                    </a:lnTo>
                    <a:lnTo>
                      <a:pt x="300" y="785"/>
                    </a:lnTo>
                    <a:lnTo>
                      <a:pt x="283" y="819"/>
                    </a:lnTo>
                    <a:lnTo>
                      <a:pt x="266" y="853"/>
                    </a:lnTo>
                    <a:lnTo>
                      <a:pt x="251" y="888"/>
                    </a:lnTo>
                    <a:lnTo>
                      <a:pt x="235" y="923"/>
                    </a:lnTo>
                    <a:lnTo>
                      <a:pt x="220" y="959"/>
                    </a:lnTo>
                    <a:lnTo>
                      <a:pt x="207" y="995"/>
                    </a:lnTo>
                    <a:lnTo>
                      <a:pt x="194" y="1032"/>
                    </a:lnTo>
                    <a:lnTo>
                      <a:pt x="182" y="1069"/>
                    </a:lnTo>
                    <a:lnTo>
                      <a:pt x="172" y="1106"/>
                    </a:lnTo>
                    <a:lnTo>
                      <a:pt x="161" y="1144"/>
                    </a:lnTo>
                    <a:lnTo>
                      <a:pt x="151" y="1182"/>
                    </a:lnTo>
                    <a:lnTo>
                      <a:pt x="143" y="1221"/>
                    </a:lnTo>
                    <a:lnTo>
                      <a:pt x="135" y="1260"/>
                    </a:lnTo>
                    <a:lnTo>
                      <a:pt x="127" y="1300"/>
                    </a:lnTo>
                    <a:lnTo>
                      <a:pt x="122" y="1340"/>
                    </a:lnTo>
                    <a:lnTo>
                      <a:pt x="117" y="1380"/>
                    </a:lnTo>
                    <a:lnTo>
                      <a:pt x="111" y="1419"/>
                    </a:lnTo>
                    <a:lnTo>
                      <a:pt x="108" y="1461"/>
                    </a:lnTo>
                    <a:lnTo>
                      <a:pt x="106" y="1504"/>
                    </a:lnTo>
                    <a:lnTo>
                      <a:pt x="105" y="1545"/>
                    </a:lnTo>
                    <a:lnTo>
                      <a:pt x="106" y="1584"/>
                    </a:lnTo>
                    <a:lnTo>
                      <a:pt x="107" y="1619"/>
                    </a:lnTo>
                    <a:lnTo>
                      <a:pt x="110" y="1653"/>
                    </a:lnTo>
                    <a:lnTo>
                      <a:pt x="114" y="1683"/>
                    </a:lnTo>
                    <a:lnTo>
                      <a:pt x="120" y="1711"/>
                    </a:lnTo>
                    <a:lnTo>
                      <a:pt x="125" y="1735"/>
                    </a:lnTo>
                    <a:lnTo>
                      <a:pt x="131" y="1757"/>
                    </a:lnTo>
                    <a:lnTo>
                      <a:pt x="136" y="1777"/>
                    </a:lnTo>
                    <a:lnTo>
                      <a:pt x="141" y="1793"/>
                    </a:lnTo>
                    <a:lnTo>
                      <a:pt x="146" y="1806"/>
                    </a:lnTo>
                    <a:lnTo>
                      <a:pt x="153" y="1824"/>
                    </a:lnTo>
                    <a:lnTo>
                      <a:pt x="157" y="1831"/>
                    </a:lnTo>
                    <a:lnTo>
                      <a:pt x="159" y="1835"/>
                    </a:lnTo>
                    <a:lnTo>
                      <a:pt x="158" y="1839"/>
                    </a:lnTo>
                    <a:lnTo>
                      <a:pt x="157" y="1844"/>
                    </a:lnTo>
                    <a:lnTo>
                      <a:pt x="153" y="1847"/>
                    </a:lnTo>
                    <a:lnTo>
                      <a:pt x="144" y="1857"/>
                    </a:lnTo>
                    <a:lnTo>
                      <a:pt x="123" y="1878"/>
                    </a:lnTo>
                    <a:lnTo>
                      <a:pt x="110" y="1893"/>
                    </a:lnTo>
                    <a:lnTo>
                      <a:pt x="96" y="1913"/>
                    </a:lnTo>
                    <a:lnTo>
                      <a:pt x="82" y="1934"/>
                    </a:lnTo>
                    <a:lnTo>
                      <a:pt x="68" y="1959"/>
                    </a:lnTo>
                    <a:lnTo>
                      <a:pt x="62" y="1972"/>
                    </a:lnTo>
                    <a:lnTo>
                      <a:pt x="56" y="1987"/>
                    </a:lnTo>
                    <a:lnTo>
                      <a:pt x="50" y="2001"/>
                    </a:lnTo>
                    <a:lnTo>
                      <a:pt x="44" y="2018"/>
                    </a:lnTo>
                    <a:lnTo>
                      <a:pt x="40" y="2034"/>
                    </a:lnTo>
                    <a:lnTo>
                      <a:pt x="36" y="2051"/>
                    </a:lnTo>
                    <a:lnTo>
                      <a:pt x="32" y="2069"/>
                    </a:lnTo>
                    <a:lnTo>
                      <a:pt x="29" y="2088"/>
                    </a:lnTo>
                    <a:lnTo>
                      <a:pt x="27" y="2107"/>
                    </a:lnTo>
                    <a:lnTo>
                      <a:pt x="26" y="2127"/>
                    </a:lnTo>
                    <a:lnTo>
                      <a:pt x="26" y="2148"/>
                    </a:lnTo>
                    <a:lnTo>
                      <a:pt x="27" y="2169"/>
                    </a:lnTo>
                    <a:lnTo>
                      <a:pt x="29" y="2191"/>
                    </a:lnTo>
                    <a:lnTo>
                      <a:pt x="33" y="2214"/>
                    </a:lnTo>
                    <a:lnTo>
                      <a:pt x="38" y="2238"/>
                    </a:lnTo>
                    <a:lnTo>
                      <a:pt x="44" y="2261"/>
                    </a:lnTo>
                    <a:lnTo>
                      <a:pt x="58" y="2308"/>
                    </a:lnTo>
                    <a:lnTo>
                      <a:pt x="76" y="2356"/>
                    </a:lnTo>
                    <a:lnTo>
                      <a:pt x="95" y="2407"/>
                    </a:lnTo>
                    <a:lnTo>
                      <a:pt x="117" y="2457"/>
                    </a:lnTo>
                    <a:lnTo>
                      <a:pt x="140" y="2508"/>
                    </a:lnTo>
                    <a:lnTo>
                      <a:pt x="166" y="2558"/>
                    </a:lnTo>
                    <a:lnTo>
                      <a:pt x="193" y="2608"/>
                    </a:lnTo>
                    <a:lnTo>
                      <a:pt x="222" y="2655"/>
                    </a:lnTo>
                    <a:lnTo>
                      <a:pt x="258" y="2711"/>
                    </a:lnTo>
                    <a:lnTo>
                      <a:pt x="294" y="2765"/>
                    </a:lnTo>
                    <a:lnTo>
                      <a:pt x="331" y="2818"/>
                    </a:lnTo>
                    <a:lnTo>
                      <a:pt x="371" y="2870"/>
                    </a:lnTo>
                    <a:lnTo>
                      <a:pt x="411" y="2922"/>
                    </a:lnTo>
                    <a:lnTo>
                      <a:pt x="452" y="2972"/>
                    </a:lnTo>
                    <a:lnTo>
                      <a:pt x="495" y="3021"/>
                    </a:lnTo>
                    <a:lnTo>
                      <a:pt x="539" y="3069"/>
                    </a:lnTo>
                    <a:lnTo>
                      <a:pt x="583" y="3116"/>
                    </a:lnTo>
                    <a:lnTo>
                      <a:pt x="630" y="3162"/>
                    </a:lnTo>
                    <a:lnTo>
                      <a:pt x="677" y="3207"/>
                    </a:lnTo>
                    <a:lnTo>
                      <a:pt x="725" y="3250"/>
                    </a:lnTo>
                    <a:lnTo>
                      <a:pt x="774" y="3293"/>
                    </a:lnTo>
                    <a:lnTo>
                      <a:pt x="825" y="3334"/>
                    </a:lnTo>
                    <a:lnTo>
                      <a:pt x="877" y="3376"/>
                    </a:lnTo>
                    <a:lnTo>
                      <a:pt x="929" y="3414"/>
                    </a:lnTo>
                    <a:lnTo>
                      <a:pt x="933" y="3419"/>
                    </a:lnTo>
                    <a:lnTo>
                      <a:pt x="934" y="3423"/>
                    </a:lnTo>
                    <a:lnTo>
                      <a:pt x="934" y="3428"/>
                    </a:lnTo>
                    <a:lnTo>
                      <a:pt x="932" y="3433"/>
                    </a:lnTo>
                    <a:lnTo>
                      <a:pt x="930" y="3436"/>
                    </a:lnTo>
                    <a:lnTo>
                      <a:pt x="928" y="3437"/>
                    </a:lnTo>
                    <a:lnTo>
                      <a:pt x="924" y="3438"/>
                    </a:lnTo>
                    <a:lnTo>
                      <a:pt x="921" y="3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62"/>
              <p:cNvSpPr>
                <a:spLocks noEditPoints="1"/>
              </p:cNvSpPr>
              <p:nvPr userDrawn="1"/>
            </p:nvSpPr>
            <p:spPr bwMode="auto">
              <a:xfrm>
                <a:off x="2443" y="1746"/>
                <a:ext cx="66" cy="83"/>
              </a:xfrm>
              <a:custGeom>
                <a:avLst/>
                <a:gdLst>
                  <a:gd name="T0" fmla="*/ 37 w 200"/>
                  <a:gd name="T1" fmla="*/ 249 h 249"/>
                  <a:gd name="T2" fmla="*/ 24 w 200"/>
                  <a:gd name="T3" fmla="*/ 245 h 249"/>
                  <a:gd name="T4" fmla="*/ 15 w 200"/>
                  <a:gd name="T5" fmla="*/ 238 h 249"/>
                  <a:gd name="T6" fmla="*/ 8 w 200"/>
                  <a:gd name="T7" fmla="*/ 230 h 249"/>
                  <a:gd name="T8" fmla="*/ 3 w 200"/>
                  <a:gd name="T9" fmla="*/ 220 h 249"/>
                  <a:gd name="T10" fmla="*/ 1 w 200"/>
                  <a:gd name="T11" fmla="*/ 206 h 249"/>
                  <a:gd name="T12" fmla="*/ 1 w 200"/>
                  <a:gd name="T13" fmla="*/ 189 h 249"/>
                  <a:gd name="T14" fmla="*/ 4 w 200"/>
                  <a:gd name="T15" fmla="*/ 172 h 249"/>
                  <a:gd name="T16" fmla="*/ 16 w 200"/>
                  <a:gd name="T17" fmla="*/ 145 h 249"/>
                  <a:gd name="T18" fmla="*/ 40 w 200"/>
                  <a:gd name="T19" fmla="*/ 108 h 249"/>
                  <a:gd name="T20" fmla="*/ 67 w 200"/>
                  <a:gd name="T21" fmla="*/ 72 h 249"/>
                  <a:gd name="T22" fmla="*/ 87 w 200"/>
                  <a:gd name="T23" fmla="*/ 46 h 249"/>
                  <a:gd name="T24" fmla="*/ 99 w 200"/>
                  <a:gd name="T25" fmla="*/ 32 h 249"/>
                  <a:gd name="T26" fmla="*/ 111 w 200"/>
                  <a:gd name="T27" fmla="*/ 20 h 249"/>
                  <a:gd name="T28" fmla="*/ 126 w 200"/>
                  <a:gd name="T29" fmla="*/ 8 h 249"/>
                  <a:gd name="T30" fmla="*/ 143 w 200"/>
                  <a:gd name="T31" fmla="*/ 1 h 249"/>
                  <a:gd name="T32" fmla="*/ 162 w 200"/>
                  <a:gd name="T33" fmla="*/ 1 h 249"/>
                  <a:gd name="T34" fmla="*/ 178 w 200"/>
                  <a:gd name="T35" fmla="*/ 8 h 249"/>
                  <a:gd name="T36" fmla="*/ 191 w 200"/>
                  <a:gd name="T37" fmla="*/ 21 h 249"/>
                  <a:gd name="T38" fmla="*/ 197 w 200"/>
                  <a:gd name="T39" fmla="*/ 33 h 249"/>
                  <a:gd name="T40" fmla="*/ 200 w 200"/>
                  <a:gd name="T41" fmla="*/ 46 h 249"/>
                  <a:gd name="T42" fmla="*/ 200 w 200"/>
                  <a:gd name="T43" fmla="*/ 59 h 249"/>
                  <a:gd name="T44" fmla="*/ 192 w 200"/>
                  <a:gd name="T45" fmla="*/ 85 h 249"/>
                  <a:gd name="T46" fmla="*/ 169 w 200"/>
                  <a:gd name="T47" fmla="*/ 128 h 249"/>
                  <a:gd name="T48" fmla="*/ 151 w 200"/>
                  <a:gd name="T49" fmla="*/ 162 h 249"/>
                  <a:gd name="T50" fmla="*/ 127 w 200"/>
                  <a:gd name="T51" fmla="*/ 196 h 249"/>
                  <a:gd name="T52" fmla="*/ 99 w 200"/>
                  <a:gd name="T53" fmla="*/ 224 h 249"/>
                  <a:gd name="T54" fmla="*/ 84 w 200"/>
                  <a:gd name="T55" fmla="*/ 235 h 249"/>
                  <a:gd name="T56" fmla="*/ 70 w 200"/>
                  <a:gd name="T57" fmla="*/ 242 h 249"/>
                  <a:gd name="T58" fmla="*/ 55 w 200"/>
                  <a:gd name="T59" fmla="*/ 247 h 249"/>
                  <a:gd name="T60" fmla="*/ 42 w 200"/>
                  <a:gd name="T61" fmla="*/ 249 h 249"/>
                  <a:gd name="T62" fmla="*/ 153 w 200"/>
                  <a:gd name="T63" fmla="*/ 27 h 249"/>
                  <a:gd name="T64" fmla="*/ 144 w 200"/>
                  <a:gd name="T65" fmla="*/ 28 h 249"/>
                  <a:gd name="T66" fmla="*/ 136 w 200"/>
                  <a:gd name="T67" fmla="*/ 34 h 249"/>
                  <a:gd name="T68" fmla="*/ 115 w 200"/>
                  <a:gd name="T69" fmla="*/ 54 h 249"/>
                  <a:gd name="T70" fmla="*/ 101 w 200"/>
                  <a:gd name="T71" fmla="*/ 72 h 249"/>
                  <a:gd name="T72" fmla="*/ 54 w 200"/>
                  <a:gd name="T73" fmla="*/ 135 h 249"/>
                  <a:gd name="T74" fmla="*/ 34 w 200"/>
                  <a:gd name="T75" fmla="*/ 169 h 249"/>
                  <a:gd name="T76" fmla="*/ 29 w 200"/>
                  <a:gd name="T77" fmla="*/ 184 h 249"/>
                  <a:gd name="T78" fmla="*/ 27 w 200"/>
                  <a:gd name="T79" fmla="*/ 197 h 249"/>
                  <a:gd name="T80" fmla="*/ 29 w 200"/>
                  <a:gd name="T81" fmla="*/ 211 h 249"/>
                  <a:gd name="T82" fmla="*/ 33 w 200"/>
                  <a:gd name="T83" fmla="*/ 218 h 249"/>
                  <a:gd name="T84" fmla="*/ 42 w 200"/>
                  <a:gd name="T85" fmla="*/ 222 h 249"/>
                  <a:gd name="T86" fmla="*/ 42 w 200"/>
                  <a:gd name="T87" fmla="*/ 222 h 249"/>
                  <a:gd name="T88" fmla="*/ 61 w 200"/>
                  <a:gd name="T89" fmla="*/ 216 h 249"/>
                  <a:gd name="T90" fmla="*/ 84 w 200"/>
                  <a:gd name="T91" fmla="*/ 201 h 249"/>
                  <a:gd name="T92" fmla="*/ 107 w 200"/>
                  <a:gd name="T93" fmla="*/ 179 h 249"/>
                  <a:gd name="T94" fmla="*/ 127 w 200"/>
                  <a:gd name="T95" fmla="*/ 148 h 249"/>
                  <a:gd name="T96" fmla="*/ 145 w 200"/>
                  <a:gd name="T97" fmla="*/ 116 h 249"/>
                  <a:gd name="T98" fmla="*/ 166 w 200"/>
                  <a:gd name="T99" fmla="*/ 77 h 249"/>
                  <a:gd name="T100" fmla="*/ 172 w 200"/>
                  <a:gd name="T101" fmla="*/ 59 h 249"/>
                  <a:gd name="T102" fmla="*/ 173 w 200"/>
                  <a:gd name="T103" fmla="*/ 50 h 249"/>
                  <a:gd name="T104" fmla="*/ 170 w 200"/>
                  <a:gd name="T105" fmla="*/ 39 h 249"/>
                  <a:gd name="T106" fmla="*/ 162 w 200"/>
                  <a:gd name="T107" fmla="*/ 30 h 249"/>
                  <a:gd name="T108" fmla="*/ 155 w 200"/>
                  <a:gd name="T109" fmla="*/ 2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 h="249">
                    <a:moveTo>
                      <a:pt x="42" y="249"/>
                    </a:moveTo>
                    <a:lnTo>
                      <a:pt x="37" y="249"/>
                    </a:lnTo>
                    <a:lnTo>
                      <a:pt x="31" y="248"/>
                    </a:lnTo>
                    <a:lnTo>
                      <a:pt x="24" y="245"/>
                    </a:lnTo>
                    <a:lnTo>
                      <a:pt x="18" y="241"/>
                    </a:lnTo>
                    <a:lnTo>
                      <a:pt x="15" y="238"/>
                    </a:lnTo>
                    <a:lnTo>
                      <a:pt x="11" y="235"/>
                    </a:lnTo>
                    <a:lnTo>
                      <a:pt x="8" y="230"/>
                    </a:lnTo>
                    <a:lnTo>
                      <a:pt x="5" y="225"/>
                    </a:lnTo>
                    <a:lnTo>
                      <a:pt x="3" y="220"/>
                    </a:lnTo>
                    <a:lnTo>
                      <a:pt x="2" y="213"/>
                    </a:lnTo>
                    <a:lnTo>
                      <a:pt x="1" y="206"/>
                    </a:lnTo>
                    <a:lnTo>
                      <a:pt x="0" y="197"/>
                    </a:lnTo>
                    <a:lnTo>
                      <a:pt x="1" y="189"/>
                    </a:lnTo>
                    <a:lnTo>
                      <a:pt x="2" y="181"/>
                    </a:lnTo>
                    <a:lnTo>
                      <a:pt x="4" y="172"/>
                    </a:lnTo>
                    <a:lnTo>
                      <a:pt x="7" y="163"/>
                    </a:lnTo>
                    <a:lnTo>
                      <a:pt x="16" y="145"/>
                    </a:lnTo>
                    <a:lnTo>
                      <a:pt x="27" y="127"/>
                    </a:lnTo>
                    <a:lnTo>
                      <a:pt x="40" y="108"/>
                    </a:lnTo>
                    <a:lnTo>
                      <a:pt x="53" y="90"/>
                    </a:lnTo>
                    <a:lnTo>
                      <a:pt x="67" y="72"/>
                    </a:lnTo>
                    <a:lnTo>
                      <a:pt x="80" y="55"/>
                    </a:lnTo>
                    <a:lnTo>
                      <a:pt x="87" y="46"/>
                    </a:lnTo>
                    <a:lnTo>
                      <a:pt x="94" y="38"/>
                    </a:lnTo>
                    <a:lnTo>
                      <a:pt x="99" y="32"/>
                    </a:lnTo>
                    <a:lnTo>
                      <a:pt x="104" y="26"/>
                    </a:lnTo>
                    <a:lnTo>
                      <a:pt x="111" y="20"/>
                    </a:lnTo>
                    <a:lnTo>
                      <a:pt x="117" y="13"/>
                    </a:lnTo>
                    <a:lnTo>
                      <a:pt x="126" y="8"/>
                    </a:lnTo>
                    <a:lnTo>
                      <a:pt x="135" y="4"/>
                    </a:lnTo>
                    <a:lnTo>
                      <a:pt x="143" y="1"/>
                    </a:lnTo>
                    <a:lnTo>
                      <a:pt x="153" y="0"/>
                    </a:lnTo>
                    <a:lnTo>
                      <a:pt x="162" y="1"/>
                    </a:lnTo>
                    <a:lnTo>
                      <a:pt x="170" y="4"/>
                    </a:lnTo>
                    <a:lnTo>
                      <a:pt x="178" y="8"/>
                    </a:lnTo>
                    <a:lnTo>
                      <a:pt x="185" y="14"/>
                    </a:lnTo>
                    <a:lnTo>
                      <a:pt x="191" y="21"/>
                    </a:lnTo>
                    <a:lnTo>
                      <a:pt x="195" y="26"/>
                    </a:lnTo>
                    <a:lnTo>
                      <a:pt x="197" y="33"/>
                    </a:lnTo>
                    <a:lnTo>
                      <a:pt x="199" y="39"/>
                    </a:lnTo>
                    <a:lnTo>
                      <a:pt x="200" y="46"/>
                    </a:lnTo>
                    <a:lnTo>
                      <a:pt x="200" y="52"/>
                    </a:lnTo>
                    <a:lnTo>
                      <a:pt x="200" y="59"/>
                    </a:lnTo>
                    <a:lnTo>
                      <a:pt x="198" y="67"/>
                    </a:lnTo>
                    <a:lnTo>
                      <a:pt x="192" y="85"/>
                    </a:lnTo>
                    <a:lnTo>
                      <a:pt x="182" y="104"/>
                    </a:lnTo>
                    <a:lnTo>
                      <a:pt x="169" y="128"/>
                    </a:lnTo>
                    <a:lnTo>
                      <a:pt x="154" y="157"/>
                    </a:lnTo>
                    <a:lnTo>
                      <a:pt x="151" y="162"/>
                    </a:lnTo>
                    <a:lnTo>
                      <a:pt x="140" y="180"/>
                    </a:lnTo>
                    <a:lnTo>
                      <a:pt x="127" y="196"/>
                    </a:lnTo>
                    <a:lnTo>
                      <a:pt x="113" y="211"/>
                    </a:lnTo>
                    <a:lnTo>
                      <a:pt x="99" y="224"/>
                    </a:lnTo>
                    <a:lnTo>
                      <a:pt x="91" y="229"/>
                    </a:lnTo>
                    <a:lnTo>
                      <a:pt x="84" y="235"/>
                    </a:lnTo>
                    <a:lnTo>
                      <a:pt x="76" y="239"/>
                    </a:lnTo>
                    <a:lnTo>
                      <a:pt x="70" y="242"/>
                    </a:lnTo>
                    <a:lnTo>
                      <a:pt x="62" y="244"/>
                    </a:lnTo>
                    <a:lnTo>
                      <a:pt x="55" y="247"/>
                    </a:lnTo>
                    <a:lnTo>
                      <a:pt x="48" y="249"/>
                    </a:lnTo>
                    <a:lnTo>
                      <a:pt x="42" y="249"/>
                    </a:lnTo>
                    <a:close/>
                    <a:moveTo>
                      <a:pt x="153" y="27"/>
                    </a:moveTo>
                    <a:lnTo>
                      <a:pt x="153" y="27"/>
                    </a:lnTo>
                    <a:lnTo>
                      <a:pt x="149" y="27"/>
                    </a:lnTo>
                    <a:lnTo>
                      <a:pt x="144" y="28"/>
                    </a:lnTo>
                    <a:lnTo>
                      <a:pt x="140" y="32"/>
                    </a:lnTo>
                    <a:lnTo>
                      <a:pt x="136" y="34"/>
                    </a:lnTo>
                    <a:lnTo>
                      <a:pt x="125" y="43"/>
                    </a:lnTo>
                    <a:lnTo>
                      <a:pt x="115" y="54"/>
                    </a:lnTo>
                    <a:lnTo>
                      <a:pt x="109" y="63"/>
                    </a:lnTo>
                    <a:lnTo>
                      <a:pt x="101" y="72"/>
                    </a:lnTo>
                    <a:lnTo>
                      <a:pt x="77" y="102"/>
                    </a:lnTo>
                    <a:lnTo>
                      <a:pt x="54" y="135"/>
                    </a:lnTo>
                    <a:lnTo>
                      <a:pt x="43" y="153"/>
                    </a:lnTo>
                    <a:lnTo>
                      <a:pt x="34" y="169"/>
                    </a:lnTo>
                    <a:lnTo>
                      <a:pt x="31" y="176"/>
                    </a:lnTo>
                    <a:lnTo>
                      <a:pt x="29" y="184"/>
                    </a:lnTo>
                    <a:lnTo>
                      <a:pt x="28" y="190"/>
                    </a:lnTo>
                    <a:lnTo>
                      <a:pt x="27" y="197"/>
                    </a:lnTo>
                    <a:lnTo>
                      <a:pt x="28" y="204"/>
                    </a:lnTo>
                    <a:lnTo>
                      <a:pt x="29" y="211"/>
                    </a:lnTo>
                    <a:lnTo>
                      <a:pt x="31" y="215"/>
                    </a:lnTo>
                    <a:lnTo>
                      <a:pt x="33" y="218"/>
                    </a:lnTo>
                    <a:lnTo>
                      <a:pt x="37" y="222"/>
                    </a:lnTo>
                    <a:lnTo>
                      <a:pt x="42" y="222"/>
                    </a:lnTo>
                    <a:lnTo>
                      <a:pt x="42" y="222"/>
                    </a:lnTo>
                    <a:lnTo>
                      <a:pt x="42" y="222"/>
                    </a:lnTo>
                    <a:lnTo>
                      <a:pt x="50" y="221"/>
                    </a:lnTo>
                    <a:lnTo>
                      <a:pt x="61" y="216"/>
                    </a:lnTo>
                    <a:lnTo>
                      <a:pt x="72" y="210"/>
                    </a:lnTo>
                    <a:lnTo>
                      <a:pt x="84" y="201"/>
                    </a:lnTo>
                    <a:lnTo>
                      <a:pt x="95" y="190"/>
                    </a:lnTo>
                    <a:lnTo>
                      <a:pt x="107" y="179"/>
                    </a:lnTo>
                    <a:lnTo>
                      <a:pt x="117" y="164"/>
                    </a:lnTo>
                    <a:lnTo>
                      <a:pt x="127" y="148"/>
                    </a:lnTo>
                    <a:lnTo>
                      <a:pt x="130" y="143"/>
                    </a:lnTo>
                    <a:lnTo>
                      <a:pt x="145" y="116"/>
                    </a:lnTo>
                    <a:lnTo>
                      <a:pt x="157" y="94"/>
                    </a:lnTo>
                    <a:lnTo>
                      <a:pt x="166" y="77"/>
                    </a:lnTo>
                    <a:lnTo>
                      <a:pt x="171" y="64"/>
                    </a:lnTo>
                    <a:lnTo>
                      <a:pt x="172" y="59"/>
                    </a:lnTo>
                    <a:lnTo>
                      <a:pt x="173" y="54"/>
                    </a:lnTo>
                    <a:lnTo>
                      <a:pt x="173" y="50"/>
                    </a:lnTo>
                    <a:lnTo>
                      <a:pt x="173" y="46"/>
                    </a:lnTo>
                    <a:lnTo>
                      <a:pt x="170" y="39"/>
                    </a:lnTo>
                    <a:lnTo>
                      <a:pt x="166" y="34"/>
                    </a:lnTo>
                    <a:lnTo>
                      <a:pt x="162" y="30"/>
                    </a:lnTo>
                    <a:lnTo>
                      <a:pt x="158" y="28"/>
                    </a:lnTo>
                    <a:lnTo>
                      <a:pt x="155" y="27"/>
                    </a:lnTo>
                    <a:lnTo>
                      <a:pt x="15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3"/>
              <p:cNvSpPr>
                <a:spLocks noEditPoints="1"/>
              </p:cNvSpPr>
              <p:nvPr userDrawn="1"/>
            </p:nvSpPr>
            <p:spPr bwMode="auto">
              <a:xfrm>
                <a:off x="2513" y="1753"/>
                <a:ext cx="45" cy="78"/>
              </a:xfrm>
              <a:custGeom>
                <a:avLst/>
                <a:gdLst>
                  <a:gd name="T0" fmla="*/ 46 w 136"/>
                  <a:gd name="T1" fmla="*/ 236 h 236"/>
                  <a:gd name="T2" fmla="*/ 29 w 136"/>
                  <a:gd name="T3" fmla="*/ 229 h 236"/>
                  <a:gd name="T4" fmla="*/ 15 w 136"/>
                  <a:gd name="T5" fmla="*/ 215 h 236"/>
                  <a:gd name="T6" fmla="*/ 4 w 136"/>
                  <a:gd name="T7" fmla="*/ 196 h 236"/>
                  <a:gd name="T8" fmla="*/ 0 w 136"/>
                  <a:gd name="T9" fmla="*/ 175 h 236"/>
                  <a:gd name="T10" fmla="*/ 2 w 136"/>
                  <a:gd name="T11" fmla="*/ 151 h 236"/>
                  <a:gd name="T12" fmla="*/ 11 w 136"/>
                  <a:gd name="T13" fmla="*/ 123 h 236"/>
                  <a:gd name="T14" fmla="*/ 24 w 136"/>
                  <a:gd name="T15" fmla="*/ 95 h 236"/>
                  <a:gd name="T16" fmla="*/ 46 w 136"/>
                  <a:gd name="T17" fmla="*/ 55 h 236"/>
                  <a:gd name="T18" fmla="*/ 70 w 136"/>
                  <a:gd name="T19" fmla="*/ 15 h 236"/>
                  <a:gd name="T20" fmla="*/ 79 w 136"/>
                  <a:gd name="T21" fmla="*/ 3 h 236"/>
                  <a:gd name="T22" fmla="*/ 83 w 136"/>
                  <a:gd name="T23" fmla="*/ 1 h 236"/>
                  <a:gd name="T24" fmla="*/ 92 w 136"/>
                  <a:gd name="T25" fmla="*/ 1 h 236"/>
                  <a:gd name="T26" fmla="*/ 106 w 136"/>
                  <a:gd name="T27" fmla="*/ 4 h 236"/>
                  <a:gd name="T28" fmla="*/ 116 w 136"/>
                  <a:gd name="T29" fmla="*/ 10 h 236"/>
                  <a:gd name="T30" fmla="*/ 124 w 136"/>
                  <a:gd name="T31" fmla="*/ 18 h 236"/>
                  <a:gd name="T32" fmla="*/ 131 w 136"/>
                  <a:gd name="T33" fmla="*/ 29 h 236"/>
                  <a:gd name="T34" fmla="*/ 134 w 136"/>
                  <a:gd name="T35" fmla="*/ 41 h 236"/>
                  <a:gd name="T36" fmla="*/ 136 w 136"/>
                  <a:gd name="T37" fmla="*/ 56 h 236"/>
                  <a:gd name="T38" fmla="*/ 135 w 136"/>
                  <a:gd name="T39" fmla="*/ 81 h 236"/>
                  <a:gd name="T40" fmla="*/ 130 w 136"/>
                  <a:gd name="T41" fmla="*/ 112 h 236"/>
                  <a:gd name="T42" fmla="*/ 117 w 136"/>
                  <a:gd name="T43" fmla="*/ 156 h 236"/>
                  <a:gd name="T44" fmla="*/ 101 w 136"/>
                  <a:gd name="T45" fmla="*/ 201 h 236"/>
                  <a:gd name="T46" fmla="*/ 92 w 136"/>
                  <a:gd name="T47" fmla="*/ 216 h 236"/>
                  <a:gd name="T48" fmla="*/ 82 w 136"/>
                  <a:gd name="T49" fmla="*/ 227 h 236"/>
                  <a:gd name="T50" fmla="*/ 69 w 136"/>
                  <a:gd name="T51" fmla="*/ 234 h 236"/>
                  <a:gd name="T52" fmla="*/ 55 w 136"/>
                  <a:gd name="T53" fmla="*/ 236 h 236"/>
                  <a:gd name="T54" fmla="*/ 94 w 136"/>
                  <a:gd name="T55" fmla="*/ 28 h 236"/>
                  <a:gd name="T56" fmla="*/ 69 w 136"/>
                  <a:gd name="T57" fmla="*/ 67 h 236"/>
                  <a:gd name="T58" fmla="*/ 47 w 136"/>
                  <a:gd name="T59" fmla="*/ 110 h 236"/>
                  <a:gd name="T60" fmla="*/ 30 w 136"/>
                  <a:gd name="T61" fmla="*/ 150 h 236"/>
                  <a:gd name="T62" fmla="*/ 27 w 136"/>
                  <a:gd name="T63" fmla="*/ 166 h 236"/>
                  <a:gd name="T64" fmla="*/ 27 w 136"/>
                  <a:gd name="T65" fmla="*/ 179 h 236"/>
                  <a:gd name="T66" fmla="*/ 33 w 136"/>
                  <a:gd name="T67" fmla="*/ 193 h 236"/>
                  <a:gd name="T68" fmla="*/ 40 w 136"/>
                  <a:gd name="T69" fmla="*/ 202 h 236"/>
                  <a:gd name="T70" fmla="*/ 48 w 136"/>
                  <a:gd name="T71" fmla="*/ 208 h 236"/>
                  <a:gd name="T72" fmla="*/ 55 w 136"/>
                  <a:gd name="T73" fmla="*/ 209 h 236"/>
                  <a:gd name="T74" fmla="*/ 61 w 136"/>
                  <a:gd name="T75" fmla="*/ 208 h 236"/>
                  <a:gd name="T76" fmla="*/ 66 w 136"/>
                  <a:gd name="T77" fmla="*/ 205 h 236"/>
                  <a:gd name="T78" fmla="*/ 75 w 136"/>
                  <a:gd name="T79" fmla="*/ 191 h 236"/>
                  <a:gd name="T80" fmla="*/ 91 w 136"/>
                  <a:gd name="T81" fmla="*/ 148 h 236"/>
                  <a:gd name="T82" fmla="*/ 104 w 136"/>
                  <a:gd name="T83" fmla="*/ 108 h 236"/>
                  <a:gd name="T84" fmla="*/ 108 w 136"/>
                  <a:gd name="T85" fmla="*/ 79 h 236"/>
                  <a:gd name="T86" fmla="*/ 109 w 136"/>
                  <a:gd name="T87" fmla="*/ 53 h 236"/>
                  <a:gd name="T88" fmla="*/ 105 w 136"/>
                  <a:gd name="T89" fmla="*/ 38 h 236"/>
                  <a:gd name="T90" fmla="*/ 97 w 136"/>
                  <a:gd name="T91" fmla="*/ 3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 h="236">
                    <a:moveTo>
                      <a:pt x="55" y="236"/>
                    </a:moveTo>
                    <a:lnTo>
                      <a:pt x="46" y="236"/>
                    </a:lnTo>
                    <a:lnTo>
                      <a:pt x="37" y="233"/>
                    </a:lnTo>
                    <a:lnTo>
                      <a:pt x="29" y="229"/>
                    </a:lnTo>
                    <a:lnTo>
                      <a:pt x="22" y="222"/>
                    </a:lnTo>
                    <a:lnTo>
                      <a:pt x="15" y="215"/>
                    </a:lnTo>
                    <a:lnTo>
                      <a:pt x="10" y="206"/>
                    </a:lnTo>
                    <a:lnTo>
                      <a:pt x="4" y="196"/>
                    </a:lnTo>
                    <a:lnTo>
                      <a:pt x="1" y="186"/>
                    </a:lnTo>
                    <a:lnTo>
                      <a:pt x="0" y="175"/>
                    </a:lnTo>
                    <a:lnTo>
                      <a:pt x="0" y="163"/>
                    </a:lnTo>
                    <a:lnTo>
                      <a:pt x="2" y="151"/>
                    </a:lnTo>
                    <a:lnTo>
                      <a:pt x="7" y="137"/>
                    </a:lnTo>
                    <a:lnTo>
                      <a:pt x="11" y="123"/>
                    </a:lnTo>
                    <a:lnTo>
                      <a:pt x="17" y="109"/>
                    </a:lnTo>
                    <a:lnTo>
                      <a:pt x="24" y="95"/>
                    </a:lnTo>
                    <a:lnTo>
                      <a:pt x="30" y="81"/>
                    </a:lnTo>
                    <a:lnTo>
                      <a:pt x="46" y="55"/>
                    </a:lnTo>
                    <a:lnTo>
                      <a:pt x="60" y="32"/>
                    </a:lnTo>
                    <a:lnTo>
                      <a:pt x="70" y="15"/>
                    </a:lnTo>
                    <a:lnTo>
                      <a:pt x="77" y="6"/>
                    </a:lnTo>
                    <a:lnTo>
                      <a:pt x="79" y="3"/>
                    </a:lnTo>
                    <a:lnTo>
                      <a:pt x="81" y="2"/>
                    </a:lnTo>
                    <a:lnTo>
                      <a:pt x="83" y="1"/>
                    </a:lnTo>
                    <a:lnTo>
                      <a:pt x="87" y="0"/>
                    </a:lnTo>
                    <a:lnTo>
                      <a:pt x="92" y="1"/>
                    </a:lnTo>
                    <a:lnTo>
                      <a:pt x="101" y="2"/>
                    </a:lnTo>
                    <a:lnTo>
                      <a:pt x="106" y="4"/>
                    </a:lnTo>
                    <a:lnTo>
                      <a:pt x="110" y="6"/>
                    </a:lnTo>
                    <a:lnTo>
                      <a:pt x="116" y="10"/>
                    </a:lnTo>
                    <a:lnTo>
                      <a:pt x="121" y="14"/>
                    </a:lnTo>
                    <a:lnTo>
                      <a:pt x="124" y="18"/>
                    </a:lnTo>
                    <a:lnTo>
                      <a:pt x="128" y="24"/>
                    </a:lnTo>
                    <a:lnTo>
                      <a:pt x="131" y="29"/>
                    </a:lnTo>
                    <a:lnTo>
                      <a:pt x="133" y="34"/>
                    </a:lnTo>
                    <a:lnTo>
                      <a:pt x="134" y="41"/>
                    </a:lnTo>
                    <a:lnTo>
                      <a:pt x="135" y="48"/>
                    </a:lnTo>
                    <a:lnTo>
                      <a:pt x="136" y="56"/>
                    </a:lnTo>
                    <a:lnTo>
                      <a:pt x="136" y="64"/>
                    </a:lnTo>
                    <a:lnTo>
                      <a:pt x="135" y="81"/>
                    </a:lnTo>
                    <a:lnTo>
                      <a:pt x="133" y="97"/>
                    </a:lnTo>
                    <a:lnTo>
                      <a:pt x="130" y="112"/>
                    </a:lnTo>
                    <a:lnTo>
                      <a:pt x="127" y="127"/>
                    </a:lnTo>
                    <a:lnTo>
                      <a:pt x="117" y="156"/>
                    </a:lnTo>
                    <a:lnTo>
                      <a:pt x="107" y="183"/>
                    </a:lnTo>
                    <a:lnTo>
                      <a:pt x="101" y="201"/>
                    </a:lnTo>
                    <a:lnTo>
                      <a:pt x="96" y="208"/>
                    </a:lnTo>
                    <a:lnTo>
                      <a:pt x="92" y="216"/>
                    </a:lnTo>
                    <a:lnTo>
                      <a:pt x="88" y="222"/>
                    </a:lnTo>
                    <a:lnTo>
                      <a:pt x="82" y="227"/>
                    </a:lnTo>
                    <a:lnTo>
                      <a:pt x="76" y="231"/>
                    </a:lnTo>
                    <a:lnTo>
                      <a:pt x="69" y="234"/>
                    </a:lnTo>
                    <a:lnTo>
                      <a:pt x="62" y="236"/>
                    </a:lnTo>
                    <a:lnTo>
                      <a:pt x="55" y="236"/>
                    </a:lnTo>
                    <a:close/>
                    <a:moveTo>
                      <a:pt x="94" y="28"/>
                    </a:moveTo>
                    <a:lnTo>
                      <a:pt x="94" y="28"/>
                    </a:lnTo>
                    <a:lnTo>
                      <a:pt x="82" y="46"/>
                    </a:lnTo>
                    <a:lnTo>
                      <a:pt x="69" y="67"/>
                    </a:lnTo>
                    <a:lnTo>
                      <a:pt x="57" y="88"/>
                    </a:lnTo>
                    <a:lnTo>
                      <a:pt x="47" y="110"/>
                    </a:lnTo>
                    <a:lnTo>
                      <a:pt x="37" y="131"/>
                    </a:lnTo>
                    <a:lnTo>
                      <a:pt x="30" y="150"/>
                    </a:lnTo>
                    <a:lnTo>
                      <a:pt x="28" y="159"/>
                    </a:lnTo>
                    <a:lnTo>
                      <a:pt x="27" y="166"/>
                    </a:lnTo>
                    <a:lnTo>
                      <a:pt x="27" y="173"/>
                    </a:lnTo>
                    <a:lnTo>
                      <a:pt x="27" y="179"/>
                    </a:lnTo>
                    <a:lnTo>
                      <a:pt x="30" y="187"/>
                    </a:lnTo>
                    <a:lnTo>
                      <a:pt x="33" y="193"/>
                    </a:lnTo>
                    <a:lnTo>
                      <a:pt x="36" y="199"/>
                    </a:lnTo>
                    <a:lnTo>
                      <a:pt x="40" y="202"/>
                    </a:lnTo>
                    <a:lnTo>
                      <a:pt x="43" y="206"/>
                    </a:lnTo>
                    <a:lnTo>
                      <a:pt x="48" y="208"/>
                    </a:lnTo>
                    <a:lnTo>
                      <a:pt x="51" y="209"/>
                    </a:lnTo>
                    <a:lnTo>
                      <a:pt x="55" y="209"/>
                    </a:lnTo>
                    <a:lnTo>
                      <a:pt x="58" y="209"/>
                    </a:lnTo>
                    <a:lnTo>
                      <a:pt x="61" y="208"/>
                    </a:lnTo>
                    <a:lnTo>
                      <a:pt x="64" y="207"/>
                    </a:lnTo>
                    <a:lnTo>
                      <a:pt x="66" y="205"/>
                    </a:lnTo>
                    <a:lnTo>
                      <a:pt x="71" y="199"/>
                    </a:lnTo>
                    <a:lnTo>
                      <a:pt x="75" y="191"/>
                    </a:lnTo>
                    <a:lnTo>
                      <a:pt x="81" y="174"/>
                    </a:lnTo>
                    <a:lnTo>
                      <a:pt x="91" y="148"/>
                    </a:lnTo>
                    <a:lnTo>
                      <a:pt x="100" y="122"/>
                    </a:lnTo>
                    <a:lnTo>
                      <a:pt x="104" y="108"/>
                    </a:lnTo>
                    <a:lnTo>
                      <a:pt x="106" y="93"/>
                    </a:lnTo>
                    <a:lnTo>
                      <a:pt x="108" y="79"/>
                    </a:lnTo>
                    <a:lnTo>
                      <a:pt x="109" y="63"/>
                    </a:lnTo>
                    <a:lnTo>
                      <a:pt x="109" y="53"/>
                    </a:lnTo>
                    <a:lnTo>
                      <a:pt x="107" y="45"/>
                    </a:lnTo>
                    <a:lnTo>
                      <a:pt x="105" y="38"/>
                    </a:lnTo>
                    <a:lnTo>
                      <a:pt x="102" y="32"/>
                    </a:lnTo>
                    <a:lnTo>
                      <a:pt x="97" y="30"/>
                    </a:lnTo>
                    <a:lnTo>
                      <a:pt x="9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4"/>
              <p:cNvSpPr>
                <a:spLocks noEditPoints="1"/>
              </p:cNvSpPr>
              <p:nvPr userDrawn="1"/>
            </p:nvSpPr>
            <p:spPr bwMode="auto">
              <a:xfrm>
                <a:off x="2376" y="1868"/>
                <a:ext cx="239" cy="93"/>
              </a:xfrm>
              <a:custGeom>
                <a:avLst/>
                <a:gdLst>
                  <a:gd name="T0" fmla="*/ 17 w 718"/>
                  <a:gd name="T1" fmla="*/ 277 h 278"/>
                  <a:gd name="T2" fmla="*/ 7 w 718"/>
                  <a:gd name="T3" fmla="*/ 270 h 278"/>
                  <a:gd name="T4" fmla="*/ 1 w 718"/>
                  <a:gd name="T5" fmla="*/ 261 h 278"/>
                  <a:gd name="T6" fmla="*/ 0 w 718"/>
                  <a:gd name="T7" fmla="*/ 249 h 278"/>
                  <a:gd name="T8" fmla="*/ 4 w 718"/>
                  <a:gd name="T9" fmla="*/ 239 h 278"/>
                  <a:gd name="T10" fmla="*/ 30 w 718"/>
                  <a:gd name="T11" fmla="*/ 215 h 278"/>
                  <a:gd name="T12" fmla="*/ 100 w 718"/>
                  <a:gd name="T13" fmla="*/ 157 h 278"/>
                  <a:gd name="T14" fmla="*/ 172 w 718"/>
                  <a:gd name="T15" fmla="*/ 95 h 278"/>
                  <a:gd name="T16" fmla="*/ 215 w 718"/>
                  <a:gd name="T17" fmla="*/ 59 h 278"/>
                  <a:gd name="T18" fmla="*/ 250 w 718"/>
                  <a:gd name="T19" fmla="*/ 36 h 278"/>
                  <a:gd name="T20" fmla="*/ 289 w 718"/>
                  <a:gd name="T21" fmla="*/ 20 h 278"/>
                  <a:gd name="T22" fmla="*/ 330 w 718"/>
                  <a:gd name="T23" fmla="*/ 8 h 278"/>
                  <a:gd name="T24" fmla="*/ 376 w 718"/>
                  <a:gd name="T25" fmla="*/ 2 h 278"/>
                  <a:gd name="T26" fmla="*/ 436 w 718"/>
                  <a:gd name="T27" fmla="*/ 2 h 278"/>
                  <a:gd name="T28" fmla="*/ 537 w 718"/>
                  <a:gd name="T29" fmla="*/ 13 h 278"/>
                  <a:gd name="T30" fmla="*/ 584 w 718"/>
                  <a:gd name="T31" fmla="*/ 27 h 278"/>
                  <a:gd name="T32" fmla="*/ 622 w 718"/>
                  <a:gd name="T33" fmla="*/ 50 h 278"/>
                  <a:gd name="T34" fmla="*/ 653 w 718"/>
                  <a:gd name="T35" fmla="*/ 85 h 278"/>
                  <a:gd name="T36" fmla="*/ 680 w 718"/>
                  <a:gd name="T37" fmla="*/ 129 h 278"/>
                  <a:gd name="T38" fmla="*/ 706 w 718"/>
                  <a:gd name="T39" fmla="*/ 187 h 278"/>
                  <a:gd name="T40" fmla="*/ 718 w 718"/>
                  <a:gd name="T41" fmla="*/ 217 h 278"/>
                  <a:gd name="T42" fmla="*/ 709 w 718"/>
                  <a:gd name="T43" fmla="*/ 229 h 278"/>
                  <a:gd name="T44" fmla="*/ 701 w 718"/>
                  <a:gd name="T45" fmla="*/ 230 h 278"/>
                  <a:gd name="T46" fmla="*/ 646 w 718"/>
                  <a:gd name="T47" fmla="*/ 214 h 278"/>
                  <a:gd name="T48" fmla="*/ 590 w 718"/>
                  <a:gd name="T49" fmla="*/ 195 h 278"/>
                  <a:gd name="T50" fmla="*/ 522 w 718"/>
                  <a:gd name="T51" fmla="*/ 180 h 278"/>
                  <a:gd name="T52" fmla="*/ 425 w 718"/>
                  <a:gd name="T53" fmla="*/ 172 h 278"/>
                  <a:gd name="T54" fmla="*/ 404 w 718"/>
                  <a:gd name="T55" fmla="*/ 173 h 278"/>
                  <a:gd name="T56" fmla="*/ 331 w 718"/>
                  <a:gd name="T57" fmla="*/ 183 h 278"/>
                  <a:gd name="T58" fmla="*/ 253 w 718"/>
                  <a:gd name="T59" fmla="*/ 202 h 278"/>
                  <a:gd name="T60" fmla="*/ 122 w 718"/>
                  <a:gd name="T61" fmla="*/ 243 h 278"/>
                  <a:gd name="T62" fmla="*/ 29 w 718"/>
                  <a:gd name="T63" fmla="*/ 277 h 278"/>
                  <a:gd name="T64" fmla="*/ 408 w 718"/>
                  <a:gd name="T65" fmla="*/ 27 h 278"/>
                  <a:gd name="T66" fmla="*/ 364 w 718"/>
                  <a:gd name="T67" fmla="*/ 31 h 278"/>
                  <a:gd name="T68" fmla="*/ 324 w 718"/>
                  <a:gd name="T69" fmla="*/ 37 h 278"/>
                  <a:gd name="T70" fmla="*/ 287 w 718"/>
                  <a:gd name="T71" fmla="*/ 49 h 278"/>
                  <a:gd name="T72" fmla="*/ 253 w 718"/>
                  <a:gd name="T73" fmla="*/ 66 h 278"/>
                  <a:gd name="T74" fmla="*/ 221 w 718"/>
                  <a:gd name="T75" fmla="*/ 88 h 278"/>
                  <a:gd name="T76" fmla="*/ 168 w 718"/>
                  <a:gd name="T77" fmla="*/ 134 h 278"/>
                  <a:gd name="T78" fmla="*/ 99 w 718"/>
                  <a:gd name="T79" fmla="*/ 193 h 278"/>
                  <a:gd name="T80" fmla="*/ 34 w 718"/>
                  <a:gd name="T81" fmla="*/ 247 h 278"/>
                  <a:gd name="T82" fmla="*/ 174 w 718"/>
                  <a:gd name="T83" fmla="*/ 197 h 278"/>
                  <a:gd name="T84" fmla="*/ 280 w 718"/>
                  <a:gd name="T85" fmla="*/ 167 h 278"/>
                  <a:gd name="T86" fmla="*/ 355 w 718"/>
                  <a:gd name="T87" fmla="*/ 152 h 278"/>
                  <a:gd name="T88" fmla="*/ 422 w 718"/>
                  <a:gd name="T89" fmla="*/ 145 h 278"/>
                  <a:gd name="T90" fmla="*/ 498 w 718"/>
                  <a:gd name="T91" fmla="*/ 149 h 278"/>
                  <a:gd name="T92" fmla="*/ 578 w 718"/>
                  <a:gd name="T93" fmla="*/ 163 h 278"/>
                  <a:gd name="T94" fmla="*/ 638 w 718"/>
                  <a:gd name="T95" fmla="*/ 183 h 278"/>
                  <a:gd name="T96" fmla="*/ 670 w 718"/>
                  <a:gd name="T97" fmla="*/ 194 h 278"/>
                  <a:gd name="T98" fmla="*/ 651 w 718"/>
                  <a:gd name="T99" fmla="*/ 131 h 278"/>
                  <a:gd name="T100" fmla="*/ 627 w 718"/>
                  <a:gd name="T101" fmla="*/ 94 h 278"/>
                  <a:gd name="T102" fmla="*/ 601 w 718"/>
                  <a:gd name="T103" fmla="*/ 68 h 278"/>
                  <a:gd name="T104" fmla="*/ 570 w 718"/>
                  <a:gd name="T105" fmla="*/ 51 h 278"/>
                  <a:gd name="T106" fmla="*/ 532 w 718"/>
                  <a:gd name="T107" fmla="*/ 40 h 278"/>
                  <a:gd name="T108" fmla="*/ 435 w 718"/>
                  <a:gd name="T109" fmla="*/ 2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278">
                    <a:moveTo>
                      <a:pt x="25" y="278"/>
                    </a:moveTo>
                    <a:lnTo>
                      <a:pt x="20" y="277"/>
                    </a:lnTo>
                    <a:lnTo>
                      <a:pt x="17" y="277"/>
                    </a:lnTo>
                    <a:lnTo>
                      <a:pt x="14" y="275"/>
                    </a:lnTo>
                    <a:lnTo>
                      <a:pt x="11" y="272"/>
                    </a:lnTo>
                    <a:lnTo>
                      <a:pt x="7" y="270"/>
                    </a:lnTo>
                    <a:lnTo>
                      <a:pt x="5" y="267"/>
                    </a:lnTo>
                    <a:lnTo>
                      <a:pt x="3" y="264"/>
                    </a:lnTo>
                    <a:lnTo>
                      <a:pt x="1" y="261"/>
                    </a:lnTo>
                    <a:lnTo>
                      <a:pt x="0" y="257"/>
                    </a:lnTo>
                    <a:lnTo>
                      <a:pt x="0" y="253"/>
                    </a:lnTo>
                    <a:lnTo>
                      <a:pt x="0" y="249"/>
                    </a:lnTo>
                    <a:lnTo>
                      <a:pt x="1" y="245"/>
                    </a:lnTo>
                    <a:lnTo>
                      <a:pt x="2" y="242"/>
                    </a:lnTo>
                    <a:lnTo>
                      <a:pt x="4" y="239"/>
                    </a:lnTo>
                    <a:lnTo>
                      <a:pt x="6" y="236"/>
                    </a:lnTo>
                    <a:lnTo>
                      <a:pt x="8" y="233"/>
                    </a:lnTo>
                    <a:lnTo>
                      <a:pt x="30" y="215"/>
                    </a:lnTo>
                    <a:lnTo>
                      <a:pt x="53" y="197"/>
                    </a:lnTo>
                    <a:lnTo>
                      <a:pt x="75" y="177"/>
                    </a:lnTo>
                    <a:lnTo>
                      <a:pt x="100" y="157"/>
                    </a:lnTo>
                    <a:lnTo>
                      <a:pt x="124" y="136"/>
                    </a:lnTo>
                    <a:lnTo>
                      <a:pt x="148" y="116"/>
                    </a:lnTo>
                    <a:lnTo>
                      <a:pt x="172" y="95"/>
                    </a:lnTo>
                    <a:lnTo>
                      <a:pt x="193" y="76"/>
                    </a:lnTo>
                    <a:lnTo>
                      <a:pt x="204" y="67"/>
                    </a:lnTo>
                    <a:lnTo>
                      <a:pt x="215" y="59"/>
                    </a:lnTo>
                    <a:lnTo>
                      <a:pt x="227" y="50"/>
                    </a:lnTo>
                    <a:lnTo>
                      <a:pt x="238" y="43"/>
                    </a:lnTo>
                    <a:lnTo>
                      <a:pt x="250" y="36"/>
                    </a:lnTo>
                    <a:lnTo>
                      <a:pt x="263" y="30"/>
                    </a:lnTo>
                    <a:lnTo>
                      <a:pt x="276" y="24"/>
                    </a:lnTo>
                    <a:lnTo>
                      <a:pt x="289" y="20"/>
                    </a:lnTo>
                    <a:lnTo>
                      <a:pt x="302" y="14"/>
                    </a:lnTo>
                    <a:lnTo>
                      <a:pt x="316" y="11"/>
                    </a:lnTo>
                    <a:lnTo>
                      <a:pt x="330" y="8"/>
                    </a:lnTo>
                    <a:lnTo>
                      <a:pt x="345" y="6"/>
                    </a:lnTo>
                    <a:lnTo>
                      <a:pt x="360" y="4"/>
                    </a:lnTo>
                    <a:lnTo>
                      <a:pt x="376" y="2"/>
                    </a:lnTo>
                    <a:lnTo>
                      <a:pt x="392" y="2"/>
                    </a:lnTo>
                    <a:lnTo>
                      <a:pt x="408" y="0"/>
                    </a:lnTo>
                    <a:lnTo>
                      <a:pt x="436" y="2"/>
                    </a:lnTo>
                    <a:lnTo>
                      <a:pt x="466" y="4"/>
                    </a:lnTo>
                    <a:lnTo>
                      <a:pt x="500" y="8"/>
                    </a:lnTo>
                    <a:lnTo>
                      <a:pt x="537" y="13"/>
                    </a:lnTo>
                    <a:lnTo>
                      <a:pt x="553" y="18"/>
                    </a:lnTo>
                    <a:lnTo>
                      <a:pt x="569" y="22"/>
                    </a:lnTo>
                    <a:lnTo>
                      <a:pt x="584" y="27"/>
                    </a:lnTo>
                    <a:lnTo>
                      <a:pt x="597" y="34"/>
                    </a:lnTo>
                    <a:lnTo>
                      <a:pt x="610" y="41"/>
                    </a:lnTo>
                    <a:lnTo>
                      <a:pt x="622" y="50"/>
                    </a:lnTo>
                    <a:lnTo>
                      <a:pt x="633" y="61"/>
                    </a:lnTo>
                    <a:lnTo>
                      <a:pt x="643" y="72"/>
                    </a:lnTo>
                    <a:lnTo>
                      <a:pt x="653" y="85"/>
                    </a:lnTo>
                    <a:lnTo>
                      <a:pt x="663" y="98"/>
                    </a:lnTo>
                    <a:lnTo>
                      <a:pt x="671" y="113"/>
                    </a:lnTo>
                    <a:lnTo>
                      <a:pt x="680" y="129"/>
                    </a:lnTo>
                    <a:lnTo>
                      <a:pt x="689" y="147"/>
                    </a:lnTo>
                    <a:lnTo>
                      <a:pt x="697" y="167"/>
                    </a:lnTo>
                    <a:lnTo>
                      <a:pt x="706" y="187"/>
                    </a:lnTo>
                    <a:lnTo>
                      <a:pt x="716" y="209"/>
                    </a:lnTo>
                    <a:lnTo>
                      <a:pt x="718" y="213"/>
                    </a:lnTo>
                    <a:lnTo>
                      <a:pt x="718" y="217"/>
                    </a:lnTo>
                    <a:lnTo>
                      <a:pt x="717" y="223"/>
                    </a:lnTo>
                    <a:lnTo>
                      <a:pt x="714" y="227"/>
                    </a:lnTo>
                    <a:lnTo>
                      <a:pt x="709" y="229"/>
                    </a:lnTo>
                    <a:lnTo>
                      <a:pt x="704" y="230"/>
                    </a:lnTo>
                    <a:lnTo>
                      <a:pt x="703" y="230"/>
                    </a:lnTo>
                    <a:lnTo>
                      <a:pt x="701" y="230"/>
                    </a:lnTo>
                    <a:lnTo>
                      <a:pt x="681" y="225"/>
                    </a:lnTo>
                    <a:lnTo>
                      <a:pt x="663" y="220"/>
                    </a:lnTo>
                    <a:lnTo>
                      <a:pt x="646" y="214"/>
                    </a:lnTo>
                    <a:lnTo>
                      <a:pt x="629" y="208"/>
                    </a:lnTo>
                    <a:lnTo>
                      <a:pt x="610" y="201"/>
                    </a:lnTo>
                    <a:lnTo>
                      <a:pt x="590" y="195"/>
                    </a:lnTo>
                    <a:lnTo>
                      <a:pt x="570" y="189"/>
                    </a:lnTo>
                    <a:lnTo>
                      <a:pt x="547" y="184"/>
                    </a:lnTo>
                    <a:lnTo>
                      <a:pt x="522" y="180"/>
                    </a:lnTo>
                    <a:lnTo>
                      <a:pt x="494" y="175"/>
                    </a:lnTo>
                    <a:lnTo>
                      <a:pt x="462" y="173"/>
                    </a:lnTo>
                    <a:lnTo>
                      <a:pt x="425" y="172"/>
                    </a:lnTo>
                    <a:lnTo>
                      <a:pt x="425" y="172"/>
                    </a:lnTo>
                    <a:lnTo>
                      <a:pt x="425" y="172"/>
                    </a:lnTo>
                    <a:lnTo>
                      <a:pt x="404" y="173"/>
                    </a:lnTo>
                    <a:lnTo>
                      <a:pt x="381" y="175"/>
                    </a:lnTo>
                    <a:lnTo>
                      <a:pt x="356" y="179"/>
                    </a:lnTo>
                    <a:lnTo>
                      <a:pt x="331" y="183"/>
                    </a:lnTo>
                    <a:lnTo>
                      <a:pt x="305" y="188"/>
                    </a:lnTo>
                    <a:lnTo>
                      <a:pt x="280" y="195"/>
                    </a:lnTo>
                    <a:lnTo>
                      <a:pt x="253" y="202"/>
                    </a:lnTo>
                    <a:lnTo>
                      <a:pt x="226" y="210"/>
                    </a:lnTo>
                    <a:lnTo>
                      <a:pt x="173" y="226"/>
                    </a:lnTo>
                    <a:lnTo>
                      <a:pt x="122" y="243"/>
                    </a:lnTo>
                    <a:lnTo>
                      <a:pt x="74" y="261"/>
                    </a:lnTo>
                    <a:lnTo>
                      <a:pt x="34" y="276"/>
                    </a:lnTo>
                    <a:lnTo>
                      <a:pt x="29" y="277"/>
                    </a:lnTo>
                    <a:lnTo>
                      <a:pt x="25" y="278"/>
                    </a:lnTo>
                    <a:close/>
                    <a:moveTo>
                      <a:pt x="408" y="27"/>
                    </a:moveTo>
                    <a:lnTo>
                      <a:pt x="408" y="27"/>
                    </a:lnTo>
                    <a:lnTo>
                      <a:pt x="393" y="29"/>
                    </a:lnTo>
                    <a:lnTo>
                      <a:pt x="378" y="29"/>
                    </a:lnTo>
                    <a:lnTo>
                      <a:pt x="364" y="31"/>
                    </a:lnTo>
                    <a:lnTo>
                      <a:pt x="350" y="32"/>
                    </a:lnTo>
                    <a:lnTo>
                      <a:pt x="337" y="34"/>
                    </a:lnTo>
                    <a:lnTo>
                      <a:pt x="324" y="37"/>
                    </a:lnTo>
                    <a:lnTo>
                      <a:pt x="311" y="40"/>
                    </a:lnTo>
                    <a:lnTo>
                      <a:pt x="299" y="45"/>
                    </a:lnTo>
                    <a:lnTo>
                      <a:pt x="287" y="49"/>
                    </a:lnTo>
                    <a:lnTo>
                      <a:pt x="275" y="54"/>
                    </a:lnTo>
                    <a:lnTo>
                      <a:pt x="263" y="60"/>
                    </a:lnTo>
                    <a:lnTo>
                      <a:pt x="253" y="66"/>
                    </a:lnTo>
                    <a:lnTo>
                      <a:pt x="242" y="73"/>
                    </a:lnTo>
                    <a:lnTo>
                      <a:pt x="231" y="80"/>
                    </a:lnTo>
                    <a:lnTo>
                      <a:pt x="221" y="88"/>
                    </a:lnTo>
                    <a:lnTo>
                      <a:pt x="210" y="97"/>
                    </a:lnTo>
                    <a:lnTo>
                      <a:pt x="190" y="115"/>
                    </a:lnTo>
                    <a:lnTo>
                      <a:pt x="168" y="134"/>
                    </a:lnTo>
                    <a:lnTo>
                      <a:pt x="146" y="154"/>
                    </a:lnTo>
                    <a:lnTo>
                      <a:pt x="123" y="173"/>
                    </a:lnTo>
                    <a:lnTo>
                      <a:pt x="99" y="193"/>
                    </a:lnTo>
                    <a:lnTo>
                      <a:pt x="77" y="212"/>
                    </a:lnTo>
                    <a:lnTo>
                      <a:pt x="55" y="229"/>
                    </a:lnTo>
                    <a:lnTo>
                      <a:pt x="34" y="247"/>
                    </a:lnTo>
                    <a:lnTo>
                      <a:pt x="77" y="231"/>
                    </a:lnTo>
                    <a:lnTo>
                      <a:pt x="123" y="214"/>
                    </a:lnTo>
                    <a:lnTo>
                      <a:pt x="174" y="197"/>
                    </a:lnTo>
                    <a:lnTo>
                      <a:pt x="227" y="181"/>
                    </a:lnTo>
                    <a:lnTo>
                      <a:pt x="253" y="173"/>
                    </a:lnTo>
                    <a:lnTo>
                      <a:pt x="280" y="167"/>
                    </a:lnTo>
                    <a:lnTo>
                      <a:pt x="305" y="161"/>
                    </a:lnTo>
                    <a:lnTo>
                      <a:pt x="330" y="156"/>
                    </a:lnTo>
                    <a:lnTo>
                      <a:pt x="355" y="152"/>
                    </a:lnTo>
                    <a:lnTo>
                      <a:pt x="379" y="148"/>
                    </a:lnTo>
                    <a:lnTo>
                      <a:pt x="402" y="146"/>
                    </a:lnTo>
                    <a:lnTo>
                      <a:pt x="422" y="145"/>
                    </a:lnTo>
                    <a:lnTo>
                      <a:pt x="425" y="145"/>
                    </a:lnTo>
                    <a:lnTo>
                      <a:pt x="464" y="146"/>
                    </a:lnTo>
                    <a:lnTo>
                      <a:pt x="498" y="149"/>
                    </a:lnTo>
                    <a:lnTo>
                      <a:pt x="528" y="153"/>
                    </a:lnTo>
                    <a:lnTo>
                      <a:pt x="554" y="158"/>
                    </a:lnTo>
                    <a:lnTo>
                      <a:pt x="578" y="163"/>
                    </a:lnTo>
                    <a:lnTo>
                      <a:pt x="599" y="169"/>
                    </a:lnTo>
                    <a:lnTo>
                      <a:pt x="619" y="176"/>
                    </a:lnTo>
                    <a:lnTo>
                      <a:pt x="638" y="183"/>
                    </a:lnTo>
                    <a:lnTo>
                      <a:pt x="649" y="186"/>
                    </a:lnTo>
                    <a:lnTo>
                      <a:pt x="660" y="189"/>
                    </a:lnTo>
                    <a:lnTo>
                      <a:pt x="670" y="194"/>
                    </a:lnTo>
                    <a:lnTo>
                      <a:pt x="681" y="197"/>
                    </a:lnTo>
                    <a:lnTo>
                      <a:pt x="666" y="161"/>
                    </a:lnTo>
                    <a:lnTo>
                      <a:pt x="651" y="131"/>
                    </a:lnTo>
                    <a:lnTo>
                      <a:pt x="643" y="118"/>
                    </a:lnTo>
                    <a:lnTo>
                      <a:pt x="636" y="105"/>
                    </a:lnTo>
                    <a:lnTo>
                      <a:pt x="627" y="94"/>
                    </a:lnTo>
                    <a:lnTo>
                      <a:pt x="619" y="85"/>
                    </a:lnTo>
                    <a:lnTo>
                      <a:pt x="610" y="76"/>
                    </a:lnTo>
                    <a:lnTo>
                      <a:pt x="601" y="68"/>
                    </a:lnTo>
                    <a:lnTo>
                      <a:pt x="592" y="62"/>
                    </a:lnTo>
                    <a:lnTo>
                      <a:pt x="581" y="55"/>
                    </a:lnTo>
                    <a:lnTo>
                      <a:pt x="570" y="51"/>
                    </a:lnTo>
                    <a:lnTo>
                      <a:pt x="558" y="47"/>
                    </a:lnTo>
                    <a:lnTo>
                      <a:pt x="545" y="44"/>
                    </a:lnTo>
                    <a:lnTo>
                      <a:pt x="532" y="40"/>
                    </a:lnTo>
                    <a:lnTo>
                      <a:pt x="497" y="35"/>
                    </a:lnTo>
                    <a:lnTo>
                      <a:pt x="464" y="31"/>
                    </a:lnTo>
                    <a:lnTo>
                      <a:pt x="435" y="29"/>
                    </a:lnTo>
                    <a:lnTo>
                      <a:pt x="40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65"/>
              <p:cNvSpPr>
                <a:spLocks noEditPoints="1"/>
              </p:cNvSpPr>
              <p:nvPr userDrawn="1"/>
            </p:nvSpPr>
            <p:spPr bwMode="auto">
              <a:xfrm>
                <a:off x="2455" y="1950"/>
                <a:ext cx="147" cy="61"/>
              </a:xfrm>
              <a:custGeom>
                <a:avLst/>
                <a:gdLst>
                  <a:gd name="T0" fmla="*/ 10 w 440"/>
                  <a:gd name="T1" fmla="*/ 183 h 183"/>
                  <a:gd name="T2" fmla="*/ 4 w 440"/>
                  <a:gd name="T3" fmla="*/ 179 h 183"/>
                  <a:gd name="T4" fmla="*/ 0 w 440"/>
                  <a:gd name="T5" fmla="*/ 172 h 183"/>
                  <a:gd name="T6" fmla="*/ 1 w 440"/>
                  <a:gd name="T7" fmla="*/ 160 h 183"/>
                  <a:gd name="T8" fmla="*/ 8 w 440"/>
                  <a:gd name="T9" fmla="*/ 143 h 183"/>
                  <a:gd name="T10" fmla="*/ 22 w 440"/>
                  <a:gd name="T11" fmla="*/ 115 h 183"/>
                  <a:gd name="T12" fmla="*/ 58 w 440"/>
                  <a:gd name="T13" fmla="*/ 67 h 183"/>
                  <a:gd name="T14" fmla="*/ 75 w 440"/>
                  <a:gd name="T15" fmla="*/ 48 h 183"/>
                  <a:gd name="T16" fmla="*/ 94 w 440"/>
                  <a:gd name="T17" fmla="*/ 34 h 183"/>
                  <a:gd name="T18" fmla="*/ 120 w 440"/>
                  <a:gd name="T19" fmla="*/ 20 h 183"/>
                  <a:gd name="T20" fmla="*/ 142 w 440"/>
                  <a:gd name="T21" fmla="*/ 11 h 183"/>
                  <a:gd name="T22" fmla="*/ 166 w 440"/>
                  <a:gd name="T23" fmla="*/ 5 h 183"/>
                  <a:gd name="T24" fmla="*/ 193 w 440"/>
                  <a:gd name="T25" fmla="*/ 2 h 183"/>
                  <a:gd name="T26" fmla="*/ 241 w 440"/>
                  <a:gd name="T27" fmla="*/ 0 h 183"/>
                  <a:gd name="T28" fmla="*/ 289 w 440"/>
                  <a:gd name="T29" fmla="*/ 4 h 183"/>
                  <a:gd name="T30" fmla="*/ 318 w 440"/>
                  <a:gd name="T31" fmla="*/ 8 h 183"/>
                  <a:gd name="T32" fmla="*/ 344 w 440"/>
                  <a:gd name="T33" fmla="*/ 15 h 183"/>
                  <a:gd name="T34" fmla="*/ 369 w 440"/>
                  <a:gd name="T35" fmla="*/ 24 h 183"/>
                  <a:gd name="T36" fmla="*/ 390 w 440"/>
                  <a:gd name="T37" fmla="*/ 37 h 183"/>
                  <a:gd name="T38" fmla="*/ 409 w 440"/>
                  <a:gd name="T39" fmla="*/ 56 h 183"/>
                  <a:gd name="T40" fmla="*/ 420 w 440"/>
                  <a:gd name="T41" fmla="*/ 74 h 183"/>
                  <a:gd name="T42" fmla="*/ 429 w 440"/>
                  <a:gd name="T43" fmla="*/ 94 h 183"/>
                  <a:gd name="T44" fmla="*/ 438 w 440"/>
                  <a:gd name="T45" fmla="*/ 131 h 183"/>
                  <a:gd name="T46" fmla="*/ 440 w 440"/>
                  <a:gd name="T47" fmla="*/ 155 h 183"/>
                  <a:gd name="T48" fmla="*/ 437 w 440"/>
                  <a:gd name="T49" fmla="*/ 160 h 183"/>
                  <a:gd name="T50" fmla="*/ 432 w 440"/>
                  <a:gd name="T51" fmla="*/ 165 h 183"/>
                  <a:gd name="T52" fmla="*/ 426 w 440"/>
                  <a:gd name="T53" fmla="*/ 166 h 183"/>
                  <a:gd name="T54" fmla="*/ 398 w 440"/>
                  <a:gd name="T55" fmla="*/ 158 h 183"/>
                  <a:gd name="T56" fmla="*/ 345 w 440"/>
                  <a:gd name="T57" fmla="*/ 147 h 183"/>
                  <a:gd name="T58" fmla="*/ 291 w 440"/>
                  <a:gd name="T59" fmla="*/ 141 h 183"/>
                  <a:gd name="T60" fmla="*/ 240 w 440"/>
                  <a:gd name="T61" fmla="*/ 139 h 183"/>
                  <a:gd name="T62" fmla="*/ 187 w 440"/>
                  <a:gd name="T63" fmla="*/ 143 h 183"/>
                  <a:gd name="T64" fmla="*/ 131 w 440"/>
                  <a:gd name="T65" fmla="*/ 151 h 183"/>
                  <a:gd name="T66" fmla="*/ 82 w 440"/>
                  <a:gd name="T67" fmla="*/ 161 h 183"/>
                  <a:gd name="T68" fmla="*/ 39 w 440"/>
                  <a:gd name="T69" fmla="*/ 174 h 183"/>
                  <a:gd name="T70" fmla="*/ 17 w 440"/>
                  <a:gd name="T71" fmla="*/ 183 h 183"/>
                  <a:gd name="T72" fmla="*/ 207 w 440"/>
                  <a:gd name="T73" fmla="*/ 27 h 183"/>
                  <a:gd name="T74" fmla="*/ 195 w 440"/>
                  <a:gd name="T75" fmla="*/ 29 h 183"/>
                  <a:gd name="T76" fmla="*/ 171 w 440"/>
                  <a:gd name="T77" fmla="*/ 32 h 183"/>
                  <a:gd name="T78" fmla="*/ 141 w 440"/>
                  <a:gd name="T79" fmla="*/ 41 h 183"/>
                  <a:gd name="T80" fmla="*/ 99 w 440"/>
                  <a:gd name="T81" fmla="*/ 64 h 183"/>
                  <a:gd name="T82" fmla="*/ 76 w 440"/>
                  <a:gd name="T83" fmla="*/ 87 h 183"/>
                  <a:gd name="T84" fmla="*/ 47 w 440"/>
                  <a:gd name="T85" fmla="*/ 127 h 183"/>
                  <a:gd name="T86" fmla="*/ 54 w 440"/>
                  <a:gd name="T87" fmla="*/ 141 h 183"/>
                  <a:gd name="T88" fmla="*/ 94 w 440"/>
                  <a:gd name="T89" fmla="*/ 130 h 183"/>
                  <a:gd name="T90" fmla="*/ 139 w 440"/>
                  <a:gd name="T91" fmla="*/ 121 h 183"/>
                  <a:gd name="T92" fmla="*/ 188 w 440"/>
                  <a:gd name="T93" fmla="*/ 115 h 183"/>
                  <a:gd name="T94" fmla="*/ 237 w 440"/>
                  <a:gd name="T95" fmla="*/ 112 h 183"/>
                  <a:gd name="T96" fmla="*/ 283 w 440"/>
                  <a:gd name="T97" fmla="*/ 113 h 183"/>
                  <a:gd name="T98" fmla="*/ 335 w 440"/>
                  <a:gd name="T99" fmla="*/ 118 h 183"/>
                  <a:gd name="T100" fmla="*/ 386 w 440"/>
                  <a:gd name="T101" fmla="*/ 128 h 183"/>
                  <a:gd name="T102" fmla="*/ 407 w 440"/>
                  <a:gd name="T103" fmla="*/ 118 h 183"/>
                  <a:gd name="T104" fmla="*/ 399 w 440"/>
                  <a:gd name="T105" fmla="*/ 90 h 183"/>
                  <a:gd name="T106" fmla="*/ 388 w 440"/>
                  <a:gd name="T107" fmla="*/ 73 h 183"/>
                  <a:gd name="T108" fmla="*/ 374 w 440"/>
                  <a:gd name="T109" fmla="*/ 60 h 183"/>
                  <a:gd name="T110" fmla="*/ 358 w 440"/>
                  <a:gd name="T111" fmla="*/ 49 h 183"/>
                  <a:gd name="T112" fmla="*/ 338 w 440"/>
                  <a:gd name="T113" fmla="*/ 40 h 183"/>
                  <a:gd name="T114" fmla="*/ 316 w 440"/>
                  <a:gd name="T115" fmla="*/ 35 h 183"/>
                  <a:gd name="T116" fmla="*/ 290 w 440"/>
                  <a:gd name="T117" fmla="*/ 31 h 183"/>
                  <a:gd name="T118" fmla="*/ 243 w 440"/>
                  <a:gd name="T119" fmla="*/ 2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0" h="183">
                    <a:moveTo>
                      <a:pt x="14" y="183"/>
                    </a:moveTo>
                    <a:lnTo>
                      <a:pt x="10" y="183"/>
                    </a:lnTo>
                    <a:lnTo>
                      <a:pt x="6" y="181"/>
                    </a:lnTo>
                    <a:lnTo>
                      <a:pt x="4" y="179"/>
                    </a:lnTo>
                    <a:lnTo>
                      <a:pt x="1" y="175"/>
                    </a:lnTo>
                    <a:lnTo>
                      <a:pt x="0" y="172"/>
                    </a:lnTo>
                    <a:lnTo>
                      <a:pt x="0" y="169"/>
                    </a:lnTo>
                    <a:lnTo>
                      <a:pt x="1" y="160"/>
                    </a:lnTo>
                    <a:lnTo>
                      <a:pt x="5" y="152"/>
                    </a:lnTo>
                    <a:lnTo>
                      <a:pt x="8" y="143"/>
                    </a:lnTo>
                    <a:lnTo>
                      <a:pt x="12" y="133"/>
                    </a:lnTo>
                    <a:lnTo>
                      <a:pt x="22" y="115"/>
                    </a:lnTo>
                    <a:lnTo>
                      <a:pt x="35" y="97"/>
                    </a:lnTo>
                    <a:lnTo>
                      <a:pt x="58" y="67"/>
                    </a:lnTo>
                    <a:lnTo>
                      <a:pt x="71" y="51"/>
                    </a:lnTo>
                    <a:lnTo>
                      <a:pt x="75" y="48"/>
                    </a:lnTo>
                    <a:lnTo>
                      <a:pt x="82" y="43"/>
                    </a:lnTo>
                    <a:lnTo>
                      <a:pt x="94" y="34"/>
                    </a:lnTo>
                    <a:lnTo>
                      <a:pt x="111" y="25"/>
                    </a:lnTo>
                    <a:lnTo>
                      <a:pt x="120" y="20"/>
                    </a:lnTo>
                    <a:lnTo>
                      <a:pt x="130" y="16"/>
                    </a:lnTo>
                    <a:lnTo>
                      <a:pt x="142" y="11"/>
                    </a:lnTo>
                    <a:lnTo>
                      <a:pt x="153" y="8"/>
                    </a:lnTo>
                    <a:lnTo>
                      <a:pt x="166" y="5"/>
                    </a:lnTo>
                    <a:lnTo>
                      <a:pt x="179" y="3"/>
                    </a:lnTo>
                    <a:lnTo>
                      <a:pt x="193" y="2"/>
                    </a:lnTo>
                    <a:lnTo>
                      <a:pt x="207" y="0"/>
                    </a:lnTo>
                    <a:lnTo>
                      <a:pt x="241" y="0"/>
                    </a:lnTo>
                    <a:lnTo>
                      <a:pt x="274" y="3"/>
                    </a:lnTo>
                    <a:lnTo>
                      <a:pt x="289" y="4"/>
                    </a:lnTo>
                    <a:lnTo>
                      <a:pt x="304" y="6"/>
                    </a:lnTo>
                    <a:lnTo>
                      <a:pt x="318" y="8"/>
                    </a:lnTo>
                    <a:lnTo>
                      <a:pt x="331" y="11"/>
                    </a:lnTo>
                    <a:lnTo>
                      <a:pt x="344" y="15"/>
                    </a:lnTo>
                    <a:lnTo>
                      <a:pt x="357" y="19"/>
                    </a:lnTo>
                    <a:lnTo>
                      <a:pt x="369" y="24"/>
                    </a:lnTo>
                    <a:lnTo>
                      <a:pt x="379" y="31"/>
                    </a:lnTo>
                    <a:lnTo>
                      <a:pt x="390" y="37"/>
                    </a:lnTo>
                    <a:lnTo>
                      <a:pt x="399" y="46"/>
                    </a:lnTo>
                    <a:lnTo>
                      <a:pt x="409" y="56"/>
                    </a:lnTo>
                    <a:lnTo>
                      <a:pt x="416" y="65"/>
                    </a:lnTo>
                    <a:lnTo>
                      <a:pt x="420" y="74"/>
                    </a:lnTo>
                    <a:lnTo>
                      <a:pt x="425" y="84"/>
                    </a:lnTo>
                    <a:lnTo>
                      <a:pt x="429" y="94"/>
                    </a:lnTo>
                    <a:lnTo>
                      <a:pt x="432" y="107"/>
                    </a:lnTo>
                    <a:lnTo>
                      <a:pt x="438" y="131"/>
                    </a:lnTo>
                    <a:lnTo>
                      <a:pt x="440" y="152"/>
                    </a:lnTo>
                    <a:lnTo>
                      <a:pt x="440" y="155"/>
                    </a:lnTo>
                    <a:lnTo>
                      <a:pt x="439" y="158"/>
                    </a:lnTo>
                    <a:lnTo>
                      <a:pt x="437" y="160"/>
                    </a:lnTo>
                    <a:lnTo>
                      <a:pt x="434" y="162"/>
                    </a:lnTo>
                    <a:lnTo>
                      <a:pt x="432" y="165"/>
                    </a:lnTo>
                    <a:lnTo>
                      <a:pt x="429" y="166"/>
                    </a:lnTo>
                    <a:lnTo>
                      <a:pt x="426" y="166"/>
                    </a:lnTo>
                    <a:lnTo>
                      <a:pt x="423" y="166"/>
                    </a:lnTo>
                    <a:lnTo>
                      <a:pt x="398" y="158"/>
                    </a:lnTo>
                    <a:lnTo>
                      <a:pt x="372" y="153"/>
                    </a:lnTo>
                    <a:lnTo>
                      <a:pt x="345" y="147"/>
                    </a:lnTo>
                    <a:lnTo>
                      <a:pt x="318" y="143"/>
                    </a:lnTo>
                    <a:lnTo>
                      <a:pt x="291" y="141"/>
                    </a:lnTo>
                    <a:lnTo>
                      <a:pt x="265" y="139"/>
                    </a:lnTo>
                    <a:lnTo>
                      <a:pt x="240" y="139"/>
                    </a:lnTo>
                    <a:lnTo>
                      <a:pt x="217" y="140"/>
                    </a:lnTo>
                    <a:lnTo>
                      <a:pt x="187" y="143"/>
                    </a:lnTo>
                    <a:lnTo>
                      <a:pt x="158" y="146"/>
                    </a:lnTo>
                    <a:lnTo>
                      <a:pt x="131" y="151"/>
                    </a:lnTo>
                    <a:lnTo>
                      <a:pt x="106" y="155"/>
                    </a:lnTo>
                    <a:lnTo>
                      <a:pt x="82" y="161"/>
                    </a:lnTo>
                    <a:lnTo>
                      <a:pt x="60" y="167"/>
                    </a:lnTo>
                    <a:lnTo>
                      <a:pt x="39" y="174"/>
                    </a:lnTo>
                    <a:lnTo>
                      <a:pt x="20" y="182"/>
                    </a:lnTo>
                    <a:lnTo>
                      <a:pt x="17" y="183"/>
                    </a:lnTo>
                    <a:lnTo>
                      <a:pt x="14" y="183"/>
                    </a:lnTo>
                    <a:close/>
                    <a:moveTo>
                      <a:pt x="207" y="27"/>
                    </a:moveTo>
                    <a:lnTo>
                      <a:pt x="207" y="27"/>
                    </a:lnTo>
                    <a:lnTo>
                      <a:pt x="195" y="29"/>
                    </a:lnTo>
                    <a:lnTo>
                      <a:pt x="183" y="30"/>
                    </a:lnTo>
                    <a:lnTo>
                      <a:pt x="171" y="32"/>
                    </a:lnTo>
                    <a:lnTo>
                      <a:pt x="160" y="34"/>
                    </a:lnTo>
                    <a:lnTo>
                      <a:pt x="141" y="41"/>
                    </a:lnTo>
                    <a:lnTo>
                      <a:pt x="123" y="49"/>
                    </a:lnTo>
                    <a:lnTo>
                      <a:pt x="99" y="64"/>
                    </a:lnTo>
                    <a:lnTo>
                      <a:pt x="90" y="71"/>
                    </a:lnTo>
                    <a:lnTo>
                      <a:pt x="76" y="87"/>
                    </a:lnTo>
                    <a:lnTo>
                      <a:pt x="61" y="106"/>
                    </a:lnTo>
                    <a:lnTo>
                      <a:pt x="47" y="127"/>
                    </a:lnTo>
                    <a:lnTo>
                      <a:pt x="36" y="147"/>
                    </a:lnTo>
                    <a:lnTo>
                      <a:pt x="54" y="141"/>
                    </a:lnTo>
                    <a:lnTo>
                      <a:pt x="74" y="135"/>
                    </a:lnTo>
                    <a:lnTo>
                      <a:pt x="94" y="130"/>
                    </a:lnTo>
                    <a:lnTo>
                      <a:pt x="116" y="126"/>
                    </a:lnTo>
                    <a:lnTo>
                      <a:pt x="139" y="121"/>
                    </a:lnTo>
                    <a:lnTo>
                      <a:pt x="163" y="118"/>
                    </a:lnTo>
                    <a:lnTo>
                      <a:pt x="188" y="115"/>
                    </a:lnTo>
                    <a:lnTo>
                      <a:pt x="215" y="113"/>
                    </a:lnTo>
                    <a:lnTo>
                      <a:pt x="237" y="112"/>
                    </a:lnTo>
                    <a:lnTo>
                      <a:pt x="260" y="112"/>
                    </a:lnTo>
                    <a:lnTo>
                      <a:pt x="283" y="113"/>
                    </a:lnTo>
                    <a:lnTo>
                      <a:pt x="309" y="115"/>
                    </a:lnTo>
                    <a:lnTo>
                      <a:pt x="335" y="118"/>
                    </a:lnTo>
                    <a:lnTo>
                      <a:pt x="361" y="122"/>
                    </a:lnTo>
                    <a:lnTo>
                      <a:pt x="386" y="128"/>
                    </a:lnTo>
                    <a:lnTo>
                      <a:pt x="411" y="133"/>
                    </a:lnTo>
                    <a:lnTo>
                      <a:pt x="407" y="118"/>
                    </a:lnTo>
                    <a:lnTo>
                      <a:pt x="403" y="103"/>
                    </a:lnTo>
                    <a:lnTo>
                      <a:pt x="399" y="90"/>
                    </a:lnTo>
                    <a:lnTo>
                      <a:pt x="393" y="81"/>
                    </a:lnTo>
                    <a:lnTo>
                      <a:pt x="388" y="73"/>
                    </a:lnTo>
                    <a:lnTo>
                      <a:pt x="382" y="66"/>
                    </a:lnTo>
                    <a:lnTo>
                      <a:pt x="374" y="60"/>
                    </a:lnTo>
                    <a:lnTo>
                      <a:pt x="366" y="53"/>
                    </a:lnTo>
                    <a:lnTo>
                      <a:pt x="358" y="49"/>
                    </a:lnTo>
                    <a:lnTo>
                      <a:pt x="348" y="45"/>
                    </a:lnTo>
                    <a:lnTo>
                      <a:pt x="338" y="40"/>
                    </a:lnTo>
                    <a:lnTo>
                      <a:pt x="328" y="37"/>
                    </a:lnTo>
                    <a:lnTo>
                      <a:pt x="316" y="35"/>
                    </a:lnTo>
                    <a:lnTo>
                      <a:pt x="303" y="33"/>
                    </a:lnTo>
                    <a:lnTo>
                      <a:pt x="290" y="31"/>
                    </a:lnTo>
                    <a:lnTo>
                      <a:pt x="275" y="30"/>
                    </a:lnTo>
                    <a:lnTo>
                      <a:pt x="243" y="29"/>
                    </a:lnTo>
                    <a:lnTo>
                      <a:pt x="20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6"/>
              <p:cNvSpPr>
                <a:spLocks/>
              </p:cNvSpPr>
              <p:nvPr userDrawn="1"/>
            </p:nvSpPr>
            <p:spPr bwMode="auto">
              <a:xfrm>
                <a:off x="248" y="2957"/>
                <a:ext cx="3174" cy="1363"/>
              </a:xfrm>
              <a:custGeom>
                <a:avLst/>
                <a:gdLst>
                  <a:gd name="T0" fmla="*/ 2774 w 9520"/>
                  <a:gd name="T1" fmla="*/ 3305 h 4088"/>
                  <a:gd name="T2" fmla="*/ 3084 w 9520"/>
                  <a:gd name="T3" fmla="*/ 2453 h 4088"/>
                  <a:gd name="T4" fmla="*/ 3285 w 9520"/>
                  <a:gd name="T5" fmla="*/ 2204 h 4088"/>
                  <a:gd name="T6" fmla="*/ 3836 w 9520"/>
                  <a:gd name="T7" fmla="*/ 2361 h 4088"/>
                  <a:gd name="T8" fmla="*/ 5176 w 9520"/>
                  <a:gd name="T9" fmla="*/ 3009 h 4088"/>
                  <a:gd name="T10" fmla="*/ 5866 w 9520"/>
                  <a:gd name="T11" fmla="*/ 3189 h 4088"/>
                  <a:gd name="T12" fmla="*/ 6882 w 9520"/>
                  <a:gd name="T13" fmla="*/ 3196 h 4088"/>
                  <a:gd name="T14" fmla="*/ 7534 w 9520"/>
                  <a:gd name="T15" fmla="*/ 3059 h 4088"/>
                  <a:gd name="T16" fmla="*/ 8054 w 9520"/>
                  <a:gd name="T17" fmla="*/ 2898 h 4088"/>
                  <a:gd name="T18" fmla="*/ 8352 w 9520"/>
                  <a:gd name="T19" fmla="*/ 2912 h 4088"/>
                  <a:gd name="T20" fmla="*/ 8837 w 9520"/>
                  <a:gd name="T21" fmla="*/ 3261 h 4088"/>
                  <a:gd name="T22" fmla="*/ 9400 w 9520"/>
                  <a:gd name="T23" fmla="*/ 3553 h 4088"/>
                  <a:gd name="T24" fmla="*/ 9493 w 9520"/>
                  <a:gd name="T25" fmla="*/ 3107 h 4088"/>
                  <a:gd name="T26" fmla="*/ 9400 w 9520"/>
                  <a:gd name="T27" fmla="*/ 2589 h 4088"/>
                  <a:gd name="T28" fmla="*/ 8987 w 9520"/>
                  <a:gd name="T29" fmla="*/ 1719 h 4088"/>
                  <a:gd name="T30" fmla="*/ 8293 w 9520"/>
                  <a:gd name="T31" fmla="*/ 989 h 4088"/>
                  <a:gd name="T32" fmla="*/ 7439 w 9520"/>
                  <a:gd name="T33" fmla="*/ 632 h 4088"/>
                  <a:gd name="T34" fmla="*/ 6945 w 9520"/>
                  <a:gd name="T35" fmla="*/ 612 h 4088"/>
                  <a:gd name="T36" fmla="*/ 6702 w 9520"/>
                  <a:gd name="T37" fmla="*/ 633 h 4088"/>
                  <a:gd name="T38" fmla="*/ 6269 w 9520"/>
                  <a:gd name="T39" fmla="*/ 491 h 4088"/>
                  <a:gd name="T40" fmla="*/ 5417 w 9520"/>
                  <a:gd name="T41" fmla="*/ 327 h 4088"/>
                  <a:gd name="T42" fmla="*/ 4747 w 9520"/>
                  <a:gd name="T43" fmla="*/ 329 h 4088"/>
                  <a:gd name="T44" fmla="*/ 4277 w 9520"/>
                  <a:gd name="T45" fmla="*/ 246 h 4088"/>
                  <a:gd name="T46" fmla="*/ 3777 w 9520"/>
                  <a:gd name="T47" fmla="*/ 65 h 4088"/>
                  <a:gd name="T48" fmla="*/ 2963 w 9520"/>
                  <a:gd name="T49" fmla="*/ 53 h 4088"/>
                  <a:gd name="T50" fmla="*/ 2011 w 9520"/>
                  <a:gd name="T51" fmla="*/ 458 h 4088"/>
                  <a:gd name="T52" fmla="*/ 1623 w 9520"/>
                  <a:gd name="T53" fmla="*/ 968 h 4088"/>
                  <a:gd name="T54" fmla="*/ 1254 w 9520"/>
                  <a:gd name="T55" fmla="*/ 1851 h 4088"/>
                  <a:gd name="T56" fmla="*/ 997 w 9520"/>
                  <a:gd name="T57" fmla="*/ 2575 h 4088"/>
                  <a:gd name="T58" fmla="*/ 328 w 9520"/>
                  <a:gd name="T59" fmla="*/ 3595 h 4088"/>
                  <a:gd name="T60" fmla="*/ 30 w 9520"/>
                  <a:gd name="T61" fmla="*/ 4088 h 4088"/>
                  <a:gd name="T62" fmla="*/ 250 w 9520"/>
                  <a:gd name="T63" fmla="*/ 3663 h 4088"/>
                  <a:gd name="T64" fmla="*/ 929 w 9520"/>
                  <a:gd name="T65" fmla="*/ 2639 h 4088"/>
                  <a:gd name="T66" fmla="*/ 1204 w 9520"/>
                  <a:gd name="T67" fmla="*/ 1930 h 4088"/>
                  <a:gd name="T68" fmla="*/ 1572 w 9520"/>
                  <a:gd name="T69" fmla="*/ 1004 h 4088"/>
                  <a:gd name="T70" fmla="*/ 1930 w 9520"/>
                  <a:gd name="T71" fmla="*/ 497 h 4088"/>
                  <a:gd name="T72" fmla="*/ 2882 w 9520"/>
                  <a:gd name="T73" fmla="*/ 40 h 4088"/>
                  <a:gd name="T74" fmla="*/ 3742 w 9520"/>
                  <a:gd name="T75" fmla="*/ 31 h 4088"/>
                  <a:gd name="T76" fmla="*/ 4246 w 9520"/>
                  <a:gd name="T77" fmla="*/ 208 h 4088"/>
                  <a:gd name="T78" fmla="*/ 4713 w 9520"/>
                  <a:gd name="T79" fmla="*/ 300 h 4088"/>
                  <a:gd name="T80" fmla="*/ 5374 w 9520"/>
                  <a:gd name="T81" fmla="*/ 297 h 4088"/>
                  <a:gd name="T82" fmla="*/ 6218 w 9520"/>
                  <a:gd name="T83" fmla="*/ 446 h 4088"/>
                  <a:gd name="T84" fmla="*/ 6674 w 9520"/>
                  <a:gd name="T85" fmla="*/ 600 h 4088"/>
                  <a:gd name="T86" fmla="*/ 7044 w 9520"/>
                  <a:gd name="T87" fmla="*/ 570 h 4088"/>
                  <a:gd name="T88" fmla="*/ 7630 w 9520"/>
                  <a:gd name="T89" fmla="*/ 653 h 4088"/>
                  <a:gd name="T90" fmla="*/ 8495 w 9520"/>
                  <a:gd name="T91" fmla="*/ 1109 h 4088"/>
                  <a:gd name="T92" fmla="*/ 9130 w 9520"/>
                  <a:gd name="T93" fmla="*/ 1902 h 4088"/>
                  <a:gd name="T94" fmla="*/ 9473 w 9520"/>
                  <a:gd name="T95" fmla="*/ 2743 h 4088"/>
                  <a:gd name="T96" fmla="*/ 9511 w 9520"/>
                  <a:gd name="T97" fmla="*/ 3248 h 4088"/>
                  <a:gd name="T98" fmla="*/ 9389 w 9520"/>
                  <a:gd name="T99" fmla="*/ 3631 h 4088"/>
                  <a:gd name="T100" fmla="*/ 8944 w 9520"/>
                  <a:gd name="T101" fmla="*/ 3393 h 4088"/>
                  <a:gd name="T102" fmla="*/ 8405 w 9520"/>
                  <a:gd name="T103" fmla="*/ 2964 h 4088"/>
                  <a:gd name="T104" fmla="*/ 8138 w 9520"/>
                  <a:gd name="T105" fmla="*/ 2914 h 4088"/>
                  <a:gd name="T106" fmla="*/ 7675 w 9520"/>
                  <a:gd name="T107" fmla="*/ 3039 h 4088"/>
                  <a:gd name="T108" fmla="*/ 7047 w 9520"/>
                  <a:gd name="T109" fmla="*/ 3208 h 4088"/>
                  <a:gd name="T110" fmla="*/ 6025 w 9520"/>
                  <a:gd name="T111" fmla="*/ 3230 h 4088"/>
                  <a:gd name="T112" fmla="*/ 5319 w 9520"/>
                  <a:gd name="T113" fmla="*/ 3096 h 4088"/>
                  <a:gd name="T114" fmla="*/ 4150 w 9520"/>
                  <a:gd name="T115" fmla="*/ 2542 h 4088"/>
                  <a:gd name="T116" fmla="*/ 3340 w 9520"/>
                  <a:gd name="T117" fmla="*/ 2199 h 4088"/>
                  <a:gd name="T118" fmla="*/ 3086 w 9520"/>
                  <a:gd name="T119" fmla="*/ 2503 h 4088"/>
                  <a:gd name="T120" fmla="*/ 2668 w 9520"/>
                  <a:gd name="T121" fmla="*/ 3638 h 4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20" h="4088">
                    <a:moveTo>
                      <a:pt x="2419" y="4088"/>
                    </a:moveTo>
                    <a:lnTo>
                      <a:pt x="2438" y="4055"/>
                    </a:lnTo>
                    <a:lnTo>
                      <a:pt x="2459" y="4018"/>
                    </a:lnTo>
                    <a:lnTo>
                      <a:pt x="2480" y="3978"/>
                    </a:lnTo>
                    <a:lnTo>
                      <a:pt x="2502" y="3937"/>
                    </a:lnTo>
                    <a:lnTo>
                      <a:pt x="2524" y="3892"/>
                    </a:lnTo>
                    <a:lnTo>
                      <a:pt x="2546" y="3845"/>
                    </a:lnTo>
                    <a:lnTo>
                      <a:pt x="2569" y="3797"/>
                    </a:lnTo>
                    <a:lnTo>
                      <a:pt x="2592" y="3747"/>
                    </a:lnTo>
                    <a:lnTo>
                      <a:pt x="2637" y="3641"/>
                    </a:lnTo>
                    <a:lnTo>
                      <a:pt x="2683" y="3532"/>
                    </a:lnTo>
                    <a:lnTo>
                      <a:pt x="2729" y="3420"/>
                    </a:lnTo>
                    <a:lnTo>
                      <a:pt x="2774" y="3305"/>
                    </a:lnTo>
                    <a:lnTo>
                      <a:pt x="2816" y="3193"/>
                    </a:lnTo>
                    <a:lnTo>
                      <a:pt x="2857" y="3082"/>
                    </a:lnTo>
                    <a:lnTo>
                      <a:pt x="2895" y="2975"/>
                    </a:lnTo>
                    <a:lnTo>
                      <a:pt x="2931" y="2874"/>
                    </a:lnTo>
                    <a:lnTo>
                      <a:pt x="2961" y="2780"/>
                    </a:lnTo>
                    <a:lnTo>
                      <a:pt x="2988" y="2694"/>
                    </a:lnTo>
                    <a:lnTo>
                      <a:pt x="3011" y="2619"/>
                    </a:lnTo>
                    <a:lnTo>
                      <a:pt x="3027" y="2556"/>
                    </a:lnTo>
                    <a:lnTo>
                      <a:pt x="3027" y="2555"/>
                    </a:lnTo>
                    <a:lnTo>
                      <a:pt x="3028" y="2554"/>
                    </a:lnTo>
                    <a:lnTo>
                      <a:pt x="3047" y="2518"/>
                    </a:lnTo>
                    <a:lnTo>
                      <a:pt x="3066" y="2485"/>
                    </a:lnTo>
                    <a:lnTo>
                      <a:pt x="3084" y="2453"/>
                    </a:lnTo>
                    <a:lnTo>
                      <a:pt x="3101" y="2423"/>
                    </a:lnTo>
                    <a:lnTo>
                      <a:pt x="3120" y="2396"/>
                    </a:lnTo>
                    <a:lnTo>
                      <a:pt x="3137" y="2371"/>
                    </a:lnTo>
                    <a:lnTo>
                      <a:pt x="3153" y="2347"/>
                    </a:lnTo>
                    <a:lnTo>
                      <a:pt x="3170" y="2325"/>
                    </a:lnTo>
                    <a:lnTo>
                      <a:pt x="3186" y="2305"/>
                    </a:lnTo>
                    <a:lnTo>
                      <a:pt x="3202" y="2286"/>
                    </a:lnTo>
                    <a:lnTo>
                      <a:pt x="3217" y="2269"/>
                    </a:lnTo>
                    <a:lnTo>
                      <a:pt x="3231" y="2253"/>
                    </a:lnTo>
                    <a:lnTo>
                      <a:pt x="3245" y="2239"/>
                    </a:lnTo>
                    <a:lnTo>
                      <a:pt x="3259" y="2226"/>
                    </a:lnTo>
                    <a:lnTo>
                      <a:pt x="3272" y="2215"/>
                    </a:lnTo>
                    <a:lnTo>
                      <a:pt x="3285" y="2204"/>
                    </a:lnTo>
                    <a:lnTo>
                      <a:pt x="3308" y="2187"/>
                    </a:lnTo>
                    <a:lnTo>
                      <a:pt x="3328" y="2174"/>
                    </a:lnTo>
                    <a:lnTo>
                      <a:pt x="3346" y="2164"/>
                    </a:lnTo>
                    <a:lnTo>
                      <a:pt x="3362" y="2158"/>
                    </a:lnTo>
                    <a:lnTo>
                      <a:pt x="3384" y="2151"/>
                    </a:lnTo>
                    <a:lnTo>
                      <a:pt x="3393" y="2150"/>
                    </a:lnTo>
                    <a:lnTo>
                      <a:pt x="3396" y="2150"/>
                    </a:lnTo>
                    <a:lnTo>
                      <a:pt x="3399" y="2151"/>
                    </a:lnTo>
                    <a:lnTo>
                      <a:pt x="3498" y="2199"/>
                    </a:lnTo>
                    <a:lnTo>
                      <a:pt x="3568" y="2232"/>
                    </a:lnTo>
                    <a:lnTo>
                      <a:pt x="3649" y="2271"/>
                    </a:lnTo>
                    <a:lnTo>
                      <a:pt x="3738" y="2314"/>
                    </a:lnTo>
                    <a:lnTo>
                      <a:pt x="3836" y="2361"/>
                    </a:lnTo>
                    <a:lnTo>
                      <a:pt x="3940" y="2410"/>
                    </a:lnTo>
                    <a:lnTo>
                      <a:pt x="4049" y="2463"/>
                    </a:lnTo>
                    <a:lnTo>
                      <a:pt x="4162" y="2517"/>
                    </a:lnTo>
                    <a:lnTo>
                      <a:pt x="4277" y="2573"/>
                    </a:lnTo>
                    <a:lnTo>
                      <a:pt x="4394" y="2630"/>
                    </a:lnTo>
                    <a:lnTo>
                      <a:pt x="4509" y="2686"/>
                    </a:lnTo>
                    <a:lnTo>
                      <a:pt x="4624" y="2741"/>
                    </a:lnTo>
                    <a:lnTo>
                      <a:pt x="4736" y="2795"/>
                    </a:lnTo>
                    <a:lnTo>
                      <a:pt x="4843" y="2847"/>
                    </a:lnTo>
                    <a:lnTo>
                      <a:pt x="4945" y="2896"/>
                    </a:lnTo>
                    <a:lnTo>
                      <a:pt x="5038" y="2943"/>
                    </a:lnTo>
                    <a:lnTo>
                      <a:pt x="5125" y="2985"/>
                    </a:lnTo>
                    <a:lnTo>
                      <a:pt x="5176" y="3009"/>
                    </a:lnTo>
                    <a:lnTo>
                      <a:pt x="5226" y="3031"/>
                    </a:lnTo>
                    <a:lnTo>
                      <a:pt x="5277" y="3052"/>
                    </a:lnTo>
                    <a:lnTo>
                      <a:pt x="5329" y="3071"/>
                    </a:lnTo>
                    <a:lnTo>
                      <a:pt x="5382" y="3088"/>
                    </a:lnTo>
                    <a:lnTo>
                      <a:pt x="5434" y="3105"/>
                    </a:lnTo>
                    <a:lnTo>
                      <a:pt x="5487" y="3120"/>
                    </a:lnTo>
                    <a:lnTo>
                      <a:pt x="5541" y="3133"/>
                    </a:lnTo>
                    <a:lnTo>
                      <a:pt x="5593" y="3146"/>
                    </a:lnTo>
                    <a:lnTo>
                      <a:pt x="5647" y="3156"/>
                    </a:lnTo>
                    <a:lnTo>
                      <a:pt x="5701" y="3166"/>
                    </a:lnTo>
                    <a:lnTo>
                      <a:pt x="5757" y="3175"/>
                    </a:lnTo>
                    <a:lnTo>
                      <a:pt x="5811" y="3182"/>
                    </a:lnTo>
                    <a:lnTo>
                      <a:pt x="5866" y="3189"/>
                    </a:lnTo>
                    <a:lnTo>
                      <a:pt x="5920" y="3194"/>
                    </a:lnTo>
                    <a:lnTo>
                      <a:pt x="5975" y="3200"/>
                    </a:lnTo>
                    <a:lnTo>
                      <a:pt x="6030" y="3204"/>
                    </a:lnTo>
                    <a:lnTo>
                      <a:pt x="6085" y="3206"/>
                    </a:lnTo>
                    <a:lnTo>
                      <a:pt x="6140" y="3209"/>
                    </a:lnTo>
                    <a:lnTo>
                      <a:pt x="6195" y="3210"/>
                    </a:lnTo>
                    <a:lnTo>
                      <a:pt x="6304" y="3213"/>
                    </a:lnTo>
                    <a:lnTo>
                      <a:pt x="6413" y="3211"/>
                    </a:lnTo>
                    <a:lnTo>
                      <a:pt x="6521" y="3209"/>
                    </a:lnTo>
                    <a:lnTo>
                      <a:pt x="6629" y="3206"/>
                    </a:lnTo>
                    <a:lnTo>
                      <a:pt x="6735" y="3203"/>
                    </a:lnTo>
                    <a:lnTo>
                      <a:pt x="6840" y="3197"/>
                    </a:lnTo>
                    <a:lnTo>
                      <a:pt x="6882" y="3196"/>
                    </a:lnTo>
                    <a:lnTo>
                      <a:pt x="6937" y="3193"/>
                    </a:lnTo>
                    <a:lnTo>
                      <a:pt x="6991" y="3188"/>
                    </a:lnTo>
                    <a:lnTo>
                      <a:pt x="7045" y="3181"/>
                    </a:lnTo>
                    <a:lnTo>
                      <a:pt x="7097" y="3174"/>
                    </a:lnTo>
                    <a:lnTo>
                      <a:pt x="7148" y="3164"/>
                    </a:lnTo>
                    <a:lnTo>
                      <a:pt x="7199" y="3153"/>
                    </a:lnTo>
                    <a:lnTo>
                      <a:pt x="7250" y="3142"/>
                    </a:lnTo>
                    <a:lnTo>
                      <a:pt x="7299" y="3129"/>
                    </a:lnTo>
                    <a:lnTo>
                      <a:pt x="7347" y="3116"/>
                    </a:lnTo>
                    <a:lnTo>
                      <a:pt x="7396" y="3102"/>
                    </a:lnTo>
                    <a:lnTo>
                      <a:pt x="7442" y="3088"/>
                    </a:lnTo>
                    <a:lnTo>
                      <a:pt x="7489" y="3073"/>
                    </a:lnTo>
                    <a:lnTo>
                      <a:pt x="7534" y="3059"/>
                    </a:lnTo>
                    <a:lnTo>
                      <a:pt x="7579" y="3044"/>
                    </a:lnTo>
                    <a:lnTo>
                      <a:pt x="7624" y="3028"/>
                    </a:lnTo>
                    <a:lnTo>
                      <a:pt x="7667" y="3014"/>
                    </a:lnTo>
                    <a:lnTo>
                      <a:pt x="7710" y="2999"/>
                    </a:lnTo>
                    <a:lnTo>
                      <a:pt x="7753" y="2984"/>
                    </a:lnTo>
                    <a:lnTo>
                      <a:pt x="7795" y="2970"/>
                    </a:lnTo>
                    <a:lnTo>
                      <a:pt x="7836" y="2956"/>
                    </a:lnTo>
                    <a:lnTo>
                      <a:pt x="7877" y="2943"/>
                    </a:lnTo>
                    <a:lnTo>
                      <a:pt x="7918" y="2931"/>
                    </a:lnTo>
                    <a:lnTo>
                      <a:pt x="7957" y="2920"/>
                    </a:lnTo>
                    <a:lnTo>
                      <a:pt x="7996" y="2910"/>
                    </a:lnTo>
                    <a:lnTo>
                      <a:pt x="8026" y="2904"/>
                    </a:lnTo>
                    <a:lnTo>
                      <a:pt x="8054" y="2898"/>
                    </a:lnTo>
                    <a:lnTo>
                      <a:pt x="8082" y="2893"/>
                    </a:lnTo>
                    <a:lnTo>
                      <a:pt x="8108" y="2890"/>
                    </a:lnTo>
                    <a:lnTo>
                      <a:pt x="8135" y="2887"/>
                    </a:lnTo>
                    <a:lnTo>
                      <a:pt x="8160" y="2885"/>
                    </a:lnTo>
                    <a:lnTo>
                      <a:pt x="8185" y="2884"/>
                    </a:lnTo>
                    <a:lnTo>
                      <a:pt x="8210" y="2884"/>
                    </a:lnTo>
                    <a:lnTo>
                      <a:pt x="8230" y="2885"/>
                    </a:lnTo>
                    <a:lnTo>
                      <a:pt x="8251" y="2887"/>
                    </a:lnTo>
                    <a:lnTo>
                      <a:pt x="8270" y="2890"/>
                    </a:lnTo>
                    <a:lnTo>
                      <a:pt x="8291" y="2894"/>
                    </a:lnTo>
                    <a:lnTo>
                      <a:pt x="8311" y="2899"/>
                    </a:lnTo>
                    <a:lnTo>
                      <a:pt x="8332" y="2905"/>
                    </a:lnTo>
                    <a:lnTo>
                      <a:pt x="8352" y="2912"/>
                    </a:lnTo>
                    <a:lnTo>
                      <a:pt x="8373" y="2920"/>
                    </a:lnTo>
                    <a:lnTo>
                      <a:pt x="8393" y="2929"/>
                    </a:lnTo>
                    <a:lnTo>
                      <a:pt x="8413" y="2938"/>
                    </a:lnTo>
                    <a:lnTo>
                      <a:pt x="8433" y="2948"/>
                    </a:lnTo>
                    <a:lnTo>
                      <a:pt x="8454" y="2959"/>
                    </a:lnTo>
                    <a:lnTo>
                      <a:pt x="8494" y="2983"/>
                    </a:lnTo>
                    <a:lnTo>
                      <a:pt x="8534" y="3009"/>
                    </a:lnTo>
                    <a:lnTo>
                      <a:pt x="8573" y="3037"/>
                    </a:lnTo>
                    <a:lnTo>
                      <a:pt x="8612" y="3066"/>
                    </a:lnTo>
                    <a:lnTo>
                      <a:pt x="8650" y="3097"/>
                    </a:lnTo>
                    <a:lnTo>
                      <a:pt x="8689" y="3128"/>
                    </a:lnTo>
                    <a:lnTo>
                      <a:pt x="8764" y="3194"/>
                    </a:lnTo>
                    <a:lnTo>
                      <a:pt x="8837" y="3261"/>
                    </a:lnTo>
                    <a:lnTo>
                      <a:pt x="8879" y="3299"/>
                    </a:lnTo>
                    <a:lnTo>
                      <a:pt x="8920" y="3336"/>
                    </a:lnTo>
                    <a:lnTo>
                      <a:pt x="8960" y="3371"/>
                    </a:lnTo>
                    <a:lnTo>
                      <a:pt x="9000" y="3404"/>
                    </a:lnTo>
                    <a:lnTo>
                      <a:pt x="9038" y="3434"/>
                    </a:lnTo>
                    <a:lnTo>
                      <a:pt x="9075" y="3460"/>
                    </a:lnTo>
                    <a:lnTo>
                      <a:pt x="9093" y="3472"/>
                    </a:lnTo>
                    <a:lnTo>
                      <a:pt x="9110" y="3482"/>
                    </a:lnTo>
                    <a:lnTo>
                      <a:pt x="9128" y="3492"/>
                    </a:lnTo>
                    <a:lnTo>
                      <a:pt x="9145" y="3500"/>
                    </a:lnTo>
                    <a:lnTo>
                      <a:pt x="9375" y="3603"/>
                    </a:lnTo>
                    <a:lnTo>
                      <a:pt x="9386" y="3584"/>
                    </a:lnTo>
                    <a:lnTo>
                      <a:pt x="9400" y="3553"/>
                    </a:lnTo>
                    <a:lnTo>
                      <a:pt x="9408" y="3534"/>
                    </a:lnTo>
                    <a:lnTo>
                      <a:pt x="9417" y="3513"/>
                    </a:lnTo>
                    <a:lnTo>
                      <a:pt x="9427" y="3489"/>
                    </a:lnTo>
                    <a:lnTo>
                      <a:pt x="9435" y="3463"/>
                    </a:lnTo>
                    <a:lnTo>
                      <a:pt x="9445" y="3433"/>
                    </a:lnTo>
                    <a:lnTo>
                      <a:pt x="9455" y="3399"/>
                    </a:lnTo>
                    <a:lnTo>
                      <a:pt x="9464" y="3364"/>
                    </a:lnTo>
                    <a:lnTo>
                      <a:pt x="9471" y="3326"/>
                    </a:lnTo>
                    <a:lnTo>
                      <a:pt x="9478" y="3287"/>
                    </a:lnTo>
                    <a:lnTo>
                      <a:pt x="9484" y="3245"/>
                    </a:lnTo>
                    <a:lnTo>
                      <a:pt x="9488" y="3201"/>
                    </a:lnTo>
                    <a:lnTo>
                      <a:pt x="9492" y="3155"/>
                    </a:lnTo>
                    <a:lnTo>
                      <a:pt x="9493" y="3107"/>
                    </a:lnTo>
                    <a:lnTo>
                      <a:pt x="9492" y="3057"/>
                    </a:lnTo>
                    <a:lnTo>
                      <a:pt x="9489" y="3005"/>
                    </a:lnTo>
                    <a:lnTo>
                      <a:pt x="9485" y="2951"/>
                    </a:lnTo>
                    <a:lnTo>
                      <a:pt x="9481" y="2924"/>
                    </a:lnTo>
                    <a:lnTo>
                      <a:pt x="9478" y="2896"/>
                    </a:lnTo>
                    <a:lnTo>
                      <a:pt x="9473" y="2867"/>
                    </a:lnTo>
                    <a:lnTo>
                      <a:pt x="9468" y="2839"/>
                    </a:lnTo>
                    <a:lnTo>
                      <a:pt x="9461" y="2809"/>
                    </a:lnTo>
                    <a:lnTo>
                      <a:pt x="9455" y="2780"/>
                    </a:lnTo>
                    <a:lnTo>
                      <a:pt x="9447" y="2749"/>
                    </a:lnTo>
                    <a:lnTo>
                      <a:pt x="9439" y="2718"/>
                    </a:lnTo>
                    <a:lnTo>
                      <a:pt x="9420" y="2654"/>
                    </a:lnTo>
                    <a:lnTo>
                      <a:pt x="9400" y="2589"/>
                    </a:lnTo>
                    <a:lnTo>
                      <a:pt x="9378" y="2523"/>
                    </a:lnTo>
                    <a:lnTo>
                      <a:pt x="9354" y="2457"/>
                    </a:lnTo>
                    <a:lnTo>
                      <a:pt x="9330" y="2390"/>
                    </a:lnTo>
                    <a:lnTo>
                      <a:pt x="9303" y="2322"/>
                    </a:lnTo>
                    <a:lnTo>
                      <a:pt x="9275" y="2255"/>
                    </a:lnTo>
                    <a:lnTo>
                      <a:pt x="9244" y="2187"/>
                    </a:lnTo>
                    <a:lnTo>
                      <a:pt x="9213" y="2119"/>
                    </a:lnTo>
                    <a:lnTo>
                      <a:pt x="9180" y="2051"/>
                    </a:lnTo>
                    <a:lnTo>
                      <a:pt x="9144" y="1984"/>
                    </a:lnTo>
                    <a:lnTo>
                      <a:pt x="9107" y="1916"/>
                    </a:lnTo>
                    <a:lnTo>
                      <a:pt x="9068" y="1849"/>
                    </a:lnTo>
                    <a:lnTo>
                      <a:pt x="9028" y="1783"/>
                    </a:lnTo>
                    <a:lnTo>
                      <a:pt x="8987" y="1719"/>
                    </a:lnTo>
                    <a:lnTo>
                      <a:pt x="8943" y="1654"/>
                    </a:lnTo>
                    <a:lnTo>
                      <a:pt x="8899" y="1590"/>
                    </a:lnTo>
                    <a:lnTo>
                      <a:pt x="8851" y="1527"/>
                    </a:lnTo>
                    <a:lnTo>
                      <a:pt x="8804" y="1466"/>
                    </a:lnTo>
                    <a:lnTo>
                      <a:pt x="8753" y="1405"/>
                    </a:lnTo>
                    <a:lnTo>
                      <a:pt x="8701" y="1347"/>
                    </a:lnTo>
                    <a:lnTo>
                      <a:pt x="8648" y="1290"/>
                    </a:lnTo>
                    <a:lnTo>
                      <a:pt x="8593" y="1235"/>
                    </a:lnTo>
                    <a:lnTo>
                      <a:pt x="8537" y="1182"/>
                    </a:lnTo>
                    <a:lnTo>
                      <a:pt x="8479" y="1130"/>
                    </a:lnTo>
                    <a:lnTo>
                      <a:pt x="8418" y="1081"/>
                    </a:lnTo>
                    <a:lnTo>
                      <a:pt x="8357" y="1033"/>
                    </a:lnTo>
                    <a:lnTo>
                      <a:pt x="8293" y="989"/>
                    </a:lnTo>
                    <a:lnTo>
                      <a:pt x="8228" y="946"/>
                    </a:lnTo>
                    <a:lnTo>
                      <a:pt x="8161" y="906"/>
                    </a:lnTo>
                    <a:lnTo>
                      <a:pt x="8093" y="869"/>
                    </a:lnTo>
                    <a:lnTo>
                      <a:pt x="8023" y="834"/>
                    </a:lnTo>
                    <a:lnTo>
                      <a:pt x="7949" y="801"/>
                    </a:lnTo>
                    <a:lnTo>
                      <a:pt x="7875" y="770"/>
                    </a:lnTo>
                    <a:lnTo>
                      <a:pt x="7806" y="742"/>
                    </a:lnTo>
                    <a:lnTo>
                      <a:pt x="7738" y="717"/>
                    </a:lnTo>
                    <a:lnTo>
                      <a:pt x="7673" y="695"/>
                    </a:lnTo>
                    <a:lnTo>
                      <a:pt x="7611" y="676"/>
                    </a:lnTo>
                    <a:lnTo>
                      <a:pt x="7551" y="658"/>
                    </a:lnTo>
                    <a:lnTo>
                      <a:pt x="7494" y="644"/>
                    </a:lnTo>
                    <a:lnTo>
                      <a:pt x="7439" y="632"/>
                    </a:lnTo>
                    <a:lnTo>
                      <a:pt x="7386" y="622"/>
                    </a:lnTo>
                    <a:lnTo>
                      <a:pt x="7336" y="613"/>
                    </a:lnTo>
                    <a:lnTo>
                      <a:pt x="7289" y="607"/>
                    </a:lnTo>
                    <a:lnTo>
                      <a:pt x="7243" y="602"/>
                    </a:lnTo>
                    <a:lnTo>
                      <a:pt x="7201" y="599"/>
                    </a:lnTo>
                    <a:lnTo>
                      <a:pt x="7161" y="597"/>
                    </a:lnTo>
                    <a:lnTo>
                      <a:pt x="7124" y="597"/>
                    </a:lnTo>
                    <a:lnTo>
                      <a:pt x="7088" y="597"/>
                    </a:lnTo>
                    <a:lnTo>
                      <a:pt x="7054" y="599"/>
                    </a:lnTo>
                    <a:lnTo>
                      <a:pt x="7024" y="601"/>
                    </a:lnTo>
                    <a:lnTo>
                      <a:pt x="6995" y="605"/>
                    </a:lnTo>
                    <a:lnTo>
                      <a:pt x="6969" y="608"/>
                    </a:lnTo>
                    <a:lnTo>
                      <a:pt x="6945" y="612"/>
                    </a:lnTo>
                    <a:lnTo>
                      <a:pt x="6924" y="616"/>
                    </a:lnTo>
                    <a:lnTo>
                      <a:pt x="6905" y="621"/>
                    </a:lnTo>
                    <a:lnTo>
                      <a:pt x="6873" y="629"/>
                    </a:lnTo>
                    <a:lnTo>
                      <a:pt x="6851" y="638"/>
                    </a:lnTo>
                    <a:lnTo>
                      <a:pt x="6837" y="643"/>
                    </a:lnTo>
                    <a:lnTo>
                      <a:pt x="6832" y="646"/>
                    </a:lnTo>
                    <a:lnTo>
                      <a:pt x="6829" y="647"/>
                    </a:lnTo>
                    <a:lnTo>
                      <a:pt x="6826" y="648"/>
                    </a:lnTo>
                    <a:lnTo>
                      <a:pt x="6813" y="647"/>
                    </a:lnTo>
                    <a:lnTo>
                      <a:pt x="6781" y="643"/>
                    </a:lnTo>
                    <a:lnTo>
                      <a:pt x="6759" y="641"/>
                    </a:lnTo>
                    <a:lnTo>
                      <a:pt x="6733" y="637"/>
                    </a:lnTo>
                    <a:lnTo>
                      <a:pt x="6702" y="633"/>
                    </a:lnTo>
                    <a:lnTo>
                      <a:pt x="6669" y="626"/>
                    </a:lnTo>
                    <a:lnTo>
                      <a:pt x="6630" y="619"/>
                    </a:lnTo>
                    <a:lnTo>
                      <a:pt x="6590" y="609"/>
                    </a:lnTo>
                    <a:lnTo>
                      <a:pt x="6552" y="598"/>
                    </a:lnTo>
                    <a:lnTo>
                      <a:pt x="6515" y="587"/>
                    </a:lnTo>
                    <a:lnTo>
                      <a:pt x="6478" y="574"/>
                    </a:lnTo>
                    <a:lnTo>
                      <a:pt x="6441" y="561"/>
                    </a:lnTo>
                    <a:lnTo>
                      <a:pt x="6406" y="547"/>
                    </a:lnTo>
                    <a:lnTo>
                      <a:pt x="6371" y="531"/>
                    </a:lnTo>
                    <a:lnTo>
                      <a:pt x="6348" y="521"/>
                    </a:lnTo>
                    <a:lnTo>
                      <a:pt x="6323" y="512"/>
                    </a:lnTo>
                    <a:lnTo>
                      <a:pt x="6298" y="502"/>
                    </a:lnTo>
                    <a:lnTo>
                      <a:pt x="6269" y="491"/>
                    </a:lnTo>
                    <a:lnTo>
                      <a:pt x="6208" y="471"/>
                    </a:lnTo>
                    <a:lnTo>
                      <a:pt x="6140" y="451"/>
                    </a:lnTo>
                    <a:lnTo>
                      <a:pt x="6066" y="432"/>
                    </a:lnTo>
                    <a:lnTo>
                      <a:pt x="5989" y="412"/>
                    </a:lnTo>
                    <a:lnTo>
                      <a:pt x="5907" y="395"/>
                    </a:lnTo>
                    <a:lnTo>
                      <a:pt x="5821" y="378"/>
                    </a:lnTo>
                    <a:lnTo>
                      <a:pt x="5734" y="364"/>
                    </a:lnTo>
                    <a:lnTo>
                      <a:pt x="5644" y="350"/>
                    </a:lnTo>
                    <a:lnTo>
                      <a:pt x="5599" y="344"/>
                    </a:lnTo>
                    <a:lnTo>
                      <a:pt x="5554" y="339"/>
                    </a:lnTo>
                    <a:lnTo>
                      <a:pt x="5508" y="335"/>
                    </a:lnTo>
                    <a:lnTo>
                      <a:pt x="5463" y="330"/>
                    </a:lnTo>
                    <a:lnTo>
                      <a:pt x="5417" y="327"/>
                    </a:lnTo>
                    <a:lnTo>
                      <a:pt x="5373" y="324"/>
                    </a:lnTo>
                    <a:lnTo>
                      <a:pt x="5328" y="323"/>
                    </a:lnTo>
                    <a:lnTo>
                      <a:pt x="5284" y="321"/>
                    </a:lnTo>
                    <a:lnTo>
                      <a:pt x="5240" y="321"/>
                    </a:lnTo>
                    <a:lnTo>
                      <a:pt x="5197" y="321"/>
                    </a:lnTo>
                    <a:lnTo>
                      <a:pt x="5155" y="322"/>
                    </a:lnTo>
                    <a:lnTo>
                      <a:pt x="5113" y="324"/>
                    </a:lnTo>
                    <a:lnTo>
                      <a:pt x="5036" y="328"/>
                    </a:lnTo>
                    <a:lnTo>
                      <a:pt x="4962" y="331"/>
                    </a:lnTo>
                    <a:lnTo>
                      <a:pt x="4889" y="332"/>
                    </a:lnTo>
                    <a:lnTo>
                      <a:pt x="4817" y="331"/>
                    </a:lnTo>
                    <a:lnTo>
                      <a:pt x="4781" y="330"/>
                    </a:lnTo>
                    <a:lnTo>
                      <a:pt x="4747" y="329"/>
                    </a:lnTo>
                    <a:lnTo>
                      <a:pt x="4711" y="327"/>
                    </a:lnTo>
                    <a:lnTo>
                      <a:pt x="4676" y="324"/>
                    </a:lnTo>
                    <a:lnTo>
                      <a:pt x="4640" y="321"/>
                    </a:lnTo>
                    <a:lnTo>
                      <a:pt x="4605" y="316"/>
                    </a:lnTo>
                    <a:lnTo>
                      <a:pt x="4570" y="311"/>
                    </a:lnTo>
                    <a:lnTo>
                      <a:pt x="4534" y="306"/>
                    </a:lnTo>
                    <a:lnTo>
                      <a:pt x="4499" y="300"/>
                    </a:lnTo>
                    <a:lnTo>
                      <a:pt x="4462" y="293"/>
                    </a:lnTo>
                    <a:lnTo>
                      <a:pt x="4426" y="285"/>
                    </a:lnTo>
                    <a:lnTo>
                      <a:pt x="4390" y="276"/>
                    </a:lnTo>
                    <a:lnTo>
                      <a:pt x="4353" y="268"/>
                    </a:lnTo>
                    <a:lnTo>
                      <a:pt x="4315" y="257"/>
                    </a:lnTo>
                    <a:lnTo>
                      <a:pt x="4277" y="246"/>
                    </a:lnTo>
                    <a:lnTo>
                      <a:pt x="4238" y="234"/>
                    </a:lnTo>
                    <a:lnTo>
                      <a:pt x="4199" y="221"/>
                    </a:lnTo>
                    <a:lnTo>
                      <a:pt x="4160" y="207"/>
                    </a:lnTo>
                    <a:lnTo>
                      <a:pt x="4120" y="193"/>
                    </a:lnTo>
                    <a:lnTo>
                      <a:pt x="4079" y="177"/>
                    </a:lnTo>
                    <a:lnTo>
                      <a:pt x="4036" y="160"/>
                    </a:lnTo>
                    <a:lnTo>
                      <a:pt x="3993" y="143"/>
                    </a:lnTo>
                    <a:lnTo>
                      <a:pt x="3950" y="123"/>
                    </a:lnTo>
                    <a:lnTo>
                      <a:pt x="3906" y="104"/>
                    </a:lnTo>
                    <a:lnTo>
                      <a:pt x="3881" y="94"/>
                    </a:lnTo>
                    <a:lnTo>
                      <a:pt x="3851" y="84"/>
                    </a:lnTo>
                    <a:lnTo>
                      <a:pt x="3816" y="74"/>
                    </a:lnTo>
                    <a:lnTo>
                      <a:pt x="3777" y="65"/>
                    </a:lnTo>
                    <a:lnTo>
                      <a:pt x="3733" y="56"/>
                    </a:lnTo>
                    <a:lnTo>
                      <a:pt x="3685" y="49"/>
                    </a:lnTo>
                    <a:lnTo>
                      <a:pt x="3634" y="42"/>
                    </a:lnTo>
                    <a:lnTo>
                      <a:pt x="3577" y="37"/>
                    </a:lnTo>
                    <a:lnTo>
                      <a:pt x="3519" y="31"/>
                    </a:lnTo>
                    <a:lnTo>
                      <a:pt x="3458" y="28"/>
                    </a:lnTo>
                    <a:lnTo>
                      <a:pt x="3393" y="26"/>
                    </a:lnTo>
                    <a:lnTo>
                      <a:pt x="3326" y="26"/>
                    </a:lnTo>
                    <a:lnTo>
                      <a:pt x="3257" y="27"/>
                    </a:lnTo>
                    <a:lnTo>
                      <a:pt x="3186" y="30"/>
                    </a:lnTo>
                    <a:lnTo>
                      <a:pt x="3112" y="36"/>
                    </a:lnTo>
                    <a:lnTo>
                      <a:pt x="3039" y="43"/>
                    </a:lnTo>
                    <a:lnTo>
                      <a:pt x="2963" y="53"/>
                    </a:lnTo>
                    <a:lnTo>
                      <a:pt x="2886" y="66"/>
                    </a:lnTo>
                    <a:lnTo>
                      <a:pt x="2810" y="81"/>
                    </a:lnTo>
                    <a:lnTo>
                      <a:pt x="2733" y="98"/>
                    </a:lnTo>
                    <a:lnTo>
                      <a:pt x="2656" y="119"/>
                    </a:lnTo>
                    <a:lnTo>
                      <a:pt x="2580" y="143"/>
                    </a:lnTo>
                    <a:lnTo>
                      <a:pt x="2504" y="169"/>
                    </a:lnTo>
                    <a:lnTo>
                      <a:pt x="2429" y="200"/>
                    </a:lnTo>
                    <a:lnTo>
                      <a:pt x="2354" y="233"/>
                    </a:lnTo>
                    <a:lnTo>
                      <a:pt x="2282" y="270"/>
                    </a:lnTo>
                    <a:lnTo>
                      <a:pt x="2210" y="311"/>
                    </a:lnTo>
                    <a:lnTo>
                      <a:pt x="2141" y="356"/>
                    </a:lnTo>
                    <a:lnTo>
                      <a:pt x="2074" y="405"/>
                    </a:lnTo>
                    <a:lnTo>
                      <a:pt x="2011" y="458"/>
                    </a:lnTo>
                    <a:lnTo>
                      <a:pt x="1949" y="516"/>
                    </a:lnTo>
                    <a:lnTo>
                      <a:pt x="1891" y="578"/>
                    </a:lnTo>
                    <a:lnTo>
                      <a:pt x="1881" y="588"/>
                    </a:lnTo>
                    <a:lnTo>
                      <a:pt x="1862" y="612"/>
                    </a:lnTo>
                    <a:lnTo>
                      <a:pt x="1833" y="649"/>
                    </a:lnTo>
                    <a:lnTo>
                      <a:pt x="1796" y="698"/>
                    </a:lnTo>
                    <a:lnTo>
                      <a:pt x="1775" y="728"/>
                    </a:lnTo>
                    <a:lnTo>
                      <a:pt x="1753" y="760"/>
                    </a:lnTo>
                    <a:lnTo>
                      <a:pt x="1729" y="796"/>
                    </a:lnTo>
                    <a:lnTo>
                      <a:pt x="1704" y="834"/>
                    </a:lnTo>
                    <a:lnTo>
                      <a:pt x="1678" y="875"/>
                    </a:lnTo>
                    <a:lnTo>
                      <a:pt x="1651" y="920"/>
                    </a:lnTo>
                    <a:lnTo>
                      <a:pt x="1623" y="968"/>
                    </a:lnTo>
                    <a:lnTo>
                      <a:pt x="1595" y="1018"/>
                    </a:lnTo>
                    <a:lnTo>
                      <a:pt x="1566" y="1072"/>
                    </a:lnTo>
                    <a:lnTo>
                      <a:pt x="1537" y="1128"/>
                    </a:lnTo>
                    <a:lnTo>
                      <a:pt x="1507" y="1187"/>
                    </a:lnTo>
                    <a:lnTo>
                      <a:pt x="1477" y="1250"/>
                    </a:lnTo>
                    <a:lnTo>
                      <a:pt x="1448" y="1316"/>
                    </a:lnTo>
                    <a:lnTo>
                      <a:pt x="1418" y="1384"/>
                    </a:lnTo>
                    <a:lnTo>
                      <a:pt x="1389" y="1454"/>
                    </a:lnTo>
                    <a:lnTo>
                      <a:pt x="1361" y="1529"/>
                    </a:lnTo>
                    <a:lnTo>
                      <a:pt x="1333" y="1605"/>
                    </a:lnTo>
                    <a:lnTo>
                      <a:pt x="1306" y="1684"/>
                    </a:lnTo>
                    <a:lnTo>
                      <a:pt x="1280" y="1766"/>
                    </a:lnTo>
                    <a:lnTo>
                      <a:pt x="1254" y="1851"/>
                    </a:lnTo>
                    <a:lnTo>
                      <a:pt x="1230" y="1939"/>
                    </a:lnTo>
                    <a:lnTo>
                      <a:pt x="1207" y="2029"/>
                    </a:lnTo>
                    <a:lnTo>
                      <a:pt x="1187" y="2122"/>
                    </a:lnTo>
                    <a:lnTo>
                      <a:pt x="1167" y="2218"/>
                    </a:lnTo>
                    <a:lnTo>
                      <a:pt x="1154" y="2252"/>
                    </a:lnTo>
                    <a:lnTo>
                      <a:pt x="1140" y="2285"/>
                    </a:lnTo>
                    <a:lnTo>
                      <a:pt x="1126" y="2320"/>
                    </a:lnTo>
                    <a:lnTo>
                      <a:pt x="1110" y="2354"/>
                    </a:lnTo>
                    <a:lnTo>
                      <a:pt x="1094" y="2390"/>
                    </a:lnTo>
                    <a:lnTo>
                      <a:pt x="1076" y="2426"/>
                    </a:lnTo>
                    <a:lnTo>
                      <a:pt x="1057" y="2462"/>
                    </a:lnTo>
                    <a:lnTo>
                      <a:pt x="1038" y="2499"/>
                    </a:lnTo>
                    <a:lnTo>
                      <a:pt x="997" y="2575"/>
                    </a:lnTo>
                    <a:lnTo>
                      <a:pt x="954" y="2651"/>
                    </a:lnTo>
                    <a:lnTo>
                      <a:pt x="907" y="2728"/>
                    </a:lnTo>
                    <a:lnTo>
                      <a:pt x="860" y="2807"/>
                    </a:lnTo>
                    <a:lnTo>
                      <a:pt x="810" y="2884"/>
                    </a:lnTo>
                    <a:lnTo>
                      <a:pt x="759" y="2963"/>
                    </a:lnTo>
                    <a:lnTo>
                      <a:pt x="707" y="3042"/>
                    </a:lnTo>
                    <a:lnTo>
                      <a:pt x="654" y="3120"/>
                    </a:lnTo>
                    <a:lnTo>
                      <a:pt x="603" y="3196"/>
                    </a:lnTo>
                    <a:lnTo>
                      <a:pt x="551" y="3272"/>
                    </a:lnTo>
                    <a:lnTo>
                      <a:pt x="500" y="3345"/>
                    </a:lnTo>
                    <a:lnTo>
                      <a:pt x="450" y="3418"/>
                    </a:lnTo>
                    <a:lnTo>
                      <a:pt x="388" y="3507"/>
                    </a:lnTo>
                    <a:lnTo>
                      <a:pt x="328" y="3595"/>
                    </a:lnTo>
                    <a:lnTo>
                      <a:pt x="272" y="3677"/>
                    </a:lnTo>
                    <a:lnTo>
                      <a:pt x="220" y="3754"/>
                    </a:lnTo>
                    <a:lnTo>
                      <a:pt x="173" y="3827"/>
                    </a:lnTo>
                    <a:lnTo>
                      <a:pt x="132" y="3895"/>
                    </a:lnTo>
                    <a:lnTo>
                      <a:pt x="112" y="3926"/>
                    </a:lnTo>
                    <a:lnTo>
                      <a:pt x="96" y="3956"/>
                    </a:lnTo>
                    <a:lnTo>
                      <a:pt x="80" y="3984"/>
                    </a:lnTo>
                    <a:lnTo>
                      <a:pt x="67" y="4010"/>
                    </a:lnTo>
                    <a:lnTo>
                      <a:pt x="56" y="4031"/>
                    </a:lnTo>
                    <a:lnTo>
                      <a:pt x="48" y="4051"/>
                    </a:lnTo>
                    <a:lnTo>
                      <a:pt x="39" y="4070"/>
                    </a:lnTo>
                    <a:lnTo>
                      <a:pt x="30" y="4087"/>
                    </a:lnTo>
                    <a:lnTo>
                      <a:pt x="30" y="4088"/>
                    </a:lnTo>
                    <a:lnTo>
                      <a:pt x="0" y="4088"/>
                    </a:lnTo>
                    <a:lnTo>
                      <a:pt x="5" y="4075"/>
                    </a:lnTo>
                    <a:lnTo>
                      <a:pt x="14" y="4058"/>
                    </a:lnTo>
                    <a:lnTo>
                      <a:pt x="23" y="4039"/>
                    </a:lnTo>
                    <a:lnTo>
                      <a:pt x="32" y="4020"/>
                    </a:lnTo>
                    <a:lnTo>
                      <a:pt x="42" y="3998"/>
                    </a:lnTo>
                    <a:lnTo>
                      <a:pt x="56" y="3971"/>
                    </a:lnTo>
                    <a:lnTo>
                      <a:pt x="71" y="3943"/>
                    </a:lnTo>
                    <a:lnTo>
                      <a:pt x="89" y="3913"/>
                    </a:lnTo>
                    <a:lnTo>
                      <a:pt x="108" y="3882"/>
                    </a:lnTo>
                    <a:lnTo>
                      <a:pt x="150" y="3814"/>
                    </a:lnTo>
                    <a:lnTo>
                      <a:pt x="198" y="3740"/>
                    </a:lnTo>
                    <a:lnTo>
                      <a:pt x="250" y="3663"/>
                    </a:lnTo>
                    <a:lnTo>
                      <a:pt x="306" y="3580"/>
                    </a:lnTo>
                    <a:lnTo>
                      <a:pt x="365" y="3493"/>
                    </a:lnTo>
                    <a:lnTo>
                      <a:pt x="428" y="3403"/>
                    </a:lnTo>
                    <a:lnTo>
                      <a:pt x="477" y="3330"/>
                    </a:lnTo>
                    <a:lnTo>
                      <a:pt x="528" y="3257"/>
                    </a:lnTo>
                    <a:lnTo>
                      <a:pt x="580" y="3181"/>
                    </a:lnTo>
                    <a:lnTo>
                      <a:pt x="632" y="3105"/>
                    </a:lnTo>
                    <a:lnTo>
                      <a:pt x="684" y="3028"/>
                    </a:lnTo>
                    <a:lnTo>
                      <a:pt x="735" y="2949"/>
                    </a:lnTo>
                    <a:lnTo>
                      <a:pt x="786" y="2871"/>
                    </a:lnTo>
                    <a:lnTo>
                      <a:pt x="836" y="2794"/>
                    </a:lnTo>
                    <a:lnTo>
                      <a:pt x="883" y="2716"/>
                    </a:lnTo>
                    <a:lnTo>
                      <a:pt x="929" y="2639"/>
                    </a:lnTo>
                    <a:lnTo>
                      <a:pt x="973" y="2563"/>
                    </a:lnTo>
                    <a:lnTo>
                      <a:pt x="1013" y="2488"/>
                    </a:lnTo>
                    <a:lnTo>
                      <a:pt x="1032" y="2453"/>
                    </a:lnTo>
                    <a:lnTo>
                      <a:pt x="1051" y="2416"/>
                    </a:lnTo>
                    <a:lnTo>
                      <a:pt x="1068" y="2380"/>
                    </a:lnTo>
                    <a:lnTo>
                      <a:pt x="1085" y="2346"/>
                    </a:lnTo>
                    <a:lnTo>
                      <a:pt x="1100" y="2311"/>
                    </a:lnTo>
                    <a:lnTo>
                      <a:pt x="1116" y="2277"/>
                    </a:lnTo>
                    <a:lnTo>
                      <a:pt x="1128" y="2244"/>
                    </a:lnTo>
                    <a:lnTo>
                      <a:pt x="1140" y="2212"/>
                    </a:lnTo>
                    <a:lnTo>
                      <a:pt x="1161" y="2115"/>
                    </a:lnTo>
                    <a:lnTo>
                      <a:pt x="1181" y="2022"/>
                    </a:lnTo>
                    <a:lnTo>
                      <a:pt x="1204" y="1930"/>
                    </a:lnTo>
                    <a:lnTo>
                      <a:pt x="1229" y="1843"/>
                    </a:lnTo>
                    <a:lnTo>
                      <a:pt x="1254" y="1757"/>
                    </a:lnTo>
                    <a:lnTo>
                      <a:pt x="1281" y="1674"/>
                    </a:lnTo>
                    <a:lnTo>
                      <a:pt x="1308" y="1594"/>
                    </a:lnTo>
                    <a:lnTo>
                      <a:pt x="1336" y="1518"/>
                    </a:lnTo>
                    <a:lnTo>
                      <a:pt x="1365" y="1443"/>
                    </a:lnTo>
                    <a:lnTo>
                      <a:pt x="1394" y="1372"/>
                    </a:lnTo>
                    <a:lnTo>
                      <a:pt x="1423" y="1303"/>
                    </a:lnTo>
                    <a:lnTo>
                      <a:pt x="1453" y="1237"/>
                    </a:lnTo>
                    <a:lnTo>
                      <a:pt x="1484" y="1174"/>
                    </a:lnTo>
                    <a:lnTo>
                      <a:pt x="1513" y="1115"/>
                    </a:lnTo>
                    <a:lnTo>
                      <a:pt x="1543" y="1058"/>
                    </a:lnTo>
                    <a:lnTo>
                      <a:pt x="1572" y="1004"/>
                    </a:lnTo>
                    <a:lnTo>
                      <a:pt x="1600" y="953"/>
                    </a:lnTo>
                    <a:lnTo>
                      <a:pt x="1628" y="906"/>
                    </a:lnTo>
                    <a:lnTo>
                      <a:pt x="1657" y="860"/>
                    </a:lnTo>
                    <a:lnTo>
                      <a:pt x="1682" y="818"/>
                    </a:lnTo>
                    <a:lnTo>
                      <a:pt x="1707" y="779"/>
                    </a:lnTo>
                    <a:lnTo>
                      <a:pt x="1731" y="744"/>
                    </a:lnTo>
                    <a:lnTo>
                      <a:pt x="1754" y="711"/>
                    </a:lnTo>
                    <a:lnTo>
                      <a:pt x="1775" y="681"/>
                    </a:lnTo>
                    <a:lnTo>
                      <a:pt x="1812" y="632"/>
                    </a:lnTo>
                    <a:lnTo>
                      <a:pt x="1841" y="595"/>
                    </a:lnTo>
                    <a:lnTo>
                      <a:pt x="1861" y="571"/>
                    </a:lnTo>
                    <a:lnTo>
                      <a:pt x="1870" y="559"/>
                    </a:lnTo>
                    <a:lnTo>
                      <a:pt x="1930" y="497"/>
                    </a:lnTo>
                    <a:lnTo>
                      <a:pt x="1992" y="438"/>
                    </a:lnTo>
                    <a:lnTo>
                      <a:pt x="2057" y="384"/>
                    </a:lnTo>
                    <a:lnTo>
                      <a:pt x="2125" y="335"/>
                    </a:lnTo>
                    <a:lnTo>
                      <a:pt x="2195" y="289"/>
                    </a:lnTo>
                    <a:lnTo>
                      <a:pt x="2268" y="247"/>
                    </a:lnTo>
                    <a:lnTo>
                      <a:pt x="2341" y="209"/>
                    </a:lnTo>
                    <a:lnTo>
                      <a:pt x="2417" y="176"/>
                    </a:lnTo>
                    <a:lnTo>
                      <a:pt x="2493" y="146"/>
                    </a:lnTo>
                    <a:lnTo>
                      <a:pt x="2570" y="118"/>
                    </a:lnTo>
                    <a:lnTo>
                      <a:pt x="2648" y="94"/>
                    </a:lnTo>
                    <a:lnTo>
                      <a:pt x="2727" y="73"/>
                    </a:lnTo>
                    <a:lnTo>
                      <a:pt x="2804" y="55"/>
                    </a:lnTo>
                    <a:lnTo>
                      <a:pt x="2882" y="40"/>
                    </a:lnTo>
                    <a:lnTo>
                      <a:pt x="2960" y="28"/>
                    </a:lnTo>
                    <a:lnTo>
                      <a:pt x="3035" y="17"/>
                    </a:lnTo>
                    <a:lnTo>
                      <a:pt x="3111" y="10"/>
                    </a:lnTo>
                    <a:lnTo>
                      <a:pt x="3186" y="4"/>
                    </a:lnTo>
                    <a:lnTo>
                      <a:pt x="3258" y="1"/>
                    </a:lnTo>
                    <a:lnTo>
                      <a:pt x="3328" y="0"/>
                    </a:lnTo>
                    <a:lnTo>
                      <a:pt x="3396" y="0"/>
                    </a:lnTo>
                    <a:lnTo>
                      <a:pt x="3461" y="2"/>
                    </a:lnTo>
                    <a:lnTo>
                      <a:pt x="3525" y="5"/>
                    </a:lnTo>
                    <a:lnTo>
                      <a:pt x="3584" y="11"/>
                    </a:lnTo>
                    <a:lnTo>
                      <a:pt x="3640" y="16"/>
                    </a:lnTo>
                    <a:lnTo>
                      <a:pt x="3693" y="24"/>
                    </a:lnTo>
                    <a:lnTo>
                      <a:pt x="3742" y="31"/>
                    </a:lnTo>
                    <a:lnTo>
                      <a:pt x="3786" y="40"/>
                    </a:lnTo>
                    <a:lnTo>
                      <a:pt x="3826" y="50"/>
                    </a:lnTo>
                    <a:lnTo>
                      <a:pt x="3861" y="58"/>
                    </a:lnTo>
                    <a:lnTo>
                      <a:pt x="3892" y="69"/>
                    </a:lnTo>
                    <a:lnTo>
                      <a:pt x="3917" y="79"/>
                    </a:lnTo>
                    <a:lnTo>
                      <a:pt x="3961" y="98"/>
                    </a:lnTo>
                    <a:lnTo>
                      <a:pt x="4004" y="118"/>
                    </a:lnTo>
                    <a:lnTo>
                      <a:pt x="4046" y="135"/>
                    </a:lnTo>
                    <a:lnTo>
                      <a:pt x="4087" y="151"/>
                    </a:lnTo>
                    <a:lnTo>
                      <a:pt x="4128" y="167"/>
                    </a:lnTo>
                    <a:lnTo>
                      <a:pt x="4168" y="181"/>
                    </a:lnTo>
                    <a:lnTo>
                      <a:pt x="4207" y="195"/>
                    </a:lnTo>
                    <a:lnTo>
                      <a:pt x="4246" y="208"/>
                    </a:lnTo>
                    <a:lnTo>
                      <a:pt x="4284" y="220"/>
                    </a:lnTo>
                    <a:lnTo>
                      <a:pt x="4321" y="231"/>
                    </a:lnTo>
                    <a:lnTo>
                      <a:pt x="4359" y="241"/>
                    </a:lnTo>
                    <a:lnTo>
                      <a:pt x="4395" y="250"/>
                    </a:lnTo>
                    <a:lnTo>
                      <a:pt x="4432" y="259"/>
                    </a:lnTo>
                    <a:lnTo>
                      <a:pt x="4467" y="267"/>
                    </a:lnTo>
                    <a:lnTo>
                      <a:pt x="4503" y="273"/>
                    </a:lnTo>
                    <a:lnTo>
                      <a:pt x="4539" y="280"/>
                    </a:lnTo>
                    <a:lnTo>
                      <a:pt x="4574" y="285"/>
                    </a:lnTo>
                    <a:lnTo>
                      <a:pt x="4609" y="289"/>
                    </a:lnTo>
                    <a:lnTo>
                      <a:pt x="4644" y="294"/>
                    </a:lnTo>
                    <a:lnTo>
                      <a:pt x="4679" y="297"/>
                    </a:lnTo>
                    <a:lnTo>
                      <a:pt x="4713" y="300"/>
                    </a:lnTo>
                    <a:lnTo>
                      <a:pt x="4749" y="302"/>
                    </a:lnTo>
                    <a:lnTo>
                      <a:pt x="4784" y="303"/>
                    </a:lnTo>
                    <a:lnTo>
                      <a:pt x="4819" y="304"/>
                    </a:lnTo>
                    <a:lnTo>
                      <a:pt x="4889" y="306"/>
                    </a:lnTo>
                    <a:lnTo>
                      <a:pt x="4962" y="304"/>
                    </a:lnTo>
                    <a:lnTo>
                      <a:pt x="5035" y="301"/>
                    </a:lnTo>
                    <a:lnTo>
                      <a:pt x="5111" y="297"/>
                    </a:lnTo>
                    <a:lnTo>
                      <a:pt x="5153" y="295"/>
                    </a:lnTo>
                    <a:lnTo>
                      <a:pt x="5196" y="294"/>
                    </a:lnTo>
                    <a:lnTo>
                      <a:pt x="5239" y="294"/>
                    </a:lnTo>
                    <a:lnTo>
                      <a:pt x="5284" y="294"/>
                    </a:lnTo>
                    <a:lnTo>
                      <a:pt x="5329" y="296"/>
                    </a:lnTo>
                    <a:lnTo>
                      <a:pt x="5374" y="297"/>
                    </a:lnTo>
                    <a:lnTo>
                      <a:pt x="5420" y="300"/>
                    </a:lnTo>
                    <a:lnTo>
                      <a:pt x="5465" y="303"/>
                    </a:lnTo>
                    <a:lnTo>
                      <a:pt x="5510" y="308"/>
                    </a:lnTo>
                    <a:lnTo>
                      <a:pt x="5557" y="312"/>
                    </a:lnTo>
                    <a:lnTo>
                      <a:pt x="5602" y="317"/>
                    </a:lnTo>
                    <a:lnTo>
                      <a:pt x="5647" y="324"/>
                    </a:lnTo>
                    <a:lnTo>
                      <a:pt x="5738" y="337"/>
                    </a:lnTo>
                    <a:lnTo>
                      <a:pt x="5827" y="352"/>
                    </a:lnTo>
                    <a:lnTo>
                      <a:pt x="5913" y="369"/>
                    </a:lnTo>
                    <a:lnTo>
                      <a:pt x="5995" y="386"/>
                    </a:lnTo>
                    <a:lnTo>
                      <a:pt x="6074" y="406"/>
                    </a:lnTo>
                    <a:lnTo>
                      <a:pt x="6149" y="425"/>
                    </a:lnTo>
                    <a:lnTo>
                      <a:pt x="6218" y="446"/>
                    </a:lnTo>
                    <a:lnTo>
                      <a:pt x="6279" y="466"/>
                    </a:lnTo>
                    <a:lnTo>
                      <a:pt x="6308" y="477"/>
                    </a:lnTo>
                    <a:lnTo>
                      <a:pt x="6334" y="487"/>
                    </a:lnTo>
                    <a:lnTo>
                      <a:pt x="6359" y="497"/>
                    </a:lnTo>
                    <a:lnTo>
                      <a:pt x="6382" y="507"/>
                    </a:lnTo>
                    <a:lnTo>
                      <a:pt x="6416" y="522"/>
                    </a:lnTo>
                    <a:lnTo>
                      <a:pt x="6451" y="537"/>
                    </a:lnTo>
                    <a:lnTo>
                      <a:pt x="6487" y="549"/>
                    </a:lnTo>
                    <a:lnTo>
                      <a:pt x="6523" y="561"/>
                    </a:lnTo>
                    <a:lnTo>
                      <a:pt x="6560" y="572"/>
                    </a:lnTo>
                    <a:lnTo>
                      <a:pt x="6598" y="583"/>
                    </a:lnTo>
                    <a:lnTo>
                      <a:pt x="6636" y="592"/>
                    </a:lnTo>
                    <a:lnTo>
                      <a:pt x="6674" y="600"/>
                    </a:lnTo>
                    <a:lnTo>
                      <a:pt x="6728" y="610"/>
                    </a:lnTo>
                    <a:lnTo>
                      <a:pt x="6773" y="615"/>
                    </a:lnTo>
                    <a:lnTo>
                      <a:pt x="6805" y="619"/>
                    </a:lnTo>
                    <a:lnTo>
                      <a:pt x="6822" y="620"/>
                    </a:lnTo>
                    <a:lnTo>
                      <a:pt x="6834" y="614"/>
                    </a:lnTo>
                    <a:lnTo>
                      <a:pt x="6855" y="607"/>
                    </a:lnTo>
                    <a:lnTo>
                      <a:pt x="6882" y="598"/>
                    </a:lnTo>
                    <a:lnTo>
                      <a:pt x="6917" y="588"/>
                    </a:lnTo>
                    <a:lnTo>
                      <a:pt x="6939" y="584"/>
                    </a:lnTo>
                    <a:lnTo>
                      <a:pt x="6962" y="580"/>
                    </a:lnTo>
                    <a:lnTo>
                      <a:pt x="6988" y="576"/>
                    </a:lnTo>
                    <a:lnTo>
                      <a:pt x="7015" y="573"/>
                    </a:lnTo>
                    <a:lnTo>
                      <a:pt x="7044" y="570"/>
                    </a:lnTo>
                    <a:lnTo>
                      <a:pt x="7076" y="569"/>
                    </a:lnTo>
                    <a:lnTo>
                      <a:pt x="7110" y="568"/>
                    </a:lnTo>
                    <a:lnTo>
                      <a:pt x="7145" y="568"/>
                    </a:lnTo>
                    <a:lnTo>
                      <a:pt x="7184" y="569"/>
                    </a:lnTo>
                    <a:lnTo>
                      <a:pt x="7224" y="572"/>
                    </a:lnTo>
                    <a:lnTo>
                      <a:pt x="7267" y="575"/>
                    </a:lnTo>
                    <a:lnTo>
                      <a:pt x="7313" y="581"/>
                    </a:lnTo>
                    <a:lnTo>
                      <a:pt x="7359" y="588"/>
                    </a:lnTo>
                    <a:lnTo>
                      <a:pt x="7409" y="597"/>
                    </a:lnTo>
                    <a:lnTo>
                      <a:pt x="7460" y="608"/>
                    </a:lnTo>
                    <a:lnTo>
                      <a:pt x="7514" y="621"/>
                    </a:lnTo>
                    <a:lnTo>
                      <a:pt x="7572" y="636"/>
                    </a:lnTo>
                    <a:lnTo>
                      <a:pt x="7630" y="653"/>
                    </a:lnTo>
                    <a:lnTo>
                      <a:pt x="7692" y="673"/>
                    </a:lnTo>
                    <a:lnTo>
                      <a:pt x="7755" y="694"/>
                    </a:lnTo>
                    <a:lnTo>
                      <a:pt x="7822" y="719"/>
                    </a:lnTo>
                    <a:lnTo>
                      <a:pt x="7890" y="746"/>
                    </a:lnTo>
                    <a:lnTo>
                      <a:pt x="7962" y="777"/>
                    </a:lnTo>
                    <a:lnTo>
                      <a:pt x="8035" y="810"/>
                    </a:lnTo>
                    <a:lnTo>
                      <a:pt x="8105" y="845"/>
                    </a:lnTo>
                    <a:lnTo>
                      <a:pt x="8174" y="883"/>
                    </a:lnTo>
                    <a:lnTo>
                      <a:pt x="8242" y="923"/>
                    </a:lnTo>
                    <a:lnTo>
                      <a:pt x="8308" y="966"/>
                    </a:lnTo>
                    <a:lnTo>
                      <a:pt x="8372" y="1011"/>
                    </a:lnTo>
                    <a:lnTo>
                      <a:pt x="8434" y="1059"/>
                    </a:lnTo>
                    <a:lnTo>
                      <a:pt x="8495" y="1109"/>
                    </a:lnTo>
                    <a:lnTo>
                      <a:pt x="8553" y="1160"/>
                    </a:lnTo>
                    <a:lnTo>
                      <a:pt x="8610" y="1214"/>
                    </a:lnTo>
                    <a:lnTo>
                      <a:pt x="8667" y="1271"/>
                    </a:lnTo>
                    <a:lnTo>
                      <a:pt x="8721" y="1328"/>
                    </a:lnTo>
                    <a:lnTo>
                      <a:pt x="8772" y="1387"/>
                    </a:lnTo>
                    <a:lnTo>
                      <a:pt x="8823" y="1448"/>
                    </a:lnTo>
                    <a:lnTo>
                      <a:pt x="8872" y="1509"/>
                    </a:lnTo>
                    <a:lnTo>
                      <a:pt x="8919" y="1573"/>
                    </a:lnTo>
                    <a:lnTo>
                      <a:pt x="8965" y="1637"/>
                    </a:lnTo>
                    <a:lnTo>
                      <a:pt x="9009" y="1702"/>
                    </a:lnTo>
                    <a:lnTo>
                      <a:pt x="9051" y="1768"/>
                    </a:lnTo>
                    <a:lnTo>
                      <a:pt x="9091" y="1835"/>
                    </a:lnTo>
                    <a:lnTo>
                      <a:pt x="9130" y="1902"/>
                    </a:lnTo>
                    <a:lnTo>
                      <a:pt x="9168" y="1970"/>
                    </a:lnTo>
                    <a:lnTo>
                      <a:pt x="9202" y="2038"/>
                    </a:lnTo>
                    <a:lnTo>
                      <a:pt x="9237" y="2106"/>
                    </a:lnTo>
                    <a:lnTo>
                      <a:pt x="9268" y="2175"/>
                    </a:lnTo>
                    <a:lnTo>
                      <a:pt x="9299" y="2243"/>
                    </a:lnTo>
                    <a:lnTo>
                      <a:pt x="9327" y="2311"/>
                    </a:lnTo>
                    <a:lnTo>
                      <a:pt x="9354" y="2379"/>
                    </a:lnTo>
                    <a:lnTo>
                      <a:pt x="9380" y="2447"/>
                    </a:lnTo>
                    <a:lnTo>
                      <a:pt x="9404" y="2514"/>
                    </a:lnTo>
                    <a:lnTo>
                      <a:pt x="9426" y="2581"/>
                    </a:lnTo>
                    <a:lnTo>
                      <a:pt x="9446" y="2647"/>
                    </a:lnTo>
                    <a:lnTo>
                      <a:pt x="9465" y="2712"/>
                    </a:lnTo>
                    <a:lnTo>
                      <a:pt x="9473" y="2743"/>
                    </a:lnTo>
                    <a:lnTo>
                      <a:pt x="9481" y="2773"/>
                    </a:lnTo>
                    <a:lnTo>
                      <a:pt x="9488" y="2803"/>
                    </a:lnTo>
                    <a:lnTo>
                      <a:pt x="9494" y="2834"/>
                    </a:lnTo>
                    <a:lnTo>
                      <a:pt x="9499" y="2863"/>
                    </a:lnTo>
                    <a:lnTo>
                      <a:pt x="9505" y="2892"/>
                    </a:lnTo>
                    <a:lnTo>
                      <a:pt x="9508" y="2921"/>
                    </a:lnTo>
                    <a:lnTo>
                      <a:pt x="9511" y="2949"/>
                    </a:lnTo>
                    <a:lnTo>
                      <a:pt x="9516" y="3004"/>
                    </a:lnTo>
                    <a:lnTo>
                      <a:pt x="9520" y="3057"/>
                    </a:lnTo>
                    <a:lnTo>
                      <a:pt x="9520" y="3108"/>
                    </a:lnTo>
                    <a:lnTo>
                      <a:pt x="9519" y="3156"/>
                    </a:lnTo>
                    <a:lnTo>
                      <a:pt x="9515" y="3204"/>
                    </a:lnTo>
                    <a:lnTo>
                      <a:pt x="9511" y="3248"/>
                    </a:lnTo>
                    <a:lnTo>
                      <a:pt x="9505" y="3291"/>
                    </a:lnTo>
                    <a:lnTo>
                      <a:pt x="9498" y="3332"/>
                    </a:lnTo>
                    <a:lnTo>
                      <a:pt x="9489" y="3370"/>
                    </a:lnTo>
                    <a:lnTo>
                      <a:pt x="9481" y="3407"/>
                    </a:lnTo>
                    <a:lnTo>
                      <a:pt x="9471" y="3440"/>
                    </a:lnTo>
                    <a:lnTo>
                      <a:pt x="9461" y="3472"/>
                    </a:lnTo>
                    <a:lnTo>
                      <a:pt x="9448" y="3507"/>
                    </a:lnTo>
                    <a:lnTo>
                      <a:pt x="9437" y="3537"/>
                    </a:lnTo>
                    <a:lnTo>
                      <a:pt x="9425" y="3564"/>
                    </a:lnTo>
                    <a:lnTo>
                      <a:pt x="9415" y="3586"/>
                    </a:lnTo>
                    <a:lnTo>
                      <a:pt x="9399" y="3616"/>
                    </a:lnTo>
                    <a:lnTo>
                      <a:pt x="9392" y="3628"/>
                    </a:lnTo>
                    <a:lnTo>
                      <a:pt x="9389" y="3631"/>
                    </a:lnTo>
                    <a:lnTo>
                      <a:pt x="9385" y="3634"/>
                    </a:lnTo>
                    <a:lnTo>
                      <a:pt x="9379" y="3635"/>
                    </a:lnTo>
                    <a:lnTo>
                      <a:pt x="9375" y="3634"/>
                    </a:lnTo>
                    <a:lnTo>
                      <a:pt x="9134" y="3525"/>
                    </a:lnTo>
                    <a:lnTo>
                      <a:pt x="9116" y="3516"/>
                    </a:lnTo>
                    <a:lnTo>
                      <a:pt x="9099" y="3506"/>
                    </a:lnTo>
                    <a:lnTo>
                      <a:pt x="9080" y="3495"/>
                    </a:lnTo>
                    <a:lnTo>
                      <a:pt x="9062" y="3483"/>
                    </a:lnTo>
                    <a:lnTo>
                      <a:pt x="9042" y="3471"/>
                    </a:lnTo>
                    <a:lnTo>
                      <a:pt x="9024" y="3457"/>
                    </a:lnTo>
                    <a:lnTo>
                      <a:pt x="9005" y="3441"/>
                    </a:lnTo>
                    <a:lnTo>
                      <a:pt x="8984" y="3426"/>
                    </a:lnTo>
                    <a:lnTo>
                      <a:pt x="8944" y="3393"/>
                    </a:lnTo>
                    <a:lnTo>
                      <a:pt x="8903" y="3357"/>
                    </a:lnTo>
                    <a:lnTo>
                      <a:pt x="8861" y="3319"/>
                    </a:lnTo>
                    <a:lnTo>
                      <a:pt x="8819" y="3281"/>
                    </a:lnTo>
                    <a:lnTo>
                      <a:pt x="8748" y="3216"/>
                    </a:lnTo>
                    <a:lnTo>
                      <a:pt x="8673" y="3151"/>
                    </a:lnTo>
                    <a:lnTo>
                      <a:pt x="8636" y="3120"/>
                    </a:lnTo>
                    <a:lnTo>
                      <a:pt x="8599" y="3089"/>
                    </a:lnTo>
                    <a:lnTo>
                      <a:pt x="8560" y="3060"/>
                    </a:lnTo>
                    <a:lnTo>
                      <a:pt x="8522" y="3033"/>
                    </a:lnTo>
                    <a:lnTo>
                      <a:pt x="8483" y="3007"/>
                    </a:lnTo>
                    <a:lnTo>
                      <a:pt x="8444" y="2985"/>
                    </a:lnTo>
                    <a:lnTo>
                      <a:pt x="8425" y="2974"/>
                    </a:lnTo>
                    <a:lnTo>
                      <a:pt x="8405" y="2964"/>
                    </a:lnTo>
                    <a:lnTo>
                      <a:pt x="8386" y="2955"/>
                    </a:lnTo>
                    <a:lnTo>
                      <a:pt x="8365" y="2946"/>
                    </a:lnTo>
                    <a:lnTo>
                      <a:pt x="8346" y="2938"/>
                    </a:lnTo>
                    <a:lnTo>
                      <a:pt x="8327" y="2932"/>
                    </a:lnTo>
                    <a:lnTo>
                      <a:pt x="8307" y="2926"/>
                    </a:lnTo>
                    <a:lnTo>
                      <a:pt x="8288" y="2921"/>
                    </a:lnTo>
                    <a:lnTo>
                      <a:pt x="8267" y="2917"/>
                    </a:lnTo>
                    <a:lnTo>
                      <a:pt x="8248" y="2914"/>
                    </a:lnTo>
                    <a:lnTo>
                      <a:pt x="8228" y="2912"/>
                    </a:lnTo>
                    <a:lnTo>
                      <a:pt x="8209" y="2911"/>
                    </a:lnTo>
                    <a:lnTo>
                      <a:pt x="8185" y="2911"/>
                    </a:lnTo>
                    <a:lnTo>
                      <a:pt x="8161" y="2912"/>
                    </a:lnTo>
                    <a:lnTo>
                      <a:pt x="8138" y="2914"/>
                    </a:lnTo>
                    <a:lnTo>
                      <a:pt x="8112" y="2917"/>
                    </a:lnTo>
                    <a:lnTo>
                      <a:pt x="8086" y="2920"/>
                    </a:lnTo>
                    <a:lnTo>
                      <a:pt x="8059" y="2925"/>
                    </a:lnTo>
                    <a:lnTo>
                      <a:pt x="8032" y="2931"/>
                    </a:lnTo>
                    <a:lnTo>
                      <a:pt x="8003" y="2937"/>
                    </a:lnTo>
                    <a:lnTo>
                      <a:pt x="7964" y="2947"/>
                    </a:lnTo>
                    <a:lnTo>
                      <a:pt x="7925" y="2958"/>
                    </a:lnTo>
                    <a:lnTo>
                      <a:pt x="7885" y="2969"/>
                    </a:lnTo>
                    <a:lnTo>
                      <a:pt x="7845" y="2982"/>
                    </a:lnTo>
                    <a:lnTo>
                      <a:pt x="7803" y="2996"/>
                    </a:lnTo>
                    <a:lnTo>
                      <a:pt x="7762" y="3010"/>
                    </a:lnTo>
                    <a:lnTo>
                      <a:pt x="7719" y="3024"/>
                    </a:lnTo>
                    <a:lnTo>
                      <a:pt x="7675" y="3039"/>
                    </a:lnTo>
                    <a:lnTo>
                      <a:pt x="7632" y="3054"/>
                    </a:lnTo>
                    <a:lnTo>
                      <a:pt x="7587" y="3069"/>
                    </a:lnTo>
                    <a:lnTo>
                      <a:pt x="7543" y="3085"/>
                    </a:lnTo>
                    <a:lnTo>
                      <a:pt x="7496" y="3100"/>
                    </a:lnTo>
                    <a:lnTo>
                      <a:pt x="7450" y="3114"/>
                    </a:lnTo>
                    <a:lnTo>
                      <a:pt x="7402" y="3129"/>
                    </a:lnTo>
                    <a:lnTo>
                      <a:pt x="7354" y="3143"/>
                    </a:lnTo>
                    <a:lnTo>
                      <a:pt x="7305" y="3156"/>
                    </a:lnTo>
                    <a:lnTo>
                      <a:pt x="7255" y="3168"/>
                    </a:lnTo>
                    <a:lnTo>
                      <a:pt x="7205" y="3180"/>
                    </a:lnTo>
                    <a:lnTo>
                      <a:pt x="7153" y="3191"/>
                    </a:lnTo>
                    <a:lnTo>
                      <a:pt x="7101" y="3201"/>
                    </a:lnTo>
                    <a:lnTo>
                      <a:pt x="7047" y="3208"/>
                    </a:lnTo>
                    <a:lnTo>
                      <a:pt x="6994" y="3215"/>
                    </a:lnTo>
                    <a:lnTo>
                      <a:pt x="6939" y="3220"/>
                    </a:lnTo>
                    <a:lnTo>
                      <a:pt x="6883" y="3223"/>
                    </a:lnTo>
                    <a:lnTo>
                      <a:pt x="6841" y="3224"/>
                    </a:lnTo>
                    <a:lnTo>
                      <a:pt x="6735" y="3230"/>
                    </a:lnTo>
                    <a:lnTo>
                      <a:pt x="6629" y="3233"/>
                    </a:lnTo>
                    <a:lnTo>
                      <a:pt x="6521" y="3236"/>
                    </a:lnTo>
                    <a:lnTo>
                      <a:pt x="6412" y="3238"/>
                    </a:lnTo>
                    <a:lnTo>
                      <a:pt x="6302" y="3240"/>
                    </a:lnTo>
                    <a:lnTo>
                      <a:pt x="6192" y="3237"/>
                    </a:lnTo>
                    <a:lnTo>
                      <a:pt x="6137" y="3236"/>
                    </a:lnTo>
                    <a:lnTo>
                      <a:pt x="6082" y="3233"/>
                    </a:lnTo>
                    <a:lnTo>
                      <a:pt x="6025" y="3230"/>
                    </a:lnTo>
                    <a:lnTo>
                      <a:pt x="5970" y="3227"/>
                    </a:lnTo>
                    <a:lnTo>
                      <a:pt x="5915" y="3221"/>
                    </a:lnTo>
                    <a:lnTo>
                      <a:pt x="5860" y="3216"/>
                    </a:lnTo>
                    <a:lnTo>
                      <a:pt x="5805" y="3209"/>
                    </a:lnTo>
                    <a:lnTo>
                      <a:pt x="5750" y="3202"/>
                    </a:lnTo>
                    <a:lnTo>
                      <a:pt x="5695" y="3192"/>
                    </a:lnTo>
                    <a:lnTo>
                      <a:pt x="5641" y="3182"/>
                    </a:lnTo>
                    <a:lnTo>
                      <a:pt x="5587" y="3172"/>
                    </a:lnTo>
                    <a:lnTo>
                      <a:pt x="5532" y="3159"/>
                    </a:lnTo>
                    <a:lnTo>
                      <a:pt x="5479" y="3146"/>
                    </a:lnTo>
                    <a:lnTo>
                      <a:pt x="5425" y="3131"/>
                    </a:lnTo>
                    <a:lnTo>
                      <a:pt x="5372" y="3114"/>
                    </a:lnTo>
                    <a:lnTo>
                      <a:pt x="5319" y="3096"/>
                    </a:lnTo>
                    <a:lnTo>
                      <a:pt x="5267" y="3077"/>
                    </a:lnTo>
                    <a:lnTo>
                      <a:pt x="5216" y="3056"/>
                    </a:lnTo>
                    <a:lnTo>
                      <a:pt x="5164" y="3033"/>
                    </a:lnTo>
                    <a:lnTo>
                      <a:pt x="5113" y="3010"/>
                    </a:lnTo>
                    <a:lnTo>
                      <a:pt x="5027" y="2968"/>
                    </a:lnTo>
                    <a:lnTo>
                      <a:pt x="4933" y="2921"/>
                    </a:lnTo>
                    <a:lnTo>
                      <a:pt x="4831" y="2871"/>
                    </a:lnTo>
                    <a:lnTo>
                      <a:pt x="4724" y="2820"/>
                    </a:lnTo>
                    <a:lnTo>
                      <a:pt x="4612" y="2765"/>
                    </a:lnTo>
                    <a:lnTo>
                      <a:pt x="4497" y="2710"/>
                    </a:lnTo>
                    <a:lnTo>
                      <a:pt x="4382" y="2653"/>
                    </a:lnTo>
                    <a:lnTo>
                      <a:pt x="4265" y="2597"/>
                    </a:lnTo>
                    <a:lnTo>
                      <a:pt x="4150" y="2542"/>
                    </a:lnTo>
                    <a:lnTo>
                      <a:pt x="4037" y="2487"/>
                    </a:lnTo>
                    <a:lnTo>
                      <a:pt x="3928" y="2435"/>
                    </a:lnTo>
                    <a:lnTo>
                      <a:pt x="3824" y="2385"/>
                    </a:lnTo>
                    <a:lnTo>
                      <a:pt x="3727" y="2338"/>
                    </a:lnTo>
                    <a:lnTo>
                      <a:pt x="3637" y="2295"/>
                    </a:lnTo>
                    <a:lnTo>
                      <a:pt x="3556" y="2257"/>
                    </a:lnTo>
                    <a:lnTo>
                      <a:pt x="3486" y="2224"/>
                    </a:lnTo>
                    <a:lnTo>
                      <a:pt x="3391" y="2177"/>
                    </a:lnTo>
                    <a:lnTo>
                      <a:pt x="3386" y="2178"/>
                    </a:lnTo>
                    <a:lnTo>
                      <a:pt x="3378" y="2182"/>
                    </a:lnTo>
                    <a:lnTo>
                      <a:pt x="3368" y="2185"/>
                    </a:lnTo>
                    <a:lnTo>
                      <a:pt x="3355" y="2191"/>
                    </a:lnTo>
                    <a:lnTo>
                      <a:pt x="3340" y="2199"/>
                    </a:lnTo>
                    <a:lnTo>
                      <a:pt x="3323" y="2211"/>
                    </a:lnTo>
                    <a:lnTo>
                      <a:pt x="3303" y="2225"/>
                    </a:lnTo>
                    <a:lnTo>
                      <a:pt x="3282" y="2243"/>
                    </a:lnTo>
                    <a:lnTo>
                      <a:pt x="3258" y="2265"/>
                    </a:lnTo>
                    <a:lnTo>
                      <a:pt x="3233" y="2292"/>
                    </a:lnTo>
                    <a:lnTo>
                      <a:pt x="3206" y="2322"/>
                    </a:lnTo>
                    <a:lnTo>
                      <a:pt x="3178" y="2359"/>
                    </a:lnTo>
                    <a:lnTo>
                      <a:pt x="3164" y="2379"/>
                    </a:lnTo>
                    <a:lnTo>
                      <a:pt x="3149" y="2401"/>
                    </a:lnTo>
                    <a:lnTo>
                      <a:pt x="3134" y="2425"/>
                    </a:lnTo>
                    <a:lnTo>
                      <a:pt x="3117" y="2449"/>
                    </a:lnTo>
                    <a:lnTo>
                      <a:pt x="3102" y="2475"/>
                    </a:lnTo>
                    <a:lnTo>
                      <a:pt x="3086" y="2503"/>
                    </a:lnTo>
                    <a:lnTo>
                      <a:pt x="3069" y="2534"/>
                    </a:lnTo>
                    <a:lnTo>
                      <a:pt x="3053" y="2565"/>
                    </a:lnTo>
                    <a:lnTo>
                      <a:pt x="3037" y="2626"/>
                    </a:lnTo>
                    <a:lnTo>
                      <a:pt x="3015" y="2701"/>
                    </a:lnTo>
                    <a:lnTo>
                      <a:pt x="2988" y="2785"/>
                    </a:lnTo>
                    <a:lnTo>
                      <a:pt x="2958" y="2878"/>
                    </a:lnTo>
                    <a:lnTo>
                      <a:pt x="2923" y="2978"/>
                    </a:lnTo>
                    <a:lnTo>
                      <a:pt x="2885" y="3084"/>
                    </a:lnTo>
                    <a:lnTo>
                      <a:pt x="2845" y="3193"/>
                    </a:lnTo>
                    <a:lnTo>
                      <a:pt x="2802" y="3305"/>
                    </a:lnTo>
                    <a:lnTo>
                      <a:pt x="2759" y="3418"/>
                    </a:lnTo>
                    <a:lnTo>
                      <a:pt x="2714" y="3529"/>
                    </a:lnTo>
                    <a:lnTo>
                      <a:pt x="2668" y="3638"/>
                    </a:lnTo>
                    <a:lnTo>
                      <a:pt x="2623" y="3743"/>
                    </a:lnTo>
                    <a:lnTo>
                      <a:pt x="2600" y="3793"/>
                    </a:lnTo>
                    <a:lnTo>
                      <a:pt x="2578" y="3842"/>
                    </a:lnTo>
                    <a:lnTo>
                      <a:pt x="2555" y="3888"/>
                    </a:lnTo>
                    <a:lnTo>
                      <a:pt x="2533" y="3934"/>
                    </a:lnTo>
                    <a:lnTo>
                      <a:pt x="2512" y="3976"/>
                    </a:lnTo>
                    <a:lnTo>
                      <a:pt x="2490" y="4016"/>
                    </a:lnTo>
                    <a:lnTo>
                      <a:pt x="2470" y="4053"/>
                    </a:lnTo>
                    <a:lnTo>
                      <a:pt x="2450" y="4088"/>
                    </a:lnTo>
                    <a:lnTo>
                      <a:pt x="2419" y="40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7"/>
              <p:cNvSpPr>
                <a:spLocks noEditPoints="1"/>
              </p:cNvSpPr>
              <p:nvPr userDrawn="1"/>
            </p:nvSpPr>
            <p:spPr bwMode="auto">
              <a:xfrm>
                <a:off x="2468" y="3147"/>
                <a:ext cx="954" cy="1022"/>
              </a:xfrm>
              <a:custGeom>
                <a:avLst/>
                <a:gdLst>
                  <a:gd name="T0" fmla="*/ 2441 w 2862"/>
                  <a:gd name="T1" fmla="*/ 2937 h 3066"/>
                  <a:gd name="T2" fmla="*/ 2326 w 2862"/>
                  <a:gd name="T3" fmla="*/ 2857 h 3066"/>
                  <a:gd name="T4" fmla="*/ 2015 w 2862"/>
                  <a:gd name="T5" fmla="*/ 2582 h 3066"/>
                  <a:gd name="T6" fmla="*/ 1786 w 2862"/>
                  <a:gd name="T7" fmla="*/ 2416 h 3066"/>
                  <a:gd name="T8" fmla="*/ 1669 w 2862"/>
                  <a:gd name="T9" fmla="*/ 2363 h 3066"/>
                  <a:gd name="T10" fmla="*/ 1551 w 2862"/>
                  <a:gd name="T11" fmla="*/ 2342 h 3066"/>
                  <a:gd name="T12" fmla="*/ 1527 w 2862"/>
                  <a:gd name="T13" fmla="*/ 2323 h 3066"/>
                  <a:gd name="T14" fmla="*/ 1462 w 2862"/>
                  <a:gd name="T15" fmla="*/ 2164 h 3066"/>
                  <a:gd name="T16" fmla="*/ 1311 w 2862"/>
                  <a:gd name="T17" fmla="*/ 1781 h 3066"/>
                  <a:gd name="T18" fmla="*/ 1122 w 2862"/>
                  <a:gd name="T19" fmla="*/ 1391 h 3066"/>
                  <a:gd name="T20" fmla="*/ 851 w 2862"/>
                  <a:gd name="T21" fmla="*/ 950 h 3066"/>
                  <a:gd name="T22" fmla="*/ 483 w 2862"/>
                  <a:gd name="T23" fmla="*/ 493 h 3066"/>
                  <a:gd name="T24" fmla="*/ 6 w 2862"/>
                  <a:gd name="T25" fmla="*/ 55 h 3066"/>
                  <a:gd name="T26" fmla="*/ 8 w 2862"/>
                  <a:gd name="T27" fmla="*/ 32 h 3066"/>
                  <a:gd name="T28" fmla="*/ 165 w 2862"/>
                  <a:gd name="T29" fmla="*/ 51 h 3066"/>
                  <a:gd name="T30" fmla="*/ 294 w 2862"/>
                  <a:gd name="T31" fmla="*/ 14 h 3066"/>
                  <a:gd name="T32" fmla="*/ 466 w 2862"/>
                  <a:gd name="T33" fmla="*/ 0 h 3066"/>
                  <a:gd name="T34" fmla="*/ 778 w 2862"/>
                  <a:gd name="T35" fmla="*/ 33 h 3066"/>
                  <a:gd name="T36" fmla="*/ 1126 w 2862"/>
                  <a:gd name="T37" fmla="*/ 136 h 3066"/>
                  <a:gd name="T38" fmla="*/ 1516 w 2862"/>
                  <a:gd name="T39" fmla="*/ 314 h 3066"/>
                  <a:gd name="T40" fmla="*/ 1895 w 2862"/>
                  <a:gd name="T41" fmla="*/ 591 h 3066"/>
                  <a:gd name="T42" fmla="*/ 2214 w 2862"/>
                  <a:gd name="T43" fmla="*/ 940 h 3066"/>
                  <a:gd name="T44" fmla="*/ 2472 w 2862"/>
                  <a:gd name="T45" fmla="*/ 1333 h 3066"/>
                  <a:gd name="T46" fmla="*/ 2669 w 2862"/>
                  <a:gd name="T47" fmla="*/ 1742 h 3066"/>
                  <a:gd name="T48" fmla="*/ 2807 w 2862"/>
                  <a:gd name="T49" fmla="*/ 2143 h 3066"/>
                  <a:gd name="T50" fmla="*/ 2847 w 2862"/>
                  <a:gd name="T51" fmla="*/ 2323 h 3066"/>
                  <a:gd name="T52" fmla="*/ 2861 w 2862"/>
                  <a:gd name="T53" fmla="*/ 2587 h 3066"/>
                  <a:gd name="T54" fmla="*/ 2823 w 2862"/>
                  <a:gd name="T55" fmla="*/ 2838 h 3066"/>
                  <a:gd name="T56" fmla="*/ 2757 w 2862"/>
                  <a:gd name="T57" fmla="*/ 3017 h 3066"/>
                  <a:gd name="T58" fmla="*/ 2722 w 2862"/>
                  <a:gd name="T59" fmla="*/ 3066 h 3066"/>
                  <a:gd name="T60" fmla="*/ 1635 w 2862"/>
                  <a:gd name="T61" fmla="*/ 2326 h 3066"/>
                  <a:gd name="T62" fmla="*/ 1757 w 2862"/>
                  <a:gd name="T63" fmla="*/ 2369 h 3066"/>
                  <a:gd name="T64" fmla="*/ 1955 w 2862"/>
                  <a:gd name="T65" fmla="*/ 2498 h 3066"/>
                  <a:gd name="T66" fmla="*/ 2262 w 2862"/>
                  <a:gd name="T67" fmla="*/ 2767 h 3066"/>
                  <a:gd name="T68" fmla="*/ 2452 w 2862"/>
                  <a:gd name="T69" fmla="*/ 2913 h 3066"/>
                  <a:gd name="T70" fmla="*/ 2750 w 2862"/>
                  <a:gd name="T71" fmla="*/ 2965 h 3066"/>
                  <a:gd name="T72" fmla="*/ 2806 w 2862"/>
                  <a:gd name="T73" fmla="*/ 2795 h 3066"/>
                  <a:gd name="T74" fmla="*/ 2835 w 2862"/>
                  <a:gd name="T75" fmla="*/ 2538 h 3066"/>
                  <a:gd name="T76" fmla="*/ 2815 w 2862"/>
                  <a:gd name="T77" fmla="*/ 2298 h 3066"/>
                  <a:gd name="T78" fmla="*/ 2762 w 2862"/>
                  <a:gd name="T79" fmla="*/ 2085 h 3066"/>
                  <a:gd name="T80" fmla="*/ 2617 w 2862"/>
                  <a:gd name="T81" fmla="*/ 1686 h 3066"/>
                  <a:gd name="T82" fmla="*/ 2410 w 2862"/>
                  <a:gd name="T83" fmla="*/ 1280 h 3066"/>
                  <a:gd name="T84" fmla="*/ 2146 w 2862"/>
                  <a:gd name="T85" fmla="*/ 897 h 3066"/>
                  <a:gd name="T86" fmla="*/ 1821 w 2862"/>
                  <a:gd name="T87" fmla="*/ 561 h 3066"/>
                  <a:gd name="T88" fmla="*/ 1435 w 2862"/>
                  <a:gd name="T89" fmla="*/ 300 h 3066"/>
                  <a:gd name="T90" fmla="*/ 1004 w 2862"/>
                  <a:gd name="T91" fmla="*/ 123 h 3066"/>
                  <a:gd name="T92" fmla="*/ 668 w 2862"/>
                  <a:gd name="T93" fmla="*/ 42 h 3066"/>
                  <a:gd name="T94" fmla="*/ 430 w 2862"/>
                  <a:gd name="T95" fmla="*/ 27 h 3066"/>
                  <a:gd name="T96" fmla="*/ 266 w 2862"/>
                  <a:gd name="T97" fmla="*/ 47 h 3066"/>
                  <a:gd name="T98" fmla="*/ 171 w 2862"/>
                  <a:gd name="T99" fmla="*/ 78 h 3066"/>
                  <a:gd name="T100" fmla="*/ 150 w 2862"/>
                  <a:gd name="T101" fmla="*/ 137 h 3066"/>
                  <a:gd name="T102" fmla="*/ 596 w 2862"/>
                  <a:gd name="T103" fmla="*/ 580 h 3066"/>
                  <a:gd name="T104" fmla="*/ 939 w 2862"/>
                  <a:gd name="T105" fmla="*/ 1031 h 3066"/>
                  <a:gd name="T106" fmla="*/ 1189 w 2862"/>
                  <a:gd name="T107" fmla="*/ 1460 h 3066"/>
                  <a:gd name="T108" fmla="*/ 1363 w 2862"/>
                  <a:gd name="T109" fmla="*/ 1834 h 3066"/>
                  <a:gd name="T110" fmla="*/ 1509 w 2862"/>
                  <a:gd name="T111" fmla="*/ 2212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2" h="3066">
                    <a:moveTo>
                      <a:pt x="2722" y="3066"/>
                    </a:moveTo>
                    <a:lnTo>
                      <a:pt x="2720" y="3065"/>
                    </a:lnTo>
                    <a:lnTo>
                      <a:pt x="2717" y="3065"/>
                    </a:lnTo>
                    <a:lnTo>
                      <a:pt x="2476" y="2956"/>
                    </a:lnTo>
                    <a:lnTo>
                      <a:pt x="2458" y="2947"/>
                    </a:lnTo>
                    <a:lnTo>
                      <a:pt x="2441" y="2937"/>
                    </a:lnTo>
                    <a:lnTo>
                      <a:pt x="2422" y="2926"/>
                    </a:lnTo>
                    <a:lnTo>
                      <a:pt x="2404" y="2914"/>
                    </a:lnTo>
                    <a:lnTo>
                      <a:pt x="2384" y="2902"/>
                    </a:lnTo>
                    <a:lnTo>
                      <a:pt x="2366" y="2888"/>
                    </a:lnTo>
                    <a:lnTo>
                      <a:pt x="2347" y="2872"/>
                    </a:lnTo>
                    <a:lnTo>
                      <a:pt x="2326" y="2857"/>
                    </a:lnTo>
                    <a:lnTo>
                      <a:pt x="2286" y="2824"/>
                    </a:lnTo>
                    <a:lnTo>
                      <a:pt x="2245" y="2788"/>
                    </a:lnTo>
                    <a:lnTo>
                      <a:pt x="2203" y="2750"/>
                    </a:lnTo>
                    <a:lnTo>
                      <a:pt x="2161" y="2712"/>
                    </a:lnTo>
                    <a:lnTo>
                      <a:pt x="2090" y="2647"/>
                    </a:lnTo>
                    <a:lnTo>
                      <a:pt x="2015" y="2582"/>
                    </a:lnTo>
                    <a:lnTo>
                      <a:pt x="1978" y="2551"/>
                    </a:lnTo>
                    <a:lnTo>
                      <a:pt x="1941" y="2520"/>
                    </a:lnTo>
                    <a:lnTo>
                      <a:pt x="1902" y="2491"/>
                    </a:lnTo>
                    <a:lnTo>
                      <a:pt x="1864" y="2464"/>
                    </a:lnTo>
                    <a:lnTo>
                      <a:pt x="1825" y="2438"/>
                    </a:lnTo>
                    <a:lnTo>
                      <a:pt x="1786" y="2416"/>
                    </a:lnTo>
                    <a:lnTo>
                      <a:pt x="1767" y="2405"/>
                    </a:lnTo>
                    <a:lnTo>
                      <a:pt x="1747" y="2395"/>
                    </a:lnTo>
                    <a:lnTo>
                      <a:pt x="1728" y="2386"/>
                    </a:lnTo>
                    <a:lnTo>
                      <a:pt x="1707" y="2377"/>
                    </a:lnTo>
                    <a:lnTo>
                      <a:pt x="1688" y="2369"/>
                    </a:lnTo>
                    <a:lnTo>
                      <a:pt x="1669" y="2363"/>
                    </a:lnTo>
                    <a:lnTo>
                      <a:pt x="1649" y="2357"/>
                    </a:lnTo>
                    <a:lnTo>
                      <a:pt x="1630" y="2352"/>
                    </a:lnTo>
                    <a:lnTo>
                      <a:pt x="1609" y="2348"/>
                    </a:lnTo>
                    <a:lnTo>
                      <a:pt x="1590" y="2345"/>
                    </a:lnTo>
                    <a:lnTo>
                      <a:pt x="1570" y="2343"/>
                    </a:lnTo>
                    <a:lnTo>
                      <a:pt x="1551" y="2342"/>
                    </a:lnTo>
                    <a:lnTo>
                      <a:pt x="1546" y="2341"/>
                    </a:lnTo>
                    <a:lnTo>
                      <a:pt x="1542" y="2340"/>
                    </a:lnTo>
                    <a:lnTo>
                      <a:pt x="1539" y="2338"/>
                    </a:lnTo>
                    <a:lnTo>
                      <a:pt x="1535" y="2334"/>
                    </a:lnTo>
                    <a:lnTo>
                      <a:pt x="1530" y="2329"/>
                    </a:lnTo>
                    <a:lnTo>
                      <a:pt x="1527" y="2323"/>
                    </a:lnTo>
                    <a:lnTo>
                      <a:pt x="1523" y="2315"/>
                    </a:lnTo>
                    <a:lnTo>
                      <a:pt x="1517" y="2307"/>
                    </a:lnTo>
                    <a:lnTo>
                      <a:pt x="1508" y="2283"/>
                    </a:lnTo>
                    <a:lnTo>
                      <a:pt x="1495" y="2253"/>
                    </a:lnTo>
                    <a:lnTo>
                      <a:pt x="1481" y="2213"/>
                    </a:lnTo>
                    <a:lnTo>
                      <a:pt x="1462" y="2164"/>
                    </a:lnTo>
                    <a:lnTo>
                      <a:pt x="1434" y="2087"/>
                    </a:lnTo>
                    <a:lnTo>
                      <a:pt x="1400" y="1997"/>
                    </a:lnTo>
                    <a:lnTo>
                      <a:pt x="1380" y="1947"/>
                    </a:lnTo>
                    <a:lnTo>
                      <a:pt x="1359" y="1894"/>
                    </a:lnTo>
                    <a:lnTo>
                      <a:pt x="1336" y="1839"/>
                    </a:lnTo>
                    <a:lnTo>
                      <a:pt x="1311" y="1781"/>
                    </a:lnTo>
                    <a:lnTo>
                      <a:pt x="1285" y="1721"/>
                    </a:lnTo>
                    <a:lnTo>
                      <a:pt x="1256" y="1659"/>
                    </a:lnTo>
                    <a:lnTo>
                      <a:pt x="1226" y="1594"/>
                    </a:lnTo>
                    <a:lnTo>
                      <a:pt x="1193" y="1528"/>
                    </a:lnTo>
                    <a:lnTo>
                      <a:pt x="1159" y="1460"/>
                    </a:lnTo>
                    <a:lnTo>
                      <a:pt x="1122" y="1391"/>
                    </a:lnTo>
                    <a:lnTo>
                      <a:pt x="1082" y="1320"/>
                    </a:lnTo>
                    <a:lnTo>
                      <a:pt x="1041" y="1248"/>
                    </a:lnTo>
                    <a:lnTo>
                      <a:pt x="997" y="1174"/>
                    </a:lnTo>
                    <a:lnTo>
                      <a:pt x="952" y="1101"/>
                    </a:lnTo>
                    <a:lnTo>
                      <a:pt x="902" y="1025"/>
                    </a:lnTo>
                    <a:lnTo>
                      <a:pt x="851" y="950"/>
                    </a:lnTo>
                    <a:lnTo>
                      <a:pt x="796" y="874"/>
                    </a:lnTo>
                    <a:lnTo>
                      <a:pt x="740" y="798"/>
                    </a:lnTo>
                    <a:lnTo>
                      <a:pt x="679" y="722"/>
                    </a:lnTo>
                    <a:lnTo>
                      <a:pt x="618" y="645"/>
                    </a:lnTo>
                    <a:lnTo>
                      <a:pt x="552" y="569"/>
                    </a:lnTo>
                    <a:lnTo>
                      <a:pt x="483" y="493"/>
                    </a:lnTo>
                    <a:lnTo>
                      <a:pt x="412" y="418"/>
                    </a:lnTo>
                    <a:lnTo>
                      <a:pt x="337" y="343"/>
                    </a:lnTo>
                    <a:lnTo>
                      <a:pt x="259" y="270"/>
                    </a:lnTo>
                    <a:lnTo>
                      <a:pt x="178" y="196"/>
                    </a:lnTo>
                    <a:lnTo>
                      <a:pt x="93" y="125"/>
                    </a:lnTo>
                    <a:lnTo>
                      <a:pt x="6" y="55"/>
                    </a:lnTo>
                    <a:lnTo>
                      <a:pt x="2" y="52"/>
                    </a:lnTo>
                    <a:lnTo>
                      <a:pt x="0" y="47"/>
                    </a:lnTo>
                    <a:lnTo>
                      <a:pt x="0" y="43"/>
                    </a:lnTo>
                    <a:lnTo>
                      <a:pt x="1" y="39"/>
                    </a:lnTo>
                    <a:lnTo>
                      <a:pt x="5" y="34"/>
                    </a:lnTo>
                    <a:lnTo>
                      <a:pt x="8" y="32"/>
                    </a:lnTo>
                    <a:lnTo>
                      <a:pt x="12" y="31"/>
                    </a:lnTo>
                    <a:lnTo>
                      <a:pt x="16" y="31"/>
                    </a:lnTo>
                    <a:lnTo>
                      <a:pt x="70" y="41"/>
                    </a:lnTo>
                    <a:lnTo>
                      <a:pt x="115" y="46"/>
                    </a:lnTo>
                    <a:lnTo>
                      <a:pt x="147" y="50"/>
                    </a:lnTo>
                    <a:lnTo>
                      <a:pt x="165" y="51"/>
                    </a:lnTo>
                    <a:lnTo>
                      <a:pt x="176" y="46"/>
                    </a:lnTo>
                    <a:lnTo>
                      <a:pt x="195" y="39"/>
                    </a:lnTo>
                    <a:lnTo>
                      <a:pt x="219" y="31"/>
                    </a:lnTo>
                    <a:lnTo>
                      <a:pt x="253" y="21"/>
                    </a:lnTo>
                    <a:lnTo>
                      <a:pt x="272" y="17"/>
                    </a:lnTo>
                    <a:lnTo>
                      <a:pt x="294" y="14"/>
                    </a:lnTo>
                    <a:lnTo>
                      <a:pt x="318" y="10"/>
                    </a:lnTo>
                    <a:lnTo>
                      <a:pt x="344" y="6"/>
                    </a:lnTo>
                    <a:lnTo>
                      <a:pt x="371" y="4"/>
                    </a:lnTo>
                    <a:lnTo>
                      <a:pt x="401" y="2"/>
                    </a:lnTo>
                    <a:lnTo>
                      <a:pt x="432" y="0"/>
                    </a:lnTo>
                    <a:lnTo>
                      <a:pt x="466" y="0"/>
                    </a:lnTo>
                    <a:lnTo>
                      <a:pt x="515" y="1"/>
                    </a:lnTo>
                    <a:lnTo>
                      <a:pt x="566" y="3"/>
                    </a:lnTo>
                    <a:lnTo>
                      <a:pt x="617" y="9"/>
                    </a:lnTo>
                    <a:lnTo>
                      <a:pt x="670" y="15"/>
                    </a:lnTo>
                    <a:lnTo>
                      <a:pt x="724" y="24"/>
                    </a:lnTo>
                    <a:lnTo>
                      <a:pt x="778" y="33"/>
                    </a:lnTo>
                    <a:lnTo>
                      <a:pt x="834" y="46"/>
                    </a:lnTo>
                    <a:lnTo>
                      <a:pt x="890" y="60"/>
                    </a:lnTo>
                    <a:lnTo>
                      <a:pt x="948" y="77"/>
                    </a:lnTo>
                    <a:lnTo>
                      <a:pt x="1007" y="94"/>
                    </a:lnTo>
                    <a:lnTo>
                      <a:pt x="1066" y="114"/>
                    </a:lnTo>
                    <a:lnTo>
                      <a:pt x="1126" y="136"/>
                    </a:lnTo>
                    <a:lnTo>
                      <a:pt x="1188" y="160"/>
                    </a:lnTo>
                    <a:lnTo>
                      <a:pt x="1250" y="184"/>
                    </a:lnTo>
                    <a:lnTo>
                      <a:pt x="1313" y="211"/>
                    </a:lnTo>
                    <a:lnTo>
                      <a:pt x="1377" y="241"/>
                    </a:lnTo>
                    <a:lnTo>
                      <a:pt x="1447" y="276"/>
                    </a:lnTo>
                    <a:lnTo>
                      <a:pt x="1516" y="314"/>
                    </a:lnTo>
                    <a:lnTo>
                      <a:pt x="1584" y="354"/>
                    </a:lnTo>
                    <a:lnTo>
                      <a:pt x="1650" y="397"/>
                    </a:lnTo>
                    <a:lnTo>
                      <a:pt x="1714" y="442"/>
                    </a:lnTo>
                    <a:lnTo>
                      <a:pt x="1776" y="490"/>
                    </a:lnTo>
                    <a:lnTo>
                      <a:pt x="1837" y="540"/>
                    </a:lnTo>
                    <a:lnTo>
                      <a:pt x="1895" y="591"/>
                    </a:lnTo>
                    <a:lnTo>
                      <a:pt x="1952" y="645"/>
                    </a:lnTo>
                    <a:lnTo>
                      <a:pt x="2009" y="702"/>
                    </a:lnTo>
                    <a:lnTo>
                      <a:pt x="2063" y="759"/>
                    </a:lnTo>
                    <a:lnTo>
                      <a:pt x="2114" y="818"/>
                    </a:lnTo>
                    <a:lnTo>
                      <a:pt x="2165" y="879"/>
                    </a:lnTo>
                    <a:lnTo>
                      <a:pt x="2214" y="940"/>
                    </a:lnTo>
                    <a:lnTo>
                      <a:pt x="2261" y="1004"/>
                    </a:lnTo>
                    <a:lnTo>
                      <a:pt x="2307" y="1068"/>
                    </a:lnTo>
                    <a:lnTo>
                      <a:pt x="2351" y="1133"/>
                    </a:lnTo>
                    <a:lnTo>
                      <a:pt x="2393" y="1199"/>
                    </a:lnTo>
                    <a:lnTo>
                      <a:pt x="2433" y="1266"/>
                    </a:lnTo>
                    <a:lnTo>
                      <a:pt x="2472" y="1333"/>
                    </a:lnTo>
                    <a:lnTo>
                      <a:pt x="2510" y="1401"/>
                    </a:lnTo>
                    <a:lnTo>
                      <a:pt x="2544" y="1469"/>
                    </a:lnTo>
                    <a:lnTo>
                      <a:pt x="2579" y="1537"/>
                    </a:lnTo>
                    <a:lnTo>
                      <a:pt x="2610" y="1606"/>
                    </a:lnTo>
                    <a:lnTo>
                      <a:pt x="2641" y="1674"/>
                    </a:lnTo>
                    <a:lnTo>
                      <a:pt x="2669" y="1742"/>
                    </a:lnTo>
                    <a:lnTo>
                      <a:pt x="2696" y="1810"/>
                    </a:lnTo>
                    <a:lnTo>
                      <a:pt x="2722" y="1878"/>
                    </a:lnTo>
                    <a:lnTo>
                      <a:pt x="2746" y="1945"/>
                    </a:lnTo>
                    <a:lnTo>
                      <a:pt x="2768" y="2012"/>
                    </a:lnTo>
                    <a:lnTo>
                      <a:pt x="2788" y="2078"/>
                    </a:lnTo>
                    <a:lnTo>
                      <a:pt x="2807" y="2143"/>
                    </a:lnTo>
                    <a:lnTo>
                      <a:pt x="2815" y="2174"/>
                    </a:lnTo>
                    <a:lnTo>
                      <a:pt x="2823" y="2204"/>
                    </a:lnTo>
                    <a:lnTo>
                      <a:pt x="2830" y="2234"/>
                    </a:lnTo>
                    <a:lnTo>
                      <a:pt x="2836" y="2265"/>
                    </a:lnTo>
                    <a:lnTo>
                      <a:pt x="2841" y="2294"/>
                    </a:lnTo>
                    <a:lnTo>
                      <a:pt x="2847" y="2323"/>
                    </a:lnTo>
                    <a:lnTo>
                      <a:pt x="2850" y="2352"/>
                    </a:lnTo>
                    <a:lnTo>
                      <a:pt x="2853" y="2380"/>
                    </a:lnTo>
                    <a:lnTo>
                      <a:pt x="2858" y="2435"/>
                    </a:lnTo>
                    <a:lnTo>
                      <a:pt x="2862" y="2488"/>
                    </a:lnTo>
                    <a:lnTo>
                      <a:pt x="2862" y="2539"/>
                    </a:lnTo>
                    <a:lnTo>
                      <a:pt x="2861" y="2587"/>
                    </a:lnTo>
                    <a:lnTo>
                      <a:pt x="2857" y="2635"/>
                    </a:lnTo>
                    <a:lnTo>
                      <a:pt x="2853" y="2679"/>
                    </a:lnTo>
                    <a:lnTo>
                      <a:pt x="2847" y="2722"/>
                    </a:lnTo>
                    <a:lnTo>
                      <a:pt x="2840" y="2763"/>
                    </a:lnTo>
                    <a:lnTo>
                      <a:pt x="2831" y="2801"/>
                    </a:lnTo>
                    <a:lnTo>
                      <a:pt x="2823" y="2838"/>
                    </a:lnTo>
                    <a:lnTo>
                      <a:pt x="2813" y="2871"/>
                    </a:lnTo>
                    <a:lnTo>
                      <a:pt x="2803" y="2903"/>
                    </a:lnTo>
                    <a:lnTo>
                      <a:pt x="2790" y="2938"/>
                    </a:lnTo>
                    <a:lnTo>
                      <a:pt x="2779" y="2968"/>
                    </a:lnTo>
                    <a:lnTo>
                      <a:pt x="2767" y="2995"/>
                    </a:lnTo>
                    <a:lnTo>
                      <a:pt x="2757" y="3017"/>
                    </a:lnTo>
                    <a:lnTo>
                      <a:pt x="2741" y="3047"/>
                    </a:lnTo>
                    <a:lnTo>
                      <a:pt x="2734" y="3059"/>
                    </a:lnTo>
                    <a:lnTo>
                      <a:pt x="2732" y="3061"/>
                    </a:lnTo>
                    <a:lnTo>
                      <a:pt x="2729" y="3063"/>
                    </a:lnTo>
                    <a:lnTo>
                      <a:pt x="2726" y="3065"/>
                    </a:lnTo>
                    <a:lnTo>
                      <a:pt x="2722" y="3066"/>
                    </a:lnTo>
                    <a:close/>
                    <a:moveTo>
                      <a:pt x="1554" y="2315"/>
                    </a:moveTo>
                    <a:lnTo>
                      <a:pt x="1554" y="2315"/>
                    </a:lnTo>
                    <a:lnTo>
                      <a:pt x="1575" y="2316"/>
                    </a:lnTo>
                    <a:lnTo>
                      <a:pt x="1595" y="2319"/>
                    </a:lnTo>
                    <a:lnTo>
                      <a:pt x="1616" y="2322"/>
                    </a:lnTo>
                    <a:lnTo>
                      <a:pt x="1635" y="2326"/>
                    </a:lnTo>
                    <a:lnTo>
                      <a:pt x="1656" y="2330"/>
                    </a:lnTo>
                    <a:lnTo>
                      <a:pt x="1676" y="2337"/>
                    </a:lnTo>
                    <a:lnTo>
                      <a:pt x="1697" y="2343"/>
                    </a:lnTo>
                    <a:lnTo>
                      <a:pt x="1717" y="2352"/>
                    </a:lnTo>
                    <a:lnTo>
                      <a:pt x="1737" y="2361"/>
                    </a:lnTo>
                    <a:lnTo>
                      <a:pt x="1757" y="2369"/>
                    </a:lnTo>
                    <a:lnTo>
                      <a:pt x="1778" y="2380"/>
                    </a:lnTo>
                    <a:lnTo>
                      <a:pt x="1797" y="2391"/>
                    </a:lnTo>
                    <a:lnTo>
                      <a:pt x="1837" y="2415"/>
                    </a:lnTo>
                    <a:lnTo>
                      <a:pt x="1877" y="2441"/>
                    </a:lnTo>
                    <a:lnTo>
                      <a:pt x="1916" y="2468"/>
                    </a:lnTo>
                    <a:lnTo>
                      <a:pt x="1955" y="2498"/>
                    </a:lnTo>
                    <a:lnTo>
                      <a:pt x="1994" y="2528"/>
                    </a:lnTo>
                    <a:lnTo>
                      <a:pt x="2031" y="2560"/>
                    </a:lnTo>
                    <a:lnTo>
                      <a:pt x="2107" y="2626"/>
                    </a:lnTo>
                    <a:lnTo>
                      <a:pt x="2179" y="2692"/>
                    </a:lnTo>
                    <a:lnTo>
                      <a:pt x="2221" y="2730"/>
                    </a:lnTo>
                    <a:lnTo>
                      <a:pt x="2262" y="2767"/>
                    </a:lnTo>
                    <a:lnTo>
                      <a:pt x="2302" y="2802"/>
                    </a:lnTo>
                    <a:lnTo>
                      <a:pt x="2342" y="2835"/>
                    </a:lnTo>
                    <a:lnTo>
                      <a:pt x="2380" y="2865"/>
                    </a:lnTo>
                    <a:lnTo>
                      <a:pt x="2417" y="2891"/>
                    </a:lnTo>
                    <a:lnTo>
                      <a:pt x="2435" y="2903"/>
                    </a:lnTo>
                    <a:lnTo>
                      <a:pt x="2452" y="2913"/>
                    </a:lnTo>
                    <a:lnTo>
                      <a:pt x="2470" y="2923"/>
                    </a:lnTo>
                    <a:lnTo>
                      <a:pt x="2487" y="2931"/>
                    </a:lnTo>
                    <a:lnTo>
                      <a:pt x="2717" y="3034"/>
                    </a:lnTo>
                    <a:lnTo>
                      <a:pt x="2728" y="3015"/>
                    </a:lnTo>
                    <a:lnTo>
                      <a:pt x="2742" y="2984"/>
                    </a:lnTo>
                    <a:lnTo>
                      <a:pt x="2750" y="2965"/>
                    </a:lnTo>
                    <a:lnTo>
                      <a:pt x="2759" y="2944"/>
                    </a:lnTo>
                    <a:lnTo>
                      <a:pt x="2769" y="2920"/>
                    </a:lnTo>
                    <a:lnTo>
                      <a:pt x="2777" y="2894"/>
                    </a:lnTo>
                    <a:lnTo>
                      <a:pt x="2787" y="2864"/>
                    </a:lnTo>
                    <a:lnTo>
                      <a:pt x="2797" y="2830"/>
                    </a:lnTo>
                    <a:lnTo>
                      <a:pt x="2806" y="2795"/>
                    </a:lnTo>
                    <a:lnTo>
                      <a:pt x="2813" y="2757"/>
                    </a:lnTo>
                    <a:lnTo>
                      <a:pt x="2820" y="2718"/>
                    </a:lnTo>
                    <a:lnTo>
                      <a:pt x="2826" y="2676"/>
                    </a:lnTo>
                    <a:lnTo>
                      <a:pt x="2830" y="2632"/>
                    </a:lnTo>
                    <a:lnTo>
                      <a:pt x="2834" y="2586"/>
                    </a:lnTo>
                    <a:lnTo>
                      <a:pt x="2835" y="2538"/>
                    </a:lnTo>
                    <a:lnTo>
                      <a:pt x="2834" y="2488"/>
                    </a:lnTo>
                    <a:lnTo>
                      <a:pt x="2831" y="2436"/>
                    </a:lnTo>
                    <a:lnTo>
                      <a:pt x="2827" y="2382"/>
                    </a:lnTo>
                    <a:lnTo>
                      <a:pt x="2823" y="2355"/>
                    </a:lnTo>
                    <a:lnTo>
                      <a:pt x="2820" y="2327"/>
                    </a:lnTo>
                    <a:lnTo>
                      <a:pt x="2815" y="2298"/>
                    </a:lnTo>
                    <a:lnTo>
                      <a:pt x="2810" y="2270"/>
                    </a:lnTo>
                    <a:lnTo>
                      <a:pt x="2803" y="2240"/>
                    </a:lnTo>
                    <a:lnTo>
                      <a:pt x="2797" y="2211"/>
                    </a:lnTo>
                    <a:lnTo>
                      <a:pt x="2789" y="2180"/>
                    </a:lnTo>
                    <a:lnTo>
                      <a:pt x="2781" y="2149"/>
                    </a:lnTo>
                    <a:lnTo>
                      <a:pt x="2762" y="2085"/>
                    </a:lnTo>
                    <a:lnTo>
                      <a:pt x="2742" y="2020"/>
                    </a:lnTo>
                    <a:lnTo>
                      <a:pt x="2720" y="1954"/>
                    </a:lnTo>
                    <a:lnTo>
                      <a:pt x="2696" y="1888"/>
                    </a:lnTo>
                    <a:lnTo>
                      <a:pt x="2672" y="1821"/>
                    </a:lnTo>
                    <a:lnTo>
                      <a:pt x="2645" y="1753"/>
                    </a:lnTo>
                    <a:lnTo>
                      <a:pt x="2617" y="1686"/>
                    </a:lnTo>
                    <a:lnTo>
                      <a:pt x="2586" y="1618"/>
                    </a:lnTo>
                    <a:lnTo>
                      <a:pt x="2555" y="1550"/>
                    </a:lnTo>
                    <a:lnTo>
                      <a:pt x="2522" y="1482"/>
                    </a:lnTo>
                    <a:lnTo>
                      <a:pt x="2486" y="1415"/>
                    </a:lnTo>
                    <a:lnTo>
                      <a:pt x="2449" y="1347"/>
                    </a:lnTo>
                    <a:lnTo>
                      <a:pt x="2410" y="1280"/>
                    </a:lnTo>
                    <a:lnTo>
                      <a:pt x="2370" y="1214"/>
                    </a:lnTo>
                    <a:lnTo>
                      <a:pt x="2329" y="1150"/>
                    </a:lnTo>
                    <a:lnTo>
                      <a:pt x="2285" y="1085"/>
                    </a:lnTo>
                    <a:lnTo>
                      <a:pt x="2241" y="1021"/>
                    </a:lnTo>
                    <a:lnTo>
                      <a:pt x="2193" y="958"/>
                    </a:lnTo>
                    <a:lnTo>
                      <a:pt x="2146" y="897"/>
                    </a:lnTo>
                    <a:lnTo>
                      <a:pt x="2095" y="836"/>
                    </a:lnTo>
                    <a:lnTo>
                      <a:pt x="2043" y="778"/>
                    </a:lnTo>
                    <a:lnTo>
                      <a:pt x="1990" y="721"/>
                    </a:lnTo>
                    <a:lnTo>
                      <a:pt x="1935" y="666"/>
                    </a:lnTo>
                    <a:lnTo>
                      <a:pt x="1879" y="613"/>
                    </a:lnTo>
                    <a:lnTo>
                      <a:pt x="1821" y="561"/>
                    </a:lnTo>
                    <a:lnTo>
                      <a:pt x="1760" y="512"/>
                    </a:lnTo>
                    <a:lnTo>
                      <a:pt x="1699" y="464"/>
                    </a:lnTo>
                    <a:lnTo>
                      <a:pt x="1635" y="420"/>
                    </a:lnTo>
                    <a:lnTo>
                      <a:pt x="1570" y="377"/>
                    </a:lnTo>
                    <a:lnTo>
                      <a:pt x="1503" y="337"/>
                    </a:lnTo>
                    <a:lnTo>
                      <a:pt x="1435" y="300"/>
                    </a:lnTo>
                    <a:lnTo>
                      <a:pt x="1365" y="265"/>
                    </a:lnTo>
                    <a:lnTo>
                      <a:pt x="1287" y="230"/>
                    </a:lnTo>
                    <a:lnTo>
                      <a:pt x="1213" y="199"/>
                    </a:lnTo>
                    <a:lnTo>
                      <a:pt x="1140" y="170"/>
                    </a:lnTo>
                    <a:lnTo>
                      <a:pt x="1071" y="145"/>
                    </a:lnTo>
                    <a:lnTo>
                      <a:pt x="1004" y="123"/>
                    </a:lnTo>
                    <a:lnTo>
                      <a:pt x="942" y="104"/>
                    </a:lnTo>
                    <a:lnTo>
                      <a:pt x="880" y="86"/>
                    </a:lnTo>
                    <a:lnTo>
                      <a:pt x="823" y="72"/>
                    </a:lnTo>
                    <a:lnTo>
                      <a:pt x="768" y="60"/>
                    </a:lnTo>
                    <a:lnTo>
                      <a:pt x="716" y="51"/>
                    </a:lnTo>
                    <a:lnTo>
                      <a:pt x="668" y="42"/>
                    </a:lnTo>
                    <a:lnTo>
                      <a:pt x="621" y="37"/>
                    </a:lnTo>
                    <a:lnTo>
                      <a:pt x="578" y="32"/>
                    </a:lnTo>
                    <a:lnTo>
                      <a:pt x="538" y="29"/>
                    </a:lnTo>
                    <a:lnTo>
                      <a:pt x="500" y="27"/>
                    </a:lnTo>
                    <a:lnTo>
                      <a:pt x="466" y="27"/>
                    </a:lnTo>
                    <a:lnTo>
                      <a:pt x="430" y="27"/>
                    </a:lnTo>
                    <a:lnTo>
                      <a:pt x="396" y="29"/>
                    </a:lnTo>
                    <a:lnTo>
                      <a:pt x="366" y="31"/>
                    </a:lnTo>
                    <a:lnTo>
                      <a:pt x="337" y="34"/>
                    </a:lnTo>
                    <a:lnTo>
                      <a:pt x="311" y="38"/>
                    </a:lnTo>
                    <a:lnTo>
                      <a:pt x="287" y="42"/>
                    </a:lnTo>
                    <a:lnTo>
                      <a:pt x="266" y="47"/>
                    </a:lnTo>
                    <a:lnTo>
                      <a:pt x="246" y="52"/>
                    </a:lnTo>
                    <a:lnTo>
                      <a:pt x="215" y="60"/>
                    </a:lnTo>
                    <a:lnTo>
                      <a:pt x="192" y="69"/>
                    </a:lnTo>
                    <a:lnTo>
                      <a:pt x="179" y="74"/>
                    </a:lnTo>
                    <a:lnTo>
                      <a:pt x="174" y="77"/>
                    </a:lnTo>
                    <a:lnTo>
                      <a:pt x="171" y="78"/>
                    </a:lnTo>
                    <a:lnTo>
                      <a:pt x="168" y="79"/>
                    </a:lnTo>
                    <a:lnTo>
                      <a:pt x="159" y="78"/>
                    </a:lnTo>
                    <a:lnTo>
                      <a:pt x="138" y="77"/>
                    </a:lnTo>
                    <a:lnTo>
                      <a:pt x="106" y="72"/>
                    </a:lnTo>
                    <a:lnTo>
                      <a:pt x="64" y="67"/>
                    </a:lnTo>
                    <a:lnTo>
                      <a:pt x="150" y="137"/>
                    </a:lnTo>
                    <a:lnTo>
                      <a:pt x="232" y="209"/>
                    </a:lnTo>
                    <a:lnTo>
                      <a:pt x="311" y="282"/>
                    </a:lnTo>
                    <a:lnTo>
                      <a:pt x="387" y="355"/>
                    </a:lnTo>
                    <a:lnTo>
                      <a:pt x="460" y="430"/>
                    </a:lnTo>
                    <a:lnTo>
                      <a:pt x="529" y="504"/>
                    </a:lnTo>
                    <a:lnTo>
                      <a:pt x="596" y="580"/>
                    </a:lnTo>
                    <a:lnTo>
                      <a:pt x="660" y="655"/>
                    </a:lnTo>
                    <a:lnTo>
                      <a:pt x="722" y="731"/>
                    </a:lnTo>
                    <a:lnTo>
                      <a:pt x="780" y="806"/>
                    </a:lnTo>
                    <a:lnTo>
                      <a:pt x="835" y="882"/>
                    </a:lnTo>
                    <a:lnTo>
                      <a:pt x="888" y="956"/>
                    </a:lnTo>
                    <a:lnTo>
                      <a:pt x="939" y="1031"/>
                    </a:lnTo>
                    <a:lnTo>
                      <a:pt x="986" y="1105"/>
                    </a:lnTo>
                    <a:lnTo>
                      <a:pt x="1031" y="1179"/>
                    </a:lnTo>
                    <a:lnTo>
                      <a:pt x="1075" y="1251"/>
                    </a:lnTo>
                    <a:lnTo>
                      <a:pt x="1115" y="1322"/>
                    </a:lnTo>
                    <a:lnTo>
                      <a:pt x="1153" y="1392"/>
                    </a:lnTo>
                    <a:lnTo>
                      <a:pt x="1189" y="1460"/>
                    </a:lnTo>
                    <a:lnTo>
                      <a:pt x="1224" y="1527"/>
                    </a:lnTo>
                    <a:lnTo>
                      <a:pt x="1255" y="1593"/>
                    </a:lnTo>
                    <a:lnTo>
                      <a:pt x="1285" y="1656"/>
                    </a:lnTo>
                    <a:lnTo>
                      <a:pt x="1313" y="1717"/>
                    </a:lnTo>
                    <a:lnTo>
                      <a:pt x="1339" y="1777"/>
                    </a:lnTo>
                    <a:lnTo>
                      <a:pt x="1363" y="1834"/>
                    </a:lnTo>
                    <a:lnTo>
                      <a:pt x="1386" y="1888"/>
                    </a:lnTo>
                    <a:lnTo>
                      <a:pt x="1406" y="1940"/>
                    </a:lnTo>
                    <a:lnTo>
                      <a:pt x="1426" y="1989"/>
                    </a:lnTo>
                    <a:lnTo>
                      <a:pt x="1459" y="2078"/>
                    </a:lnTo>
                    <a:lnTo>
                      <a:pt x="1487" y="2155"/>
                    </a:lnTo>
                    <a:lnTo>
                      <a:pt x="1509" y="2212"/>
                    </a:lnTo>
                    <a:lnTo>
                      <a:pt x="1527" y="2260"/>
                    </a:lnTo>
                    <a:lnTo>
                      <a:pt x="1536" y="2281"/>
                    </a:lnTo>
                    <a:lnTo>
                      <a:pt x="1542" y="2296"/>
                    </a:lnTo>
                    <a:lnTo>
                      <a:pt x="1549" y="2308"/>
                    </a:lnTo>
                    <a:lnTo>
                      <a:pt x="1554" y="2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68"/>
              <p:cNvSpPr>
                <a:spLocks/>
              </p:cNvSpPr>
              <p:nvPr userDrawn="1"/>
            </p:nvSpPr>
            <p:spPr bwMode="auto">
              <a:xfrm>
                <a:off x="2053" y="1162"/>
                <a:ext cx="904" cy="501"/>
              </a:xfrm>
              <a:custGeom>
                <a:avLst/>
                <a:gdLst>
                  <a:gd name="T0" fmla="*/ 2637 w 2711"/>
                  <a:gd name="T1" fmla="*/ 1497 h 1502"/>
                  <a:gd name="T2" fmla="*/ 2639 w 2711"/>
                  <a:gd name="T3" fmla="*/ 1478 h 1502"/>
                  <a:gd name="T4" fmla="*/ 2666 w 2711"/>
                  <a:gd name="T5" fmla="*/ 1463 h 1502"/>
                  <a:gd name="T6" fmla="*/ 2681 w 2711"/>
                  <a:gd name="T7" fmla="*/ 1439 h 1502"/>
                  <a:gd name="T8" fmla="*/ 2683 w 2711"/>
                  <a:gd name="T9" fmla="*/ 1406 h 1502"/>
                  <a:gd name="T10" fmla="*/ 2671 w 2711"/>
                  <a:gd name="T11" fmla="*/ 1340 h 1502"/>
                  <a:gd name="T12" fmla="*/ 2659 w 2711"/>
                  <a:gd name="T13" fmla="*/ 1280 h 1502"/>
                  <a:gd name="T14" fmla="*/ 2607 w 2711"/>
                  <a:gd name="T15" fmla="*/ 1068 h 1502"/>
                  <a:gd name="T16" fmla="*/ 2524 w 2711"/>
                  <a:gd name="T17" fmla="*/ 798 h 1502"/>
                  <a:gd name="T18" fmla="*/ 2461 w 2711"/>
                  <a:gd name="T19" fmla="*/ 637 h 1502"/>
                  <a:gd name="T20" fmla="*/ 2406 w 2711"/>
                  <a:gd name="T21" fmla="*/ 529 h 1502"/>
                  <a:gd name="T22" fmla="*/ 2350 w 2711"/>
                  <a:gd name="T23" fmla="*/ 452 h 1502"/>
                  <a:gd name="T24" fmla="*/ 2242 w 2711"/>
                  <a:gd name="T25" fmla="*/ 365 h 1502"/>
                  <a:gd name="T26" fmla="*/ 2099 w 2711"/>
                  <a:gd name="T27" fmla="*/ 279 h 1502"/>
                  <a:gd name="T28" fmla="*/ 1997 w 2711"/>
                  <a:gd name="T29" fmla="*/ 232 h 1502"/>
                  <a:gd name="T30" fmla="*/ 1876 w 2711"/>
                  <a:gd name="T31" fmla="*/ 186 h 1502"/>
                  <a:gd name="T32" fmla="*/ 1732 w 2711"/>
                  <a:gd name="T33" fmla="*/ 144 h 1502"/>
                  <a:gd name="T34" fmla="*/ 1565 w 2711"/>
                  <a:gd name="T35" fmla="*/ 105 h 1502"/>
                  <a:gd name="T36" fmla="*/ 1371 w 2711"/>
                  <a:gd name="T37" fmla="*/ 71 h 1502"/>
                  <a:gd name="T38" fmla="*/ 1177 w 2711"/>
                  <a:gd name="T39" fmla="*/ 47 h 1502"/>
                  <a:gd name="T40" fmla="*/ 953 w 2711"/>
                  <a:gd name="T41" fmla="*/ 31 h 1502"/>
                  <a:gd name="T42" fmla="*/ 633 w 2711"/>
                  <a:gd name="T43" fmla="*/ 32 h 1502"/>
                  <a:gd name="T44" fmla="*/ 361 w 2711"/>
                  <a:gd name="T45" fmla="*/ 56 h 1502"/>
                  <a:gd name="T46" fmla="*/ 159 w 2711"/>
                  <a:gd name="T47" fmla="*/ 86 h 1502"/>
                  <a:gd name="T48" fmla="*/ 100 w 2711"/>
                  <a:gd name="T49" fmla="*/ 106 h 1502"/>
                  <a:gd name="T50" fmla="*/ 62 w 2711"/>
                  <a:gd name="T51" fmla="*/ 129 h 1502"/>
                  <a:gd name="T52" fmla="*/ 30 w 2711"/>
                  <a:gd name="T53" fmla="*/ 158 h 1502"/>
                  <a:gd name="T54" fmla="*/ 10 w 2711"/>
                  <a:gd name="T55" fmla="*/ 172 h 1502"/>
                  <a:gd name="T56" fmla="*/ 0 w 2711"/>
                  <a:gd name="T57" fmla="*/ 156 h 1502"/>
                  <a:gd name="T58" fmla="*/ 26 w 2711"/>
                  <a:gd name="T59" fmla="*/ 124 h 1502"/>
                  <a:gd name="T60" fmla="*/ 64 w 2711"/>
                  <a:gd name="T61" fmla="*/ 94 h 1502"/>
                  <a:gd name="T62" fmla="*/ 111 w 2711"/>
                  <a:gd name="T63" fmla="*/ 72 h 1502"/>
                  <a:gd name="T64" fmla="*/ 167 w 2711"/>
                  <a:gd name="T65" fmla="*/ 57 h 1502"/>
                  <a:gd name="T66" fmla="*/ 358 w 2711"/>
                  <a:gd name="T67" fmla="*/ 29 h 1502"/>
                  <a:gd name="T68" fmla="*/ 632 w 2711"/>
                  <a:gd name="T69" fmla="*/ 5 h 1502"/>
                  <a:gd name="T70" fmla="*/ 954 w 2711"/>
                  <a:gd name="T71" fmla="*/ 4 h 1502"/>
                  <a:gd name="T72" fmla="*/ 1179 w 2711"/>
                  <a:gd name="T73" fmla="*/ 20 h 1502"/>
                  <a:gd name="T74" fmla="*/ 1375 w 2711"/>
                  <a:gd name="T75" fmla="*/ 45 h 1502"/>
                  <a:gd name="T76" fmla="*/ 1570 w 2711"/>
                  <a:gd name="T77" fmla="*/ 78 h 1502"/>
                  <a:gd name="T78" fmla="*/ 1741 w 2711"/>
                  <a:gd name="T79" fmla="*/ 118 h 1502"/>
                  <a:gd name="T80" fmla="*/ 1886 w 2711"/>
                  <a:gd name="T81" fmla="*/ 161 h 1502"/>
                  <a:gd name="T82" fmla="*/ 2009 w 2711"/>
                  <a:gd name="T83" fmla="*/ 207 h 1502"/>
                  <a:gd name="T84" fmla="*/ 2113 w 2711"/>
                  <a:gd name="T85" fmla="*/ 255 h 1502"/>
                  <a:gd name="T86" fmla="*/ 2258 w 2711"/>
                  <a:gd name="T87" fmla="*/ 343 h 1502"/>
                  <a:gd name="T88" fmla="*/ 2369 w 2711"/>
                  <a:gd name="T89" fmla="*/ 433 h 1502"/>
                  <a:gd name="T90" fmla="*/ 2431 w 2711"/>
                  <a:gd name="T91" fmla="*/ 518 h 1502"/>
                  <a:gd name="T92" fmla="*/ 2489 w 2711"/>
                  <a:gd name="T93" fmla="*/ 634 h 1502"/>
                  <a:gd name="T94" fmla="*/ 2555 w 2711"/>
                  <a:gd name="T95" fmla="*/ 805 h 1502"/>
                  <a:gd name="T96" fmla="*/ 2638 w 2711"/>
                  <a:gd name="T97" fmla="*/ 1082 h 1502"/>
                  <a:gd name="T98" fmla="*/ 2687 w 2711"/>
                  <a:gd name="T99" fmla="*/ 1282 h 1502"/>
                  <a:gd name="T100" fmla="*/ 2698 w 2711"/>
                  <a:gd name="T101" fmla="*/ 1335 h 1502"/>
                  <a:gd name="T102" fmla="*/ 2710 w 2711"/>
                  <a:gd name="T103" fmla="*/ 1404 h 1502"/>
                  <a:gd name="T104" fmla="*/ 2707 w 2711"/>
                  <a:gd name="T105" fmla="*/ 1448 h 1502"/>
                  <a:gd name="T106" fmla="*/ 2686 w 2711"/>
                  <a:gd name="T107" fmla="*/ 1483 h 1502"/>
                  <a:gd name="T108" fmla="*/ 2650 w 2711"/>
                  <a:gd name="T109"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11" h="1502">
                    <a:moveTo>
                      <a:pt x="2648" y="1502"/>
                    </a:moveTo>
                    <a:lnTo>
                      <a:pt x="2644" y="1501"/>
                    </a:lnTo>
                    <a:lnTo>
                      <a:pt x="2640" y="1500"/>
                    </a:lnTo>
                    <a:lnTo>
                      <a:pt x="2637" y="1497"/>
                    </a:lnTo>
                    <a:lnTo>
                      <a:pt x="2635" y="1492"/>
                    </a:lnTo>
                    <a:lnTo>
                      <a:pt x="2635" y="1487"/>
                    </a:lnTo>
                    <a:lnTo>
                      <a:pt x="2636" y="1483"/>
                    </a:lnTo>
                    <a:lnTo>
                      <a:pt x="2639" y="1478"/>
                    </a:lnTo>
                    <a:lnTo>
                      <a:pt x="2644" y="1475"/>
                    </a:lnTo>
                    <a:lnTo>
                      <a:pt x="2652" y="1472"/>
                    </a:lnTo>
                    <a:lnTo>
                      <a:pt x="2660" y="1469"/>
                    </a:lnTo>
                    <a:lnTo>
                      <a:pt x="2666" y="1463"/>
                    </a:lnTo>
                    <a:lnTo>
                      <a:pt x="2672" y="1459"/>
                    </a:lnTo>
                    <a:lnTo>
                      <a:pt x="2676" y="1452"/>
                    </a:lnTo>
                    <a:lnTo>
                      <a:pt x="2679" y="1447"/>
                    </a:lnTo>
                    <a:lnTo>
                      <a:pt x="2681" y="1439"/>
                    </a:lnTo>
                    <a:lnTo>
                      <a:pt x="2683" y="1432"/>
                    </a:lnTo>
                    <a:lnTo>
                      <a:pt x="2684" y="1424"/>
                    </a:lnTo>
                    <a:lnTo>
                      <a:pt x="2684" y="1416"/>
                    </a:lnTo>
                    <a:lnTo>
                      <a:pt x="2683" y="1406"/>
                    </a:lnTo>
                    <a:lnTo>
                      <a:pt x="2681" y="1396"/>
                    </a:lnTo>
                    <a:lnTo>
                      <a:pt x="2678" y="1374"/>
                    </a:lnTo>
                    <a:lnTo>
                      <a:pt x="2673" y="1349"/>
                    </a:lnTo>
                    <a:lnTo>
                      <a:pt x="2671" y="1340"/>
                    </a:lnTo>
                    <a:lnTo>
                      <a:pt x="2668" y="1331"/>
                    </a:lnTo>
                    <a:lnTo>
                      <a:pt x="2667" y="1323"/>
                    </a:lnTo>
                    <a:lnTo>
                      <a:pt x="2665" y="1313"/>
                    </a:lnTo>
                    <a:lnTo>
                      <a:pt x="2659" y="1280"/>
                    </a:lnTo>
                    <a:lnTo>
                      <a:pt x="2649" y="1237"/>
                    </a:lnTo>
                    <a:lnTo>
                      <a:pt x="2637" y="1186"/>
                    </a:lnTo>
                    <a:lnTo>
                      <a:pt x="2623" y="1130"/>
                    </a:lnTo>
                    <a:lnTo>
                      <a:pt x="2607" y="1068"/>
                    </a:lnTo>
                    <a:lnTo>
                      <a:pt x="2589" y="1002"/>
                    </a:lnTo>
                    <a:lnTo>
                      <a:pt x="2568" y="935"/>
                    </a:lnTo>
                    <a:lnTo>
                      <a:pt x="2546" y="866"/>
                    </a:lnTo>
                    <a:lnTo>
                      <a:pt x="2524" y="798"/>
                    </a:lnTo>
                    <a:lnTo>
                      <a:pt x="2499" y="731"/>
                    </a:lnTo>
                    <a:lnTo>
                      <a:pt x="2487" y="699"/>
                    </a:lnTo>
                    <a:lnTo>
                      <a:pt x="2474" y="668"/>
                    </a:lnTo>
                    <a:lnTo>
                      <a:pt x="2461" y="637"/>
                    </a:lnTo>
                    <a:lnTo>
                      <a:pt x="2447" y="608"/>
                    </a:lnTo>
                    <a:lnTo>
                      <a:pt x="2434" y="580"/>
                    </a:lnTo>
                    <a:lnTo>
                      <a:pt x="2420" y="554"/>
                    </a:lnTo>
                    <a:lnTo>
                      <a:pt x="2406" y="529"/>
                    </a:lnTo>
                    <a:lnTo>
                      <a:pt x="2393" y="507"/>
                    </a:lnTo>
                    <a:lnTo>
                      <a:pt x="2379" y="486"/>
                    </a:lnTo>
                    <a:lnTo>
                      <a:pt x="2364" y="468"/>
                    </a:lnTo>
                    <a:lnTo>
                      <a:pt x="2350" y="452"/>
                    </a:lnTo>
                    <a:lnTo>
                      <a:pt x="2336" y="439"/>
                    </a:lnTo>
                    <a:lnTo>
                      <a:pt x="2307" y="414"/>
                    </a:lnTo>
                    <a:lnTo>
                      <a:pt x="2275" y="389"/>
                    </a:lnTo>
                    <a:lnTo>
                      <a:pt x="2242" y="365"/>
                    </a:lnTo>
                    <a:lnTo>
                      <a:pt x="2205" y="341"/>
                    </a:lnTo>
                    <a:lnTo>
                      <a:pt x="2166" y="316"/>
                    </a:lnTo>
                    <a:lnTo>
                      <a:pt x="2123" y="291"/>
                    </a:lnTo>
                    <a:lnTo>
                      <a:pt x="2099" y="279"/>
                    </a:lnTo>
                    <a:lnTo>
                      <a:pt x="2076" y="267"/>
                    </a:lnTo>
                    <a:lnTo>
                      <a:pt x="2051" y="255"/>
                    </a:lnTo>
                    <a:lnTo>
                      <a:pt x="2025" y="243"/>
                    </a:lnTo>
                    <a:lnTo>
                      <a:pt x="1997" y="232"/>
                    </a:lnTo>
                    <a:lnTo>
                      <a:pt x="1969" y="220"/>
                    </a:lnTo>
                    <a:lnTo>
                      <a:pt x="1939" y="209"/>
                    </a:lnTo>
                    <a:lnTo>
                      <a:pt x="1908" y="197"/>
                    </a:lnTo>
                    <a:lnTo>
                      <a:pt x="1876" y="186"/>
                    </a:lnTo>
                    <a:lnTo>
                      <a:pt x="1841" y="175"/>
                    </a:lnTo>
                    <a:lnTo>
                      <a:pt x="1807" y="165"/>
                    </a:lnTo>
                    <a:lnTo>
                      <a:pt x="1770" y="154"/>
                    </a:lnTo>
                    <a:lnTo>
                      <a:pt x="1732" y="144"/>
                    </a:lnTo>
                    <a:lnTo>
                      <a:pt x="1692" y="133"/>
                    </a:lnTo>
                    <a:lnTo>
                      <a:pt x="1651" y="124"/>
                    </a:lnTo>
                    <a:lnTo>
                      <a:pt x="1609" y="114"/>
                    </a:lnTo>
                    <a:lnTo>
                      <a:pt x="1565" y="105"/>
                    </a:lnTo>
                    <a:lnTo>
                      <a:pt x="1518" y="95"/>
                    </a:lnTo>
                    <a:lnTo>
                      <a:pt x="1471" y="87"/>
                    </a:lnTo>
                    <a:lnTo>
                      <a:pt x="1421" y="79"/>
                    </a:lnTo>
                    <a:lnTo>
                      <a:pt x="1371" y="71"/>
                    </a:lnTo>
                    <a:lnTo>
                      <a:pt x="1321" y="64"/>
                    </a:lnTo>
                    <a:lnTo>
                      <a:pt x="1272" y="58"/>
                    </a:lnTo>
                    <a:lnTo>
                      <a:pt x="1224" y="52"/>
                    </a:lnTo>
                    <a:lnTo>
                      <a:pt x="1177" y="47"/>
                    </a:lnTo>
                    <a:lnTo>
                      <a:pt x="1131" y="43"/>
                    </a:lnTo>
                    <a:lnTo>
                      <a:pt x="1084" y="38"/>
                    </a:lnTo>
                    <a:lnTo>
                      <a:pt x="1040" y="35"/>
                    </a:lnTo>
                    <a:lnTo>
                      <a:pt x="953" y="31"/>
                    </a:lnTo>
                    <a:lnTo>
                      <a:pt x="868" y="29"/>
                    </a:lnTo>
                    <a:lnTo>
                      <a:pt x="787" y="27"/>
                    </a:lnTo>
                    <a:lnTo>
                      <a:pt x="709" y="30"/>
                    </a:lnTo>
                    <a:lnTo>
                      <a:pt x="633" y="32"/>
                    </a:lnTo>
                    <a:lnTo>
                      <a:pt x="561" y="36"/>
                    </a:lnTo>
                    <a:lnTo>
                      <a:pt x="492" y="42"/>
                    </a:lnTo>
                    <a:lnTo>
                      <a:pt x="425" y="48"/>
                    </a:lnTo>
                    <a:lnTo>
                      <a:pt x="361" y="56"/>
                    </a:lnTo>
                    <a:lnTo>
                      <a:pt x="300" y="63"/>
                    </a:lnTo>
                    <a:lnTo>
                      <a:pt x="242" y="72"/>
                    </a:lnTo>
                    <a:lnTo>
                      <a:pt x="186" y="80"/>
                    </a:lnTo>
                    <a:lnTo>
                      <a:pt x="159" y="86"/>
                    </a:lnTo>
                    <a:lnTo>
                      <a:pt x="134" y="92"/>
                    </a:lnTo>
                    <a:lnTo>
                      <a:pt x="122" y="97"/>
                    </a:lnTo>
                    <a:lnTo>
                      <a:pt x="110" y="101"/>
                    </a:lnTo>
                    <a:lnTo>
                      <a:pt x="100" y="106"/>
                    </a:lnTo>
                    <a:lnTo>
                      <a:pt x="90" y="111"/>
                    </a:lnTo>
                    <a:lnTo>
                      <a:pt x="80" y="117"/>
                    </a:lnTo>
                    <a:lnTo>
                      <a:pt x="70" y="122"/>
                    </a:lnTo>
                    <a:lnTo>
                      <a:pt x="62" y="129"/>
                    </a:lnTo>
                    <a:lnTo>
                      <a:pt x="53" y="135"/>
                    </a:lnTo>
                    <a:lnTo>
                      <a:pt x="45" y="143"/>
                    </a:lnTo>
                    <a:lnTo>
                      <a:pt x="37" y="151"/>
                    </a:lnTo>
                    <a:lnTo>
                      <a:pt x="30" y="158"/>
                    </a:lnTo>
                    <a:lnTo>
                      <a:pt x="24" y="167"/>
                    </a:lnTo>
                    <a:lnTo>
                      <a:pt x="20" y="171"/>
                    </a:lnTo>
                    <a:lnTo>
                      <a:pt x="15" y="172"/>
                    </a:lnTo>
                    <a:lnTo>
                      <a:pt x="10" y="172"/>
                    </a:lnTo>
                    <a:lnTo>
                      <a:pt x="6" y="170"/>
                    </a:lnTo>
                    <a:lnTo>
                      <a:pt x="1" y="166"/>
                    </a:lnTo>
                    <a:lnTo>
                      <a:pt x="0" y="161"/>
                    </a:lnTo>
                    <a:lnTo>
                      <a:pt x="0" y="156"/>
                    </a:lnTo>
                    <a:lnTo>
                      <a:pt x="2" y="151"/>
                    </a:lnTo>
                    <a:lnTo>
                      <a:pt x="10" y="142"/>
                    </a:lnTo>
                    <a:lnTo>
                      <a:pt x="18" y="132"/>
                    </a:lnTo>
                    <a:lnTo>
                      <a:pt x="26" y="124"/>
                    </a:lnTo>
                    <a:lnTo>
                      <a:pt x="35" y="116"/>
                    </a:lnTo>
                    <a:lnTo>
                      <a:pt x="45" y="108"/>
                    </a:lnTo>
                    <a:lnTo>
                      <a:pt x="54" y="101"/>
                    </a:lnTo>
                    <a:lnTo>
                      <a:pt x="64" y="94"/>
                    </a:lnTo>
                    <a:lnTo>
                      <a:pt x="76" y="88"/>
                    </a:lnTo>
                    <a:lnTo>
                      <a:pt x="87" y="83"/>
                    </a:lnTo>
                    <a:lnTo>
                      <a:pt x="99" y="77"/>
                    </a:lnTo>
                    <a:lnTo>
                      <a:pt x="111" y="72"/>
                    </a:lnTo>
                    <a:lnTo>
                      <a:pt x="124" y="67"/>
                    </a:lnTo>
                    <a:lnTo>
                      <a:pt x="138" y="63"/>
                    </a:lnTo>
                    <a:lnTo>
                      <a:pt x="153" y="60"/>
                    </a:lnTo>
                    <a:lnTo>
                      <a:pt x="167" y="57"/>
                    </a:lnTo>
                    <a:lnTo>
                      <a:pt x="182" y="53"/>
                    </a:lnTo>
                    <a:lnTo>
                      <a:pt x="238" y="45"/>
                    </a:lnTo>
                    <a:lnTo>
                      <a:pt x="296" y="36"/>
                    </a:lnTo>
                    <a:lnTo>
                      <a:pt x="358" y="29"/>
                    </a:lnTo>
                    <a:lnTo>
                      <a:pt x="422" y="21"/>
                    </a:lnTo>
                    <a:lnTo>
                      <a:pt x="489" y="15"/>
                    </a:lnTo>
                    <a:lnTo>
                      <a:pt x="560" y="9"/>
                    </a:lnTo>
                    <a:lnTo>
                      <a:pt x="632" y="5"/>
                    </a:lnTo>
                    <a:lnTo>
                      <a:pt x="709" y="3"/>
                    </a:lnTo>
                    <a:lnTo>
                      <a:pt x="787" y="0"/>
                    </a:lnTo>
                    <a:lnTo>
                      <a:pt x="868" y="2"/>
                    </a:lnTo>
                    <a:lnTo>
                      <a:pt x="954" y="4"/>
                    </a:lnTo>
                    <a:lnTo>
                      <a:pt x="1041" y="8"/>
                    </a:lnTo>
                    <a:lnTo>
                      <a:pt x="1087" y="11"/>
                    </a:lnTo>
                    <a:lnTo>
                      <a:pt x="1133" y="16"/>
                    </a:lnTo>
                    <a:lnTo>
                      <a:pt x="1179" y="20"/>
                    </a:lnTo>
                    <a:lnTo>
                      <a:pt x="1227" y="25"/>
                    </a:lnTo>
                    <a:lnTo>
                      <a:pt x="1276" y="31"/>
                    </a:lnTo>
                    <a:lnTo>
                      <a:pt x="1324" y="37"/>
                    </a:lnTo>
                    <a:lnTo>
                      <a:pt x="1375" y="45"/>
                    </a:lnTo>
                    <a:lnTo>
                      <a:pt x="1426" y="52"/>
                    </a:lnTo>
                    <a:lnTo>
                      <a:pt x="1475" y="61"/>
                    </a:lnTo>
                    <a:lnTo>
                      <a:pt x="1524" y="70"/>
                    </a:lnTo>
                    <a:lnTo>
                      <a:pt x="1570" y="78"/>
                    </a:lnTo>
                    <a:lnTo>
                      <a:pt x="1616" y="88"/>
                    </a:lnTo>
                    <a:lnTo>
                      <a:pt x="1659" y="98"/>
                    </a:lnTo>
                    <a:lnTo>
                      <a:pt x="1701" y="107"/>
                    </a:lnTo>
                    <a:lnTo>
                      <a:pt x="1741" y="118"/>
                    </a:lnTo>
                    <a:lnTo>
                      <a:pt x="1779" y="128"/>
                    </a:lnTo>
                    <a:lnTo>
                      <a:pt x="1816" y="139"/>
                    </a:lnTo>
                    <a:lnTo>
                      <a:pt x="1852" y="149"/>
                    </a:lnTo>
                    <a:lnTo>
                      <a:pt x="1886" y="161"/>
                    </a:lnTo>
                    <a:lnTo>
                      <a:pt x="1918" y="172"/>
                    </a:lnTo>
                    <a:lnTo>
                      <a:pt x="1950" y="184"/>
                    </a:lnTo>
                    <a:lnTo>
                      <a:pt x="1981" y="195"/>
                    </a:lnTo>
                    <a:lnTo>
                      <a:pt x="2009" y="207"/>
                    </a:lnTo>
                    <a:lnTo>
                      <a:pt x="2037" y="219"/>
                    </a:lnTo>
                    <a:lnTo>
                      <a:pt x="2064" y="232"/>
                    </a:lnTo>
                    <a:lnTo>
                      <a:pt x="2089" y="243"/>
                    </a:lnTo>
                    <a:lnTo>
                      <a:pt x="2113" y="255"/>
                    </a:lnTo>
                    <a:lnTo>
                      <a:pt x="2136" y="268"/>
                    </a:lnTo>
                    <a:lnTo>
                      <a:pt x="2180" y="293"/>
                    </a:lnTo>
                    <a:lnTo>
                      <a:pt x="2220" y="318"/>
                    </a:lnTo>
                    <a:lnTo>
                      <a:pt x="2258" y="343"/>
                    </a:lnTo>
                    <a:lnTo>
                      <a:pt x="2293" y="369"/>
                    </a:lnTo>
                    <a:lnTo>
                      <a:pt x="2324" y="393"/>
                    </a:lnTo>
                    <a:lnTo>
                      <a:pt x="2353" y="418"/>
                    </a:lnTo>
                    <a:lnTo>
                      <a:pt x="2369" y="433"/>
                    </a:lnTo>
                    <a:lnTo>
                      <a:pt x="2386" y="451"/>
                    </a:lnTo>
                    <a:lnTo>
                      <a:pt x="2401" y="471"/>
                    </a:lnTo>
                    <a:lnTo>
                      <a:pt x="2416" y="494"/>
                    </a:lnTo>
                    <a:lnTo>
                      <a:pt x="2431" y="518"/>
                    </a:lnTo>
                    <a:lnTo>
                      <a:pt x="2446" y="545"/>
                    </a:lnTo>
                    <a:lnTo>
                      <a:pt x="2460" y="573"/>
                    </a:lnTo>
                    <a:lnTo>
                      <a:pt x="2475" y="603"/>
                    </a:lnTo>
                    <a:lnTo>
                      <a:pt x="2489" y="634"/>
                    </a:lnTo>
                    <a:lnTo>
                      <a:pt x="2503" y="667"/>
                    </a:lnTo>
                    <a:lnTo>
                      <a:pt x="2516" y="700"/>
                    </a:lnTo>
                    <a:lnTo>
                      <a:pt x="2529" y="735"/>
                    </a:lnTo>
                    <a:lnTo>
                      <a:pt x="2555" y="805"/>
                    </a:lnTo>
                    <a:lnTo>
                      <a:pt x="2579" y="876"/>
                    </a:lnTo>
                    <a:lnTo>
                      <a:pt x="2600" y="947"/>
                    </a:lnTo>
                    <a:lnTo>
                      <a:pt x="2620" y="1016"/>
                    </a:lnTo>
                    <a:lnTo>
                      <a:pt x="2638" y="1082"/>
                    </a:lnTo>
                    <a:lnTo>
                      <a:pt x="2654" y="1143"/>
                    </a:lnTo>
                    <a:lnTo>
                      <a:pt x="2667" y="1198"/>
                    </a:lnTo>
                    <a:lnTo>
                      <a:pt x="2678" y="1244"/>
                    </a:lnTo>
                    <a:lnTo>
                      <a:pt x="2687" y="1282"/>
                    </a:lnTo>
                    <a:lnTo>
                      <a:pt x="2692" y="1309"/>
                    </a:lnTo>
                    <a:lnTo>
                      <a:pt x="2693" y="1317"/>
                    </a:lnTo>
                    <a:lnTo>
                      <a:pt x="2695" y="1326"/>
                    </a:lnTo>
                    <a:lnTo>
                      <a:pt x="2698" y="1335"/>
                    </a:lnTo>
                    <a:lnTo>
                      <a:pt x="2699" y="1343"/>
                    </a:lnTo>
                    <a:lnTo>
                      <a:pt x="2704" y="1368"/>
                    </a:lnTo>
                    <a:lnTo>
                      <a:pt x="2708" y="1392"/>
                    </a:lnTo>
                    <a:lnTo>
                      <a:pt x="2710" y="1404"/>
                    </a:lnTo>
                    <a:lnTo>
                      <a:pt x="2711" y="1416"/>
                    </a:lnTo>
                    <a:lnTo>
                      <a:pt x="2711" y="1426"/>
                    </a:lnTo>
                    <a:lnTo>
                      <a:pt x="2710" y="1437"/>
                    </a:lnTo>
                    <a:lnTo>
                      <a:pt x="2707" y="1448"/>
                    </a:lnTo>
                    <a:lnTo>
                      <a:pt x="2704" y="1458"/>
                    </a:lnTo>
                    <a:lnTo>
                      <a:pt x="2700" y="1466"/>
                    </a:lnTo>
                    <a:lnTo>
                      <a:pt x="2693" y="1475"/>
                    </a:lnTo>
                    <a:lnTo>
                      <a:pt x="2686" y="1483"/>
                    </a:lnTo>
                    <a:lnTo>
                      <a:pt x="2676" y="1490"/>
                    </a:lnTo>
                    <a:lnTo>
                      <a:pt x="2665" y="1496"/>
                    </a:lnTo>
                    <a:lnTo>
                      <a:pt x="2652" y="1501"/>
                    </a:lnTo>
                    <a:lnTo>
                      <a:pt x="2650" y="1502"/>
                    </a:lnTo>
                    <a:lnTo>
                      <a:pt x="2648" y="1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69"/>
              <p:cNvSpPr>
                <a:spLocks noEditPoints="1"/>
              </p:cNvSpPr>
              <p:nvPr userDrawn="1"/>
            </p:nvSpPr>
            <p:spPr bwMode="auto">
              <a:xfrm>
                <a:off x="1514" y="1269"/>
                <a:ext cx="537" cy="818"/>
              </a:xfrm>
              <a:custGeom>
                <a:avLst/>
                <a:gdLst>
                  <a:gd name="T0" fmla="*/ 170 w 1610"/>
                  <a:gd name="T1" fmla="*/ 2453 h 2453"/>
                  <a:gd name="T2" fmla="*/ 166 w 1610"/>
                  <a:gd name="T3" fmla="*/ 2452 h 2453"/>
                  <a:gd name="T4" fmla="*/ 161 w 1610"/>
                  <a:gd name="T5" fmla="*/ 2447 h 2453"/>
                  <a:gd name="T6" fmla="*/ 37 w 1610"/>
                  <a:gd name="T7" fmla="*/ 2156 h 2453"/>
                  <a:gd name="T8" fmla="*/ 26 w 1610"/>
                  <a:gd name="T9" fmla="*/ 2121 h 2453"/>
                  <a:gd name="T10" fmla="*/ 16 w 1610"/>
                  <a:gd name="T11" fmla="*/ 2088 h 2453"/>
                  <a:gd name="T12" fmla="*/ 8 w 1610"/>
                  <a:gd name="T13" fmla="*/ 2053 h 2453"/>
                  <a:gd name="T14" fmla="*/ 3 w 1610"/>
                  <a:gd name="T15" fmla="*/ 2018 h 2453"/>
                  <a:gd name="T16" fmla="*/ 1 w 1610"/>
                  <a:gd name="T17" fmla="*/ 1983 h 2453"/>
                  <a:gd name="T18" fmla="*/ 0 w 1610"/>
                  <a:gd name="T19" fmla="*/ 1949 h 2453"/>
                  <a:gd name="T20" fmla="*/ 2 w 1610"/>
                  <a:gd name="T21" fmla="*/ 1914 h 2453"/>
                  <a:gd name="T22" fmla="*/ 6 w 1610"/>
                  <a:gd name="T23" fmla="*/ 1880 h 2453"/>
                  <a:gd name="T24" fmla="*/ 13 w 1610"/>
                  <a:gd name="T25" fmla="*/ 1846 h 2453"/>
                  <a:gd name="T26" fmla="*/ 22 w 1610"/>
                  <a:gd name="T27" fmla="*/ 1812 h 2453"/>
                  <a:gd name="T28" fmla="*/ 33 w 1610"/>
                  <a:gd name="T29" fmla="*/ 1779 h 2453"/>
                  <a:gd name="T30" fmla="*/ 46 w 1610"/>
                  <a:gd name="T31" fmla="*/ 1747 h 2453"/>
                  <a:gd name="T32" fmla="*/ 62 w 1610"/>
                  <a:gd name="T33" fmla="*/ 1715 h 2453"/>
                  <a:gd name="T34" fmla="*/ 80 w 1610"/>
                  <a:gd name="T35" fmla="*/ 1685 h 2453"/>
                  <a:gd name="T36" fmla="*/ 100 w 1610"/>
                  <a:gd name="T37" fmla="*/ 1656 h 2453"/>
                  <a:gd name="T38" fmla="*/ 122 w 1610"/>
                  <a:gd name="T39" fmla="*/ 1627 h 2453"/>
                  <a:gd name="T40" fmla="*/ 1480 w 1610"/>
                  <a:gd name="T41" fmla="*/ 3 h 2453"/>
                  <a:gd name="T42" fmla="*/ 1490 w 1610"/>
                  <a:gd name="T43" fmla="*/ 0 h 2453"/>
                  <a:gd name="T44" fmla="*/ 1500 w 1610"/>
                  <a:gd name="T45" fmla="*/ 2 h 2453"/>
                  <a:gd name="T46" fmla="*/ 1507 w 1610"/>
                  <a:gd name="T47" fmla="*/ 9 h 2453"/>
                  <a:gd name="T48" fmla="*/ 1605 w 1610"/>
                  <a:gd name="T49" fmla="*/ 427 h 2453"/>
                  <a:gd name="T50" fmla="*/ 1610 w 1610"/>
                  <a:gd name="T51" fmla="*/ 451 h 2453"/>
                  <a:gd name="T52" fmla="*/ 1608 w 1610"/>
                  <a:gd name="T53" fmla="*/ 477 h 2453"/>
                  <a:gd name="T54" fmla="*/ 1599 w 1610"/>
                  <a:gd name="T55" fmla="*/ 501 h 2453"/>
                  <a:gd name="T56" fmla="*/ 1585 w 1610"/>
                  <a:gd name="T57" fmla="*/ 523 h 2453"/>
                  <a:gd name="T58" fmla="*/ 420 w 1610"/>
                  <a:gd name="T59" fmla="*/ 2092 h 2453"/>
                  <a:gd name="T60" fmla="*/ 421 w 1610"/>
                  <a:gd name="T61" fmla="*/ 2100 h 2453"/>
                  <a:gd name="T62" fmla="*/ 419 w 1610"/>
                  <a:gd name="T63" fmla="*/ 2106 h 2453"/>
                  <a:gd name="T64" fmla="*/ 180 w 1610"/>
                  <a:gd name="T65" fmla="*/ 2450 h 2453"/>
                  <a:gd name="T66" fmla="*/ 175 w 1610"/>
                  <a:gd name="T67" fmla="*/ 2452 h 2453"/>
                  <a:gd name="T68" fmla="*/ 1487 w 1610"/>
                  <a:gd name="T69" fmla="*/ 36 h 2453"/>
                  <a:gd name="T70" fmla="*/ 142 w 1610"/>
                  <a:gd name="T71" fmla="*/ 1644 h 2453"/>
                  <a:gd name="T72" fmla="*/ 122 w 1610"/>
                  <a:gd name="T73" fmla="*/ 1671 h 2453"/>
                  <a:gd name="T74" fmla="*/ 102 w 1610"/>
                  <a:gd name="T75" fmla="*/ 1699 h 2453"/>
                  <a:gd name="T76" fmla="*/ 86 w 1610"/>
                  <a:gd name="T77" fmla="*/ 1728 h 2453"/>
                  <a:gd name="T78" fmla="*/ 71 w 1610"/>
                  <a:gd name="T79" fmla="*/ 1758 h 2453"/>
                  <a:gd name="T80" fmla="*/ 58 w 1610"/>
                  <a:gd name="T81" fmla="*/ 1789 h 2453"/>
                  <a:gd name="T82" fmla="*/ 48 w 1610"/>
                  <a:gd name="T83" fmla="*/ 1820 h 2453"/>
                  <a:gd name="T84" fmla="*/ 40 w 1610"/>
                  <a:gd name="T85" fmla="*/ 1851 h 2453"/>
                  <a:gd name="T86" fmla="*/ 33 w 1610"/>
                  <a:gd name="T87" fmla="*/ 1884 h 2453"/>
                  <a:gd name="T88" fmla="*/ 29 w 1610"/>
                  <a:gd name="T89" fmla="*/ 1916 h 2453"/>
                  <a:gd name="T90" fmla="*/ 27 w 1610"/>
                  <a:gd name="T91" fmla="*/ 1950 h 2453"/>
                  <a:gd name="T92" fmla="*/ 28 w 1610"/>
                  <a:gd name="T93" fmla="*/ 1982 h 2453"/>
                  <a:gd name="T94" fmla="*/ 30 w 1610"/>
                  <a:gd name="T95" fmla="*/ 2016 h 2453"/>
                  <a:gd name="T96" fmla="*/ 34 w 1610"/>
                  <a:gd name="T97" fmla="*/ 2048 h 2453"/>
                  <a:gd name="T98" fmla="*/ 42 w 1610"/>
                  <a:gd name="T99" fmla="*/ 2080 h 2453"/>
                  <a:gd name="T100" fmla="*/ 52 w 1610"/>
                  <a:gd name="T101" fmla="*/ 2113 h 2453"/>
                  <a:gd name="T102" fmla="*/ 62 w 1610"/>
                  <a:gd name="T103" fmla="*/ 2145 h 2453"/>
                  <a:gd name="T104" fmla="*/ 392 w 1610"/>
                  <a:gd name="T105" fmla="*/ 2097 h 2453"/>
                  <a:gd name="T106" fmla="*/ 332 w 1610"/>
                  <a:gd name="T107" fmla="*/ 1970 h 2453"/>
                  <a:gd name="T108" fmla="*/ 332 w 1610"/>
                  <a:gd name="T109" fmla="*/ 1963 h 2453"/>
                  <a:gd name="T110" fmla="*/ 1564 w 1610"/>
                  <a:gd name="T111" fmla="*/ 505 h 2453"/>
                  <a:gd name="T112" fmla="*/ 1575 w 1610"/>
                  <a:gd name="T113" fmla="*/ 489 h 2453"/>
                  <a:gd name="T114" fmla="*/ 1581 w 1610"/>
                  <a:gd name="T115" fmla="*/ 471 h 2453"/>
                  <a:gd name="T116" fmla="*/ 1582 w 1610"/>
                  <a:gd name="T117" fmla="*/ 452 h 2453"/>
                  <a:gd name="T118" fmla="*/ 1578 w 1610"/>
                  <a:gd name="T119" fmla="*/ 434 h 2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10" h="2453">
                    <a:moveTo>
                      <a:pt x="171" y="2453"/>
                    </a:moveTo>
                    <a:lnTo>
                      <a:pt x="170" y="2453"/>
                    </a:lnTo>
                    <a:lnTo>
                      <a:pt x="169" y="2453"/>
                    </a:lnTo>
                    <a:lnTo>
                      <a:pt x="166" y="2452"/>
                    </a:lnTo>
                    <a:lnTo>
                      <a:pt x="163" y="2450"/>
                    </a:lnTo>
                    <a:lnTo>
                      <a:pt x="161" y="2447"/>
                    </a:lnTo>
                    <a:lnTo>
                      <a:pt x="158" y="2444"/>
                    </a:lnTo>
                    <a:lnTo>
                      <a:pt x="37" y="2156"/>
                    </a:lnTo>
                    <a:lnTo>
                      <a:pt x="31" y="2139"/>
                    </a:lnTo>
                    <a:lnTo>
                      <a:pt x="26" y="2121"/>
                    </a:lnTo>
                    <a:lnTo>
                      <a:pt x="20" y="2104"/>
                    </a:lnTo>
                    <a:lnTo>
                      <a:pt x="16" y="2088"/>
                    </a:lnTo>
                    <a:lnTo>
                      <a:pt x="12" y="2071"/>
                    </a:lnTo>
                    <a:lnTo>
                      <a:pt x="8" y="2053"/>
                    </a:lnTo>
                    <a:lnTo>
                      <a:pt x="5" y="2036"/>
                    </a:lnTo>
                    <a:lnTo>
                      <a:pt x="3" y="2018"/>
                    </a:lnTo>
                    <a:lnTo>
                      <a:pt x="2" y="2000"/>
                    </a:lnTo>
                    <a:lnTo>
                      <a:pt x="1" y="1983"/>
                    </a:lnTo>
                    <a:lnTo>
                      <a:pt x="0" y="1966"/>
                    </a:lnTo>
                    <a:lnTo>
                      <a:pt x="0" y="1949"/>
                    </a:lnTo>
                    <a:lnTo>
                      <a:pt x="1" y="1931"/>
                    </a:lnTo>
                    <a:lnTo>
                      <a:pt x="2" y="1914"/>
                    </a:lnTo>
                    <a:lnTo>
                      <a:pt x="4" y="1897"/>
                    </a:lnTo>
                    <a:lnTo>
                      <a:pt x="6" y="1880"/>
                    </a:lnTo>
                    <a:lnTo>
                      <a:pt x="9" y="1862"/>
                    </a:lnTo>
                    <a:lnTo>
                      <a:pt x="13" y="1846"/>
                    </a:lnTo>
                    <a:lnTo>
                      <a:pt x="17" y="1829"/>
                    </a:lnTo>
                    <a:lnTo>
                      <a:pt x="22" y="1812"/>
                    </a:lnTo>
                    <a:lnTo>
                      <a:pt x="27" y="1795"/>
                    </a:lnTo>
                    <a:lnTo>
                      <a:pt x="33" y="1779"/>
                    </a:lnTo>
                    <a:lnTo>
                      <a:pt x="40" y="1763"/>
                    </a:lnTo>
                    <a:lnTo>
                      <a:pt x="46" y="1747"/>
                    </a:lnTo>
                    <a:lnTo>
                      <a:pt x="54" y="1731"/>
                    </a:lnTo>
                    <a:lnTo>
                      <a:pt x="62" y="1715"/>
                    </a:lnTo>
                    <a:lnTo>
                      <a:pt x="71" y="1700"/>
                    </a:lnTo>
                    <a:lnTo>
                      <a:pt x="80" y="1685"/>
                    </a:lnTo>
                    <a:lnTo>
                      <a:pt x="89" y="1670"/>
                    </a:lnTo>
                    <a:lnTo>
                      <a:pt x="100" y="1656"/>
                    </a:lnTo>
                    <a:lnTo>
                      <a:pt x="111" y="1641"/>
                    </a:lnTo>
                    <a:lnTo>
                      <a:pt x="122" y="1627"/>
                    </a:lnTo>
                    <a:lnTo>
                      <a:pt x="1476" y="7"/>
                    </a:lnTo>
                    <a:lnTo>
                      <a:pt x="1480" y="3"/>
                    </a:lnTo>
                    <a:lnTo>
                      <a:pt x="1484" y="1"/>
                    </a:lnTo>
                    <a:lnTo>
                      <a:pt x="1490" y="0"/>
                    </a:lnTo>
                    <a:lnTo>
                      <a:pt x="1494" y="1"/>
                    </a:lnTo>
                    <a:lnTo>
                      <a:pt x="1500" y="2"/>
                    </a:lnTo>
                    <a:lnTo>
                      <a:pt x="1504" y="6"/>
                    </a:lnTo>
                    <a:lnTo>
                      <a:pt x="1507" y="9"/>
                    </a:lnTo>
                    <a:lnTo>
                      <a:pt x="1509" y="13"/>
                    </a:lnTo>
                    <a:lnTo>
                      <a:pt x="1605" y="427"/>
                    </a:lnTo>
                    <a:lnTo>
                      <a:pt x="1608" y="440"/>
                    </a:lnTo>
                    <a:lnTo>
                      <a:pt x="1610" y="451"/>
                    </a:lnTo>
                    <a:lnTo>
                      <a:pt x="1609" y="464"/>
                    </a:lnTo>
                    <a:lnTo>
                      <a:pt x="1608" y="477"/>
                    </a:lnTo>
                    <a:lnTo>
                      <a:pt x="1604" y="489"/>
                    </a:lnTo>
                    <a:lnTo>
                      <a:pt x="1599" y="501"/>
                    </a:lnTo>
                    <a:lnTo>
                      <a:pt x="1592" y="512"/>
                    </a:lnTo>
                    <a:lnTo>
                      <a:pt x="1585" y="523"/>
                    </a:lnTo>
                    <a:lnTo>
                      <a:pt x="361" y="1970"/>
                    </a:lnTo>
                    <a:lnTo>
                      <a:pt x="420" y="2092"/>
                    </a:lnTo>
                    <a:lnTo>
                      <a:pt x="421" y="2095"/>
                    </a:lnTo>
                    <a:lnTo>
                      <a:pt x="421" y="2100"/>
                    </a:lnTo>
                    <a:lnTo>
                      <a:pt x="421" y="2103"/>
                    </a:lnTo>
                    <a:lnTo>
                      <a:pt x="419" y="2106"/>
                    </a:lnTo>
                    <a:lnTo>
                      <a:pt x="182" y="2446"/>
                    </a:lnTo>
                    <a:lnTo>
                      <a:pt x="180" y="2450"/>
                    </a:lnTo>
                    <a:lnTo>
                      <a:pt x="178" y="2451"/>
                    </a:lnTo>
                    <a:lnTo>
                      <a:pt x="175" y="2452"/>
                    </a:lnTo>
                    <a:lnTo>
                      <a:pt x="171" y="2453"/>
                    </a:lnTo>
                    <a:close/>
                    <a:moveTo>
                      <a:pt x="1487" y="36"/>
                    </a:moveTo>
                    <a:lnTo>
                      <a:pt x="1487" y="36"/>
                    </a:lnTo>
                    <a:lnTo>
                      <a:pt x="142" y="1644"/>
                    </a:lnTo>
                    <a:lnTo>
                      <a:pt x="131" y="1658"/>
                    </a:lnTo>
                    <a:lnTo>
                      <a:pt x="122" y="1671"/>
                    </a:lnTo>
                    <a:lnTo>
                      <a:pt x="112" y="1685"/>
                    </a:lnTo>
                    <a:lnTo>
                      <a:pt x="102" y="1699"/>
                    </a:lnTo>
                    <a:lnTo>
                      <a:pt x="94" y="1713"/>
                    </a:lnTo>
                    <a:lnTo>
                      <a:pt x="86" y="1728"/>
                    </a:lnTo>
                    <a:lnTo>
                      <a:pt x="79" y="1744"/>
                    </a:lnTo>
                    <a:lnTo>
                      <a:pt x="71" y="1758"/>
                    </a:lnTo>
                    <a:lnTo>
                      <a:pt x="64" y="1773"/>
                    </a:lnTo>
                    <a:lnTo>
                      <a:pt x="58" y="1789"/>
                    </a:lnTo>
                    <a:lnTo>
                      <a:pt x="53" y="1804"/>
                    </a:lnTo>
                    <a:lnTo>
                      <a:pt x="48" y="1820"/>
                    </a:lnTo>
                    <a:lnTo>
                      <a:pt x="43" y="1835"/>
                    </a:lnTo>
                    <a:lnTo>
                      <a:pt x="40" y="1851"/>
                    </a:lnTo>
                    <a:lnTo>
                      <a:pt x="36" y="1868"/>
                    </a:lnTo>
                    <a:lnTo>
                      <a:pt x="33" y="1884"/>
                    </a:lnTo>
                    <a:lnTo>
                      <a:pt x="31" y="1900"/>
                    </a:lnTo>
                    <a:lnTo>
                      <a:pt x="29" y="1916"/>
                    </a:lnTo>
                    <a:lnTo>
                      <a:pt x="28" y="1932"/>
                    </a:lnTo>
                    <a:lnTo>
                      <a:pt x="27" y="1950"/>
                    </a:lnTo>
                    <a:lnTo>
                      <a:pt x="27" y="1966"/>
                    </a:lnTo>
                    <a:lnTo>
                      <a:pt x="28" y="1982"/>
                    </a:lnTo>
                    <a:lnTo>
                      <a:pt x="29" y="1998"/>
                    </a:lnTo>
                    <a:lnTo>
                      <a:pt x="30" y="2016"/>
                    </a:lnTo>
                    <a:lnTo>
                      <a:pt x="32" y="2032"/>
                    </a:lnTo>
                    <a:lnTo>
                      <a:pt x="34" y="2048"/>
                    </a:lnTo>
                    <a:lnTo>
                      <a:pt x="37" y="2064"/>
                    </a:lnTo>
                    <a:lnTo>
                      <a:pt x="42" y="2080"/>
                    </a:lnTo>
                    <a:lnTo>
                      <a:pt x="46" y="2097"/>
                    </a:lnTo>
                    <a:lnTo>
                      <a:pt x="52" y="2113"/>
                    </a:lnTo>
                    <a:lnTo>
                      <a:pt x="57" y="2129"/>
                    </a:lnTo>
                    <a:lnTo>
                      <a:pt x="62" y="2145"/>
                    </a:lnTo>
                    <a:lnTo>
                      <a:pt x="174" y="2411"/>
                    </a:lnTo>
                    <a:lnTo>
                      <a:pt x="392" y="2097"/>
                    </a:lnTo>
                    <a:lnTo>
                      <a:pt x="333" y="1975"/>
                    </a:lnTo>
                    <a:lnTo>
                      <a:pt x="332" y="1970"/>
                    </a:lnTo>
                    <a:lnTo>
                      <a:pt x="331" y="1967"/>
                    </a:lnTo>
                    <a:lnTo>
                      <a:pt x="332" y="1963"/>
                    </a:lnTo>
                    <a:lnTo>
                      <a:pt x="334" y="1959"/>
                    </a:lnTo>
                    <a:lnTo>
                      <a:pt x="1564" y="505"/>
                    </a:lnTo>
                    <a:lnTo>
                      <a:pt x="1570" y="498"/>
                    </a:lnTo>
                    <a:lnTo>
                      <a:pt x="1575" y="489"/>
                    </a:lnTo>
                    <a:lnTo>
                      <a:pt x="1578" y="481"/>
                    </a:lnTo>
                    <a:lnTo>
                      <a:pt x="1581" y="471"/>
                    </a:lnTo>
                    <a:lnTo>
                      <a:pt x="1582" y="462"/>
                    </a:lnTo>
                    <a:lnTo>
                      <a:pt x="1582" y="452"/>
                    </a:lnTo>
                    <a:lnTo>
                      <a:pt x="1582" y="444"/>
                    </a:lnTo>
                    <a:lnTo>
                      <a:pt x="1578" y="434"/>
                    </a:lnTo>
                    <a:lnTo>
                      <a:pt x="1487"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70"/>
              <p:cNvSpPr>
                <a:spLocks noEditPoints="1"/>
              </p:cNvSpPr>
              <p:nvPr userDrawn="1"/>
            </p:nvSpPr>
            <p:spPr bwMode="auto">
              <a:xfrm>
                <a:off x="1543" y="1896"/>
                <a:ext cx="307" cy="386"/>
              </a:xfrm>
              <a:custGeom>
                <a:avLst/>
                <a:gdLst>
                  <a:gd name="T0" fmla="*/ 374 w 922"/>
                  <a:gd name="T1" fmla="*/ 1156 h 1158"/>
                  <a:gd name="T2" fmla="*/ 271 w 922"/>
                  <a:gd name="T3" fmla="*/ 1129 h 1158"/>
                  <a:gd name="T4" fmla="*/ 175 w 922"/>
                  <a:gd name="T5" fmla="*/ 1068 h 1158"/>
                  <a:gd name="T6" fmla="*/ 96 w 922"/>
                  <a:gd name="T7" fmla="*/ 979 h 1158"/>
                  <a:gd name="T8" fmla="*/ 38 w 922"/>
                  <a:gd name="T9" fmla="*/ 863 h 1158"/>
                  <a:gd name="T10" fmla="*/ 7 w 922"/>
                  <a:gd name="T11" fmla="*/ 734 h 1158"/>
                  <a:gd name="T12" fmla="*/ 1 w 922"/>
                  <a:gd name="T13" fmla="*/ 595 h 1158"/>
                  <a:gd name="T14" fmla="*/ 24 w 922"/>
                  <a:gd name="T15" fmla="*/ 455 h 1158"/>
                  <a:gd name="T16" fmla="*/ 67 w 922"/>
                  <a:gd name="T17" fmla="*/ 333 h 1158"/>
                  <a:gd name="T18" fmla="*/ 127 w 922"/>
                  <a:gd name="T19" fmla="*/ 226 h 1158"/>
                  <a:gd name="T20" fmla="*/ 203 w 922"/>
                  <a:gd name="T21" fmla="*/ 136 h 1158"/>
                  <a:gd name="T22" fmla="*/ 289 w 922"/>
                  <a:gd name="T23" fmla="*/ 66 h 1158"/>
                  <a:gd name="T24" fmla="*/ 387 w 922"/>
                  <a:gd name="T25" fmla="*/ 20 h 1158"/>
                  <a:gd name="T26" fmla="*/ 488 w 922"/>
                  <a:gd name="T27" fmla="*/ 1 h 1158"/>
                  <a:gd name="T28" fmla="*/ 586 w 922"/>
                  <a:gd name="T29" fmla="*/ 8 h 1158"/>
                  <a:gd name="T30" fmla="*/ 693 w 922"/>
                  <a:gd name="T31" fmla="*/ 50 h 1158"/>
                  <a:gd name="T32" fmla="*/ 783 w 922"/>
                  <a:gd name="T33" fmla="*/ 124 h 1158"/>
                  <a:gd name="T34" fmla="*/ 852 w 922"/>
                  <a:gd name="T35" fmla="*/ 222 h 1158"/>
                  <a:gd name="T36" fmla="*/ 898 w 922"/>
                  <a:gd name="T37" fmla="*/ 341 h 1158"/>
                  <a:gd name="T38" fmla="*/ 921 w 922"/>
                  <a:gd name="T39" fmla="*/ 475 h 1158"/>
                  <a:gd name="T40" fmla="*/ 916 w 922"/>
                  <a:gd name="T41" fmla="*/ 617 h 1158"/>
                  <a:gd name="T42" fmla="*/ 883 w 922"/>
                  <a:gd name="T43" fmla="*/ 753 h 1158"/>
                  <a:gd name="T44" fmla="*/ 834 w 922"/>
                  <a:gd name="T45" fmla="*/ 870 h 1158"/>
                  <a:gd name="T46" fmla="*/ 767 w 922"/>
                  <a:gd name="T47" fmla="*/ 970 h 1158"/>
                  <a:gd name="T48" fmla="*/ 686 w 922"/>
                  <a:gd name="T49" fmla="*/ 1052 h 1158"/>
                  <a:gd name="T50" fmla="*/ 595 w 922"/>
                  <a:gd name="T51" fmla="*/ 1112 h 1158"/>
                  <a:gd name="T52" fmla="*/ 496 w 922"/>
                  <a:gd name="T53" fmla="*/ 1148 h 1158"/>
                  <a:gd name="T54" fmla="*/ 510 w 922"/>
                  <a:gd name="T55" fmla="*/ 27 h 1158"/>
                  <a:gd name="T56" fmla="*/ 431 w 922"/>
                  <a:gd name="T57" fmla="*/ 35 h 1158"/>
                  <a:gd name="T58" fmla="*/ 338 w 922"/>
                  <a:gd name="T59" fmla="*/ 70 h 1158"/>
                  <a:gd name="T60" fmla="*/ 252 w 922"/>
                  <a:gd name="T61" fmla="*/ 128 h 1158"/>
                  <a:gd name="T62" fmla="*/ 175 w 922"/>
                  <a:gd name="T63" fmla="*/ 207 h 1158"/>
                  <a:gd name="T64" fmla="*/ 111 w 922"/>
                  <a:gd name="T65" fmla="*/ 303 h 1158"/>
                  <a:gd name="T66" fmla="*/ 64 w 922"/>
                  <a:gd name="T67" fmla="*/ 414 h 1158"/>
                  <a:gd name="T68" fmla="*/ 35 w 922"/>
                  <a:gd name="T69" fmla="*/ 543 h 1158"/>
                  <a:gd name="T70" fmla="*/ 28 w 922"/>
                  <a:gd name="T71" fmla="*/ 677 h 1158"/>
                  <a:gd name="T72" fmla="*/ 48 w 922"/>
                  <a:gd name="T73" fmla="*/ 806 h 1158"/>
                  <a:gd name="T74" fmla="*/ 94 w 922"/>
                  <a:gd name="T75" fmla="*/ 923 h 1158"/>
                  <a:gd name="T76" fmla="*/ 160 w 922"/>
                  <a:gd name="T77" fmla="*/ 1016 h 1158"/>
                  <a:gd name="T78" fmla="*/ 244 w 922"/>
                  <a:gd name="T79" fmla="*/ 1084 h 1158"/>
                  <a:gd name="T80" fmla="*/ 341 w 922"/>
                  <a:gd name="T81" fmla="*/ 1123 h 1158"/>
                  <a:gd name="T82" fmla="*/ 433 w 922"/>
                  <a:gd name="T83" fmla="*/ 1130 h 1158"/>
                  <a:gd name="T84" fmla="*/ 529 w 922"/>
                  <a:gd name="T85" fmla="*/ 1111 h 1158"/>
                  <a:gd name="T86" fmla="*/ 620 w 922"/>
                  <a:gd name="T87" fmla="*/ 1067 h 1158"/>
                  <a:gd name="T88" fmla="*/ 703 w 922"/>
                  <a:gd name="T89" fmla="*/ 1000 h 1158"/>
                  <a:gd name="T90" fmla="*/ 774 w 922"/>
                  <a:gd name="T91" fmla="*/ 915 h 1158"/>
                  <a:gd name="T92" fmla="*/ 832 w 922"/>
                  <a:gd name="T93" fmla="*/ 812 h 1158"/>
                  <a:gd name="T94" fmla="*/ 873 w 922"/>
                  <a:gd name="T95" fmla="*/ 695 h 1158"/>
                  <a:gd name="T96" fmla="*/ 894 w 922"/>
                  <a:gd name="T97" fmla="*/ 559 h 1158"/>
                  <a:gd name="T98" fmla="*/ 889 w 922"/>
                  <a:gd name="T99" fmla="*/ 426 h 1158"/>
                  <a:gd name="T100" fmla="*/ 859 w 922"/>
                  <a:gd name="T101" fmla="*/ 303 h 1158"/>
                  <a:gd name="T102" fmla="*/ 807 w 922"/>
                  <a:gd name="T103" fmla="*/ 197 h 1158"/>
                  <a:gd name="T104" fmla="*/ 733 w 922"/>
                  <a:gd name="T105" fmla="*/ 113 h 1158"/>
                  <a:gd name="T106" fmla="*/ 643 w 922"/>
                  <a:gd name="T107" fmla="*/ 55 h 1158"/>
                  <a:gd name="T108" fmla="*/ 545 w 922"/>
                  <a:gd name="T109" fmla="*/ 2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2" h="1158">
                    <a:moveTo>
                      <a:pt x="413" y="1158"/>
                    </a:moveTo>
                    <a:lnTo>
                      <a:pt x="413" y="1158"/>
                    </a:lnTo>
                    <a:lnTo>
                      <a:pt x="413" y="1158"/>
                    </a:lnTo>
                    <a:lnTo>
                      <a:pt x="393" y="1158"/>
                    </a:lnTo>
                    <a:lnTo>
                      <a:pt x="374" y="1156"/>
                    </a:lnTo>
                    <a:lnTo>
                      <a:pt x="355" y="1154"/>
                    </a:lnTo>
                    <a:lnTo>
                      <a:pt x="336" y="1149"/>
                    </a:lnTo>
                    <a:lnTo>
                      <a:pt x="314" y="1144"/>
                    </a:lnTo>
                    <a:lnTo>
                      <a:pt x="293" y="1137"/>
                    </a:lnTo>
                    <a:lnTo>
                      <a:pt x="271" y="1129"/>
                    </a:lnTo>
                    <a:lnTo>
                      <a:pt x="251" y="1119"/>
                    </a:lnTo>
                    <a:lnTo>
                      <a:pt x="231" y="1108"/>
                    </a:lnTo>
                    <a:lnTo>
                      <a:pt x="212" y="1096"/>
                    </a:lnTo>
                    <a:lnTo>
                      <a:pt x="192" y="1083"/>
                    </a:lnTo>
                    <a:lnTo>
                      <a:pt x="175" y="1068"/>
                    </a:lnTo>
                    <a:lnTo>
                      <a:pt x="158" y="1053"/>
                    </a:lnTo>
                    <a:lnTo>
                      <a:pt x="140" y="1036"/>
                    </a:lnTo>
                    <a:lnTo>
                      <a:pt x="125" y="1019"/>
                    </a:lnTo>
                    <a:lnTo>
                      <a:pt x="110" y="999"/>
                    </a:lnTo>
                    <a:lnTo>
                      <a:pt x="96" y="979"/>
                    </a:lnTo>
                    <a:lnTo>
                      <a:pt x="82" y="958"/>
                    </a:lnTo>
                    <a:lnTo>
                      <a:pt x="70" y="935"/>
                    </a:lnTo>
                    <a:lnTo>
                      <a:pt x="58" y="912"/>
                    </a:lnTo>
                    <a:lnTo>
                      <a:pt x="48" y="888"/>
                    </a:lnTo>
                    <a:lnTo>
                      <a:pt x="38" y="863"/>
                    </a:lnTo>
                    <a:lnTo>
                      <a:pt x="29" y="838"/>
                    </a:lnTo>
                    <a:lnTo>
                      <a:pt x="22" y="813"/>
                    </a:lnTo>
                    <a:lnTo>
                      <a:pt x="15" y="786"/>
                    </a:lnTo>
                    <a:lnTo>
                      <a:pt x="11" y="761"/>
                    </a:lnTo>
                    <a:lnTo>
                      <a:pt x="7" y="734"/>
                    </a:lnTo>
                    <a:lnTo>
                      <a:pt x="3" y="707"/>
                    </a:lnTo>
                    <a:lnTo>
                      <a:pt x="1" y="679"/>
                    </a:lnTo>
                    <a:lnTo>
                      <a:pt x="0" y="652"/>
                    </a:lnTo>
                    <a:lnTo>
                      <a:pt x="0" y="623"/>
                    </a:lnTo>
                    <a:lnTo>
                      <a:pt x="1" y="595"/>
                    </a:lnTo>
                    <a:lnTo>
                      <a:pt x="4" y="566"/>
                    </a:lnTo>
                    <a:lnTo>
                      <a:pt x="8" y="538"/>
                    </a:lnTo>
                    <a:lnTo>
                      <a:pt x="12" y="510"/>
                    </a:lnTo>
                    <a:lnTo>
                      <a:pt x="17" y="481"/>
                    </a:lnTo>
                    <a:lnTo>
                      <a:pt x="24" y="455"/>
                    </a:lnTo>
                    <a:lnTo>
                      <a:pt x="30" y="430"/>
                    </a:lnTo>
                    <a:lnTo>
                      <a:pt x="39" y="405"/>
                    </a:lnTo>
                    <a:lnTo>
                      <a:pt x="48" y="381"/>
                    </a:lnTo>
                    <a:lnTo>
                      <a:pt x="56" y="357"/>
                    </a:lnTo>
                    <a:lnTo>
                      <a:pt x="67" y="333"/>
                    </a:lnTo>
                    <a:lnTo>
                      <a:pt x="78" y="310"/>
                    </a:lnTo>
                    <a:lnTo>
                      <a:pt x="89" y="289"/>
                    </a:lnTo>
                    <a:lnTo>
                      <a:pt x="100" y="267"/>
                    </a:lnTo>
                    <a:lnTo>
                      <a:pt x="113" y="246"/>
                    </a:lnTo>
                    <a:lnTo>
                      <a:pt x="127" y="226"/>
                    </a:lnTo>
                    <a:lnTo>
                      <a:pt x="142" y="207"/>
                    </a:lnTo>
                    <a:lnTo>
                      <a:pt x="156" y="187"/>
                    </a:lnTo>
                    <a:lnTo>
                      <a:pt x="171" y="170"/>
                    </a:lnTo>
                    <a:lnTo>
                      <a:pt x="187" y="153"/>
                    </a:lnTo>
                    <a:lnTo>
                      <a:pt x="203" y="136"/>
                    </a:lnTo>
                    <a:lnTo>
                      <a:pt x="219" y="120"/>
                    </a:lnTo>
                    <a:lnTo>
                      <a:pt x="237" y="105"/>
                    </a:lnTo>
                    <a:lnTo>
                      <a:pt x="254" y="91"/>
                    </a:lnTo>
                    <a:lnTo>
                      <a:pt x="272" y="78"/>
                    </a:lnTo>
                    <a:lnTo>
                      <a:pt x="289" y="66"/>
                    </a:lnTo>
                    <a:lnTo>
                      <a:pt x="309" y="56"/>
                    </a:lnTo>
                    <a:lnTo>
                      <a:pt x="327" y="45"/>
                    </a:lnTo>
                    <a:lnTo>
                      <a:pt x="347" y="36"/>
                    </a:lnTo>
                    <a:lnTo>
                      <a:pt x="366" y="28"/>
                    </a:lnTo>
                    <a:lnTo>
                      <a:pt x="387" y="20"/>
                    </a:lnTo>
                    <a:lnTo>
                      <a:pt x="406" y="15"/>
                    </a:lnTo>
                    <a:lnTo>
                      <a:pt x="427" y="9"/>
                    </a:lnTo>
                    <a:lnTo>
                      <a:pt x="447" y="5"/>
                    </a:lnTo>
                    <a:lnTo>
                      <a:pt x="468" y="2"/>
                    </a:lnTo>
                    <a:lnTo>
                      <a:pt x="488" y="1"/>
                    </a:lnTo>
                    <a:lnTo>
                      <a:pt x="510" y="0"/>
                    </a:lnTo>
                    <a:lnTo>
                      <a:pt x="529" y="1"/>
                    </a:lnTo>
                    <a:lnTo>
                      <a:pt x="549" y="2"/>
                    </a:lnTo>
                    <a:lnTo>
                      <a:pt x="567" y="5"/>
                    </a:lnTo>
                    <a:lnTo>
                      <a:pt x="586" y="8"/>
                    </a:lnTo>
                    <a:lnTo>
                      <a:pt x="609" y="14"/>
                    </a:lnTo>
                    <a:lnTo>
                      <a:pt x="631" y="21"/>
                    </a:lnTo>
                    <a:lnTo>
                      <a:pt x="652" y="30"/>
                    </a:lnTo>
                    <a:lnTo>
                      <a:pt x="673" y="39"/>
                    </a:lnTo>
                    <a:lnTo>
                      <a:pt x="693" y="50"/>
                    </a:lnTo>
                    <a:lnTo>
                      <a:pt x="713" y="63"/>
                    </a:lnTo>
                    <a:lnTo>
                      <a:pt x="731" y="76"/>
                    </a:lnTo>
                    <a:lnTo>
                      <a:pt x="749" y="91"/>
                    </a:lnTo>
                    <a:lnTo>
                      <a:pt x="767" y="106"/>
                    </a:lnTo>
                    <a:lnTo>
                      <a:pt x="783" y="124"/>
                    </a:lnTo>
                    <a:lnTo>
                      <a:pt x="798" y="141"/>
                    </a:lnTo>
                    <a:lnTo>
                      <a:pt x="813" y="160"/>
                    </a:lnTo>
                    <a:lnTo>
                      <a:pt x="827" y="180"/>
                    </a:lnTo>
                    <a:lnTo>
                      <a:pt x="840" y="200"/>
                    </a:lnTo>
                    <a:lnTo>
                      <a:pt x="852" y="222"/>
                    </a:lnTo>
                    <a:lnTo>
                      <a:pt x="863" y="245"/>
                    </a:lnTo>
                    <a:lnTo>
                      <a:pt x="874" y="267"/>
                    </a:lnTo>
                    <a:lnTo>
                      <a:pt x="883" y="291"/>
                    </a:lnTo>
                    <a:lnTo>
                      <a:pt x="892" y="316"/>
                    </a:lnTo>
                    <a:lnTo>
                      <a:pt x="898" y="341"/>
                    </a:lnTo>
                    <a:lnTo>
                      <a:pt x="905" y="367"/>
                    </a:lnTo>
                    <a:lnTo>
                      <a:pt x="910" y="392"/>
                    </a:lnTo>
                    <a:lnTo>
                      <a:pt x="916" y="419"/>
                    </a:lnTo>
                    <a:lnTo>
                      <a:pt x="919" y="446"/>
                    </a:lnTo>
                    <a:lnTo>
                      <a:pt x="921" y="475"/>
                    </a:lnTo>
                    <a:lnTo>
                      <a:pt x="922" y="503"/>
                    </a:lnTo>
                    <a:lnTo>
                      <a:pt x="922" y="531"/>
                    </a:lnTo>
                    <a:lnTo>
                      <a:pt x="921" y="560"/>
                    </a:lnTo>
                    <a:lnTo>
                      <a:pt x="919" y="588"/>
                    </a:lnTo>
                    <a:lnTo>
                      <a:pt x="916" y="617"/>
                    </a:lnTo>
                    <a:lnTo>
                      <a:pt x="910" y="647"/>
                    </a:lnTo>
                    <a:lnTo>
                      <a:pt x="905" y="676"/>
                    </a:lnTo>
                    <a:lnTo>
                      <a:pt x="898" y="702"/>
                    </a:lnTo>
                    <a:lnTo>
                      <a:pt x="892" y="727"/>
                    </a:lnTo>
                    <a:lnTo>
                      <a:pt x="883" y="753"/>
                    </a:lnTo>
                    <a:lnTo>
                      <a:pt x="876" y="777"/>
                    </a:lnTo>
                    <a:lnTo>
                      <a:pt x="866" y="801"/>
                    </a:lnTo>
                    <a:lnTo>
                      <a:pt x="856" y="824"/>
                    </a:lnTo>
                    <a:lnTo>
                      <a:pt x="846" y="847"/>
                    </a:lnTo>
                    <a:lnTo>
                      <a:pt x="834" y="870"/>
                    </a:lnTo>
                    <a:lnTo>
                      <a:pt x="822" y="891"/>
                    </a:lnTo>
                    <a:lnTo>
                      <a:pt x="809" y="912"/>
                    </a:lnTo>
                    <a:lnTo>
                      <a:pt x="795" y="932"/>
                    </a:lnTo>
                    <a:lnTo>
                      <a:pt x="781" y="952"/>
                    </a:lnTo>
                    <a:lnTo>
                      <a:pt x="767" y="970"/>
                    </a:lnTo>
                    <a:lnTo>
                      <a:pt x="752" y="988"/>
                    </a:lnTo>
                    <a:lnTo>
                      <a:pt x="735" y="1006"/>
                    </a:lnTo>
                    <a:lnTo>
                      <a:pt x="720" y="1022"/>
                    </a:lnTo>
                    <a:lnTo>
                      <a:pt x="703" y="1037"/>
                    </a:lnTo>
                    <a:lnTo>
                      <a:pt x="686" y="1052"/>
                    </a:lnTo>
                    <a:lnTo>
                      <a:pt x="668" y="1066"/>
                    </a:lnTo>
                    <a:lnTo>
                      <a:pt x="651" y="1079"/>
                    </a:lnTo>
                    <a:lnTo>
                      <a:pt x="633" y="1091"/>
                    </a:lnTo>
                    <a:lnTo>
                      <a:pt x="613" y="1103"/>
                    </a:lnTo>
                    <a:lnTo>
                      <a:pt x="595" y="1112"/>
                    </a:lnTo>
                    <a:lnTo>
                      <a:pt x="576" y="1122"/>
                    </a:lnTo>
                    <a:lnTo>
                      <a:pt x="556" y="1130"/>
                    </a:lnTo>
                    <a:lnTo>
                      <a:pt x="536" y="1137"/>
                    </a:lnTo>
                    <a:lnTo>
                      <a:pt x="516" y="1144"/>
                    </a:lnTo>
                    <a:lnTo>
                      <a:pt x="496" y="1148"/>
                    </a:lnTo>
                    <a:lnTo>
                      <a:pt x="475" y="1152"/>
                    </a:lnTo>
                    <a:lnTo>
                      <a:pt x="455" y="1156"/>
                    </a:lnTo>
                    <a:lnTo>
                      <a:pt x="434" y="1157"/>
                    </a:lnTo>
                    <a:lnTo>
                      <a:pt x="413" y="1158"/>
                    </a:lnTo>
                    <a:close/>
                    <a:moveTo>
                      <a:pt x="510" y="27"/>
                    </a:moveTo>
                    <a:lnTo>
                      <a:pt x="510" y="27"/>
                    </a:lnTo>
                    <a:lnTo>
                      <a:pt x="489" y="28"/>
                    </a:lnTo>
                    <a:lnTo>
                      <a:pt x="470" y="29"/>
                    </a:lnTo>
                    <a:lnTo>
                      <a:pt x="450" y="32"/>
                    </a:lnTo>
                    <a:lnTo>
                      <a:pt x="431" y="35"/>
                    </a:lnTo>
                    <a:lnTo>
                      <a:pt x="413" y="41"/>
                    </a:lnTo>
                    <a:lnTo>
                      <a:pt x="393" y="46"/>
                    </a:lnTo>
                    <a:lnTo>
                      <a:pt x="375" y="54"/>
                    </a:lnTo>
                    <a:lnTo>
                      <a:pt x="356" y="61"/>
                    </a:lnTo>
                    <a:lnTo>
                      <a:pt x="338" y="70"/>
                    </a:lnTo>
                    <a:lnTo>
                      <a:pt x="320" y="79"/>
                    </a:lnTo>
                    <a:lnTo>
                      <a:pt x="302" y="90"/>
                    </a:lnTo>
                    <a:lnTo>
                      <a:pt x="285" y="102"/>
                    </a:lnTo>
                    <a:lnTo>
                      <a:pt x="268" y="115"/>
                    </a:lnTo>
                    <a:lnTo>
                      <a:pt x="252" y="128"/>
                    </a:lnTo>
                    <a:lnTo>
                      <a:pt x="235" y="142"/>
                    </a:lnTo>
                    <a:lnTo>
                      <a:pt x="219" y="157"/>
                    </a:lnTo>
                    <a:lnTo>
                      <a:pt x="204" y="172"/>
                    </a:lnTo>
                    <a:lnTo>
                      <a:pt x="189" y="190"/>
                    </a:lnTo>
                    <a:lnTo>
                      <a:pt x="175" y="207"/>
                    </a:lnTo>
                    <a:lnTo>
                      <a:pt x="161" y="224"/>
                    </a:lnTo>
                    <a:lnTo>
                      <a:pt x="148" y="242"/>
                    </a:lnTo>
                    <a:lnTo>
                      <a:pt x="135" y="262"/>
                    </a:lnTo>
                    <a:lnTo>
                      <a:pt x="123" y="282"/>
                    </a:lnTo>
                    <a:lnTo>
                      <a:pt x="111" y="303"/>
                    </a:lnTo>
                    <a:lnTo>
                      <a:pt x="100" y="323"/>
                    </a:lnTo>
                    <a:lnTo>
                      <a:pt x="91" y="346"/>
                    </a:lnTo>
                    <a:lnTo>
                      <a:pt x="81" y="368"/>
                    </a:lnTo>
                    <a:lnTo>
                      <a:pt x="72" y="391"/>
                    </a:lnTo>
                    <a:lnTo>
                      <a:pt x="64" y="414"/>
                    </a:lnTo>
                    <a:lnTo>
                      <a:pt x="56" y="438"/>
                    </a:lnTo>
                    <a:lnTo>
                      <a:pt x="50" y="463"/>
                    </a:lnTo>
                    <a:lnTo>
                      <a:pt x="44" y="487"/>
                    </a:lnTo>
                    <a:lnTo>
                      <a:pt x="39" y="514"/>
                    </a:lnTo>
                    <a:lnTo>
                      <a:pt x="35" y="543"/>
                    </a:lnTo>
                    <a:lnTo>
                      <a:pt x="30" y="570"/>
                    </a:lnTo>
                    <a:lnTo>
                      <a:pt x="28" y="597"/>
                    </a:lnTo>
                    <a:lnTo>
                      <a:pt x="27" y="623"/>
                    </a:lnTo>
                    <a:lnTo>
                      <a:pt x="27" y="650"/>
                    </a:lnTo>
                    <a:lnTo>
                      <a:pt x="28" y="677"/>
                    </a:lnTo>
                    <a:lnTo>
                      <a:pt x="30" y="703"/>
                    </a:lnTo>
                    <a:lnTo>
                      <a:pt x="32" y="729"/>
                    </a:lnTo>
                    <a:lnTo>
                      <a:pt x="37" y="755"/>
                    </a:lnTo>
                    <a:lnTo>
                      <a:pt x="42" y="781"/>
                    </a:lnTo>
                    <a:lnTo>
                      <a:pt x="48" y="806"/>
                    </a:lnTo>
                    <a:lnTo>
                      <a:pt x="55" y="830"/>
                    </a:lnTo>
                    <a:lnTo>
                      <a:pt x="63" y="855"/>
                    </a:lnTo>
                    <a:lnTo>
                      <a:pt x="72" y="877"/>
                    </a:lnTo>
                    <a:lnTo>
                      <a:pt x="82" y="901"/>
                    </a:lnTo>
                    <a:lnTo>
                      <a:pt x="94" y="923"/>
                    </a:lnTo>
                    <a:lnTo>
                      <a:pt x="105" y="943"/>
                    </a:lnTo>
                    <a:lnTo>
                      <a:pt x="118" y="964"/>
                    </a:lnTo>
                    <a:lnTo>
                      <a:pt x="131" y="982"/>
                    </a:lnTo>
                    <a:lnTo>
                      <a:pt x="145" y="1000"/>
                    </a:lnTo>
                    <a:lnTo>
                      <a:pt x="160" y="1016"/>
                    </a:lnTo>
                    <a:lnTo>
                      <a:pt x="175" y="1033"/>
                    </a:lnTo>
                    <a:lnTo>
                      <a:pt x="191" y="1048"/>
                    </a:lnTo>
                    <a:lnTo>
                      <a:pt x="208" y="1061"/>
                    </a:lnTo>
                    <a:lnTo>
                      <a:pt x="226" y="1074"/>
                    </a:lnTo>
                    <a:lnTo>
                      <a:pt x="244" y="1084"/>
                    </a:lnTo>
                    <a:lnTo>
                      <a:pt x="262" y="1095"/>
                    </a:lnTo>
                    <a:lnTo>
                      <a:pt x="282" y="1104"/>
                    </a:lnTo>
                    <a:lnTo>
                      <a:pt x="301" y="1111"/>
                    </a:lnTo>
                    <a:lnTo>
                      <a:pt x="321" y="1118"/>
                    </a:lnTo>
                    <a:lnTo>
                      <a:pt x="341" y="1123"/>
                    </a:lnTo>
                    <a:lnTo>
                      <a:pt x="360" y="1127"/>
                    </a:lnTo>
                    <a:lnTo>
                      <a:pt x="377" y="1129"/>
                    </a:lnTo>
                    <a:lnTo>
                      <a:pt x="395" y="1131"/>
                    </a:lnTo>
                    <a:lnTo>
                      <a:pt x="413" y="1131"/>
                    </a:lnTo>
                    <a:lnTo>
                      <a:pt x="433" y="1130"/>
                    </a:lnTo>
                    <a:lnTo>
                      <a:pt x="453" y="1129"/>
                    </a:lnTo>
                    <a:lnTo>
                      <a:pt x="472" y="1125"/>
                    </a:lnTo>
                    <a:lnTo>
                      <a:pt x="491" y="1122"/>
                    </a:lnTo>
                    <a:lnTo>
                      <a:pt x="511" y="1117"/>
                    </a:lnTo>
                    <a:lnTo>
                      <a:pt x="529" y="1111"/>
                    </a:lnTo>
                    <a:lnTo>
                      <a:pt x="548" y="1104"/>
                    </a:lnTo>
                    <a:lnTo>
                      <a:pt x="567" y="1096"/>
                    </a:lnTo>
                    <a:lnTo>
                      <a:pt x="584" y="1088"/>
                    </a:lnTo>
                    <a:lnTo>
                      <a:pt x="603" y="1078"/>
                    </a:lnTo>
                    <a:lnTo>
                      <a:pt x="620" y="1067"/>
                    </a:lnTo>
                    <a:lnTo>
                      <a:pt x="637" y="1055"/>
                    </a:lnTo>
                    <a:lnTo>
                      <a:pt x="654" y="1043"/>
                    </a:lnTo>
                    <a:lnTo>
                      <a:pt x="671" y="1029"/>
                    </a:lnTo>
                    <a:lnTo>
                      <a:pt x="687" y="1015"/>
                    </a:lnTo>
                    <a:lnTo>
                      <a:pt x="703" y="1000"/>
                    </a:lnTo>
                    <a:lnTo>
                      <a:pt x="718" y="985"/>
                    </a:lnTo>
                    <a:lnTo>
                      <a:pt x="733" y="969"/>
                    </a:lnTo>
                    <a:lnTo>
                      <a:pt x="747" y="952"/>
                    </a:lnTo>
                    <a:lnTo>
                      <a:pt x="761" y="933"/>
                    </a:lnTo>
                    <a:lnTo>
                      <a:pt x="774" y="915"/>
                    </a:lnTo>
                    <a:lnTo>
                      <a:pt x="787" y="896"/>
                    </a:lnTo>
                    <a:lnTo>
                      <a:pt x="799" y="875"/>
                    </a:lnTo>
                    <a:lnTo>
                      <a:pt x="811" y="855"/>
                    </a:lnTo>
                    <a:lnTo>
                      <a:pt x="822" y="834"/>
                    </a:lnTo>
                    <a:lnTo>
                      <a:pt x="832" y="812"/>
                    </a:lnTo>
                    <a:lnTo>
                      <a:pt x="841" y="790"/>
                    </a:lnTo>
                    <a:lnTo>
                      <a:pt x="850" y="767"/>
                    </a:lnTo>
                    <a:lnTo>
                      <a:pt x="859" y="743"/>
                    </a:lnTo>
                    <a:lnTo>
                      <a:pt x="866" y="720"/>
                    </a:lnTo>
                    <a:lnTo>
                      <a:pt x="873" y="695"/>
                    </a:lnTo>
                    <a:lnTo>
                      <a:pt x="878" y="670"/>
                    </a:lnTo>
                    <a:lnTo>
                      <a:pt x="884" y="642"/>
                    </a:lnTo>
                    <a:lnTo>
                      <a:pt x="889" y="615"/>
                    </a:lnTo>
                    <a:lnTo>
                      <a:pt x="892" y="587"/>
                    </a:lnTo>
                    <a:lnTo>
                      <a:pt x="894" y="559"/>
                    </a:lnTo>
                    <a:lnTo>
                      <a:pt x="895" y="532"/>
                    </a:lnTo>
                    <a:lnTo>
                      <a:pt x="895" y="505"/>
                    </a:lnTo>
                    <a:lnTo>
                      <a:pt x="894" y="478"/>
                    </a:lnTo>
                    <a:lnTo>
                      <a:pt x="892" y="452"/>
                    </a:lnTo>
                    <a:lnTo>
                      <a:pt x="889" y="426"/>
                    </a:lnTo>
                    <a:lnTo>
                      <a:pt x="884" y="400"/>
                    </a:lnTo>
                    <a:lnTo>
                      <a:pt x="880" y="375"/>
                    </a:lnTo>
                    <a:lnTo>
                      <a:pt x="874" y="350"/>
                    </a:lnTo>
                    <a:lnTo>
                      <a:pt x="867" y="327"/>
                    </a:lnTo>
                    <a:lnTo>
                      <a:pt x="859" y="303"/>
                    </a:lnTo>
                    <a:lnTo>
                      <a:pt x="850" y="281"/>
                    </a:lnTo>
                    <a:lnTo>
                      <a:pt x="840" y="259"/>
                    </a:lnTo>
                    <a:lnTo>
                      <a:pt x="830" y="238"/>
                    </a:lnTo>
                    <a:lnTo>
                      <a:pt x="819" y="218"/>
                    </a:lnTo>
                    <a:lnTo>
                      <a:pt x="807" y="197"/>
                    </a:lnTo>
                    <a:lnTo>
                      <a:pt x="794" y="179"/>
                    </a:lnTo>
                    <a:lnTo>
                      <a:pt x="780" y="160"/>
                    </a:lnTo>
                    <a:lnTo>
                      <a:pt x="765" y="144"/>
                    </a:lnTo>
                    <a:lnTo>
                      <a:pt x="749" y="128"/>
                    </a:lnTo>
                    <a:lnTo>
                      <a:pt x="733" y="113"/>
                    </a:lnTo>
                    <a:lnTo>
                      <a:pt x="717" y="99"/>
                    </a:lnTo>
                    <a:lnTo>
                      <a:pt x="700" y="86"/>
                    </a:lnTo>
                    <a:lnTo>
                      <a:pt x="681" y="74"/>
                    </a:lnTo>
                    <a:lnTo>
                      <a:pt x="662" y="64"/>
                    </a:lnTo>
                    <a:lnTo>
                      <a:pt x="643" y="55"/>
                    </a:lnTo>
                    <a:lnTo>
                      <a:pt x="623" y="47"/>
                    </a:lnTo>
                    <a:lnTo>
                      <a:pt x="602" y="39"/>
                    </a:lnTo>
                    <a:lnTo>
                      <a:pt x="581" y="34"/>
                    </a:lnTo>
                    <a:lnTo>
                      <a:pt x="563" y="31"/>
                    </a:lnTo>
                    <a:lnTo>
                      <a:pt x="545" y="29"/>
                    </a:lnTo>
                    <a:lnTo>
                      <a:pt x="527" y="28"/>
                    </a:lnTo>
                    <a:lnTo>
                      <a:pt x="51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71"/>
              <p:cNvSpPr>
                <a:spLocks noEditPoints="1"/>
              </p:cNvSpPr>
              <p:nvPr userDrawn="1"/>
            </p:nvSpPr>
            <p:spPr bwMode="auto">
              <a:xfrm>
                <a:off x="1557" y="1937"/>
                <a:ext cx="183" cy="284"/>
              </a:xfrm>
              <a:custGeom>
                <a:avLst/>
                <a:gdLst>
                  <a:gd name="T0" fmla="*/ 190 w 548"/>
                  <a:gd name="T1" fmla="*/ 848 h 850"/>
                  <a:gd name="T2" fmla="*/ 131 w 548"/>
                  <a:gd name="T3" fmla="*/ 827 h 850"/>
                  <a:gd name="T4" fmla="*/ 79 w 548"/>
                  <a:gd name="T5" fmla="*/ 780 h 850"/>
                  <a:gd name="T6" fmla="*/ 38 w 548"/>
                  <a:gd name="T7" fmla="*/ 714 h 850"/>
                  <a:gd name="T8" fmla="*/ 12 w 548"/>
                  <a:gd name="T9" fmla="*/ 632 h 850"/>
                  <a:gd name="T10" fmla="*/ 0 w 548"/>
                  <a:gd name="T11" fmla="*/ 537 h 850"/>
                  <a:gd name="T12" fmla="*/ 5 w 548"/>
                  <a:gd name="T13" fmla="*/ 434 h 850"/>
                  <a:gd name="T14" fmla="*/ 26 w 548"/>
                  <a:gd name="T15" fmla="*/ 330 h 850"/>
                  <a:gd name="T16" fmla="*/ 59 w 548"/>
                  <a:gd name="T17" fmla="*/ 239 h 850"/>
                  <a:gd name="T18" fmla="*/ 101 w 548"/>
                  <a:gd name="T19" fmla="*/ 159 h 850"/>
                  <a:gd name="T20" fmla="*/ 151 w 548"/>
                  <a:gd name="T21" fmla="*/ 94 h 850"/>
                  <a:gd name="T22" fmla="*/ 208 w 548"/>
                  <a:gd name="T23" fmla="*/ 43 h 850"/>
                  <a:gd name="T24" fmla="*/ 268 w 548"/>
                  <a:gd name="T25" fmla="*/ 12 h 850"/>
                  <a:gd name="T26" fmla="*/ 331 w 548"/>
                  <a:gd name="T27" fmla="*/ 0 h 850"/>
                  <a:gd name="T28" fmla="*/ 379 w 548"/>
                  <a:gd name="T29" fmla="*/ 7 h 850"/>
                  <a:gd name="T30" fmla="*/ 439 w 548"/>
                  <a:gd name="T31" fmla="*/ 39 h 850"/>
                  <a:gd name="T32" fmla="*/ 487 w 548"/>
                  <a:gd name="T33" fmla="*/ 94 h 850"/>
                  <a:gd name="T34" fmla="*/ 523 w 548"/>
                  <a:gd name="T35" fmla="*/ 170 h 850"/>
                  <a:gd name="T36" fmla="*/ 542 w 548"/>
                  <a:gd name="T37" fmla="*/ 260 h 850"/>
                  <a:gd name="T38" fmla="*/ 547 w 548"/>
                  <a:gd name="T39" fmla="*/ 358 h 850"/>
                  <a:gd name="T40" fmla="*/ 536 w 548"/>
                  <a:gd name="T41" fmla="*/ 461 h 850"/>
                  <a:gd name="T42" fmla="*/ 510 w 548"/>
                  <a:gd name="T43" fmla="*/ 558 h 850"/>
                  <a:gd name="T44" fmla="*/ 473 w 548"/>
                  <a:gd name="T45" fmla="*/ 644 h 850"/>
                  <a:gd name="T46" fmla="*/ 427 w 548"/>
                  <a:gd name="T47" fmla="*/ 719 h 850"/>
                  <a:gd name="T48" fmla="*/ 374 w 548"/>
                  <a:gd name="T49" fmla="*/ 779 h 850"/>
                  <a:gd name="T50" fmla="*/ 316 w 548"/>
                  <a:gd name="T51" fmla="*/ 822 h 850"/>
                  <a:gd name="T52" fmla="*/ 254 w 548"/>
                  <a:gd name="T53" fmla="*/ 846 h 850"/>
                  <a:gd name="T54" fmla="*/ 331 w 548"/>
                  <a:gd name="T55" fmla="*/ 27 h 850"/>
                  <a:gd name="T56" fmla="*/ 273 w 548"/>
                  <a:gd name="T57" fmla="*/ 37 h 850"/>
                  <a:gd name="T58" fmla="*/ 219 w 548"/>
                  <a:gd name="T59" fmla="*/ 68 h 850"/>
                  <a:gd name="T60" fmla="*/ 168 w 548"/>
                  <a:gd name="T61" fmla="*/ 115 h 850"/>
                  <a:gd name="T62" fmla="*/ 89 w 548"/>
                  <a:gd name="T63" fmla="*/ 236 h 850"/>
                  <a:gd name="T64" fmla="*/ 38 w 548"/>
                  <a:gd name="T65" fmla="*/ 395 h 850"/>
                  <a:gd name="T66" fmla="*/ 27 w 548"/>
                  <a:gd name="T67" fmla="*/ 494 h 850"/>
                  <a:gd name="T68" fmla="*/ 32 w 548"/>
                  <a:gd name="T69" fmla="*/ 587 h 850"/>
                  <a:gd name="T70" fmla="*/ 49 w 548"/>
                  <a:gd name="T71" fmla="*/ 669 h 850"/>
                  <a:gd name="T72" fmla="*/ 80 w 548"/>
                  <a:gd name="T73" fmla="*/ 737 h 850"/>
                  <a:gd name="T74" fmla="*/ 122 w 548"/>
                  <a:gd name="T75" fmla="*/ 788 h 850"/>
                  <a:gd name="T76" fmla="*/ 175 w 548"/>
                  <a:gd name="T77" fmla="*/ 817 h 850"/>
                  <a:gd name="T78" fmla="*/ 240 w 548"/>
                  <a:gd name="T79" fmla="*/ 821 h 850"/>
                  <a:gd name="T80" fmla="*/ 296 w 548"/>
                  <a:gd name="T81" fmla="*/ 803 h 850"/>
                  <a:gd name="T82" fmla="*/ 349 w 548"/>
                  <a:gd name="T83" fmla="*/ 766 h 850"/>
                  <a:gd name="T84" fmla="*/ 408 w 548"/>
                  <a:gd name="T85" fmla="*/ 699 h 850"/>
                  <a:gd name="T86" fmla="*/ 485 w 548"/>
                  <a:gd name="T87" fmla="*/ 548 h 850"/>
                  <a:gd name="T88" fmla="*/ 515 w 548"/>
                  <a:gd name="T89" fmla="*/ 416 h 850"/>
                  <a:gd name="T90" fmla="*/ 521 w 548"/>
                  <a:gd name="T91" fmla="*/ 319 h 850"/>
                  <a:gd name="T92" fmla="*/ 510 w 548"/>
                  <a:gd name="T93" fmla="*/ 229 h 850"/>
                  <a:gd name="T94" fmla="*/ 485 w 548"/>
                  <a:gd name="T95" fmla="*/ 149 h 850"/>
                  <a:gd name="T96" fmla="*/ 449 w 548"/>
                  <a:gd name="T97" fmla="*/ 88 h 850"/>
                  <a:gd name="T98" fmla="*/ 403 w 548"/>
                  <a:gd name="T99" fmla="*/ 47 h 850"/>
                  <a:gd name="T100" fmla="*/ 346 w 548"/>
                  <a:gd name="T101" fmla="*/ 2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8" h="850">
                    <a:moveTo>
                      <a:pt x="217" y="850"/>
                    </a:moveTo>
                    <a:lnTo>
                      <a:pt x="217" y="850"/>
                    </a:lnTo>
                    <a:lnTo>
                      <a:pt x="208" y="850"/>
                    </a:lnTo>
                    <a:lnTo>
                      <a:pt x="199" y="849"/>
                    </a:lnTo>
                    <a:lnTo>
                      <a:pt x="190" y="848"/>
                    </a:lnTo>
                    <a:lnTo>
                      <a:pt x="181" y="846"/>
                    </a:lnTo>
                    <a:lnTo>
                      <a:pt x="168" y="843"/>
                    </a:lnTo>
                    <a:lnTo>
                      <a:pt x="156" y="838"/>
                    </a:lnTo>
                    <a:lnTo>
                      <a:pt x="143" y="833"/>
                    </a:lnTo>
                    <a:lnTo>
                      <a:pt x="131" y="827"/>
                    </a:lnTo>
                    <a:lnTo>
                      <a:pt x="120" y="819"/>
                    </a:lnTo>
                    <a:lnTo>
                      <a:pt x="108" y="810"/>
                    </a:lnTo>
                    <a:lnTo>
                      <a:pt x="99" y="802"/>
                    </a:lnTo>
                    <a:lnTo>
                      <a:pt x="88" y="791"/>
                    </a:lnTo>
                    <a:lnTo>
                      <a:pt x="79" y="780"/>
                    </a:lnTo>
                    <a:lnTo>
                      <a:pt x="69" y="768"/>
                    </a:lnTo>
                    <a:lnTo>
                      <a:pt x="61" y="756"/>
                    </a:lnTo>
                    <a:lnTo>
                      <a:pt x="53" y="742"/>
                    </a:lnTo>
                    <a:lnTo>
                      <a:pt x="46" y="729"/>
                    </a:lnTo>
                    <a:lnTo>
                      <a:pt x="38" y="714"/>
                    </a:lnTo>
                    <a:lnTo>
                      <a:pt x="32" y="699"/>
                    </a:lnTo>
                    <a:lnTo>
                      <a:pt x="26" y="683"/>
                    </a:lnTo>
                    <a:lnTo>
                      <a:pt x="21" y="667"/>
                    </a:lnTo>
                    <a:lnTo>
                      <a:pt x="16" y="650"/>
                    </a:lnTo>
                    <a:lnTo>
                      <a:pt x="12" y="632"/>
                    </a:lnTo>
                    <a:lnTo>
                      <a:pt x="9" y="614"/>
                    </a:lnTo>
                    <a:lnTo>
                      <a:pt x="6" y="596"/>
                    </a:lnTo>
                    <a:lnTo>
                      <a:pt x="4" y="576"/>
                    </a:lnTo>
                    <a:lnTo>
                      <a:pt x="1" y="557"/>
                    </a:lnTo>
                    <a:lnTo>
                      <a:pt x="0" y="537"/>
                    </a:lnTo>
                    <a:lnTo>
                      <a:pt x="0" y="517"/>
                    </a:lnTo>
                    <a:lnTo>
                      <a:pt x="0" y="496"/>
                    </a:lnTo>
                    <a:lnTo>
                      <a:pt x="1" y="476"/>
                    </a:lnTo>
                    <a:lnTo>
                      <a:pt x="2" y="454"/>
                    </a:lnTo>
                    <a:lnTo>
                      <a:pt x="5" y="434"/>
                    </a:lnTo>
                    <a:lnTo>
                      <a:pt x="8" y="412"/>
                    </a:lnTo>
                    <a:lnTo>
                      <a:pt x="12" y="390"/>
                    </a:lnTo>
                    <a:lnTo>
                      <a:pt x="16" y="369"/>
                    </a:lnTo>
                    <a:lnTo>
                      <a:pt x="21" y="349"/>
                    </a:lnTo>
                    <a:lnTo>
                      <a:pt x="26" y="330"/>
                    </a:lnTo>
                    <a:lnTo>
                      <a:pt x="32" y="311"/>
                    </a:lnTo>
                    <a:lnTo>
                      <a:pt x="37" y="292"/>
                    </a:lnTo>
                    <a:lnTo>
                      <a:pt x="43" y="274"/>
                    </a:lnTo>
                    <a:lnTo>
                      <a:pt x="51" y="257"/>
                    </a:lnTo>
                    <a:lnTo>
                      <a:pt x="59" y="239"/>
                    </a:lnTo>
                    <a:lnTo>
                      <a:pt x="66" y="222"/>
                    </a:lnTo>
                    <a:lnTo>
                      <a:pt x="74" y="206"/>
                    </a:lnTo>
                    <a:lnTo>
                      <a:pt x="82" y="190"/>
                    </a:lnTo>
                    <a:lnTo>
                      <a:pt x="92" y="175"/>
                    </a:lnTo>
                    <a:lnTo>
                      <a:pt x="101" y="159"/>
                    </a:lnTo>
                    <a:lnTo>
                      <a:pt x="110" y="145"/>
                    </a:lnTo>
                    <a:lnTo>
                      <a:pt x="120" y="131"/>
                    </a:lnTo>
                    <a:lnTo>
                      <a:pt x="130" y="118"/>
                    </a:lnTo>
                    <a:lnTo>
                      <a:pt x="141" y="105"/>
                    </a:lnTo>
                    <a:lnTo>
                      <a:pt x="151" y="94"/>
                    </a:lnTo>
                    <a:lnTo>
                      <a:pt x="162" y="82"/>
                    </a:lnTo>
                    <a:lnTo>
                      <a:pt x="173" y="71"/>
                    </a:lnTo>
                    <a:lnTo>
                      <a:pt x="185" y="61"/>
                    </a:lnTo>
                    <a:lnTo>
                      <a:pt x="196" y="52"/>
                    </a:lnTo>
                    <a:lnTo>
                      <a:pt x="208" y="43"/>
                    </a:lnTo>
                    <a:lnTo>
                      <a:pt x="219" y="35"/>
                    </a:lnTo>
                    <a:lnTo>
                      <a:pt x="231" y="28"/>
                    </a:lnTo>
                    <a:lnTo>
                      <a:pt x="243" y="21"/>
                    </a:lnTo>
                    <a:lnTo>
                      <a:pt x="256" y="16"/>
                    </a:lnTo>
                    <a:lnTo>
                      <a:pt x="268" y="12"/>
                    </a:lnTo>
                    <a:lnTo>
                      <a:pt x="281" y="7"/>
                    </a:lnTo>
                    <a:lnTo>
                      <a:pt x="293" y="4"/>
                    </a:lnTo>
                    <a:lnTo>
                      <a:pt x="306" y="2"/>
                    </a:lnTo>
                    <a:lnTo>
                      <a:pt x="318" y="1"/>
                    </a:lnTo>
                    <a:lnTo>
                      <a:pt x="331" y="0"/>
                    </a:lnTo>
                    <a:lnTo>
                      <a:pt x="339" y="0"/>
                    </a:lnTo>
                    <a:lnTo>
                      <a:pt x="348" y="1"/>
                    </a:lnTo>
                    <a:lnTo>
                      <a:pt x="358" y="2"/>
                    </a:lnTo>
                    <a:lnTo>
                      <a:pt x="366" y="4"/>
                    </a:lnTo>
                    <a:lnTo>
                      <a:pt x="379" y="7"/>
                    </a:lnTo>
                    <a:lnTo>
                      <a:pt x="392" y="12"/>
                    </a:lnTo>
                    <a:lnTo>
                      <a:pt x="404" y="17"/>
                    </a:lnTo>
                    <a:lnTo>
                      <a:pt x="416" y="23"/>
                    </a:lnTo>
                    <a:lnTo>
                      <a:pt x="427" y="31"/>
                    </a:lnTo>
                    <a:lnTo>
                      <a:pt x="439" y="39"/>
                    </a:lnTo>
                    <a:lnTo>
                      <a:pt x="449" y="48"/>
                    </a:lnTo>
                    <a:lnTo>
                      <a:pt x="459" y="58"/>
                    </a:lnTo>
                    <a:lnTo>
                      <a:pt x="469" y="69"/>
                    </a:lnTo>
                    <a:lnTo>
                      <a:pt x="478" y="81"/>
                    </a:lnTo>
                    <a:lnTo>
                      <a:pt x="487" y="94"/>
                    </a:lnTo>
                    <a:lnTo>
                      <a:pt x="495" y="108"/>
                    </a:lnTo>
                    <a:lnTo>
                      <a:pt x="502" y="122"/>
                    </a:lnTo>
                    <a:lnTo>
                      <a:pt x="510" y="137"/>
                    </a:lnTo>
                    <a:lnTo>
                      <a:pt x="516" y="153"/>
                    </a:lnTo>
                    <a:lnTo>
                      <a:pt x="523" y="170"/>
                    </a:lnTo>
                    <a:lnTo>
                      <a:pt x="528" y="188"/>
                    </a:lnTo>
                    <a:lnTo>
                      <a:pt x="533" y="205"/>
                    </a:lnTo>
                    <a:lnTo>
                      <a:pt x="537" y="222"/>
                    </a:lnTo>
                    <a:lnTo>
                      <a:pt x="540" y="240"/>
                    </a:lnTo>
                    <a:lnTo>
                      <a:pt x="542" y="260"/>
                    </a:lnTo>
                    <a:lnTo>
                      <a:pt x="544" y="278"/>
                    </a:lnTo>
                    <a:lnTo>
                      <a:pt x="547" y="298"/>
                    </a:lnTo>
                    <a:lnTo>
                      <a:pt x="548" y="318"/>
                    </a:lnTo>
                    <a:lnTo>
                      <a:pt x="548" y="338"/>
                    </a:lnTo>
                    <a:lnTo>
                      <a:pt x="547" y="358"/>
                    </a:lnTo>
                    <a:lnTo>
                      <a:pt x="546" y="379"/>
                    </a:lnTo>
                    <a:lnTo>
                      <a:pt x="544" y="399"/>
                    </a:lnTo>
                    <a:lnTo>
                      <a:pt x="542" y="420"/>
                    </a:lnTo>
                    <a:lnTo>
                      <a:pt x="539" y="440"/>
                    </a:lnTo>
                    <a:lnTo>
                      <a:pt x="536" y="461"/>
                    </a:lnTo>
                    <a:lnTo>
                      <a:pt x="532" y="481"/>
                    </a:lnTo>
                    <a:lnTo>
                      <a:pt x="526" y="502"/>
                    </a:lnTo>
                    <a:lnTo>
                      <a:pt x="522" y="520"/>
                    </a:lnTo>
                    <a:lnTo>
                      <a:pt x="516" y="539"/>
                    </a:lnTo>
                    <a:lnTo>
                      <a:pt x="510" y="558"/>
                    </a:lnTo>
                    <a:lnTo>
                      <a:pt x="503" y="576"/>
                    </a:lnTo>
                    <a:lnTo>
                      <a:pt x="496" y="593"/>
                    </a:lnTo>
                    <a:lnTo>
                      <a:pt x="489" y="611"/>
                    </a:lnTo>
                    <a:lnTo>
                      <a:pt x="481" y="628"/>
                    </a:lnTo>
                    <a:lnTo>
                      <a:pt x="473" y="644"/>
                    </a:lnTo>
                    <a:lnTo>
                      <a:pt x="465" y="660"/>
                    </a:lnTo>
                    <a:lnTo>
                      <a:pt x="456" y="675"/>
                    </a:lnTo>
                    <a:lnTo>
                      <a:pt x="446" y="691"/>
                    </a:lnTo>
                    <a:lnTo>
                      <a:pt x="437" y="705"/>
                    </a:lnTo>
                    <a:lnTo>
                      <a:pt x="427" y="719"/>
                    </a:lnTo>
                    <a:lnTo>
                      <a:pt x="417" y="733"/>
                    </a:lnTo>
                    <a:lnTo>
                      <a:pt x="406" y="745"/>
                    </a:lnTo>
                    <a:lnTo>
                      <a:pt x="395" y="756"/>
                    </a:lnTo>
                    <a:lnTo>
                      <a:pt x="385" y="768"/>
                    </a:lnTo>
                    <a:lnTo>
                      <a:pt x="374" y="779"/>
                    </a:lnTo>
                    <a:lnTo>
                      <a:pt x="363" y="789"/>
                    </a:lnTo>
                    <a:lnTo>
                      <a:pt x="351" y="799"/>
                    </a:lnTo>
                    <a:lnTo>
                      <a:pt x="339" y="807"/>
                    </a:lnTo>
                    <a:lnTo>
                      <a:pt x="327" y="815"/>
                    </a:lnTo>
                    <a:lnTo>
                      <a:pt x="316" y="822"/>
                    </a:lnTo>
                    <a:lnTo>
                      <a:pt x="304" y="829"/>
                    </a:lnTo>
                    <a:lnTo>
                      <a:pt x="292" y="834"/>
                    </a:lnTo>
                    <a:lnTo>
                      <a:pt x="279" y="840"/>
                    </a:lnTo>
                    <a:lnTo>
                      <a:pt x="267" y="843"/>
                    </a:lnTo>
                    <a:lnTo>
                      <a:pt x="254" y="846"/>
                    </a:lnTo>
                    <a:lnTo>
                      <a:pt x="242" y="848"/>
                    </a:lnTo>
                    <a:lnTo>
                      <a:pt x="229" y="850"/>
                    </a:lnTo>
                    <a:lnTo>
                      <a:pt x="217" y="850"/>
                    </a:lnTo>
                    <a:close/>
                    <a:moveTo>
                      <a:pt x="331" y="27"/>
                    </a:moveTo>
                    <a:lnTo>
                      <a:pt x="331" y="27"/>
                    </a:lnTo>
                    <a:lnTo>
                      <a:pt x="319" y="28"/>
                    </a:lnTo>
                    <a:lnTo>
                      <a:pt x="308" y="29"/>
                    </a:lnTo>
                    <a:lnTo>
                      <a:pt x="296" y="31"/>
                    </a:lnTo>
                    <a:lnTo>
                      <a:pt x="285" y="34"/>
                    </a:lnTo>
                    <a:lnTo>
                      <a:pt x="273" y="37"/>
                    </a:lnTo>
                    <a:lnTo>
                      <a:pt x="263" y="42"/>
                    </a:lnTo>
                    <a:lnTo>
                      <a:pt x="252" y="47"/>
                    </a:lnTo>
                    <a:lnTo>
                      <a:pt x="241" y="54"/>
                    </a:lnTo>
                    <a:lnTo>
                      <a:pt x="230" y="60"/>
                    </a:lnTo>
                    <a:lnTo>
                      <a:pt x="219" y="68"/>
                    </a:lnTo>
                    <a:lnTo>
                      <a:pt x="209" y="75"/>
                    </a:lnTo>
                    <a:lnTo>
                      <a:pt x="198" y="85"/>
                    </a:lnTo>
                    <a:lnTo>
                      <a:pt x="187" y="94"/>
                    </a:lnTo>
                    <a:lnTo>
                      <a:pt x="177" y="104"/>
                    </a:lnTo>
                    <a:lnTo>
                      <a:pt x="168" y="115"/>
                    </a:lnTo>
                    <a:lnTo>
                      <a:pt x="158" y="126"/>
                    </a:lnTo>
                    <a:lnTo>
                      <a:pt x="138" y="151"/>
                    </a:lnTo>
                    <a:lnTo>
                      <a:pt x="121" y="178"/>
                    </a:lnTo>
                    <a:lnTo>
                      <a:pt x="104" y="206"/>
                    </a:lnTo>
                    <a:lnTo>
                      <a:pt x="89" y="236"/>
                    </a:lnTo>
                    <a:lnTo>
                      <a:pt x="75" y="268"/>
                    </a:lnTo>
                    <a:lnTo>
                      <a:pt x="63" y="303"/>
                    </a:lnTo>
                    <a:lnTo>
                      <a:pt x="52" y="338"/>
                    </a:lnTo>
                    <a:lnTo>
                      <a:pt x="42" y="374"/>
                    </a:lnTo>
                    <a:lnTo>
                      <a:pt x="38" y="395"/>
                    </a:lnTo>
                    <a:lnTo>
                      <a:pt x="35" y="415"/>
                    </a:lnTo>
                    <a:lnTo>
                      <a:pt x="32" y="435"/>
                    </a:lnTo>
                    <a:lnTo>
                      <a:pt x="29" y="455"/>
                    </a:lnTo>
                    <a:lnTo>
                      <a:pt x="28" y="475"/>
                    </a:lnTo>
                    <a:lnTo>
                      <a:pt x="27" y="494"/>
                    </a:lnTo>
                    <a:lnTo>
                      <a:pt x="27" y="514"/>
                    </a:lnTo>
                    <a:lnTo>
                      <a:pt x="27" y="532"/>
                    </a:lnTo>
                    <a:lnTo>
                      <a:pt x="27" y="550"/>
                    </a:lnTo>
                    <a:lnTo>
                      <a:pt x="29" y="569"/>
                    </a:lnTo>
                    <a:lnTo>
                      <a:pt x="32" y="587"/>
                    </a:lnTo>
                    <a:lnTo>
                      <a:pt x="34" y="604"/>
                    </a:lnTo>
                    <a:lnTo>
                      <a:pt x="37" y="620"/>
                    </a:lnTo>
                    <a:lnTo>
                      <a:pt x="40" y="637"/>
                    </a:lnTo>
                    <a:lnTo>
                      <a:pt x="45" y="653"/>
                    </a:lnTo>
                    <a:lnTo>
                      <a:pt x="49" y="669"/>
                    </a:lnTo>
                    <a:lnTo>
                      <a:pt x="54" y="683"/>
                    </a:lnTo>
                    <a:lnTo>
                      <a:pt x="60" y="697"/>
                    </a:lnTo>
                    <a:lnTo>
                      <a:pt x="66" y="711"/>
                    </a:lnTo>
                    <a:lnTo>
                      <a:pt x="73" y="724"/>
                    </a:lnTo>
                    <a:lnTo>
                      <a:pt x="80" y="737"/>
                    </a:lnTo>
                    <a:lnTo>
                      <a:pt x="88" y="748"/>
                    </a:lnTo>
                    <a:lnTo>
                      <a:pt x="95" y="760"/>
                    </a:lnTo>
                    <a:lnTo>
                      <a:pt x="104" y="769"/>
                    </a:lnTo>
                    <a:lnTo>
                      <a:pt x="113" y="779"/>
                    </a:lnTo>
                    <a:lnTo>
                      <a:pt x="122" y="788"/>
                    </a:lnTo>
                    <a:lnTo>
                      <a:pt x="132" y="795"/>
                    </a:lnTo>
                    <a:lnTo>
                      <a:pt x="142" y="802"/>
                    </a:lnTo>
                    <a:lnTo>
                      <a:pt x="153" y="808"/>
                    </a:lnTo>
                    <a:lnTo>
                      <a:pt x="163" y="813"/>
                    </a:lnTo>
                    <a:lnTo>
                      <a:pt x="175" y="817"/>
                    </a:lnTo>
                    <a:lnTo>
                      <a:pt x="187" y="820"/>
                    </a:lnTo>
                    <a:lnTo>
                      <a:pt x="202" y="822"/>
                    </a:lnTo>
                    <a:lnTo>
                      <a:pt x="217" y="823"/>
                    </a:lnTo>
                    <a:lnTo>
                      <a:pt x="228" y="823"/>
                    </a:lnTo>
                    <a:lnTo>
                      <a:pt x="240" y="821"/>
                    </a:lnTo>
                    <a:lnTo>
                      <a:pt x="251" y="819"/>
                    </a:lnTo>
                    <a:lnTo>
                      <a:pt x="262" y="817"/>
                    </a:lnTo>
                    <a:lnTo>
                      <a:pt x="273" y="813"/>
                    </a:lnTo>
                    <a:lnTo>
                      <a:pt x="284" y="808"/>
                    </a:lnTo>
                    <a:lnTo>
                      <a:pt x="296" y="803"/>
                    </a:lnTo>
                    <a:lnTo>
                      <a:pt x="307" y="797"/>
                    </a:lnTo>
                    <a:lnTo>
                      <a:pt x="318" y="790"/>
                    </a:lnTo>
                    <a:lnTo>
                      <a:pt x="329" y="782"/>
                    </a:lnTo>
                    <a:lnTo>
                      <a:pt x="339" y="775"/>
                    </a:lnTo>
                    <a:lnTo>
                      <a:pt x="349" y="766"/>
                    </a:lnTo>
                    <a:lnTo>
                      <a:pt x="360" y="756"/>
                    </a:lnTo>
                    <a:lnTo>
                      <a:pt x="370" y="746"/>
                    </a:lnTo>
                    <a:lnTo>
                      <a:pt x="380" y="735"/>
                    </a:lnTo>
                    <a:lnTo>
                      <a:pt x="390" y="724"/>
                    </a:lnTo>
                    <a:lnTo>
                      <a:pt x="408" y="699"/>
                    </a:lnTo>
                    <a:lnTo>
                      <a:pt x="427" y="673"/>
                    </a:lnTo>
                    <a:lnTo>
                      <a:pt x="443" y="644"/>
                    </a:lnTo>
                    <a:lnTo>
                      <a:pt x="458" y="614"/>
                    </a:lnTo>
                    <a:lnTo>
                      <a:pt x="472" y="582"/>
                    </a:lnTo>
                    <a:lnTo>
                      <a:pt x="485" y="548"/>
                    </a:lnTo>
                    <a:lnTo>
                      <a:pt x="496" y="512"/>
                    </a:lnTo>
                    <a:lnTo>
                      <a:pt x="505" y="476"/>
                    </a:lnTo>
                    <a:lnTo>
                      <a:pt x="509" y="456"/>
                    </a:lnTo>
                    <a:lnTo>
                      <a:pt x="512" y="436"/>
                    </a:lnTo>
                    <a:lnTo>
                      <a:pt x="515" y="416"/>
                    </a:lnTo>
                    <a:lnTo>
                      <a:pt x="517" y="396"/>
                    </a:lnTo>
                    <a:lnTo>
                      <a:pt x="519" y="376"/>
                    </a:lnTo>
                    <a:lnTo>
                      <a:pt x="520" y="357"/>
                    </a:lnTo>
                    <a:lnTo>
                      <a:pt x="521" y="339"/>
                    </a:lnTo>
                    <a:lnTo>
                      <a:pt x="521" y="319"/>
                    </a:lnTo>
                    <a:lnTo>
                      <a:pt x="520" y="301"/>
                    </a:lnTo>
                    <a:lnTo>
                      <a:pt x="519" y="281"/>
                    </a:lnTo>
                    <a:lnTo>
                      <a:pt x="516" y="264"/>
                    </a:lnTo>
                    <a:lnTo>
                      <a:pt x="513" y="246"/>
                    </a:lnTo>
                    <a:lnTo>
                      <a:pt x="510" y="229"/>
                    </a:lnTo>
                    <a:lnTo>
                      <a:pt x="507" y="211"/>
                    </a:lnTo>
                    <a:lnTo>
                      <a:pt x="502" y="195"/>
                    </a:lnTo>
                    <a:lnTo>
                      <a:pt x="497" y="179"/>
                    </a:lnTo>
                    <a:lnTo>
                      <a:pt x="492" y="164"/>
                    </a:lnTo>
                    <a:lnTo>
                      <a:pt x="485" y="149"/>
                    </a:lnTo>
                    <a:lnTo>
                      <a:pt x="480" y="136"/>
                    </a:lnTo>
                    <a:lnTo>
                      <a:pt x="472" y="123"/>
                    </a:lnTo>
                    <a:lnTo>
                      <a:pt x="466" y="111"/>
                    </a:lnTo>
                    <a:lnTo>
                      <a:pt x="457" y="99"/>
                    </a:lnTo>
                    <a:lnTo>
                      <a:pt x="449" y="88"/>
                    </a:lnTo>
                    <a:lnTo>
                      <a:pt x="441" y="78"/>
                    </a:lnTo>
                    <a:lnTo>
                      <a:pt x="432" y="70"/>
                    </a:lnTo>
                    <a:lnTo>
                      <a:pt x="422" y="61"/>
                    </a:lnTo>
                    <a:lnTo>
                      <a:pt x="413" y="54"/>
                    </a:lnTo>
                    <a:lnTo>
                      <a:pt x="403" y="47"/>
                    </a:lnTo>
                    <a:lnTo>
                      <a:pt x="393" y="42"/>
                    </a:lnTo>
                    <a:lnTo>
                      <a:pt x="383" y="37"/>
                    </a:lnTo>
                    <a:lnTo>
                      <a:pt x="372" y="33"/>
                    </a:lnTo>
                    <a:lnTo>
                      <a:pt x="360" y="30"/>
                    </a:lnTo>
                    <a:lnTo>
                      <a:pt x="346" y="28"/>
                    </a:lnTo>
                    <a:lnTo>
                      <a:pt x="33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72"/>
              <p:cNvSpPr>
                <a:spLocks/>
              </p:cNvSpPr>
              <p:nvPr userDrawn="1"/>
            </p:nvSpPr>
            <p:spPr bwMode="auto">
              <a:xfrm>
                <a:off x="2366" y="1749"/>
                <a:ext cx="74" cy="107"/>
              </a:xfrm>
              <a:custGeom>
                <a:avLst/>
                <a:gdLst>
                  <a:gd name="T0" fmla="*/ 111 w 222"/>
                  <a:gd name="T1" fmla="*/ 319 h 319"/>
                  <a:gd name="T2" fmla="*/ 85 w 222"/>
                  <a:gd name="T3" fmla="*/ 313 h 319"/>
                  <a:gd name="T4" fmla="*/ 68 w 222"/>
                  <a:gd name="T5" fmla="*/ 308 h 319"/>
                  <a:gd name="T6" fmla="*/ 51 w 222"/>
                  <a:gd name="T7" fmla="*/ 300 h 319"/>
                  <a:gd name="T8" fmla="*/ 37 w 222"/>
                  <a:gd name="T9" fmla="*/ 290 h 319"/>
                  <a:gd name="T10" fmla="*/ 24 w 222"/>
                  <a:gd name="T11" fmla="*/ 277 h 319"/>
                  <a:gd name="T12" fmla="*/ 14 w 222"/>
                  <a:gd name="T13" fmla="*/ 259 h 319"/>
                  <a:gd name="T14" fmla="*/ 6 w 222"/>
                  <a:gd name="T15" fmla="*/ 240 h 319"/>
                  <a:gd name="T16" fmla="*/ 2 w 222"/>
                  <a:gd name="T17" fmla="*/ 220 h 319"/>
                  <a:gd name="T18" fmla="*/ 0 w 222"/>
                  <a:gd name="T19" fmla="*/ 200 h 319"/>
                  <a:gd name="T20" fmla="*/ 0 w 222"/>
                  <a:gd name="T21" fmla="*/ 178 h 319"/>
                  <a:gd name="T22" fmla="*/ 4 w 222"/>
                  <a:gd name="T23" fmla="*/ 148 h 319"/>
                  <a:gd name="T24" fmla="*/ 16 w 222"/>
                  <a:gd name="T25" fmla="*/ 109 h 319"/>
                  <a:gd name="T26" fmla="*/ 30 w 222"/>
                  <a:gd name="T27" fmla="*/ 74 h 319"/>
                  <a:gd name="T28" fmla="*/ 46 w 222"/>
                  <a:gd name="T29" fmla="*/ 43 h 319"/>
                  <a:gd name="T30" fmla="*/ 64 w 222"/>
                  <a:gd name="T31" fmla="*/ 13 h 319"/>
                  <a:gd name="T32" fmla="*/ 74 w 222"/>
                  <a:gd name="T33" fmla="*/ 1 h 319"/>
                  <a:gd name="T34" fmla="*/ 84 w 222"/>
                  <a:gd name="T35" fmla="*/ 0 h 319"/>
                  <a:gd name="T36" fmla="*/ 92 w 222"/>
                  <a:gd name="T37" fmla="*/ 7 h 319"/>
                  <a:gd name="T38" fmla="*/ 95 w 222"/>
                  <a:gd name="T39" fmla="*/ 16 h 319"/>
                  <a:gd name="T40" fmla="*/ 88 w 222"/>
                  <a:gd name="T41" fmla="*/ 27 h 319"/>
                  <a:gd name="T42" fmla="*/ 63 w 222"/>
                  <a:gd name="T43" fmla="*/ 67 h 319"/>
                  <a:gd name="T44" fmla="*/ 43 w 222"/>
                  <a:gd name="T45" fmla="*/ 114 h 319"/>
                  <a:gd name="T46" fmla="*/ 32 w 222"/>
                  <a:gd name="T47" fmla="*/ 149 h 319"/>
                  <a:gd name="T48" fmla="*/ 27 w 222"/>
                  <a:gd name="T49" fmla="*/ 186 h 319"/>
                  <a:gd name="T50" fmla="*/ 28 w 222"/>
                  <a:gd name="T51" fmla="*/ 214 h 319"/>
                  <a:gd name="T52" fmla="*/ 32 w 222"/>
                  <a:gd name="T53" fmla="*/ 231 h 319"/>
                  <a:gd name="T54" fmla="*/ 38 w 222"/>
                  <a:gd name="T55" fmla="*/ 247 h 319"/>
                  <a:gd name="T56" fmla="*/ 47 w 222"/>
                  <a:gd name="T57" fmla="*/ 260 h 319"/>
                  <a:gd name="T58" fmla="*/ 57 w 222"/>
                  <a:gd name="T59" fmla="*/ 271 h 319"/>
                  <a:gd name="T60" fmla="*/ 69 w 222"/>
                  <a:gd name="T61" fmla="*/ 279 h 319"/>
                  <a:gd name="T62" fmla="*/ 89 w 222"/>
                  <a:gd name="T63" fmla="*/ 287 h 319"/>
                  <a:gd name="T64" fmla="*/ 117 w 222"/>
                  <a:gd name="T65" fmla="*/ 292 h 319"/>
                  <a:gd name="T66" fmla="*/ 145 w 222"/>
                  <a:gd name="T67" fmla="*/ 291 h 319"/>
                  <a:gd name="T68" fmla="*/ 171 w 222"/>
                  <a:gd name="T69" fmla="*/ 287 h 319"/>
                  <a:gd name="T70" fmla="*/ 197 w 222"/>
                  <a:gd name="T71" fmla="*/ 281 h 319"/>
                  <a:gd name="T72" fmla="*/ 209 w 222"/>
                  <a:gd name="T73" fmla="*/ 279 h 319"/>
                  <a:gd name="T74" fmla="*/ 218 w 222"/>
                  <a:gd name="T75" fmla="*/ 283 h 319"/>
                  <a:gd name="T76" fmla="*/ 222 w 222"/>
                  <a:gd name="T77" fmla="*/ 293 h 319"/>
                  <a:gd name="T78" fmla="*/ 218 w 222"/>
                  <a:gd name="T79" fmla="*/ 301 h 319"/>
                  <a:gd name="T80" fmla="*/ 195 w 222"/>
                  <a:gd name="T81" fmla="*/ 310 h 319"/>
                  <a:gd name="T82" fmla="*/ 153 w 222"/>
                  <a:gd name="T83" fmla="*/ 31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2" h="319">
                    <a:moveTo>
                      <a:pt x="129" y="319"/>
                    </a:moveTo>
                    <a:lnTo>
                      <a:pt x="111" y="319"/>
                    </a:lnTo>
                    <a:lnTo>
                      <a:pt x="93" y="315"/>
                    </a:lnTo>
                    <a:lnTo>
                      <a:pt x="85" y="313"/>
                    </a:lnTo>
                    <a:lnTo>
                      <a:pt x="76" y="311"/>
                    </a:lnTo>
                    <a:lnTo>
                      <a:pt x="68" y="308"/>
                    </a:lnTo>
                    <a:lnTo>
                      <a:pt x="59" y="305"/>
                    </a:lnTo>
                    <a:lnTo>
                      <a:pt x="51" y="300"/>
                    </a:lnTo>
                    <a:lnTo>
                      <a:pt x="44" y="295"/>
                    </a:lnTo>
                    <a:lnTo>
                      <a:pt x="37" y="290"/>
                    </a:lnTo>
                    <a:lnTo>
                      <a:pt x="31" y="283"/>
                    </a:lnTo>
                    <a:lnTo>
                      <a:pt x="24" y="277"/>
                    </a:lnTo>
                    <a:lnTo>
                      <a:pt x="19" y="268"/>
                    </a:lnTo>
                    <a:lnTo>
                      <a:pt x="14" y="259"/>
                    </a:lnTo>
                    <a:lnTo>
                      <a:pt x="9" y="250"/>
                    </a:lnTo>
                    <a:lnTo>
                      <a:pt x="6" y="240"/>
                    </a:lnTo>
                    <a:lnTo>
                      <a:pt x="3" y="230"/>
                    </a:lnTo>
                    <a:lnTo>
                      <a:pt x="2" y="220"/>
                    </a:lnTo>
                    <a:lnTo>
                      <a:pt x="0" y="210"/>
                    </a:lnTo>
                    <a:lnTo>
                      <a:pt x="0" y="200"/>
                    </a:lnTo>
                    <a:lnTo>
                      <a:pt x="0" y="189"/>
                    </a:lnTo>
                    <a:lnTo>
                      <a:pt x="0" y="178"/>
                    </a:lnTo>
                    <a:lnTo>
                      <a:pt x="1" y="169"/>
                    </a:lnTo>
                    <a:lnTo>
                      <a:pt x="4" y="148"/>
                    </a:lnTo>
                    <a:lnTo>
                      <a:pt x="9" y="128"/>
                    </a:lnTo>
                    <a:lnTo>
                      <a:pt x="16" y="109"/>
                    </a:lnTo>
                    <a:lnTo>
                      <a:pt x="22" y="91"/>
                    </a:lnTo>
                    <a:lnTo>
                      <a:pt x="30" y="74"/>
                    </a:lnTo>
                    <a:lnTo>
                      <a:pt x="38" y="57"/>
                    </a:lnTo>
                    <a:lnTo>
                      <a:pt x="46" y="43"/>
                    </a:lnTo>
                    <a:lnTo>
                      <a:pt x="52" y="32"/>
                    </a:lnTo>
                    <a:lnTo>
                      <a:pt x="64" y="13"/>
                    </a:lnTo>
                    <a:lnTo>
                      <a:pt x="70" y="5"/>
                    </a:lnTo>
                    <a:lnTo>
                      <a:pt x="74" y="1"/>
                    </a:lnTo>
                    <a:lnTo>
                      <a:pt x="79" y="0"/>
                    </a:lnTo>
                    <a:lnTo>
                      <a:pt x="84" y="0"/>
                    </a:lnTo>
                    <a:lnTo>
                      <a:pt x="89" y="2"/>
                    </a:lnTo>
                    <a:lnTo>
                      <a:pt x="92" y="7"/>
                    </a:lnTo>
                    <a:lnTo>
                      <a:pt x="95" y="11"/>
                    </a:lnTo>
                    <a:lnTo>
                      <a:pt x="95" y="16"/>
                    </a:lnTo>
                    <a:lnTo>
                      <a:pt x="92" y="21"/>
                    </a:lnTo>
                    <a:lnTo>
                      <a:pt x="88" y="27"/>
                    </a:lnTo>
                    <a:lnTo>
                      <a:pt x="77" y="43"/>
                    </a:lnTo>
                    <a:lnTo>
                      <a:pt x="63" y="67"/>
                    </a:lnTo>
                    <a:lnTo>
                      <a:pt x="49" y="97"/>
                    </a:lnTo>
                    <a:lnTo>
                      <a:pt x="43" y="114"/>
                    </a:lnTo>
                    <a:lnTo>
                      <a:pt x="36" y="131"/>
                    </a:lnTo>
                    <a:lnTo>
                      <a:pt x="32" y="149"/>
                    </a:lnTo>
                    <a:lnTo>
                      <a:pt x="28" y="168"/>
                    </a:lnTo>
                    <a:lnTo>
                      <a:pt x="27" y="186"/>
                    </a:lnTo>
                    <a:lnTo>
                      <a:pt x="27" y="204"/>
                    </a:lnTo>
                    <a:lnTo>
                      <a:pt x="28" y="214"/>
                    </a:lnTo>
                    <a:lnTo>
                      <a:pt x="30" y="223"/>
                    </a:lnTo>
                    <a:lnTo>
                      <a:pt x="32" y="231"/>
                    </a:lnTo>
                    <a:lnTo>
                      <a:pt x="35" y="240"/>
                    </a:lnTo>
                    <a:lnTo>
                      <a:pt x="38" y="247"/>
                    </a:lnTo>
                    <a:lnTo>
                      <a:pt x="43" y="255"/>
                    </a:lnTo>
                    <a:lnTo>
                      <a:pt x="47" y="260"/>
                    </a:lnTo>
                    <a:lnTo>
                      <a:pt x="51" y="266"/>
                    </a:lnTo>
                    <a:lnTo>
                      <a:pt x="57" y="271"/>
                    </a:lnTo>
                    <a:lnTo>
                      <a:pt x="63" y="275"/>
                    </a:lnTo>
                    <a:lnTo>
                      <a:pt x="69" y="279"/>
                    </a:lnTo>
                    <a:lnTo>
                      <a:pt x="75" y="282"/>
                    </a:lnTo>
                    <a:lnTo>
                      <a:pt x="89" y="287"/>
                    </a:lnTo>
                    <a:lnTo>
                      <a:pt x="103" y="291"/>
                    </a:lnTo>
                    <a:lnTo>
                      <a:pt x="117" y="292"/>
                    </a:lnTo>
                    <a:lnTo>
                      <a:pt x="131" y="292"/>
                    </a:lnTo>
                    <a:lnTo>
                      <a:pt x="145" y="291"/>
                    </a:lnTo>
                    <a:lnTo>
                      <a:pt x="158" y="290"/>
                    </a:lnTo>
                    <a:lnTo>
                      <a:pt x="171" y="287"/>
                    </a:lnTo>
                    <a:lnTo>
                      <a:pt x="182" y="285"/>
                    </a:lnTo>
                    <a:lnTo>
                      <a:pt x="197" y="281"/>
                    </a:lnTo>
                    <a:lnTo>
                      <a:pt x="204" y="279"/>
                    </a:lnTo>
                    <a:lnTo>
                      <a:pt x="209" y="279"/>
                    </a:lnTo>
                    <a:lnTo>
                      <a:pt x="214" y="280"/>
                    </a:lnTo>
                    <a:lnTo>
                      <a:pt x="218" y="283"/>
                    </a:lnTo>
                    <a:lnTo>
                      <a:pt x="221" y="287"/>
                    </a:lnTo>
                    <a:lnTo>
                      <a:pt x="222" y="293"/>
                    </a:lnTo>
                    <a:lnTo>
                      <a:pt x="221" y="298"/>
                    </a:lnTo>
                    <a:lnTo>
                      <a:pt x="218" y="301"/>
                    </a:lnTo>
                    <a:lnTo>
                      <a:pt x="212" y="305"/>
                    </a:lnTo>
                    <a:lnTo>
                      <a:pt x="195" y="310"/>
                    </a:lnTo>
                    <a:lnTo>
                      <a:pt x="174" y="314"/>
                    </a:lnTo>
                    <a:lnTo>
                      <a:pt x="153" y="318"/>
                    </a:lnTo>
                    <a:lnTo>
                      <a:pt x="12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3"/>
              <p:cNvSpPr>
                <a:spLocks/>
              </p:cNvSpPr>
              <p:nvPr userDrawn="1"/>
            </p:nvSpPr>
            <p:spPr bwMode="auto">
              <a:xfrm>
                <a:off x="2453" y="1753"/>
                <a:ext cx="53" cy="71"/>
              </a:xfrm>
              <a:custGeom>
                <a:avLst/>
                <a:gdLst>
                  <a:gd name="T0" fmla="*/ 13 w 159"/>
                  <a:gd name="T1" fmla="*/ 214 h 214"/>
                  <a:gd name="T2" fmla="*/ 8 w 159"/>
                  <a:gd name="T3" fmla="*/ 214 h 214"/>
                  <a:gd name="T4" fmla="*/ 5 w 159"/>
                  <a:gd name="T5" fmla="*/ 211 h 214"/>
                  <a:gd name="T6" fmla="*/ 1 w 159"/>
                  <a:gd name="T7" fmla="*/ 207 h 214"/>
                  <a:gd name="T8" fmla="*/ 0 w 159"/>
                  <a:gd name="T9" fmla="*/ 203 h 214"/>
                  <a:gd name="T10" fmla="*/ 0 w 159"/>
                  <a:gd name="T11" fmla="*/ 197 h 214"/>
                  <a:gd name="T12" fmla="*/ 2 w 159"/>
                  <a:gd name="T13" fmla="*/ 193 h 214"/>
                  <a:gd name="T14" fmla="*/ 135 w 159"/>
                  <a:gd name="T15" fmla="*/ 6 h 214"/>
                  <a:gd name="T16" fmla="*/ 138 w 159"/>
                  <a:gd name="T17" fmla="*/ 2 h 214"/>
                  <a:gd name="T18" fmla="*/ 143 w 159"/>
                  <a:gd name="T19" fmla="*/ 0 h 214"/>
                  <a:gd name="T20" fmla="*/ 149 w 159"/>
                  <a:gd name="T21" fmla="*/ 1 h 214"/>
                  <a:gd name="T22" fmla="*/ 153 w 159"/>
                  <a:gd name="T23" fmla="*/ 3 h 214"/>
                  <a:gd name="T24" fmla="*/ 156 w 159"/>
                  <a:gd name="T25" fmla="*/ 6 h 214"/>
                  <a:gd name="T26" fmla="*/ 159 w 159"/>
                  <a:gd name="T27" fmla="*/ 12 h 214"/>
                  <a:gd name="T28" fmla="*/ 159 w 159"/>
                  <a:gd name="T29" fmla="*/ 16 h 214"/>
                  <a:gd name="T30" fmla="*/ 156 w 159"/>
                  <a:gd name="T31" fmla="*/ 22 h 214"/>
                  <a:gd name="T32" fmla="*/ 24 w 159"/>
                  <a:gd name="T33" fmla="*/ 208 h 214"/>
                  <a:gd name="T34" fmla="*/ 21 w 159"/>
                  <a:gd name="T35" fmla="*/ 210 h 214"/>
                  <a:gd name="T36" fmla="*/ 19 w 159"/>
                  <a:gd name="T37" fmla="*/ 213 h 214"/>
                  <a:gd name="T38" fmla="*/ 16 w 159"/>
                  <a:gd name="T39" fmla="*/ 214 h 214"/>
                  <a:gd name="T40" fmla="*/ 13 w 159"/>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214">
                    <a:moveTo>
                      <a:pt x="13" y="214"/>
                    </a:moveTo>
                    <a:lnTo>
                      <a:pt x="8" y="214"/>
                    </a:lnTo>
                    <a:lnTo>
                      <a:pt x="5" y="211"/>
                    </a:lnTo>
                    <a:lnTo>
                      <a:pt x="1" y="207"/>
                    </a:lnTo>
                    <a:lnTo>
                      <a:pt x="0" y="203"/>
                    </a:lnTo>
                    <a:lnTo>
                      <a:pt x="0" y="197"/>
                    </a:lnTo>
                    <a:lnTo>
                      <a:pt x="2" y="193"/>
                    </a:lnTo>
                    <a:lnTo>
                      <a:pt x="135" y="6"/>
                    </a:lnTo>
                    <a:lnTo>
                      <a:pt x="138" y="2"/>
                    </a:lnTo>
                    <a:lnTo>
                      <a:pt x="143" y="0"/>
                    </a:lnTo>
                    <a:lnTo>
                      <a:pt x="149" y="1"/>
                    </a:lnTo>
                    <a:lnTo>
                      <a:pt x="153" y="3"/>
                    </a:lnTo>
                    <a:lnTo>
                      <a:pt x="156" y="6"/>
                    </a:lnTo>
                    <a:lnTo>
                      <a:pt x="159" y="12"/>
                    </a:lnTo>
                    <a:lnTo>
                      <a:pt x="159" y="16"/>
                    </a:lnTo>
                    <a:lnTo>
                      <a:pt x="156" y="22"/>
                    </a:lnTo>
                    <a:lnTo>
                      <a:pt x="24" y="208"/>
                    </a:lnTo>
                    <a:lnTo>
                      <a:pt x="21" y="210"/>
                    </a:lnTo>
                    <a:lnTo>
                      <a:pt x="19" y="213"/>
                    </a:lnTo>
                    <a:lnTo>
                      <a:pt x="16" y="214"/>
                    </a:lnTo>
                    <a:lnTo>
                      <a:pt x="1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74"/>
              <p:cNvSpPr>
                <a:spLocks/>
              </p:cNvSpPr>
              <p:nvPr userDrawn="1"/>
            </p:nvSpPr>
            <p:spPr bwMode="auto">
              <a:xfrm>
                <a:off x="2519" y="1760"/>
                <a:ext cx="27" cy="62"/>
              </a:xfrm>
              <a:custGeom>
                <a:avLst/>
                <a:gdLst>
                  <a:gd name="T0" fmla="*/ 12 w 82"/>
                  <a:gd name="T1" fmla="*/ 184 h 184"/>
                  <a:gd name="T2" fmla="*/ 10 w 82"/>
                  <a:gd name="T3" fmla="*/ 183 h 184"/>
                  <a:gd name="T4" fmla="*/ 8 w 82"/>
                  <a:gd name="T5" fmla="*/ 183 h 184"/>
                  <a:gd name="T6" fmla="*/ 4 w 82"/>
                  <a:gd name="T7" fmla="*/ 180 h 184"/>
                  <a:gd name="T8" fmla="*/ 1 w 82"/>
                  <a:gd name="T9" fmla="*/ 176 h 184"/>
                  <a:gd name="T10" fmla="*/ 0 w 82"/>
                  <a:gd name="T11" fmla="*/ 171 h 184"/>
                  <a:gd name="T12" fmla="*/ 0 w 82"/>
                  <a:gd name="T13" fmla="*/ 166 h 184"/>
                  <a:gd name="T14" fmla="*/ 55 w 82"/>
                  <a:gd name="T15" fmla="*/ 8 h 184"/>
                  <a:gd name="T16" fmla="*/ 58 w 82"/>
                  <a:gd name="T17" fmla="*/ 4 h 184"/>
                  <a:gd name="T18" fmla="*/ 62 w 82"/>
                  <a:gd name="T19" fmla="*/ 1 h 184"/>
                  <a:gd name="T20" fmla="*/ 66 w 82"/>
                  <a:gd name="T21" fmla="*/ 0 h 184"/>
                  <a:gd name="T22" fmla="*/ 72 w 82"/>
                  <a:gd name="T23" fmla="*/ 0 h 184"/>
                  <a:gd name="T24" fmla="*/ 76 w 82"/>
                  <a:gd name="T25" fmla="*/ 3 h 184"/>
                  <a:gd name="T26" fmla="*/ 79 w 82"/>
                  <a:gd name="T27" fmla="*/ 7 h 184"/>
                  <a:gd name="T28" fmla="*/ 82 w 82"/>
                  <a:gd name="T29" fmla="*/ 11 h 184"/>
                  <a:gd name="T30" fmla="*/ 81 w 82"/>
                  <a:gd name="T31" fmla="*/ 17 h 184"/>
                  <a:gd name="T32" fmla="*/ 25 w 82"/>
                  <a:gd name="T33" fmla="*/ 174 h 184"/>
                  <a:gd name="T34" fmla="*/ 23 w 82"/>
                  <a:gd name="T35" fmla="*/ 179 h 184"/>
                  <a:gd name="T36" fmla="*/ 20 w 82"/>
                  <a:gd name="T37" fmla="*/ 181 h 184"/>
                  <a:gd name="T38" fmla="*/ 17 w 82"/>
                  <a:gd name="T39" fmla="*/ 183 h 184"/>
                  <a:gd name="T40" fmla="*/ 12 w 82"/>
                  <a:gd name="T4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184">
                    <a:moveTo>
                      <a:pt x="12" y="184"/>
                    </a:moveTo>
                    <a:lnTo>
                      <a:pt x="10" y="183"/>
                    </a:lnTo>
                    <a:lnTo>
                      <a:pt x="8" y="183"/>
                    </a:lnTo>
                    <a:lnTo>
                      <a:pt x="4" y="180"/>
                    </a:lnTo>
                    <a:lnTo>
                      <a:pt x="1" y="176"/>
                    </a:lnTo>
                    <a:lnTo>
                      <a:pt x="0" y="171"/>
                    </a:lnTo>
                    <a:lnTo>
                      <a:pt x="0" y="166"/>
                    </a:lnTo>
                    <a:lnTo>
                      <a:pt x="55" y="8"/>
                    </a:lnTo>
                    <a:lnTo>
                      <a:pt x="58" y="4"/>
                    </a:lnTo>
                    <a:lnTo>
                      <a:pt x="62" y="1"/>
                    </a:lnTo>
                    <a:lnTo>
                      <a:pt x="66" y="0"/>
                    </a:lnTo>
                    <a:lnTo>
                      <a:pt x="72" y="0"/>
                    </a:lnTo>
                    <a:lnTo>
                      <a:pt x="76" y="3"/>
                    </a:lnTo>
                    <a:lnTo>
                      <a:pt x="79" y="7"/>
                    </a:lnTo>
                    <a:lnTo>
                      <a:pt x="82" y="11"/>
                    </a:lnTo>
                    <a:lnTo>
                      <a:pt x="81" y="17"/>
                    </a:lnTo>
                    <a:lnTo>
                      <a:pt x="25" y="174"/>
                    </a:lnTo>
                    <a:lnTo>
                      <a:pt x="23" y="179"/>
                    </a:lnTo>
                    <a:lnTo>
                      <a:pt x="20" y="181"/>
                    </a:lnTo>
                    <a:lnTo>
                      <a:pt x="17" y="183"/>
                    </a:lnTo>
                    <a:lnTo>
                      <a:pt x="12"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75"/>
              <p:cNvSpPr>
                <a:spLocks/>
              </p:cNvSpPr>
              <p:nvPr userDrawn="1"/>
            </p:nvSpPr>
            <p:spPr bwMode="auto">
              <a:xfrm>
                <a:off x="1630" y="1645"/>
                <a:ext cx="71" cy="249"/>
              </a:xfrm>
              <a:custGeom>
                <a:avLst/>
                <a:gdLst>
                  <a:gd name="T0" fmla="*/ 87 w 212"/>
                  <a:gd name="T1" fmla="*/ 749 h 749"/>
                  <a:gd name="T2" fmla="*/ 87 w 212"/>
                  <a:gd name="T3" fmla="*/ 749 h 749"/>
                  <a:gd name="T4" fmla="*/ 87 w 212"/>
                  <a:gd name="T5" fmla="*/ 749 h 749"/>
                  <a:gd name="T6" fmla="*/ 81 w 212"/>
                  <a:gd name="T7" fmla="*/ 748 h 749"/>
                  <a:gd name="T8" fmla="*/ 77 w 212"/>
                  <a:gd name="T9" fmla="*/ 746 h 749"/>
                  <a:gd name="T10" fmla="*/ 75 w 212"/>
                  <a:gd name="T11" fmla="*/ 742 h 749"/>
                  <a:gd name="T12" fmla="*/ 73 w 212"/>
                  <a:gd name="T13" fmla="*/ 737 h 749"/>
                  <a:gd name="T14" fmla="*/ 0 w 212"/>
                  <a:gd name="T15" fmla="*/ 238 h 749"/>
                  <a:gd name="T16" fmla="*/ 0 w 212"/>
                  <a:gd name="T17" fmla="*/ 232 h 749"/>
                  <a:gd name="T18" fmla="*/ 3 w 212"/>
                  <a:gd name="T19" fmla="*/ 228 h 749"/>
                  <a:gd name="T20" fmla="*/ 7 w 212"/>
                  <a:gd name="T21" fmla="*/ 225 h 749"/>
                  <a:gd name="T22" fmla="*/ 11 w 212"/>
                  <a:gd name="T23" fmla="*/ 222 h 749"/>
                  <a:gd name="T24" fmla="*/ 17 w 212"/>
                  <a:gd name="T25" fmla="*/ 222 h 749"/>
                  <a:gd name="T26" fmla="*/ 22 w 212"/>
                  <a:gd name="T27" fmla="*/ 225 h 749"/>
                  <a:gd name="T28" fmla="*/ 25 w 212"/>
                  <a:gd name="T29" fmla="*/ 229 h 749"/>
                  <a:gd name="T30" fmla="*/ 27 w 212"/>
                  <a:gd name="T31" fmla="*/ 233 h 749"/>
                  <a:gd name="T32" fmla="*/ 87 w 212"/>
                  <a:gd name="T33" fmla="*/ 645 h 749"/>
                  <a:gd name="T34" fmla="*/ 186 w 212"/>
                  <a:gd name="T35" fmla="*/ 12 h 749"/>
                  <a:gd name="T36" fmla="*/ 187 w 212"/>
                  <a:gd name="T37" fmla="*/ 7 h 749"/>
                  <a:gd name="T38" fmla="*/ 192 w 212"/>
                  <a:gd name="T39" fmla="*/ 2 h 749"/>
                  <a:gd name="T40" fmla="*/ 196 w 212"/>
                  <a:gd name="T41" fmla="*/ 0 h 749"/>
                  <a:gd name="T42" fmla="*/ 201 w 212"/>
                  <a:gd name="T43" fmla="*/ 0 h 749"/>
                  <a:gd name="T44" fmla="*/ 207 w 212"/>
                  <a:gd name="T45" fmla="*/ 2 h 749"/>
                  <a:gd name="T46" fmla="*/ 210 w 212"/>
                  <a:gd name="T47" fmla="*/ 5 h 749"/>
                  <a:gd name="T48" fmla="*/ 212 w 212"/>
                  <a:gd name="T49" fmla="*/ 10 h 749"/>
                  <a:gd name="T50" fmla="*/ 212 w 212"/>
                  <a:gd name="T51" fmla="*/ 15 h 749"/>
                  <a:gd name="T52" fmla="*/ 100 w 212"/>
                  <a:gd name="T53" fmla="*/ 737 h 749"/>
                  <a:gd name="T54" fmla="*/ 99 w 212"/>
                  <a:gd name="T55" fmla="*/ 742 h 749"/>
                  <a:gd name="T56" fmla="*/ 95 w 212"/>
                  <a:gd name="T57" fmla="*/ 746 h 749"/>
                  <a:gd name="T58" fmla="*/ 91 w 212"/>
                  <a:gd name="T59" fmla="*/ 748 h 749"/>
                  <a:gd name="T60" fmla="*/ 87 w 212"/>
                  <a:gd name="T61" fmla="*/ 749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2" h="749">
                    <a:moveTo>
                      <a:pt x="87" y="749"/>
                    </a:moveTo>
                    <a:lnTo>
                      <a:pt x="87" y="749"/>
                    </a:lnTo>
                    <a:lnTo>
                      <a:pt x="87" y="749"/>
                    </a:lnTo>
                    <a:lnTo>
                      <a:pt x="81" y="748"/>
                    </a:lnTo>
                    <a:lnTo>
                      <a:pt x="77" y="746"/>
                    </a:lnTo>
                    <a:lnTo>
                      <a:pt x="75" y="742"/>
                    </a:lnTo>
                    <a:lnTo>
                      <a:pt x="73" y="737"/>
                    </a:lnTo>
                    <a:lnTo>
                      <a:pt x="0" y="238"/>
                    </a:lnTo>
                    <a:lnTo>
                      <a:pt x="0" y="232"/>
                    </a:lnTo>
                    <a:lnTo>
                      <a:pt x="3" y="228"/>
                    </a:lnTo>
                    <a:lnTo>
                      <a:pt x="7" y="225"/>
                    </a:lnTo>
                    <a:lnTo>
                      <a:pt x="11" y="222"/>
                    </a:lnTo>
                    <a:lnTo>
                      <a:pt x="17" y="222"/>
                    </a:lnTo>
                    <a:lnTo>
                      <a:pt x="22" y="225"/>
                    </a:lnTo>
                    <a:lnTo>
                      <a:pt x="25" y="229"/>
                    </a:lnTo>
                    <a:lnTo>
                      <a:pt x="27" y="233"/>
                    </a:lnTo>
                    <a:lnTo>
                      <a:pt x="87" y="645"/>
                    </a:lnTo>
                    <a:lnTo>
                      <a:pt x="186" y="12"/>
                    </a:lnTo>
                    <a:lnTo>
                      <a:pt x="187" y="7"/>
                    </a:lnTo>
                    <a:lnTo>
                      <a:pt x="192" y="2"/>
                    </a:lnTo>
                    <a:lnTo>
                      <a:pt x="196" y="0"/>
                    </a:lnTo>
                    <a:lnTo>
                      <a:pt x="201" y="0"/>
                    </a:lnTo>
                    <a:lnTo>
                      <a:pt x="207" y="2"/>
                    </a:lnTo>
                    <a:lnTo>
                      <a:pt x="210" y="5"/>
                    </a:lnTo>
                    <a:lnTo>
                      <a:pt x="212" y="10"/>
                    </a:lnTo>
                    <a:lnTo>
                      <a:pt x="212" y="15"/>
                    </a:lnTo>
                    <a:lnTo>
                      <a:pt x="100" y="737"/>
                    </a:lnTo>
                    <a:lnTo>
                      <a:pt x="99" y="742"/>
                    </a:lnTo>
                    <a:lnTo>
                      <a:pt x="95" y="746"/>
                    </a:lnTo>
                    <a:lnTo>
                      <a:pt x="91" y="748"/>
                    </a:lnTo>
                    <a:lnTo>
                      <a:pt x="87" y="7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6"/>
              <p:cNvSpPr>
                <a:spLocks/>
              </p:cNvSpPr>
              <p:nvPr userDrawn="1"/>
            </p:nvSpPr>
            <p:spPr bwMode="auto">
              <a:xfrm>
                <a:off x="1763" y="2251"/>
                <a:ext cx="489" cy="847"/>
              </a:xfrm>
              <a:custGeom>
                <a:avLst/>
                <a:gdLst>
                  <a:gd name="T0" fmla="*/ 1455 w 1467"/>
                  <a:gd name="T1" fmla="*/ 2539 h 2539"/>
                  <a:gd name="T2" fmla="*/ 1450 w 1467"/>
                  <a:gd name="T3" fmla="*/ 2539 h 2539"/>
                  <a:gd name="T4" fmla="*/ 1447 w 1467"/>
                  <a:gd name="T5" fmla="*/ 2538 h 2539"/>
                  <a:gd name="T6" fmla="*/ 1445 w 1467"/>
                  <a:gd name="T7" fmla="*/ 2536 h 2539"/>
                  <a:gd name="T8" fmla="*/ 1443 w 1467"/>
                  <a:gd name="T9" fmla="*/ 2533 h 2539"/>
                  <a:gd name="T10" fmla="*/ 2 w 1467"/>
                  <a:gd name="T11" fmla="*/ 21 h 2539"/>
                  <a:gd name="T12" fmla="*/ 0 w 1467"/>
                  <a:gd name="T13" fmla="*/ 15 h 2539"/>
                  <a:gd name="T14" fmla="*/ 0 w 1467"/>
                  <a:gd name="T15" fmla="*/ 10 h 2539"/>
                  <a:gd name="T16" fmla="*/ 2 w 1467"/>
                  <a:gd name="T17" fmla="*/ 5 h 2539"/>
                  <a:gd name="T18" fmla="*/ 6 w 1467"/>
                  <a:gd name="T19" fmla="*/ 2 h 2539"/>
                  <a:gd name="T20" fmla="*/ 12 w 1467"/>
                  <a:gd name="T21" fmla="*/ 0 h 2539"/>
                  <a:gd name="T22" fmla="*/ 17 w 1467"/>
                  <a:gd name="T23" fmla="*/ 0 h 2539"/>
                  <a:gd name="T24" fmla="*/ 22 w 1467"/>
                  <a:gd name="T25" fmla="*/ 3 h 2539"/>
                  <a:gd name="T26" fmla="*/ 25 w 1467"/>
                  <a:gd name="T27" fmla="*/ 7 h 2539"/>
                  <a:gd name="T28" fmla="*/ 1465 w 1467"/>
                  <a:gd name="T29" fmla="*/ 2519 h 2539"/>
                  <a:gd name="T30" fmla="*/ 1467 w 1467"/>
                  <a:gd name="T31" fmla="*/ 2524 h 2539"/>
                  <a:gd name="T32" fmla="*/ 1467 w 1467"/>
                  <a:gd name="T33" fmla="*/ 2529 h 2539"/>
                  <a:gd name="T34" fmla="*/ 1465 w 1467"/>
                  <a:gd name="T35" fmla="*/ 2534 h 2539"/>
                  <a:gd name="T36" fmla="*/ 1461 w 1467"/>
                  <a:gd name="T37" fmla="*/ 2538 h 2539"/>
                  <a:gd name="T38" fmla="*/ 1458 w 1467"/>
                  <a:gd name="T39" fmla="*/ 2539 h 2539"/>
                  <a:gd name="T40" fmla="*/ 1455 w 1467"/>
                  <a:gd name="T41" fmla="*/ 2539 h 2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7" h="2539">
                    <a:moveTo>
                      <a:pt x="1455" y="2539"/>
                    </a:moveTo>
                    <a:lnTo>
                      <a:pt x="1450" y="2539"/>
                    </a:lnTo>
                    <a:lnTo>
                      <a:pt x="1447" y="2538"/>
                    </a:lnTo>
                    <a:lnTo>
                      <a:pt x="1445" y="2536"/>
                    </a:lnTo>
                    <a:lnTo>
                      <a:pt x="1443" y="2533"/>
                    </a:lnTo>
                    <a:lnTo>
                      <a:pt x="2" y="21"/>
                    </a:lnTo>
                    <a:lnTo>
                      <a:pt x="0" y="15"/>
                    </a:lnTo>
                    <a:lnTo>
                      <a:pt x="0" y="10"/>
                    </a:lnTo>
                    <a:lnTo>
                      <a:pt x="2" y="5"/>
                    </a:lnTo>
                    <a:lnTo>
                      <a:pt x="6" y="2"/>
                    </a:lnTo>
                    <a:lnTo>
                      <a:pt x="12" y="0"/>
                    </a:lnTo>
                    <a:lnTo>
                      <a:pt x="17" y="0"/>
                    </a:lnTo>
                    <a:lnTo>
                      <a:pt x="22" y="3"/>
                    </a:lnTo>
                    <a:lnTo>
                      <a:pt x="25" y="7"/>
                    </a:lnTo>
                    <a:lnTo>
                      <a:pt x="1465" y="2519"/>
                    </a:lnTo>
                    <a:lnTo>
                      <a:pt x="1467" y="2524"/>
                    </a:lnTo>
                    <a:lnTo>
                      <a:pt x="1467" y="2529"/>
                    </a:lnTo>
                    <a:lnTo>
                      <a:pt x="1465" y="2534"/>
                    </a:lnTo>
                    <a:lnTo>
                      <a:pt x="1461" y="2538"/>
                    </a:lnTo>
                    <a:lnTo>
                      <a:pt x="1458" y="2539"/>
                    </a:lnTo>
                    <a:lnTo>
                      <a:pt x="1455" y="2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7"/>
              <p:cNvSpPr>
                <a:spLocks/>
              </p:cNvSpPr>
              <p:nvPr userDrawn="1"/>
            </p:nvSpPr>
            <p:spPr bwMode="auto">
              <a:xfrm>
                <a:off x="1724" y="2280"/>
                <a:ext cx="467" cy="803"/>
              </a:xfrm>
              <a:custGeom>
                <a:avLst/>
                <a:gdLst>
                  <a:gd name="T0" fmla="*/ 1388 w 1401"/>
                  <a:gd name="T1" fmla="*/ 2410 h 2410"/>
                  <a:gd name="T2" fmla="*/ 1385 w 1401"/>
                  <a:gd name="T3" fmla="*/ 2410 h 2410"/>
                  <a:gd name="T4" fmla="*/ 1381 w 1401"/>
                  <a:gd name="T5" fmla="*/ 2409 h 2410"/>
                  <a:gd name="T6" fmla="*/ 1378 w 1401"/>
                  <a:gd name="T7" fmla="*/ 2407 h 2410"/>
                  <a:gd name="T8" fmla="*/ 1376 w 1401"/>
                  <a:gd name="T9" fmla="*/ 2403 h 2410"/>
                  <a:gd name="T10" fmla="*/ 1 w 1401"/>
                  <a:gd name="T11" fmla="*/ 20 h 2410"/>
                  <a:gd name="T12" fmla="*/ 0 w 1401"/>
                  <a:gd name="T13" fmla="*/ 15 h 2410"/>
                  <a:gd name="T14" fmla="*/ 0 w 1401"/>
                  <a:gd name="T15" fmla="*/ 10 h 2410"/>
                  <a:gd name="T16" fmla="*/ 2 w 1401"/>
                  <a:gd name="T17" fmla="*/ 6 h 2410"/>
                  <a:gd name="T18" fmla="*/ 7 w 1401"/>
                  <a:gd name="T19" fmla="*/ 1 h 2410"/>
                  <a:gd name="T20" fmla="*/ 12 w 1401"/>
                  <a:gd name="T21" fmla="*/ 0 h 2410"/>
                  <a:gd name="T22" fmla="*/ 18 w 1401"/>
                  <a:gd name="T23" fmla="*/ 0 h 2410"/>
                  <a:gd name="T24" fmla="*/ 22 w 1401"/>
                  <a:gd name="T25" fmla="*/ 3 h 2410"/>
                  <a:gd name="T26" fmla="*/ 25 w 1401"/>
                  <a:gd name="T27" fmla="*/ 7 h 2410"/>
                  <a:gd name="T28" fmla="*/ 1400 w 1401"/>
                  <a:gd name="T29" fmla="*/ 2390 h 2410"/>
                  <a:gd name="T30" fmla="*/ 1401 w 1401"/>
                  <a:gd name="T31" fmla="*/ 2395 h 2410"/>
                  <a:gd name="T32" fmla="*/ 1401 w 1401"/>
                  <a:gd name="T33" fmla="*/ 2400 h 2410"/>
                  <a:gd name="T34" fmla="*/ 1399 w 1401"/>
                  <a:gd name="T35" fmla="*/ 2404 h 2410"/>
                  <a:gd name="T36" fmla="*/ 1394 w 1401"/>
                  <a:gd name="T37" fmla="*/ 2409 h 2410"/>
                  <a:gd name="T38" fmla="*/ 1391 w 1401"/>
                  <a:gd name="T39" fmla="*/ 2410 h 2410"/>
                  <a:gd name="T40" fmla="*/ 1388 w 1401"/>
                  <a:gd name="T41" fmla="*/ 2410 h 2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1" h="2410">
                    <a:moveTo>
                      <a:pt x="1388" y="2410"/>
                    </a:moveTo>
                    <a:lnTo>
                      <a:pt x="1385" y="2410"/>
                    </a:lnTo>
                    <a:lnTo>
                      <a:pt x="1381" y="2409"/>
                    </a:lnTo>
                    <a:lnTo>
                      <a:pt x="1378" y="2407"/>
                    </a:lnTo>
                    <a:lnTo>
                      <a:pt x="1376" y="2403"/>
                    </a:lnTo>
                    <a:lnTo>
                      <a:pt x="1" y="20"/>
                    </a:lnTo>
                    <a:lnTo>
                      <a:pt x="0" y="15"/>
                    </a:lnTo>
                    <a:lnTo>
                      <a:pt x="0" y="10"/>
                    </a:lnTo>
                    <a:lnTo>
                      <a:pt x="2" y="6"/>
                    </a:lnTo>
                    <a:lnTo>
                      <a:pt x="7" y="1"/>
                    </a:lnTo>
                    <a:lnTo>
                      <a:pt x="12" y="0"/>
                    </a:lnTo>
                    <a:lnTo>
                      <a:pt x="18" y="0"/>
                    </a:lnTo>
                    <a:lnTo>
                      <a:pt x="22" y="3"/>
                    </a:lnTo>
                    <a:lnTo>
                      <a:pt x="25" y="7"/>
                    </a:lnTo>
                    <a:lnTo>
                      <a:pt x="1400" y="2390"/>
                    </a:lnTo>
                    <a:lnTo>
                      <a:pt x="1401" y="2395"/>
                    </a:lnTo>
                    <a:lnTo>
                      <a:pt x="1401" y="2400"/>
                    </a:lnTo>
                    <a:lnTo>
                      <a:pt x="1399" y="2404"/>
                    </a:lnTo>
                    <a:lnTo>
                      <a:pt x="1394" y="2409"/>
                    </a:lnTo>
                    <a:lnTo>
                      <a:pt x="1391" y="2410"/>
                    </a:lnTo>
                    <a:lnTo>
                      <a:pt x="1388" y="2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8"/>
              <p:cNvSpPr>
                <a:spLocks/>
              </p:cNvSpPr>
              <p:nvPr userDrawn="1"/>
            </p:nvSpPr>
            <p:spPr bwMode="auto">
              <a:xfrm>
                <a:off x="1564" y="2590"/>
                <a:ext cx="270" cy="408"/>
              </a:xfrm>
              <a:custGeom>
                <a:avLst/>
                <a:gdLst>
                  <a:gd name="T0" fmla="*/ 9 w 810"/>
                  <a:gd name="T1" fmla="*/ 1224 h 1224"/>
                  <a:gd name="T2" fmla="*/ 2 w 810"/>
                  <a:gd name="T3" fmla="*/ 1219 h 1224"/>
                  <a:gd name="T4" fmla="*/ 0 w 810"/>
                  <a:gd name="T5" fmla="*/ 1209 h 1224"/>
                  <a:gd name="T6" fmla="*/ 5 w 810"/>
                  <a:gd name="T7" fmla="*/ 1200 h 1224"/>
                  <a:gd name="T8" fmla="*/ 40 w 810"/>
                  <a:gd name="T9" fmla="*/ 1190 h 1224"/>
                  <a:gd name="T10" fmla="*/ 163 w 810"/>
                  <a:gd name="T11" fmla="*/ 1156 h 1224"/>
                  <a:gd name="T12" fmla="*/ 278 w 810"/>
                  <a:gd name="T13" fmla="*/ 1118 h 1224"/>
                  <a:gd name="T14" fmla="*/ 371 w 810"/>
                  <a:gd name="T15" fmla="*/ 1083 h 1224"/>
                  <a:gd name="T16" fmla="*/ 434 w 810"/>
                  <a:gd name="T17" fmla="*/ 1054 h 1224"/>
                  <a:gd name="T18" fmla="*/ 494 w 810"/>
                  <a:gd name="T19" fmla="*/ 1025 h 1224"/>
                  <a:gd name="T20" fmla="*/ 551 w 810"/>
                  <a:gd name="T21" fmla="*/ 993 h 1224"/>
                  <a:gd name="T22" fmla="*/ 603 w 810"/>
                  <a:gd name="T23" fmla="*/ 957 h 1224"/>
                  <a:gd name="T24" fmla="*/ 648 w 810"/>
                  <a:gd name="T25" fmla="*/ 921 h 1224"/>
                  <a:gd name="T26" fmla="*/ 683 w 810"/>
                  <a:gd name="T27" fmla="*/ 881 h 1224"/>
                  <a:gd name="T28" fmla="*/ 709 w 810"/>
                  <a:gd name="T29" fmla="*/ 840 h 1224"/>
                  <a:gd name="T30" fmla="*/ 732 w 810"/>
                  <a:gd name="T31" fmla="*/ 765 h 1224"/>
                  <a:gd name="T32" fmla="*/ 754 w 810"/>
                  <a:gd name="T33" fmla="*/ 667 h 1224"/>
                  <a:gd name="T34" fmla="*/ 771 w 810"/>
                  <a:gd name="T35" fmla="*/ 576 h 1224"/>
                  <a:gd name="T36" fmla="*/ 779 w 810"/>
                  <a:gd name="T37" fmla="*/ 492 h 1224"/>
                  <a:gd name="T38" fmla="*/ 781 w 810"/>
                  <a:gd name="T39" fmla="*/ 416 h 1224"/>
                  <a:gd name="T40" fmla="*/ 778 w 810"/>
                  <a:gd name="T41" fmla="*/ 348 h 1224"/>
                  <a:gd name="T42" fmla="*/ 772 w 810"/>
                  <a:gd name="T43" fmla="*/ 287 h 1224"/>
                  <a:gd name="T44" fmla="*/ 762 w 810"/>
                  <a:gd name="T45" fmla="*/ 233 h 1224"/>
                  <a:gd name="T46" fmla="*/ 749 w 810"/>
                  <a:gd name="T47" fmla="*/ 184 h 1224"/>
                  <a:gd name="T48" fmla="*/ 735 w 810"/>
                  <a:gd name="T49" fmla="*/ 143 h 1224"/>
                  <a:gd name="T50" fmla="*/ 720 w 810"/>
                  <a:gd name="T51" fmla="*/ 109 h 1224"/>
                  <a:gd name="T52" fmla="*/ 706 w 810"/>
                  <a:gd name="T53" fmla="*/ 81 h 1224"/>
                  <a:gd name="T54" fmla="*/ 686 w 810"/>
                  <a:gd name="T55" fmla="*/ 48 h 1224"/>
                  <a:gd name="T56" fmla="*/ 669 w 810"/>
                  <a:gd name="T57" fmla="*/ 26 h 1224"/>
                  <a:gd name="T58" fmla="*/ 663 w 810"/>
                  <a:gd name="T59" fmla="*/ 19 h 1224"/>
                  <a:gd name="T60" fmla="*/ 663 w 810"/>
                  <a:gd name="T61" fmla="*/ 8 h 1224"/>
                  <a:gd name="T62" fmla="*/ 670 w 810"/>
                  <a:gd name="T63" fmla="*/ 1 h 1224"/>
                  <a:gd name="T64" fmla="*/ 680 w 810"/>
                  <a:gd name="T65" fmla="*/ 1 h 1224"/>
                  <a:gd name="T66" fmla="*/ 689 w 810"/>
                  <a:gd name="T67" fmla="*/ 8 h 1224"/>
                  <a:gd name="T68" fmla="*/ 709 w 810"/>
                  <a:gd name="T69" fmla="*/ 33 h 1224"/>
                  <a:gd name="T70" fmla="*/ 730 w 810"/>
                  <a:gd name="T71" fmla="*/ 67 h 1224"/>
                  <a:gd name="T72" fmla="*/ 746 w 810"/>
                  <a:gd name="T73" fmla="*/ 96 h 1224"/>
                  <a:gd name="T74" fmla="*/ 761 w 810"/>
                  <a:gd name="T75" fmla="*/ 133 h 1224"/>
                  <a:gd name="T76" fmla="*/ 776 w 810"/>
                  <a:gd name="T77" fmla="*/ 175 h 1224"/>
                  <a:gd name="T78" fmla="*/ 789 w 810"/>
                  <a:gd name="T79" fmla="*/ 223 h 1224"/>
                  <a:gd name="T80" fmla="*/ 800 w 810"/>
                  <a:gd name="T81" fmla="*/ 279 h 1224"/>
                  <a:gd name="T82" fmla="*/ 806 w 810"/>
                  <a:gd name="T83" fmla="*/ 343 h 1224"/>
                  <a:gd name="T84" fmla="*/ 810 w 810"/>
                  <a:gd name="T85" fmla="*/ 413 h 1224"/>
                  <a:gd name="T86" fmla="*/ 806 w 810"/>
                  <a:gd name="T87" fmla="*/ 491 h 1224"/>
                  <a:gd name="T88" fmla="*/ 798 w 810"/>
                  <a:gd name="T89" fmla="*/ 576 h 1224"/>
                  <a:gd name="T90" fmla="*/ 783 w 810"/>
                  <a:gd name="T91" fmla="*/ 670 h 1224"/>
                  <a:gd name="T92" fmla="*/ 758 w 810"/>
                  <a:gd name="T93" fmla="*/ 772 h 1224"/>
                  <a:gd name="T94" fmla="*/ 734 w 810"/>
                  <a:gd name="T95" fmla="*/ 848 h 1224"/>
                  <a:gd name="T96" fmla="*/ 708 w 810"/>
                  <a:gd name="T97" fmla="*/ 893 h 1224"/>
                  <a:gd name="T98" fmla="*/ 672 w 810"/>
                  <a:gd name="T99" fmla="*/ 934 h 1224"/>
                  <a:gd name="T100" fmla="*/ 627 w 810"/>
                  <a:gd name="T101" fmla="*/ 973 h 1224"/>
                  <a:gd name="T102" fmla="*/ 575 w 810"/>
                  <a:gd name="T103" fmla="*/ 1009 h 1224"/>
                  <a:gd name="T104" fmla="*/ 518 w 810"/>
                  <a:gd name="T105" fmla="*/ 1044 h 1224"/>
                  <a:gd name="T106" fmla="*/ 456 w 810"/>
                  <a:gd name="T107" fmla="*/ 1074 h 1224"/>
                  <a:gd name="T108" fmla="*/ 394 w 810"/>
                  <a:gd name="T109" fmla="*/ 1103 h 1224"/>
                  <a:gd name="T110" fmla="*/ 299 w 810"/>
                  <a:gd name="T111" fmla="*/ 1140 h 1224"/>
                  <a:gd name="T112" fmla="*/ 182 w 810"/>
                  <a:gd name="T113" fmla="*/ 1179 h 1224"/>
                  <a:gd name="T114" fmla="*/ 53 w 810"/>
                  <a:gd name="T115" fmla="*/ 1215 h 1224"/>
                  <a:gd name="T116" fmla="*/ 15 w 810"/>
                  <a:gd name="T117"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0" h="1224">
                    <a:moveTo>
                      <a:pt x="14" y="1224"/>
                    </a:moveTo>
                    <a:lnTo>
                      <a:pt x="9" y="1224"/>
                    </a:lnTo>
                    <a:lnTo>
                      <a:pt x="5" y="1222"/>
                    </a:lnTo>
                    <a:lnTo>
                      <a:pt x="2" y="1219"/>
                    </a:lnTo>
                    <a:lnTo>
                      <a:pt x="0" y="1214"/>
                    </a:lnTo>
                    <a:lnTo>
                      <a:pt x="0" y="1209"/>
                    </a:lnTo>
                    <a:lnTo>
                      <a:pt x="2" y="1203"/>
                    </a:lnTo>
                    <a:lnTo>
                      <a:pt x="5" y="1200"/>
                    </a:lnTo>
                    <a:lnTo>
                      <a:pt x="11" y="1198"/>
                    </a:lnTo>
                    <a:lnTo>
                      <a:pt x="40" y="1190"/>
                    </a:lnTo>
                    <a:lnTo>
                      <a:pt x="114" y="1170"/>
                    </a:lnTo>
                    <a:lnTo>
                      <a:pt x="163" y="1156"/>
                    </a:lnTo>
                    <a:lnTo>
                      <a:pt x="219" y="1139"/>
                    </a:lnTo>
                    <a:lnTo>
                      <a:pt x="278" y="1118"/>
                    </a:lnTo>
                    <a:lnTo>
                      <a:pt x="340" y="1094"/>
                    </a:lnTo>
                    <a:lnTo>
                      <a:pt x="371" y="1083"/>
                    </a:lnTo>
                    <a:lnTo>
                      <a:pt x="402" y="1068"/>
                    </a:lnTo>
                    <a:lnTo>
                      <a:pt x="434" y="1054"/>
                    </a:lnTo>
                    <a:lnTo>
                      <a:pt x="465" y="1040"/>
                    </a:lnTo>
                    <a:lnTo>
                      <a:pt x="494" y="1025"/>
                    </a:lnTo>
                    <a:lnTo>
                      <a:pt x="523" y="1009"/>
                    </a:lnTo>
                    <a:lnTo>
                      <a:pt x="551" y="993"/>
                    </a:lnTo>
                    <a:lnTo>
                      <a:pt x="578" y="976"/>
                    </a:lnTo>
                    <a:lnTo>
                      <a:pt x="603" y="957"/>
                    </a:lnTo>
                    <a:lnTo>
                      <a:pt x="627" y="939"/>
                    </a:lnTo>
                    <a:lnTo>
                      <a:pt x="648" y="921"/>
                    </a:lnTo>
                    <a:lnTo>
                      <a:pt x="667" y="901"/>
                    </a:lnTo>
                    <a:lnTo>
                      <a:pt x="683" y="881"/>
                    </a:lnTo>
                    <a:lnTo>
                      <a:pt x="697" y="860"/>
                    </a:lnTo>
                    <a:lnTo>
                      <a:pt x="709" y="840"/>
                    </a:lnTo>
                    <a:lnTo>
                      <a:pt x="717" y="817"/>
                    </a:lnTo>
                    <a:lnTo>
                      <a:pt x="732" y="765"/>
                    </a:lnTo>
                    <a:lnTo>
                      <a:pt x="745" y="714"/>
                    </a:lnTo>
                    <a:lnTo>
                      <a:pt x="754" y="667"/>
                    </a:lnTo>
                    <a:lnTo>
                      <a:pt x="763" y="620"/>
                    </a:lnTo>
                    <a:lnTo>
                      <a:pt x="771" y="576"/>
                    </a:lnTo>
                    <a:lnTo>
                      <a:pt x="775" y="533"/>
                    </a:lnTo>
                    <a:lnTo>
                      <a:pt x="779" y="492"/>
                    </a:lnTo>
                    <a:lnTo>
                      <a:pt x="780" y="454"/>
                    </a:lnTo>
                    <a:lnTo>
                      <a:pt x="781" y="416"/>
                    </a:lnTo>
                    <a:lnTo>
                      <a:pt x="780" y="382"/>
                    </a:lnTo>
                    <a:lnTo>
                      <a:pt x="778" y="348"/>
                    </a:lnTo>
                    <a:lnTo>
                      <a:pt x="776" y="317"/>
                    </a:lnTo>
                    <a:lnTo>
                      <a:pt x="772" y="287"/>
                    </a:lnTo>
                    <a:lnTo>
                      <a:pt x="767" y="259"/>
                    </a:lnTo>
                    <a:lnTo>
                      <a:pt x="762" y="233"/>
                    </a:lnTo>
                    <a:lnTo>
                      <a:pt x="756" y="208"/>
                    </a:lnTo>
                    <a:lnTo>
                      <a:pt x="749" y="184"/>
                    </a:lnTo>
                    <a:lnTo>
                      <a:pt x="743" y="164"/>
                    </a:lnTo>
                    <a:lnTo>
                      <a:pt x="735" y="143"/>
                    </a:lnTo>
                    <a:lnTo>
                      <a:pt x="727" y="125"/>
                    </a:lnTo>
                    <a:lnTo>
                      <a:pt x="720" y="109"/>
                    </a:lnTo>
                    <a:lnTo>
                      <a:pt x="712" y="94"/>
                    </a:lnTo>
                    <a:lnTo>
                      <a:pt x="706" y="81"/>
                    </a:lnTo>
                    <a:lnTo>
                      <a:pt x="698" y="68"/>
                    </a:lnTo>
                    <a:lnTo>
                      <a:pt x="686" y="48"/>
                    </a:lnTo>
                    <a:lnTo>
                      <a:pt x="676" y="34"/>
                    </a:lnTo>
                    <a:lnTo>
                      <a:pt x="669" y="26"/>
                    </a:lnTo>
                    <a:lnTo>
                      <a:pt x="666" y="24"/>
                    </a:lnTo>
                    <a:lnTo>
                      <a:pt x="663" y="19"/>
                    </a:lnTo>
                    <a:lnTo>
                      <a:pt x="662" y="14"/>
                    </a:lnTo>
                    <a:lnTo>
                      <a:pt x="663" y="8"/>
                    </a:lnTo>
                    <a:lnTo>
                      <a:pt x="666" y="4"/>
                    </a:lnTo>
                    <a:lnTo>
                      <a:pt x="670" y="1"/>
                    </a:lnTo>
                    <a:lnTo>
                      <a:pt x="676" y="0"/>
                    </a:lnTo>
                    <a:lnTo>
                      <a:pt x="680" y="1"/>
                    </a:lnTo>
                    <a:lnTo>
                      <a:pt x="684" y="4"/>
                    </a:lnTo>
                    <a:lnTo>
                      <a:pt x="689" y="8"/>
                    </a:lnTo>
                    <a:lnTo>
                      <a:pt x="697" y="18"/>
                    </a:lnTo>
                    <a:lnTo>
                      <a:pt x="709" y="33"/>
                    </a:lnTo>
                    <a:lnTo>
                      <a:pt x="722" y="54"/>
                    </a:lnTo>
                    <a:lnTo>
                      <a:pt x="730" y="67"/>
                    </a:lnTo>
                    <a:lnTo>
                      <a:pt x="737" y="81"/>
                    </a:lnTo>
                    <a:lnTo>
                      <a:pt x="746" y="96"/>
                    </a:lnTo>
                    <a:lnTo>
                      <a:pt x="753" y="113"/>
                    </a:lnTo>
                    <a:lnTo>
                      <a:pt x="761" y="133"/>
                    </a:lnTo>
                    <a:lnTo>
                      <a:pt x="769" y="153"/>
                    </a:lnTo>
                    <a:lnTo>
                      <a:pt x="776" y="175"/>
                    </a:lnTo>
                    <a:lnTo>
                      <a:pt x="783" y="198"/>
                    </a:lnTo>
                    <a:lnTo>
                      <a:pt x="789" y="223"/>
                    </a:lnTo>
                    <a:lnTo>
                      <a:pt x="794" y="251"/>
                    </a:lnTo>
                    <a:lnTo>
                      <a:pt x="800" y="279"/>
                    </a:lnTo>
                    <a:lnTo>
                      <a:pt x="804" y="311"/>
                    </a:lnTo>
                    <a:lnTo>
                      <a:pt x="806" y="343"/>
                    </a:lnTo>
                    <a:lnTo>
                      <a:pt x="808" y="377"/>
                    </a:lnTo>
                    <a:lnTo>
                      <a:pt x="810" y="413"/>
                    </a:lnTo>
                    <a:lnTo>
                      <a:pt x="808" y="451"/>
                    </a:lnTo>
                    <a:lnTo>
                      <a:pt x="806" y="491"/>
                    </a:lnTo>
                    <a:lnTo>
                      <a:pt x="803" y="533"/>
                    </a:lnTo>
                    <a:lnTo>
                      <a:pt x="798" y="576"/>
                    </a:lnTo>
                    <a:lnTo>
                      <a:pt x="791" y="622"/>
                    </a:lnTo>
                    <a:lnTo>
                      <a:pt x="783" y="670"/>
                    </a:lnTo>
                    <a:lnTo>
                      <a:pt x="771" y="720"/>
                    </a:lnTo>
                    <a:lnTo>
                      <a:pt x="758" y="772"/>
                    </a:lnTo>
                    <a:lnTo>
                      <a:pt x="743" y="826"/>
                    </a:lnTo>
                    <a:lnTo>
                      <a:pt x="734" y="848"/>
                    </a:lnTo>
                    <a:lnTo>
                      <a:pt x="723" y="871"/>
                    </a:lnTo>
                    <a:lnTo>
                      <a:pt x="708" y="893"/>
                    </a:lnTo>
                    <a:lnTo>
                      <a:pt x="692" y="913"/>
                    </a:lnTo>
                    <a:lnTo>
                      <a:pt x="672" y="934"/>
                    </a:lnTo>
                    <a:lnTo>
                      <a:pt x="651" y="954"/>
                    </a:lnTo>
                    <a:lnTo>
                      <a:pt x="627" y="973"/>
                    </a:lnTo>
                    <a:lnTo>
                      <a:pt x="602" y="992"/>
                    </a:lnTo>
                    <a:lnTo>
                      <a:pt x="575" y="1009"/>
                    </a:lnTo>
                    <a:lnTo>
                      <a:pt x="547" y="1026"/>
                    </a:lnTo>
                    <a:lnTo>
                      <a:pt x="518" y="1044"/>
                    </a:lnTo>
                    <a:lnTo>
                      <a:pt x="488" y="1059"/>
                    </a:lnTo>
                    <a:lnTo>
                      <a:pt x="456" y="1074"/>
                    </a:lnTo>
                    <a:lnTo>
                      <a:pt x="425" y="1089"/>
                    </a:lnTo>
                    <a:lnTo>
                      <a:pt x="394" y="1103"/>
                    </a:lnTo>
                    <a:lnTo>
                      <a:pt x="361" y="1116"/>
                    </a:lnTo>
                    <a:lnTo>
                      <a:pt x="299" y="1140"/>
                    </a:lnTo>
                    <a:lnTo>
                      <a:pt x="238" y="1160"/>
                    </a:lnTo>
                    <a:lnTo>
                      <a:pt x="182" y="1179"/>
                    </a:lnTo>
                    <a:lnTo>
                      <a:pt x="130" y="1194"/>
                    </a:lnTo>
                    <a:lnTo>
                      <a:pt x="53" y="1215"/>
                    </a:lnTo>
                    <a:lnTo>
                      <a:pt x="16" y="1224"/>
                    </a:lnTo>
                    <a:lnTo>
                      <a:pt x="15" y="1224"/>
                    </a:lnTo>
                    <a:lnTo>
                      <a:pt x="14" y="1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9"/>
              <p:cNvSpPr>
                <a:spLocks/>
              </p:cNvSpPr>
              <p:nvPr userDrawn="1"/>
            </p:nvSpPr>
            <p:spPr bwMode="auto">
              <a:xfrm>
                <a:off x="1670" y="2520"/>
                <a:ext cx="205" cy="510"/>
              </a:xfrm>
              <a:custGeom>
                <a:avLst/>
                <a:gdLst>
                  <a:gd name="T0" fmla="*/ 9 w 617"/>
                  <a:gd name="T1" fmla="*/ 1531 h 1531"/>
                  <a:gd name="T2" fmla="*/ 2 w 617"/>
                  <a:gd name="T3" fmla="*/ 1526 h 1531"/>
                  <a:gd name="T4" fmla="*/ 0 w 617"/>
                  <a:gd name="T5" fmla="*/ 1516 h 1531"/>
                  <a:gd name="T6" fmla="*/ 6 w 617"/>
                  <a:gd name="T7" fmla="*/ 1507 h 1531"/>
                  <a:gd name="T8" fmla="*/ 32 w 617"/>
                  <a:gd name="T9" fmla="*/ 1498 h 1531"/>
                  <a:gd name="T10" fmla="*/ 124 w 617"/>
                  <a:gd name="T11" fmla="*/ 1463 h 1531"/>
                  <a:gd name="T12" fmla="*/ 189 w 617"/>
                  <a:gd name="T13" fmla="*/ 1433 h 1531"/>
                  <a:gd name="T14" fmla="*/ 236 w 617"/>
                  <a:gd name="T15" fmla="*/ 1408 h 1531"/>
                  <a:gd name="T16" fmla="*/ 284 w 617"/>
                  <a:gd name="T17" fmla="*/ 1379 h 1531"/>
                  <a:gd name="T18" fmla="*/ 333 w 617"/>
                  <a:gd name="T19" fmla="*/ 1346 h 1531"/>
                  <a:gd name="T20" fmla="*/ 380 w 617"/>
                  <a:gd name="T21" fmla="*/ 1309 h 1531"/>
                  <a:gd name="T22" fmla="*/ 427 w 617"/>
                  <a:gd name="T23" fmla="*/ 1268 h 1531"/>
                  <a:gd name="T24" fmla="*/ 469 w 617"/>
                  <a:gd name="T25" fmla="*/ 1221 h 1531"/>
                  <a:gd name="T26" fmla="*/ 507 w 617"/>
                  <a:gd name="T27" fmla="*/ 1169 h 1531"/>
                  <a:gd name="T28" fmla="*/ 538 w 617"/>
                  <a:gd name="T29" fmla="*/ 1113 h 1531"/>
                  <a:gd name="T30" fmla="*/ 563 w 617"/>
                  <a:gd name="T31" fmla="*/ 1053 h 1531"/>
                  <a:gd name="T32" fmla="*/ 580 w 617"/>
                  <a:gd name="T33" fmla="*/ 986 h 1531"/>
                  <a:gd name="T34" fmla="*/ 589 w 617"/>
                  <a:gd name="T35" fmla="*/ 914 h 1531"/>
                  <a:gd name="T36" fmla="*/ 590 w 617"/>
                  <a:gd name="T37" fmla="*/ 836 h 1531"/>
                  <a:gd name="T38" fmla="*/ 584 w 617"/>
                  <a:gd name="T39" fmla="*/ 756 h 1531"/>
                  <a:gd name="T40" fmla="*/ 574 w 617"/>
                  <a:gd name="T41" fmla="*/ 673 h 1531"/>
                  <a:gd name="T42" fmla="*/ 559 w 617"/>
                  <a:gd name="T43" fmla="*/ 591 h 1531"/>
                  <a:gd name="T44" fmla="*/ 539 w 617"/>
                  <a:gd name="T45" fmla="*/ 508 h 1531"/>
                  <a:gd name="T46" fmla="*/ 519 w 617"/>
                  <a:gd name="T47" fmla="*/ 428 h 1531"/>
                  <a:gd name="T48" fmla="*/ 484 w 617"/>
                  <a:gd name="T49" fmla="*/ 314 h 1531"/>
                  <a:gd name="T50" fmla="*/ 439 w 617"/>
                  <a:gd name="T51" fmla="*/ 183 h 1531"/>
                  <a:gd name="T52" fmla="*/ 400 w 617"/>
                  <a:gd name="T53" fmla="*/ 83 h 1531"/>
                  <a:gd name="T54" fmla="*/ 377 w 617"/>
                  <a:gd name="T55" fmla="*/ 27 h 1531"/>
                  <a:gd name="T56" fmla="*/ 372 w 617"/>
                  <a:gd name="T57" fmla="*/ 13 h 1531"/>
                  <a:gd name="T58" fmla="*/ 375 w 617"/>
                  <a:gd name="T59" fmla="*/ 5 h 1531"/>
                  <a:gd name="T60" fmla="*/ 385 w 617"/>
                  <a:gd name="T61" fmla="*/ 0 h 1531"/>
                  <a:gd name="T62" fmla="*/ 394 w 617"/>
                  <a:gd name="T63" fmla="*/ 4 h 1531"/>
                  <a:gd name="T64" fmla="*/ 403 w 617"/>
                  <a:gd name="T65" fmla="*/ 20 h 1531"/>
                  <a:gd name="T66" fmla="*/ 429 w 617"/>
                  <a:gd name="T67" fmla="*/ 80 h 1531"/>
                  <a:gd name="T68" fmla="*/ 468 w 617"/>
                  <a:gd name="T69" fmla="*/ 183 h 1531"/>
                  <a:gd name="T70" fmla="*/ 514 w 617"/>
                  <a:gd name="T71" fmla="*/ 316 h 1531"/>
                  <a:gd name="T72" fmla="*/ 548 w 617"/>
                  <a:gd name="T73" fmla="*/ 430 h 1531"/>
                  <a:gd name="T74" fmla="*/ 569 w 617"/>
                  <a:gd name="T75" fmla="*/ 510 h 1531"/>
                  <a:gd name="T76" fmla="*/ 587 w 617"/>
                  <a:gd name="T77" fmla="*/ 593 h 1531"/>
                  <a:gd name="T78" fmla="*/ 602 w 617"/>
                  <a:gd name="T79" fmla="*/ 676 h 1531"/>
                  <a:gd name="T80" fmla="*/ 613 w 617"/>
                  <a:gd name="T81" fmla="*/ 759 h 1531"/>
                  <a:gd name="T82" fmla="*/ 617 w 617"/>
                  <a:gd name="T83" fmla="*/ 840 h 1531"/>
                  <a:gd name="T84" fmla="*/ 615 w 617"/>
                  <a:gd name="T85" fmla="*/ 918 h 1531"/>
                  <a:gd name="T86" fmla="*/ 606 w 617"/>
                  <a:gd name="T87" fmla="*/ 992 h 1531"/>
                  <a:gd name="T88" fmla="*/ 589 w 617"/>
                  <a:gd name="T89" fmla="*/ 1060 h 1531"/>
                  <a:gd name="T90" fmla="*/ 563 w 617"/>
                  <a:gd name="T91" fmla="*/ 1124 h 1531"/>
                  <a:gd name="T92" fmla="*/ 530 w 617"/>
                  <a:gd name="T93" fmla="*/ 1182 h 1531"/>
                  <a:gd name="T94" fmla="*/ 492 w 617"/>
                  <a:gd name="T95" fmla="*/ 1236 h 1531"/>
                  <a:gd name="T96" fmla="*/ 447 w 617"/>
                  <a:gd name="T97" fmla="*/ 1284 h 1531"/>
                  <a:gd name="T98" fmla="*/ 400 w 617"/>
                  <a:gd name="T99" fmla="*/ 1328 h 1531"/>
                  <a:gd name="T100" fmla="*/ 351 w 617"/>
                  <a:gd name="T101" fmla="*/ 1367 h 1531"/>
                  <a:gd name="T102" fmla="*/ 300 w 617"/>
                  <a:gd name="T103" fmla="*/ 1400 h 1531"/>
                  <a:gd name="T104" fmla="*/ 251 w 617"/>
                  <a:gd name="T105" fmla="*/ 1431 h 1531"/>
                  <a:gd name="T106" fmla="*/ 202 w 617"/>
                  <a:gd name="T107" fmla="*/ 1457 h 1531"/>
                  <a:gd name="T108" fmla="*/ 135 w 617"/>
                  <a:gd name="T109" fmla="*/ 1488 h 1531"/>
                  <a:gd name="T110" fmla="*/ 39 w 617"/>
                  <a:gd name="T111" fmla="*/ 1524 h 1531"/>
                  <a:gd name="T112" fmla="*/ 15 w 617"/>
                  <a:gd name="T113" fmla="*/ 1531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7" h="1531">
                    <a:moveTo>
                      <a:pt x="13" y="1531"/>
                    </a:moveTo>
                    <a:lnTo>
                      <a:pt x="9" y="1531"/>
                    </a:lnTo>
                    <a:lnTo>
                      <a:pt x="6" y="1529"/>
                    </a:lnTo>
                    <a:lnTo>
                      <a:pt x="2" y="1526"/>
                    </a:lnTo>
                    <a:lnTo>
                      <a:pt x="0" y="1521"/>
                    </a:lnTo>
                    <a:lnTo>
                      <a:pt x="0" y="1516"/>
                    </a:lnTo>
                    <a:lnTo>
                      <a:pt x="1" y="1511"/>
                    </a:lnTo>
                    <a:lnTo>
                      <a:pt x="6" y="1507"/>
                    </a:lnTo>
                    <a:lnTo>
                      <a:pt x="10" y="1505"/>
                    </a:lnTo>
                    <a:lnTo>
                      <a:pt x="32" y="1498"/>
                    </a:lnTo>
                    <a:lnTo>
                      <a:pt x="88" y="1478"/>
                    </a:lnTo>
                    <a:lnTo>
                      <a:pt x="124" y="1463"/>
                    </a:lnTo>
                    <a:lnTo>
                      <a:pt x="167" y="1444"/>
                    </a:lnTo>
                    <a:lnTo>
                      <a:pt x="189" y="1433"/>
                    </a:lnTo>
                    <a:lnTo>
                      <a:pt x="212" y="1421"/>
                    </a:lnTo>
                    <a:lnTo>
                      <a:pt x="236" y="1408"/>
                    </a:lnTo>
                    <a:lnTo>
                      <a:pt x="260" y="1394"/>
                    </a:lnTo>
                    <a:lnTo>
                      <a:pt x="284" y="1379"/>
                    </a:lnTo>
                    <a:lnTo>
                      <a:pt x="309" y="1364"/>
                    </a:lnTo>
                    <a:lnTo>
                      <a:pt x="333" y="1346"/>
                    </a:lnTo>
                    <a:lnTo>
                      <a:pt x="357" y="1328"/>
                    </a:lnTo>
                    <a:lnTo>
                      <a:pt x="380" y="1309"/>
                    </a:lnTo>
                    <a:lnTo>
                      <a:pt x="404" y="1288"/>
                    </a:lnTo>
                    <a:lnTo>
                      <a:pt x="427" y="1268"/>
                    </a:lnTo>
                    <a:lnTo>
                      <a:pt x="448" y="1245"/>
                    </a:lnTo>
                    <a:lnTo>
                      <a:pt x="469" y="1221"/>
                    </a:lnTo>
                    <a:lnTo>
                      <a:pt x="488" y="1195"/>
                    </a:lnTo>
                    <a:lnTo>
                      <a:pt x="507" y="1169"/>
                    </a:lnTo>
                    <a:lnTo>
                      <a:pt x="523" y="1142"/>
                    </a:lnTo>
                    <a:lnTo>
                      <a:pt x="538" y="1113"/>
                    </a:lnTo>
                    <a:lnTo>
                      <a:pt x="552" y="1084"/>
                    </a:lnTo>
                    <a:lnTo>
                      <a:pt x="563" y="1053"/>
                    </a:lnTo>
                    <a:lnTo>
                      <a:pt x="573" y="1020"/>
                    </a:lnTo>
                    <a:lnTo>
                      <a:pt x="580" y="986"/>
                    </a:lnTo>
                    <a:lnTo>
                      <a:pt x="586" y="950"/>
                    </a:lnTo>
                    <a:lnTo>
                      <a:pt x="589" y="914"/>
                    </a:lnTo>
                    <a:lnTo>
                      <a:pt x="590" y="876"/>
                    </a:lnTo>
                    <a:lnTo>
                      <a:pt x="590" y="836"/>
                    </a:lnTo>
                    <a:lnTo>
                      <a:pt x="588" y="796"/>
                    </a:lnTo>
                    <a:lnTo>
                      <a:pt x="584" y="756"/>
                    </a:lnTo>
                    <a:lnTo>
                      <a:pt x="579" y="715"/>
                    </a:lnTo>
                    <a:lnTo>
                      <a:pt x="574" y="673"/>
                    </a:lnTo>
                    <a:lnTo>
                      <a:pt x="566" y="632"/>
                    </a:lnTo>
                    <a:lnTo>
                      <a:pt x="559" y="591"/>
                    </a:lnTo>
                    <a:lnTo>
                      <a:pt x="549" y="549"/>
                    </a:lnTo>
                    <a:lnTo>
                      <a:pt x="539" y="508"/>
                    </a:lnTo>
                    <a:lnTo>
                      <a:pt x="529" y="468"/>
                    </a:lnTo>
                    <a:lnTo>
                      <a:pt x="519" y="428"/>
                    </a:lnTo>
                    <a:lnTo>
                      <a:pt x="507" y="389"/>
                    </a:lnTo>
                    <a:lnTo>
                      <a:pt x="484" y="314"/>
                    </a:lnTo>
                    <a:lnTo>
                      <a:pt x="461" y="245"/>
                    </a:lnTo>
                    <a:lnTo>
                      <a:pt x="439" y="183"/>
                    </a:lnTo>
                    <a:lnTo>
                      <a:pt x="418" y="128"/>
                    </a:lnTo>
                    <a:lnTo>
                      <a:pt x="400" y="83"/>
                    </a:lnTo>
                    <a:lnTo>
                      <a:pt x="386" y="49"/>
                    </a:lnTo>
                    <a:lnTo>
                      <a:pt x="377" y="27"/>
                    </a:lnTo>
                    <a:lnTo>
                      <a:pt x="373" y="19"/>
                    </a:lnTo>
                    <a:lnTo>
                      <a:pt x="372" y="13"/>
                    </a:lnTo>
                    <a:lnTo>
                      <a:pt x="373" y="9"/>
                    </a:lnTo>
                    <a:lnTo>
                      <a:pt x="375" y="5"/>
                    </a:lnTo>
                    <a:lnTo>
                      <a:pt x="379" y="1"/>
                    </a:lnTo>
                    <a:lnTo>
                      <a:pt x="385" y="0"/>
                    </a:lnTo>
                    <a:lnTo>
                      <a:pt x="390" y="0"/>
                    </a:lnTo>
                    <a:lnTo>
                      <a:pt x="394" y="4"/>
                    </a:lnTo>
                    <a:lnTo>
                      <a:pt x="398" y="8"/>
                    </a:lnTo>
                    <a:lnTo>
                      <a:pt x="403" y="20"/>
                    </a:lnTo>
                    <a:lnTo>
                      <a:pt x="414" y="45"/>
                    </a:lnTo>
                    <a:lnTo>
                      <a:pt x="429" y="80"/>
                    </a:lnTo>
                    <a:lnTo>
                      <a:pt x="447" y="127"/>
                    </a:lnTo>
                    <a:lnTo>
                      <a:pt x="468" y="183"/>
                    </a:lnTo>
                    <a:lnTo>
                      <a:pt x="490" y="245"/>
                    </a:lnTo>
                    <a:lnTo>
                      <a:pt x="514" y="316"/>
                    </a:lnTo>
                    <a:lnTo>
                      <a:pt x="537" y="391"/>
                    </a:lnTo>
                    <a:lnTo>
                      <a:pt x="548" y="430"/>
                    </a:lnTo>
                    <a:lnTo>
                      <a:pt x="559" y="470"/>
                    </a:lnTo>
                    <a:lnTo>
                      <a:pt x="569" y="510"/>
                    </a:lnTo>
                    <a:lnTo>
                      <a:pt x="578" y="551"/>
                    </a:lnTo>
                    <a:lnTo>
                      <a:pt x="587" y="593"/>
                    </a:lnTo>
                    <a:lnTo>
                      <a:pt x="595" y="634"/>
                    </a:lnTo>
                    <a:lnTo>
                      <a:pt x="602" y="676"/>
                    </a:lnTo>
                    <a:lnTo>
                      <a:pt x="607" y="717"/>
                    </a:lnTo>
                    <a:lnTo>
                      <a:pt x="613" y="759"/>
                    </a:lnTo>
                    <a:lnTo>
                      <a:pt x="615" y="800"/>
                    </a:lnTo>
                    <a:lnTo>
                      <a:pt x="617" y="840"/>
                    </a:lnTo>
                    <a:lnTo>
                      <a:pt x="617" y="879"/>
                    </a:lnTo>
                    <a:lnTo>
                      <a:pt x="615" y="918"/>
                    </a:lnTo>
                    <a:lnTo>
                      <a:pt x="611" y="956"/>
                    </a:lnTo>
                    <a:lnTo>
                      <a:pt x="606" y="992"/>
                    </a:lnTo>
                    <a:lnTo>
                      <a:pt x="598" y="1027"/>
                    </a:lnTo>
                    <a:lnTo>
                      <a:pt x="589" y="1060"/>
                    </a:lnTo>
                    <a:lnTo>
                      <a:pt x="577" y="1093"/>
                    </a:lnTo>
                    <a:lnTo>
                      <a:pt x="563" y="1124"/>
                    </a:lnTo>
                    <a:lnTo>
                      <a:pt x="548" y="1154"/>
                    </a:lnTo>
                    <a:lnTo>
                      <a:pt x="530" y="1182"/>
                    </a:lnTo>
                    <a:lnTo>
                      <a:pt x="511" y="1210"/>
                    </a:lnTo>
                    <a:lnTo>
                      <a:pt x="492" y="1236"/>
                    </a:lnTo>
                    <a:lnTo>
                      <a:pt x="470" y="1261"/>
                    </a:lnTo>
                    <a:lnTo>
                      <a:pt x="447" y="1284"/>
                    </a:lnTo>
                    <a:lnTo>
                      <a:pt x="424" y="1307"/>
                    </a:lnTo>
                    <a:lnTo>
                      <a:pt x="400" y="1328"/>
                    </a:lnTo>
                    <a:lnTo>
                      <a:pt x="376" y="1348"/>
                    </a:lnTo>
                    <a:lnTo>
                      <a:pt x="351" y="1367"/>
                    </a:lnTo>
                    <a:lnTo>
                      <a:pt x="325" y="1384"/>
                    </a:lnTo>
                    <a:lnTo>
                      <a:pt x="300" y="1400"/>
                    </a:lnTo>
                    <a:lnTo>
                      <a:pt x="276" y="1417"/>
                    </a:lnTo>
                    <a:lnTo>
                      <a:pt x="251" y="1431"/>
                    </a:lnTo>
                    <a:lnTo>
                      <a:pt x="226" y="1444"/>
                    </a:lnTo>
                    <a:lnTo>
                      <a:pt x="202" y="1457"/>
                    </a:lnTo>
                    <a:lnTo>
                      <a:pt x="179" y="1467"/>
                    </a:lnTo>
                    <a:lnTo>
                      <a:pt x="135" y="1488"/>
                    </a:lnTo>
                    <a:lnTo>
                      <a:pt x="97" y="1503"/>
                    </a:lnTo>
                    <a:lnTo>
                      <a:pt x="39" y="1524"/>
                    </a:lnTo>
                    <a:lnTo>
                      <a:pt x="18" y="1531"/>
                    </a:lnTo>
                    <a:lnTo>
                      <a:pt x="15" y="1531"/>
                    </a:lnTo>
                    <a:lnTo>
                      <a:pt x="13" y="15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80"/>
              <p:cNvSpPr>
                <a:spLocks/>
              </p:cNvSpPr>
              <p:nvPr userDrawn="1"/>
            </p:nvSpPr>
            <p:spPr bwMode="auto">
              <a:xfrm>
                <a:off x="1793" y="2482"/>
                <a:ext cx="125" cy="578"/>
              </a:xfrm>
              <a:custGeom>
                <a:avLst/>
                <a:gdLst>
                  <a:gd name="T0" fmla="*/ 117 w 375"/>
                  <a:gd name="T1" fmla="*/ 1732 h 1733"/>
                  <a:gd name="T2" fmla="*/ 112 w 375"/>
                  <a:gd name="T3" fmla="*/ 1728 h 1733"/>
                  <a:gd name="T4" fmla="*/ 108 w 375"/>
                  <a:gd name="T5" fmla="*/ 1721 h 1733"/>
                  <a:gd name="T6" fmla="*/ 110 w 375"/>
                  <a:gd name="T7" fmla="*/ 1711 h 1733"/>
                  <a:gd name="T8" fmla="*/ 118 w 375"/>
                  <a:gd name="T9" fmla="*/ 1705 h 1733"/>
                  <a:gd name="T10" fmla="*/ 141 w 375"/>
                  <a:gd name="T11" fmla="*/ 1686 h 1733"/>
                  <a:gd name="T12" fmla="*/ 170 w 375"/>
                  <a:gd name="T13" fmla="*/ 1659 h 1733"/>
                  <a:gd name="T14" fmla="*/ 192 w 375"/>
                  <a:gd name="T15" fmla="*/ 1633 h 1733"/>
                  <a:gd name="T16" fmla="*/ 216 w 375"/>
                  <a:gd name="T17" fmla="*/ 1602 h 1733"/>
                  <a:gd name="T18" fmla="*/ 240 w 375"/>
                  <a:gd name="T19" fmla="*/ 1564 h 1733"/>
                  <a:gd name="T20" fmla="*/ 264 w 375"/>
                  <a:gd name="T21" fmla="*/ 1520 h 1733"/>
                  <a:gd name="T22" fmla="*/ 287 w 375"/>
                  <a:gd name="T23" fmla="*/ 1467 h 1733"/>
                  <a:gd name="T24" fmla="*/ 307 w 375"/>
                  <a:gd name="T25" fmla="*/ 1408 h 1733"/>
                  <a:gd name="T26" fmla="*/ 325 w 375"/>
                  <a:gd name="T27" fmla="*/ 1341 h 1733"/>
                  <a:gd name="T28" fmla="*/ 338 w 375"/>
                  <a:gd name="T29" fmla="*/ 1264 h 1733"/>
                  <a:gd name="T30" fmla="*/ 345 w 375"/>
                  <a:gd name="T31" fmla="*/ 1180 h 1733"/>
                  <a:gd name="T32" fmla="*/ 347 w 375"/>
                  <a:gd name="T33" fmla="*/ 1086 h 1733"/>
                  <a:gd name="T34" fmla="*/ 343 w 375"/>
                  <a:gd name="T35" fmla="*/ 982 h 1733"/>
                  <a:gd name="T36" fmla="*/ 331 w 375"/>
                  <a:gd name="T37" fmla="*/ 871 h 1733"/>
                  <a:gd name="T38" fmla="*/ 314 w 375"/>
                  <a:gd name="T39" fmla="*/ 764 h 1733"/>
                  <a:gd name="T40" fmla="*/ 293 w 375"/>
                  <a:gd name="T41" fmla="*/ 665 h 1733"/>
                  <a:gd name="T42" fmla="*/ 270 w 375"/>
                  <a:gd name="T43" fmla="*/ 572 h 1733"/>
                  <a:gd name="T44" fmla="*/ 245 w 375"/>
                  <a:gd name="T45" fmla="*/ 488 h 1733"/>
                  <a:gd name="T46" fmla="*/ 217 w 375"/>
                  <a:gd name="T47" fmla="*/ 410 h 1733"/>
                  <a:gd name="T48" fmla="*/ 189 w 375"/>
                  <a:gd name="T49" fmla="*/ 340 h 1733"/>
                  <a:gd name="T50" fmla="*/ 161 w 375"/>
                  <a:gd name="T51" fmla="*/ 276 h 1733"/>
                  <a:gd name="T52" fmla="*/ 118 w 375"/>
                  <a:gd name="T53" fmla="*/ 195 h 1733"/>
                  <a:gd name="T54" fmla="*/ 69 w 375"/>
                  <a:gd name="T55" fmla="*/ 111 h 1733"/>
                  <a:gd name="T56" fmla="*/ 29 w 375"/>
                  <a:gd name="T57" fmla="*/ 55 h 1733"/>
                  <a:gd name="T58" fmla="*/ 6 w 375"/>
                  <a:gd name="T59" fmla="*/ 27 h 1733"/>
                  <a:gd name="T60" fmla="*/ 1 w 375"/>
                  <a:gd name="T61" fmla="*/ 18 h 1733"/>
                  <a:gd name="T62" fmla="*/ 1 w 375"/>
                  <a:gd name="T63" fmla="*/ 9 h 1733"/>
                  <a:gd name="T64" fmla="*/ 8 w 375"/>
                  <a:gd name="T65" fmla="*/ 1 h 1733"/>
                  <a:gd name="T66" fmla="*/ 19 w 375"/>
                  <a:gd name="T67" fmla="*/ 1 h 1733"/>
                  <a:gd name="T68" fmla="*/ 27 w 375"/>
                  <a:gd name="T69" fmla="*/ 9 h 1733"/>
                  <a:gd name="T70" fmla="*/ 49 w 375"/>
                  <a:gd name="T71" fmla="*/ 38 h 1733"/>
                  <a:gd name="T72" fmla="*/ 89 w 375"/>
                  <a:gd name="T73" fmla="*/ 95 h 1733"/>
                  <a:gd name="T74" fmla="*/ 127 w 375"/>
                  <a:gd name="T75" fmla="*/ 157 h 1733"/>
                  <a:gd name="T76" fmla="*/ 155 w 375"/>
                  <a:gd name="T77" fmla="*/ 206 h 1733"/>
                  <a:gd name="T78" fmla="*/ 183 w 375"/>
                  <a:gd name="T79" fmla="*/ 263 h 1733"/>
                  <a:gd name="T80" fmla="*/ 212 w 375"/>
                  <a:gd name="T81" fmla="*/ 327 h 1733"/>
                  <a:gd name="T82" fmla="*/ 242 w 375"/>
                  <a:gd name="T83" fmla="*/ 399 h 1733"/>
                  <a:gd name="T84" fmla="*/ 270 w 375"/>
                  <a:gd name="T85" fmla="*/ 478 h 1733"/>
                  <a:gd name="T86" fmla="*/ 295 w 375"/>
                  <a:gd name="T87" fmla="*/ 564 h 1733"/>
                  <a:gd name="T88" fmla="*/ 319 w 375"/>
                  <a:gd name="T89" fmla="*/ 657 h 1733"/>
                  <a:gd name="T90" fmla="*/ 341 w 375"/>
                  <a:gd name="T91" fmla="*/ 759 h 1733"/>
                  <a:gd name="T92" fmla="*/ 357 w 375"/>
                  <a:gd name="T93" fmla="*/ 867 h 1733"/>
                  <a:gd name="T94" fmla="*/ 370 w 375"/>
                  <a:gd name="T95" fmla="*/ 981 h 1733"/>
                  <a:gd name="T96" fmla="*/ 375 w 375"/>
                  <a:gd name="T97" fmla="*/ 1088 h 1733"/>
                  <a:gd name="T98" fmla="*/ 373 w 375"/>
                  <a:gd name="T99" fmla="*/ 1184 h 1733"/>
                  <a:gd name="T100" fmla="*/ 365 w 375"/>
                  <a:gd name="T101" fmla="*/ 1272 h 1733"/>
                  <a:gd name="T102" fmla="*/ 351 w 375"/>
                  <a:gd name="T103" fmla="*/ 1349 h 1733"/>
                  <a:gd name="T104" fmla="*/ 333 w 375"/>
                  <a:gd name="T105" fmla="*/ 1420 h 1733"/>
                  <a:gd name="T106" fmla="*/ 313 w 375"/>
                  <a:gd name="T107" fmla="*/ 1481 h 1733"/>
                  <a:gd name="T108" fmla="*/ 289 w 375"/>
                  <a:gd name="T109" fmla="*/ 1534 h 1733"/>
                  <a:gd name="T110" fmla="*/ 264 w 375"/>
                  <a:gd name="T111" fmla="*/ 1580 h 1733"/>
                  <a:gd name="T112" fmla="*/ 238 w 375"/>
                  <a:gd name="T113" fmla="*/ 1619 h 1733"/>
                  <a:gd name="T114" fmla="*/ 215 w 375"/>
                  <a:gd name="T115" fmla="*/ 1652 h 1733"/>
                  <a:gd name="T116" fmla="*/ 191 w 375"/>
                  <a:gd name="T117" fmla="*/ 1679 h 1733"/>
                  <a:gd name="T118" fmla="*/ 161 w 375"/>
                  <a:gd name="T119" fmla="*/ 1707 h 1733"/>
                  <a:gd name="T120" fmla="*/ 134 w 375"/>
                  <a:gd name="T121" fmla="*/ 1727 h 1733"/>
                  <a:gd name="T122" fmla="*/ 125 w 375"/>
                  <a:gd name="T123"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5" h="1733">
                    <a:moveTo>
                      <a:pt x="121" y="1733"/>
                    </a:moveTo>
                    <a:lnTo>
                      <a:pt x="117" y="1732"/>
                    </a:lnTo>
                    <a:lnTo>
                      <a:pt x="114" y="1730"/>
                    </a:lnTo>
                    <a:lnTo>
                      <a:pt x="112" y="1728"/>
                    </a:lnTo>
                    <a:lnTo>
                      <a:pt x="110" y="1725"/>
                    </a:lnTo>
                    <a:lnTo>
                      <a:pt x="108" y="1721"/>
                    </a:lnTo>
                    <a:lnTo>
                      <a:pt x="108" y="1715"/>
                    </a:lnTo>
                    <a:lnTo>
                      <a:pt x="110" y="1711"/>
                    </a:lnTo>
                    <a:lnTo>
                      <a:pt x="114" y="1707"/>
                    </a:lnTo>
                    <a:lnTo>
                      <a:pt x="118" y="1705"/>
                    </a:lnTo>
                    <a:lnTo>
                      <a:pt x="127" y="1698"/>
                    </a:lnTo>
                    <a:lnTo>
                      <a:pt x="141" y="1686"/>
                    </a:lnTo>
                    <a:lnTo>
                      <a:pt x="159" y="1669"/>
                    </a:lnTo>
                    <a:lnTo>
                      <a:pt x="170" y="1659"/>
                    </a:lnTo>
                    <a:lnTo>
                      <a:pt x="181" y="1647"/>
                    </a:lnTo>
                    <a:lnTo>
                      <a:pt x="192" y="1633"/>
                    </a:lnTo>
                    <a:lnTo>
                      <a:pt x="204" y="1619"/>
                    </a:lnTo>
                    <a:lnTo>
                      <a:pt x="216" y="1602"/>
                    </a:lnTo>
                    <a:lnTo>
                      <a:pt x="227" y="1584"/>
                    </a:lnTo>
                    <a:lnTo>
                      <a:pt x="240" y="1564"/>
                    </a:lnTo>
                    <a:lnTo>
                      <a:pt x="252" y="1543"/>
                    </a:lnTo>
                    <a:lnTo>
                      <a:pt x="264" y="1520"/>
                    </a:lnTo>
                    <a:lnTo>
                      <a:pt x="275" y="1494"/>
                    </a:lnTo>
                    <a:lnTo>
                      <a:pt x="287" y="1467"/>
                    </a:lnTo>
                    <a:lnTo>
                      <a:pt x="297" y="1439"/>
                    </a:lnTo>
                    <a:lnTo>
                      <a:pt x="307" y="1408"/>
                    </a:lnTo>
                    <a:lnTo>
                      <a:pt x="316" y="1375"/>
                    </a:lnTo>
                    <a:lnTo>
                      <a:pt x="325" y="1341"/>
                    </a:lnTo>
                    <a:lnTo>
                      <a:pt x="331" y="1303"/>
                    </a:lnTo>
                    <a:lnTo>
                      <a:pt x="338" y="1264"/>
                    </a:lnTo>
                    <a:lnTo>
                      <a:pt x="342" y="1223"/>
                    </a:lnTo>
                    <a:lnTo>
                      <a:pt x="345" y="1180"/>
                    </a:lnTo>
                    <a:lnTo>
                      <a:pt x="347" y="1133"/>
                    </a:lnTo>
                    <a:lnTo>
                      <a:pt x="347" y="1086"/>
                    </a:lnTo>
                    <a:lnTo>
                      <a:pt x="346" y="1035"/>
                    </a:lnTo>
                    <a:lnTo>
                      <a:pt x="343" y="982"/>
                    </a:lnTo>
                    <a:lnTo>
                      <a:pt x="338" y="927"/>
                    </a:lnTo>
                    <a:lnTo>
                      <a:pt x="331" y="871"/>
                    </a:lnTo>
                    <a:lnTo>
                      <a:pt x="322" y="816"/>
                    </a:lnTo>
                    <a:lnTo>
                      <a:pt x="314" y="764"/>
                    </a:lnTo>
                    <a:lnTo>
                      <a:pt x="304" y="714"/>
                    </a:lnTo>
                    <a:lnTo>
                      <a:pt x="293" y="665"/>
                    </a:lnTo>
                    <a:lnTo>
                      <a:pt x="283" y="617"/>
                    </a:lnTo>
                    <a:lnTo>
                      <a:pt x="270" y="572"/>
                    </a:lnTo>
                    <a:lnTo>
                      <a:pt x="258" y="529"/>
                    </a:lnTo>
                    <a:lnTo>
                      <a:pt x="245" y="488"/>
                    </a:lnTo>
                    <a:lnTo>
                      <a:pt x="231" y="448"/>
                    </a:lnTo>
                    <a:lnTo>
                      <a:pt x="217" y="410"/>
                    </a:lnTo>
                    <a:lnTo>
                      <a:pt x="203" y="374"/>
                    </a:lnTo>
                    <a:lnTo>
                      <a:pt x="189" y="340"/>
                    </a:lnTo>
                    <a:lnTo>
                      <a:pt x="175" y="307"/>
                    </a:lnTo>
                    <a:lnTo>
                      <a:pt x="161" y="276"/>
                    </a:lnTo>
                    <a:lnTo>
                      <a:pt x="146" y="247"/>
                    </a:lnTo>
                    <a:lnTo>
                      <a:pt x="118" y="195"/>
                    </a:lnTo>
                    <a:lnTo>
                      <a:pt x="92" y="150"/>
                    </a:lnTo>
                    <a:lnTo>
                      <a:pt x="69" y="111"/>
                    </a:lnTo>
                    <a:lnTo>
                      <a:pt x="47" y="80"/>
                    </a:lnTo>
                    <a:lnTo>
                      <a:pt x="29" y="55"/>
                    </a:lnTo>
                    <a:lnTo>
                      <a:pt x="16" y="38"/>
                    </a:lnTo>
                    <a:lnTo>
                      <a:pt x="6" y="27"/>
                    </a:lnTo>
                    <a:lnTo>
                      <a:pt x="3" y="23"/>
                    </a:lnTo>
                    <a:lnTo>
                      <a:pt x="1" y="18"/>
                    </a:lnTo>
                    <a:lnTo>
                      <a:pt x="0" y="13"/>
                    </a:lnTo>
                    <a:lnTo>
                      <a:pt x="1" y="9"/>
                    </a:lnTo>
                    <a:lnTo>
                      <a:pt x="4" y="4"/>
                    </a:lnTo>
                    <a:lnTo>
                      <a:pt x="8" y="1"/>
                    </a:lnTo>
                    <a:lnTo>
                      <a:pt x="14" y="0"/>
                    </a:lnTo>
                    <a:lnTo>
                      <a:pt x="19" y="1"/>
                    </a:lnTo>
                    <a:lnTo>
                      <a:pt x="23" y="4"/>
                    </a:lnTo>
                    <a:lnTo>
                      <a:pt x="27" y="9"/>
                    </a:lnTo>
                    <a:lnTo>
                      <a:pt x="35" y="19"/>
                    </a:lnTo>
                    <a:lnTo>
                      <a:pt x="49" y="38"/>
                    </a:lnTo>
                    <a:lnTo>
                      <a:pt x="68" y="63"/>
                    </a:lnTo>
                    <a:lnTo>
                      <a:pt x="89" y="95"/>
                    </a:lnTo>
                    <a:lnTo>
                      <a:pt x="114" y="134"/>
                    </a:lnTo>
                    <a:lnTo>
                      <a:pt x="127" y="157"/>
                    </a:lnTo>
                    <a:lnTo>
                      <a:pt x="141" y="180"/>
                    </a:lnTo>
                    <a:lnTo>
                      <a:pt x="155" y="206"/>
                    </a:lnTo>
                    <a:lnTo>
                      <a:pt x="169" y="233"/>
                    </a:lnTo>
                    <a:lnTo>
                      <a:pt x="183" y="263"/>
                    </a:lnTo>
                    <a:lnTo>
                      <a:pt x="198" y="295"/>
                    </a:lnTo>
                    <a:lnTo>
                      <a:pt x="212" y="327"/>
                    </a:lnTo>
                    <a:lnTo>
                      <a:pt x="227" y="363"/>
                    </a:lnTo>
                    <a:lnTo>
                      <a:pt x="242" y="399"/>
                    </a:lnTo>
                    <a:lnTo>
                      <a:pt x="256" y="437"/>
                    </a:lnTo>
                    <a:lnTo>
                      <a:pt x="270" y="478"/>
                    </a:lnTo>
                    <a:lnTo>
                      <a:pt x="283" y="520"/>
                    </a:lnTo>
                    <a:lnTo>
                      <a:pt x="295" y="564"/>
                    </a:lnTo>
                    <a:lnTo>
                      <a:pt x="307" y="610"/>
                    </a:lnTo>
                    <a:lnTo>
                      <a:pt x="319" y="657"/>
                    </a:lnTo>
                    <a:lnTo>
                      <a:pt x="330" y="707"/>
                    </a:lnTo>
                    <a:lnTo>
                      <a:pt x="341" y="759"/>
                    </a:lnTo>
                    <a:lnTo>
                      <a:pt x="349" y="812"/>
                    </a:lnTo>
                    <a:lnTo>
                      <a:pt x="357" y="867"/>
                    </a:lnTo>
                    <a:lnTo>
                      <a:pt x="365" y="924"/>
                    </a:lnTo>
                    <a:lnTo>
                      <a:pt x="370" y="981"/>
                    </a:lnTo>
                    <a:lnTo>
                      <a:pt x="373" y="1035"/>
                    </a:lnTo>
                    <a:lnTo>
                      <a:pt x="375" y="1088"/>
                    </a:lnTo>
                    <a:lnTo>
                      <a:pt x="374" y="1137"/>
                    </a:lnTo>
                    <a:lnTo>
                      <a:pt x="373" y="1184"/>
                    </a:lnTo>
                    <a:lnTo>
                      <a:pt x="369" y="1230"/>
                    </a:lnTo>
                    <a:lnTo>
                      <a:pt x="365" y="1272"/>
                    </a:lnTo>
                    <a:lnTo>
                      <a:pt x="358" y="1312"/>
                    </a:lnTo>
                    <a:lnTo>
                      <a:pt x="351" y="1349"/>
                    </a:lnTo>
                    <a:lnTo>
                      <a:pt x="343" y="1386"/>
                    </a:lnTo>
                    <a:lnTo>
                      <a:pt x="333" y="1420"/>
                    </a:lnTo>
                    <a:lnTo>
                      <a:pt x="324" y="1451"/>
                    </a:lnTo>
                    <a:lnTo>
                      <a:pt x="313" y="1481"/>
                    </a:lnTo>
                    <a:lnTo>
                      <a:pt x="301" y="1508"/>
                    </a:lnTo>
                    <a:lnTo>
                      <a:pt x="289" y="1534"/>
                    </a:lnTo>
                    <a:lnTo>
                      <a:pt x="277" y="1558"/>
                    </a:lnTo>
                    <a:lnTo>
                      <a:pt x="264" y="1580"/>
                    </a:lnTo>
                    <a:lnTo>
                      <a:pt x="251" y="1601"/>
                    </a:lnTo>
                    <a:lnTo>
                      <a:pt x="238" y="1619"/>
                    </a:lnTo>
                    <a:lnTo>
                      <a:pt x="226" y="1637"/>
                    </a:lnTo>
                    <a:lnTo>
                      <a:pt x="215" y="1652"/>
                    </a:lnTo>
                    <a:lnTo>
                      <a:pt x="202" y="1666"/>
                    </a:lnTo>
                    <a:lnTo>
                      <a:pt x="191" y="1679"/>
                    </a:lnTo>
                    <a:lnTo>
                      <a:pt x="180" y="1689"/>
                    </a:lnTo>
                    <a:lnTo>
                      <a:pt x="161" y="1707"/>
                    </a:lnTo>
                    <a:lnTo>
                      <a:pt x="144" y="1720"/>
                    </a:lnTo>
                    <a:lnTo>
                      <a:pt x="134" y="1727"/>
                    </a:lnTo>
                    <a:lnTo>
                      <a:pt x="128" y="1730"/>
                    </a:lnTo>
                    <a:lnTo>
                      <a:pt x="125" y="1732"/>
                    </a:lnTo>
                    <a:lnTo>
                      <a:pt x="121" y="1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81"/>
              <p:cNvSpPr>
                <a:spLocks/>
              </p:cNvSpPr>
              <p:nvPr userDrawn="1"/>
            </p:nvSpPr>
            <p:spPr bwMode="auto">
              <a:xfrm>
                <a:off x="1781" y="2423"/>
                <a:ext cx="180" cy="642"/>
              </a:xfrm>
              <a:custGeom>
                <a:avLst/>
                <a:gdLst>
                  <a:gd name="T0" fmla="*/ 515 w 541"/>
                  <a:gd name="T1" fmla="*/ 1926 h 1926"/>
                  <a:gd name="T2" fmla="*/ 508 w 541"/>
                  <a:gd name="T3" fmla="*/ 1925 h 1926"/>
                  <a:gd name="T4" fmla="*/ 502 w 541"/>
                  <a:gd name="T5" fmla="*/ 1917 h 1926"/>
                  <a:gd name="T6" fmla="*/ 502 w 541"/>
                  <a:gd name="T7" fmla="*/ 1901 h 1926"/>
                  <a:gd name="T8" fmla="*/ 507 w 541"/>
                  <a:gd name="T9" fmla="*/ 1830 h 1926"/>
                  <a:gd name="T10" fmla="*/ 512 w 541"/>
                  <a:gd name="T11" fmla="*/ 1703 h 1926"/>
                  <a:gd name="T12" fmla="*/ 514 w 541"/>
                  <a:gd name="T13" fmla="*/ 1538 h 1926"/>
                  <a:gd name="T14" fmla="*/ 510 w 541"/>
                  <a:gd name="T15" fmla="*/ 1397 h 1926"/>
                  <a:gd name="T16" fmla="*/ 505 w 541"/>
                  <a:gd name="T17" fmla="*/ 1298 h 1926"/>
                  <a:gd name="T18" fmla="*/ 497 w 541"/>
                  <a:gd name="T19" fmla="*/ 1196 h 1926"/>
                  <a:gd name="T20" fmla="*/ 485 w 541"/>
                  <a:gd name="T21" fmla="*/ 1096 h 1926"/>
                  <a:gd name="T22" fmla="*/ 470 w 541"/>
                  <a:gd name="T23" fmla="*/ 996 h 1926"/>
                  <a:gd name="T24" fmla="*/ 449 w 541"/>
                  <a:gd name="T25" fmla="*/ 900 h 1926"/>
                  <a:gd name="T26" fmla="*/ 424 w 541"/>
                  <a:gd name="T27" fmla="*/ 810 h 1926"/>
                  <a:gd name="T28" fmla="*/ 394 w 541"/>
                  <a:gd name="T29" fmla="*/ 727 h 1926"/>
                  <a:gd name="T30" fmla="*/ 343 w 541"/>
                  <a:gd name="T31" fmla="*/ 621 h 1926"/>
                  <a:gd name="T32" fmla="*/ 276 w 541"/>
                  <a:gd name="T33" fmla="*/ 491 h 1926"/>
                  <a:gd name="T34" fmla="*/ 180 w 541"/>
                  <a:gd name="T35" fmla="*/ 317 h 1926"/>
                  <a:gd name="T36" fmla="*/ 74 w 541"/>
                  <a:gd name="T37" fmla="*/ 136 h 1926"/>
                  <a:gd name="T38" fmla="*/ 11 w 541"/>
                  <a:gd name="T39" fmla="*/ 35 h 1926"/>
                  <a:gd name="T40" fmla="*/ 0 w 541"/>
                  <a:gd name="T41" fmla="*/ 15 h 1926"/>
                  <a:gd name="T42" fmla="*/ 2 w 541"/>
                  <a:gd name="T43" fmla="*/ 5 h 1926"/>
                  <a:gd name="T44" fmla="*/ 11 w 541"/>
                  <a:gd name="T45" fmla="*/ 0 h 1926"/>
                  <a:gd name="T46" fmla="*/ 20 w 541"/>
                  <a:gd name="T47" fmla="*/ 2 h 1926"/>
                  <a:gd name="T48" fmla="*/ 33 w 541"/>
                  <a:gd name="T49" fmla="*/ 21 h 1926"/>
                  <a:gd name="T50" fmla="*/ 97 w 541"/>
                  <a:gd name="T51" fmla="*/ 122 h 1926"/>
                  <a:gd name="T52" fmla="*/ 204 w 541"/>
                  <a:gd name="T53" fmla="*/ 303 h 1926"/>
                  <a:gd name="T54" fmla="*/ 300 w 541"/>
                  <a:gd name="T55" fmla="*/ 478 h 1926"/>
                  <a:gd name="T56" fmla="*/ 368 w 541"/>
                  <a:gd name="T57" fmla="*/ 609 h 1926"/>
                  <a:gd name="T58" fmla="*/ 419 w 541"/>
                  <a:gd name="T59" fmla="*/ 716 h 1926"/>
                  <a:gd name="T60" fmla="*/ 450 w 541"/>
                  <a:gd name="T61" fmla="*/ 799 h 1926"/>
                  <a:gd name="T62" fmla="*/ 475 w 541"/>
                  <a:gd name="T63" fmla="*/ 890 h 1926"/>
                  <a:gd name="T64" fmla="*/ 495 w 541"/>
                  <a:gd name="T65" fmla="*/ 986 h 1926"/>
                  <a:gd name="T66" fmla="*/ 512 w 541"/>
                  <a:gd name="T67" fmla="*/ 1085 h 1926"/>
                  <a:gd name="T68" fmla="*/ 524 w 541"/>
                  <a:gd name="T69" fmla="*/ 1185 h 1926"/>
                  <a:gd name="T70" fmla="*/ 532 w 541"/>
                  <a:gd name="T71" fmla="*/ 1286 h 1926"/>
                  <a:gd name="T72" fmla="*/ 538 w 541"/>
                  <a:gd name="T73" fmla="*/ 1385 h 1926"/>
                  <a:gd name="T74" fmla="*/ 541 w 541"/>
                  <a:gd name="T75" fmla="*/ 1526 h 1926"/>
                  <a:gd name="T76" fmla="*/ 540 w 541"/>
                  <a:gd name="T77" fmla="*/ 1693 h 1926"/>
                  <a:gd name="T78" fmla="*/ 534 w 541"/>
                  <a:gd name="T79" fmla="*/ 1821 h 1926"/>
                  <a:gd name="T80" fmla="*/ 530 w 541"/>
                  <a:gd name="T81" fmla="*/ 1899 h 1926"/>
                  <a:gd name="T82" fmla="*/ 527 w 541"/>
                  <a:gd name="T83" fmla="*/ 1918 h 1926"/>
                  <a:gd name="T84" fmla="*/ 520 w 541"/>
                  <a:gd name="T85" fmla="*/ 1925 h 1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1" h="1926">
                    <a:moveTo>
                      <a:pt x="515" y="1926"/>
                    </a:moveTo>
                    <a:lnTo>
                      <a:pt x="515" y="1926"/>
                    </a:lnTo>
                    <a:lnTo>
                      <a:pt x="514" y="1926"/>
                    </a:lnTo>
                    <a:lnTo>
                      <a:pt x="508" y="1925"/>
                    </a:lnTo>
                    <a:lnTo>
                      <a:pt x="505" y="1922"/>
                    </a:lnTo>
                    <a:lnTo>
                      <a:pt x="502" y="1917"/>
                    </a:lnTo>
                    <a:lnTo>
                      <a:pt x="502" y="1912"/>
                    </a:lnTo>
                    <a:lnTo>
                      <a:pt x="502" y="1901"/>
                    </a:lnTo>
                    <a:lnTo>
                      <a:pt x="504" y="1873"/>
                    </a:lnTo>
                    <a:lnTo>
                      <a:pt x="507" y="1830"/>
                    </a:lnTo>
                    <a:lnTo>
                      <a:pt x="510" y="1773"/>
                    </a:lnTo>
                    <a:lnTo>
                      <a:pt x="512" y="1703"/>
                    </a:lnTo>
                    <a:lnTo>
                      <a:pt x="513" y="1626"/>
                    </a:lnTo>
                    <a:lnTo>
                      <a:pt x="514" y="1538"/>
                    </a:lnTo>
                    <a:lnTo>
                      <a:pt x="512" y="1445"/>
                    </a:lnTo>
                    <a:lnTo>
                      <a:pt x="510" y="1397"/>
                    </a:lnTo>
                    <a:lnTo>
                      <a:pt x="507" y="1347"/>
                    </a:lnTo>
                    <a:lnTo>
                      <a:pt x="505" y="1298"/>
                    </a:lnTo>
                    <a:lnTo>
                      <a:pt x="501" y="1247"/>
                    </a:lnTo>
                    <a:lnTo>
                      <a:pt x="497" y="1196"/>
                    </a:lnTo>
                    <a:lnTo>
                      <a:pt x="491" y="1145"/>
                    </a:lnTo>
                    <a:lnTo>
                      <a:pt x="485" y="1096"/>
                    </a:lnTo>
                    <a:lnTo>
                      <a:pt x="477" y="1045"/>
                    </a:lnTo>
                    <a:lnTo>
                      <a:pt x="470" y="996"/>
                    </a:lnTo>
                    <a:lnTo>
                      <a:pt x="460" y="948"/>
                    </a:lnTo>
                    <a:lnTo>
                      <a:pt x="449" y="900"/>
                    </a:lnTo>
                    <a:lnTo>
                      <a:pt x="437" y="854"/>
                    </a:lnTo>
                    <a:lnTo>
                      <a:pt x="424" y="810"/>
                    </a:lnTo>
                    <a:lnTo>
                      <a:pt x="410" y="768"/>
                    </a:lnTo>
                    <a:lnTo>
                      <a:pt x="394" y="727"/>
                    </a:lnTo>
                    <a:lnTo>
                      <a:pt x="377" y="689"/>
                    </a:lnTo>
                    <a:lnTo>
                      <a:pt x="343" y="621"/>
                    </a:lnTo>
                    <a:lnTo>
                      <a:pt x="310" y="555"/>
                    </a:lnTo>
                    <a:lnTo>
                      <a:pt x="276" y="491"/>
                    </a:lnTo>
                    <a:lnTo>
                      <a:pt x="244" y="430"/>
                    </a:lnTo>
                    <a:lnTo>
                      <a:pt x="180" y="317"/>
                    </a:lnTo>
                    <a:lnTo>
                      <a:pt x="123" y="218"/>
                    </a:lnTo>
                    <a:lnTo>
                      <a:pt x="74" y="136"/>
                    </a:lnTo>
                    <a:lnTo>
                      <a:pt x="37" y="75"/>
                    </a:lnTo>
                    <a:lnTo>
                      <a:pt x="11" y="35"/>
                    </a:lnTo>
                    <a:lnTo>
                      <a:pt x="2" y="21"/>
                    </a:lnTo>
                    <a:lnTo>
                      <a:pt x="0" y="15"/>
                    </a:lnTo>
                    <a:lnTo>
                      <a:pt x="0" y="10"/>
                    </a:lnTo>
                    <a:lnTo>
                      <a:pt x="2" y="5"/>
                    </a:lnTo>
                    <a:lnTo>
                      <a:pt x="5" y="2"/>
                    </a:lnTo>
                    <a:lnTo>
                      <a:pt x="11" y="0"/>
                    </a:lnTo>
                    <a:lnTo>
                      <a:pt x="16" y="0"/>
                    </a:lnTo>
                    <a:lnTo>
                      <a:pt x="20" y="2"/>
                    </a:lnTo>
                    <a:lnTo>
                      <a:pt x="25" y="5"/>
                    </a:lnTo>
                    <a:lnTo>
                      <a:pt x="33" y="21"/>
                    </a:lnTo>
                    <a:lnTo>
                      <a:pt x="59" y="61"/>
                    </a:lnTo>
                    <a:lnTo>
                      <a:pt x="97" y="122"/>
                    </a:lnTo>
                    <a:lnTo>
                      <a:pt x="147" y="204"/>
                    </a:lnTo>
                    <a:lnTo>
                      <a:pt x="204" y="303"/>
                    </a:lnTo>
                    <a:lnTo>
                      <a:pt x="268" y="417"/>
                    </a:lnTo>
                    <a:lnTo>
                      <a:pt x="300" y="478"/>
                    </a:lnTo>
                    <a:lnTo>
                      <a:pt x="333" y="542"/>
                    </a:lnTo>
                    <a:lnTo>
                      <a:pt x="368" y="609"/>
                    </a:lnTo>
                    <a:lnTo>
                      <a:pt x="402" y="677"/>
                    </a:lnTo>
                    <a:lnTo>
                      <a:pt x="419" y="716"/>
                    </a:lnTo>
                    <a:lnTo>
                      <a:pt x="435" y="757"/>
                    </a:lnTo>
                    <a:lnTo>
                      <a:pt x="450" y="799"/>
                    </a:lnTo>
                    <a:lnTo>
                      <a:pt x="463" y="844"/>
                    </a:lnTo>
                    <a:lnTo>
                      <a:pt x="475" y="890"/>
                    </a:lnTo>
                    <a:lnTo>
                      <a:pt x="486" y="937"/>
                    </a:lnTo>
                    <a:lnTo>
                      <a:pt x="495" y="986"/>
                    </a:lnTo>
                    <a:lnTo>
                      <a:pt x="504" y="1035"/>
                    </a:lnTo>
                    <a:lnTo>
                      <a:pt x="512" y="1085"/>
                    </a:lnTo>
                    <a:lnTo>
                      <a:pt x="518" y="1135"/>
                    </a:lnTo>
                    <a:lnTo>
                      <a:pt x="524" y="1185"/>
                    </a:lnTo>
                    <a:lnTo>
                      <a:pt x="528" y="1236"/>
                    </a:lnTo>
                    <a:lnTo>
                      <a:pt x="532" y="1286"/>
                    </a:lnTo>
                    <a:lnTo>
                      <a:pt x="535" y="1335"/>
                    </a:lnTo>
                    <a:lnTo>
                      <a:pt x="538" y="1385"/>
                    </a:lnTo>
                    <a:lnTo>
                      <a:pt x="540" y="1434"/>
                    </a:lnTo>
                    <a:lnTo>
                      <a:pt x="541" y="1526"/>
                    </a:lnTo>
                    <a:lnTo>
                      <a:pt x="541" y="1614"/>
                    </a:lnTo>
                    <a:lnTo>
                      <a:pt x="540" y="1693"/>
                    </a:lnTo>
                    <a:lnTo>
                      <a:pt x="538" y="1763"/>
                    </a:lnTo>
                    <a:lnTo>
                      <a:pt x="534" y="1821"/>
                    </a:lnTo>
                    <a:lnTo>
                      <a:pt x="532" y="1868"/>
                    </a:lnTo>
                    <a:lnTo>
                      <a:pt x="530" y="1899"/>
                    </a:lnTo>
                    <a:lnTo>
                      <a:pt x="529" y="1914"/>
                    </a:lnTo>
                    <a:lnTo>
                      <a:pt x="527" y="1918"/>
                    </a:lnTo>
                    <a:lnTo>
                      <a:pt x="525" y="1923"/>
                    </a:lnTo>
                    <a:lnTo>
                      <a:pt x="520" y="1925"/>
                    </a:lnTo>
                    <a:lnTo>
                      <a:pt x="515" y="19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82"/>
              <p:cNvSpPr>
                <a:spLocks/>
              </p:cNvSpPr>
              <p:nvPr userDrawn="1"/>
            </p:nvSpPr>
            <p:spPr bwMode="auto">
              <a:xfrm>
                <a:off x="1884" y="2558"/>
                <a:ext cx="141" cy="507"/>
              </a:xfrm>
              <a:custGeom>
                <a:avLst/>
                <a:gdLst>
                  <a:gd name="T0" fmla="*/ 405 w 423"/>
                  <a:gd name="T1" fmla="*/ 1521 h 1522"/>
                  <a:gd name="T2" fmla="*/ 397 w 423"/>
                  <a:gd name="T3" fmla="*/ 1514 h 1522"/>
                  <a:gd name="T4" fmla="*/ 396 w 423"/>
                  <a:gd name="T5" fmla="*/ 1498 h 1522"/>
                  <a:gd name="T6" fmla="*/ 392 w 423"/>
                  <a:gd name="T7" fmla="*/ 1424 h 1522"/>
                  <a:gd name="T8" fmla="*/ 381 w 423"/>
                  <a:gd name="T9" fmla="*/ 1290 h 1522"/>
                  <a:gd name="T10" fmla="*/ 365 w 423"/>
                  <a:gd name="T11" fmla="*/ 1157 h 1522"/>
                  <a:gd name="T12" fmla="*/ 350 w 423"/>
                  <a:gd name="T13" fmla="*/ 1057 h 1522"/>
                  <a:gd name="T14" fmla="*/ 331 w 423"/>
                  <a:gd name="T15" fmla="*/ 948 h 1522"/>
                  <a:gd name="T16" fmla="*/ 306 w 423"/>
                  <a:gd name="T17" fmla="*/ 832 h 1522"/>
                  <a:gd name="T18" fmla="*/ 277 w 423"/>
                  <a:gd name="T19" fmla="*/ 711 h 1522"/>
                  <a:gd name="T20" fmla="*/ 243 w 423"/>
                  <a:gd name="T21" fmla="*/ 587 h 1522"/>
                  <a:gd name="T22" fmla="*/ 202 w 423"/>
                  <a:gd name="T23" fmla="*/ 460 h 1522"/>
                  <a:gd name="T24" fmla="*/ 154 w 423"/>
                  <a:gd name="T25" fmla="*/ 332 h 1522"/>
                  <a:gd name="T26" fmla="*/ 99 w 423"/>
                  <a:gd name="T27" fmla="*/ 205 h 1522"/>
                  <a:gd name="T28" fmla="*/ 35 w 423"/>
                  <a:gd name="T29" fmla="*/ 81 h 1522"/>
                  <a:gd name="T30" fmla="*/ 0 w 423"/>
                  <a:gd name="T31" fmla="*/ 15 h 1522"/>
                  <a:gd name="T32" fmla="*/ 2 w 423"/>
                  <a:gd name="T33" fmla="*/ 5 h 1522"/>
                  <a:gd name="T34" fmla="*/ 12 w 423"/>
                  <a:gd name="T35" fmla="*/ 0 h 1522"/>
                  <a:gd name="T36" fmla="*/ 21 w 423"/>
                  <a:gd name="T37" fmla="*/ 2 h 1522"/>
                  <a:gd name="T38" fmla="*/ 59 w 423"/>
                  <a:gd name="T39" fmla="*/ 68 h 1522"/>
                  <a:gd name="T40" fmla="*/ 123 w 423"/>
                  <a:gd name="T41" fmla="*/ 193 h 1522"/>
                  <a:gd name="T42" fmla="*/ 179 w 423"/>
                  <a:gd name="T43" fmla="*/ 321 h 1522"/>
                  <a:gd name="T44" fmla="*/ 226 w 423"/>
                  <a:gd name="T45" fmla="*/ 450 h 1522"/>
                  <a:gd name="T46" fmla="*/ 269 w 423"/>
                  <a:gd name="T47" fmla="*/ 578 h 1522"/>
                  <a:gd name="T48" fmla="*/ 303 w 423"/>
                  <a:gd name="T49" fmla="*/ 704 h 1522"/>
                  <a:gd name="T50" fmla="*/ 333 w 423"/>
                  <a:gd name="T51" fmla="*/ 826 h 1522"/>
                  <a:gd name="T52" fmla="*/ 357 w 423"/>
                  <a:gd name="T53" fmla="*/ 942 h 1522"/>
                  <a:gd name="T54" fmla="*/ 377 w 423"/>
                  <a:gd name="T55" fmla="*/ 1052 h 1522"/>
                  <a:gd name="T56" fmla="*/ 392 w 423"/>
                  <a:gd name="T57" fmla="*/ 1154 h 1522"/>
                  <a:gd name="T58" fmla="*/ 408 w 423"/>
                  <a:gd name="T59" fmla="*/ 1288 h 1522"/>
                  <a:gd name="T60" fmla="*/ 419 w 423"/>
                  <a:gd name="T61" fmla="*/ 1423 h 1522"/>
                  <a:gd name="T62" fmla="*/ 423 w 423"/>
                  <a:gd name="T63" fmla="*/ 1497 h 1522"/>
                  <a:gd name="T64" fmla="*/ 422 w 423"/>
                  <a:gd name="T65" fmla="*/ 1514 h 1522"/>
                  <a:gd name="T66" fmla="*/ 415 w 423"/>
                  <a:gd name="T67" fmla="*/ 1521 h 1522"/>
                  <a:gd name="T68" fmla="*/ 410 w 423"/>
                  <a:gd name="T69" fmla="*/ 1522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3" h="1522">
                    <a:moveTo>
                      <a:pt x="410" y="1522"/>
                    </a:moveTo>
                    <a:lnTo>
                      <a:pt x="405" y="1521"/>
                    </a:lnTo>
                    <a:lnTo>
                      <a:pt x="400" y="1519"/>
                    </a:lnTo>
                    <a:lnTo>
                      <a:pt x="397" y="1514"/>
                    </a:lnTo>
                    <a:lnTo>
                      <a:pt x="396" y="1509"/>
                    </a:lnTo>
                    <a:lnTo>
                      <a:pt x="396" y="1498"/>
                    </a:lnTo>
                    <a:lnTo>
                      <a:pt x="395" y="1469"/>
                    </a:lnTo>
                    <a:lnTo>
                      <a:pt x="392" y="1424"/>
                    </a:lnTo>
                    <a:lnTo>
                      <a:pt x="387" y="1363"/>
                    </a:lnTo>
                    <a:lnTo>
                      <a:pt x="381" y="1290"/>
                    </a:lnTo>
                    <a:lnTo>
                      <a:pt x="371" y="1204"/>
                    </a:lnTo>
                    <a:lnTo>
                      <a:pt x="365" y="1157"/>
                    </a:lnTo>
                    <a:lnTo>
                      <a:pt x="358" y="1108"/>
                    </a:lnTo>
                    <a:lnTo>
                      <a:pt x="350" y="1057"/>
                    </a:lnTo>
                    <a:lnTo>
                      <a:pt x="341" y="1003"/>
                    </a:lnTo>
                    <a:lnTo>
                      <a:pt x="331" y="948"/>
                    </a:lnTo>
                    <a:lnTo>
                      <a:pt x="319" y="890"/>
                    </a:lnTo>
                    <a:lnTo>
                      <a:pt x="306" y="832"/>
                    </a:lnTo>
                    <a:lnTo>
                      <a:pt x="292" y="772"/>
                    </a:lnTo>
                    <a:lnTo>
                      <a:pt x="277" y="711"/>
                    </a:lnTo>
                    <a:lnTo>
                      <a:pt x="261" y="650"/>
                    </a:lnTo>
                    <a:lnTo>
                      <a:pt x="243" y="587"/>
                    </a:lnTo>
                    <a:lnTo>
                      <a:pt x="223" y="523"/>
                    </a:lnTo>
                    <a:lnTo>
                      <a:pt x="202" y="460"/>
                    </a:lnTo>
                    <a:lnTo>
                      <a:pt x="179" y="396"/>
                    </a:lnTo>
                    <a:lnTo>
                      <a:pt x="154" y="332"/>
                    </a:lnTo>
                    <a:lnTo>
                      <a:pt x="127" y="269"/>
                    </a:lnTo>
                    <a:lnTo>
                      <a:pt x="99" y="205"/>
                    </a:lnTo>
                    <a:lnTo>
                      <a:pt x="68" y="142"/>
                    </a:lnTo>
                    <a:lnTo>
                      <a:pt x="35" y="81"/>
                    </a:lnTo>
                    <a:lnTo>
                      <a:pt x="1" y="20"/>
                    </a:lnTo>
                    <a:lnTo>
                      <a:pt x="0" y="15"/>
                    </a:lnTo>
                    <a:lnTo>
                      <a:pt x="0" y="10"/>
                    </a:lnTo>
                    <a:lnTo>
                      <a:pt x="2" y="5"/>
                    </a:lnTo>
                    <a:lnTo>
                      <a:pt x="6" y="1"/>
                    </a:lnTo>
                    <a:lnTo>
                      <a:pt x="12" y="0"/>
                    </a:lnTo>
                    <a:lnTo>
                      <a:pt x="16" y="0"/>
                    </a:lnTo>
                    <a:lnTo>
                      <a:pt x="21" y="2"/>
                    </a:lnTo>
                    <a:lnTo>
                      <a:pt x="25" y="6"/>
                    </a:lnTo>
                    <a:lnTo>
                      <a:pt x="59" y="68"/>
                    </a:lnTo>
                    <a:lnTo>
                      <a:pt x="93" y="130"/>
                    </a:lnTo>
                    <a:lnTo>
                      <a:pt x="123" y="193"/>
                    </a:lnTo>
                    <a:lnTo>
                      <a:pt x="152" y="257"/>
                    </a:lnTo>
                    <a:lnTo>
                      <a:pt x="179" y="321"/>
                    </a:lnTo>
                    <a:lnTo>
                      <a:pt x="204" y="386"/>
                    </a:lnTo>
                    <a:lnTo>
                      <a:pt x="226" y="450"/>
                    </a:lnTo>
                    <a:lnTo>
                      <a:pt x="248" y="515"/>
                    </a:lnTo>
                    <a:lnTo>
                      <a:pt x="269" y="578"/>
                    </a:lnTo>
                    <a:lnTo>
                      <a:pt x="287" y="641"/>
                    </a:lnTo>
                    <a:lnTo>
                      <a:pt x="303" y="704"/>
                    </a:lnTo>
                    <a:lnTo>
                      <a:pt x="319" y="765"/>
                    </a:lnTo>
                    <a:lnTo>
                      <a:pt x="333" y="826"/>
                    </a:lnTo>
                    <a:lnTo>
                      <a:pt x="345" y="885"/>
                    </a:lnTo>
                    <a:lnTo>
                      <a:pt x="357" y="942"/>
                    </a:lnTo>
                    <a:lnTo>
                      <a:pt x="368" y="998"/>
                    </a:lnTo>
                    <a:lnTo>
                      <a:pt x="377" y="1052"/>
                    </a:lnTo>
                    <a:lnTo>
                      <a:pt x="385" y="1104"/>
                    </a:lnTo>
                    <a:lnTo>
                      <a:pt x="392" y="1154"/>
                    </a:lnTo>
                    <a:lnTo>
                      <a:pt x="398" y="1201"/>
                    </a:lnTo>
                    <a:lnTo>
                      <a:pt x="408" y="1288"/>
                    </a:lnTo>
                    <a:lnTo>
                      <a:pt x="414" y="1362"/>
                    </a:lnTo>
                    <a:lnTo>
                      <a:pt x="419" y="1423"/>
                    </a:lnTo>
                    <a:lnTo>
                      <a:pt x="422" y="1468"/>
                    </a:lnTo>
                    <a:lnTo>
                      <a:pt x="423" y="1497"/>
                    </a:lnTo>
                    <a:lnTo>
                      <a:pt x="423" y="1509"/>
                    </a:lnTo>
                    <a:lnTo>
                      <a:pt x="422" y="1514"/>
                    </a:lnTo>
                    <a:lnTo>
                      <a:pt x="420" y="1519"/>
                    </a:lnTo>
                    <a:lnTo>
                      <a:pt x="415" y="1521"/>
                    </a:lnTo>
                    <a:lnTo>
                      <a:pt x="410" y="1522"/>
                    </a:lnTo>
                    <a:lnTo>
                      <a:pt x="410" y="1522"/>
                    </a:lnTo>
                    <a:lnTo>
                      <a:pt x="410" y="15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83"/>
              <p:cNvSpPr>
                <a:spLocks/>
              </p:cNvSpPr>
              <p:nvPr userDrawn="1"/>
            </p:nvSpPr>
            <p:spPr bwMode="auto">
              <a:xfrm>
                <a:off x="2032" y="2814"/>
                <a:ext cx="69" cy="256"/>
              </a:xfrm>
              <a:custGeom>
                <a:avLst/>
                <a:gdLst>
                  <a:gd name="T0" fmla="*/ 188 w 205"/>
                  <a:gd name="T1" fmla="*/ 768 h 768"/>
                  <a:gd name="T2" fmla="*/ 188 w 205"/>
                  <a:gd name="T3" fmla="*/ 768 h 768"/>
                  <a:gd name="T4" fmla="*/ 186 w 205"/>
                  <a:gd name="T5" fmla="*/ 768 h 768"/>
                  <a:gd name="T6" fmla="*/ 181 w 205"/>
                  <a:gd name="T7" fmla="*/ 766 h 768"/>
                  <a:gd name="T8" fmla="*/ 178 w 205"/>
                  <a:gd name="T9" fmla="*/ 762 h 768"/>
                  <a:gd name="T10" fmla="*/ 175 w 205"/>
                  <a:gd name="T11" fmla="*/ 758 h 768"/>
                  <a:gd name="T12" fmla="*/ 175 w 205"/>
                  <a:gd name="T13" fmla="*/ 753 h 768"/>
                  <a:gd name="T14" fmla="*/ 176 w 205"/>
                  <a:gd name="T15" fmla="*/ 736 h 768"/>
                  <a:gd name="T16" fmla="*/ 178 w 205"/>
                  <a:gd name="T17" fmla="*/ 689 h 768"/>
                  <a:gd name="T18" fmla="*/ 178 w 205"/>
                  <a:gd name="T19" fmla="*/ 656 h 768"/>
                  <a:gd name="T20" fmla="*/ 177 w 205"/>
                  <a:gd name="T21" fmla="*/ 617 h 768"/>
                  <a:gd name="T22" fmla="*/ 173 w 205"/>
                  <a:gd name="T23" fmla="*/ 573 h 768"/>
                  <a:gd name="T24" fmla="*/ 168 w 205"/>
                  <a:gd name="T25" fmla="*/ 524 h 768"/>
                  <a:gd name="T26" fmla="*/ 165 w 205"/>
                  <a:gd name="T27" fmla="*/ 498 h 768"/>
                  <a:gd name="T28" fmla="*/ 161 w 205"/>
                  <a:gd name="T29" fmla="*/ 471 h 768"/>
                  <a:gd name="T30" fmla="*/ 156 w 205"/>
                  <a:gd name="T31" fmla="*/ 443 h 768"/>
                  <a:gd name="T32" fmla="*/ 151 w 205"/>
                  <a:gd name="T33" fmla="*/ 414 h 768"/>
                  <a:gd name="T34" fmla="*/ 144 w 205"/>
                  <a:gd name="T35" fmla="*/ 384 h 768"/>
                  <a:gd name="T36" fmla="*/ 137 w 205"/>
                  <a:gd name="T37" fmla="*/ 353 h 768"/>
                  <a:gd name="T38" fmla="*/ 128 w 205"/>
                  <a:gd name="T39" fmla="*/ 322 h 768"/>
                  <a:gd name="T40" fmla="*/ 118 w 205"/>
                  <a:gd name="T41" fmla="*/ 291 h 768"/>
                  <a:gd name="T42" fmla="*/ 109 w 205"/>
                  <a:gd name="T43" fmla="*/ 258 h 768"/>
                  <a:gd name="T44" fmla="*/ 97 w 205"/>
                  <a:gd name="T45" fmla="*/ 225 h 768"/>
                  <a:gd name="T46" fmla="*/ 84 w 205"/>
                  <a:gd name="T47" fmla="*/ 191 h 768"/>
                  <a:gd name="T48" fmla="*/ 70 w 205"/>
                  <a:gd name="T49" fmla="*/ 158 h 768"/>
                  <a:gd name="T50" fmla="*/ 55 w 205"/>
                  <a:gd name="T51" fmla="*/ 125 h 768"/>
                  <a:gd name="T52" fmla="*/ 38 w 205"/>
                  <a:gd name="T53" fmla="*/ 90 h 768"/>
                  <a:gd name="T54" fmla="*/ 20 w 205"/>
                  <a:gd name="T55" fmla="*/ 55 h 768"/>
                  <a:gd name="T56" fmla="*/ 1 w 205"/>
                  <a:gd name="T57" fmla="*/ 21 h 768"/>
                  <a:gd name="T58" fmla="*/ 0 w 205"/>
                  <a:gd name="T59" fmla="*/ 15 h 768"/>
                  <a:gd name="T60" fmla="*/ 0 w 205"/>
                  <a:gd name="T61" fmla="*/ 10 h 768"/>
                  <a:gd name="T62" fmla="*/ 2 w 205"/>
                  <a:gd name="T63" fmla="*/ 6 h 768"/>
                  <a:gd name="T64" fmla="*/ 6 w 205"/>
                  <a:gd name="T65" fmla="*/ 3 h 768"/>
                  <a:gd name="T66" fmla="*/ 11 w 205"/>
                  <a:gd name="T67" fmla="*/ 0 h 768"/>
                  <a:gd name="T68" fmla="*/ 16 w 205"/>
                  <a:gd name="T69" fmla="*/ 1 h 768"/>
                  <a:gd name="T70" fmla="*/ 21 w 205"/>
                  <a:gd name="T71" fmla="*/ 4 h 768"/>
                  <a:gd name="T72" fmla="*/ 24 w 205"/>
                  <a:gd name="T73" fmla="*/ 7 h 768"/>
                  <a:gd name="T74" fmla="*/ 44 w 205"/>
                  <a:gd name="T75" fmla="*/ 42 h 768"/>
                  <a:gd name="T76" fmla="*/ 62 w 205"/>
                  <a:gd name="T77" fmla="*/ 78 h 768"/>
                  <a:gd name="T78" fmla="*/ 80 w 205"/>
                  <a:gd name="T79" fmla="*/ 113 h 768"/>
                  <a:gd name="T80" fmla="*/ 95 w 205"/>
                  <a:gd name="T81" fmla="*/ 148 h 768"/>
                  <a:gd name="T82" fmla="*/ 110 w 205"/>
                  <a:gd name="T83" fmla="*/ 182 h 768"/>
                  <a:gd name="T84" fmla="*/ 123 w 205"/>
                  <a:gd name="T85" fmla="*/ 216 h 768"/>
                  <a:gd name="T86" fmla="*/ 135 w 205"/>
                  <a:gd name="T87" fmla="*/ 250 h 768"/>
                  <a:gd name="T88" fmla="*/ 144 w 205"/>
                  <a:gd name="T89" fmla="*/ 283 h 768"/>
                  <a:gd name="T90" fmla="*/ 154 w 205"/>
                  <a:gd name="T91" fmla="*/ 316 h 768"/>
                  <a:gd name="T92" fmla="*/ 163 w 205"/>
                  <a:gd name="T93" fmla="*/ 348 h 768"/>
                  <a:gd name="T94" fmla="*/ 170 w 205"/>
                  <a:gd name="T95" fmla="*/ 378 h 768"/>
                  <a:gd name="T96" fmla="*/ 177 w 205"/>
                  <a:gd name="T97" fmla="*/ 410 h 768"/>
                  <a:gd name="T98" fmla="*/ 183 w 205"/>
                  <a:gd name="T99" fmla="*/ 439 h 768"/>
                  <a:gd name="T100" fmla="*/ 188 w 205"/>
                  <a:gd name="T101" fmla="*/ 468 h 768"/>
                  <a:gd name="T102" fmla="*/ 192 w 205"/>
                  <a:gd name="T103" fmla="*/ 495 h 768"/>
                  <a:gd name="T104" fmla="*/ 195 w 205"/>
                  <a:gd name="T105" fmla="*/ 522 h 768"/>
                  <a:gd name="T106" fmla="*/ 200 w 205"/>
                  <a:gd name="T107" fmla="*/ 571 h 768"/>
                  <a:gd name="T108" fmla="*/ 204 w 205"/>
                  <a:gd name="T109" fmla="*/ 617 h 768"/>
                  <a:gd name="T110" fmla="*/ 205 w 205"/>
                  <a:gd name="T111" fmla="*/ 657 h 768"/>
                  <a:gd name="T112" fmla="*/ 205 w 205"/>
                  <a:gd name="T113" fmla="*/ 690 h 768"/>
                  <a:gd name="T114" fmla="*/ 203 w 205"/>
                  <a:gd name="T115" fmla="*/ 738 h 768"/>
                  <a:gd name="T116" fmla="*/ 202 w 205"/>
                  <a:gd name="T117" fmla="*/ 756 h 768"/>
                  <a:gd name="T118" fmla="*/ 199 w 205"/>
                  <a:gd name="T119" fmla="*/ 760 h 768"/>
                  <a:gd name="T120" fmla="*/ 197 w 205"/>
                  <a:gd name="T121" fmla="*/ 765 h 768"/>
                  <a:gd name="T122" fmla="*/ 193 w 205"/>
                  <a:gd name="T123" fmla="*/ 767 h 768"/>
                  <a:gd name="T124" fmla="*/ 188 w 205"/>
                  <a:gd name="T125" fmla="*/ 768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768">
                    <a:moveTo>
                      <a:pt x="188" y="768"/>
                    </a:moveTo>
                    <a:lnTo>
                      <a:pt x="188" y="768"/>
                    </a:lnTo>
                    <a:lnTo>
                      <a:pt x="186" y="768"/>
                    </a:lnTo>
                    <a:lnTo>
                      <a:pt x="181" y="766"/>
                    </a:lnTo>
                    <a:lnTo>
                      <a:pt x="178" y="762"/>
                    </a:lnTo>
                    <a:lnTo>
                      <a:pt x="175" y="758"/>
                    </a:lnTo>
                    <a:lnTo>
                      <a:pt x="175" y="753"/>
                    </a:lnTo>
                    <a:lnTo>
                      <a:pt x="176" y="736"/>
                    </a:lnTo>
                    <a:lnTo>
                      <a:pt x="178" y="689"/>
                    </a:lnTo>
                    <a:lnTo>
                      <a:pt x="178" y="656"/>
                    </a:lnTo>
                    <a:lnTo>
                      <a:pt x="177" y="617"/>
                    </a:lnTo>
                    <a:lnTo>
                      <a:pt x="173" y="573"/>
                    </a:lnTo>
                    <a:lnTo>
                      <a:pt x="168" y="524"/>
                    </a:lnTo>
                    <a:lnTo>
                      <a:pt x="165" y="498"/>
                    </a:lnTo>
                    <a:lnTo>
                      <a:pt x="161" y="471"/>
                    </a:lnTo>
                    <a:lnTo>
                      <a:pt x="156" y="443"/>
                    </a:lnTo>
                    <a:lnTo>
                      <a:pt x="151" y="414"/>
                    </a:lnTo>
                    <a:lnTo>
                      <a:pt x="144" y="384"/>
                    </a:lnTo>
                    <a:lnTo>
                      <a:pt x="137" y="353"/>
                    </a:lnTo>
                    <a:lnTo>
                      <a:pt x="128" y="322"/>
                    </a:lnTo>
                    <a:lnTo>
                      <a:pt x="118" y="291"/>
                    </a:lnTo>
                    <a:lnTo>
                      <a:pt x="109" y="258"/>
                    </a:lnTo>
                    <a:lnTo>
                      <a:pt x="97" y="225"/>
                    </a:lnTo>
                    <a:lnTo>
                      <a:pt x="84" y="191"/>
                    </a:lnTo>
                    <a:lnTo>
                      <a:pt x="70" y="158"/>
                    </a:lnTo>
                    <a:lnTo>
                      <a:pt x="55" y="125"/>
                    </a:lnTo>
                    <a:lnTo>
                      <a:pt x="38" y="90"/>
                    </a:lnTo>
                    <a:lnTo>
                      <a:pt x="20" y="55"/>
                    </a:lnTo>
                    <a:lnTo>
                      <a:pt x="1" y="21"/>
                    </a:lnTo>
                    <a:lnTo>
                      <a:pt x="0" y="15"/>
                    </a:lnTo>
                    <a:lnTo>
                      <a:pt x="0" y="10"/>
                    </a:lnTo>
                    <a:lnTo>
                      <a:pt x="2" y="6"/>
                    </a:lnTo>
                    <a:lnTo>
                      <a:pt x="6" y="3"/>
                    </a:lnTo>
                    <a:lnTo>
                      <a:pt x="11" y="0"/>
                    </a:lnTo>
                    <a:lnTo>
                      <a:pt x="16" y="1"/>
                    </a:lnTo>
                    <a:lnTo>
                      <a:pt x="21" y="4"/>
                    </a:lnTo>
                    <a:lnTo>
                      <a:pt x="24" y="7"/>
                    </a:lnTo>
                    <a:lnTo>
                      <a:pt x="44" y="42"/>
                    </a:lnTo>
                    <a:lnTo>
                      <a:pt x="62" y="78"/>
                    </a:lnTo>
                    <a:lnTo>
                      <a:pt x="80" y="113"/>
                    </a:lnTo>
                    <a:lnTo>
                      <a:pt x="95" y="148"/>
                    </a:lnTo>
                    <a:lnTo>
                      <a:pt x="110" y="182"/>
                    </a:lnTo>
                    <a:lnTo>
                      <a:pt x="123" y="216"/>
                    </a:lnTo>
                    <a:lnTo>
                      <a:pt x="135" y="250"/>
                    </a:lnTo>
                    <a:lnTo>
                      <a:pt x="144" y="283"/>
                    </a:lnTo>
                    <a:lnTo>
                      <a:pt x="154" y="316"/>
                    </a:lnTo>
                    <a:lnTo>
                      <a:pt x="163" y="348"/>
                    </a:lnTo>
                    <a:lnTo>
                      <a:pt x="170" y="378"/>
                    </a:lnTo>
                    <a:lnTo>
                      <a:pt x="177" y="410"/>
                    </a:lnTo>
                    <a:lnTo>
                      <a:pt x="183" y="439"/>
                    </a:lnTo>
                    <a:lnTo>
                      <a:pt x="188" y="468"/>
                    </a:lnTo>
                    <a:lnTo>
                      <a:pt x="192" y="495"/>
                    </a:lnTo>
                    <a:lnTo>
                      <a:pt x="195" y="522"/>
                    </a:lnTo>
                    <a:lnTo>
                      <a:pt x="200" y="571"/>
                    </a:lnTo>
                    <a:lnTo>
                      <a:pt x="204" y="617"/>
                    </a:lnTo>
                    <a:lnTo>
                      <a:pt x="205" y="657"/>
                    </a:lnTo>
                    <a:lnTo>
                      <a:pt x="205" y="690"/>
                    </a:lnTo>
                    <a:lnTo>
                      <a:pt x="203" y="738"/>
                    </a:lnTo>
                    <a:lnTo>
                      <a:pt x="202" y="756"/>
                    </a:lnTo>
                    <a:lnTo>
                      <a:pt x="199" y="760"/>
                    </a:lnTo>
                    <a:lnTo>
                      <a:pt x="197" y="765"/>
                    </a:lnTo>
                    <a:lnTo>
                      <a:pt x="193" y="767"/>
                    </a:lnTo>
                    <a:lnTo>
                      <a:pt x="188" y="7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84"/>
              <p:cNvSpPr>
                <a:spLocks noEditPoints="1"/>
              </p:cNvSpPr>
              <p:nvPr userDrawn="1"/>
            </p:nvSpPr>
            <p:spPr bwMode="auto">
              <a:xfrm>
                <a:off x="1552" y="1929"/>
                <a:ext cx="193" cy="300"/>
              </a:xfrm>
              <a:custGeom>
                <a:avLst/>
                <a:gdLst>
                  <a:gd name="T0" fmla="*/ 201 w 579"/>
                  <a:gd name="T1" fmla="*/ 898 h 900"/>
                  <a:gd name="T2" fmla="*/ 139 w 579"/>
                  <a:gd name="T3" fmla="*/ 875 h 900"/>
                  <a:gd name="T4" fmla="*/ 83 w 579"/>
                  <a:gd name="T5" fmla="*/ 826 h 900"/>
                  <a:gd name="T6" fmla="*/ 41 w 579"/>
                  <a:gd name="T7" fmla="*/ 757 h 900"/>
                  <a:gd name="T8" fmla="*/ 13 w 579"/>
                  <a:gd name="T9" fmla="*/ 669 h 900"/>
                  <a:gd name="T10" fmla="*/ 1 w 579"/>
                  <a:gd name="T11" fmla="*/ 569 h 900"/>
                  <a:gd name="T12" fmla="*/ 5 w 579"/>
                  <a:gd name="T13" fmla="*/ 459 h 900"/>
                  <a:gd name="T14" fmla="*/ 28 w 579"/>
                  <a:gd name="T15" fmla="*/ 350 h 900"/>
                  <a:gd name="T16" fmla="*/ 62 w 579"/>
                  <a:gd name="T17" fmla="*/ 254 h 900"/>
                  <a:gd name="T18" fmla="*/ 107 w 579"/>
                  <a:gd name="T19" fmla="*/ 169 h 900"/>
                  <a:gd name="T20" fmla="*/ 161 w 579"/>
                  <a:gd name="T21" fmla="*/ 99 h 900"/>
                  <a:gd name="T22" fmla="*/ 220 w 579"/>
                  <a:gd name="T23" fmla="*/ 46 h 900"/>
                  <a:gd name="T24" fmla="*/ 284 w 579"/>
                  <a:gd name="T25" fmla="*/ 12 h 900"/>
                  <a:gd name="T26" fmla="*/ 350 w 579"/>
                  <a:gd name="T27" fmla="*/ 0 h 900"/>
                  <a:gd name="T28" fmla="*/ 402 w 579"/>
                  <a:gd name="T29" fmla="*/ 7 h 900"/>
                  <a:gd name="T30" fmla="*/ 464 w 579"/>
                  <a:gd name="T31" fmla="*/ 42 h 900"/>
                  <a:gd name="T32" fmla="*/ 514 w 579"/>
                  <a:gd name="T33" fmla="*/ 100 h 900"/>
                  <a:gd name="T34" fmla="*/ 551 w 579"/>
                  <a:gd name="T35" fmla="*/ 177 h 900"/>
                  <a:gd name="T36" fmla="*/ 573 w 579"/>
                  <a:gd name="T37" fmla="*/ 270 h 900"/>
                  <a:gd name="T38" fmla="*/ 579 w 579"/>
                  <a:gd name="T39" fmla="*/ 374 h 900"/>
                  <a:gd name="T40" fmla="*/ 567 w 579"/>
                  <a:gd name="T41" fmla="*/ 487 h 900"/>
                  <a:gd name="T42" fmla="*/ 539 w 579"/>
                  <a:gd name="T43" fmla="*/ 590 h 900"/>
                  <a:gd name="T44" fmla="*/ 500 w 579"/>
                  <a:gd name="T45" fmla="*/ 682 h 900"/>
                  <a:gd name="T46" fmla="*/ 451 w 579"/>
                  <a:gd name="T47" fmla="*/ 761 h 900"/>
                  <a:gd name="T48" fmla="*/ 395 w 579"/>
                  <a:gd name="T49" fmla="*/ 825 h 900"/>
                  <a:gd name="T50" fmla="*/ 334 w 579"/>
                  <a:gd name="T51" fmla="*/ 870 h 900"/>
                  <a:gd name="T52" fmla="*/ 269 w 579"/>
                  <a:gd name="T53" fmla="*/ 896 h 900"/>
                  <a:gd name="T54" fmla="*/ 350 w 579"/>
                  <a:gd name="T55" fmla="*/ 27 h 900"/>
                  <a:gd name="T56" fmla="*/ 289 w 579"/>
                  <a:gd name="T57" fmla="*/ 39 h 900"/>
                  <a:gd name="T58" fmla="*/ 231 w 579"/>
                  <a:gd name="T59" fmla="*/ 70 h 900"/>
                  <a:gd name="T60" fmla="*/ 176 w 579"/>
                  <a:gd name="T61" fmla="*/ 121 h 900"/>
                  <a:gd name="T62" fmla="*/ 127 w 579"/>
                  <a:gd name="T63" fmla="*/ 187 h 900"/>
                  <a:gd name="T64" fmla="*/ 59 w 579"/>
                  <a:gd name="T65" fmla="*/ 339 h 900"/>
                  <a:gd name="T66" fmla="*/ 36 w 579"/>
                  <a:gd name="T67" fmla="*/ 439 h 900"/>
                  <a:gd name="T68" fmla="*/ 27 w 579"/>
                  <a:gd name="T69" fmla="*/ 544 h 900"/>
                  <a:gd name="T70" fmla="*/ 35 w 579"/>
                  <a:gd name="T71" fmla="*/ 640 h 900"/>
                  <a:gd name="T72" fmla="*/ 56 w 579"/>
                  <a:gd name="T73" fmla="*/ 724 h 900"/>
                  <a:gd name="T74" fmla="*/ 92 w 579"/>
                  <a:gd name="T75" fmla="*/ 793 h 900"/>
                  <a:gd name="T76" fmla="*/ 139 w 579"/>
                  <a:gd name="T77" fmla="*/ 843 h 900"/>
                  <a:gd name="T78" fmla="*/ 198 w 579"/>
                  <a:gd name="T79" fmla="*/ 870 h 900"/>
                  <a:gd name="T80" fmla="*/ 266 w 579"/>
                  <a:gd name="T81" fmla="*/ 869 h 900"/>
                  <a:gd name="T82" fmla="*/ 325 w 579"/>
                  <a:gd name="T83" fmla="*/ 845 h 900"/>
                  <a:gd name="T84" fmla="*/ 381 w 579"/>
                  <a:gd name="T85" fmla="*/ 802 h 900"/>
                  <a:gd name="T86" fmla="*/ 433 w 579"/>
                  <a:gd name="T87" fmla="*/ 741 h 900"/>
                  <a:gd name="T88" fmla="*/ 501 w 579"/>
                  <a:gd name="T89" fmla="*/ 616 h 900"/>
                  <a:gd name="T90" fmla="*/ 536 w 579"/>
                  <a:gd name="T91" fmla="*/ 504 h 900"/>
                  <a:gd name="T92" fmla="*/ 551 w 579"/>
                  <a:gd name="T93" fmla="*/ 397 h 900"/>
                  <a:gd name="T94" fmla="*/ 550 w 579"/>
                  <a:gd name="T95" fmla="*/ 298 h 900"/>
                  <a:gd name="T96" fmla="*/ 533 w 579"/>
                  <a:gd name="T97" fmla="*/ 208 h 900"/>
                  <a:gd name="T98" fmla="*/ 503 w 579"/>
                  <a:gd name="T99" fmla="*/ 133 h 900"/>
                  <a:gd name="T100" fmla="*/ 460 w 579"/>
                  <a:gd name="T101" fmla="*/ 74 h 900"/>
                  <a:gd name="T102" fmla="*/ 406 w 579"/>
                  <a:gd name="T103" fmla="*/ 39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9" h="900">
                    <a:moveTo>
                      <a:pt x="229" y="900"/>
                    </a:moveTo>
                    <a:lnTo>
                      <a:pt x="229" y="900"/>
                    </a:lnTo>
                    <a:lnTo>
                      <a:pt x="220" y="900"/>
                    </a:lnTo>
                    <a:lnTo>
                      <a:pt x="211" y="899"/>
                    </a:lnTo>
                    <a:lnTo>
                      <a:pt x="201" y="898"/>
                    </a:lnTo>
                    <a:lnTo>
                      <a:pt x="191" y="896"/>
                    </a:lnTo>
                    <a:lnTo>
                      <a:pt x="178" y="893"/>
                    </a:lnTo>
                    <a:lnTo>
                      <a:pt x="164" y="887"/>
                    </a:lnTo>
                    <a:lnTo>
                      <a:pt x="151" y="882"/>
                    </a:lnTo>
                    <a:lnTo>
                      <a:pt x="139" y="875"/>
                    </a:lnTo>
                    <a:lnTo>
                      <a:pt x="126" y="867"/>
                    </a:lnTo>
                    <a:lnTo>
                      <a:pt x="116" y="858"/>
                    </a:lnTo>
                    <a:lnTo>
                      <a:pt x="104" y="848"/>
                    </a:lnTo>
                    <a:lnTo>
                      <a:pt x="94" y="838"/>
                    </a:lnTo>
                    <a:lnTo>
                      <a:pt x="83" y="826"/>
                    </a:lnTo>
                    <a:lnTo>
                      <a:pt x="73" y="814"/>
                    </a:lnTo>
                    <a:lnTo>
                      <a:pt x="65" y="801"/>
                    </a:lnTo>
                    <a:lnTo>
                      <a:pt x="56" y="787"/>
                    </a:lnTo>
                    <a:lnTo>
                      <a:pt x="49" y="772"/>
                    </a:lnTo>
                    <a:lnTo>
                      <a:pt x="41" y="757"/>
                    </a:lnTo>
                    <a:lnTo>
                      <a:pt x="35" y="740"/>
                    </a:lnTo>
                    <a:lnTo>
                      <a:pt x="28" y="723"/>
                    </a:lnTo>
                    <a:lnTo>
                      <a:pt x="23" y="706"/>
                    </a:lnTo>
                    <a:lnTo>
                      <a:pt x="17" y="687"/>
                    </a:lnTo>
                    <a:lnTo>
                      <a:pt x="13" y="669"/>
                    </a:lnTo>
                    <a:lnTo>
                      <a:pt x="10" y="650"/>
                    </a:lnTo>
                    <a:lnTo>
                      <a:pt x="7" y="630"/>
                    </a:lnTo>
                    <a:lnTo>
                      <a:pt x="3" y="610"/>
                    </a:lnTo>
                    <a:lnTo>
                      <a:pt x="2" y="589"/>
                    </a:lnTo>
                    <a:lnTo>
                      <a:pt x="1" y="569"/>
                    </a:lnTo>
                    <a:lnTo>
                      <a:pt x="0" y="547"/>
                    </a:lnTo>
                    <a:lnTo>
                      <a:pt x="0" y="526"/>
                    </a:lnTo>
                    <a:lnTo>
                      <a:pt x="1" y="504"/>
                    </a:lnTo>
                    <a:lnTo>
                      <a:pt x="3" y="481"/>
                    </a:lnTo>
                    <a:lnTo>
                      <a:pt x="5" y="459"/>
                    </a:lnTo>
                    <a:lnTo>
                      <a:pt x="9" y="436"/>
                    </a:lnTo>
                    <a:lnTo>
                      <a:pt x="13" y="413"/>
                    </a:lnTo>
                    <a:lnTo>
                      <a:pt x="17" y="391"/>
                    </a:lnTo>
                    <a:lnTo>
                      <a:pt x="23" y="370"/>
                    </a:lnTo>
                    <a:lnTo>
                      <a:pt x="28" y="350"/>
                    </a:lnTo>
                    <a:lnTo>
                      <a:pt x="34" y="329"/>
                    </a:lnTo>
                    <a:lnTo>
                      <a:pt x="40" y="310"/>
                    </a:lnTo>
                    <a:lnTo>
                      <a:pt x="47" y="290"/>
                    </a:lnTo>
                    <a:lnTo>
                      <a:pt x="54" y="272"/>
                    </a:lnTo>
                    <a:lnTo>
                      <a:pt x="62" y="254"/>
                    </a:lnTo>
                    <a:lnTo>
                      <a:pt x="70" y="235"/>
                    </a:lnTo>
                    <a:lnTo>
                      <a:pt x="79" y="218"/>
                    </a:lnTo>
                    <a:lnTo>
                      <a:pt x="88" y="202"/>
                    </a:lnTo>
                    <a:lnTo>
                      <a:pt x="97" y="184"/>
                    </a:lnTo>
                    <a:lnTo>
                      <a:pt x="107" y="169"/>
                    </a:lnTo>
                    <a:lnTo>
                      <a:pt x="117" y="154"/>
                    </a:lnTo>
                    <a:lnTo>
                      <a:pt x="127" y="139"/>
                    </a:lnTo>
                    <a:lnTo>
                      <a:pt x="138" y="125"/>
                    </a:lnTo>
                    <a:lnTo>
                      <a:pt x="149" y="112"/>
                    </a:lnTo>
                    <a:lnTo>
                      <a:pt x="161" y="99"/>
                    </a:lnTo>
                    <a:lnTo>
                      <a:pt x="172" y="87"/>
                    </a:lnTo>
                    <a:lnTo>
                      <a:pt x="184" y="75"/>
                    </a:lnTo>
                    <a:lnTo>
                      <a:pt x="196" y="65"/>
                    </a:lnTo>
                    <a:lnTo>
                      <a:pt x="207" y="55"/>
                    </a:lnTo>
                    <a:lnTo>
                      <a:pt x="220" y="46"/>
                    </a:lnTo>
                    <a:lnTo>
                      <a:pt x="232" y="38"/>
                    </a:lnTo>
                    <a:lnTo>
                      <a:pt x="245" y="30"/>
                    </a:lnTo>
                    <a:lnTo>
                      <a:pt x="258" y="23"/>
                    </a:lnTo>
                    <a:lnTo>
                      <a:pt x="271" y="17"/>
                    </a:lnTo>
                    <a:lnTo>
                      <a:pt x="284" y="12"/>
                    </a:lnTo>
                    <a:lnTo>
                      <a:pt x="297" y="7"/>
                    </a:lnTo>
                    <a:lnTo>
                      <a:pt x="310" y="4"/>
                    </a:lnTo>
                    <a:lnTo>
                      <a:pt x="323" y="2"/>
                    </a:lnTo>
                    <a:lnTo>
                      <a:pt x="337" y="1"/>
                    </a:lnTo>
                    <a:lnTo>
                      <a:pt x="350" y="0"/>
                    </a:lnTo>
                    <a:lnTo>
                      <a:pt x="360" y="0"/>
                    </a:lnTo>
                    <a:lnTo>
                      <a:pt x="368" y="1"/>
                    </a:lnTo>
                    <a:lnTo>
                      <a:pt x="378" y="2"/>
                    </a:lnTo>
                    <a:lnTo>
                      <a:pt x="388" y="4"/>
                    </a:lnTo>
                    <a:lnTo>
                      <a:pt x="402" y="7"/>
                    </a:lnTo>
                    <a:lnTo>
                      <a:pt x="415" y="13"/>
                    </a:lnTo>
                    <a:lnTo>
                      <a:pt x="428" y="18"/>
                    </a:lnTo>
                    <a:lnTo>
                      <a:pt x="441" y="26"/>
                    </a:lnTo>
                    <a:lnTo>
                      <a:pt x="453" y="33"/>
                    </a:lnTo>
                    <a:lnTo>
                      <a:pt x="464" y="42"/>
                    </a:lnTo>
                    <a:lnTo>
                      <a:pt x="475" y="52"/>
                    </a:lnTo>
                    <a:lnTo>
                      <a:pt x="486" y="62"/>
                    </a:lnTo>
                    <a:lnTo>
                      <a:pt x="496" y="74"/>
                    </a:lnTo>
                    <a:lnTo>
                      <a:pt x="505" y="86"/>
                    </a:lnTo>
                    <a:lnTo>
                      <a:pt x="514" y="100"/>
                    </a:lnTo>
                    <a:lnTo>
                      <a:pt x="523" y="114"/>
                    </a:lnTo>
                    <a:lnTo>
                      <a:pt x="531" y="128"/>
                    </a:lnTo>
                    <a:lnTo>
                      <a:pt x="538" y="145"/>
                    </a:lnTo>
                    <a:lnTo>
                      <a:pt x="545" y="161"/>
                    </a:lnTo>
                    <a:lnTo>
                      <a:pt x="551" y="177"/>
                    </a:lnTo>
                    <a:lnTo>
                      <a:pt x="557" y="194"/>
                    </a:lnTo>
                    <a:lnTo>
                      <a:pt x="562" y="213"/>
                    </a:lnTo>
                    <a:lnTo>
                      <a:pt x="566" y="231"/>
                    </a:lnTo>
                    <a:lnTo>
                      <a:pt x="570" y="250"/>
                    </a:lnTo>
                    <a:lnTo>
                      <a:pt x="573" y="270"/>
                    </a:lnTo>
                    <a:lnTo>
                      <a:pt x="576" y="290"/>
                    </a:lnTo>
                    <a:lnTo>
                      <a:pt x="578" y="311"/>
                    </a:lnTo>
                    <a:lnTo>
                      <a:pt x="579" y="331"/>
                    </a:lnTo>
                    <a:lnTo>
                      <a:pt x="579" y="353"/>
                    </a:lnTo>
                    <a:lnTo>
                      <a:pt x="579" y="374"/>
                    </a:lnTo>
                    <a:lnTo>
                      <a:pt x="578" y="397"/>
                    </a:lnTo>
                    <a:lnTo>
                      <a:pt x="576" y="419"/>
                    </a:lnTo>
                    <a:lnTo>
                      <a:pt x="573" y="441"/>
                    </a:lnTo>
                    <a:lnTo>
                      <a:pt x="570" y="464"/>
                    </a:lnTo>
                    <a:lnTo>
                      <a:pt x="567" y="487"/>
                    </a:lnTo>
                    <a:lnTo>
                      <a:pt x="562" y="509"/>
                    </a:lnTo>
                    <a:lnTo>
                      <a:pt x="557" y="531"/>
                    </a:lnTo>
                    <a:lnTo>
                      <a:pt x="552" y="550"/>
                    </a:lnTo>
                    <a:lnTo>
                      <a:pt x="545" y="571"/>
                    </a:lnTo>
                    <a:lnTo>
                      <a:pt x="539" y="590"/>
                    </a:lnTo>
                    <a:lnTo>
                      <a:pt x="532" y="610"/>
                    </a:lnTo>
                    <a:lnTo>
                      <a:pt x="525" y="628"/>
                    </a:lnTo>
                    <a:lnTo>
                      <a:pt x="517" y="646"/>
                    </a:lnTo>
                    <a:lnTo>
                      <a:pt x="509" y="665"/>
                    </a:lnTo>
                    <a:lnTo>
                      <a:pt x="500" y="682"/>
                    </a:lnTo>
                    <a:lnTo>
                      <a:pt x="491" y="699"/>
                    </a:lnTo>
                    <a:lnTo>
                      <a:pt x="482" y="716"/>
                    </a:lnTo>
                    <a:lnTo>
                      <a:pt x="472" y="731"/>
                    </a:lnTo>
                    <a:lnTo>
                      <a:pt x="462" y="747"/>
                    </a:lnTo>
                    <a:lnTo>
                      <a:pt x="451" y="761"/>
                    </a:lnTo>
                    <a:lnTo>
                      <a:pt x="441" y="775"/>
                    </a:lnTo>
                    <a:lnTo>
                      <a:pt x="430" y="788"/>
                    </a:lnTo>
                    <a:lnTo>
                      <a:pt x="419" y="801"/>
                    </a:lnTo>
                    <a:lnTo>
                      <a:pt x="407" y="813"/>
                    </a:lnTo>
                    <a:lnTo>
                      <a:pt x="395" y="825"/>
                    </a:lnTo>
                    <a:lnTo>
                      <a:pt x="383" y="835"/>
                    </a:lnTo>
                    <a:lnTo>
                      <a:pt x="372" y="845"/>
                    </a:lnTo>
                    <a:lnTo>
                      <a:pt x="359" y="855"/>
                    </a:lnTo>
                    <a:lnTo>
                      <a:pt x="347" y="862"/>
                    </a:lnTo>
                    <a:lnTo>
                      <a:pt x="334" y="870"/>
                    </a:lnTo>
                    <a:lnTo>
                      <a:pt x="321" y="877"/>
                    </a:lnTo>
                    <a:lnTo>
                      <a:pt x="308" y="883"/>
                    </a:lnTo>
                    <a:lnTo>
                      <a:pt x="295" y="888"/>
                    </a:lnTo>
                    <a:lnTo>
                      <a:pt x="282" y="893"/>
                    </a:lnTo>
                    <a:lnTo>
                      <a:pt x="269" y="896"/>
                    </a:lnTo>
                    <a:lnTo>
                      <a:pt x="256" y="898"/>
                    </a:lnTo>
                    <a:lnTo>
                      <a:pt x="243" y="900"/>
                    </a:lnTo>
                    <a:lnTo>
                      <a:pt x="229" y="900"/>
                    </a:lnTo>
                    <a:close/>
                    <a:moveTo>
                      <a:pt x="350" y="27"/>
                    </a:moveTo>
                    <a:lnTo>
                      <a:pt x="350" y="27"/>
                    </a:lnTo>
                    <a:lnTo>
                      <a:pt x="338" y="28"/>
                    </a:lnTo>
                    <a:lnTo>
                      <a:pt x="326" y="29"/>
                    </a:lnTo>
                    <a:lnTo>
                      <a:pt x="313" y="31"/>
                    </a:lnTo>
                    <a:lnTo>
                      <a:pt x="301" y="34"/>
                    </a:lnTo>
                    <a:lnTo>
                      <a:pt x="289" y="39"/>
                    </a:lnTo>
                    <a:lnTo>
                      <a:pt x="278" y="43"/>
                    </a:lnTo>
                    <a:lnTo>
                      <a:pt x="266" y="48"/>
                    </a:lnTo>
                    <a:lnTo>
                      <a:pt x="255" y="55"/>
                    </a:lnTo>
                    <a:lnTo>
                      <a:pt x="243" y="62"/>
                    </a:lnTo>
                    <a:lnTo>
                      <a:pt x="231" y="70"/>
                    </a:lnTo>
                    <a:lnTo>
                      <a:pt x="220" y="79"/>
                    </a:lnTo>
                    <a:lnTo>
                      <a:pt x="208" y="88"/>
                    </a:lnTo>
                    <a:lnTo>
                      <a:pt x="198" y="98"/>
                    </a:lnTo>
                    <a:lnTo>
                      <a:pt x="187" y="109"/>
                    </a:lnTo>
                    <a:lnTo>
                      <a:pt x="176" y="121"/>
                    </a:lnTo>
                    <a:lnTo>
                      <a:pt x="166" y="133"/>
                    </a:lnTo>
                    <a:lnTo>
                      <a:pt x="156" y="146"/>
                    </a:lnTo>
                    <a:lnTo>
                      <a:pt x="146" y="159"/>
                    </a:lnTo>
                    <a:lnTo>
                      <a:pt x="136" y="173"/>
                    </a:lnTo>
                    <a:lnTo>
                      <a:pt x="127" y="187"/>
                    </a:lnTo>
                    <a:lnTo>
                      <a:pt x="109" y="217"/>
                    </a:lnTo>
                    <a:lnTo>
                      <a:pt x="93" y="250"/>
                    </a:lnTo>
                    <a:lnTo>
                      <a:pt x="78" y="284"/>
                    </a:lnTo>
                    <a:lnTo>
                      <a:pt x="65" y="320"/>
                    </a:lnTo>
                    <a:lnTo>
                      <a:pt x="59" y="339"/>
                    </a:lnTo>
                    <a:lnTo>
                      <a:pt x="53" y="357"/>
                    </a:lnTo>
                    <a:lnTo>
                      <a:pt x="49" y="377"/>
                    </a:lnTo>
                    <a:lnTo>
                      <a:pt x="44" y="396"/>
                    </a:lnTo>
                    <a:lnTo>
                      <a:pt x="39" y="418"/>
                    </a:lnTo>
                    <a:lnTo>
                      <a:pt x="36" y="439"/>
                    </a:lnTo>
                    <a:lnTo>
                      <a:pt x="32" y="461"/>
                    </a:lnTo>
                    <a:lnTo>
                      <a:pt x="30" y="481"/>
                    </a:lnTo>
                    <a:lnTo>
                      <a:pt x="28" y="503"/>
                    </a:lnTo>
                    <a:lnTo>
                      <a:pt x="27" y="523"/>
                    </a:lnTo>
                    <a:lnTo>
                      <a:pt x="27" y="544"/>
                    </a:lnTo>
                    <a:lnTo>
                      <a:pt x="27" y="563"/>
                    </a:lnTo>
                    <a:lnTo>
                      <a:pt x="28" y="583"/>
                    </a:lnTo>
                    <a:lnTo>
                      <a:pt x="29" y="602"/>
                    </a:lnTo>
                    <a:lnTo>
                      <a:pt x="31" y="622"/>
                    </a:lnTo>
                    <a:lnTo>
                      <a:pt x="35" y="640"/>
                    </a:lnTo>
                    <a:lnTo>
                      <a:pt x="38" y="657"/>
                    </a:lnTo>
                    <a:lnTo>
                      <a:pt x="41" y="676"/>
                    </a:lnTo>
                    <a:lnTo>
                      <a:pt x="45" y="692"/>
                    </a:lnTo>
                    <a:lnTo>
                      <a:pt x="51" y="708"/>
                    </a:lnTo>
                    <a:lnTo>
                      <a:pt x="56" y="724"/>
                    </a:lnTo>
                    <a:lnTo>
                      <a:pt x="63" y="739"/>
                    </a:lnTo>
                    <a:lnTo>
                      <a:pt x="69" y="754"/>
                    </a:lnTo>
                    <a:lnTo>
                      <a:pt x="76" y="767"/>
                    </a:lnTo>
                    <a:lnTo>
                      <a:pt x="83" y="781"/>
                    </a:lnTo>
                    <a:lnTo>
                      <a:pt x="92" y="793"/>
                    </a:lnTo>
                    <a:lnTo>
                      <a:pt x="100" y="805"/>
                    </a:lnTo>
                    <a:lnTo>
                      <a:pt x="109" y="816"/>
                    </a:lnTo>
                    <a:lnTo>
                      <a:pt x="119" y="826"/>
                    </a:lnTo>
                    <a:lnTo>
                      <a:pt x="129" y="834"/>
                    </a:lnTo>
                    <a:lnTo>
                      <a:pt x="139" y="843"/>
                    </a:lnTo>
                    <a:lnTo>
                      <a:pt x="150" y="850"/>
                    </a:lnTo>
                    <a:lnTo>
                      <a:pt x="161" y="857"/>
                    </a:lnTo>
                    <a:lnTo>
                      <a:pt x="173" y="862"/>
                    </a:lnTo>
                    <a:lnTo>
                      <a:pt x="185" y="867"/>
                    </a:lnTo>
                    <a:lnTo>
                      <a:pt x="198" y="870"/>
                    </a:lnTo>
                    <a:lnTo>
                      <a:pt x="214" y="872"/>
                    </a:lnTo>
                    <a:lnTo>
                      <a:pt x="229" y="873"/>
                    </a:lnTo>
                    <a:lnTo>
                      <a:pt x="242" y="873"/>
                    </a:lnTo>
                    <a:lnTo>
                      <a:pt x="254" y="871"/>
                    </a:lnTo>
                    <a:lnTo>
                      <a:pt x="266" y="869"/>
                    </a:lnTo>
                    <a:lnTo>
                      <a:pt x="278" y="866"/>
                    </a:lnTo>
                    <a:lnTo>
                      <a:pt x="289" y="862"/>
                    </a:lnTo>
                    <a:lnTo>
                      <a:pt x="301" y="857"/>
                    </a:lnTo>
                    <a:lnTo>
                      <a:pt x="313" y="852"/>
                    </a:lnTo>
                    <a:lnTo>
                      <a:pt x="325" y="845"/>
                    </a:lnTo>
                    <a:lnTo>
                      <a:pt x="337" y="838"/>
                    </a:lnTo>
                    <a:lnTo>
                      <a:pt x="348" y="830"/>
                    </a:lnTo>
                    <a:lnTo>
                      <a:pt x="360" y="821"/>
                    </a:lnTo>
                    <a:lnTo>
                      <a:pt x="370" y="812"/>
                    </a:lnTo>
                    <a:lnTo>
                      <a:pt x="381" y="802"/>
                    </a:lnTo>
                    <a:lnTo>
                      <a:pt x="392" y="791"/>
                    </a:lnTo>
                    <a:lnTo>
                      <a:pt x="403" y="779"/>
                    </a:lnTo>
                    <a:lnTo>
                      <a:pt x="414" y="767"/>
                    </a:lnTo>
                    <a:lnTo>
                      <a:pt x="423" y="754"/>
                    </a:lnTo>
                    <a:lnTo>
                      <a:pt x="433" y="741"/>
                    </a:lnTo>
                    <a:lnTo>
                      <a:pt x="443" y="727"/>
                    </a:lnTo>
                    <a:lnTo>
                      <a:pt x="453" y="713"/>
                    </a:lnTo>
                    <a:lnTo>
                      <a:pt x="470" y="683"/>
                    </a:lnTo>
                    <a:lnTo>
                      <a:pt x="486" y="651"/>
                    </a:lnTo>
                    <a:lnTo>
                      <a:pt x="501" y="616"/>
                    </a:lnTo>
                    <a:lnTo>
                      <a:pt x="514" y="581"/>
                    </a:lnTo>
                    <a:lnTo>
                      <a:pt x="521" y="562"/>
                    </a:lnTo>
                    <a:lnTo>
                      <a:pt x="526" y="543"/>
                    </a:lnTo>
                    <a:lnTo>
                      <a:pt x="531" y="523"/>
                    </a:lnTo>
                    <a:lnTo>
                      <a:pt x="536" y="504"/>
                    </a:lnTo>
                    <a:lnTo>
                      <a:pt x="540" y="482"/>
                    </a:lnTo>
                    <a:lnTo>
                      <a:pt x="543" y="461"/>
                    </a:lnTo>
                    <a:lnTo>
                      <a:pt x="546" y="439"/>
                    </a:lnTo>
                    <a:lnTo>
                      <a:pt x="549" y="419"/>
                    </a:lnTo>
                    <a:lnTo>
                      <a:pt x="551" y="397"/>
                    </a:lnTo>
                    <a:lnTo>
                      <a:pt x="552" y="377"/>
                    </a:lnTo>
                    <a:lnTo>
                      <a:pt x="552" y="357"/>
                    </a:lnTo>
                    <a:lnTo>
                      <a:pt x="552" y="337"/>
                    </a:lnTo>
                    <a:lnTo>
                      <a:pt x="551" y="317"/>
                    </a:lnTo>
                    <a:lnTo>
                      <a:pt x="550" y="298"/>
                    </a:lnTo>
                    <a:lnTo>
                      <a:pt x="548" y="278"/>
                    </a:lnTo>
                    <a:lnTo>
                      <a:pt x="545" y="260"/>
                    </a:lnTo>
                    <a:lnTo>
                      <a:pt x="542" y="243"/>
                    </a:lnTo>
                    <a:lnTo>
                      <a:pt x="538" y="225"/>
                    </a:lnTo>
                    <a:lnTo>
                      <a:pt x="533" y="208"/>
                    </a:lnTo>
                    <a:lnTo>
                      <a:pt x="528" y="192"/>
                    </a:lnTo>
                    <a:lnTo>
                      <a:pt x="523" y="176"/>
                    </a:lnTo>
                    <a:lnTo>
                      <a:pt x="517" y="161"/>
                    </a:lnTo>
                    <a:lnTo>
                      <a:pt x="511" y="147"/>
                    </a:lnTo>
                    <a:lnTo>
                      <a:pt x="503" y="133"/>
                    </a:lnTo>
                    <a:lnTo>
                      <a:pt x="496" y="120"/>
                    </a:lnTo>
                    <a:lnTo>
                      <a:pt x="488" y="107"/>
                    </a:lnTo>
                    <a:lnTo>
                      <a:pt x="480" y="95"/>
                    </a:lnTo>
                    <a:lnTo>
                      <a:pt x="470" y="84"/>
                    </a:lnTo>
                    <a:lnTo>
                      <a:pt x="460" y="74"/>
                    </a:lnTo>
                    <a:lnTo>
                      <a:pt x="450" y="66"/>
                    </a:lnTo>
                    <a:lnTo>
                      <a:pt x="441" y="57"/>
                    </a:lnTo>
                    <a:lnTo>
                      <a:pt x="430" y="50"/>
                    </a:lnTo>
                    <a:lnTo>
                      <a:pt x="418" y="44"/>
                    </a:lnTo>
                    <a:lnTo>
                      <a:pt x="406" y="39"/>
                    </a:lnTo>
                    <a:lnTo>
                      <a:pt x="394" y="34"/>
                    </a:lnTo>
                    <a:lnTo>
                      <a:pt x="381" y="30"/>
                    </a:lnTo>
                    <a:lnTo>
                      <a:pt x="366" y="28"/>
                    </a:lnTo>
                    <a:lnTo>
                      <a:pt x="3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5"/>
              <p:cNvSpPr>
                <a:spLocks noEditPoints="1"/>
              </p:cNvSpPr>
              <p:nvPr userDrawn="1"/>
            </p:nvSpPr>
            <p:spPr bwMode="auto">
              <a:xfrm>
                <a:off x="1603" y="2010"/>
                <a:ext cx="91" cy="138"/>
              </a:xfrm>
              <a:custGeom>
                <a:avLst/>
                <a:gdLst>
                  <a:gd name="T0" fmla="*/ 101 w 273"/>
                  <a:gd name="T1" fmla="*/ 414 h 415"/>
                  <a:gd name="T2" fmla="*/ 66 w 273"/>
                  <a:gd name="T3" fmla="*/ 403 h 415"/>
                  <a:gd name="T4" fmla="*/ 35 w 273"/>
                  <a:gd name="T5" fmla="*/ 374 h 415"/>
                  <a:gd name="T6" fmla="*/ 12 w 273"/>
                  <a:gd name="T7" fmla="*/ 330 h 415"/>
                  <a:gd name="T8" fmla="*/ 1 w 273"/>
                  <a:gd name="T9" fmla="*/ 277 h 415"/>
                  <a:gd name="T10" fmla="*/ 1 w 273"/>
                  <a:gd name="T11" fmla="*/ 219 h 415"/>
                  <a:gd name="T12" fmla="*/ 13 w 273"/>
                  <a:gd name="T13" fmla="*/ 160 h 415"/>
                  <a:gd name="T14" fmla="*/ 33 w 273"/>
                  <a:gd name="T15" fmla="*/ 107 h 415"/>
                  <a:gd name="T16" fmla="*/ 59 w 273"/>
                  <a:gd name="T17" fmla="*/ 62 h 415"/>
                  <a:gd name="T18" fmla="*/ 91 w 273"/>
                  <a:gd name="T19" fmla="*/ 29 h 415"/>
                  <a:gd name="T20" fmla="*/ 126 w 273"/>
                  <a:gd name="T21" fmla="*/ 7 h 415"/>
                  <a:gd name="T22" fmla="*/ 163 w 273"/>
                  <a:gd name="T23" fmla="*/ 0 h 415"/>
                  <a:gd name="T24" fmla="*/ 195 w 273"/>
                  <a:gd name="T25" fmla="*/ 5 h 415"/>
                  <a:gd name="T26" fmla="*/ 229 w 273"/>
                  <a:gd name="T27" fmla="*/ 28 h 415"/>
                  <a:gd name="T28" fmla="*/ 254 w 273"/>
                  <a:gd name="T29" fmla="*/ 66 h 415"/>
                  <a:gd name="T30" fmla="*/ 269 w 273"/>
                  <a:gd name="T31" fmla="*/ 115 h 415"/>
                  <a:gd name="T32" fmla="*/ 273 w 273"/>
                  <a:gd name="T33" fmla="*/ 172 h 415"/>
                  <a:gd name="T34" fmla="*/ 265 w 273"/>
                  <a:gd name="T35" fmla="*/ 235 h 415"/>
                  <a:gd name="T36" fmla="*/ 248 w 273"/>
                  <a:gd name="T37" fmla="*/ 290 h 415"/>
                  <a:gd name="T38" fmla="*/ 224 w 273"/>
                  <a:gd name="T39" fmla="*/ 338 h 415"/>
                  <a:gd name="T40" fmla="*/ 194 w 273"/>
                  <a:gd name="T41" fmla="*/ 375 h 415"/>
                  <a:gd name="T42" fmla="*/ 159 w 273"/>
                  <a:gd name="T43" fmla="*/ 401 h 415"/>
                  <a:gd name="T44" fmla="*/ 122 w 273"/>
                  <a:gd name="T45" fmla="*/ 414 h 415"/>
                  <a:gd name="T46" fmla="*/ 163 w 273"/>
                  <a:gd name="T47" fmla="*/ 27 h 415"/>
                  <a:gd name="T48" fmla="*/ 133 w 273"/>
                  <a:gd name="T49" fmla="*/ 33 h 415"/>
                  <a:gd name="T50" fmla="*/ 104 w 273"/>
                  <a:gd name="T51" fmla="*/ 53 h 415"/>
                  <a:gd name="T52" fmla="*/ 78 w 273"/>
                  <a:gd name="T53" fmla="*/ 83 h 415"/>
                  <a:gd name="T54" fmla="*/ 55 w 273"/>
                  <a:gd name="T55" fmla="*/ 122 h 415"/>
                  <a:gd name="T56" fmla="*/ 38 w 273"/>
                  <a:gd name="T57" fmla="*/ 168 h 415"/>
                  <a:gd name="T58" fmla="*/ 28 w 273"/>
                  <a:gd name="T59" fmla="*/ 221 h 415"/>
                  <a:gd name="T60" fmla="*/ 28 w 273"/>
                  <a:gd name="T61" fmla="*/ 274 h 415"/>
                  <a:gd name="T62" fmla="*/ 38 w 273"/>
                  <a:gd name="T63" fmla="*/ 321 h 415"/>
                  <a:gd name="T64" fmla="*/ 55 w 273"/>
                  <a:gd name="T65" fmla="*/ 356 h 415"/>
                  <a:gd name="T66" fmla="*/ 79 w 273"/>
                  <a:gd name="T67" fmla="*/ 379 h 415"/>
                  <a:gd name="T68" fmla="*/ 107 w 273"/>
                  <a:gd name="T69" fmla="*/ 388 h 415"/>
                  <a:gd name="T70" fmla="*/ 140 w 273"/>
                  <a:gd name="T71" fmla="*/ 381 h 415"/>
                  <a:gd name="T72" fmla="*/ 171 w 273"/>
                  <a:gd name="T73" fmla="*/ 359 h 415"/>
                  <a:gd name="T74" fmla="*/ 199 w 273"/>
                  <a:gd name="T75" fmla="*/ 326 h 415"/>
                  <a:gd name="T76" fmla="*/ 223 w 273"/>
                  <a:gd name="T77" fmla="*/ 281 h 415"/>
                  <a:gd name="T78" fmla="*/ 239 w 273"/>
                  <a:gd name="T79" fmla="*/ 230 h 415"/>
                  <a:gd name="T80" fmla="*/ 246 w 273"/>
                  <a:gd name="T81" fmla="*/ 176 h 415"/>
                  <a:gd name="T82" fmla="*/ 243 w 273"/>
                  <a:gd name="T83" fmla="*/ 126 h 415"/>
                  <a:gd name="T84" fmla="*/ 231 w 273"/>
                  <a:gd name="T85" fmla="*/ 83 h 415"/>
                  <a:gd name="T86" fmla="*/ 212 w 273"/>
                  <a:gd name="T87" fmla="*/ 50 h 415"/>
                  <a:gd name="T88" fmla="*/ 186 w 273"/>
                  <a:gd name="T89" fmla="*/ 31 h 415"/>
                  <a:gd name="T90" fmla="*/ 163 w 273"/>
                  <a:gd name="T9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415">
                    <a:moveTo>
                      <a:pt x="109" y="415"/>
                    </a:moveTo>
                    <a:lnTo>
                      <a:pt x="109" y="415"/>
                    </a:lnTo>
                    <a:lnTo>
                      <a:pt x="101" y="414"/>
                    </a:lnTo>
                    <a:lnTo>
                      <a:pt x="91" y="413"/>
                    </a:lnTo>
                    <a:lnTo>
                      <a:pt x="78" y="409"/>
                    </a:lnTo>
                    <a:lnTo>
                      <a:pt x="66" y="403"/>
                    </a:lnTo>
                    <a:lnTo>
                      <a:pt x="54" y="395"/>
                    </a:lnTo>
                    <a:lnTo>
                      <a:pt x="45" y="385"/>
                    </a:lnTo>
                    <a:lnTo>
                      <a:pt x="35" y="374"/>
                    </a:lnTo>
                    <a:lnTo>
                      <a:pt x="26" y="361"/>
                    </a:lnTo>
                    <a:lnTo>
                      <a:pt x="19" y="346"/>
                    </a:lnTo>
                    <a:lnTo>
                      <a:pt x="12" y="330"/>
                    </a:lnTo>
                    <a:lnTo>
                      <a:pt x="8" y="313"/>
                    </a:lnTo>
                    <a:lnTo>
                      <a:pt x="4" y="296"/>
                    </a:lnTo>
                    <a:lnTo>
                      <a:pt x="1" y="277"/>
                    </a:lnTo>
                    <a:lnTo>
                      <a:pt x="0" y="258"/>
                    </a:lnTo>
                    <a:lnTo>
                      <a:pt x="0" y="238"/>
                    </a:lnTo>
                    <a:lnTo>
                      <a:pt x="1" y="219"/>
                    </a:lnTo>
                    <a:lnTo>
                      <a:pt x="5" y="199"/>
                    </a:lnTo>
                    <a:lnTo>
                      <a:pt x="8" y="179"/>
                    </a:lnTo>
                    <a:lnTo>
                      <a:pt x="13" y="160"/>
                    </a:lnTo>
                    <a:lnTo>
                      <a:pt x="19" y="141"/>
                    </a:lnTo>
                    <a:lnTo>
                      <a:pt x="25" y="124"/>
                    </a:lnTo>
                    <a:lnTo>
                      <a:pt x="33" y="107"/>
                    </a:lnTo>
                    <a:lnTo>
                      <a:pt x="40" y="92"/>
                    </a:lnTo>
                    <a:lnTo>
                      <a:pt x="50" y="76"/>
                    </a:lnTo>
                    <a:lnTo>
                      <a:pt x="59" y="62"/>
                    </a:lnTo>
                    <a:lnTo>
                      <a:pt x="70" y="50"/>
                    </a:lnTo>
                    <a:lnTo>
                      <a:pt x="79" y="39"/>
                    </a:lnTo>
                    <a:lnTo>
                      <a:pt x="91" y="29"/>
                    </a:lnTo>
                    <a:lnTo>
                      <a:pt x="102" y="20"/>
                    </a:lnTo>
                    <a:lnTo>
                      <a:pt x="114" y="13"/>
                    </a:lnTo>
                    <a:lnTo>
                      <a:pt x="126" y="7"/>
                    </a:lnTo>
                    <a:lnTo>
                      <a:pt x="139" y="3"/>
                    </a:lnTo>
                    <a:lnTo>
                      <a:pt x="150" y="0"/>
                    </a:lnTo>
                    <a:lnTo>
                      <a:pt x="163" y="0"/>
                    </a:lnTo>
                    <a:lnTo>
                      <a:pt x="173" y="0"/>
                    </a:lnTo>
                    <a:lnTo>
                      <a:pt x="182" y="1"/>
                    </a:lnTo>
                    <a:lnTo>
                      <a:pt x="195" y="5"/>
                    </a:lnTo>
                    <a:lnTo>
                      <a:pt x="207" y="12"/>
                    </a:lnTo>
                    <a:lnTo>
                      <a:pt x="219" y="19"/>
                    </a:lnTo>
                    <a:lnTo>
                      <a:pt x="229" y="28"/>
                    </a:lnTo>
                    <a:lnTo>
                      <a:pt x="238" y="40"/>
                    </a:lnTo>
                    <a:lnTo>
                      <a:pt x="247" y="52"/>
                    </a:lnTo>
                    <a:lnTo>
                      <a:pt x="254" y="66"/>
                    </a:lnTo>
                    <a:lnTo>
                      <a:pt x="260" y="81"/>
                    </a:lnTo>
                    <a:lnTo>
                      <a:pt x="265" y="97"/>
                    </a:lnTo>
                    <a:lnTo>
                      <a:pt x="269" y="115"/>
                    </a:lnTo>
                    <a:lnTo>
                      <a:pt x="271" y="134"/>
                    </a:lnTo>
                    <a:lnTo>
                      <a:pt x="273" y="152"/>
                    </a:lnTo>
                    <a:lnTo>
                      <a:pt x="273" y="172"/>
                    </a:lnTo>
                    <a:lnTo>
                      <a:pt x="271" y="193"/>
                    </a:lnTo>
                    <a:lnTo>
                      <a:pt x="269" y="213"/>
                    </a:lnTo>
                    <a:lnTo>
                      <a:pt x="265" y="235"/>
                    </a:lnTo>
                    <a:lnTo>
                      <a:pt x="261" y="255"/>
                    </a:lnTo>
                    <a:lnTo>
                      <a:pt x="254" y="273"/>
                    </a:lnTo>
                    <a:lnTo>
                      <a:pt x="248" y="290"/>
                    </a:lnTo>
                    <a:lnTo>
                      <a:pt x="241" y="307"/>
                    </a:lnTo>
                    <a:lnTo>
                      <a:pt x="233" y="324"/>
                    </a:lnTo>
                    <a:lnTo>
                      <a:pt x="224" y="338"/>
                    </a:lnTo>
                    <a:lnTo>
                      <a:pt x="214" y="352"/>
                    </a:lnTo>
                    <a:lnTo>
                      <a:pt x="204" y="365"/>
                    </a:lnTo>
                    <a:lnTo>
                      <a:pt x="194" y="375"/>
                    </a:lnTo>
                    <a:lnTo>
                      <a:pt x="183" y="385"/>
                    </a:lnTo>
                    <a:lnTo>
                      <a:pt x="171" y="394"/>
                    </a:lnTo>
                    <a:lnTo>
                      <a:pt x="159" y="401"/>
                    </a:lnTo>
                    <a:lnTo>
                      <a:pt x="147" y="408"/>
                    </a:lnTo>
                    <a:lnTo>
                      <a:pt x="135" y="411"/>
                    </a:lnTo>
                    <a:lnTo>
                      <a:pt x="122" y="414"/>
                    </a:lnTo>
                    <a:lnTo>
                      <a:pt x="109" y="415"/>
                    </a:lnTo>
                    <a:close/>
                    <a:moveTo>
                      <a:pt x="163" y="27"/>
                    </a:moveTo>
                    <a:lnTo>
                      <a:pt x="163" y="27"/>
                    </a:lnTo>
                    <a:lnTo>
                      <a:pt x="154" y="27"/>
                    </a:lnTo>
                    <a:lnTo>
                      <a:pt x="143" y="29"/>
                    </a:lnTo>
                    <a:lnTo>
                      <a:pt x="133" y="33"/>
                    </a:lnTo>
                    <a:lnTo>
                      <a:pt x="124" y="39"/>
                    </a:lnTo>
                    <a:lnTo>
                      <a:pt x="114" y="45"/>
                    </a:lnTo>
                    <a:lnTo>
                      <a:pt x="104" y="53"/>
                    </a:lnTo>
                    <a:lnTo>
                      <a:pt x="95" y="61"/>
                    </a:lnTo>
                    <a:lnTo>
                      <a:pt x="87" y="72"/>
                    </a:lnTo>
                    <a:lnTo>
                      <a:pt x="78" y="83"/>
                    </a:lnTo>
                    <a:lnTo>
                      <a:pt x="70" y="95"/>
                    </a:lnTo>
                    <a:lnTo>
                      <a:pt x="62" y="108"/>
                    </a:lnTo>
                    <a:lnTo>
                      <a:pt x="55" y="122"/>
                    </a:lnTo>
                    <a:lnTo>
                      <a:pt x="49" y="137"/>
                    </a:lnTo>
                    <a:lnTo>
                      <a:pt x="44" y="152"/>
                    </a:lnTo>
                    <a:lnTo>
                      <a:pt x="38" y="168"/>
                    </a:lnTo>
                    <a:lnTo>
                      <a:pt x="35" y="184"/>
                    </a:lnTo>
                    <a:lnTo>
                      <a:pt x="31" y="203"/>
                    </a:lnTo>
                    <a:lnTo>
                      <a:pt x="28" y="221"/>
                    </a:lnTo>
                    <a:lnTo>
                      <a:pt x="27" y="239"/>
                    </a:lnTo>
                    <a:lnTo>
                      <a:pt x="27" y="257"/>
                    </a:lnTo>
                    <a:lnTo>
                      <a:pt x="28" y="274"/>
                    </a:lnTo>
                    <a:lnTo>
                      <a:pt x="31" y="290"/>
                    </a:lnTo>
                    <a:lnTo>
                      <a:pt x="34" y="306"/>
                    </a:lnTo>
                    <a:lnTo>
                      <a:pt x="38" y="321"/>
                    </a:lnTo>
                    <a:lnTo>
                      <a:pt x="43" y="334"/>
                    </a:lnTo>
                    <a:lnTo>
                      <a:pt x="49" y="346"/>
                    </a:lnTo>
                    <a:lnTo>
                      <a:pt x="55" y="356"/>
                    </a:lnTo>
                    <a:lnTo>
                      <a:pt x="62" y="366"/>
                    </a:lnTo>
                    <a:lnTo>
                      <a:pt x="71" y="373"/>
                    </a:lnTo>
                    <a:lnTo>
                      <a:pt x="79" y="379"/>
                    </a:lnTo>
                    <a:lnTo>
                      <a:pt x="88" y="384"/>
                    </a:lnTo>
                    <a:lnTo>
                      <a:pt x="98" y="386"/>
                    </a:lnTo>
                    <a:lnTo>
                      <a:pt x="107" y="388"/>
                    </a:lnTo>
                    <a:lnTo>
                      <a:pt x="118" y="387"/>
                    </a:lnTo>
                    <a:lnTo>
                      <a:pt x="129" y="385"/>
                    </a:lnTo>
                    <a:lnTo>
                      <a:pt x="140" y="381"/>
                    </a:lnTo>
                    <a:lnTo>
                      <a:pt x="150" y="375"/>
                    </a:lnTo>
                    <a:lnTo>
                      <a:pt x="161" y="368"/>
                    </a:lnTo>
                    <a:lnTo>
                      <a:pt x="171" y="359"/>
                    </a:lnTo>
                    <a:lnTo>
                      <a:pt x="181" y="350"/>
                    </a:lnTo>
                    <a:lnTo>
                      <a:pt x="190" y="338"/>
                    </a:lnTo>
                    <a:lnTo>
                      <a:pt x="199" y="326"/>
                    </a:lnTo>
                    <a:lnTo>
                      <a:pt x="208" y="312"/>
                    </a:lnTo>
                    <a:lnTo>
                      <a:pt x="215" y="297"/>
                    </a:lnTo>
                    <a:lnTo>
                      <a:pt x="223" y="281"/>
                    </a:lnTo>
                    <a:lnTo>
                      <a:pt x="229" y="265"/>
                    </a:lnTo>
                    <a:lnTo>
                      <a:pt x="235" y="248"/>
                    </a:lnTo>
                    <a:lnTo>
                      <a:pt x="239" y="230"/>
                    </a:lnTo>
                    <a:lnTo>
                      <a:pt x="242" y="211"/>
                    </a:lnTo>
                    <a:lnTo>
                      <a:pt x="244" y="193"/>
                    </a:lnTo>
                    <a:lnTo>
                      <a:pt x="246" y="176"/>
                    </a:lnTo>
                    <a:lnTo>
                      <a:pt x="246" y="158"/>
                    </a:lnTo>
                    <a:lnTo>
                      <a:pt x="244" y="142"/>
                    </a:lnTo>
                    <a:lnTo>
                      <a:pt x="243" y="126"/>
                    </a:lnTo>
                    <a:lnTo>
                      <a:pt x="240" y="111"/>
                    </a:lnTo>
                    <a:lnTo>
                      <a:pt x="236" y="97"/>
                    </a:lnTo>
                    <a:lnTo>
                      <a:pt x="231" y="83"/>
                    </a:lnTo>
                    <a:lnTo>
                      <a:pt x="226" y="71"/>
                    </a:lnTo>
                    <a:lnTo>
                      <a:pt x="220" y="60"/>
                    </a:lnTo>
                    <a:lnTo>
                      <a:pt x="212" y="50"/>
                    </a:lnTo>
                    <a:lnTo>
                      <a:pt x="204" y="43"/>
                    </a:lnTo>
                    <a:lnTo>
                      <a:pt x="196" y="35"/>
                    </a:lnTo>
                    <a:lnTo>
                      <a:pt x="186" y="31"/>
                    </a:lnTo>
                    <a:lnTo>
                      <a:pt x="176" y="28"/>
                    </a:lnTo>
                    <a:lnTo>
                      <a:pt x="170" y="27"/>
                    </a:lnTo>
                    <a:lnTo>
                      <a:pt x="16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86"/>
              <p:cNvSpPr>
                <a:spLocks/>
              </p:cNvSpPr>
              <p:nvPr userDrawn="1"/>
            </p:nvSpPr>
            <p:spPr bwMode="auto">
              <a:xfrm>
                <a:off x="2435" y="2581"/>
                <a:ext cx="87" cy="565"/>
              </a:xfrm>
              <a:custGeom>
                <a:avLst/>
                <a:gdLst>
                  <a:gd name="T0" fmla="*/ 49 w 260"/>
                  <a:gd name="T1" fmla="*/ 1696 h 1697"/>
                  <a:gd name="T2" fmla="*/ 42 w 260"/>
                  <a:gd name="T3" fmla="*/ 1690 h 1697"/>
                  <a:gd name="T4" fmla="*/ 31 w 260"/>
                  <a:gd name="T5" fmla="*/ 1637 h 1697"/>
                  <a:gd name="T6" fmla="*/ 18 w 260"/>
                  <a:gd name="T7" fmla="*/ 1540 h 1697"/>
                  <a:gd name="T8" fmla="*/ 9 w 260"/>
                  <a:gd name="T9" fmla="*/ 1441 h 1697"/>
                  <a:gd name="T10" fmla="*/ 2 w 260"/>
                  <a:gd name="T11" fmla="*/ 1339 h 1697"/>
                  <a:gd name="T12" fmla="*/ 0 w 260"/>
                  <a:gd name="T13" fmla="*/ 1236 h 1697"/>
                  <a:gd name="T14" fmla="*/ 1 w 260"/>
                  <a:gd name="T15" fmla="*/ 1132 h 1697"/>
                  <a:gd name="T16" fmla="*/ 6 w 260"/>
                  <a:gd name="T17" fmla="*/ 1026 h 1697"/>
                  <a:gd name="T18" fmla="*/ 15 w 260"/>
                  <a:gd name="T19" fmla="*/ 920 h 1697"/>
                  <a:gd name="T20" fmla="*/ 27 w 260"/>
                  <a:gd name="T21" fmla="*/ 813 h 1697"/>
                  <a:gd name="T22" fmla="*/ 43 w 260"/>
                  <a:gd name="T23" fmla="*/ 705 h 1697"/>
                  <a:gd name="T24" fmla="*/ 63 w 260"/>
                  <a:gd name="T25" fmla="*/ 597 h 1697"/>
                  <a:gd name="T26" fmla="*/ 86 w 260"/>
                  <a:gd name="T27" fmla="*/ 489 h 1697"/>
                  <a:gd name="T28" fmla="*/ 113 w 260"/>
                  <a:gd name="T29" fmla="*/ 381 h 1697"/>
                  <a:gd name="T30" fmla="*/ 144 w 260"/>
                  <a:gd name="T31" fmla="*/ 274 h 1697"/>
                  <a:gd name="T32" fmla="*/ 177 w 260"/>
                  <a:gd name="T33" fmla="*/ 167 h 1697"/>
                  <a:gd name="T34" fmla="*/ 214 w 260"/>
                  <a:gd name="T35" fmla="*/ 61 h 1697"/>
                  <a:gd name="T36" fmla="*/ 238 w 260"/>
                  <a:gd name="T37" fmla="*/ 4 h 1697"/>
                  <a:gd name="T38" fmla="*/ 246 w 260"/>
                  <a:gd name="T39" fmla="*/ 0 h 1697"/>
                  <a:gd name="T40" fmla="*/ 256 w 260"/>
                  <a:gd name="T41" fmla="*/ 4 h 1697"/>
                  <a:gd name="T42" fmla="*/ 260 w 260"/>
                  <a:gd name="T43" fmla="*/ 14 h 1697"/>
                  <a:gd name="T44" fmla="*/ 240 w 260"/>
                  <a:gd name="T45" fmla="*/ 71 h 1697"/>
                  <a:gd name="T46" fmla="*/ 203 w 260"/>
                  <a:gd name="T47" fmla="*/ 176 h 1697"/>
                  <a:gd name="T48" fmla="*/ 170 w 260"/>
                  <a:gd name="T49" fmla="*/ 282 h 1697"/>
                  <a:gd name="T50" fmla="*/ 139 w 260"/>
                  <a:gd name="T51" fmla="*/ 387 h 1697"/>
                  <a:gd name="T52" fmla="*/ 112 w 260"/>
                  <a:gd name="T53" fmla="*/ 494 h 1697"/>
                  <a:gd name="T54" fmla="*/ 90 w 260"/>
                  <a:gd name="T55" fmla="*/ 601 h 1697"/>
                  <a:gd name="T56" fmla="*/ 70 w 260"/>
                  <a:gd name="T57" fmla="*/ 709 h 1697"/>
                  <a:gd name="T58" fmla="*/ 54 w 260"/>
                  <a:gd name="T59" fmla="*/ 815 h 1697"/>
                  <a:gd name="T60" fmla="*/ 42 w 260"/>
                  <a:gd name="T61" fmla="*/ 922 h 1697"/>
                  <a:gd name="T62" fmla="*/ 33 w 260"/>
                  <a:gd name="T63" fmla="*/ 1027 h 1697"/>
                  <a:gd name="T64" fmla="*/ 28 w 260"/>
                  <a:gd name="T65" fmla="*/ 1132 h 1697"/>
                  <a:gd name="T66" fmla="*/ 27 w 260"/>
                  <a:gd name="T67" fmla="*/ 1236 h 1697"/>
                  <a:gd name="T68" fmla="*/ 29 w 260"/>
                  <a:gd name="T69" fmla="*/ 1337 h 1697"/>
                  <a:gd name="T70" fmla="*/ 35 w 260"/>
                  <a:gd name="T71" fmla="*/ 1438 h 1697"/>
                  <a:gd name="T72" fmla="*/ 45 w 260"/>
                  <a:gd name="T73" fmla="*/ 1537 h 1697"/>
                  <a:gd name="T74" fmla="*/ 58 w 260"/>
                  <a:gd name="T75" fmla="*/ 1633 h 1697"/>
                  <a:gd name="T76" fmla="*/ 67 w 260"/>
                  <a:gd name="T77" fmla="*/ 1686 h 1697"/>
                  <a:gd name="T78" fmla="*/ 60 w 260"/>
                  <a:gd name="T79" fmla="*/ 1695 h 1697"/>
                  <a:gd name="T80" fmla="*/ 54 w 260"/>
                  <a:gd name="T81" fmla="*/ 1697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1697">
                    <a:moveTo>
                      <a:pt x="53" y="1697"/>
                    </a:moveTo>
                    <a:lnTo>
                      <a:pt x="49" y="1696"/>
                    </a:lnTo>
                    <a:lnTo>
                      <a:pt x="44" y="1694"/>
                    </a:lnTo>
                    <a:lnTo>
                      <a:pt x="42" y="1690"/>
                    </a:lnTo>
                    <a:lnTo>
                      <a:pt x="40" y="1686"/>
                    </a:lnTo>
                    <a:lnTo>
                      <a:pt x="31" y="1637"/>
                    </a:lnTo>
                    <a:lnTo>
                      <a:pt x="25" y="1589"/>
                    </a:lnTo>
                    <a:lnTo>
                      <a:pt x="18" y="1540"/>
                    </a:lnTo>
                    <a:lnTo>
                      <a:pt x="13" y="1491"/>
                    </a:lnTo>
                    <a:lnTo>
                      <a:pt x="9" y="1441"/>
                    </a:lnTo>
                    <a:lnTo>
                      <a:pt x="4" y="1390"/>
                    </a:lnTo>
                    <a:lnTo>
                      <a:pt x="2" y="1339"/>
                    </a:lnTo>
                    <a:lnTo>
                      <a:pt x="0" y="1288"/>
                    </a:lnTo>
                    <a:lnTo>
                      <a:pt x="0" y="1236"/>
                    </a:lnTo>
                    <a:lnTo>
                      <a:pt x="0" y="1184"/>
                    </a:lnTo>
                    <a:lnTo>
                      <a:pt x="1" y="1132"/>
                    </a:lnTo>
                    <a:lnTo>
                      <a:pt x="3" y="1079"/>
                    </a:lnTo>
                    <a:lnTo>
                      <a:pt x="6" y="1026"/>
                    </a:lnTo>
                    <a:lnTo>
                      <a:pt x="10" y="972"/>
                    </a:lnTo>
                    <a:lnTo>
                      <a:pt x="15" y="920"/>
                    </a:lnTo>
                    <a:lnTo>
                      <a:pt x="21" y="866"/>
                    </a:lnTo>
                    <a:lnTo>
                      <a:pt x="27" y="813"/>
                    </a:lnTo>
                    <a:lnTo>
                      <a:pt x="35" y="759"/>
                    </a:lnTo>
                    <a:lnTo>
                      <a:pt x="43" y="705"/>
                    </a:lnTo>
                    <a:lnTo>
                      <a:pt x="53" y="651"/>
                    </a:lnTo>
                    <a:lnTo>
                      <a:pt x="63" y="597"/>
                    </a:lnTo>
                    <a:lnTo>
                      <a:pt x="75" y="543"/>
                    </a:lnTo>
                    <a:lnTo>
                      <a:pt x="86" y="489"/>
                    </a:lnTo>
                    <a:lnTo>
                      <a:pt x="99" y="435"/>
                    </a:lnTo>
                    <a:lnTo>
                      <a:pt x="113" y="381"/>
                    </a:lnTo>
                    <a:lnTo>
                      <a:pt x="127" y="327"/>
                    </a:lnTo>
                    <a:lnTo>
                      <a:pt x="144" y="274"/>
                    </a:lnTo>
                    <a:lnTo>
                      <a:pt x="160" y="220"/>
                    </a:lnTo>
                    <a:lnTo>
                      <a:pt x="177" y="167"/>
                    </a:lnTo>
                    <a:lnTo>
                      <a:pt x="195" y="114"/>
                    </a:lnTo>
                    <a:lnTo>
                      <a:pt x="214" y="61"/>
                    </a:lnTo>
                    <a:lnTo>
                      <a:pt x="234" y="8"/>
                    </a:lnTo>
                    <a:lnTo>
                      <a:pt x="238" y="4"/>
                    </a:lnTo>
                    <a:lnTo>
                      <a:pt x="242" y="1"/>
                    </a:lnTo>
                    <a:lnTo>
                      <a:pt x="246" y="0"/>
                    </a:lnTo>
                    <a:lnTo>
                      <a:pt x="252" y="1"/>
                    </a:lnTo>
                    <a:lnTo>
                      <a:pt x="256" y="4"/>
                    </a:lnTo>
                    <a:lnTo>
                      <a:pt x="259" y="8"/>
                    </a:lnTo>
                    <a:lnTo>
                      <a:pt x="260" y="14"/>
                    </a:lnTo>
                    <a:lnTo>
                      <a:pt x="259" y="18"/>
                    </a:lnTo>
                    <a:lnTo>
                      <a:pt x="240" y="71"/>
                    </a:lnTo>
                    <a:lnTo>
                      <a:pt x="220" y="123"/>
                    </a:lnTo>
                    <a:lnTo>
                      <a:pt x="203" y="176"/>
                    </a:lnTo>
                    <a:lnTo>
                      <a:pt x="186" y="229"/>
                    </a:lnTo>
                    <a:lnTo>
                      <a:pt x="170" y="282"/>
                    </a:lnTo>
                    <a:lnTo>
                      <a:pt x="153" y="334"/>
                    </a:lnTo>
                    <a:lnTo>
                      <a:pt x="139" y="387"/>
                    </a:lnTo>
                    <a:lnTo>
                      <a:pt x="125" y="441"/>
                    </a:lnTo>
                    <a:lnTo>
                      <a:pt x="112" y="494"/>
                    </a:lnTo>
                    <a:lnTo>
                      <a:pt x="100" y="548"/>
                    </a:lnTo>
                    <a:lnTo>
                      <a:pt x="90" y="601"/>
                    </a:lnTo>
                    <a:lnTo>
                      <a:pt x="80" y="655"/>
                    </a:lnTo>
                    <a:lnTo>
                      <a:pt x="70" y="709"/>
                    </a:lnTo>
                    <a:lnTo>
                      <a:pt x="62" y="762"/>
                    </a:lnTo>
                    <a:lnTo>
                      <a:pt x="54" y="815"/>
                    </a:lnTo>
                    <a:lnTo>
                      <a:pt x="48" y="869"/>
                    </a:lnTo>
                    <a:lnTo>
                      <a:pt x="42" y="922"/>
                    </a:lnTo>
                    <a:lnTo>
                      <a:pt x="37" y="975"/>
                    </a:lnTo>
                    <a:lnTo>
                      <a:pt x="33" y="1027"/>
                    </a:lnTo>
                    <a:lnTo>
                      <a:pt x="30" y="1079"/>
                    </a:lnTo>
                    <a:lnTo>
                      <a:pt x="28" y="1132"/>
                    </a:lnTo>
                    <a:lnTo>
                      <a:pt x="27" y="1184"/>
                    </a:lnTo>
                    <a:lnTo>
                      <a:pt x="27" y="1236"/>
                    </a:lnTo>
                    <a:lnTo>
                      <a:pt x="27" y="1287"/>
                    </a:lnTo>
                    <a:lnTo>
                      <a:pt x="29" y="1337"/>
                    </a:lnTo>
                    <a:lnTo>
                      <a:pt x="31" y="1388"/>
                    </a:lnTo>
                    <a:lnTo>
                      <a:pt x="35" y="1438"/>
                    </a:lnTo>
                    <a:lnTo>
                      <a:pt x="40" y="1487"/>
                    </a:lnTo>
                    <a:lnTo>
                      <a:pt x="45" y="1537"/>
                    </a:lnTo>
                    <a:lnTo>
                      <a:pt x="51" y="1586"/>
                    </a:lnTo>
                    <a:lnTo>
                      <a:pt x="58" y="1633"/>
                    </a:lnTo>
                    <a:lnTo>
                      <a:pt x="67" y="1681"/>
                    </a:lnTo>
                    <a:lnTo>
                      <a:pt x="67" y="1686"/>
                    </a:lnTo>
                    <a:lnTo>
                      <a:pt x="65" y="1691"/>
                    </a:lnTo>
                    <a:lnTo>
                      <a:pt x="60" y="1695"/>
                    </a:lnTo>
                    <a:lnTo>
                      <a:pt x="56" y="1697"/>
                    </a:lnTo>
                    <a:lnTo>
                      <a:pt x="54" y="1697"/>
                    </a:lnTo>
                    <a:lnTo>
                      <a:pt x="53" y="16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87"/>
              <p:cNvSpPr>
                <a:spLocks/>
              </p:cNvSpPr>
              <p:nvPr userDrawn="1"/>
            </p:nvSpPr>
            <p:spPr bwMode="auto">
              <a:xfrm>
                <a:off x="2473" y="2617"/>
                <a:ext cx="49" cy="492"/>
              </a:xfrm>
              <a:custGeom>
                <a:avLst/>
                <a:gdLst>
                  <a:gd name="T0" fmla="*/ 92 w 148"/>
                  <a:gd name="T1" fmla="*/ 1476 h 1478"/>
                  <a:gd name="T2" fmla="*/ 86 w 148"/>
                  <a:gd name="T3" fmla="*/ 1472 h 1478"/>
                  <a:gd name="T4" fmla="*/ 73 w 148"/>
                  <a:gd name="T5" fmla="*/ 1426 h 1478"/>
                  <a:gd name="T6" fmla="*/ 53 w 148"/>
                  <a:gd name="T7" fmla="*/ 1343 h 1478"/>
                  <a:gd name="T8" fmla="*/ 36 w 148"/>
                  <a:gd name="T9" fmla="*/ 1257 h 1478"/>
                  <a:gd name="T10" fmla="*/ 23 w 148"/>
                  <a:gd name="T11" fmla="*/ 1171 h 1478"/>
                  <a:gd name="T12" fmla="*/ 12 w 148"/>
                  <a:gd name="T13" fmla="*/ 1084 h 1478"/>
                  <a:gd name="T14" fmla="*/ 5 w 148"/>
                  <a:gd name="T15" fmla="*/ 996 h 1478"/>
                  <a:gd name="T16" fmla="*/ 1 w 148"/>
                  <a:gd name="T17" fmla="*/ 907 h 1478"/>
                  <a:gd name="T18" fmla="*/ 0 w 148"/>
                  <a:gd name="T19" fmla="*/ 816 h 1478"/>
                  <a:gd name="T20" fmla="*/ 2 w 148"/>
                  <a:gd name="T21" fmla="*/ 725 h 1478"/>
                  <a:gd name="T22" fmla="*/ 8 w 148"/>
                  <a:gd name="T23" fmla="*/ 632 h 1478"/>
                  <a:gd name="T24" fmla="*/ 17 w 148"/>
                  <a:gd name="T25" fmla="*/ 539 h 1478"/>
                  <a:gd name="T26" fmla="*/ 28 w 148"/>
                  <a:gd name="T27" fmla="*/ 444 h 1478"/>
                  <a:gd name="T28" fmla="*/ 44 w 148"/>
                  <a:gd name="T29" fmla="*/ 350 h 1478"/>
                  <a:gd name="T30" fmla="*/ 62 w 148"/>
                  <a:gd name="T31" fmla="*/ 253 h 1478"/>
                  <a:gd name="T32" fmla="*/ 83 w 148"/>
                  <a:gd name="T33" fmla="*/ 157 h 1478"/>
                  <a:gd name="T34" fmla="*/ 108 w 148"/>
                  <a:gd name="T35" fmla="*/ 59 h 1478"/>
                  <a:gd name="T36" fmla="*/ 124 w 148"/>
                  <a:gd name="T37" fmla="*/ 5 h 1478"/>
                  <a:gd name="T38" fmla="*/ 133 w 148"/>
                  <a:gd name="T39" fmla="*/ 0 h 1478"/>
                  <a:gd name="T40" fmla="*/ 143 w 148"/>
                  <a:gd name="T41" fmla="*/ 3 h 1478"/>
                  <a:gd name="T42" fmla="*/ 148 w 148"/>
                  <a:gd name="T43" fmla="*/ 12 h 1478"/>
                  <a:gd name="T44" fmla="*/ 134 w 148"/>
                  <a:gd name="T45" fmla="*/ 66 h 1478"/>
                  <a:gd name="T46" fmla="*/ 110 w 148"/>
                  <a:gd name="T47" fmla="*/ 163 h 1478"/>
                  <a:gd name="T48" fmla="*/ 89 w 148"/>
                  <a:gd name="T49" fmla="*/ 259 h 1478"/>
                  <a:gd name="T50" fmla="*/ 70 w 148"/>
                  <a:gd name="T51" fmla="*/ 354 h 1478"/>
                  <a:gd name="T52" fmla="*/ 55 w 148"/>
                  <a:gd name="T53" fmla="*/ 448 h 1478"/>
                  <a:gd name="T54" fmla="*/ 44 w 148"/>
                  <a:gd name="T55" fmla="*/ 542 h 1478"/>
                  <a:gd name="T56" fmla="*/ 35 w 148"/>
                  <a:gd name="T57" fmla="*/ 633 h 1478"/>
                  <a:gd name="T58" fmla="*/ 29 w 148"/>
                  <a:gd name="T59" fmla="*/ 725 h 1478"/>
                  <a:gd name="T60" fmla="*/ 27 w 148"/>
                  <a:gd name="T61" fmla="*/ 816 h 1478"/>
                  <a:gd name="T62" fmla="*/ 28 w 148"/>
                  <a:gd name="T63" fmla="*/ 905 h 1478"/>
                  <a:gd name="T64" fmla="*/ 32 w 148"/>
                  <a:gd name="T65" fmla="*/ 993 h 1478"/>
                  <a:gd name="T66" fmla="*/ 39 w 148"/>
                  <a:gd name="T67" fmla="*/ 1080 h 1478"/>
                  <a:gd name="T68" fmla="*/ 49 w 148"/>
                  <a:gd name="T69" fmla="*/ 1167 h 1478"/>
                  <a:gd name="T70" fmla="*/ 63 w 148"/>
                  <a:gd name="T71" fmla="*/ 1252 h 1478"/>
                  <a:gd name="T72" fmla="*/ 79 w 148"/>
                  <a:gd name="T73" fmla="*/ 1336 h 1478"/>
                  <a:gd name="T74" fmla="*/ 99 w 148"/>
                  <a:gd name="T75" fmla="*/ 1419 h 1478"/>
                  <a:gd name="T76" fmla="*/ 110 w 148"/>
                  <a:gd name="T77" fmla="*/ 1466 h 1478"/>
                  <a:gd name="T78" fmla="*/ 105 w 148"/>
                  <a:gd name="T79" fmla="*/ 1474 h 1478"/>
                  <a:gd name="T80" fmla="*/ 99 w 148"/>
                  <a:gd name="T81"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478">
                    <a:moveTo>
                      <a:pt x="96" y="1478"/>
                    </a:moveTo>
                    <a:lnTo>
                      <a:pt x="92" y="1476"/>
                    </a:lnTo>
                    <a:lnTo>
                      <a:pt x="89" y="1474"/>
                    </a:lnTo>
                    <a:lnTo>
                      <a:pt x="86" y="1472"/>
                    </a:lnTo>
                    <a:lnTo>
                      <a:pt x="83" y="1468"/>
                    </a:lnTo>
                    <a:lnTo>
                      <a:pt x="73" y="1426"/>
                    </a:lnTo>
                    <a:lnTo>
                      <a:pt x="62" y="1385"/>
                    </a:lnTo>
                    <a:lnTo>
                      <a:pt x="53" y="1343"/>
                    </a:lnTo>
                    <a:lnTo>
                      <a:pt x="44" y="1299"/>
                    </a:lnTo>
                    <a:lnTo>
                      <a:pt x="36" y="1257"/>
                    </a:lnTo>
                    <a:lnTo>
                      <a:pt x="28" y="1214"/>
                    </a:lnTo>
                    <a:lnTo>
                      <a:pt x="23" y="1171"/>
                    </a:lnTo>
                    <a:lnTo>
                      <a:pt x="17" y="1128"/>
                    </a:lnTo>
                    <a:lnTo>
                      <a:pt x="12" y="1084"/>
                    </a:lnTo>
                    <a:lnTo>
                      <a:pt x="8" y="1040"/>
                    </a:lnTo>
                    <a:lnTo>
                      <a:pt x="5" y="996"/>
                    </a:lnTo>
                    <a:lnTo>
                      <a:pt x="2" y="951"/>
                    </a:lnTo>
                    <a:lnTo>
                      <a:pt x="1" y="907"/>
                    </a:lnTo>
                    <a:lnTo>
                      <a:pt x="0" y="861"/>
                    </a:lnTo>
                    <a:lnTo>
                      <a:pt x="0" y="816"/>
                    </a:lnTo>
                    <a:lnTo>
                      <a:pt x="1" y="770"/>
                    </a:lnTo>
                    <a:lnTo>
                      <a:pt x="2" y="725"/>
                    </a:lnTo>
                    <a:lnTo>
                      <a:pt x="5" y="679"/>
                    </a:lnTo>
                    <a:lnTo>
                      <a:pt x="8" y="632"/>
                    </a:lnTo>
                    <a:lnTo>
                      <a:pt x="12" y="586"/>
                    </a:lnTo>
                    <a:lnTo>
                      <a:pt x="17" y="539"/>
                    </a:lnTo>
                    <a:lnTo>
                      <a:pt x="23" y="492"/>
                    </a:lnTo>
                    <a:lnTo>
                      <a:pt x="28" y="444"/>
                    </a:lnTo>
                    <a:lnTo>
                      <a:pt x="36" y="397"/>
                    </a:lnTo>
                    <a:lnTo>
                      <a:pt x="44" y="350"/>
                    </a:lnTo>
                    <a:lnTo>
                      <a:pt x="53" y="302"/>
                    </a:lnTo>
                    <a:lnTo>
                      <a:pt x="62" y="253"/>
                    </a:lnTo>
                    <a:lnTo>
                      <a:pt x="73" y="206"/>
                    </a:lnTo>
                    <a:lnTo>
                      <a:pt x="83" y="157"/>
                    </a:lnTo>
                    <a:lnTo>
                      <a:pt x="95" y="108"/>
                    </a:lnTo>
                    <a:lnTo>
                      <a:pt x="108" y="59"/>
                    </a:lnTo>
                    <a:lnTo>
                      <a:pt x="122" y="9"/>
                    </a:lnTo>
                    <a:lnTo>
                      <a:pt x="124" y="5"/>
                    </a:lnTo>
                    <a:lnTo>
                      <a:pt x="128" y="2"/>
                    </a:lnTo>
                    <a:lnTo>
                      <a:pt x="133" y="0"/>
                    </a:lnTo>
                    <a:lnTo>
                      <a:pt x="139" y="1"/>
                    </a:lnTo>
                    <a:lnTo>
                      <a:pt x="143" y="3"/>
                    </a:lnTo>
                    <a:lnTo>
                      <a:pt x="147" y="7"/>
                    </a:lnTo>
                    <a:lnTo>
                      <a:pt x="148" y="12"/>
                    </a:lnTo>
                    <a:lnTo>
                      <a:pt x="148" y="17"/>
                    </a:lnTo>
                    <a:lnTo>
                      <a:pt x="134" y="66"/>
                    </a:lnTo>
                    <a:lnTo>
                      <a:pt x="122" y="114"/>
                    </a:lnTo>
                    <a:lnTo>
                      <a:pt x="110" y="163"/>
                    </a:lnTo>
                    <a:lnTo>
                      <a:pt x="99" y="211"/>
                    </a:lnTo>
                    <a:lnTo>
                      <a:pt x="89" y="259"/>
                    </a:lnTo>
                    <a:lnTo>
                      <a:pt x="79" y="306"/>
                    </a:lnTo>
                    <a:lnTo>
                      <a:pt x="70" y="354"/>
                    </a:lnTo>
                    <a:lnTo>
                      <a:pt x="63" y="401"/>
                    </a:lnTo>
                    <a:lnTo>
                      <a:pt x="55" y="448"/>
                    </a:lnTo>
                    <a:lnTo>
                      <a:pt x="49" y="495"/>
                    </a:lnTo>
                    <a:lnTo>
                      <a:pt x="44" y="542"/>
                    </a:lnTo>
                    <a:lnTo>
                      <a:pt x="39" y="588"/>
                    </a:lnTo>
                    <a:lnTo>
                      <a:pt x="35" y="633"/>
                    </a:lnTo>
                    <a:lnTo>
                      <a:pt x="32" y="680"/>
                    </a:lnTo>
                    <a:lnTo>
                      <a:pt x="29" y="725"/>
                    </a:lnTo>
                    <a:lnTo>
                      <a:pt x="28" y="770"/>
                    </a:lnTo>
                    <a:lnTo>
                      <a:pt x="27" y="816"/>
                    </a:lnTo>
                    <a:lnTo>
                      <a:pt x="27" y="860"/>
                    </a:lnTo>
                    <a:lnTo>
                      <a:pt x="28" y="905"/>
                    </a:lnTo>
                    <a:lnTo>
                      <a:pt x="29" y="950"/>
                    </a:lnTo>
                    <a:lnTo>
                      <a:pt x="32" y="993"/>
                    </a:lnTo>
                    <a:lnTo>
                      <a:pt x="35" y="1037"/>
                    </a:lnTo>
                    <a:lnTo>
                      <a:pt x="39" y="1080"/>
                    </a:lnTo>
                    <a:lnTo>
                      <a:pt x="44" y="1125"/>
                    </a:lnTo>
                    <a:lnTo>
                      <a:pt x="49" y="1167"/>
                    </a:lnTo>
                    <a:lnTo>
                      <a:pt x="55" y="1210"/>
                    </a:lnTo>
                    <a:lnTo>
                      <a:pt x="63" y="1252"/>
                    </a:lnTo>
                    <a:lnTo>
                      <a:pt x="70" y="1294"/>
                    </a:lnTo>
                    <a:lnTo>
                      <a:pt x="79" y="1336"/>
                    </a:lnTo>
                    <a:lnTo>
                      <a:pt x="89" y="1378"/>
                    </a:lnTo>
                    <a:lnTo>
                      <a:pt x="99" y="1419"/>
                    </a:lnTo>
                    <a:lnTo>
                      <a:pt x="109" y="1460"/>
                    </a:lnTo>
                    <a:lnTo>
                      <a:pt x="110" y="1466"/>
                    </a:lnTo>
                    <a:lnTo>
                      <a:pt x="108" y="1471"/>
                    </a:lnTo>
                    <a:lnTo>
                      <a:pt x="105" y="1474"/>
                    </a:lnTo>
                    <a:lnTo>
                      <a:pt x="101" y="1478"/>
                    </a:lnTo>
                    <a:lnTo>
                      <a:pt x="99" y="1478"/>
                    </a:lnTo>
                    <a:lnTo>
                      <a:pt x="96" y="1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8"/>
              <p:cNvSpPr>
                <a:spLocks/>
              </p:cNvSpPr>
              <p:nvPr userDrawn="1"/>
            </p:nvSpPr>
            <p:spPr bwMode="auto">
              <a:xfrm>
                <a:off x="2510" y="2664"/>
                <a:ext cx="64" cy="430"/>
              </a:xfrm>
              <a:custGeom>
                <a:avLst/>
                <a:gdLst>
                  <a:gd name="T0" fmla="*/ 172 w 191"/>
                  <a:gd name="T1" fmla="*/ 1288 h 1289"/>
                  <a:gd name="T2" fmla="*/ 166 w 191"/>
                  <a:gd name="T3" fmla="*/ 1283 h 1289"/>
                  <a:gd name="T4" fmla="*/ 137 w 191"/>
                  <a:gd name="T5" fmla="*/ 1184 h 1289"/>
                  <a:gd name="T6" fmla="*/ 90 w 191"/>
                  <a:gd name="T7" fmla="*/ 1002 h 1289"/>
                  <a:gd name="T8" fmla="*/ 54 w 191"/>
                  <a:gd name="T9" fmla="*/ 828 h 1289"/>
                  <a:gd name="T10" fmla="*/ 27 w 191"/>
                  <a:gd name="T11" fmla="*/ 662 h 1289"/>
                  <a:gd name="T12" fmla="*/ 13 w 191"/>
                  <a:gd name="T13" fmla="*/ 543 h 1289"/>
                  <a:gd name="T14" fmla="*/ 6 w 191"/>
                  <a:gd name="T15" fmla="*/ 467 h 1289"/>
                  <a:gd name="T16" fmla="*/ 2 w 191"/>
                  <a:gd name="T17" fmla="*/ 391 h 1289"/>
                  <a:gd name="T18" fmla="*/ 0 w 191"/>
                  <a:gd name="T19" fmla="*/ 318 h 1289"/>
                  <a:gd name="T20" fmla="*/ 1 w 191"/>
                  <a:gd name="T21" fmla="*/ 246 h 1289"/>
                  <a:gd name="T22" fmla="*/ 3 w 191"/>
                  <a:gd name="T23" fmla="*/ 177 h 1289"/>
                  <a:gd name="T24" fmla="*/ 8 w 191"/>
                  <a:gd name="T25" fmla="*/ 109 h 1289"/>
                  <a:gd name="T26" fmla="*/ 16 w 191"/>
                  <a:gd name="T27" fmla="*/ 43 h 1289"/>
                  <a:gd name="T28" fmla="*/ 22 w 191"/>
                  <a:gd name="T29" fmla="*/ 7 h 1289"/>
                  <a:gd name="T30" fmla="*/ 30 w 191"/>
                  <a:gd name="T31" fmla="*/ 0 h 1289"/>
                  <a:gd name="T32" fmla="*/ 41 w 191"/>
                  <a:gd name="T33" fmla="*/ 2 h 1289"/>
                  <a:gd name="T34" fmla="*/ 47 w 191"/>
                  <a:gd name="T35" fmla="*/ 10 h 1289"/>
                  <a:gd name="T36" fmla="*/ 43 w 191"/>
                  <a:gd name="T37" fmla="*/ 48 h 1289"/>
                  <a:gd name="T38" fmla="*/ 35 w 191"/>
                  <a:gd name="T39" fmla="*/ 113 h 1289"/>
                  <a:gd name="T40" fmla="*/ 30 w 191"/>
                  <a:gd name="T41" fmla="*/ 179 h 1289"/>
                  <a:gd name="T42" fmla="*/ 28 w 191"/>
                  <a:gd name="T43" fmla="*/ 249 h 1289"/>
                  <a:gd name="T44" fmla="*/ 27 w 191"/>
                  <a:gd name="T45" fmla="*/ 319 h 1289"/>
                  <a:gd name="T46" fmla="*/ 29 w 191"/>
                  <a:gd name="T47" fmla="*/ 391 h 1289"/>
                  <a:gd name="T48" fmla="*/ 36 w 191"/>
                  <a:gd name="T49" fmla="*/ 503 h 1289"/>
                  <a:gd name="T50" fmla="*/ 54 w 191"/>
                  <a:gd name="T51" fmla="*/ 660 h 1289"/>
                  <a:gd name="T52" fmla="*/ 81 w 191"/>
                  <a:gd name="T53" fmla="*/ 824 h 1289"/>
                  <a:gd name="T54" fmla="*/ 117 w 191"/>
                  <a:gd name="T55" fmla="*/ 997 h 1289"/>
                  <a:gd name="T56" fmla="*/ 164 w 191"/>
                  <a:gd name="T57" fmla="*/ 1178 h 1289"/>
                  <a:gd name="T58" fmla="*/ 191 w 191"/>
                  <a:gd name="T59" fmla="*/ 1277 h 1289"/>
                  <a:gd name="T60" fmla="*/ 185 w 191"/>
                  <a:gd name="T61" fmla="*/ 1286 h 1289"/>
                  <a:gd name="T62" fmla="*/ 179 w 191"/>
                  <a:gd name="T63"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1289">
                    <a:moveTo>
                      <a:pt x="177" y="1289"/>
                    </a:moveTo>
                    <a:lnTo>
                      <a:pt x="172" y="1288"/>
                    </a:lnTo>
                    <a:lnTo>
                      <a:pt x="169" y="1286"/>
                    </a:lnTo>
                    <a:lnTo>
                      <a:pt x="166" y="1283"/>
                    </a:lnTo>
                    <a:lnTo>
                      <a:pt x="164" y="1279"/>
                    </a:lnTo>
                    <a:lnTo>
                      <a:pt x="137" y="1184"/>
                    </a:lnTo>
                    <a:lnTo>
                      <a:pt x="113" y="1092"/>
                    </a:lnTo>
                    <a:lnTo>
                      <a:pt x="90" y="1002"/>
                    </a:lnTo>
                    <a:lnTo>
                      <a:pt x="71" y="913"/>
                    </a:lnTo>
                    <a:lnTo>
                      <a:pt x="54" y="828"/>
                    </a:lnTo>
                    <a:lnTo>
                      <a:pt x="40" y="744"/>
                    </a:lnTo>
                    <a:lnTo>
                      <a:pt x="27" y="662"/>
                    </a:lnTo>
                    <a:lnTo>
                      <a:pt x="17" y="582"/>
                    </a:lnTo>
                    <a:lnTo>
                      <a:pt x="13" y="543"/>
                    </a:lnTo>
                    <a:lnTo>
                      <a:pt x="9" y="504"/>
                    </a:lnTo>
                    <a:lnTo>
                      <a:pt x="6" y="467"/>
                    </a:lnTo>
                    <a:lnTo>
                      <a:pt x="4" y="429"/>
                    </a:lnTo>
                    <a:lnTo>
                      <a:pt x="2" y="391"/>
                    </a:lnTo>
                    <a:lnTo>
                      <a:pt x="1" y="354"/>
                    </a:lnTo>
                    <a:lnTo>
                      <a:pt x="0" y="318"/>
                    </a:lnTo>
                    <a:lnTo>
                      <a:pt x="0" y="282"/>
                    </a:lnTo>
                    <a:lnTo>
                      <a:pt x="1" y="246"/>
                    </a:lnTo>
                    <a:lnTo>
                      <a:pt x="2" y="212"/>
                    </a:lnTo>
                    <a:lnTo>
                      <a:pt x="3" y="177"/>
                    </a:lnTo>
                    <a:lnTo>
                      <a:pt x="5" y="144"/>
                    </a:lnTo>
                    <a:lnTo>
                      <a:pt x="8" y="109"/>
                    </a:lnTo>
                    <a:lnTo>
                      <a:pt x="11" y="77"/>
                    </a:lnTo>
                    <a:lnTo>
                      <a:pt x="16" y="43"/>
                    </a:lnTo>
                    <a:lnTo>
                      <a:pt x="20" y="12"/>
                    </a:lnTo>
                    <a:lnTo>
                      <a:pt x="22" y="7"/>
                    </a:lnTo>
                    <a:lnTo>
                      <a:pt x="26" y="2"/>
                    </a:lnTo>
                    <a:lnTo>
                      <a:pt x="30" y="0"/>
                    </a:lnTo>
                    <a:lnTo>
                      <a:pt x="35" y="0"/>
                    </a:lnTo>
                    <a:lnTo>
                      <a:pt x="41" y="2"/>
                    </a:lnTo>
                    <a:lnTo>
                      <a:pt x="45" y="6"/>
                    </a:lnTo>
                    <a:lnTo>
                      <a:pt x="47" y="10"/>
                    </a:lnTo>
                    <a:lnTo>
                      <a:pt x="47" y="15"/>
                    </a:lnTo>
                    <a:lnTo>
                      <a:pt x="43" y="48"/>
                    </a:lnTo>
                    <a:lnTo>
                      <a:pt x="38" y="80"/>
                    </a:lnTo>
                    <a:lnTo>
                      <a:pt x="35" y="113"/>
                    </a:lnTo>
                    <a:lnTo>
                      <a:pt x="32" y="146"/>
                    </a:lnTo>
                    <a:lnTo>
                      <a:pt x="30" y="179"/>
                    </a:lnTo>
                    <a:lnTo>
                      <a:pt x="29" y="214"/>
                    </a:lnTo>
                    <a:lnTo>
                      <a:pt x="28" y="249"/>
                    </a:lnTo>
                    <a:lnTo>
                      <a:pt x="27" y="283"/>
                    </a:lnTo>
                    <a:lnTo>
                      <a:pt x="27" y="319"/>
                    </a:lnTo>
                    <a:lnTo>
                      <a:pt x="28" y="354"/>
                    </a:lnTo>
                    <a:lnTo>
                      <a:pt x="29" y="391"/>
                    </a:lnTo>
                    <a:lnTo>
                      <a:pt x="31" y="428"/>
                    </a:lnTo>
                    <a:lnTo>
                      <a:pt x="36" y="503"/>
                    </a:lnTo>
                    <a:lnTo>
                      <a:pt x="44" y="580"/>
                    </a:lnTo>
                    <a:lnTo>
                      <a:pt x="54" y="660"/>
                    </a:lnTo>
                    <a:lnTo>
                      <a:pt x="67" y="741"/>
                    </a:lnTo>
                    <a:lnTo>
                      <a:pt x="81" y="824"/>
                    </a:lnTo>
                    <a:lnTo>
                      <a:pt x="98" y="909"/>
                    </a:lnTo>
                    <a:lnTo>
                      <a:pt x="117" y="997"/>
                    </a:lnTo>
                    <a:lnTo>
                      <a:pt x="139" y="1086"/>
                    </a:lnTo>
                    <a:lnTo>
                      <a:pt x="164" y="1178"/>
                    </a:lnTo>
                    <a:lnTo>
                      <a:pt x="190" y="1272"/>
                    </a:lnTo>
                    <a:lnTo>
                      <a:pt x="191" y="1277"/>
                    </a:lnTo>
                    <a:lnTo>
                      <a:pt x="189" y="1282"/>
                    </a:lnTo>
                    <a:lnTo>
                      <a:pt x="185" y="1286"/>
                    </a:lnTo>
                    <a:lnTo>
                      <a:pt x="181" y="1288"/>
                    </a:lnTo>
                    <a:lnTo>
                      <a:pt x="179" y="1289"/>
                    </a:lnTo>
                    <a:lnTo>
                      <a:pt x="177"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89"/>
              <p:cNvSpPr>
                <a:spLocks/>
              </p:cNvSpPr>
              <p:nvPr userDrawn="1"/>
            </p:nvSpPr>
            <p:spPr bwMode="auto">
              <a:xfrm>
                <a:off x="1907" y="1799"/>
                <a:ext cx="732" cy="399"/>
              </a:xfrm>
              <a:custGeom>
                <a:avLst/>
                <a:gdLst>
                  <a:gd name="T0" fmla="*/ 1038 w 2197"/>
                  <a:gd name="T1" fmla="*/ 1199 h 1199"/>
                  <a:gd name="T2" fmla="*/ 744 w 2197"/>
                  <a:gd name="T3" fmla="*/ 1113 h 1199"/>
                  <a:gd name="T4" fmla="*/ 512 w 2197"/>
                  <a:gd name="T5" fmla="*/ 999 h 1199"/>
                  <a:gd name="T6" fmla="*/ 334 w 2197"/>
                  <a:gd name="T7" fmla="*/ 864 h 1199"/>
                  <a:gd name="T8" fmla="*/ 201 w 2197"/>
                  <a:gd name="T9" fmla="*/ 717 h 1199"/>
                  <a:gd name="T10" fmla="*/ 109 w 2197"/>
                  <a:gd name="T11" fmla="*/ 566 h 1199"/>
                  <a:gd name="T12" fmla="*/ 50 w 2197"/>
                  <a:gd name="T13" fmla="*/ 418 h 1199"/>
                  <a:gd name="T14" fmla="*/ 17 w 2197"/>
                  <a:gd name="T15" fmla="*/ 283 h 1199"/>
                  <a:gd name="T16" fmla="*/ 2 w 2197"/>
                  <a:gd name="T17" fmla="*/ 166 h 1199"/>
                  <a:gd name="T18" fmla="*/ 0 w 2197"/>
                  <a:gd name="T19" fmla="*/ 77 h 1199"/>
                  <a:gd name="T20" fmla="*/ 4 w 2197"/>
                  <a:gd name="T21" fmla="*/ 11 h 1199"/>
                  <a:gd name="T22" fmla="*/ 15 w 2197"/>
                  <a:gd name="T23" fmla="*/ 0 h 1199"/>
                  <a:gd name="T24" fmla="*/ 29 w 2197"/>
                  <a:gd name="T25" fmla="*/ 5 h 1199"/>
                  <a:gd name="T26" fmla="*/ 30 w 2197"/>
                  <a:gd name="T27" fmla="*/ 27 h 1199"/>
                  <a:gd name="T28" fmla="*/ 27 w 2197"/>
                  <a:gd name="T29" fmla="*/ 105 h 1199"/>
                  <a:gd name="T30" fmla="*/ 32 w 2197"/>
                  <a:gd name="T31" fmla="*/ 201 h 1199"/>
                  <a:gd name="T32" fmla="*/ 52 w 2197"/>
                  <a:gd name="T33" fmla="*/ 321 h 1199"/>
                  <a:gd name="T34" fmla="*/ 92 w 2197"/>
                  <a:gd name="T35" fmla="*/ 458 h 1199"/>
                  <a:gd name="T36" fmla="*/ 160 w 2197"/>
                  <a:gd name="T37" fmla="*/ 602 h 1199"/>
                  <a:gd name="T38" fmla="*/ 262 w 2197"/>
                  <a:gd name="T39" fmla="*/ 749 h 1199"/>
                  <a:gd name="T40" fmla="*/ 405 w 2197"/>
                  <a:gd name="T41" fmla="*/ 890 h 1199"/>
                  <a:gd name="T42" fmla="*/ 596 w 2197"/>
                  <a:gd name="T43" fmla="*/ 1015 h 1199"/>
                  <a:gd name="T44" fmla="*/ 841 w 2197"/>
                  <a:gd name="T45" fmla="*/ 1118 h 1199"/>
                  <a:gd name="T46" fmla="*/ 1058 w 2197"/>
                  <a:gd name="T47" fmla="*/ 1159 h 1199"/>
                  <a:gd name="T48" fmla="*/ 1146 w 2197"/>
                  <a:gd name="T49" fmla="*/ 1102 h 1199"/>
                  <a:gd name="T50" fmla="*/ 1393 w 2197"/>
                  <a:gd name="T51" fmla="*/ 942 h 1199"/>
                  <a:gd name="T52" fmla="*/ 1579 w 2197"/>
                  <a:gd name="T53" fmla="*/ 833 h 1199"/>
                  <a:gd name="T54" fmla="*/ 1711 w 2197"/>
                  <a:gd name="T55" fmla="*/ 765 h 1199"/>
                  <a:gd name="T56" fmla="*/ 1828 w 2197"/>
                  <a:gd name="T57" fmla="*/ 718 h 1199"/>
                  <a:gd name="T58" fmla="*/ 1888 w 2197"/>
                  <a:gd name="T59" fmla="*/ 703 h 1199"/>
                  <a:gd name="T60" fmla="*/ 1944 w 2197"/>
                  <a:gd name="T61" fmla="*/ 694 h 1199"/>
                  <a:gd name="T62" fmla="*/ 1994 w 2197"/>
                  <a:gd name="T63" fmla="*/ 693 h 1199"/>
                  <a:gd name="T64" fmla="*/ 2040 w 2197"/>
                  <a:gd name="T65" fmla="*/ 696 h 1199"/>
                  <a:gd name="T66" fmla="*/ 2114 w 2197"/>
                  <a:gd name="T67" fmla="*/ 713 h 1199"/>
                  <a:gd name="T68" fmla="*/ 2165 w 2197"/>
                  <a:gd name="T69" fmla="*/ 733 h 1199"/>
                  <a:gd name="T70" fmla="*/ 2196 w 2197"/>
                  <a:gd name="T71" fmla="*/ 755 h 1199"/>
                  <a:gd name="T72" fmla="*/ 2195 w 2197"/>
                  <a:gd name="T73" fmla="*/ 769 h 1199"/>
                  <a:gd name="T74" fmla="*/ 2181 w 2197"/>
                  <a:gd name="T75" fmla="*/ 774 h 1199"/>
                  <a:gd name="T76" fmla="*/ 2152 w 2197"/>
                  <a:gd name="T77" fmla="*/ 758 h 1199"/>
                  <a:gd name="T78" fmla="*/ 2105 w 2197"/>
                  <a:gd name="T79" fmla="*/ 738 h 1199"/>
                  <a:gd name="T80" fmla="*/ 2035 w 2197"/>
                  <a:gd name="T81" fmla="*/ 723 h 1199"/>
                  <a:gd name="T82" fmla="*/ 1962 w 2197"/>
                  <a:gd name="T83" fmla="*/ 720 h 1199"/>
                  <a:gd name="T84" fmla="*/ 1911 w 2197"/>
                  <a:gd name="T85" fmla="*/ 726 h 1199"/>
                  <a:gd name="T86" fmla="*/ 1855 w 2197"/>
                  <a:gd name="T87" fmla="*/ 738 h 1199"/>
                  <a:gd name="T88" fmla="*/ 1761 w 2197"/>
                  <a:gd name="T89" fmla="*/ 772 h 1199"/>
                  <a:gd name="T90" fmla="*/ 1633 w 2197"/>
                  <a:gd name="T91" fmla="*/ 836 h 1199"/>
                  <a:gd name="T92" fmla="*/ 1493 w 2197"/>
                  <a:gd name="T93" fmla="*/ 913 h 1199"/>
                  <a:gd name="T94" fmla="*/ 1231 w 2197"/>
                  <a:gd name="T95" fmla="*/ 1078 h 1199"/>
                  <a:gd name="T96" fmla="*/ 1093 w 2197"/>
                  <a:gd name="T97" fmla="*/ 1168 h 1199"/>
                  <a:gd name="T98" fmla="*/ 1044 w 2197"/>
                  <a:gd name="T99" fmla="*/ 1198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97" h="1199">
                    <a:moveTo>
                      <a:pt x="1040" y="1199"/>
                    </a:moveTo>
                    <a:lnTo>
                      <a:pt x="1039" y="1199"/>
                    </a:lnTo>
                    <a:lnTo>
                      <a:pt x="1038" y="1199"/>
                    </a:lnTo>
                    <a:lnTo>
                      <a:pt x="933" y="1173"/>
                    </a:lnTo>
                    <a:lnTo>
                      <a:pt x="835" y="1144"/>
                    </a:lnTo>
                    <a:lnTo>
                      <a:pt x="744" y="1113"/>
                    </a:lnTo>
                    <a:lnTo>
                      <a:pt x="661" y="1077"/>
                    </a:lnTo>
                    <a:lnTo>
                      <a:pt x="583" y="1039"/>
                    </a:lnTo>
                    <a:lnTo>
                      <a:pt x="512" y="999"/>
                    </a:lnTo>
                    <a:lnTo>
                      <a:pt x="447" y="955"/>
                    </a:lnTo>
                    <a:lnTo>
                      <a:pt x="387" y="910"/>
                    </a:lnTo>
                    <a:lnTo>
                      <a:pt x="334" y="864"/>
                    </a:lnTo>
                    <a:lnTo>
                      <a:pt x="284" y="816"/>
                    </a:lnTo>
                    <a:lnTo>
                      <a:pt x="241" y="767"/>
                    </a:lnTo>
                    <a:lnTo>
                      <a:pt x="201" y="717"/>
                    </a:lnTo>
                    <a:lnTo>
                      <a:pt x="166" y="666"/>
                    </a:lnTo>
                    <a:lnTo>
                      <a:pt x="136" y="616"/>
                    </a:lnTo>
                    <a:lnTo>
                      <a:pt x="109" y="566"/>
                    </a:lnTo>
                    <a:lnTo>
                      <a:pt x="86" y="516"/>
                    </a:lnTo>
                    <a:lnTo>
                      <a:pt x="67" y="466"/>
                    </a:lnTo>
                    <a:lnTo>
                      <a:pt x="50" y="418"/>
                    </a:lnTo>
                    <a:lnTo>
                      <a:pt x="37" y="371"/>
                    </a:lnTo>
                    <a:lnTo>
                      <a:pt x="26" y="326"/>
                    </a:lnTo>
                    <a:lnTo>
                      <a:pt x="17" y="283"/>
                    </a:lnTo>
                    <a:lnTo>
                      <a:pt x="11" y="241"/>
                    </a:lnTo>
                    <a:lnTo>
                      <a:pt x="5" y="202"/>
                    </a:lnTo>
                    <a:lnTo>
                      <a:pt x="2" y="166"/>
                    </a:lnTo>
                    <a:lnTo>
                      <a:pt x="1" y="133"/>
                    </a:lnTo>
                    <a:lnTo>
                      <a:pt x="0" y="104"/>
                    </a:lnTo>
                    <a:lnTo>
                      <a:pt x="0" y="77"/>
                    </a:lnTo>
                    <a:lnTo>
                      <a:pt x="1" y="55"/>
                    </a:lnTo>
                    <a:lnTo>
                      <a:pt x="3" y="24"/>
                    </a:lnTo>
                    <a:lnTo>
                      <a:pt x="4" y="11"/>
                    </a:lnTo>
                    <a:lnTo>
                      <a:pt x="6" y="7"/>
                    </a:lnTo>
                    <a:lnTo>
                      <a:pt x="10" y="2"/>
                    </a:lnTo>
                    <a:lnTo>
                      <a:pt x="15" y="0"/>
                    </a:lnTo>
                    <a:lnTo>
                      <a:pt x="20" y="0"/>
                    </a:lnTo>
                    <a:lnTo>
                      <a:pt x="25" y="2"/>
                    </a:lnTo>
                    <a:lnTo>
                      <a:pt x="29" y="5"/>
                    </a:lnTo>
                    <a:lnTo>
                      <a:pt x="31" y="10"/>
                    </a:lnTo>
                    <a:lnTo>
                      <a:pt x="31" y="15"/>
                    </a:lnTo>
                    <a:lnTo>
                      <a:pt x="30" y="27"/>
                    </a:lnTo>
                    <a:lnTo>
                      <a:pt x="28" y="57"/>
                    </a:lnTo>
                    <a:lnTo>
                      <a:pt x="27" y="79"/>
                    </a:lnTo>
                    <a:lnTo>
                      <a:pt x="27" y="105"/>
                    </a:lnTo>
                    <a:lnTo>
                      <a:pt x="28" y="133"/>
                    </a:lnTo>
                    <a:lnTo>
                      <a:pt x="29" y="165"/>
                    </a:lnTo>
                    <a:lnTo>
                      <a:pt x="32" y="201"/>
                    </a:lnTo>
                    <a:lnTo>
                      <a:pt x="37" y="239"/>
                    </a:lnTo>
                    <a:lnTo>
                      <a:pt x="43" y="279"/>
                    </a:lnTo>
                    <a:lnTo>
                      <a:pt x="52" y="321"/>
                    </a:lnTo>
                    <a:lnTo>
                      <a:pt x="62" y="365"/>
                    </a:lnTo>
                    <a:lnTo>
                      <a:pt x="75" y="410"/>
                    </a:lnTo>
                    <a:lnTo>
                      <a:pt x="92" y="458"/>
                    </a:lnTo>
                    <a:lnTo>
                      <a:pt x="111" y="505"/>
                    </a:lnTo>
                    <a:lnTo>
                      <a:pt x="134" y="554"/>
                    </a:lnTo>
                    <a:lnTo>
                      <a:pt x="160" y="602"/>
                    </a:lnTo>
                    <a:lnTo>
                      <a:pt x="190" y="652"/>
                    </a:lnTo>
                    <a:lnTo>
                      <a:pt x="223" y="701"/>
                    </a:lnTo>
                    <a:lnTo>
                      <a:pt x="262" y="749"/>
                    </a:lnTo>
                    <a:lnTo>
                      <a:pt x="304" y="797"/>
                    </a:lnTo>
                    <a:lnTo>
                      <a:pt x="352" y="844"/>
                    </a:lnTo>
                    <a:lnTo>
                      <a:pt x="405" y="890"/>
                    </a:lnTo>
                    <a:lnTo>
                      <a:pt x="463" y="933"/>
                    </a:lnTo>
                    <a:lnTo>
                      <a:pt x="526" y="975"/>
                    </a:lnTo>
                    <a:lnTo>
                      <a:pt x="596" y="1015"/>
                    </a:lnTo>
                    <a:lnTo>
                      <a:pt x="670" y="1053"/>
                    </a:lnTo>
                    <a:lnTo>
                      <a:pt x="752" y="1087"/>
                    </a:lnTo>
                    <a:lnTo>
                      <a:pt x="841" y="1118"/>
                    </a:lnTo>
                    <a:lnTo>
                      <a:pt x="936" y="1147"/>
                    </a:lnTo>
                    <a:lnTo>
                      <a:pt x="1038" y="1171"/>
                    </a:lnTo>
                    <a:lnTo>
                      <a:pt x="1058" y="1159"/>
                    </a:lnTo>
                    <a:lnTo>
                      <a:pt x="1083" y="1143"/>
                    </a:lnTo>
                    <a:lnTo>
                      <a:pt x="1112" y="1124"/>
                    </a:lnTo>
                    <a:lnTo>
                      <a:pt x="1146" y="1102"/>
                    </a:lnTo>
                    <a:lnTo>
                      <a:pt x="1220" y="1053"/>
                    </a:lnTo>
                    <a:lnTo>
                      <a:pt x="1304" y="999"/>
                    </a:lnTo>
                    <a:lnTo>
                      <a:pt x="1393" y="942"/>
                    </a:lnTo>
                    <a:lnTo>
                      <a:pt x="1486" y="886"/>
                    </a:lnTo>
                    <a:lnTo>
                      <a:pt x="1532" y="859"/>
                    </a:lnTo>
                    <a:lnTo>
                      <a:pt x="1579" y="833"/>
                    </a:lnTo>
                    <a:lnTo>
                      <a:pt x="1624" y="809"/>
                    </a:lnTo>
                    <a:lnTo>
                      <a:pt x="1668" y="786"/>
                    </a:lnTo>
                    <a:lnTo>
                      <a:pt x="1711" y="765"/>
                    </a:lnTo>
                    <a:lnTo>
                      <a:pt x="1752" y="747"/>
                    </a:lnTo>
                    <a:lnTo>
                      <a:pt x="1791" y="731"/>
                    </a:lnTo>
                    <a:lnTo>
                      <a:pt x="1828" y="718"/>
                    </a:lnTo>
                    <a:lnTo>
                      <a:pt x="1848" y="711"/>
                    </a:lnTo>
                    <a:lnTo>
                      <a:pt x="1869" y="707"/>
                    </a:lnTo>
                    <a:lnTo>
                      <a:pt x="1888" y="703"/>
                    </a:lnTo>
                    <a:lnTo>
                      <a:pt x="1907" y="699"/>
                    </a:lnTo>
                    <a:lnTo>
                      <a:pt x="1926" y="696"/>
                    </a:lnTo>
                    <a:lnTo>
                      <a:pt x="1944" y="694"/>
                    </a:lnTo>
                    <a:lnTo>
                      <a:pt x="1961" y="693"/>
                    </a:lnTo>
                    <a:lnTo>
                      <a:pt x="1978" y="693"/>
                    </a:lnTo>
                    <a:lnTo>
                      <a:pt x="1994" y="693"/>
                    </a:lnTo>
                    <a:lnTo>
                      <a:pt x="2010" y="693"/>
                    </a:lnTo>
                    <a:lnTo>
                      <a:pt x="2026" y="694"/>
                    </a:lnTo>
                    <a:lnTo>
                      <a:pt x="2040" y="696"/>
                    </a:lnTo>
                    <a:lnTo>
                      <a:pt x="2067" y="701"/>
                    </a:lnTo>
                    <a:lnTo>
                      <a:pt x="2091" y="706"/>
                    </a:lnTo>
                    <a:lnTo>
                      <a:pt x="2114" y="713"/>
                    </a:lnTo>
                    <a:lnTo>
                      <a:pt x="2134" y="719"/>
                    </a:lnTo>
                    <a:lnTo>
                      <a:pt x="2151" y="727"/>
                    </a:lnTo>
                    <a:lnTo>
                      <a:pt x="2165" y="733"/>
                    </a:lnTo>
                    <a:lnTo>
                      <a:pt x="2184" y="745"/>
                    </a:lnTo>
                    <a:lnTo>
                      <a:pt x="2193" y="750"/>
                    </a:lnTo>
                    <a:lnTo>
                      <a:pt x="2196" y="755"/>
                    </a:lnTo>
                    <a:lnTo>
                      <a:pt x="2197" y="759"/>
                    </a:lnTo>
                    <a:lnTo>
                      <a:pt x="2197" y="764"/>
                    </a:lnTo>
                    <a:lnTo>
                      <a:pt x="2195" y="769"/>
                    </a:lnTo>
                    <a:lnTo>
                      <a:pt x="2191" y="773"/>
                    </a:lnTo>
                    <a:lnTo>
                      <a:pt x="2186" y="774"/>
                    </a:lnTo>
                    <a:lnTo>
                      <a:pt x="2181" y="774"/>
                    </a:lnTo>
                    <a:lnTo>
                      <a:pt x="2177" y="772"/>
                    </a:lnTo>
                    <a:lnTo>
                      <a:pt x="2170" y="768"/>
                    </a:lnTo>
                    <a:lnTo>
                      <a:pt x="2152" y="758"/>
                    </a:lnTo>
                    <a:lnTo>
                      <a:pt x="2139" y="751"/>
                    </a:lnTo>
                    <a:lnTo>
                      <a:pt x="2123" y="745"/>
                    </a:lnTo>
                    <a:lnTo>
                      <a:pt x="2105" y="738"/>
                    </a:lnTo>
                    <a:lnTo>
                      <a:pt x="2084" y="733"/>
                    </a:lnTo>
                    <a:lnTo>
                      <a:pt x="2061" y="728"/>
                    </a:lnTo>
                    <a:lnTo>
                      <a:pt x="2035" y="723"/>
                    </a:lnTo>
                    <a:lnTo>
                      <a:pt x="2007" y="721"/>
                    </a:lnTo>
                    <a:lnTo>
                      <a:pt x="1977" y="720"/>
                    </a:lnTo>
                    <a:lnTo>
                      <a:pt x="1962" y="720"/>
                    </a:lnTo>
                    <a:lnTo>
                      <a:pt x="1945" y="721"/>
                    </a:lnTo>
                    <a:lnTo>
                      <a:pt x="1928" y="723"/>
                    </a:lnTo>
                    <a:lnTo>
                      <a:pt x="1911" y="726"/>
                    </a:lnTo>
                    <a:lnTo>
                      <a:pt x="1893" y="729"/>
                    </a:lnTo>
                    <a:lnTo>
                      <a:pt x="1874" y="733"/>
                    </a:lnTo>
                    <a:lnTo>
                      <a:pt x="1855" y="738"/>
                    </a:lnTo>
                    <a:lnTo>
                      <a:pt x="1836" y="744"/>
                    </a:lnTo>
                    <a:lnTo>
                      <a:pt x="1800" y="757"/>
                    </a:lnTo>
                    <a:lnTo>
                      <a:pt x="1761" y="772"/>
                    </a:lnTo>
                    <a:lnTo>
                      <a:pt x="1720" y="791"/>
                    </a:lnTo>
                    <a:lnTo>
                      <a:pt x="1677" y="812"/>
                    </a:lnTo>
                    <a:lnTo>
                      <a:pt x="1633" y="836"/>
                    </a:lnTo>
                    <a:lnTo>
                      <a:pt x="1586" y="860"/>
                    </a:lnTo>
                    <a:lnTo>
                      <a:pt x="1541" y="886"/>
                    </a:lnTo>
                    <a:lnTo>
                      <a:pt x="1493" y="913"/>
                    </a:lnTo>
                    <a:lnTo>
                      <a:pt x="1401" y="969"/>
                    </a:lnTo>
                    <a:lnTo>
                      <a:pt x="1313" y="1026"/>
                    </a:lnTo>
                    <a:lnTo>
                      <a:pt x="1231" y="1078"/>
                    </a:lnTo>
                    <a:lnTo>
                      <a:pt x="1161" y="1125"/>
                    </a:lnTo>
                    <a:lnTo>
                      <a:pt x="1124" y="1148"/>
                    </a:lnTo>
                    <a:lnTo>
                      <a:pt x="1093" y="1168"/>
                    </a:lnTo>
                    <a:lnTo>
                      <a:pt x="1067" y="1185"/>
                    </a:lnTo>
                    <a:lnTo>
                      <a:pt x="1047" y="1197"/>
                    </a:lnTo>
                    <a:lnTo>
                      <a:pt x="1044" y="1198"/>
                    </a:lnTo>
                    <a:lnTo>
                      <a:pt x="1040" y="1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90"/>
              <p:cNvSpPr>
                <a:spLocks/>
              </p:cNvSpPr>
              <p:nvPr userDrawn="1"/>
            </p:nvSpPr>
            <p:spPr bwMode="auto">
              <a:xfrm>
                <a:off x="1971" y="1838"/>
                <a:ext cx="569" cy="297"/>
              </a:xfrm>
              <a:custGeom>
                <a:avLst/>
                <a:gdLst>
                  <a:gd name="T0" fmla="*/ 839 w 1705"/>
                  <a:gd name="T1" fmla="*/ 889 h 891"/>
                  <a:gd name="T2" fmla="*/ 769 w 1705"/>
                  <a:gd name="T3" fmla="*/ 880 h 891"/>
                  <a:gd name="T4" fmla="*/ 690 w 1705"/>
                  <a:gd name="T5" fmla="*/ 859 h 891"/>
                  <a:gd name="T6" fmla="*/ 602 w 1705"/>
                  <a:gd name="T7" fmla="*/ 828 h 891"/>
                  <a:gd name="T8" fmla="*/ 503 w 1705"/>
                  <a:gd name="T9" fmla="*/ 782 h 891"/>
                  <a:gd name="T10" fmla="*/ 405 w 1705"/>
                  <a:gd name="T11" fmla="*/ 729 h 891"/>
                  <a:gd name="T12" fmla="*/ 333 w 1705"/>
                  <a:gd name="T13" fmla="*/ 678 h 891"/>
                  <a:gd name="T14" fmla="*/ 267 w 1705"/>
                  <a:gd name="T15" fmla="*/ 619 h 891"/>
                  <a:gd name="T16" fmla="*/ 209 w 1705"/>
                  <a:gd name="T17" fmla="*/ 555 h 891"/>
                  <a:gd name="T18" fmla="*/ 158 w 1705"/>
                  <a:gd name="T19" fmla="*/ 486 h 891"/>
                  <a:gd name="T20" fmla="*/ 115 w 1705"/>
                  <a:gd name="T21" fmla="*/ 413 h 891"/>
                  <a:gd name="T22" fmla="*/ 78 w 1705"/>
                  <a:gd name="T23" fmla="*/ 338 h 891"/>
                  <a:gd name="T24" fmla="*/ 49 w 1705"/>
                  <a:gd name="T25" fmla="*/ 262 h 891"/>
                  <a:gd name="T26" fmla="*/ 26 w 1705"/>
                  <a:gd name="T27" fmla="*/ 185 h 891"/>
                  <a:gd name="T28" fmla="*/ 10 w 1705"/>
                  <a:gd name="T29" fmla="*/ 110 h 891"/>
                  <a:gd name="T30" fmla="*/ 1 w 1705"/>
                  <a:gd name="T31" fmla="*/ 38 h 891"/>
                  <a:gd name="T32" fmla="*/ 3 w 1705"/>
                  <a:gd name="T33" fmla="*/ 4 h 891"/>
                  <a:gd name="T34" fmla="*/ 17 w 1705"/>
                  <a:gd name="T35" fmla="*/ 1 h 891"/>
                  <a:gd name="T36" fmla="*/ 27 w 1705"/>
                  <a:gd name="T37" fmla="*/ 13 h 891"/>
                  <a:gd name="T38" fmla="*/ 34 w 1705"/>
                  <a:gd name="T39" fmla="*/ 82 h 891"/>
                  <a:gd name="T40" fmla="*/ 47 w 1705"/>
                  <a:gd name="T41" fmla="*/ 154 h 891"/>
                  <a:gd name="T42" fmla="*/ 66 w 1705"/>
                  <a:gd name="T43" fmla="*/ 229 h 891"/>
                  <a:gd name="T44" fmla="*/ 92 w 1705"/>
                  <a:gd name="T45" fmla="*/ 302 h 891"/>
                  <a:gd name="T46" fmla="*/ 125 w 1705"/>
                  <a:gd name="T47" fmla="*/ 375 h 891"/>
                  <a:gd name="T48" fmla="*/ 165 w 1705"/>
                  <a:gd name="T49" fmla="*/ 447 h 891"/>
                  <a:gd name="T50" fmla="*/ 212 w 1705"/>
                  <a:gd name="T51" fmla="*/ 516 h 891"/>
                  <a:gd name="T52" fmla="*/ 266 w 1705"/>
                  <a:gd name="T53" fmla="*/ 579 h 891"/>
                  <a:gd name="T54" fmla="*/ 327 w 1705"/>
                  <a:gd name="T55" fmla="*/ 638 h 891"/>
                  <a:gd name="T56" fmla="*/ 395 w 1705"/>
                  <a:gd name="T57" fmla="*/ 691 h 891"/>
                  <a:gd name="T58" fmla="*/ 478 w 1705"/>
                  <a:gd name="T59" fmla="*/ 740 h 891"/>
                  <a:gd name="T60" fmla="*/ 575 w 1705"/>
                  <a:gd name="T61" fmla="*/ 787 h 891"/>
                  <a:gd name="T62" fmla="*/ 660 w 1705"/>
                  <a:gd name="T63" fmla="*/ 821 h 891"/>
                  <a:gd name="T64" fmla="*/ 738 w 1705"/>
                  <a:gd name="T65" fmla="*/ 845 h 891"/>
                  <a:gd name="T66" fmla="*/ 806 w 1705"/>
                  <a:gd name="T67" fmla="*/ 859 h 891"/>
                  <a:gd name="T68" fmla="*/ 866 w 1705"/>
                  <a:gd name="T69" fmla="*/ 864 h 891"/>
                  <a:gd name="T70" fmla="*/ 919 w 1705"/>
                  <a:gd name="T71" fmla="*/ 862 h 891"/>
                  <a:gd name="T72" fmla="*/ 964 w 1705"/>
                  <a:gd name="T73" fmla="*/ 856 h 891"/>
                  <a:gd name="T74" fmla="*/ 1014 w 1705"/>
                  <a:gd name="T75" fmla="*/ 840 h 891"/>
                  <a:gd name="T76" fmla="*/ 1068 w 1705"/>
                  <a:gd name="T77" fmla="*/ 809 h 891"/>
                  <a:gd name="T78" fmla="*/ 1231 w 1705"/>
                  <a:gd name="T79" fmla="*/ 686 h 891"/>
                  <a:gd name="T80" fmla="*/ 1347 w 1705"/>
                  <a:gd name="T81" fmla="*/ 608 h 891"/>
                  <a:gd name="T82" fmla="*/ 1468 w 1705"/>
                  <a:gd name="T83" fmla="*/ 537 h 891"/>
                  <a:gd name="T84" fmla="*/ 1528 w 1705"/>
                  <a:gd name="T85" fmla="*/ 509 h 891"/>
                  <a:gd name="T86" fmla="*/ 1585 w 1705"/>
                  <a:gd name="T87" fmla="*/ 488 h 891"/>
                  <a:gd name="T88" fmla="*/ 1641 w 1705"/>
                  <a:gd name="T89" fmla="*/ 474 h 891"/>
                  <a:gd name="T90" fmla="*/ 1692 w 1705"/>
                  <a:gd name="T91" fmla="*/ 469 h 891"/>
                  <a:gd name="T92" fmla="*/ 1705 w 1705"/>
                  <a:gd name="T93" fmla="*/ 478 h 891"/>
                  <a:gd name="T94" fmla="*/ 1702 w 1705"/>
                  <a:gd name="T95" fmla="*/ 493 h 891"/>
                  <a:gd name="T96" fmla="*/ 1694 w 1705"/>
                  <a:gd name="T97" fmla="*/ 496 h 891"/>
                  <a:gd name="T98" fmla="*/ 1687 w 1705"/>
                  <a:gd name="T99" fmla="*/ 496 h 891"/>
                  <a:gd name="T100" fmla="*/ 1638 w 1705"/>
                  <a:gd name="T101" fmla="*/ 502 h 891"/>
                  <a:gd name="T102" fmla="*/ 1584 w 1705"/>
                  <a:gd name="T103" fmla="*/ 516 h 891"/>
                  <a:gd name="T104" fmla="*/ 1509 w 1705"/>
                  <a:gd name="T105" fmla="*/ 547 h 891"/>
                  <a:gd name="T106" fmla="*/ 1390 w 1705"/>
                  <a:gd name="T107" fmla="*/ 613 h 891"/>
                  <a:gd name="T108" fmla="*/ 1275 w 1705"/>
                  <a:gd name="T109" fmla="*/ 688 h 891"/>
                  <a:gd name="T110" fmla="*/ 1119 w 1705"/>
                  <a:gd name="T111" fmla="*/ 804 h 891"/>
                  <a:gd name="T112" fmla="*/ 1050 w 1705"/>
                  <a:gd name="T113" fmla="*/ 853 h 891"/>
                  <a:gd name="T114" fmla="*/ 992 w 1705"/>
                  <a:gd name="T115" fmla="*/ 876 h 891"/>
                  <a:gd name="T116" fmla="*/ 949 w 1705"/>
                  <a:gd name="T117" fmla="*/ 886 h 891"/>
                  <a:gd name="T118" fmla="*/ 899 w 1705"/>
                  <a:gd name="T119" fmla="*/ 890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5" h="891">
                    <a:moveTo>
                      <a:pt x="881" y="891"/>
                    </a:moveTo>
                    <a:lnTo>
                      <a:pt x="861" y="890"/>
                    </a:lnTo>
                    <a:lnTo>
                      <a:pt x="839" y="889"/>
                    </a:lnTo>
                    <a:lnTo>
                      <a:pt x="816" y="887"/>
                    </a:lnTo>
                    <a:lnTo>
                      <a:pt x="794" y="884"/>
                    </a:lnTo>
                    <a:lnTo>
                      <a:pt x="769" y="880"/>
                    </a:lnTo>
                    <a:lnTo>
                      <a:pt x="744" y="874"/>
                    </a:lnTo>
                    <a:lnTo>
                      <a:pt x="717" y="868"/>
                    </a:lnTo>
                    <a:lnTo>
                      <a:pt x="690" y="859"/>
                    </a:lnTo>
                    <a:lnTo>
                      <a:pt x="662" y="850"/>
                    </a:lnTo>
                    <a:lnTo>
                      <a:pt x="632" y="840"/>
                    </a:lnTo>
                    <a:lnTo>
                      <a:pt x="602" y="828"/>
                    </a:lnTo>
                    <a:lnTo>
                      <a:pt x="570" y="815"/>
                    </a:lnTo>
                    <a:lnTo>
                      <a:pt x="537" y="800"/>
                    </a:lnTo>
                    <a:lnTo>
                      <a:pt x="503" y="782"/>
                    </a:lnTo>
                    <a:lnTo>
                      <a:pt x="468" y="765"/>
                    </a:lnTo>
                    <a:lnTo>
                      <a:pt x="432" y="745"/>
                    </a:lnTo>
                    <a:lnTo>
                      <a:pt x="405" y="729"/>
                    </a:lnTo>
                    <a:lnTo>
                      <a:pt x="380" y="713"/>
                    </a:lnTo>
                    <a:lnTo>
                      <a:pt x="356" y="696"/>
                    </a:lnTo>
                    <a:lnTo>
                      <a:pt x="333" y="678"/>
                    </a:lnTo>
                    <a:lnTo>
                      <a:pt x="310" y="659"/>
                    </a:lnTo>
                    <a:lnTo>
                      <a:pt x="288" y="640"/>
                    </a:lnTo>
                    <a:lnTo>
                      <a:pt x="267" y="619"/>
                    </a:lnTo>
                    <a:lnTo>
                      <a:pt x="247" y="599"/>
                    </a:lnTo>
                    <a:lnTo>
                      <a:pt x="228" y="577"/>
                    </a:lnTo>
                    <a:lnTo>
                      <a:pt x="209" y="555"/>
                    </a:lnTo>
                    <a:lnTo>
                      <a:pt x="191" y="532"/>
                    </a:lnTo>
                    <a:lnTo>
                      <a:pt x="174" y="509"/>
                    </a:lnTo>
                    <a:lnTo>
                      <a:pt x="158" y="486"/>
                    </a:lnTo>
                    <a:lnTo>
                      <a:pt x="143" y="462"/>
                    </a:lnTo>
                    <a:lnTo>
                      <a:pt x="129" y="438"/>
                    </a:lnTo>
                    <a:lnTo>
                      <a:pt x="115" y="413"/>
                    </a:lnTo>
                    <a:lnTo>
                      <a:pt x="102" y="388"/>
                    </a:lnTo>
                    <a:lnTo>
                      <a:pt x="90" y="364"/>
                    </a:lnTo>
                    <a:lnTo>
                      <a:pt x="78" y="338"/>
                    </a:lnTo>
                    <a:lnTo>
                      <a:pt x="67" y="313"/>
                    </a:lnTo>
                    <a:lnTo>
                      <a:pt x="57" y="287"/>
                    </a:lnTo>
                    <a:lnTo>
                      <a:pt x="49" y="262"/>
                    </a:lnTo>
                    <a:lnTo>
                      <a:pt x="40" y="236"/>
                    </a:lnTo>
                    <a:lnTo>
                      <a:pt x="33" y="211"/>
                    </a:lnTo>
                    <a:lnTo>
                      <a:pt x="26" y="185"/>
                    </a:lnTo>
                    <a:lnTo>
                      <a:pt x="20" y="161"/>
                    </a:lnTo>
                    <a:lnTo>
                      <a:pt x="14" y="135"/>
                    </a:lnTo>
                    <a:lnTo>
                      <a:pt x="10" y="110"/>
                    </a:lnTo>
                    <a:lnTo>
                      <a:pt x="7" y="86"/>
                    </a:lnTo>
                    <a:lnTo>
                      <a:pt x="3" y="61"/>
                    </a:lnTo>
                    <a:lnTo>
                      <a:pt x="1" y="38"/>
                    </a:lnTo>
                    <a:lnTo>
                      <a:pt x="0" y="14"/>
                    </a:lnTo>
                    <a:lnTo>
                      <a:pt x="0" y="8"/>
                    </a:lnTo>
                    <a:lnTo>
                      <a:pt x="3" y="4"/>
                    </a:lnTo>
                    <a:lnTo>
                      <a:pt x="8" y="1"/>
                    </a:lnTo>
                    <a:lnTo>
                      <a:pt x="12" y="0"/>
                    </a:lnTo>
                    <a:lnTo>
                      <a:pt x="17" y="1"/>
                    </a:lnTo>
                    <a:lnTo>
                      <a:pt x="22" y="3"/>
                    </a:lnTo>
                    <a:lnTo>
                      <a:pt x="25" y="7"/>
                    </a:lnTo>
                    <a:lnTo>
                      <a:pt x="27" y="13"/>
                    </a:lnTo>
                    <a:lnTo>
                      <a:pt x="28" y="35"/>
                    </a:lnTo>
                    <a:lnTo>
                      <a:pt x="30" y="59"/>
                    </a:lnTo>
                    <a:lnTo>
                      <a:pt x="34" y="82"/>
                    </a:lnTo>
                    <a:lnTo>
                      <a:pt x="37" y="107"/>
                    </a:lnTo>
                    <a:lnTo>
                      <a:pt x="41" y="130"/>
                    </a:lnTo>
                    <a:lnTo>
                      <a:pt x="47" y="154"/>
                    </a:lnTo>
                    <a:lnTo>
                      <a:pt x="52" y="179"/>
                    </a:lnTo>
                    <a:lnTo>
                      <a:pt x="58" y="204"/>
                    </a:lnTo>
                    <a:lnTo>
                      <a:pt x="66" y="229"/>
                    </a:lnTo>
                    <a:lnTo>
                      <a:pt x="74" y="253"/>
                    </a:lnTo>
                    <a:lnTo>
                      <a:pt x="82" y="278"/>
                    </a:lnTo>
                    <a:lnTo>
                      <a:pt x="92" y="302"/>
                    </a:lnTo>
                    <a:lnTo>
                      <a:pt x="103" y="327"/>
                    </a:lnTo>
                    <a:lnTo>
                      <a:pt x="114" y="352"/>
                    </a:lnTo>
                    <a:lnTo>
                      <a:pt x="125" y="375"/>
                    </a:lnTo>
                    <a:lnTo>
                      <a:pt x="138" y="400"/>
                    </a:lnTo>
                    <a:lnTo>
                      <a:pt x="151" y="424"/>
                    </a:lnTo>
                    <a:lnTo>
                      <a:pt x="165" y="447"/>
                    </a:lnTo>
                    <a:lnTo>
                      <a:pt x="180" y="470"/>
                    </a:lnTo>
                    <a:lnTo>
                      <a:pt x="196" y="493"/>
                    </a:lnTo>
                    <a:lnTo>
                      <a:pt x="212" y="516"/>
                    </a:lnTo>
                    <a:lnTo>
                      <a:pt x="229" y="537"/>
                    </a:lnTo>
                    <a:lnTo>
                      <a:pt x="247" y="559"/>
                    </a:lnTo>
                    <a:lnTo>
                      <a:pt x="266" y="579"/>
                    </a:lnTo>
                    <a:lnTo>
                      <a:pt x="285" y="600"/>
                    </a:lnTo>
                    <a:lnTo>
                      <a:pt x="306" y="619"/>
                    </a:lnTo>
                    <a:lnTo>
                      <a:pt x="327" y="638"/>
                    </a:lnTo>
                    <a:lnTo>
                      <a:pt x="349" y="656"/>
                    </a:lnTo>
                    <a:lnTo>
                      <a:pt x="372" y="673"/>
                    </a:lnTo>
                    <a:lnTo>
                      <a:pt x="395" y="691"/>
                    </a:lnTo>
                    <a:lnTo>
                      <a:pt x="419" y="706"/>
                    </a:lnTo>
                    <a:lnTo>
                      <a:pt x="445" y="721"/>
                    </a:lnTo>
                    <a:lnTo>
                      <a:pt x="478" y="740"/>
                    </a:lnTo>
                    <a:lnTo>
                      <a:pt x="512" y="756"/>
                    </a:lnTo>
                    <a:lnTo>
                      <a:pt x="543" y="773"/>
                    </a:lnTo>
                    <a:lnTo>
                      <a:pt x="575" y="787"/>
                    </a:lnTo>
                    <a:lnTo>
                      <a:pt x="604" y="800"/>
                    </a:lnTo>
                    <a:lnTo>
                      <a:pt x="633" y="812"/>
                    </a:lnTo>
                    <a:lnTo>
                      <a:pt x="660" y="821"/>
                    </a:lnTo>
                    <a:lnTo>
                      <a:pt x="687" y="831"/>
                    </a:lnTo>
                    <a:lnTo>
                      <a:pt x="713" y="839"/>
                    </a:lnTo>
                    <a:lnTo>
                      <a:pt x="738" y="845"/>
                    </a:lnTo>
                    <a:lnTo>
                      <a:pt x="761" y="850"/>
                    </a:lnTo>
                    <a:lnTo>
                      <a:pt x="784" y="855"/>
                    </a:lnTo>
                    <a:lnTo>
                      <a:pt x="806" y="859"/>
                    </a:lnTo>
                    <a:lnTo>
                      <a:pt x="827" y="861"/>
                    </a:lnTo>
                    <a:lnTo>
                      <a:pt x="847" y="863"/>
                    </a:lnTo>
                    <a:lnTo>
                      <a:pt x="866" y="864"/>
                    </a:lnTo>
                    <a:lnTo>
                      <a:pt x="884" y="864"/>
                    </a:lnTo>
                    <a:lnTo>
                      <a:pt x="902" y="863"/>
                    </a:lnTo>
                    <a:lnTo>
                      <a:pt x="919" y="862"/>
                    </a:lnTo>
                    <a:lnTo>
                      <a:pt x="935" y="861"/>
                    </a:lnTo>
                    <a:lnTo>
                      <a:pt x="950" y="858"/>
                    </a:lnTo>
                    <a:lnTo>
                      <a:pt x="964" y="856"/>
                    </a:lnTo>
                    <a:lnTo>
                      <a:pt x="977" y="853"/>
                    </a:lnTo>
                    <a:lnTo>
                      <a:pt x="990" y="848"/>
                    </a:lnTo>
                    <a:lnTo>
                      <a:pt x="1014" y="840"/>
                    </a:lnTo>
                    <a:lnTo>
                      <a:pt x="1035" y="830"/>
                    </a:lnTo>
                    <a:lnTo>
                      <a:pt x="1052" y="820"/>
                    </a:lnTo>
                    <a:lnTo>
                      <a:pt x="1068" y="809"/>
                    </a:lnTo>
                    <a:lnTo>
                      <a:pt x="1103" y="782"/>
                    </a:lnTo>
                    <a:lnTo>
                      <a:pt x="1162" y="737"/>
                    </a:lnTo>
                    <a:lnTo>
                      <a:pt x="1231" y="686"/>
                    </a:lnTo>
                    <a:lnTo>
                      <a:pt x="1268" y="660"/>
                    </a:lnTo>
                    <a:lnTo>
                      <a:pt x="1307" y="633"/>
                    </a:lnTo>
                    <a:lnTo>
                      <a:pt x="1347" y="608"/>
                    </a:lnTo>
                    <a:lnTo>
                      <a:pt x="1387" y="583"/>
                    </a:lnTo>
                    <a:lnTo>
                      <a:pt x="1427" y="559"/>
                    </a:lnTo>
                    <a:lnTo>
                      <a:pt x="1468" y="537"/>
                    </a:lnTo>
                    <a:lnTo>
                      <a:pt x="1488" y="528"/>
                    </a:lnTo>
                    <a:lnTo>
                      <a:pt x="1508" y="518"/>
                    </a:lnTo>
                    <a:lnTo>
                      <a:pt x="1528" y="509"/>
                    </a:lnTo>
                    <a:lnTo>
                      <a:pt x="1548" y="501"/>
                    </a:lnTo>
                    <a:lnTo>
                      <a:pt x="1567" y="494"/>
                    </a:lnTo>
                    <a:lnTo>
                      <a:pt x="1585" y="488"/>
                    </a:lnTo>
                    <a:lnTo>
                      <a:pt x="1605" y="481"/>
                    </a:lnTo>
                    <a:lnTo>
                      <a:pt x="1623" y="477"/>
                    </a:lnTo>
                    <a:lnTo>
                      <a:pt x="1641" y="474"/>
                    </a:lnTo>
                    <a:lnTo>
                      <a:pt x="1659" y="470"/>
                    </a:lnTo>
                    <a:lnTo>
                      <a:pt x="1676" y="469"/>
                    </a:lnTo>
                    <a:lnTo>
                      <a:pt x="1692" y="469"/>
                    </a:lnTo>
                    <a:lnTo>
                      <a:pt x="1698" y="470"/>
                    </a:lnTo>
                    <a:lnTo>
                      <a:pt x="1702" y="474"/>
                    </a:lnTo>
                    <a:lnTo>
                      <a:pt x="1705" y="478"/>
                    </a:lnTo>
                    <a:lnTo>
                      <a:pt x="1705" y="483"/>
                    </a:lnTo>
                    <a:lnTo>
                      <a:pt x="1704" y="489"/>
                    </a:lnTo>
                    <a:lnTo>
                      <a:pt x="1702" y="493"/>
                    </a:lnTo>
                    <a:lnTo>
                      <a:pt x="1700" y="494"/>
                    </a:lnTo>
                    <a:lnTo>
                      <a:pt x="1698" y="495"/>
                    </a:lnTo>
                    <a:lnTo>
                      <a:pt x="1694" y="496"/>
                    </a:lnTo>
                    <a:lnTo>
                      <a:pt x="1692" y="496"/>
                    </a:lnTo>
                    <a:lnTo>
                      <a:pt x="1689" y="496"/>
                    </a:lnTo>
                    <a:lnTo>
                      <a:pt x="1687" y="496"/>
                    </a:lnTo>
                    <a:lnTo>
                      <a:pt x="1672" y="496"/>
                    </a:lnTo>
                    <a:lnTo>
                      <a:pt x="1654" y="498"/>
                    </a:lnTo>
                    <a:lnTo>
                      <a:pt x="1638" y="502"/>
                    </a:lnTo>
                    <a:lnTo>
                      <a:pt x="1621" y="505"/>
                    </a:lnTo>
                    <a:lnTo>
                      <a:pt x="1603" y="510"/>
                    </a:lnTo>
                    <a:lnTo>
                      <a:pt x="1584" y="516"/>
                    </a:lnTo>
                    <a:lnTo>
                      <a:pt x="1566" y="522"/>
                    </a:lnTo>
                    <a:lnTo>
                      <a:pt x="1546" y="530"/>
                    </a:lnTo>
                    <a:lnTo>
                      <a:pt x="1509" y="547"/>
                    </a:lnTo>
                    <a:lnTo>
                      <a:pt x="1469" y="568"/>
                    </a:lnTo>
                    <a:lnTo>
                      <a:pt x="1430" y="589"/>
                    </a:lnTo>
                    <a:lnTo>
                      <a:pt x="1390" y="613"/>
                    </a:lnTo>
                    <a:lnTo>
                      <a:pt x="1351" y="638"/>
                    </a:lnTo>
                    <a:lnTo>
                      <a:pt x="1312" y="663"/>
                    </a:lnTo>
                    <a:lnTo>
                      <a:pt x="1275" y="688"/>
                    </a:lnTo>
                    <a:lnTo>
                      <a:pt x="1240" y="714"/>
                    </a:lnTo>
                    <a:lnTo>
                      <a:pt x="1174" y="762"/>
                    </a:lnTo>
                    <a:lnTo>
                      <a:pt x="1119" y="804"/>
                    </a:lnTo>
                    <a:lnTo>
                      <a:pt x="1084" y="831"/>
                    </a:lnTo>
                    <a:lnTo>
                      <a:pt x="1068" y="842"/>
                    </a:lnTo>
                    <a:lnTo>
                      <a:pt x="1050" y="853"/>
                    </a:lnTo>
                    <a:lnTo>
                      <a:pt x="1029" y="862"/>
                    </a:lnTo>
                    <a:lnTo>
                      <a:pt x="1005" y="872"/>
                    </a:lnTo>
                    <a:lnTo>
                      <a:pt x="992" y="876"/>
                    </a:lnTo>
                    <a:lnTo>
                      <a:pt x="978" y="880"/>
                    </a:lnTo>
                    <a:lnTo>
                      <a:pt x="964" y="883"/>
                    </a:lnTo>
                    <a:lnTo>
                      <a:pt x="949" y="886"/>
                    </a:lnTo>
                    <a:lnTo>
                      <a:pt x="933" y="888"/>
                    </a:lnTo>
                    <a:lnTo>
                      <a:pt x="917" y="889"/>
                    </a:lnTo>
                    <a:lnTo>
                      <a:pt x="899" y="890"/>
                    </a:lnTo>
                    <a:lnTo>
                      <a:pt x="881" y="8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91"/>
              <p:cNvSpPr>
                <a:spLocks/>
              </p:cNvSpPr>
              <p:nvPr userDrawn="1"/>
            </p:nvSpPr>
            <p:spPr bwMode="auto">
              <a:xfrm>
                <a:off x="2259" y="1817"/>
                <a:ext cx="127" cy="259"/>
              </a:xfrm>
              <a:custGeom>
                <a:avLst/>
                <a:gdLst>
                  <a:gd name="T0" fmla="*/ 337 w 381"/>
                  <a:gd name="T1" fmla="*/ 776 h 777"/>
                  <a:gd name="T2" fmla="*/ 310 w 381"/>
                  <a:gd name="T3" fmla="*/ 773 h 777"/>
                  <a:gd name="T4" fmla="*/ 280 w 381"/>
                  <a:gd name="T5" fmla="*/ 763 h 777"/>
                  <a:gd name="T6" fmla="*/ 246 w 381"/>
                  <a:gd name="T7" fmla="*/ 750 h 777"/>
                  <a:gd name="T8" fmla="*/ 216 w 381"/>
                  <a:gd name="T9" fmla="*/ 733 h 777"/>
                  <a:gd name="T10" fmla="*/ 188 w 381"/>
                  <a:gd name="T11" fmla="*/ 715 h 777"/>
                  <a:gd name="T12" fmla="*/ 159 w 381"/>
                  <a:gd name="T13" fmla="*/ 690 h 777"/>
                  <a:gd name="T14" fmla="*/ 129 w 381"/>
                  <a:gd name="T15" fmla="*/ 661 h 777"/>
                  <a:gd name="T16" fmla="*/ 101 w 381"/>
                  <a:gd name="T17" fmla="*/ 626 h 777"/>
                  <a:gd name="T18" fmla="*/ 74 w 381"/>
                  <a:gd name="T19" fmla="*/ 584 h 777"/>
                  <a:gd name="T20" fmla="*/ 51 w 381"/>
                  <a:gd name="T21" fmla="*/ 536 h 777"/>
                  <a:gd name="T22" fmla="*/ 29 w 381"/>
                  <a:gd name="T23" fmla="*/ 480 h 777"/>
                  <a:gd name="T24" fmla="*/ 13 w 381"/>
                  <a:gd name="T25" fmla="*/ 421 h 777"/>
                  <a:gd name="T26" fmla="*/ 4 w 381"/>
                  <a:gd name="T27" fmla="*/ 372 h 777"/>
                  <a:gd name="T28" fmla="*/ 0 w 381"/>
                  <a:gd name="T29" fmla="*/ 324 h 777"/>
                  <a:gd name="T30" fmla="*/ 1 w 381"/>
                  <a:gd name="T31" fmla="*/ 280 h 777"/>
                  <a:gd name="T32" fmla="*/ 4 w 381"/>
                  <a:gd name="T33" fmla="*/ 239 h 777"/>
                  <a:gd name="T34" fmla="*/ 11 w 381"/>
                  <a:gd name="T35" fmla="*/ 201 h 777"/>
                  <a:gd name="T36" fmla="*/ 20 w 381"/>
                  <a:gd name="T37" fmla="*/ 165 h 777"/>
                  <a:gd name="T38" fmla="*/ 32 w 381"/>
                  <a:gd name="T39" fmla="*/ 134 h 777"/>
                  <a:gd name="T40" fmla="*/ 51 w 381"/>
                  <a:gd name="T41" fmla="*/ 93 h 777"/>
                  <a:gd name="T42" fmla="*/ 77 w 381"/>
                  <a:gd name="T43" fmla="*/ 50 h 777"/>
                  <a:gd name="T44" fmla="*/ 107 w 381"/>
                  <a:gd name="T45" fmla="*/ 11 h 777"/>
                  <a:gd name="T46" fmla="*/ 120 w 381"/>
                  <a:gd name="T47" fmla="*/ 0 h 777"/>
                  <a:gd name="T48" fmla="*/ 129 w 381"/>
                  <a:gd name="T49" fmla="*/ 1 h 777"/>
                  <a:gd name="T50" fmla="*/ 137 w 381"/>
                  <a:gd name="T51" fmla="*/ 9 h 777"/>
                  <a:gd name="T52" fmla="*/ 136 w 381"/>
                  <a:gd name="T53" fmla="*/ 19 h 777"/>
                  <a:gd name="T54" fmla="*/ 126 w 381"/>
                  <a:gd name="T55" fmla="*/ 30 h 777"/>
                  <a:gd name="T56" fmla="*/ 97 w 381"/>
                  <a:gd name="T57" fmla="*/ 67 h 777"/>
                  <a:gd name="T58" fmla="*/ 73 w 381"/>
                  <a:gd name="T59" fmla="*/ 107 h 777"/>
                  <a:gd name="T60" fmla="*/ 56 w 381"/>
                  <a:gd name="T61" fmla="*/ 146 h 777"/>
                  <a:gd name="T62" fmla="*/ 45 w 381"/>
                  <a:gd name="T63" fmla="*/ 175 h 777"/>
                  <a:gd name="T64" fmla="*/ 38 w 381"/>
                  <a:gd name="T65" fmla="*/ 209 h 777"/>
                  <a:gd name="T66" fmla="*/ 31 w 381"/>
                  <a:gd name="T67" fmla="*/ 244 h 777"/>
                  <a:gd name="T68" fmla="*/ 27 w 381"/>
                  <a:gd name="T69" fmla="*/ 283 h 777"/>
                  <a:gd name="T70" fmla="*/ 27 w 381"/>
                  <a:gd name="T71" fmla="*/ 324 h 777"/>
                  <a:gd name="T72" fmla="*/ 31 w 381"/>
                  <a:gd name="T73" fmla="*/ 368 h 777"/>
                  <a:gd name="T74" fmla="*/ 40 w 381"/>
                  <a:gd name="T75" fmla="*/ 416 h 777"/>
                  <a:gd name="T76" fmla="*/ 55 w 381"/>
                  <a:gd name="T77" fmla="*/ 471 h 777"/>
                  <a:gd name="T78" fmla="*/ 74 w 381"/>
                  <a:gd name="T79" fmla="*/ 524 h 777"/>
                  <a:gd name="T80" fmla="*/ 98 w 381"/>
                  <a:gd name="T81" fmla="*/ 570 h 777"/>
                  <a:gd name="T82" fmla="*/ 123 w 381"/>
                  <a:gd name="T83" fmla="*/ 609 h 777"/>
                  <a:gd name="T84" fmla="*/ 149 w 381"/>
                  <a:gd name="T85" fmla="*/ 643 h 777"/>
                  <a:gd name="T86" fmla="*/ 176 w 381"/>
                  <a:gd name="T87" fmla="*/ 670 h 777"/>
                  <a:gd name="T88" fmla="*/ 203 w 381"/>
                  <a:gd name="T89" fmla="*/ 692 h 777"/>
                  <a:gd name="T90" fmla="*/ 230 w 381"/>
                  <a:gd name="T91" fmla="*/ 711 h 777"/>
                  <a:gd name="T92" fmla="*/ 262 w 381"/>
                  <a:gd name="T93" fmla="*/ 728 h 777"/>
                  <a:gd name="T94" fmla="*/ 301 w 381"/>
                  <a:gd name="T95" fmla="*/ 743 h 777"/>
                  <a:gd name="T96" fmla="*/ 332 w 381"/>
                  <a:gd name="T97" fmla="*/ 749 h 777"/>
                  <a:gd name="T98" fmla="*/ 356 w 381"/>
                  <a:gd name="T99" fmla="*/ 750 h 777"/>
                  <a:gd name="T100" fmla="*/ 369 w 381"/>
                  <a:gd name="T101" fmla="*/ 748 h 777"/>
                  <a:gd name="T102" fmla="*/ 378 w 381"/>
                  <a:gd name="T103" fmla="*/ 753 h 777"/>
                  <a:gd name="T104" fmla="*/ 381 w 381"/>
                  <a:gd name="T105" fmla="*/ 763 h 777"/>
                  <a:gd name="T106" fmla="*/ 377 w 381"/>
                  <a:gd name="T107" fmla="*/ 772 h 777"/>
                  <a:gd name="T108" fmla="*/ 361 w 381"/>
                  <a:gd name="T109" fmla="*/ 77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777">
                    <a:moveTo>
                      <a:pt x="349" y="777"/>
                    </a:moveTo>
                    <a:lnTo>
                      <a:pt x="337" y="776"/>
                    </a:lnTo>
                    <a:lnTo>
                      <a:pt x="324" y="775"/>
                    </a:lnTo>
                    <a:lnTo>
                      <a:pt x="310" y="773"/>
                    </a:lnTo>
                    <a:lnTo>
                      <a:pt x="295" y="769"/>
                    </a:lnTo>
                    <a:lnTo>
                      <a:pt x="280" y="763"/>
                    </a:lnTo>
                    <a:lnTo>
                      <a:pt x="262" y="758"/>
                    </a:lnTo>
                    <a:lnTo>
                      <a:pt x="246" y="750"/>
                    </a:lnTo>
                    <a:lnTo>
                      <a:pt x="229" y="741"/>
                    </a:lnTo>
                    <a:lnTo>
                      <a:pt x="216" y="733"/>
                    </a:lnTo>
                    <a:lnTo>
                      <a:pt x="202" y="725"/>
                    </a:lnTo>
                    <a:lnTo>
                      <a:pt x="188" y="715"/>
                    </a:lnTo>
                    <a:lnTo>
                      <a:pt x="174" y="703"/>
                    </a:lnTo>
                    <a:lnTo>
                      <a:pt x="159" y="690"/>
                    </a:lnTo>
                    <a:lnTo>
                      <a:pt x="145" y="677"/>
                    </a:lnTo>
                    <a:lnTo>
                      <a:pt x="129" y="661"/>
                    </a:lnTo>
                    <a:lnTo>
                      <a:pt x="115" y="645"/>
                    </a:lnTo>
                    <a:lnTo>
                      <a:pt x="101" y="626"/>
                    </a:lnTo>
                    <a:lnTo>
                      <a:pt x="88" y="606"/>
                    </a:lnTo>
                    <a:lnTo>
                      <a:pt x="74" y="584"/>
                    </a:lnTo>
                    <a:lnTo>
                      <a:pt x="63" y="560"/>
                    </a:lnTo>
                    <a:lnTo>
                      <a:pt x="51" y="536"/>
                    </a:lnTo>
                    <a:lnTo>
                      <a:pt x="40" y="509"/>
                    </a:lnTo>
                    <a:lnTo>
                      <a:pt x="29" y="480"/>
                    </a:lnTo>
                    <a:lnTo>
                      <a:pt x="19" y="448"/>
                    </a:lnTo>
                    <a:lnTo>
                      <a:pt x="13" y="421"/>
                    </a:lnTo>
                    <a:lnTo>
                      <a:pt x="9" y="396"/>
                    </a:lnTo>
                    <a:lnTo>
                      <a:pt x="4" y="372"/>
                    </a:lnTo>
                    <a:lnTo>
                      <a:pt x="2" y="348"/>
                    </a:lnTo>
                    <a:lnTo>
                      <a:pt x="0" y="324"/>
                    </a:lnTo>
                    <a:lnTo>
                      <a:pt x="0" y="301"/>
                    </a:lnTo>
                    <a:lnTo>
                      <a:pt x="1" y="280"/>
                    </a:lnTo>
                    <a:lnTo>
                      <a:pt x="2" y="258"/>
                    </a:lnTo>
                    <a:lnTo>
                      <a:pt x="4" y="239"/>
                    </a:lnTo>
                    <a:lnTo>
                      <a:pt x="7" y="219"/>
                    </a:lnTo>
                    <a:lnTo>
                      <a:pt x="11" y="201"/>
                    </a:lnTo>
                    <a:lnTo>
                      <a:pt x="16" y="183"/>
                    </a:lnTo>
                    <a:lnTo>
                      <a:pt x="20" y="165"/>
                    </a:lnTo>
                    <a:lnTo>
                      <a:pt x="26" y="149"/>
                    </a:lnTo>
                    <a:lnTo>
                      <a:pt x="32" y="134"/>
                    </a:lnTo>
                    <a:lnTo>
                      <a:pt x="38" y="120"/>
                    </a:lnTo>
                    <a:lnTo>
                      <a:pt x="51" y="93"/>
                    </a:lnTo>
                    <a:lnTo>
                      <a:pt x="64" y="69"/>
                    </a:lnTo>
                    <a:lnTo>
                      <a:pt x="77" y="50"/>
                    </a:lnTo>
                    <a:lnTo>
                      <a:pt x="88" y="34"/>
                    </a:lnTo>
                    <a:lnTo>
                      <a:pt x="107" y="11"/>
                    </a:lnTo>
                    <a:lnTo>
                      <a:pt x="115" y="3"/>
                    </a:lnTo>
                    <a:lnTo>
                      <a:pt x="120" y="0"/>
                    </a:lnTo>
                    <a:lnTo>
                      <a:pt x="125" y="0"/>
                    </a:lnTo>
                    <a:lnTo>
                      <a:pt x="129" y="1"/>
                    </a:lnTo>
                    <a:lnTo>
                      <a:pt x="134" y="5"/>
                    </a:lnTo>
                    <a:lnTo>
                      <a:pt x="137" y="9"/>
                    </a:lnTo>
                    <a:lnTo>
                      <a:pt x="137" y="14"/>
                    </a:lnTo>
                    <a:lnTo>
                      <a:pt x="136" y="19"/>
                    </a:lnTo>
                    <a:lnTo>
                      <a:pt x="133" y="23"/>
                    </a:lnTo>
                    <a:lnTo>
                      <a:pt x="126" y="30"/>
                    </a:lnTo>
                    <a:lnTo>
                      <a:pt x="109" y="52"/>
                    </a:lnTo>
                    <a:lnTo>
                      <a:pt x="97" y="67"/>
                    </a:lnTo>
                    <a:lnTo>
                      <a:pt x="85" y="86"/>
                    </a:lnTo>
                    <a:lnTo>
                      <a:pt x="73" y="107"/>
                    </a:lnTo>
                    <a:lnTo>
                      <a:pt x="61" y="132"/>
                    </a:lnTo>
                    <a:lnTo>
                      <a:pt x="56" y="146"/>
                    </a:lnTo>
                    <a:lnTo>
                      <a:pt x="51" y="160"/>
                    </a:lnTo>
                    <a:lnTo>
                      <a:pt x="45" y="175"/>
                    </a:lnTo>
                    <a:lnTo>
                      <a:pt x="41" y="191"/>
                    </a:lnTo>
                    <a:lnTo>
                      <a:pt x="38" y="209"/>
                    </a:lnTo>
                    <a:lnTo>
                      <a:pt x="33" y="226"/>
                    </a:lnTo>
                    <a:lnTo>
                      <a:pt x="31" y="244"/>
                    </a:lnTo>
                    <a:lnTo>
                      <a:pt x="29" y="263"/>
                    </a:lnTo>
                    <a:lnTo>
                      <a:pt x="27" y="283"/>
                    </a:lnTo>
                    <a:lnTo>
                      <a:pt x="27" y="304"/>
                    </a:lnTo>
                    <a:lnTo>
                      <a:pt x="27" y="324"/>
                    </a:lnTo>
                    <a:lnTo>
                      <a:pt x="29" y="346"/>
                    </a:lnTo>
                    <a:lnTo>
                      <a:pt x="31" y="368"/>
                    </a:lnTo>
                    <a:lnTo>
                      <a:pt x="34" y="392"/>
                    </a:lnTo>
                    <a:lnTo>
                      <a:pt x="40" y="416"/>
                    </a:lnTo>
                    <a:lnTo>
                      <a:pt x="46" y="441"/>
                    </a:lnTo>
                    <a:lnTo>
                      <a:pt x="55" y="471"/>
                    </a:lnTo>
                    <a:lnTo>
                      <a:pt x="65" y="498"/>
                    </a:lnTo>
                    <a:lnTo>
                      <a:pt x="74" y="524"/>
                    </a:lnTo>
                    <a:lnTo>
                      <a:pt x="86" y="548"/>
                    </a:lnTo>
                    <a:lnTo>
                      <a:pt x="98" y="570"/>
                    </a:lnTo>
                    <a:lnTo>
                      <a:pt x="110" y="591"/>
                    </a:lnTo>
                    <a:lnTo>
                      <a:pt x="123" y="609"/>
                    </a:lnTo>
                    <a:lnTo>
                      <a:pt x="136" y="626"/>
                    </a:lnTo>
                    <a:lnTo>
                      <a:pt x="149" y="643"/>
                    </a:lnTo>
                    <a:lnTo>
                      <a:pt x="163" y="657"/>
                    </a:lnTo>
                    <a:lnTo>
                      <a:pt x="176" y="670"/>
                    </a:lnTo>
                    <a:lnTo>
                      <a:pt x="190" y="681"/>
                    </a:lnTo>
                    <a:lnTo>
                      <a:pt x="203" y="692"/>
                    </a:lnTo>
                    <a:lnTo>
                      <a:pt x="217" y="702"/>
                    </a:lnTo>
                    <a:lnTo>
                      <a:pt x="230" y="711"/>
                    </a:lnTo>
                    <a:lnTo>
                      <a:pt x="242" y="717"/>
                    </a:lnTo>
                    <a:lnTo>
                      <a:pt x="262" y="728"/>
                    </a:lnTo>
                    <a:lnTo>
                      <a:pt x="283" y="736"/>
                    </a:lnTo>
                    <a:lnTo>
                      <a:pt x="301" y="743"/>
                    </a:lnTo>
                    <a:lnTo>
                      <a:pt x="318" y="747"/>
                    </a:lnTo>
                    <a:lnTo>
                      <a:pt x="332" y="749"/>
                    </a:lnTo>
                    <a:lnTo>
                      <a:pt x="345" y="750"/>
                    </a:lnTo>
                    <a:lnTo>
                      <a:pt x="356" y="750"/>
                    </a:lnTo>
                    <a:lnTo>
                      <a:pt x="364" y="748"/>
                    </a:lnTo>
                    <a:lnTo>
                      <a:pt x="369" y="748"/>
                    </a:lnTo>
                    <a:lnTo>
                      <a:pt x="375" y="749"/>
                    </a:lnTo>
                    <a:lnTo>
                      <a:pt x="378" y="753"/>
                    </a:lnTo>
                    <a:lnTo>
                      <a:pt x="381" y="758"/>
                    </a:lnTo>
                    <a:lnTo>
                      <a:pt x="381" y="763"/>
                    </a:lnTo>
                    <a:lnTo>
                      <a:pt x="380" y="768"/>
                    </a:lnTo>
                    <a:lnTo>
                      <a:pt x="377" y="772"/>
                    </a:lnTo>
                    <a:lnTo>
                      <a:pt x="371" y="774"/>
                    </a:lnTo>
                    <a:lnTo>
                      <a:pt x="361" y="776"/>
                    </a:lnTo>
                    <a:lnTo>
                      <a:pt x="34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92"/>
              <p:cNvSpPr>
                <a:spLocks/>
              </p:cNvSpPr>
              <p:nvPr userDrawn="1"/>
            </p:nvSpPr>
            <p:spPr bwMode="auto">
              <a:xfrm>
                <a:off x="2215" y="1861"/>
                <a:ext cx="135" cy="239"/>
              </a:xfrm>
              <a:custGeom>
                <a:avLst/>
                <a:gdLst>
                  <a:gd name="T0" fmla="*/ 390 w 406"/>
                  <a:gd name="T1" fmla="*/ 717 h 717"/>
                  <a:gd name="T2" fmla="*/ 377 w 406"/>
                  <a:gd name="T3" fmla="*/ 711 h 717"/>
                  <a:gd name="T4" fmla="*/ 336 w 406"/>
                  <a:gd name="T5" fmla="*/ 691 h 717"/>
                  <a:gd name="T6" fmla="*/ 296 w 406"/>
                  <a:gd name="T7" fmla="*/ 665 h 717"/>
                  <a:gd name="T8" fmla="*/ 250 w 406"/>
                  <a:gd name="T9" fmla="*/ 629 h 717"/>
                  <a:gd name="T10" fmla="*/ 199 w 406"/>
                  <a:gd name="T11" fmla="*/ 583 h 717"/>
                  <a:gd name="T12" fmla="*/ 160 w 406"/>
                  <a:gd name="T13" fmla="*/ 540 h 717"/>
                  <a:gd name="T14" fmla="*/ 134 w 406"/>
                  <a:gd name="T15" fmla="*/ 507 h 717"/>
                  <a:gd name="T16" fmla="*/ 109 w 406"/>
                  <a:gd name="T17" fmla="*/ 470 h 717"/>
                  <a:gd name="T18" fmla="*/ 84 w 406"/>
                  <a:gd name="T19" fmla="*/ 432 h 717"/>
                  <a:gd name="T20" fmla="*/ 62 w 406"/>
                  <a:gd name="T21" fmla="*/ 388 h 717"/>
                  <a:gd name="T22" fmla="*/ 42 w 406"/>
                  <a:gd name="T23" fmla="*/ 347 h 717"/>
                  <a:gd name="T24" fmla="*/ 27 w 406"/>
                  <a:gd name="T25" fmla="*/ 307 h 717"/>
                  <a:gd name="T26" fmla="*/ 16 w 406"/>
                  <a:gd name="T27" fmla="*/ 269 h 717"/>
                  <a:gd name="T28" fmla="*/ 9 w 406"/>
                  <a:gd name="T29" fmla="*/ 233 h 717"/>
                  <a:gd name="T30" fmla="*/ 3 w 406"/>
                  <a:gd name="T31" fmla="*/ 198 h 717"/>
                  <a:gd name="T32" fmla="*/ 0 w 406"/>
                  <a:gd name="T33" fmla="*/ 152 h 717"/>
                  <a:gd name="T34" fmla="*/ 2 w 406"/>
                  <a:gd name="T35" fmla="*/ 99 h 717"/>
                  <a:gd name="T36" fmla="*/ 10 w 406"/>
                  <a:gd name="T37" fmla="*/ 57 h 717"/>
                  <a:gd name="T38" fmla="*/ 21 w 406"/>
                  <a:gd name="T39" fmla="*/ 17 h 717"/>
                  <a:gd name="T40" fmla="*/ 28 w 406"/>
                  <a:gd name="T41" fmla="*/ 3 h 717"/>
                  <a:gd name="T42" fmla="*/ 38 w 406"/>
                  <a:gd name="T43" fmla="*/ 0 h 717"/>
                  <a:gd name="T44" fmla="*/ 48 w 406"/>
                  <a:gd name="T45" fmla="*/ 4 h 717"/>
                  <a:gd name="T46" fmla="*/ 51 w 406"/>
                  <a:gd name="T47" fmla="*/ 14 h 717"/>
                  <a:gd name="T48" fmla="*/ 47 w 406"/>
                  <a:gd name="T49" fmla="*/ 27 h 717"/>
                  <a:gd name="T50" fmla="*/ 36 w 406"/>
                  <a:gd name="T51" fmla="*/ 63 h 717"/>
                  <a:gd name="T52" fmla="*/ 30 w 406"/>
                  <a:gd name="T53" fmla="*/ 102 h 717"/>
                  <a:gd name="T54" fmla="*/ 28 w 406"/>
                  <a:gd name="T55" fmla="*/ 153 h 717"/>
                  <a:gd name="T56" fmla="*/ 30 w 406"/>
                  <a:gd name="T57" fmla="*/ 197 h 717"/>
                  <a:gd name="T58" fmla="*/ 36 w 406"/>
                  <a:gd name="T59" fmla="*/ 230 h 717"/>
                  <a:gd name="T60" fmla="*/ 43 w 406"/>
                  <a:gd name="T61" fmla="*/ 263 h 717"/>
                  <a:gd name="T62" fmla="*/ 54 w 406"/>
                  <a:gd name="T63" fmla="*/ 300 h 717"/>
                  <a:gd name="T64" fmla="*/ 68 w 406"/>
                  <a:gd name="T65" fmla="*/ 338 h 717"/>
                  <a:gd name="T66" fmla="*/ 85 w 406"/>
                  <a:gd name="T67" fmla="*/ 377 h 717"/>
                  <a:gd name="T68" fmla="*/ 108 w 406"/>
                  <a:gd name="T69" fmla="*/ 418 h 717"/>
                  <a:gd name="T70" fmla="*/ 131 w 406"/>
                  <a:gd name="T71" fmla="*/ 455 h 717"/>
                  <a:gd name="T72" fmla="*/ 156 w 406"/>
                  <a:gd name="T73" fmla="*/ 491 h 717"/>
                  <a:gd name="T74" fmla="*/ 180 w 406"/>
                  <a:gd name="T75" fmla="*/ 522 h 717"/>
                  <a:gd name="T76" fmla="*/ 218 w 406"/>
                  <a:gd name="T77" fmla="*/ 563 h 717"/>
                  <a:gd name="T78" fmla="*/ 268 w 406"/>
                  <a:gd name="T79" fmla="*/ 609 h 717"/>
                  <a:gd name="T80" fmla="*/ 312 w 406"/>
                  <a:gd name="T81" fmla="*/ 643 h 717"/>
                  <a:gd name="T82" fmla="*/ 351 w 406"/>
                  <a:gd name="T83" fmla="*/ 667 h 717"/>
                  <a:gd name="T84" fmla="*/ 389 w 406"/>
                  <a:gd name="T85" fmla="*/ 687 h 717"/>
                  <a:gd name="T86" fmla="*/ 402 w 406"/>
                  <a:gd name="T87" fmla="*/ 694 h 717"/>
                  <a:gd name="T88" fmla="*/ 406 w 406"/>
                  <a:gd name="T89" fmla="*/ 704 h 717"/>
                  <a:gd name="T90" fmla="*/ 403 w 406"/>
                  <a:gd name="T91" fmla="*/ 712 h 717"/>
                  <a:gd name="T92" fmla="*/ 396 w 406"/>
                  <a:gd name="T93"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717">
                    <a:moveTo>
                      <a:pt x="392" y="717"/>
                    </a:moveTo>
                    <a:lnTo>
                      <a:pt x="390" y="717"/>
                    </a:lnTo>
                    <a:lnTo>
                      <a:pt x="388" y="717"/>
                    </a:lnTo>
                    <a:lnTo>
                      <a:pt x="377" y="711"/>
                    </a:lnTo>
                    <a:lnTo>
                      <a:pt x="352" y="699"/>
                    </a:lnTo>
                    <a:lnTo>
                      <a:pt x="336" y="691"/>
                    </a:lnTo>
                    <a:lnTo>
                      <a:pt x="318" y="679"/>
                    </a:lnTo>
                    <a:lnTo>
                      <a:pt x="296" y="665"/>
                    </a:lnTo>
                    <a:lnTo>
                      <a:pt x="273" y="649"/>
                    </a:lnTo>
                    <a:lnTo>
                      <a:pt x="250" y="629"/>
                    </a:lnTo>
                    <a:lnTo>
                      <a:pt x="225" y="608"/>
                    </a:lnTo>
                    <a:lnTo>
                      <a:pt x="199" y="583"/>
                    </a:lnTo>
                    <a:lnTo>
                      <a:pt x="173" y="555"/>
                    </a:lnTo>
                    <a:lnTo>
                      <a:pt x="160" y="540"/>
                    </a:lnTo>
                    <a:lnTo>
                      <a:pt x="147" y="523"/>
                    </a:lnTo>
                    <a:lnTo>
                      <a:pt x="134" y="507"/>
                    </a:lnTo>
                    <a:lnTo>
                      <a:pt x="121" y="489"/>
                    </a:lnTo>
                    <a:lnTo>
                      <a:pt x="109" y="470"/>
                    </a:lnTo>
                    <a:lnTo>
                      <a:pt x="96" y="451"/>
                    </a:lnTo>
                    <a:lnTo>
                      <a:pt x="84" y="432"/>
                    </a:lnTo>
                    <a:lnTo>
                      <a:pt x="72" y="410"/>
                    </a:lnTo>
                    <a:lnTo>
                      <a:pt x="62" y="388"/>
                    </a:lnTo>
                    <a:lnTo>
                      <a:pt x="51" y="368"/>
                    </a:lnTo>
                    <a:lnTo>
                      <a:pt x="42" y="347"/>
                    </a:lnTo>
                    <a:lnTo>
                      <a:pt x="35" y="327"/>
                    </a:lnTo>
                    <a:lnTo>
                      <a:pt x="27" y="307"/>
                    </a:lnTo>
                    <a:lnTo>
                      <a:pt x="22" y="288"/>
                    </a:lnTo>
                    <a:lnTo>
                      <a:pt x="16" y="269"/>
                    </a:lnTo>
                    <a:lnTo>
                      <a:pt x="12" y="250"/>
                    </a:lnTo>
                    <a:lnTo>
                      <a:pt x="9" y="233"/>
                    </a:lnTo>
                    <a:lnTo>
                      <a:pt x="5" y="216"/>
                    </a:lnTo>
                    <a:lnTo>
                      <a:pt x="3" y="198"/>
                    </a:lnTo>
                    <a:lnTo>
                      <a:pt x="1" y="183"/>
                    </a:lnTo>
                    <a:lnTo>
                      <a:pt x="0" y="152"/>
                    </a:lnTo>
                    <a:lnTo>
                      <a:pt x="0" y="125"/>
                    </a:lnTo>
                    <a:lnTo>
                      <a:pt x="2" y="99"/>
                    </a:lnTo>
                    <a:lnTo>
                      <a:pt x="5" y="76"/>
                    </a:lnTo>
                    <a:lnTo>
                      <a:pt x="10" y="57"/>
                    </a:lnTo>
                    <a:lnTo>
                      <a:pt x="13" y="41"/>
                    </a:lnTo>
                    <a:lnTo>
                      <a:pt x="21" y="17"/>
                    </a:lnTo>
                    <a:lnTo>
                      <a:pt x="25" y="7"/>
                    </a:lnTo>
                    <a:lnTo>
                      <a:pt x="28" y="3"/>
                    </a:lnTo>
                    <a:lnTo>
                      <a:pt x="32" y="1"/>
                    </a:lnTo>
                    <a:lnTo>
                      <a:pt x="38" y="0"/>
                    </a:lnTo>
                    <a:lnTo>
                      <a:pt x="43" y="1"/>
                    </a:lnTo>
                    <a:lnTo>
                      <a:pt x="48" y="4"/>
                    </a:lnTo>
                    <a:lnTo>
                      <a:pt x="50" y="8"/>
                    </a:lnTo>
                    <a:lnTo>
                      <a:pt x="51" y="14"/>
                    </a:lnTo>
                    <a:lnTo>
                      <a:pt x="50" y="19"/>
                    </a:lnTo>
                    <a:lnTo>
                      <a:pt x="47" y="27"/>
                    </a:lnTo>
                    <a:lnTo>
                      <a:pt x="40" y="48"/>
                    </a:lnTo>
                    <a:lnTo>
                      <a:pt x="36" y="63"/>
                    </a:lnTo>
                    <a:lnTo>
                      <a:pt x="32" y="82"/>
                    </a:lnTo>
                    <a:lnTo>
                      <a:pt x="30" y="102"/>
                    </a:lnTo>
                    <a:lnTo>
                      <a:pt x="28" y="127"/>
                    </a:lnTo>
                    <a:lnTo>
                      <a:pt x="28" y="153"/>
                    </a:lnTo>
                    <a:lnTo>
                      <a:pt x="29" y="182"/>
                    </a:lnTo>
                    <a:lnTo>
                      <a:pt x="30" y="197"/>
                    </a:lnTo>
                    <a:lnTo>
                      <a:pt x="32" y="212"/>
                    </a:lnTo>
                    <a:lnTo>
                      <a:pt x="36" y="230"/>
                    </a:lnTo>
                    <a:lnTo>
                      <a:pt x="39" y="246"/>
                    </a:lnTo>
                    <a:lnTo>
                      <a:pt x="43" y="263"/>
                    </a:lnTo>
                    <a:lnTo>
                      <a:pt x="48" y="282"/>
                    </a:lnTo>
                    <a:lnTo>
                      <a:pt x="54" y="300"/>
                    </a:lnTo>
                    <a:lnTo>
                      <a:pt x="61" y="318"/>
                    </a:lnTo>
                    <a:lnTo>
                      <a:pt x="68" y="338"/>
                    </a:lnTo>
                    <a:lnTo>
                      <a:pt x="77" y="357"/>
                    </a:lnTo>
                    <a:lnTo>
                      <a:pt x="85" y="377"/>
                    </a:lnTo>
                    <a:lnTo>
                      <a:pt x="96" y="397"/>
                    </a:lnTo>
                    <a:lnTo>
                      <a:pt x="108" y="418"/>
                    </a:lnTo>
                    <a:lnTo>
                      <a:pt x="119" y="437"/>
                    </a:lnTo>
                    <a:lnTo>
                      <a:pt x="131" y="455"/>
                    </a:lnTo>
                    <a:lnTo>
                      <a:pt x="144" y="474"/>
                    </a:lnTo>
                    <a:lnTo>
                      <a:pt x="156" y="491"/>
                    </a:lnTo>
                    <a:lnTo>
                      <a:pt x="169" y="507"/>
                    </a:lnTo>
                    <a:lnTo>
                      <a:pt x="180" y="522"/>
                    </a:lnTo>
                    <a:lnTo>
                      <a:pt x="193" y="536"/>
                    </a:lnTo>
                    <a:lnTo>
                      <a:pt x="218" y="563"/>
                    </a:lnTo>
                    <a:lnTo>
                      <a:pt x="243" y="587"/>
                    </a:lnTo>
                    <a:lnTo>
                      <a:pt x="268" y="609"/>
                    </a:lnTo>
                    <a:lnTo>
                      <a:pt x="291" y="627"/>
                    </a:lnTo>
                    <a:lnTo>
                      <a:pt x="312" y="643"/>
                    </a:lnTo>
                    <a:lnTo>
                      <a:pt x="333" y="656"/>
                    </a:lnTo>
                    <a:lnTo>
                      <a:pt x="351" y="667"/>
                    </a:lnTo>
                    <a:lnTo>
                      <a:pt x="366" y="676"/>
                    </a:lnTo>
                    <a:lnTo>
                      <a:pt x="389" y="687"/>
                    </a:lnTo>
                    <a:lnTo>
                      <a:pt x="397" y="691"/>
                    </a:lnTo>
                    <a:lnTo>
                      <a:pt x="402" y="694"/>
                    </a:lnTo>
                    <a:lnTo>
                      <a:pt x="405" y="698"/>
                    </a:lnTo>
                    <a:lnTo>
                      <a:pt x="406" y="704"/>
                    </a:lnTo>
                    <a:lnTo>
                      <a:pt x="405" y="708"/>
                    </a:lnTo>
                    <a:lnTo>
                      <a:pt x="403" y="712"/>
                    </a:lnTo>
                    <a:lnTo>
                      <a:pt x="400" y="714"/>
                    </a:lnTo>
                    <a:lnTo>
                      <a:pt x="396" y="717"/>
                    </a:lnTo>
                    <a:lnTo>
                      <a:pt x="392"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93"/>
              <p:cNvSpPr>
                <a:spLocks/>
              </p:cNvSpPr>
              <p:nvPr userDrawn="1"/>
            </p:nvSpPr>
            <p:spPr bwMode="auto">
              <a:xfrm>
                <a:off x="2138" y="1885"/>
                <a:ext cx="183" cy="238"/>
              </a:xfrm>
              <a:custGeom>
                <a:avLst/>
                <a:gdLst>
                  <a:gd name="T0" fmla="*/ 535 w 550"/>
                  <a:gd name="T1" fmla="*/ 713 h 713"/>
                  <a:gd name="T2" fmla="*/ 524 w 550"/>
                  <a:gd name="T3" fmla="*/ 709 h 713"/>
                  <a:gd name="T4" fmla="*/ 477 w 550"/>
                  <a:gd name="T5" fmla="*/ 690 h 713"/>
                  <a:gd name="T6" fmla="*/ 422 w 550"/>
                  <a:gd name="T7" fmla="*/ 662 h 713"/>
                  <a:gd name="T8" fmla="*/ 380 w 550"/>
                  <a:gd name="T9" fmla="*/ 636 h 713"/>
                  <a:gd name="T10" fmla="*/ 335 w 550"/>
                  <a:gd name="T11" fmla="*/ 605 h 713"/>
                  <a:gd name="T12" fmla="*/ 288 w 550"/>
                  <a:gd name="T13" fmla="*/ 567 h 713"/>
                  <a:gd name="T14" fmla="*/ 242 w 550"/>
                  <a:gd name="T15" fmla="*/ 523 h 713"/>
                  <a:gd name="T16" fmla="*/ 199 w 550"/>
                  <a:gd name="T17" fmla="*/ 474 h 713"/>
                  <a:gd name="T18" fmla="*/ 161 w 550"/>
                  <a:gd name="T19" fmla="*/ 427 h 713"/>
                  <a:gd name="T20" fmla="*/ 127 w 550"/>
                  <a:gd name="T21" fmla="*/ 380 h 713"/>
                  <a:gd name="T22" fmla="*/ 99 w 550"/>
                  <a:gd name="T23" fmla="*/ 334 h 713"/>
                  <a:gd name="T24" fmla="*/ 77 w 550"/>
                  <a:gd name="T25" fmla="*/ 289 h 713"/>
                  <a:gd name="T26" fmla="*/ 57 w 550"/>
                  <a:gd name="T27" fmla="*/ 247 h 713"/>
                  <a:gd name="T28" fmla="*/ 41 w 550"/>
                  <a:gd name="T29" fmla="*/ 207 h 713"/>
                  <a:gd name="T30" fmla="*/ 23 w 550"/>
                  <a:gd name="T31" fmla="*/ 152 h 713"/>
                  <a:gd name="T32" fmla="*/ 9 w 550"/>
                  <a:gd name="T33" fmla="*/ 91 h 713"/>
                  <a:gd name="T34" fmla="*/ 0 w 550"/>
                  <a:gd name="T35" fmla="*/ 29 h 713"/>
                  <a:gd name="T36" fmla="*/ 1 w 550"/>
                  <a:gd name="T37" fmla="*/ 8 h 713"/>
                  <a:gd name="T38" fmla="*/ 8 w 550"/>
                  <a:gd name="T39" fmla="*/ 1 h 713"/>
                  <a:gd name="T40" fmla="*/ 13 w 550"/>
                  <a:gd name="T41" fmla="*/ 0 h 713"/>
                  <a:gd name="T42" fmla="*/ 23 w 550"/>
                  <a:gd name="T43" fmla="*/ 3 h 713"/>
                  <a:gd name="T44" fmla="*/ 27 w 550"/>
                  <a:gd name="T45" fmla="*/ 13 h 713"/>
                  <a:gd name="T46" fmla="*/ 31 w 550"/>
                  <a:gd name="T47" fmla="*/ 60 h 713"/>
                  <a:gd name="T48" fmla="*/ 41 w 550"/>
                  <a:gd name="T49" fmla="*/ 111 h 713"/>
                  <a:gd name="T50" fmla="*/ 60 w 550"/>
                  <a:gd name="T51" fmla="*/ 178 h 713"/>
                  <a:gd name="T52" fmla="*/ 75 w 550"/>
                  <a:gd name="T53" fmla="*/ 216 h 713"/>
                  <a:gd name="T54" fmla="*/ 91 w 550"/>
                  <a:gd name="T55" fmla="*/ 256 h 713"/>
                  <a:gd name="T56" fmla="*/ 112 w 550"/>
                  <a:gd name="T57" fmla="*/ 299 h 713"/>
                  <a:gd name="T58" fmla="*/ 137 w 550"/>
                  <a:gd name="T59" fmla="*/ 342 h 713"/>
                  <a:gd name="T60" fmla="*/ 166 w 550"/>
                  <a:gd name="T61" fmla="*/ 388 h 713"/>
                  <a:gd name="T62" fmla="*/ 201 w 550"/>
                  <a:gd name="T63" fmla="*/ 434 h 713"/>
                  <a:gd name="T64" fmla="*/ 240 w 550"/>
                  <a:gd name="T65" fmla="*/ 481 h 713"/>
                  <a:gd name="T66" fmla="*/ 285 w 550"/>
                  <a:gd name="T67" fmla="*/ 527 h 713"/>
                  <a:gd name="T68" fmla="*/ 328 w 550"/>
                  <a:gd name="T69" fmla="*/ 566 h 713"/>
                  <a:gd name="T70" fmla="*/ 374 w 550"/>
                  <a:gd name="T71" fmla="*/ 599 h 713"/>
                  <a:gd name="T72" fmla="*/ 416 w 550"/>
                  <a:gd name="T73" fmla="*/ 626 h 713"/>
                  <a:gd name="T74" fmla="*/ 456 w 550"/>
                  <a:gd name="T75" fmla="*/ 649 h 713"/>
                  <a:gd name="T76" fmla="*/ 516 w 550"/>
                  <a:gd name="T77" fmla="*/ 677 h 713"/>
                  <a:gd name="T78" fmla="*/ 541 w 550"/>
                  <a:gd name="T79" fmla="*/ 687 h 713"/>
                  <a:gd name="T80" fmla="*/ 549 w 550"/>
                  <a:gd name="T81" fmla="*/ 693 h 713"/>
                  <a:gd name="T82" fmla="*/ 550 w 550"/>
                  <a:gd name="T83" fmla="*/ 704 h 713"/>
                  <a:gd name="T84" fmla="*/ 544 w 550"/>
                  <a:gd name="T85" fmla="*/ 710 h 713"/>
                  <a:gd name="T86" fmla="*/ 537 w 550"/>
                  <a:gd name="T87" fmla="*/ 713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0" h="713">
                    <a:moveTo>
                      <a:pt x="537" y="713"/>
                    </a:moveTo>
                    <a:lnTo>
                      <a:pt x="535" y="713"/>
                    </a:lnTo>
                    <a:lnTo>
                      <a:pt x="532" y="713"/>
                    </a:lnTo>
                    <a:lnTo>
                      <a:pt x="524" y="709"/>
                    </a:lnTo>
                    <a:lnTo>
                      <a:pt x="505" y="702"/>
                    </a:lnTo>
                    <a:lnTo>
                      <a:pt x="477" y="690"/>
                    </a:lnTo>
                    <a:lnTo>
                      <a:pt x="442" y="673"/>
                    </a:lnTo>
                    <a:lnTo>
                      <a:pt x="422" y="662"/>
                    </a:lnTo>
                    <a:lnTo>
                      <a:pt x="402" y="649"/>
                    </a:lnTo>
                    <a:lnTo>
                      <a:pt x="380" y="636"/>
                    </a:lnTo>
                    <a:lnTo>
                      <a:pt x="357" y="621"/>
                    </a:lnTo>
                    <a:lnTo>
                      <a:pt x="335" y="605"/>
                    </a:lnTo>
                    <a:lnTo>
                      <a:pt x="312" y="586"/>
                    </a:lnTo>
                    <a:lnTo>
                      <a:pt x="288" y="567"/>
                    </a:lnTo>
                    <a:lnTo>
                      <a:pt x="266" y="546"/>
                    </a:lnTo>
                    <a:lnTo>
                      <a:pt x="242" y="523"/>
                    </a:lnTo>
                    <a:lnTo>
                      <a:pt x="219" y="498"/>
                    </a:lnTo>
                    <a:lnTo>
                      <a:pt x="199" y="474"/>
                    </a:lnTo>
                    <a:lnTo>
                      <a:pt x="179" y="450"/>
                    </a:lnTo>
                    <a:lnTo>
                      <a:pt x="161" y="427"/>
                    </a:lnTo>
                    <a:lnTo>
                      <a:pt x="144" y="403"/>
                    </a:lnTo>
                    <a:lnTo>
                      <a:pt x="127" y="380"/>
                    </a:lnTo>
                    <a:lnTo>
                      <a:pt x="113" y="356"/>
                    </a:lnTo>
                    <a:lnTo>
                      <a:pt x="99" y="334"/>
                    </a:lnTo>
                    <a:lnTo>
                      <a:pt x="87" y="312"/>
                    </a:lnTo>
                    <a:lnTo>
                      <a:pt x="77" y="289"/>
                    </a:lnTo>
                    <a:lnTo>
                      <a:pt x="66" y="268"/>
                    </a:lnTo>
                    <a:lnTo>
                      <a:pt x="57" y="247"/>
                    </a:lnTo>
                    <a:lnTo>
                      <a:pt x="49" y="227"/>
                    </a:lnTo>
                    <a:lnTo>
                      <a:pt x="41" y="207"/>
                    </a:lnTo>
                    <a:lnTo>
                      <a:pt x="35" y="188"/>
                    </a:lnTo>
                    <a:lnTo>
                      <a:pt x="23" y="152"/>
                    </a:lnTo>
                    <a:lnTo>
                      <a:pt x="14" y="120"/>
                    </a:lnTo>
                    <a:lnTo>
                      <a:pt x="9" y="91"/>
                    </a:lnTo>
                    <a:lnTo>
                      <a:pt x="4" y="65"/>
                    </a:lnTo>
                    <a:lnTo>
                      <a:pt x="0" y="29"/>
                    </a:lnTo>
                    <a:lnTo>
                      <a:pt x="0" y="13"/>
                    </a:lnTo>
                    <a:lnTo>
                      <a:pt x="1" y="8"/>
                    </a:lnTo>
                    <a:lnTo>
                      <a:pt x="3" y="3"/>
                    </a:lnTo>
                    <a:lnTo>
                      <a:pt x="8" y="1"/>
                    </a:lnTo>
                    <a:lnTo>
                      <a:pt x="13" y="0"/>
                    </a:lnTo>
                    <a:lnTo>
                      <a:pt x="13" y="0"/>
                    </a:lnTo>
                    <a:lnTo>
                      <a:pt x="18" y="1"/>
                    </a:lnTo>
                    <a:lnTo>
                      <a:pt x="23" y="3"/>
                    </a:lnTo>
                    <a:lnTo>
                      <a:pt x="26" y="8"/>
                    </a:lnTo>
                    <a:lnTo>
                      <a:pt x="27" y="13"/>
                    </a:lnTo>
                    <a:lnTo>
                      <a:pt x="27" y="26"/>
                    </a:lnTo>
                    <a:lnTo>
                      <a:pt x="31" y="60"/>
                    </a:lnTo>
                    <a:lnTo>
                      <a:pt x="36" y="84"/>
                    </a:lnTo>
                    <a:lnTo>
                      <a:pt x="41" y="111"/>
                    </a:lnTo>
                    <a:lnTo>
                      <a:pt x="50" y="144"/>
                    </a:lnTo>
                    <a:lnTo>
                      <a:pt x="60" y="178"/>
                    </a:lnTo>
                    <a:lnTo>
                      <a:pt x="67" y="197"/>
                    </a:lnTo>
                    <a:lnTo>
                      <a:pt x="75" y="216"/>
                    </a:lnTo>
                    <a:lnTo>
                      <a:pt x="82" y="235"/>
                    </a:lnTo>
                    <a:lnTo>
                      <a:pt x="91" y="256"/>
                    </a:lnTo>
                    <a:lnTo>
                      <a:pt x="102" y="278"/>
                    </a:lnTo>
                    <a:lnTo>
                      <a:pt x="112" y="299"/>
                    </a:lnTo>
                    <a:lnTo>
                      <a:pt x="124" y="321"/>
                    </a:lnTo>
                    <a:lnTo>
                      <a:pt x="137" y="342"/>
                    </a:lnTo>
                    <a:lnTo>
                      <a:pt x="151" y="365"/>
                    </a:lnTo>
                    <a:lnTo>
                      <a:pt x="166" y="388"/>
                    </a:lnTo>
                    <a:lnTo>
                      <a:pt x="182" y="410"/>
                    </a:lnTo>
                    <a:lnTo>
                      <a:pt x="201" y="434"/>
                    </a:lnTo>
                    <a:lnTo>
                      <a:pt x="219" y="457"/>
                    </a:lnTo>
                    <a:lnTo>
                      <a:pt x="240" y="481"/>
                    </a:lnTo>
                    <a:lnTo>
                      <a:pt x="261" y="503"/>
                    </a:lnTo>
                    <a:lnTo>
                      <a:pt x="285" y="527"/>
                    </a:lnTo>
                    <a:lnTo>
                      <a:pt x="307" y="547"/>
                    </a:lnTo>
                    <a:lnTo>
                      <a:pt x="328" y="566"/>
                    </a:lnTo>
                    <a:lnTo>
                      <a:pt x="351" y="583"/>
                    </a:lnTo>
                    <a:lnTo>
                      <a:pt x="374" y="599"/>
                    </a:lnTo>
                    <a:lnTo>
                      <a:pt x="395" y="613"/>
                    </a:lnTo>
                    <a:lnTo>
                      <a:pt x="416" y="626"/>
                    </a:lnTo>
                    <a:lnTo>
                      <a:pt x="436" y="638"/>
                    </a:lnTo>
                    <a:lnTo>
                      <a:pt x="456" y="649"/>
                    </a:lnTo>
                    <a:lnTo>
                      <a:pt x="489" y="665"/>
                    </a:lnTo>
                    <a:lnTo>
                      <a:pt x="516" y="677"/>
                    </a:lnTo>
                    <a:lnTo>
                      <a:pt x="535" y="685"/>
                    </a:lnTo>
                    <a:lnTo>
                      <a:pt x="541" y="687"/>
                    </a:lnTo>
                    <a:lnTo>
                      <a:pt x="545" y="689"/>
                    </a:lnTo>
                    <a:lnTo>
                      <a:pt x="549" y="693"/>
                    </a:lnTo>
                    <a:lnTo>
                      <a:pt x="550" y="699"/>
                    </a:lnTo>
                    <a:lnTo>
                      <a:pt x="550" y="704"/>
                    </a:lnTo>
                    <a:lnTo>
                      <a:pt x="547" y="707"/>
                    </a:lnTo>
                    <a:lnTo>
                      <a:pt x="544" y="710"/>
                    </a:lnTo>
                    <a:lnTo>
                      <a:pt x="541" y="713"/>
                    </a:lnTo>
                    <a:lnTo>
                      <a:pt x="537" y="7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94"/>
              <p:cNvSpPr>
                <a:spLocks/>
              </p:cNvSpPr>
              <p:nvPr userDrawn="1"/>
            </p:nvSpPr>
            <p:spPr bwMode="auto">
              <a:xfrm>
                <a:off x="2046" y="1861"/>
                <a:ext cx="242" cy="272"/>
              </a:xfrm>
              <a:custGeom>
                <a:avLst/>
                <a:gdLst>
                  <a:gd name="T0" fmla="*/ 705 w 726"/>
                  <a:gd name="T1" fmla="*/ 816 h 816"/>
                  <a:gd name="T2" fmla="*/ 677 w 726"/>
                  <a:gd name="T3" fmla="*/ 809 h 816"/>
                  <a:gd name="T4" fmla="*/ 647 w 726"/>
                  <a:gd name="T5" fmla="*/ 800 h 816"/>
                  <a:gd name="T6" fmla="*/ 607 w 726"/>
                  <a:gd name="T7" fmla="*/ 782 h 816"/>
                  <a:gd name="T8" fmla="*/ 555 w 726"/>
                  <a:gd name="T9" fmla="*/ 756 h 816"/>
                  <a:gd name="T10" fmla="*/ 492 w 726"/>
                  <a:gd name="T11" fmla="*/ 720 h 816"/>
                  <a:gd name="T12" fmla="*/ 417 w 726"/>
                  <a:gd name="T13" fmla="*/ 671 h 816"/>
                  <a:gd name="T14" fmla="*/ 351 w 726"/>
                  <a:gd name="T15" fmla="*/ 625 h 816"/>
                  <a:gd name="T16" fmla="*/ 309 w 726"/>
                  <a:gd name="T17" fmla="*/ 590 h 816"/>
                  <a:gd name="T18" fmla="*/ 268 w 726"/>
                  <a:gd name="T19" fmla="*/ 554 h 816"/>
                  <a:gd name="T20" fmla="*/ 231 w 726"/>
                  <a:gd name="T21" fmla="*/ 515 h 816"/>
                  <a:gd name="T22" fmla="*/ 195 w 726"/>
                  <a:gd name="T23" fmla="*/ 475 h 816"/>
                  <a:gd name="T24" fmla="*/ 164 w 726"/>
                  <a:gd name="T25" fmla="*/ 434 h 816"/>
                  <a:gd name="T26" fmla="*/ 135 w 726"/>
                  <a:gd name="T27" fmla="*/ 392 h 816"/>
                  <a:gd name="T28" fmla="*/ 108 w 726"/>
                  <a:gd name="T29" fmla="*/ 350 h 816"/>
                  <a:gd name="T30" fmla="*/ 84 w 726"/>
                  <a:gd name="T31" fmla="*/ 307 h 816"/>
                  <a:gd name="T32" fmla="*/ 63 w 726"/>
                  <a:gd name="T33" fmla="*/ 264 h 816"/>
                  <a:gd name="T34" fmla="*/ 45 w 726"/>
                  <a:gd name="T35" fmla="*/ 222 h 816"/>
                  <a:gd name="T36" fmla="*/ 30 w 726"/>
                  <a:gd name="T37" fmla="*/ 181 h 816"/>
                  <a:gd name="T38" fmla="*/ 18 w 726"/>
                  <a:gd name="T39" fmla="*/ 141 h 816"/>
                  <a:gd name="T40" fmla="*/ 9 w 726"/>
                  <a:gd name="T41" fmla="*/ 102 h 816"/>
                  <a:gd name="T42" fmla="*/ 3 w 726"/>
                  <a:gd name="T43" fmla="*/ 66 h 816"/>
                  <a:gd name="T44" fmla="*/ 0 w 726"/>
                  <a:gd name="T45" fmla="*/ 30 h 816"/>
                  <a:gd name="T46" fmla="*/ 1 w 726"/>
                  <a:gd name="T47" fmla="*/ 8 h 816"/>
                  <a:gd name="T48" fmla="*/ 8 w 726"/>
                  <a:gd name="T49" fmla="*/ 1 h 816"/>
                  <a:gd name="T50" fmla="*/ 18 w 726"/>
                  <a:gd name="T51" fmla="*/ 1 h 816"/>
                  <a:gd name="T52" fmla="*/ 26 w 726"/>
                  <a:gd name="T53" fmla="*/ 8 h 816"/>
                  <a:gd name="T54" fmla="*/ 27 w 726"/>
                  <a:gd name="T55" fmla="*/ 29 h 816"/>
                  <a:gd name="T56" fmla="*/ 30 w 726"/>
                  <a:gd name="T57" fmla="*/ 63 h 816"/>
                  <a:gd name="T58" fmla="*/ 36 w 726"/>
                  <a:gd name="T59" fmla="*/ 99 h 816"/>
                  <a:gd name="T60" fmla="*/ 45 w 726"/>
                  <a:gd name="T61" fmla="*/ 137 h 816"/>
                  <a:gd name="T62" fmla="*/ 57 w 726"/>
                  <a:gd name="T63" fmla="*/ 175 h 816"/>
                  <a:gd name="T64" fmla="*/ 71 w 726"/>
                  <a:gd name="T65" fmla="*/ 215 h 816"/>
                  <a:gd name="T66" fmla="*/ 88 w 726"/>
                  <a:gd name="T67" fmla="*/ 256 h 816"/>
                  <a:gd name="T68" fmla="*/ 109 w 726"/>
                  <a:gd name="T69" fmla="*/ 297 h 816"/>
                  <a:gd name="T70" fmla="*/ 131 w 726"/>
                  <a:gd name="T71" fmla="*/ 338 h 816"/>
                  <a:gd name="T72" fmla="*/ 157 w 726"/>
                  <a:gd name="T73" fmla="*/ 378 h 816"/>
                  <a:gd name="T74" fmla="*/ 185 w 726"/>
                  <a:gd name="T75" fmla="*/ 419 h 816"/>
                  <a:gd name="T76" fmla="*/ 217 w 726"/>
                  <a:gd name="T77" fmla="*/ 459 h 816"/>
                  <a:gd name="T78" fmla="*/ 250 w 726"/>
                  <a:gd name="T79" fmla="*/ 496 h 816"/>
                  <a:gd name="T80" fmla="*/ 287 w 726"/>
                  <a:gd name="T81" fmla="*/ 534 h 816"/>
                  <a:gd name="T82" fmla="*/ 326 w 726"/>
                  <a:gd name="T83" fmla="*/ 570 h 816"/>
                  <a:gd name="T84" fmla="*/ 367 w 726"/>
                  <a:gd name="T85" fmla="*/ 603 h 816"/>
                  <a:gd name="T86" fmla="*/ 432 w 726"/>
                  <a:gd name="T87" fmla="*/ 649 h 816"/>
                  <a:gd name="T88" fmla="*/ 506 w 726"/>
                  <a:gd name="T89" fmla="*/ 697 h 816"/>
                  <a:gd name="T90" fmla="*/ 568 w 726"/>
                  <a:gd name="T91" fmla="*/ 733 h 816"/>
                  <a:gd name="T92" fmla="*/ 617 w 726"/>
                  <a:gd name="T93" fmla="*/ 759 h 816"/>
                  <a:gd name="T94" fmla="*/ 656 w 726"/>
                  <a:gd name="T95" fmla="*/ 775 h 816"/>
                  <a:gd name="T96" fmla="*/ 684 w 726"/>
                  <a:gd name="T97" fmla="*/ 783 h 816"/>
                  <a:gd name="T98" fmla="*/ 707 w 726"/>
                  <a:gd name="T99" fmla="*/ 789 h 816"/>
                  <a:gd name="T100" fmla="*/ 712 w 726"/>
                  <a:gd name="T101" fmla="*/ 789 h 816"/>
                  <a:gd name="T102" fmla="*/ 721 w 726"/>
                  <a:gd name="T103" fmla="*/ 793 h 816"/>
                  <a:gd name="T104" fmla="*/ 726 w 726"/>
                  <a:gd name="T105" fmla="*/ 802 h 816"/>
                  <a:gd name="T106" fmla="*/ 722 w 726"/>
                  <a:gd name="T107" fmla="*/ 812 h 816"/>
                  <a:gd name="T108" fmla="*/ 713 w 726"/>
                  <a:gd name="T109" fmla="*/ 816 h 816"/>
                  <a:gd name="T110" fmla="*/ 712 w 726"/>
                  <a:gd name="T111"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6" h="816">
                    <a:moveTo>
                      <a:pt x="712" y="816"/>
                    </a:moveTo>
                    <a:lnTo>
                      <a:pt x="705" y="816"/>
                    </a:lnTo>
                    <a:lnTo>
                      <a:pt x="689" y="813"/>
                    </a:lnTo>
                    <a:lnTo>
                      <a:pt x="677" y="809"/>
                    </a:lnTo>
                    <a:lnTo>
                      <a:pt x="663" y="805"/>
                    </a:lnTo>
                    <a:lnTo>
                      <a:pt x="647" y="800"/>
                    </a:lnTo>
                    <a:lnTo>
                      <a:pt x="628" y="792"/>
                    </a:lnTo>
                    <a:lnTo>
                      <a:pt x="607" y="782"/>
                    </a:lnTo>
                    <a:lnTo>
                      <a:pt x="582" y="771"/>
                    </a:lnTo>
                    <a:lnTo>
                      <a:pt x="555" y="756"/>
                    </a:lnTo>
                    <a:lnTo>
                      <a:pt x="525" y="740"/>
                    </a:lnTo>
                    <a:lnTo>
                      <a:pt x="492" y="720"/>
                    </a:lnTo>
                    <a:lnTo>
                      <a:pt x="455" y="697"/>
                    </a:lnTo>
                    <a:lnTo>
                      <a:pt x="417" y="671"/>
                    </a:lnTo>
                    <a:lnTo>
                      <a:pt x="373" y="641"/>
                    </a:lnTo>
                    <a:lnTo>
                      <a:pt x="351" y="625"/>
                    </a:lnTo>
                    <a:lnTo>
                      <a:pt x="329" y="608"/>
                    </a:lnTo>
                    <a:lnTo>
                      <a:pt x="309" y="590"/>
                    </a:lnTo>
                    <a:lnTo>
                      <a:pt x="288" y="572"/>
                    </a:lnTo>
                    <a:lnTo>
                      <a:pt x="268" y="554"/>
                    </a:lnTo>
                    <a:lnTo>
                      <a:pt x="249" y="534"/>
                    </a:lnTo>
                    <a:lnTo>
                      <a:pt x="231" y="515"/>
                    </a:lnTo>
                    <a:lnTo>
                      <a:pt x="212" y="495"/>
                    </a:lnTo>
                    <a:lnTo>
                      <a:pt x="195" y="475"/>
                    </a:lnTo>
                    <a:lnTo>
                      <a:pt x="179" y="454"/>
                    </a:lnTo>
                    <a:lnTo>
                      <a:pt x="164" y="434"/>
                    </a:lnTo>
                    <a:lnTo>
                      <a:pt x="149" y="413"/>
                    </a:lnTo>
                    <a:lnTo>
                      <a:pt x="135" y="392"/>
                    </a:lnTo>
                    <a:lnTo>
                      <a:pt x="121" y="371"/>
                    </a:lnTo>
                    <a:lnTo>
                      <a:pt x="108" y="350"/>
                    </a:lnTo>
                    <a:lnTo>
                      <a:pt x="96" y="328"/>
                    </a:lnTo>
                    <a:lnTo>
                      <a:pt x="84" y="307"/>
                    </a:lnTo>
                    <a:lnTo>
                      <a:pt x="73" y="286"/>
                    </a:lnTo>
                    <a:lnTo>
                      <a:pt x="63" y="264"/>
                    </a:lnTo>
                    <a:lnTo>
                      <a:pt x="54" y="244"/>
                    </a:lnTo>
                    <a:lnTo>
                      <a:pt x="45" y="222"/>
                    </a:lnTo>
                    <a:lnTo>
                      <a:pt x="38" y="202"/>
                    </a:lnTo>
                    <a:lnTo>
                      <a:pt x="30" y="181"/>
                    </a:lnTo>
                    <a:lnTo>
                      <a:pt x="25" y="161"/>
                    </a:lnTo>
                    <a:lnTo>
                      <a:pt x="18" y="141"/>
                    </a:lnTo>
                    <a:lnTo>
                      <a:pt x="14" y="122"/>
                    </a:lnTo>
                    <a:lnTo>
                      <a:pt x="9" y="102"/>
                    </a:lnTo>
                    <a:lnTo>
                      <a:pt x="6" y="84"/>
                    </a:lnTo>
                    <a:lnTo>
                      <a:pt x="3" y="66"/>
                    </a:lnTo>
                    <a:lnTo>
                      <a:pt x="1" y="47"/>
                    </a:lnTo>
                    <a:lnTo>
                      <a:pt x="0" y="30"/>
                    </a:lnTo>
                    <a:lnTo>
                      <a:pt x="0" y="14"/>
                    </a:lnTo>
                    <a:lnTo>
                      <a:pt x="1" y="8"/>
                    </a:lnTo>
                    <a:lnTo>
                      <a:pt x="4" y="4"/>
                    </a:lnTo>
                    <a:lnTo>
                      <a:pt x="8" y="1"/>
                    </a:lnTo>
                    <a:lnTo>
                      <a:pt x="14" y="0"/>
                    </a:lnTo>
                    <a:lnTo>
                      <a:pt x="18" y="1"/>
                    </a:lnTo>
                    <a:lnTo>
                      <a:pt x="22" y="4"/>
                    </a:lnTo>
                    <a:lnTo>
                      <a:pt x="26" y="8"/>
                    </a:lnTo>
                    <a:lnTo>
                      <a:pt x="27" y="14"/>
                    </a:lnTo>
                    <a:lnTo>
                      <a:pt x="27" y="29"/>
                    </a:lnTo>
                    <a:lnTo>
                      <a:pt x="28" y="46"/>
                    </a:lnTo>
                    <a:lnTo>
                      <a:pt x="30" y="63"/>
                    </a:lnTo>
                    <a:lnTo>
                      <a:pt x="33" y="81"/>
                    </a:lnTo>
                    <a:lnTo>
                      <a:pt x="36" y="99"/>
                    </a:lnTo>
                    <a:lnTo>
                      <a:pt x="40" y="117"/>
                    </a:lnTo>
                    <a:lnTo>
                      <a:pt x="45" y="137"/>
                    </a:lnTo>
                    <a:lnTo>
                      <a:pt x="50" y="155"/>
                    </a:lnTo>
                    <a:lnTo>
                      <a:pt x="57" y="175"/>
                    </a:lnTo>
                    <a:lnTo>
                      <a:pt x="63" y="195"/>
                    </a:lnTo>
                    <a:lnTo>
                      <a:pt x="71" y="215"/>
                    </a:lnTo>
                    <a:lnTo>
                      <a:pt x="80" y="235"/>
                    </a:lnTo>
                    <a:lnTo>
                      <a:pt x="88" y="256"/>
                    </a:lnTo>
                    <a:lnTo>
                      <a:pt x="98" y="276"/>
                    </a:lnTo>
                    <a:lnTo>
                      <a:pt x="109" y="297"/>
                    </a:lnTo>
                    <a:lnTo>
                      <a:pt x="120" y="317"/>
                    </a:lnTo>
                    <a:lnTo>
                      <a:pt x="131" y="338"/>
                    </a:lnTo>
                    <a:lnTo>
                      <a:pt x="144" y="358"/>
                    </a:lnTo>
                    <a:lnTo>
                      <a:pt x="157" y="378"/>
                    </a:lnTo>
                    <a:lnTo>
                      <a:pt x="171" y="398"/>
                    </a:lnTo>
                    <a:lnTo>
                      <a:pt x="185" y="419"/>
                    </a:lnTo>
                    <a:lnTo>
                      <a:pt x="201" y="438"/>
                    </a:lnTo>
                    <a:lnTo>
                      <a:pt x="217" y="459"/>
                    </a:lnTo>
                    <a:lnTo>
                      <a:pt x="233" y="478"/>
                    </a:lnTo>
                    <a:lnTo>
                      <a:pt x="250" y="496"/>
                    </a:lnTo>
                    <a:lnTo>
                      <a:pt x="269" y="516"/>
                    </a:lnTo>
                    <a:lnTo>
                      <a:pt x="287" y="534"/>
                    </a:lnTo>
                    <a:lnTo>
                      <a:pt x="306" y="552"/>
                    </a:lnTo>
                    <a:lnTo>
                      <a:pt x="326" y="570"/>
                    </a:lnTo>
                    <a:lnTo>
                      <a:pt x="346" y="587"/>
                    </a:lnTo>
                    <a:lnTo>
                      <a:pt x="367" y="603"/>
                    </a:lnTo>
                    <a:lnTo>
                      <a:pt x="390" y="619"/>
                    </a:lnTo>
                    <a:lnTo>
                      <a:pt x="432" y="649"/>
                    </a:lnTo>
                    <a:lnTo>
                      <a:pt x="471" y="674"/>
                    </a:lnTo>
                    <a:lnTo>
                      <a:pt x="506" y="697"/>
                    </a:lnTo>
                    <a:lnTo>
                      <a:pt x="539" y="717"/>
                    </a:lnTo>
                    <a:lnTo>
                      <a:pt x="568" y="733"/>
                    </a:lnTo>
                    <a:lnTo>
                      <a:pt x="595" y="747"/>
                    </a:lnTo>
                    <a:lnTo>
                      <a:pt x="617" y="759"/>
                    </a:lnTo>
                    <a:lnTo>
                      <a:pt x="638" y="767"/>
                    </a:lnTo>
                    <a:lnTo>
                      <a:pt x="656" y="775"/>
                    </a:lnTo>
                    <a:lnTo>
                      <a:pt x="671" y="780"/>
                    </a:lnTo>
                    <a:lnTo>
                      <a:pt x="684" y="783"/>
                    </a:lnTo>
                    <a:lnTo>
                      <a:pt x="694" y="787"/>
                    </a:lnTo>
                    <a:lnTo>
                      <a:pt x="707" y="789"/>
                    </a:lnTo>
                    <a:lnTo>
                      <a:pt x="712" y="789"/>
                    </a:lnTo>
                    <a:lnTo>
                      <a:pt x="712" y="789"/>
                    </a:lnTo>
                    <a:lnTo>
                      <a:pt x="717" y="790"/>
                    </a:lnTo>
                    <a:lnTo>
                      <a:pt x="721" y="793"/>
                    </a:lnTo>
                    <a:lnTo>
                      <a:pt x="724" y="798"/>
                    </a:lnTo>
                    <a:lnTo>
                      <a:pt x="726" y="802"/>
                    </a:lnTo>
                    <a:lnTo>
                      <a:pt x="725" y="807"/>
                    </a:lnTo>
                    <a:lnTo>
                      <a:pt x="722" y="812"/>
                    </a:lnTo>
                    <a:lnTo>
                      <a:pt x="719" y="815"/>
                    </a:lnTo>
                    <a:lnTo>
                      <a:pt x="713" y="816"/>
                    </a:lnTo>
                    <a:lnTo>
                      <a:pt x="712" y="816"/>
                    </a:lnTo>
                    <a:lnTo>
                      <a:pt x="712" y="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95"/>
              <p:cNvSpPr>
                <a:spLocks/>
              </p:cNvSpPr>
              <p:nvPr userDrawn="1"/>
            </p:nvSpPr>
            <p:spPr bwMode="auto">
              <a:xfrm>
                <a:off x="815" y="3217"/>
                <a:ext cx="391" cy="723"/>
              </a:xfrm>
              <a:custGeom>
                <a:avLst/>
                <a:gdLst>
                  <a:gd name="T0" fmla="*/ 1154 w 1172"/>
                  <a:gd name="T1" fmla="*/ 2167 h 2168"/>
                  <a:gd name="T2" fmla="*/ 1147 w 1172"/>
                  <a:gd name="T3" fmla="*/ 2160 h 2168"/>
                  <a:gd name="T4" fmla="*/ 1145 w 1172"/>
                  <a:gd name="T5" fmla="*/ 2146 h 2168"/>
                  <a:gd name="T6" fmla="*/ 1144 w 1172"/>
                  <a:gd name="T7" fmla="*/ 2087 h 2168"/>
                  <a:gd name="T8" fmla="*/ 1139 w 1172"/>
                  <a:gd name="T9" fmla="*/ 1978 h 2168"/>
                  <a:gd name="T10" fmla="*/ 1129 w 1172"/>
                  <a:gd name="T11" fmla="*/ 1828 h 2168"/>
                  <a:gd name="T12" fmla="*/ 1112 w 1172"/>
                  <a:gd name="T13" fmla="*/ 1646 h 2168"/>
                  <a:gd name="T14" fmla="*/ 1094 w 1172"/>
                  <a:gd name="T15" fmla="*/ 1492 h 2168"/>
                  <a:gd name="T16" fmla="*/ 1077 w 1172"/>
                  <a:gd name="T17" fmla="*/ 1384 h 2168"/>
                  <a:gd name="T18" fmla="*/ 1059 w 1172"/>
                  <a:gd name="T19" fmla="*/ 1273 h 2168"/>
                  <a:gd name="T20" fmla="*/ 1036 w 1172"/>
                  <a:gd name="T21" fmla="*/ 1159 h 2168"/>
                  <a:gd name="T22" fmla="*/ 1010 w 1172"/>
                  <a:gd name="T23" fmla="*/ 1043 h 2168"/>
                  <a:gd name="T24" fmla="*/ 981 w 1172"/>
                  <a:gd name="T25" fmla="*/ 927 h 2168"/>
                  <a:gd name="T26" fmla="*/ 947 w 1172"/>
                  <a:gd name="T27" fmla="*/ 812 h 2168"/>
                  <a:gd name="T28" fmla="*/ 901 w 1172"/>
                  <a:gd name="T29" fmla="*/ 706 h 2168"/>
                  <a:gd name="T30" fmla="*/ 844 w 1172"/>
                  <a:gd name="T31" fmla="*/ 609 h 2168"/>
                  <a:gd name="T32" fmla="*/ 778 w 1172"/>
                  <a:gd name="T33" fmla="*/ 521 h 2168"/>
                  <a:gd name="T34" fmla="*/ 706 w 1172"/>
                  <a:gd name="T35" fmla="*/ 441 h 2168"/>
                  <a:gd name="T36" fmla="*/ 627 w 1172"/>
                  <a:gd name="T37" fmla="*/ 367 h 2168"/>
                  <a:gd name="T38" fmla="*/ 547 w 1172"/>
                  <a:gd name="T39" fmla="*/ 303 h 2168"/>
                  <a:gd name="T40" fmla="*/ 465 w 1172"/>
                  <a:gd name="T41" fmla="*/ 245 h 2168"/>
                  <a:gd name="T42" fmla="*/ 384 w 1172"/>
                  <a:gd name="T43" fmla="*/ 196 h 2168"/>
                  <a:gd name="T44" fmla="*/ 306 w 1172"/>
                  <a:gd name="T45" fmla="*/ 153 h 2168"/>
                  <a:gd name="T46" fmla="*/ 233 w 1172"/>
                  <a:gd name="T47" fmla="*/ 116 h 2168"/>
                  <a:gd name="T48" fmla="*/ 167 w 1172"/>
                  <a:gd name="T49" fmla="*/ 87 h 2168"/>
                  <a:gd name="T50" fmla="*/ 85 w 1172"/>
                  <a:gd name="T51" fmla="*/ 53 h 2168"/>
                  <a:gd name="T52" fmla="*/ 19 w 1172"/>
                  <a:gd name="T53" fmla="*/ 31 h 2168"/>
                  <a:gd name="T54" fmla="*/ 5 w 1172"/>
                  <a:gd name="T55" fmla="*/ 25 h 2168"/>
                  <a:gd name="T56" fmla="*/ 0 w 1172"/>
                  <a:gd name="T57" fmla="*/ 16 h 2168"/>
                  <a:gd name="T58" fmla="*/ 3 w 1172"/>
                  <a:gd name="T59" fmla="*/ 6 h 2168"/>
                  <a:gd name="T60" fmla="*/ 12 w 1172"/>
                  <a:gd name="T61" fmla="*/ 0 h 2168"/>
                  <a:gd name="T62" fmla="*/ 27 w 1172"/>
                  <a:gd name="T63" fmla="*/ 5 h 2168"/>
                  <a:gd name="T64" fmla="*/ 95 w 1172"/>
                  <a:gd name="T65" fmla="*/ 27 h 2168"/>
                  <a:gd name="T66" fmla="*/ 178 w 1172"/>
                  <a:gd name="T67" fmla="*/ 62 h 2168"/>
                  <a:gd name="T68" fmla="*/ 245 w 1172"/>
                  <a:gd name="T69" fmla="*/ 92 h 2168"/>
                  <a:gd name="T70" fmla="*/ 319 w 1172"/>
                  <a:gd name="T71" fmla="*/ 129 h 2168"/>
                  <a:gd name="T72" fmla="*/ 398 w 1172"/>
                  <a:gd name="T73" fmla="*/ 173 h 2168"/>
                  <a:gd name="T74" fmla="*/ 481 w 1172"/>
                  <a:gd name="T75" fmla="*/ 224 h 2168"/>
                  <a:gd name="T76" fmla="*/ 565 w 1172"/>
                  <a:gd name="T77" fmla="*/ 283 h 2168"/>
                  <a:gd name="T78" fmla="*/ 647 w 1172"/>
                  <a:gd name="T79" fmla="*/ 349 h 2168"/>
                  <a:gd name="T80" fmla="*/ 726 w 1172"/>
                  <a:gd name="T81" fmla="*/ 424 h 2168"/>
                  <a:gd name="T82" fmla="*/ 800 w 1172"/>
                  <a:gd name="T83" fmla="*/ 506 h 2168"/>
                  <a:gd name="T84" fmla="*/ 868 w 1172"/>
                  <a:gd name="T85" fmla="*/ 596 h 2168"/>
                  <a:gd name="T86" fmla="*/ 926 w 1172"/>
                  <a:gd name="T87" fmla="*/ 696 h 2168"/>
                  <a:gd name="T88" fmla="*/ 973 w 1172"/>
                  <a:gd name="T89" fmla="*/ 804 h 2168"/>
                  <a:gd name="T90" fmla="*/ 1007 w 1172"/>
                  <a:gd name="T91" fmla="*/ 919 h 2168"/>
                  <a:gd name="T92" fmla="*/ 1037 w 1172"/>
                  <a:gd name="T93" fmla="*/ 1037 h 2168"/>
                  <a:gd name="T94" fmla="*/ 1063 w 1172"/>
                  <a:gd name="T95" fmla="*/ 1152 h 2168"/>
                  <a:gd name="T96" fmla="*/ 1085 w 1172"/>
                  <a:gd name="T97" fmla="*/ 1268 h 2168"/>
                  <a:gd name="T98" fmla="*/ 1104 w 1172"/>
                  <a:gd name="T99" fmla="*/ 1380 h 2168"/>
                  <a:gd name="T100" fmla="*/ 1121 w 1172"/>
                  <a:gd name="T101" fmla="*/ 1489 h 2168"/>
                  <a:gd name="T102" fmla="*/ 1139 w 1172"/>
                  <a:gd name="T103" fmla="*/ 1643 h 2168"/>
                  <a:gd name="T104" fmla="*/ 1156 w 1172"/>
                  <a:gd name="T105" fmla="*/ 1826 h 2168"/>
                  <a:gd name="T106" fmla="*/ 1166 w 1172"/>
                  <a:gd name="T107" fmla="*/ 1977 h 2168"/>
                  <a:gd name="T108" fmla="*/ 1171 w 1172"/>
                  <a:gd name="T109" fmla="*/ 2086 h 2168"/>
                  <a:gd name="T110" fmla="*/ 1172 w 1172"/>
                  <a:gd name="T111" fmla="*/ 2146 h 2168"/>
                  <a:gd name="T112" fmla="*/ 1171 w 1172"/>
                  <a:gd name="T113" fmla="*/ 2160 h 2168"/>
                  <a:gd name="T114" fmla="*/ 1164 w 1172"/>
                  <a:gd name="T115" fmla="*/ 2167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2" h="2168">
                    <a:moveTo>
                      <a:pt x="1158" y="2168"/>
                    </a:moveTo>
                    <a:lnTo>
                      <a:pt x="1154" y="2167"/>
                    </a:lnTo>
                    <a:lnTo>
                      <a:pt x="1150" y="2165"/>
                    </a:lnTo>
                    <a:lnTo>
                      <a:pt x="1147" y="2160"/>
                    </a:lnTo>
                    <a:lnTo>
                      <a:pt x="1145" y="2155"/>
                    </a:lnTo>
                    <a:lnTo>
                      <a:pt x="1145" y="2146"/>
                    </a:lnTo>
                    <a:lnTo>
                      <a:pt x="1145" y="2123"/>
                    </a:lnTo>
                    <a:lnTo>
                      <a:pt x="1144" y="2087"/>
                    </a:lnTo>
                    <a:lnTo>
                      <a:pt x="1142" y="2037"/>
                    </a:lnTo>
                    <a:lnTo>
                      <a:pt x="1139" y="1978"/>
                    </a:lnTo>
                    <a:lnTo>
                      <a:pt x="1136" y="1908"/>
                    </a:lnTo>
                    <a:lnTo>
                      <a:pt x="1129" y="1828"/>
                    </a:lnTo>
                    <a:lnTo>
                      <a:pt x="1122" y="1741"/>
                    </a:lnTo>
                    <a:lnTo>
                      <a:pt x="1112" y="1646"/>
                    </a:lnTo>
                    <a:lnTo>
                      <a:pt x="1100" y="1545"/>
                    </a:lnTo>
                    <a:lnTo>
                      <a:pt x="1094" y="1492"/>
                    </a:lnTo>
                    <a:lnTo>
                      <a:pt x="1086" y="1439"/>
                    </a:lnTo>
                    <a:lnTo>
                      <a:pt x="1077" y="1384"/>
                    </a:lnTo>
                    <a:lnTo>
                      <a:pt x="1069" y="1329"/>
                    </a:lnTo>
                    <a:lnTo>
                      <a:pt x="1059" y="1273"/>
                    </a:lnTo>
                    <a:lnTo>
                      <a:pt x="1048" y="1216"/>
                    </a:lnTo>
                    <a:lnTo>
                      <a:pt x="1036" y="1159"/>
                    </a:lnTo>
                    <a:lnTo>
                      <a:pt x="1025" y="1100"/>
                    </a:lnTo>
                    <a:lnTo>
                      <a:pt x="1010" y="1043"/>
                    </a:lnTo>
                    <a:lnTo>
                      <a:pt x="996" y="985"/>
                    </a:lnTo>
                    <a:lnTo>
                      <a:pt x="981" y="927"/>
                    </a:lnTo>
                    <a:lnTo>
                      <a:pt x="965" y="868"/>
                    </a:lnTo>
                    <a:lnTo>
                      <a:pt x="947" y="812"/>
                    </a:lnTo>
                    <a:lnTo>
                      <a:pt x="925" y="758"/>
                    </a:lnTo>
                    <a:lnTo>
                      <a:pt x="901" y="706"/>
                    </a:lnTo>
                    <a:lnTo>
                      <a:pt x="874" y="657"/>
                    </a:lnTo>
                    <a:lnTo>
                      <a:pt x="844" y="609"/>
                    </a:lnTo>
                    <a:lnTo>
                      <a:pt x="812" y="564"/>
                    </a:lnTo>
                    <a:lnTo>
                      <a:pt x="778" y="521"/>
                    </a:lnTo>
                    <a:lnTo>
                      <a:pt x="743" y="480"/>
                    </a:lnTo>
                    <a:lnTo>
                      <a:pt x="706" y="441"/>
                    </a:lnTo>
                    <a:lnTo>
                      <a:pt x="667" y="403"/>
                    </a:lnTo>
                    <a:lnTo>
                      <a:pt x="627" y="367"/>
                    </a:lnTo>
                    <a:lnTo>
                      <a:pt x="587" y="334"/>
                    </a:lnTo>
                    <a:lnTo>
                      <a:pt x="547" y="303"/>
                    </a:lnTo>
                    <a:lnTo>
                      <a:pt x="506" y="274"/>
                    </a:lnTo>
                    <a:lnTo>
                      <a:pt x="465" y="245"/>
                    </a:lnTo>
                    <a:lnTo>
                      <a:pt x="424" y="220"/>
                    </a:lnTo>
                    <a:lnTo>
                      <a:pt x="384" y="196"/>
                    </a:lnTo>
                    <a:lnTo>
                      <a:pt x="344" y="173"/>
                    </a:lnTo>
                    <a:lnTo>
                      <a:pt x="306" y="153"/>
                    </a:lnTo>
                    <a:lnTo>
                      <a:pt x="269" y="133"/>
                    </a:lnTo>
                    <a:lnTo>
                      <a:pt x="233" y="116"/>
                    </a:lnTo>
                    <a:lnTo>
                      <a:pt x="200" y="101"/>
                    </a:lnTo>
                    <a:lnTo>
                      <a:pt x="167" y="87"/>
                    </a:lnTo>
                    <a:lnTo>
                      <a:pt x="137" y="74"/>
                    </a:lnTo>
                    <a:lnTo>
                      <a:pt x="85" y="53"/>
                    </a:lnTo>
                    <a:lnTo>
                      <a:pt x="45" y="39"/>
                    </a:lnTo>
                    <a:lnTo>
                      <a:pt x="19" y="31"/>
                    </a:lnTo>
                    <a:lnTo>
                      <a:pt x="9" y="27"/>
                    </a:lnTo>
                    <a:lnTo>
                      <a:pt x="5" y="25"/>
                    </a:lnTo>
                    <a:lnTo>
                      <a:pt x="2" y="21"/>
                    </a:lnTo>
                    <a:lnTo>
                      <a:pt x="0" y="16"/>
                    </a:lnTo>
                    <a:lnTo>
                      <a:pt x="0" y="10"/>
                    </a:lnTo>
                    <a:lnTo>
                      <a:pt x="3" y="6"/>
                    </a:lnTo>
                    <a:lnTo>
                      <a:pt x="6" y="3"/>
                    </a:lnTo>
                    <a:lnTo>
                      <a:pt x="12" y="0"/>
                    </a:lnTo>
                    <a:lnTo>
                      <a:pt x="17" y="1"/>
                    </a:lnTo>
                    <a:lnTo>
                      <a:pt x="27" y="5"/>
                    </a:lnTo>
                    <a:lnTo>
                      <a:pt x="54" y="13"/>
                    </a:lnTo>
                    <a:lnTo>
                      <a:pt x="95" y="27"/>
                    </a:lnTo>
                    <a:lnTo>
                      <a:pt x="148" y="49"/>
                    </a:lnTo>
                    <a:lnTo>
                      <a:pt x="178" y="62"/>
                    </a:lnTo>
                    <a:lnTo>
                      <a:pt x="210" y="76"/>
                    </a:lnTo>
                    <a:lnTo>
                      <a:pt x="245" y="92"/>
                    </a:lnTo>
                    <a:lnTo>
                      <a:pt x="282" y="109"/>
                    </a:lnTo>
                    <a:lnTo>
                      <a:pt x="319" y="129"/>
                    </a:lnTo>
                    <a:lnTo>
                      <a:pt x="358" y="150"/>
                    </a:lnTo>
                    <a:lnTo>
                      <a:pt x="398" y="173"/>
                    </a:lnTo>
                    <a:lnTo>
                      <a:pt x="439" y="198"/>
                    </a:lnTo>
                    <a:lnTo>
                      <a:pt x="481" y="224"/>
                    </a:lnTo>
                    <a:lnTo>
                      <a:pt x="522" y="253"/>
                    </a:lnTo>
                    <a:lnTo>
                      <a:pt x="565" y="283"/>
                    </a:lnTo>
                    <a:lnTo>
                      <a:pt x="606" y="315"/>
                    </a:lnTo>
                    <a:lnTo>
                      <a:pt x="647" y="349"/>
                    </a:lnTo>
                    <a:lnTo>
                      <a:pt x="687" y="385"/>
                    </a:lnTo>
                    <a:lnTo>
                      <a:pt x="726" y="424"/>
                    </a:lnTo>
                    <a:lnTo>
                      <a:pt x="764" y="463"/>
                    </a:lnTo>
                    <a:lnTo>
                      <a:pt x="800" y="506"/>
                    </a:lnTo>
                    <a:lnTo>
                      <a:pt x="836" y="550"/>
                    </a:lnTo>
                    <a:lnTo>
                      <a:pt x="868" y="596"/>
                    </a:lnTo>
                    <a:lnTo>
                      <a:pt x="898" y="645"/>
                    </a:lnTo>
                    <a:lnTo>
                      <a:pt x="926" y="696"/>
                    </a:lnTo>
                    <a:lnTo>
                      <a:pt x="951" y="748"/>
                    </a:lnTo>
                    <a:lnTo>
                      <a:pt x="973" y="804"/>
                    </a:lnTo>
                    <a:lnTo>
                      <a:pt x="991" y="861"/>
                    </a:lnTo>
                    <a:lnTo>
                      <a:pt x="1007" y="919"/>
                    </a:lnTo>
                    <a:lnTo>
                      <a:pt x="1022" y="978"/>
                    </a:lnTo>
                    <a:lnTo>
                      <a:pt x="1037" y="1037"/>
                    </a:lnTo>
                    <a:lnTo>
                      <a:pt x="1050" y="1095"/>
                    </a:lnTo>
                    <a:lnTo>
                      <a:pt x="1063" y="1152"/>
                    </a:lnTo>
                    <a:lnTo>
                      <a:pt x="1074" y="1210"/>
                    </a:lnTo>
                    <a:lnTo>
                      <a:pt x="1085" y="1268"/>
                    </a:lnTo>
                    <a:lnTo>
                      <a:pt x="1095" y="1324"/>
                    </a:lnTo>
                    <a:lnTo>
                      <a:pt x="1104" y="1380"/>
                    </a:lnTo>
                    <a:lnTo>
                      <a:pt x="1113" y="1435"/>
                    </a:lnTo>
                    <a:lnTo>
                      <a:pt x="1121" y="1489"/>
                    </a:lnTo>
                    <a:lnTo>
                      <a:pt x="1127" y="1542"/>
                    </a:lnTo>
                    <a:lnTo>
                      <a:pt x="1139" y="1643"/>
                    </a:lnTo>
                    <a:lnTo>
                      <a:pt x="1149" y="1738"/>
                    </a:lnTo>
                    <a:lnTo>
                      <a:pt x="1156" y="1826"/>
                    </a:lnTo>
                    <a:lnTo>
                      <a:pt x="1163" y="1906"/>
                    </a:lnTo>
                    <a:lnTo>
                      <a:pt x="1166" y="1977"/>
                    </a:lnTo>
                    <a:lnTo>
                      <a:pt x="1169" y="2037"/>
                    </a:lnTo>
                    <a:lnTo>
                      <a:pt x="1171" y="2086"/>
                    </a:lnTo>
                    <a:lnTo>
                      <a:pt x="1172" y="2123"/>
                    </a:lnTo>
                    <a:lnTo>
                      <a:pt x="1172" y="2146"/>
                    </a:lnTo>
                    <a:lnTo>
                      <a:pt x="1172" y="2155"/>
                    </a:lnTo>
                    <a:lnTo>
                      <a:pt x="1171" y="2160"/>
                    </a:lnTo>
                    <a:lnTo>
                      <a:pt x="1168" y="2165"/>
                    </a:lnTo>
                    <a:lnTo>
                      <a:pt x="1164" y="2167"/>
                    </a:lnTo>
                    <a:lnTo>
                      <a:pt x="1158" y="2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96"/>
              <p:cNvSpPr>
                <a:spLocks/>
              </p:cNvSpPr>
              <p:nvPr userDrawn="1"/>
            </p:nvSpPr>
            <p:spPr bwMode="auto">
              <a:xfrm>
                <a:off x="946" y="3022"/>
                <a:ext cx="372" cy="812"/>
              </a:xfrm>
              <a:custGeom>
                <a:avLst/>
                <a:gdLst>
                  <a:gd name="T0" fmla="*/ 928 w 1116"/>
                  <a:gd name="T1" fmla="*/ 2427 h 2437"/>
                  <a:gd name="T2" fmla="*/ 853 w 1116"/>
                  <a:gd name="T3" fmla="*/ 2324 h 2437"/>
                  <a:gd name="T4" fmla="*/ 793 w 1116"/>
                  <a:gd name="T5" fmla="*/ 2215 h 2437"/>
                  <a:gd name="T6" fmla="*/ 738 w 1116"/>
                  <a:gd name="T7" fmla="*/ 2073 h 2437"/>
                  <a:gd name="T8" fmla="*/ 704 w 1116"/>
                  <a:gd name="T9" fmla="*/ 1901 h 2437"/>
                  <a:gd name="T10" fmla="*/ 703 w 1116"/>
                  <a:gd name="T11" fmla="*/ 1703 h 2437"/>
                  <a:gd name="T12" fmla="*/ 751 w 1116"/>
                  <a:gd name="T13" fmla="*/ 1482 h 2437"/>
                  <a:gd name="T14" fmla="*/ 855 w 1116"/>
                  <a:gd name="T15" fmla="*/ 1249 h 2437"/>
                  <a:gd name="T16" fmla="*/ 951 w 1116"/>
                  <a:gd name="T17" fmla="*/ 1043 h 2437"/>
                  <a:gd name="T18" fmla="*/ 1022 w 1116"/>
                  <a:gd name="T19" fmla="*/ 854 h 2437"/>
                  <a:gd name="T20" fmla="*/ 1068 w 1116"/>
                  <a:gd name="T21" fmla="*/ 684 h 2437"/>
                  <a:gd name="T22" fmla="*/ 1088 w 1116"/>
                  <a:gd name="T23" fmla="*/ 531 h 2437"/>
                  <a:gd name="T24" fmla="*/ 1084 w 1116"/>
                  <a:gd name="T25" fmla="*/ 399 h 2437"/>
                  <a:gd name="T26" fmla="*/ 1055 w 1116"/>
                  <a:gd name="T27" fmla="*/ 284 h 2437"/>
                  <a:gd name="T28" fmla="*/ 1001 w 1116"/>
                  <a:gd name="T29" fmla="*/ 190 h 2437"/>
                  <a:gd name="T30" fmla="*/ 918 w 1116"/>
                  <a:gd name="T31" fmla="*/ 116 h 2437"/>
                  <a:gd name="T32" fmla="*/ 805 w 1116"/>
                  <a:gd name="T33" fmla="*/ 62 h 2437"/>
                  <a:gd name="T34" fmla="*/ 676 w 1116"/>
                  <a:gd name="T35" fmla="*/ 35 h 2437"/>
                  <a:gd name="T36" fmla="*/ 540 w 1116"/>
                  <a:gd name="T37" fmla="*/ 29 h 2437"/>
                  <a:gd name="T38" fmla="*/ 404 w 1116"/>
                  <a:gd name="T39" fmla="*/ 42 h 2437"/>
                  <a:gd name="T40" fmla="*/ 274 w 1116"/>
                  <a:gd name="T41" fmla="*/ 69 h 2437"/>
                  <a:gd name="T42" fmla="*/ 161 w 1116"/>
                  <a:gd name="T43" fmla="*/ 106 h 2437"/>
                  <a:gd name="T44" fmla="*/ 70 w 1116"/>
                  <a:gd name="T45" fmla="*/ 148 h 2437"/>
                  <a:gd name="T46" fmla="*/ 18 w 1116"/>
                  <a:gd name="T47" fmla="*/ 184 h 2437"/>
                  <a:gd name="T48" fmla="*/ 1 w 1116"/>
                  <a:gd name="T49" fmla="*/ 175 h 2437"/>
                  <a:gd name="T50" fmla="*/ 19 w 1116"/>
                  <a:gd name="T51" fmla="*/ 149 h 2437"/>
                  <a:gd name="T52" fmla="*/ 99 w 1116"/>
                  <a:gd name="T53" fmla="*/ 103 h 2437"/>
                  <a:gd name="T54" fmla="*/ 205 w 1116"/>
                  <a:gd name="T55" fmla="*/ 61 h 2437"/>
                  <a:gd name="T56" fmla="*/ 331 w 1116"/>
                  <a:gd name="T57" fmla="*/ 26 h 2437"/>
                  <a:gd name="T58" fmla="*/ 470 w 1116"/>
                  <a:gd name="T59" fmla="*/ 6 h 2437"/>
                  <a:gd name="T60" fmla="*/ 611 w 1116"/>
                  <a:gd name="T61" fmla="*/ 1 h 2437"/>
                  <a:gd name="T62" fmla="*/ 749 w 1116"/>
                  <a:gd name="T63" fmla="*/ 19 h 2437"/>
                  <a:gd name="T64" fmla="*/ 877 w 1116"/>
                  <a:gd name="T65" fmla="*/ 61 h 2437"/>
                  <a:gd name="T66" fmla="*/ 975 w 1116"/>
                  <a:gd name="T67" fmla="*/ 126 h 2437"/>
                  <a:gd name="T68" fmla="*/ 1033 w 1116"/>
                  <a:gd name="T69" fmla="*/ 189 h 2437"/>
                  <a:gd name="T70" fmla="*/ 1080 w 1116"/>
                  <a:gd name="T71" fmla="*/ 275 h 2437"/>
                  <a:gd name="T72" fmla="*/ 1109 w 1116"/>
                  <a:gd name="T73" fmla="*/ 382 h 2437"/>
                  <a:gd name="T74" fmla="*/ 1116 w 1116"/>
                  <a:gd name="T75" fmla="*/ 518 h 2437"/>
                  <a:gd name="T76" fmla="*/ 1096 w 1116"/>
                  <a:gd name="T77" fmla="*/ 684 h 2437"/>
                  <a:gd name="T78" fmla="*/ 1042 w 1116"/>
                  <a:gd name="T79" fmla="*/ 881 h 2437"/>
                  <a:gd name="T80" fmla="*/ 949 w 1116"/>
                  <a:gd name="T81" fmla="*/ 1115 h 2437"/>
                  <a:gd name="T82" fmla="*/ 823 w 1116"/>
                  <a:gd name="T83" fmla="*/ 1374 h 2437"/>
                  <a:gd name="T84" fmla="*/ 747 w 1116"/>
                  <a:gd name="T85" fmla="*/ 1600 h 2437"/>
                  <a:gd name="T86" fmla="*/ 725 w 1116"/>
                  <a:gd name="T87" fmla="*/ 1804 h 2437"/>
                  <a:gd name="T88" fmla="*/ 744 w 1116"/>
                  <a:gd name="T89" fmla="*/ 1984 h 2437"/>
                  <a:gd name="T90" fmla="*/ 789 w 1116"/>
                  <a:gd name="T91" fmla="*/ 2138 h 2437"/>
                  <a:gd name="T92" fmla="*/ 846 w 1116"/>
                  <a:gd name="T93" fmla="*/ 2260 h 2437"/>
                  <a:gd name="T94" fmla="*/ 914 w 1116"/>
                  <a:gd name="T95" fmla="*/ 2365 h 2437"/>
                  <a:gd name="T96" fmla="*/ 957 w 1116"/>
                  <a:gd name="T97" fmla="*/ 2418 h 2437"/>
                  <a:gd name="T98" fmla="*/ 949 w 1116"/>
                  <a:gd name="T99" fmla="*/ 2437 h 2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6" h="2437">
                    <a:moveTo>
                      <a:pt x="944" y="2437"/>
                    </a:moveTo>
                    <a:lnTo>
                      <a:pt x="939" y="2437"/>
                    </a:lnTo>
                    <a:lnTo>
                      <a:pt x="934" y="2433"/>
                    </a:lnTo>
                    <a:lnTo>
                      <a:pt x="928" y="2427"/>
                    </a:lnTo>
                    <a:lnTo>
                      <a:pt x="914" y="2410"/>
                    </a:lnTo>
                    <a:lnTo>
                      <a:pt x="893" y="2383"/>
                    </a:lnTo>
                    <a:lnTo>
                      <a:pt x="868" y="2346"/>
                    </a:lnTo>
                    <a:lnTo>
                      <a:pt x="853" y="2324"/>
                    </a:lnTo>
                    <a:lnTo>
                      <a:pt x="839" y="2301"/>
                    </a:lnTo>
                    <a:lnTo>
                      <a:pt x="824" y="2275"/>
                    </a:lnTo>
                    <a:lnTo>
                      <a:pt x="809" y="2246"/>
                    </a:lnTo>
                    <a:lnTo>
                      <a:pt x="793" y="2215"/>
                    </a:lnTo>
                    <a:lnTo>
                      <a:pt x="778" y="2183"/>
                    </a:lnTo>
                    <a:lnTo>
                      <a:pt x="764" y="2148"/>
                    </a:lnTo>
                    <a:lnTo>
                      <a:pt x="751" y="2112"/>
                    </a:lnTo>
                    <a:lnTo>
                      <a:pt x="738" y="2073"/>
                    </a:lnTo>
                    <a:lnTo>
                      <a:pt x="728" y="2033"/>
                    </a:lnTo>
                    <a:lnTo>
                      <a:pt x="718" y="1991"/>
                    </a:lnTo>
                    <a:lnTo>
                      <a:pt x="709" y="1947"/>
                    </a:lnTo>
                    <a:lnTo>
                      <a:pt x="704" y="1901"/>
                    </a:lnTo>
                    <a:lnTo>
                      <a:pt x="700" y="1854"/>
                    </a:lnTo>
                    <a:lnTo>
                      <a:pt x="698" y="1805"/>
                    </a:lnTo>
                    <a:lnTo>
                      <a:pt x="700" y="1754"/>
                    </a:lnTo>
                    <a:lnTo>
                      <a:pt x="703" y="1703"/>
                    </a:lnTo>
                    <a:lnTo>
                      <a:pt x="710" y="1650"/>
                    </a:lnTo>
                    <a:lnTo>
                      <a:pt x="720" y="1595"/>
                    </a:lnTo>
                    <a:lnTo>
                      <a:pt x="734" y="1540"/>
                    </a:lnTo>
                    <a:lnTo>
                      <a:pt x="751" y="1482"/>
                    </a:lnTo>
                    <a:lnTo>
                      <a:pt x="773" y="1423"/>
                    </a:lnTo>
                    <a:lnTo>
                      <a:pt x="798" y="1364"/>
                    </a:lnTo>
                    <a:lnTo>
                      <a:pt x="828" y="1303"/>
                    </a:lnTo>
                    <a:lnTo>
                      <a:pt x="855" y="1249"/>
                    </a:lnTo>
                    <a:lnTo>
                      <a:pt x="882" y="1196"/>
                    </a:lnTo>
                    <a:lnTo>
                      <a:pt x="907" y="1143"/>
                    </a:lnTo>
                    <a:lnTo>
                      <a:pt x="930" y="1093"/>
                    </a:lnTo>
                    <a:lnTo>
                      <a:pt x="951" y="1043"/>
                    </a:lnTo>
                    <a:lnTo>
                      <a:pt x="972" y="995"/>
                    </a:lnTo>
                    <a:lnTo>
                      <a:pt x="990" y="947"/>
                    </a:lnTo>
                    <a:lnTo>
                      <a:pt x="1007" y="900"/>
                    </a:lnTo>
                    <a:lnTo>
                      <a:pt x="1022" y="854"/>
                    </a:lnTo>
                    <a:lnTo>
                      <a:pt x="1036" y="810"/>
                    </a:lnTo>
                    <a:lnTo>
                      <a:pt x="1048" y="767"/>
                    </a:lnTo>
                    <a:lnTo>
                      <a:pt x="1059" y="725"/>
                    </a:lnTo>
                    <a:lnTo>
                      <a:pt x="1068" y="684"/>
                    </a:lnTo>
                    <a:lnTo>
                      <a:pt x="1075" y="644"/>
                    </a:lnTo>
                    <a:lnTo>
                      <a:pt x="1082" y="606"/>
                    </a:lnTo>
                    <a:lnTo>
                      <a:pt x="1086" y="568"/>
                    </a:lnTo>
                    <a:lnTo>
                      <a:pt x="1088" y="531"/>
                    </a:lnTo>
                    <a:lnTo>
                      <a:pt x="1090" y="497"/>
                    </a:lnTo>
                    <a:lnTo>
                      <a:pt x="1089" y="462"/>
                    </a:lnTo>
                    <a:lnTo>
                      <a:pt x="1088" y="430"/>
                    </a:lnTo>
                    <a:lnTo>
                      <a:pt x="1084" y="399"/>
                    </a:lnTo>
                    <a:lnTo>
                      <a:pt x="1080" y="368"/>
                    </a:lnTo>
                    <a:lnTo>
                      <a:pt x="1073" y="339"/>
                    </a:lnTo>
                    <a:lnTo>
                      <a:pt x="1065" y="311"/>
                    </a:lnTo>
                    <a:lnTo>
                      <a:pt x="1055" y="284"/>
                    </a:lnTo>
                    <a:lnTo>
                      <a:pt x="1044" y="259"/>
                    </a:lnTo>
                    <a:lnTo>
                      <a:pt x="1031" y="236"/>
                    </a:lnTo>
                    <a:lnTo>
                      <a:pt x="1016" y="212"/>
                    </a:lnTo>
                    <a:lnTo>
                      <a:pt x="1001" y="190"/>
                    </a:lnTo>
                    <a:lnTo>
                      <a:pt x="982" y="171"/>
                    </a:lnTo>
                    <a:lnTo>
                      <a:pt x="963" y="151"/>
                    </a:lnTo>
                    <a:lnTo>
                      <a:pt x="943" y="134"/>
                    </a:lnTo>
                    <a:lnTo>
                      <a:pt x="918" y="116"/>
                    </a:lnTo>
                    <a:lnTo>
                      <a:pt x="892" y="100"/>
                    </a:lnTo>
                    <a:lnTo>
                      <a:pt x="864" y="86"/>
                    </a:lnTo>
                    <a:lnTo>
                      <a:pt x="835" y="73"/>
                    </a:lnTo>
                    <a:lnTo>
                      <a:pt x="805" y="62"/>
                    </a:lnTo>
                    <a:lnTo>
                      <a:pt x="774" y="53"/>
                    </a:lnTo>
                    <a:lnTo>
                      <a:pt x="742" y="45"/>
                    </a:lnTo>
                    <a:lnTo>
                      <a:pt x="709" y="39"/>
                    </a:lnTo>
                    <a:lnTo>
                      <a:pt x="676" y="35"/>
                    </a:lnTo>
                    <a:lnTo>
                      <a:pt x="642" y="32"/>
                    </a:lnTo>
                    <a:lnTo>
                      <a:pt x="609" y="29"/>
                    </a:lnTo>
                    <a:lnTo>
                      <a:pt x="574" y="28"/>
                    </a:lnTo>
                    <a:lnTo>
                      <a:pt x="540" y="29"/>
                    </a:lnTo>
                    <a:lnTo>
                      <a:pt x="505" y="31"/>
                    </a:lnTo>
                    <a:lnTo>
                      <a:pt x="471" y="34"/>
                    </a:lnTo>
                    <a:lnTo>
                      <a:pt x="437" y="37"/>
                    </a:lnTo>
                    <a:lnTo>
                      <a:pt x="404" y="42"/>
                    </a:lnTo>
                    <a:lnTo>
                      <a:pt x="370" y="48"/>
                    </a:lnTo>
                    <a:lnTo>
                      <a:pt x="338" y="54"/>
                    </a:lnTo>
                    <a:lnTo>
                      <a:pt x="305" y="61"/>
                    </a:lnTo>
                    <a:lnTo>
                      <a:pt x="274" y="69"/>
                    </a:lnTo>
                    <a:lnTo>
                      <a:pt x="244" y="77"/>
                    </a:lnTo>
                    <a:lnTo>
                      <a:pt x="215" y="87"/>
                    </a:lnTo>
                    <a:lnTo>
                      <a:pt x="188" y="95"/>
                    </a:lnTo>
                    <a:lnTo>
                      <a:pt x="161" y="106"/>
                    </a:lnTo>
                    <a:lnTo>
                      <a:pt x="136" y="116"/>
                    </a:lnTo>
                    <a:lnTo>
                      <a:pt x="112" y="127"/>
                    </a:lnTo>
                    <a:lnTo>
                      <a:pt x="91" y="137"/>
                    </a:lnTo>
                    <a:lnTo>
                      <a:pt x="70" y="148"/>
                    </a:lnTo>
                    <a:lnTo>
                      <a:pt x="53" y="159"/>
                    </a:lnTo>
                    <a:lnTo>
                      <a:pt x="37" y="170"/>
                    </a:lnTo>
                    <a:lnTo>
                      <a:pt x="23" y="182"/>
                    </a:lnTo>
                    <a:lnTo>
                      <a:pt x="18" y="184"/>
                    </a:lnTo>
                    <a:lnTo>
                      <a:pt x="13" y="185"/>
                    </a:lnTo>
                    <a:lnTo>
                      <a:pt x="7" y="184"/>
                    </a:lnTo>
                    <a:lnTo>
                      <a:pt x="3" y="181"/>
                    </a:lnTo>
                    <a:lnTo>
                      <a:pt x="1" y="175"/>
                    </a:lnTo>
                    <a:lnTo>
                      <a:pt x="0" y="170"/>
                    </a:lnTo>
                    <a:lnTo>
                      <a:pt x="2" y="165"/>
                    </a:lnTo>
                    <a:lnTo>
                      <a:pt x="5" y="161"/>
                    </a:lnTo>
                    <a:lnTo>
                      <a:pt x="19" y="149"/>
                    </a:lnTo>
                    <a:lnTo>
                      <a:pt x="37" y="137"/>
                    </a:lnTo>
                    <a:lnTo>
                      <a:pt x="55" y="126"/>
                    </a:lnTo>
                    <a:lnTo>
                      <a:pt x="76" y="114"/>
                    </a:lnTo>
                    <a:lnTo>
                      <a:pt x="99" y="103"/>
                    </a:lnTo>
                    <a:lnTo>
                      <a:pt x="123" y="92"/>
                    </a:lnTo>
                    <a:lnTo>
                      <a:pt x="149" y="81"/>
                    </a:lnTo>
                    <a:lnTo>
                      <a:pt x="177" y="70"/>
                    </a:lnTo>
                    <a:lnTo>
                      <a:pt x="205" y="61"/>
                    </a:lnTo>
                    <a:lnTo>
                      <a:pt x="235" y="51"/>
                    </a:lnTo>
                    <a:lnTo>
                      <a:pt x="267" y="42"/>
                    </a:lnTo>
                    <a:lnTo>
                      <a:pt x="299" y="34"/>
                    </a:lnTo>
                    <a:lnTo>
                      <a:pt x="331" y="26"/>
                    </a:lnTo>
                    <a:lnTo>
                      <a:pt x="365" y="20"/>
                    </a:lnTo>
                    <a:lnTo>
                      <a:pt x="399" y="14"/>
                    </a:lnTo>
                    <a:lnTo>
                      <a:pt x="434" y="9"/>
                    </a:lnTo>
                    <a:lnTo>
                      <a:pt x="470" y="6"/>
                    </a:lnTo>
                    <a:lnTo>
                      <a:pt x="505" y="2"/>
                    </a:lnTo>
                    <a:lnTo>
                      <a:pt x="541" y="1"/>
                    </a:lnTo>
                    <a:lnTo>
                      <a:pt x="575" y="0"/>
                    </a:lnTo>
                    <a:lnTo>
                      <a:pt x="611" y="1"/>
                    </a:lnTo>
                    <a:lnTo>
                      <a:pt x="647" y="4"/>
                    </a:lnTo>
                    <a:lnTo>
                      <a:pt x="681" y="7"/>
                    </a:lnTo>
                    <a:lnTo>
                      <a:pt x="716" y="12"/>
                    </a:lnTo>
                    <a:lnTo>
                      <a:pt x="749" y="19"/>
                    </a:lnTo>
                    <a:lnTo>
                      <a:pt x="783" y="26"/>
                    </a:lnTo>
                    <a:lnTo>
                      <a:pt x="815" y="36"/>
                    </a:lnTo>
                    <a:lnTo>
                      <a:pt x="846" y="48"/>
                    </a:lnTo>
                    <a:lnTo>
                      <a:pt x="877" y="61"/>
                    </a:lnTo>
                    <a:lnTo>
                      <a:pt x="906" y="76"/>
                    </a:lnTo>
                    <a:lnTo>
                      <a:pt x="933" y="93"/>
                    </a:lnTo>
                    <a:lnTo>
                      <a:pt x="960" y="113"/>
                    </a:lnTo>
                    <a:lnTo>
                      <a:pt x="975" y="126"/>
                    </a:lnTo>
                    <a:lnTo>
                      <a:pt x="990" y="140"/>
                    </a:lnTo>
                    <a:lnTo>
                      <a:pt x="1005" y="155"/>
                    </a:lnTo>
                    <a:lnTo>
                      <a:pt x="1019" y="172"/>
                    </a:lnTo>
                    <a:lnTo>
                      <a:pt x="1033" y="189"/>
                    </a:lnTo>
                    <a:lnTo>
                      <a:pt x="1046" y="209"/>
                    </a:lnTo>
                    <a:lnTo>
                      <a:pt x="1058" y="229"/>
                    </a:lnTo>
                    <a:lnTo>
                      <a:pt x="1069" y="251"/>
                    </a:lnTo>
                    <a:lnTo>
                      <a:pt x="1080" y="275"/>
                    </a:lnTo>
                    <a:lnTo>
                      <a:pt x="1088" y="299"/>
                    </a:lnTo>
                    <a:lnTo>
                      <a:pt x="1097" y="325"/>
                    </a:lnTo>
                    <a:lnTo>
                      <a:pt x="1103" y="353"/>
                    </a:lnTo>
                    <a:lnTo>
                      <a:pt x="1109" y="382"/>
                    </a:lnTo>
                    <a:lnTo>
                      <a:pt x="1113" y="414"/>
                    </a:lnTo>
                    <a:lnTo>
                      <a:pt x="1115" y="447"/>
                    </a:lnTo>
                    <a:lnTo>
                      <a:pt x="1116" y="482"/>
                    </a:lnTo>
                    <a:lnTo>
                      <a:pt x="1116" y="518"/>
                    </a:lnTo>
                    <a:lnTo>
                      <a:pt x="1114" y="556"/>
                    </a:lnTo>
                    <a:lnTo>
                      <a:pt x="1110" y="597"/>
                    </a:lnTo>
                    <a:lnTo>
                      <a:pt x="1103" y="639"/>
                    </a:lnTo>
                    <a:lnTo>
                      <a:pt x="1096" y="684"/>
                    </a:lnTo>
                    <a:lnTo>
                      <a:pt x="1085" y="730"/>
                    </a:lnTo>
                    <a:lnTo>
                      <a:pt x="1073" y="779"/>
                    </a:lnTo>
                    <a:lnTo>
                      <a:pt x="1058" y="828"/>
                    </a:lnTo>
                    <a:lnTo>
                      <a:pt x="1042" y="881"/>
                    </a:lnTo>
                    <a:lnTo>
                      <a:pt x="1022" y="936"/>
                    </a:lnTo>
                    <a:lnTo>
                      <a:pt x="1001" y="993"/>
                    </a:lnTo>
                    <a:lnTo>
                      <a:pt x="976" y="1053"/>
                    </a:lnTo>
                    <a:lnTo>
                      <a:pt x="949" y="1115"/>
                    </a:lnTo>
                    <a:lnTo>
                      <a:pt x="920" y="1179"/>
                    </a:lnTo>
                    <a:lnTo>
                      <a:pt x="887" y="1246"/>
                    </a:lnTo>
                    <a:lnTo>
                      <a:pt x="852" y="1316"/>
                    </a:lnTo>
                    <a:lnTo>
                      <a:pt x="823" y="1374"/>
                    </a:lnTo>
                    <a:lnTo>
                      <a:pt x="798" y="1433"/>
                    </a:lnTo>
                    <a:lnTo>
                      <a:pt x="777" y="1490"/>
                    </a:lnTo>
                    <a:lnTo>
                      <a:pt x="760" y="1545"/>
                    </a:lnTo>
                    <a:lnTo>
                      <a:pt x="747" y="1600"/>
                    </a:lnTo>
                    <a:lnTo>
                      <a:pt x="737" y="1653"/>
                    </a:lnTo>
                    <a:lnTo>
                      <a:pt x="730" y="1705"/>
                    </a:lnTo>
                    <a:lnTo>
                      <a:pt x="727" y="1756"/>
                    </a:lnTo>
                    <a:lnTo>
                      <a:pt x="725" y="1804"/>
                    </a:lnTo>
                    <a:lnTo>
                      <a:pt x="727" y="1852"/>
                    </a:lnTo>
                    <a:lnTo>
                      <a:pt x="731" y="1897"/>
                    </a:lnTo>
                    <a:lnTo>
                      <a:pt x="736" y="1941"/>
                    </a:lnTo>
                    <a:lnTo>
                      <a:pt x="744" y="1984"/>
                    </a:lnTo>
                    <a:lnTo>
                      <a:pt x="754" y="2025"/>
                    </a:lnTo>
                    <a:lnTo>
                      <a:pt x="764" y="2064"/>
                    </a:lnTo>
                    <a:lnTo>
                      <a:pt x="776" y="2102"/>
                    </a:lnTo>
                    <a:lnTo>
                      <a:pt x="789" y="2138"/>
                    </a:lnTo>
                    <a:lnTo>
                      <a:pt x="803" y="2171"/>
                    </a:lnTo>
                    <a:lnTo>
                      <a:pt x="817" y="2202"/>
                    </a:lnTo>
                    <a:lnTo>
                      <a:pt x="831" y="2233"/>
                    </a:lnTo>
                    <a:lnTo>
                      <a:pt x="846" y="2260"/>
                    </a:lnTo>
                    <a:lnTo>
                      <a:pt x="860" y="2286"/>
                    </a:lnTo>
                    <a:lnTo>
                      <a:pt x="876" y="2309"/>
                    </a:lnTo>
                    <a:lnTo>
                      <a:pt x="889" y="2330"/>
                    </a:lnTo>
                    <a:lnTo>
                      <a:pt x="914" y="2365"/>
                    </a:lnTo>
                    <a:lnTo>
                      <a:pt x="934" y="2392"/>
                    </a:lnTo>
                    <a:lnTo>
                      <a:pt x="948" y="2409"/>
                    </a:lnTo>
                    <a:lnTo>
                      <a:pt x="953" y="2414"/>
                    </a:lnTo>
                    <a:lnTo>
                      <a:pt x="957" y="2418"/>
                    </a:lnTo>
                    <a:lnTo>
                      <a:pt x="958" y="2424"/>
                    </a:lnTo>
                    <a:lnTo>
                      <a:pt x="957" y="2429"/>
                    </a:lnTo>
                    <a:lnTo>
                      <a:pt x="953" y="2433"/>
                    </a:lnTo>
                    <a:lnTo>
                      <a:pt x="949" y="2437"/>
                    </a:lnTo>
                    <a:lnTo>
                      <a:pt x="944" y="24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97"/>
              <p:cNvSpPr>
                <a:spLocks/>
              </p:cNvSpPr>
              <p:nvPr userDrawn="1"/>
            </p:nvSpPr>
            <p:spPr bwMode="auto">
              <a:xfrm>
                <a:off x="1099" y="3006"/>
                <a:ext cx="1602" cy="402"/>
              </a:xfrm>
              <a:custGeom>
                <a:avLst/>
                <a:gdLst>
                  <a:gd name="T0" fmla="*/ 4784 w 4806"/>
                  <a:gd name="T1" fmla="*/ 1203 h 1207"/>
                  <a:gd name="T2" fmla="*/ 4769 w 4806"/>
                  <a:gd name="T3" fmla="*/ 1175 h 1207"/>
                  <a:gd name="T4" fmla="*/ 4701 w 4806"/>
                  <a:gd name="T5" fmla="*/ 1115 h 1207"/>
                  <a:gd name="T6" fmla="*/ 4577 w 4806"/>
                  <a:gd name="T7" fmla="*/ 1062 h 1207"/>
                  <a:gd name="T8" fmla="*/ 4396 w 4806"/>
                  <a:gd name="T9" fmla="*/ 1017 h 1207"/>
                  <a:gd name="T10" fmla="*/ 4157 w 4806"/>
                  <a:gd name="T11" fmla="*/ 979 h 1207"/>
                  <a:gd name="T12" fmla="*/ 3862 w 4806"/>
                  <a:gd name="T13" fmla="*/ 950 h 1207"/>
                  <a:gd name="T14" fmla="*/ 3511 w 4806"/>
                  <a:gd name="T15" fmla="*/ 927 h 1207"/>
                  <a:gd name="T16" fmla="*/ 3103 w 4806"/>
                  <a:gd name="T17" fmla="*/ 913 h 1207"/>
                  <a:gd name="T18" fmla="*/ 2640 w 4806"/>
                  <a:gd name="T19" fmla="*/ 905 h 1207"/>
                  <a:gd name="T20" fmla="*/ 2120 w 4806"/>
                  <a:gd name="T21" fmla="*/ 907 h 1207"/>
                  <a:gd name="T22" fmla="*/ 1545 w 4806"/>
                  <a:gd name="T23" fmla="*/ 915 h 1207"/>
                  <a:gd name="T24" fmla="*/ 1216 w 4806"/>
                  <a:gd name="T25" fmla="*/ 923 h 1207"/>
                  <a:gd name="T26" fmla="*/ 1095 w 4806"/>
                  <a:gd name="T27" fmla="*/ 915 h 1207"/>
                  <a:gd name="T28" fmla="*/ 932 w 4806"/>
                  <a:gd name="T29" fmla="*/ 877 h 1207"/>
                  <a:gd name="T30" fmla="*/ 774 w 4806"/>
                  <a:gd name="T31" fmla="*/ 815 h 1207"/>
                  <a:gd name="T32" fmla="*/ 624 w 4806"/>
                  <a:gd name="T33" fmla="*/ 729 h 1207"/>
                  <a:gd name="T34" fmla="*/ 486 w 4806"/>
                  <a:gd name="T35" fmla="*/ 630 h 1207"/>
                  <a:gd name="T36" fmla="*/ 360 w 4806"/>
                  <a:gd name="T37" fmla="*/ 521 h 1207"/>
                  <a:gd name="T38" fmla="*/ 249 w 4806"/>
                  <a:gd name="T39" fmla="*/ 407 h 1207"/>
                  <a:gd name="T40" fmla="*/ 155 w 4806"/>
                  <a:gd name="T41" fmla="*/ 293 h 1207"/>
                  <a:gd name="T42" fmla="*/ 81 w 4806"/>
                  <a:gd name="T43" fmla="*/ 188 h 1207"/>
                  <a:gd name="T44" fmla="*/ 29 w 4806"/>
                  <a:gd name="T45" fmla="*/ 93 h 1207"/>
                  <a:gd name="T46" fmla="*/ 0 w 4806"/>
                  <a:gd name="T47" fmla="*/ 16 h 1207"/>
                  <a:gd name="T48" fmla="*/ 5 w 4806"/>
                  <a:gd name="T49" fmla="*/ 2 h 1207"/>
                  <a:gd name="T50" fmla="*/ 19 w 4806"/>
                  <a:gd name="T51" fmla="*/ 1 h 1207"/>
                  <a:gd name="T52" fmla="*/ 32 w 4806"/>
                  <a:gd name="T53" fmla="*/ 29 h 1207"/>
                  <a:gd name="T54" fmla="*/ 66 w 4806"/>
                  <a:gd name="T55" fmla="*/ 103 h 1207"/>
                  <a:gd name="T56" fmla="*/ 122 w 4806"/>
                  <a:gd name="T57" fmla="*/ 197 h 1207"/>
                  <a:gd name="T58" fmla="*/ 199 w 4806"/>
                  <a:gd name="T59" fmla="*/ 304 h 1207"/>
                  <a:gd name="T60" fmla="*/ 297 w 4806"/>
                  <a:gd name="T61" fmla="*/ 418 h 1207"/>
                  <a:gd name="T62" fmla="*/ 410 w 4806"/>
                  <a:gd name="T63" fmla="*/ 531 h 1207"/>
                  <a:gd name="T64" fmla="*/ 538 w 4806"/>
                  <a:gd name="T65" fmla="*/ 639 h 1207"/>
                  <a:gd name="T66" fmla="*/ 681 w 4806"/>
                  <a:gd name="T67" fmla="*/ 736 h 1207"/>
                  <a:gd name="T68" fmla="*/ 833 w 4806"/>
                  <a:gd name="T69" fmla="*/ 815 h 1207"/>
                  <a:gd name="T70" fmla="*/ 996 w 4806"/>
                  <a:gd name="T71" fmla="*/ 870 h 1207"/>
                  <a:gd name="T72" fmla="*/ 1166 w 4806"/>
                  <a:gd name="T73" fmla="*/ 895 h 1207"/>
                  <a:gd name="T74" fmla="*/ 1515 w 4806"/>
                  <a:gd name="T75" fmla="*/ 888 h 1207"/>
                  <a:gd name="T76" fmla="*/ 2215 w 4806"/>
                  <a:gd name="T77" fmla="*/ 877 h 1207"/>
                  <a:gd name="T78" fmla="*/ 2629 w 4806"/>
                  <a:gd name="T79" fmla="*/ 877 h 1207"/>
                  <a:gd name="T80" fmla="*/ 3057 w 4806"/>
                  <a:gd name="T81" fmla="*/ 883 h 1207"/>
                  <a:gd name="T82" fmla="*/ 3480 w 4806"/>
                  <a:gd name="T83" fmla="*/ 898 h 1207"/>
                  <a:gd name="T84" fmla="*/ 3877 w 4806"/>
                  <a:gd name="T85" fmla="*/ 925 h 1207"/>
                  <a:gd name="T86" fmla="*/ 4229 w 4806"/>
                  <a:gd name="T87" fmla="*/ 964 h 1207"/>
                  <a:gd name="T88" fmla="*/ 4514 w 4806"/>
                  <a:gd name="T89" fmla="*/ 1020 h 1207"/>
                  <a:gd name="T90" fmla="*/ 4713 w 4806"/>
                  <a:gd name="T91" fmla="*/ 1094 h 1207"/>
                  <a:gd name="T92" fmla="*/ 4805 w 4806"/>
                  <a:gd name="T93" fmla="*/ 1189 h 1207"/>
                  <a:gd name="T94" fmla="*/ 4801 w 4806"/>
                  <a:gd name="T95" fmla="*/ 1203 h 1207"/>
                  <a:gd name="T96" fmla="*/ 4792 w 4806"/>
                  <a:gd name="T97"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06" h="1207">
                    <a:moveTo>
                      <a:pt x="4792" y="1207"/>
                    </a:moveTo>
                    <a:lnTo>
                      <a:pt x="4788" y="1206"/>
                    </a:lnTo>
                    <a:lnTo>
                      <a:pt x="4784" y="1203"/>
                    </a:lnTo>
                    <a:lnTo>
                      <a:pt x="4781" y="1201"/>
                    </a:lnTo>
                    <a:lnTo>
                      <a:pt x="4779" y="1197"/>
                    </a:lnTo>
                    <a:lnTo>
                      <a:pt x="4769" y="1175"/>
                    </a:lnTo>
                    <a:lnTo>
                      <a:pt x="4753" y="1154"/>
                    </a:lnTo>
                    <a:lnTo>
                      <a:pt x="4730" y="1134"/>
                    </a:lnTo>
                    <a:lnTo>
                      <a:pt x="4701" y="1115"/>
                    </a:lnTo>
                    <a:lnTo>
                      <a:pt x="4667" y="1096"/>
                    </a:lnTo>
                    <a:lnTo>
                      <a:pt x="4625" y="1078"/>
                    </a:lnTo>
                    <a:lnTo>
                      <a:pt x="4577" y="1062"/>
                    </a:lnTo>
                    <a:lnTo>
                      <a:pt x="4523" y="1046"/>
                    </a:lnTo>
                    <a:lnTo>
                      <a:pt x="4463" y="1031"/>
                    </a:lnTo>
                    <a:lnTo>
                      <a:pt x="4396" y="1017"/>
                    </a:lnTo>
                    <a:lnTo>
                      <a:pt x="4322" y="1004"/>
                    </a:lnTo>
                    <a:lnTo>
                      <a:pt x="4242" y="991"/>
                    </a:lnTo>
                    <a:lnTo>
                      <a:pt x="4157" y="979"/>
                    </a:lnTo>
                    <a:lnTo>
                      <a:pt x="4065" y="968"/>
                    </a:lnTo>
                    <a:lnTo>
                      <a:pt x="3967" y="958"/>
                    </a:lnTo>
                    <a:lnTo>
                      <a:pt x="3862" y="950"/>
                    </a:lnTo>
                    <a:lnTo>
                      <a:pt x="3751" y="941"/>
                    </a:lnTo>
                    <a:lnTo>
                      <a:pt x="3634" y="933"/>
                    </a:lnTo>
                    <a:lnTo>
                      <a:pt x="3511" y="927"/>
                    </a:lnTo>
                    <a:lnTo>
                      <a:pt x="3382" y="922"/>
                    </a:lnTo>
                    <a:lnTo>
                      <a:pt x="3246" y="916"/>
                    </a:lnTo>
                    <a:lnTo>
                      <a:pt x="3103" y="913"/>
                    </a:lnTo>
                    <a:lnTo>
                      <a:pt x="2955" y="910"/>
                    </a:lnTo>
                    <a:lnTo>
                      <a:pt x="2801" y="908"/>
                    </a:lnTo>
                    <a:lnTo>
                      <a:pt x="2640" y="905"/>
                    </a:lnTo>
                    <a:lnTo>
                      <a:pt x="2472" y="905"/>
                    </a:lnTo>
                    <a:lnTo>
                      <a:pt x="2300" y="905"/>
                    </a:lnTo>
                    <a:lnTo>
                      <a:pt x="2120" y="907"/>
                    </a:lnTo>
                    <a:lnTo>
                      <a:pt x="1935" y="909"/>
                    </a:lnTo>
                    <a:lnTo>
                      <a:pt x="1742" y="912"/>
                    </a:lnTo>
                    <a:lnTo>
                      <a:pt x="1545" y="915"/>
                    </a:lnTo>
                    <a:lnTo>
                      <a:pt x="1341" y="919"/>
                    </a:lnTo>
                    <a:lnTo>
                      <a:pt x="1224" y="923"/>
                    </a:lnTo>
                    <a:lnTo>
                      <a:pt x="1216" y="923"/>
                    </a:lnTo>
                    <a:lnTo>
                      <a:pt x="1207" y="923"/>
                    </a:lnTo>
                    <a:lnTo>
                      <a:pt x="1151" y="921"/>
                    </a:lnTo>
                    <a:lnTo>
                      <a:pt x="1095" y="915"/>
                    </a:lnTo>
                    <a:lnTo>
                      <a:pt x="1040" y="905"/>
                    </a:lnTo>
                    <a:lnTo>
                      <a:pt x="986" y="894"/>
                    </a:lnTo>
                    <a:lnTo>
                      <a:pt x="932" y="877"/>
                    </a:lnTo>
                    <a:lnTo>
                      <a:pt x="878" y="859"/>
                    </a:lnTo>
                    <a:lnTo>
                      <a:pt x="826" y="838"/>
                    </a:lnTo>
                    <a:lnTo>
                      <a:pt x="774" y="815"/>
                    </a:lnTo>
                    <a:lnTo>
                      <a:pt x="723" y="788"/>
                    </a:lnTo>
                    <a:lnTo>
                      <a:pt x="673" y="760"/>
                    </a:lnTo>
                    <a:lnTo>
                      <a:pt x="624" y="729"/>
                    </a:lnTo>
                    <a:lnTo>
                      <a:pt x="576" y="698"/>
                    </a:lnTo>
                    <a:lnTo>
                      <a:pt x="531" y="665"/>
                    </a:lnTo>
                    <a:lnTo>
                      <a:pt x="486" y="630"/>
                    </a:lnTo>
                    <a:lnTo>
                      <a:pt x="442" y="595"/>
                    </a:lnTo>
                    <a:lnTo>
                      <a:pt x="400" y="558"/>
                    </a:lnTo>
                    <a:lnTo>
                      <a:pt x="360" y="521"/>
                    </a:lnTo>
                    <a:lnTo>
                      <a:pt x="321" y="483"/>
                    </a:lnTo>
                    <a:lnTo>
                      <a:pt x="284" y="444"/>
                    </a:lnTo>
                    <a:lnTo>
                      <a:pt x="249" y="407"/>
                    </a:lnTo>
                    <a:lnTo>
                      <a:pt x="216" y="369"/>
                    </a:lnTo>
                    <a:lnTo>
                      <a:pt x="184" y="331"/>
                    </a:lnTo>
                    <a:lnTo>
                      <a:pt x="155" y="293"/>
                    </a:lnTo>
                    <a:lnTo>
                      <a:pt x="128" y="258"/>
                    </a:lnTo>
                    <a:lnTo>
                      <a:pt x="103" y="222"/>
                    </a:lnTo>
                    <a:lnTo>
                      <a:pt x="81" y="188"/>
                    </a:lnTo>
                    <a:lnTo>
                      <a:pt x="61" y="154"/>
                    </a:lnTo>
                    <a:lnTo>
                      <a:pt x="44" y="123"/>
                    </a:lnTo>
                    <a:lnTo>
                      <a:pt x="29" y="93"/>
                    </a:lnTo>
                    <a:lnTo>
                      <a:pt x="16" y="65"/>
                    </a:lnTo>
                    <a:lnTo>
                      <a:pt x="6" y="40"/>
                    </a:lnTo>
                    <a:lnTo>
                      <a:pt x="0" y="16"/>
                    </a:lnTo>
                    <a:lnTo>
                      <a:pt x="0" y="11"/>
                    </a:lnTo>
                    <a:lnTo>
                      <a:pt x="1" y="5"/>
                    </a:lnTo>
                    <a:lnTo>
                      <a:pt x="5" y="2"/>
                    </a:lnTo>
                    <a:lnTo>
                      <a:pt x="9" y="0"/>
                    </a:lnTo>
                    <a:lnTo>
                      <a:pt x="15" y="0"/>
                    </a:lnTo>
                    <a:lnTo>
                      <a:pt x="19" y="1"/>
                    </a:lnTo>
                    <a:lnTo>
                      <a:pt x="23" y="4"/>
                    </a:lnTo>
                    <a:lnTo>
                      <a:pt x="26" y="9"/>
                    </a:lnTo>
                    <a:lnTo>
                      <a:pt x="32" y="29"/>
                    </a:lnTo>
                    <a:lnTo>
                      <a:pt x="41" y="52"/>
                    </a:lnTo>
                    <a:lnTo>
                      <a:pt x="51" y="76"/>
                    </a:lnTo>
                    <a:lnTo>
                      <a:pt x="66" y="103"/>
                    </a:lnTo>
                    <a:lnTo>
                      <a:pt x="82" y="134"/>
                    </a:lnTo>
                    <a:lnTo>
                      <a:pt x="101" y="165"/>
                    </a:lnTo>
                    <a:lnTo>
                      <a:pt x="122" y="197"/>
                    </a:lnTo>
                    <a:lnTo>
                      <a:pt x="145" y="232"/>
                    </a:lnTo>
                    <a:lnTo>
                      <a:pt x="171" y="267"/>
                    </a:lnTo>
                    <a:lnTo>
                      <a:pt x="199" y="304"/>
                    </a:lnTo>
                    <a:lnTo>
                      <a:pt x="230" y="341"/>
                    </a:lnTo>
                    <a:lnTo>
                      <a:pt x="262" y="379"/>
                    </a:lnTo>
                    <a:lnTo>
                      <a:pt x="297" y="418"/>
                    </a:lnTo>
                    <a:lnTo>
                      <a:pt x="332" y="455"/>
                    </a:lnTo>
                    <a:lnTo>
                      <a:pt x="370" y="493"/>
                    </a:lnTo>
                    <a:lnTo>
                      <a:pt x="410" y="531"/>
                    </a:lnTo>
                    <a:lnTo>
                      <a:pt x="451" y="568"/>
                    </a:lnTo>
                    <a:lnTo>
                      <a:pt x="494" y="604"/>
                    </a:lnTo>
                    <a:lnTo>
                      <a:pt x="538" y="639"/>
                    </a:lnTo>
                    <a:lnTo>
                      <a:pt x="585" y="672"/>
                    </a:lnTo>
                    <a:lnTo>
                      <a:pt x="632" y="705"/>
                    </a:lnTo>
                    <a:lnTo>
                      <a:pt x="681" y="736"/>
                    </a:lnTo>
                    <a:lnTo>
                      <a:pt x="731" y="764"/>
                    </a:lnTo>
                    <a:lnTo>
                      <a:pt x="781" y="790"/>
                    </a:lnTo>
                    <a:lnTo>
                      <a:pt x="833" y="815"/>
                    </a:lnTo>
                    <a:lnTo>
                      <a:pt x="887" y="835"/>
                    </a:lnTo>
                    <a:lnTo>
                      <a:pt x="941" y="855"/>
                    </a:lnTo>
                    <a:lnTo>
                      <a:pt x="996" y="870"/>
                    </a:lnTo>
                    <a:lnTo>
                      <a:pt x="1051" y="882"/>
                    </a:lnTo>
                    <a:lnTo>
                      <a:pt x="1109" y="890"/>
                    </a:lnTo>
                    <a:lnTo>
                      <a:pt x="1166" y="895"/>
                    </a:lnTo>
                    <a:lnTo>
                      <a:pt x="1223" y="896"/>
                    </a:lnTo>
                    <a:lnTo>
                      <a:pt x="1340" y="892"/>
                    </a:lnTo>
                    <a:lnTo>
                      <a:pt x="1515" y="888"/>
                    </a:lnTo>
                    <a:lnTo>
                      <a:pt x="1722" y="884"/>
                    </a:lnTo>
                    <a:lnTo>
                      <a:pt x="1957" y="881"/>
                    </a:lnTo>
                    <a:lnTo>
                      <a:pt x="2215" y="877"/>
                    </a:lnTo>
                    <a:lnTo>
                      <a:pt x="2350" y="877"/>
                    </a:lnTo>
                    <a:lnTo>
                      <a:pt x="2489" y="876"/>
                    </a:lnTo>
                    <a:lnTo>
                      <a:pt x="2629" y="877"/>
                    </a:lnTo>
                    <a:lnTo>
                      <a:pt x="2770" y="878"/>
                    </a:lnTo>
                    <a:lnTo>
                      <a:pt x="2914" y="881"/>
                    </a:lnTo>
                    <a:lnTo>
                      <a:pt x="3057" y="883"/>
                    </a:lnTo>
                    <a:lnTo>
                      <a:pt x="3199" y="887"/>
                    </a:lnTo>
                    <a:lnTo>
                      <a:pt x="3341" y="892"/>
                    </a:lnTo>
                    <a:lnTo>
                      <a:pt x="3480" y="898"/>
                    </a:lnTo>
                    <a:lnTo>
                      <a:pt x="3616" y="905"/>
                    </a:lnTo>
                    <a:lnTo>
                      <a:pt x="3749" y="914"/>
                    </a:lnTo>
                    <a:lnTo>
                      <a:pt x="3877" y="925"/>
                    </a:lnTo>
                    <a:lnTo>
                      <a:pt x="4000" y="936"/>
                    </a:lnTo>
                    <a:lnTo>
                      <a:pt x="4118" y="950"/>
                    </a:lnTo>
                    <a:lnTo>
                      <a:pt x="4229" y="964"/>
                    </a:lnTo>
                    <a:lnTo>
                      <a:pt x="4332" y="981"/>
                    </a:lnTo>
                    <a:lnTo>
                      <a:pt x="4428" y="999"/>
                    </a:lnTo>
                    <a:lnTo>
                      <a:pt x="4514" y="1020"/>
                    </a:lnTo>
                    <a:lnTo>
                      <a:pt x="4591" y="1043"/>
                    </a:lnTo>
                    <a:lnTo>
                      <a:pt x="4658" y="1067"/>
                    </a:lnTo>
                    <a:lnTo>
                      <a:pt x="4713" y="1094"/>
                    </a:lnTo>
                    <a:lnTo>
                      <a:pt x="4756" y="1123"/>
                    </a:lnTo>
                    <a:lnTo>
                      <a:pt x="4788" y="1155"/>
                    </a:lnTo>
                    <a:lnTo>
                      <a:pt x="4805" y="1189"/>
                    </a:lnTo>
                    <a:lnTo>
                      <a:pt x="4806" y="1195"/>
                    </a:lnTo>
                    <a:lnTo>
                      <a:pt x="4804" y="1199"/>
                    </a:lnTo>
                    <a:lnTo>
                      <a:pt x="4801" y="1203"/>
                    </a:lnTo>
                    <a:lnTo>
                      <a:pt x="4796" y="1206"/>
                    </a:lnTo>
                    <a:lnTo>
                      <a:pt x="4794" y="1207"/>
                    </a:lnTo>
                    <a:lnTo>
                      <a:pt x="4792" y="1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98"/>
              <p:cNvSpPr>
                <a:spLocks/>
              </p:cNvSpPr>
              <p:nvPr userDrawn="1"/>
            </p:nvSpPr>
            <p:spPr bwMode="auto">
              <a:xfrm>
                <a:off x="1254" y="2967"/>
                <a:ext cx="1389" cy="377"/>
              </a:xfrm>
              <a:custGeom>
                <a:avLst/>
                <a:gdLst>
                  <a:gd name="T0" fmla="*/ 4100 w 4168"/>
                  <a:gd name="T1" fmla="*/ 1130 h 1132"/>
                  <a:gd name="T2" fmla="*/ 4023 w 4168"/>
                  <a:gd name="T3" fmla="*/ 1122 h 1132"/>
                  <a:gd name="T4" fmla="*/ 3905 w 4168"/>
                  <a:gd name="T5" fmla="*/ 1097 h 1132"/>
                  <a:gd name="T6" fmla="*/ 3737 w 4168"/>
                  <a:gd name="T7" fmla="*/ 1053 h 1132"/>
                  <a:gd name="T8" fmla="*/ 3513 w 4168"/>
                  <a:gd name="T9" fmla="*/ 982 h 1132"/>
                  <a:gd name="T10" fmla="*/ 3286 w 4168"/>
                  <a:gd name="T11" fmla="*/ 904 h 1132"/>
                  <a:gd name="T12" fmla="*/ 3155 w 4168"/>
                  <a:gd name="T13" fmla="*/ 867 h 1132"/>
                  <a:gd name="T14" fmla="*/ 3021 w 4168"/>
                  <a:gd name="T15" fmla="*/ 841 h 1132"/>
                  <a:gd name="T16" fmla="*/ 2883 w 4168"/>
                  <a:gd name="T17" fmla="*/ 824 h 1132"/>
                  <a:gd name="T18" fmla="*/ 2742 w 4168"/>
                  <a:gd name="T19" fmla="*/ 815 h 1132"/>
                  <a:gd name="T20" fmla="*/ 2596 w 4168"/>
                  <a:gd name="T21" fmla="*/ 814 h 1132"/>
                  <a:gd name="T22" fmla="*/ 2446 w 4168"/>
                  <a:gd name="T23" fmla="*/ 818 h 1132"/>
                  <a:gd name="T24" fmla="*/ 2187 w 4168"/>
                  <a:gd name="T25" fmla="*/ 838 h 1132"/>
                  <a:gd name="T26" fmla="*/ 1862 w 4168"/>
                  <a:gd name="T27" fmla="*/ 872 h 1132"/>
                  <a:gd name="T28" fmla="*/ 1577 w 4168"/>
                  <a:gd name="T29" fmla="*/ 905 h 1132"/>
                  <a:gd name="T30" fmla="*/ 1313 w 4168"/>
                  <a:gd name="T31" fmla="*/ 933 h 1132"/>
                  <a:gd name="T32" fmla="*/ 1042 w 4168"/>
                  <a:gd name="T33" fmla="*/ 955 h 1132"/>
                  <a:gd name="T34" fmla="*/ 821 w 4168"/>
                  <a:gd name="T35" fmla="*/ 945 h 1132"/>
                  <a:gd name="T36" fmla="*/ 631 w 4168"/>
                  <a:gd name="T37" fmla="*/ 890 h 1132"/>
                  <a:gd name="T38" fmla="*/ 471 w 4168"/>
                  <a:gd name="T39" fmla="*/ 800 h 1132"/>
                  <a:gd name="T40" fmla="*/ 340 w 4168"/>
                  <a:gd name="T41" fmla="*/ 686 h 1132"/>
                  <a:gd name="T42" fmla="*/ 233 w 4168"/>
                  <a:gd name="T43" fmla="*/ 555 h 1132"/>
                  <a:gd name="T44" fmla="*/ 150 w 4168"/>
                  <a:gd name="T45" fmla="*/ 420 h 1132"/>
                  <a:gd name="T46" fmla="*/ 87 w 4168"/>
                  <a:gd name="T47" fmla="*/ 290 h 1132"/>
                  <a:gd name="T48" fmla="*/ 44 w 4168"/>
                  <a:gd name="T49" fmla="*/ 175 h 1132"/>
                  <a:gd name="T50" fmla="*/ 16 w 4168"/>
                  <a:gd name="T51" fmla="*/ 84 h 1132"/>
                  <a:gd name="T52" fmla="*/ 0 w 4168"/>
                  <a:gd name="T53" fmla="*/ 16 h 1132"/>
                  <a:gd name="T54" fmla="*/ 5 w 4168"/>
                  <a:gd name="T55" fmla="*/ 2 h 1132"/>
                  <a:gd name="T56" fmla="*/ 21 w 4168"/>
                  <a:gd name="T57" fmla="*/ 2 h 1132"/>
                  <a:gd name="T58" fmla="*/ 29 w 4168"/>
                  <a:gd name="T59" fmla="*/ 24 h 1132"/>
                  <a:gd name="T60" fmla="*/ 50 w 4168"/>
                  <a:gd name="T61" fmla="*/ 104 h 1132"/>
                  <a:gd name="T62" fmla="*/ 82 w 4168"/>
                  <a:gd name="T63" fmla="*/ 202 h 1132"/>
                  <a:gd name="T64" fmla="*/ 131 w 4168"/>
                  <a:gd name="T65" fmla="*/ 320 h 1132"/>
                  <a:gd name="T66" fmla="*/ 198 w 4168"/>
                  <a:gd name="T67" fmla="*/ 450 h 1132"/>
                  <a:gd name="T68" fmla="*/ 286 w 4168"/>
                  <a:gd name="T69" fmla="*/ 581 h 1132"/>
                  <a:gd name="T70" fmla="*/ 397 w 4168"/>
                  <a:gd name="T71" fmla="*/ 704 h 1132"/>
                  <a:gd name="T72" fmla="*/ 534 w 4168"/>
                  <a:gd name="T73" fmla="*/ 810 h 1132"/>
                  <a:gd name="T74" fmla="*/ 699 w 4168"/>
                  <a:gd name="T75" fmla="*/ 887 h 1132"/>
                  <a:gd name="T76" fmla="*/ 893 w 4168"/>
                  <a:gd name="T77" fmla="*/ 927 h 1132"/>
                  <a:gd name="T78" fmla="*/ 1132 w 4168"/>
                  <a:gd name="T79" fmla="*/ 921 h 1132"/>
                  <a:gd name="T80" fmla="*/ 1399 w 4168"/>
                  <a:gd name="T81" fmla="*/ 897 h 1132"/>
                  <a:gd name="T82" fmla="*/ 1661 w 4168"/>
                  <a:gd name="T83" fmla="*/ 868 h 1132"/>
                  <a:gd name="T84" fmla="*/ 1970 w 4168"/>
                  <a:gd name="T85" fmla="*/ 832 h 1132"/>
                  <a:gd name="T86" fmla="*/ 2292 w 4168"/>
                  <a:gd name="T87" fmla="*/ 801 h 1132"/>
                  <a:gd name="T88" fmla="*/ 2498 w 4168"/>
                  <a:gd name="T89" fmla="*/ 789 h 1132"/>
                  <a:gd name="T90" fmla="*/ 2647 w 4168"/>
                  <a:gd name="T91" fmla="*/ 787 h 1132"/>
                  <a:gd name="T92" fmla="*/ 2792 w 4168"/>
                  <a:gd name="T93" fmla="*/ 790 h 1132"/>
                  <a:gd name="T94" fmla="*/ 2935 w 4168"/>
                  <a:gd name="T95" fmla="*/ 802 h 1132"/>
                  <a:gd name="T96" fmla="*/ 3072 w 4168"/>
                  <a:gd name="T97" fmla="*/ 822 h 1132"/>
                  <a:gd name="T98" fmla="*/ 3207 w 4168"/>
                  <a:gd name="T99" fmla="*/ 852 h 1132"/>
                  <a:gd name="T100" fmla="*/ 3338 w 4168"/>
                  <a:gd name="T101" fmla="*/ 893 h 1132"/>
                  <a:gd name="T102" fmla="*/ 3658 w 4168"/>
                  <a:gd name="T103" fmla="*/ 1001 h 1132"/>
                  <a:gd name="T104" fmla="*/ 3886 w 4168"/>
                  <a:gd name="T105" fmla="*/ 1066 h 1132"/>
                  <a:gd name="T106" fmla="*/ 4034 w 4168"/>
                  <a:gd name="T107" fmla="*/ 1096 h 1132"/>
                  <a:gd name="T108" fmla="*/ 4117 w 4168"/>
                  <a:gd name="T109" fmla="*/ 1104 h 1132"/>
                  <a:gd name="T110" fmla="*/ 4150 w 4168"/>
                  <a:gd name="T111" fmla="*/ 1104 h 1132"/>
                  <a:gd name="T112" fmla="*/ 4162 w 4168"/>
                  <a:gd name="T113" fmla="*/ 1105 h 1132"/>
                  <a:gd name="T114" fmla="*/ 4168 w 4168"/>
                  <a:gd name="T115" fmla="*/ 1120 h 1132"/>
                  <a:gd name="T116" fmla="*/ 4157 w 4168"/>
                  <a:gd name="T117" fmla="*/ 113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68" h="1132">
                    <a:moveTo>
                      <a:pt x="4131" y="1132"/>
                    </a:moveTo>
                    <a:lnTo>
                      <a:pt x="4117" y="1131"/>
                    </a:lnTo>
                    <a:lnTo>
                      <a:pt x="4100" y="1130"/>
                    </a:lnTo>
                    <a:lnTo>
                      <a:pt x="4078" y="1129"/>
                    </a:lnTo>
                    <a:lnTo>
                      <a:pt x="4054" y="1126"/>
                    </a:lnTo>
                    <a:lnTo>
                      <a:pt x="4023" y="1122"/>
                    </a:lnTo>
                    <a:lnTo>
                      <a:pt x="3989" y="1115"/>
                    </a:lnTo>
                    <a:lnTo>
                      <a:pt x="3950" y="1108"/>
                    </a:lnTo>
                    <a:lnTo>
                      <a:pt x="3905" y="1097"/>
                    </a:lnTo>
                    <a:lnTo>
                      <a:pt x="3855" y="1085"/>
                    </a:lnTo>
                    <a:lnTo>
                      <a:pt x="3799" y="1071"/>
                    </a:lnTo>
                    <a:lnTo>
                      <a:pt x="3737" y="1053"/>
                    </a:lnTo>
                    <a:lnTo>
                      <a:pt x="3669" y="1033"/>
                    </a:lnTo>
                    <a:lnTo>
                      <a:pt x="3595" y="1009"/>
                    </a:lnTo>
                    <a:lnTo>
                      <a:pt x="3513" y="982"/>
                    </a:lnTo>
                    <a:lnTo>
                      <a:pt x="3424" y="952"/>
                    </a:lnTo>
                    <a:lnTo>
                      <a:pt x="3328" y="918"/>
                    </a:lnTo>
                    <a:lnTo>
                      <a:pt x="3286" y="904"/>
                    </a:lnTo>
                    <a:lnTo>
                      <a:pt x="3243" y="890"/>
                    </a:lnTo>
                    <a:lnTo>
                      <a:pt x="3199" y="878"/>
                    </a:lnTo>
                    <a:lnTo>
                      <a:pt x="3155" y="867"/>
                    </a:lnTo>
                    <a:lnTo>
                      <a:pt x="3111" y="857"/>
                    </a:lnTo>
                    <a:lnTo>
                      <a:pt x="3067" y="849"/>
                    </a:lnTo>
                    <a:lnTo>
                      <a:pt x="3021" y="841"/>
                    </a:lnTo>
                    <a:lnTo>
                      <a:pt x="2976" y="835"/>
                    </a:lnTo>
                    <a:lnTo>
                      <a:pt x="2930" y="828"/>
                    </a:lnTo>
                    <a:lnTo>
                      <a:pt x="2883" y="824"/>
                    </a:lnTo>
                    <a:lnTo>
                      <a:pt x="2837" y="820"/>
                    </a:lnTo>
                    <a:lnTo>
                      <a:pt x="2789" y="817"/>
                    </a:lnTo>
                    <a:lnTo>
                      <a:pt x="2742" y="815"/>
                    </a:lnTo>
                    <a:lnTo>
                      <a:pt x="2693" y="814"/>
                    </a:lnTo>
                    <a:lnTo>
                      <a:pt x="2644" y="814"/>
                    </a:lnTo>
                    <a:lnTo>
                      <a:pt x="2596" y="814"/>
                    </a:lnTo>
                    <a:lnTo>
                      <a:pt x="2546" y="815"/>
                    </a:lnTo>
                    <a:lnTo>
                      <a:pt x="2497" y="816"/>
                    </a:lnTo>
                    <a:lnTo>
                      <a:pt x="2446" y="818"/>
                    </a:lnTo>
                    <a:lnTo>
                      <a:pt x="2395" y="822"/>
                    </a:lnTo>
                    <a:lnTo>
                      <a:pt x="2292" y="829"/>
                    </a:lnTo>
                    <a:lnTo>
                      <a:pt x="2187" y="838"/>
                    </a:lnTo>
                    <a:lnTo>
                      <a:pt x="2081" y="847"/>
                    </a:lnTo>
                    <a:lnTo>
                      <a:pt x="1972" y="859"/>
                    </a:lnTo>
                    <a:lnTo>
                      <a:pt x="1862" y="872"/>
                    </a:lnTo>
                    <a:lnTo>
                      <a:pt x="1749" y="885"/>
                    </a:lnTo>
                    <a:lnTo>
                      <a:pt x="1663" y="895"/>
                    </a:lnTo>
                    <a:lnTo>
                      <a:pt x="1577" y="905"/>
                    </a:lnTo>
                    <a:lnTo>
                      <a:pt x="1490" y="914"/>
                    </a:lnTo>
                    <a:lnTo>
                      <a:pt x="1402" y="924"/>
                    </a:lnTo>
                    <a:lnTo>
                      <a:pt x="1313" y="933"/>
                    </a:lnTo>
                    <a:lnTo>
                      <a:pt x="1223" y="940"/>
                    </a:lnTo>
                    <a:lnTo>
                      <a:pt x="1134" y="948"/>
                    </a:lnTo>
                    <a:lnTo>
                      <a:pt x="1042" y="955"/>
                    </a:lnTo>
                    <a:lnTo>
                      <a:pt x="964" y="958"/>
                    </a:lnTo>
                    <a:lnTo>
                      <a:pt x="891" y="953"/>
                    </a:lnTo>
                    <a:lnTo>
                      <a:pt x="821" y="945"/>
                    </a:lnTo>
                    <a:lnTo>
                      <a:pt x="754" y="932"/>
                    </a:lnTo>
                    <a:lnTo>
                      <a:pt x="690" y="912"/>
                    </a:lnTo>
                    <a:lnTo>
                      <a:pt x="631" y="890"/>
                    </a:lnTo>
                    <a:lnTo>
                      <a:pt x="574" y="864"/>
                    </a:lnTo>
                    <a:lnTo>
                      <a:pt x="522" y="833"/>
                    </a:lnTo>
                    <a:lnTo>
                      <a:pt x="471" y="800"/>
                    </a:lnTo>
                    <a:lnTo>
                      <a:pt x="424" y="764"/>
                    </a:lnTo>
                    <a:lnTo>
                      <a:pt x="380" y="725"/>
                    </a:lnTo>
                    <a:lnTo>
                      <a:pt x="340" y="686"/>
                    </a:lnTo>
                    <a:lnTo>
                      <a:pt x="301" y="643"/>
                    </a:lnTo>
                    <a:lnTo>
                      <a:pt x="266" y="599"/>
                    </a:lnTo>
                    <a:lnTo>
                      <a:pt x="233" y="555"/>
                    </a:lnTo>
                    <a:lnTo>
                      <a:pt x="203" y="511"/>
                    </a:lnTo>
                    <a:lnTo>
                      <a:pt x="176" y="465"/>
                    </a:lnTo>
                    <a:lnTo>
                      <a:pt x="150" y="420"/>
                    </a:lnTo>
                    <a:lnTo>
                      <a:pt x="127" y="376"/>
                    </a:lnTo>
                    <a:lnTo>
                      <a:pt x="107" y="333"/>
                    </a:lnTo>
                    <a:lnTo>
                      <a:pt x="87" y="290"/>
                    </a:lnTo>
                    <a:lnTo>
                      <a:pt x="71" y="249"/>
                    </a:lnTo>
                    <a:lnTo>
                      <a:pt x="57" y="211"/>
                    </a:lnTo>
                    <a:lnTo>
                      <a:pt x="44" y="175"/>
                    </a:lnTo>
                    <a:lnTo>
                      <a:pt x="33" y="141"/>
                    </a:lnTo>
                    <a:lnTo>
                      <a:pt x="24" y="111"/>
                    </a:lnTo>
                    <a:lnTo>
                      <a:pt x="16" y="84"/>
                    </a:lnTo>
                    <a:lnTo>
                      <a:pt x="11" y="62"/>
                    </a:lnTo>
                    <a:lnTo>
                      <a:pt x="2" y="28"/>
                    </a:lnTo>
                    <a:lnTo>
                      <a:pt x="0" y="16"/>
                    </a:lnTo>
                    <a:lnTo>
                      <a:pt x="0" y="11"/>
                    </a:lnTo>
                    <a:lnTo>
                      <a:pt x="2" y="5"/>
                    </a:lnTo>
                    <a:lnTo>
                      <a:pt x="5" y="2"/>
                    </a:lnTo>
                    <a:lnTo>
                      <a:pt x="11" y="0"/>
                    </a:lnTo>
                    <a:lnTo>
                      <a:pt x="16" y="0"/>
                    </a:lnTo>
                    <a:lnTo>
                      <a:pt x="21" y="2"/>
                    </a:lnTo>
                    <a:lnTo>
                      <a:pt x="25" y="5"/>
                    </a:lnTo>
                    <a:lnTo>
                      <a:pt x="27" y="11"/>
                    </a:lnTo>
                    <a:lnTo>
                      <a:pt x="29" y="24"/>
                    </a:lnTo>
                    <a:lnTo>
                      <a:pt x="37" y="55"/>
                    </a:lnTo>
                    <a:lnTo>
                      <a:pt x="43" y="78"/>
                    </a:lnTo>
                    <a:lnTo>
                      <a:pt x="50" y="104"/>
                    </a:lnTo>
                    <a:lnTo>
                      <a:pt x="59" y="134"/>
                    </a:lnTo>
                    <a:lnTo>
                      <a:pt x="70" y="166"/>
                    </a:lnTo>
                    <a:lnTo>
                      <a:pt x="82" y="202"/>
                    </a:lnTo>
                    <a:lnTo>
                      <a:pt x="96" y="239"/>
                    </a:lnTo>
                    <a:lnTo>
                      <a:pt x="112" y="279"/>
                    </a:lnTo>
                    <a:lnTo>
                      <a:pt x="131" y="320"/>
                    </a:lnTo>
                    <a:lnTo>
                      <a:pt x="151" y="363"/>
                    </a:lnTo>
                    <a:lnTo>
                      <a:pt x="174" y="406"/>
                    </a:lnTo>
                    <a:lnTo>
                      <a:pt x="198" y="450"/>
                    </a:lnTo>
                    <a:lnTo>
                      <a:pt x="225" y="494"/>
                    </a:lnTo>
                    <a:lnTo>
                      <a:pt x="255" y="538"/>
                    </a:lnTo>
                    <a:lnTo>
                      <a:pt x="286" y="581"/>
                    </a:lnTo>
                    <a:lnTo>
                      <a:pt x="321" y="624"/>
                    </a:lnTo>
                    <a:lnTo>
                      <a:pt x="357" y="665"/>
                    </a:lnTo>
                    <a:lnTo>
                      <a:pt x="397" y="704"/>
                    </a:lnTo>
                    <a:lnTo>
                      <a:pt x="441" y="742"/>
                    </a:lnTo>
                    <a:lnTo>
                      <a:pt x="486" y="777"/>
                    </a:lnTo>
                    <a:lnTo>
                      <a:pt x="534" y="810"/>
                    </a:lnTo>
                    <a:lnTo>
                      <a:pt x="586" y="839"/>
                    </a:lnTo>
                    <a:lnTo>
                      <a:pt x="640" y="865"/>
                    </a:lnTo>
                    <a:lnTo>
                      <a:pt x="699" y="887"/>
                    </a:lnTo>
                    <a:lnTo>
                      <a:pt x="760" y="905"/>
                    </a:lnTo>
                    <a:lnTo>
                      <a:pt x="825" y="919"/>
                    </a:lnTo>
                    <a:lnTo>
                      <a:pt x="893" y="927"/>
                    </a:lnTo>
                    <a:lnTo>
                      <a:pt x="965" y="931"/>
                    </a:lnTo>
                    <a:lnTo>
                      <a:pt x="1040" y="928"/>
                    </a:lnTo>
                    <a:lnTo>
                      <a:pt x="1132" y="921"/>
                    </a:lnTo>
                    <a:lnTo>
                      <a:pt x="1221" y="914"/>
                    </a:lnTo>
                    <a:lnTo>
                      <a:pt x="1311" y="906"/>
                    </a:lnTo>
                    <a:lnTo>
                      <a:pt x="1399" y="897"/>
                    </a:lnTo>
                    <a:lnTo>
                      <a:pt x="1487" y="887"/>
                    </a:lnTo>
                    <a:lnTo>
                      <a:pt x="1574" y="878"/>
                    </a:lnTo>
                    <a:lnTo>
                      <a:pt x="1661" y="868"/>
                    </a:lnTo>
                    <a:lnTo>
                      <a:pt x="1746" y="858"/>
                    </a:lnTo>
                    <a:lnTo>
                      <a:pt x="1858" y="845"/>
                    </a:lnTo>
                    <a:lnTo>
                      <a:pt x="1970" y="832"/>
                    </a:lnTo>
                    <a:lnTo>
                      <a:pt x="2079" y="820"/>
                    </a:lnTo>
                    <a:lnTo>
                      <a:pt x="2187" y="811"/>
                    </a:lnTo>
                    <a:lnTo>
                      <a:pt x="2292" y="801"/>
                    </a:lnTo>
                    <a:lnTo>
                      <a:pt x="2396" y="795"/>
                    </a:lnTo>
                    <a:lnTo>
                      <a:pt x="2447" y="791"/>
                    </a:lnTo>
                    <a:lnTo>
                      <a:pt x="2498" y="789"/>
                    </a:lnTo>
                    <a:lnTo>
                      <a:pt x="2548" y="788"/>
                    </a:lnTo>
                    <a:lnTo>
                      <a:pt x="2598" y="787"/>
                    </a:lnTo>
                    <a:lnTo>
                      <a:pt x="2647" y="787"/>
                    </a:lnTo>
                    <a:lnTo>
                      <a:pt x="2696" y="787"/>
                    </a:lnTo>
                    <a:lnTo>
                      <a:pt x="2745" y="788"/>
                    </a:lnTo>
                    <a:lnTo>
                      <a:pt x="2792" y="790"/>
                    </a:lnTo>
                    <a:lnTo>
                      <a:pt x="2840" y="793"/>
                    </a:lnTo>
                    <a:lnTo>
                      <a:pt x="2887" y="797"/>
                    </a:lnTo>
                    <a:lnTo>
                      <a:pt x="2935" y="802"/>
                    </a:lnTo>
                    <a:lnTo>
                      <a:pt x="2981" y="808"/>
                    </a:lnTo>
                    <a:lnTo>
                      <a:pt x="3027" y="814"/>
                    </a:lnTo>
                    <a:lnTo>
                      <a:pt x="3072" y="822"/>
                    </a:lnTo>
                    <a:lnTo>
                      <a:pt x="3117" y="831"/>
                    </a:lnTo>
                    <a:lnTo>
                      <a:pt x="3163" y="841"/>
                    </a:lnTo>
                    <a:lnTo>
                      <a:pt x="3207" y="852"/>
                    </a:lnTo>
                    <a:lnTo>
                      <a:pt x="3250" y="865"/>
                    </a:lnTo>
                    <a:lnTo>
                      <a:pt x="3294" y="878"/>
                    </a:lnTo>
                    <a:lnTo>
                      <a:pt x="3338" y="893"/>
                    </a:lnTo>
                    <a:lnTo>
                      <a:pt x="3455" y="935"/>
                    </a:lnTo>
                    <a:lnTo>
                      <a:pt x="3562" y="971"/>
                    </a:lnTo>
                    <a:lnTo>
                      <a:pt x="3658" y="1001"/>
                    </a:lnTo>
                    <a:lnTo>
                      <a:pt x="3744" y="1027"/>
                    </a:lnTo>
                    <a:lnTo>
                      <a:pt x="3819" y="1048"/>
                    </a:lnTo>
                    <a:lnTo>
                      <a:pt x="3886" y="1066"/>
                    </a:lnTo>
                    <a:lnTo>
                      <a:pt x="3943" y="1078"/>
                    </a:lnTo>
                    <a:lnTo>
                      <a:pt x="3992" y="1088"/>
                    </a:lnTo>
                    <a:lnTo>
                      <a:pt x="4034" y="1096"/>
                    </a:lnTo>
                    <a:lnTo>
                      <a:pt x="4069" y="1100"/>
                    </a:lnTo>
                    <a:lnTo>
                      <a:pt x="4096" y="1103"/>
                    </a:lnTo>
                    <a:lnTo>
                      <a:pt x="4117" y="1104"/>
                    </a:lnTo>
                    <a:lnTo>
                      <a:pt x="4132" y="1105"/>
                    </a:lnTo>
                    <a:lnTo>
                      <a:pt x="4143" y="1104"/>
                    </a:lnTo>
                    <a:lnTo>
                      <a:pt x="4150" y="1104"/>
                    </a:lnTo>
                    <a:lnTo>
                      <a:pt x="4152" y="1104"/>
                    </a:lnTo>
                    <a:lnTo>
                      <a:pt x="4157" y="1104"/>
                    </a:lnTo>
                    <a:lnTo>
                      <a:pt x="4162" y="1105"/>
                    </a:lnTo>
                    <a:lnTo>
                      <a:pt x="4166" y="1110"/>
                    </a:lnTo>
                    <a:lnTo>
                      <a:pt x="4168" y="1114"/>
                    </a:lnTo>
                    <a:lnTo>
                      <a:pt x="4168" y="1120"/>
                    </a:lnTo>
                    <a:lnTo>
                      <a:pt x="4166" y="1125"/>
                    </a:lnTo>
                    <a:lnTo>
                      <a:pt x="4163" y="1128"/>
                    </a:lnTo>
                    <a:lnTo>
                      <a:pt x="4157" y="1130"/>
                    </a:lnTo>
                    <a:lnTo>
                      <a:pt x="4151" y="1131"/>
                    </a:lnTo>
                    <a:lnTo>
                      <a:pt x="4131" y="1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9"/>
              <p:cNvSpPr>
                <a:spLocks/>
              </p:cNvSpPr>
              <p:nvPr userDrawn="1"/>
            </p:nvSpPr>
            <p:spPr bwMode="auto">
              <a:xfrm>
                <a:off x="708" y="3416"/>
                <a:ext cx="485" cy="596"/>
              </a:xfrm>
              <a:custGeom>
                <a:avLst/>
                <a:gdLst>
                  <a:gd name="T0" fmla="*/ 1436 w 1455"/>
                  <a:gd name="T1" fmla="*/ 1789 h 1790"/>
                  <a:gd name="T2" fmla="*/ 1430 w 1455"/>
                  <a:gd name="T3" fmla="*/ 1784 h 1790"/>
                  <a:gd name="T4" fmla="*/ 1427 w 1455"/>
                  <a:gd name="T5" fmla="*/ 1772 h 1790"/>
                  <a:gd name="T6" fmla="*/ 1420 w 1455"/>
                  <a:gd name="T7" fmla="*/ 1724 h 1790"/>
                  <a:gd name="T8" fmla="*/ 1405 w 1455"/>
                  <a:gd name="T9" fmla="*/ 1640 h 1790"/>
                  <a:gd name="T10" fmla="*/ 1380 w 1455"/>
                  <a:gd name="T11" fmla="*/ 1524 h 1790"/>
                  <a:gd name="T12" fmla="*/ 1347 w 1455"/>
                  <a:gd name="T13" fmla="*/ 1386 h 1790"/>
                  <a:gd name="T14" fmla="*/ 1314 w 1455"/>
                  <a:gd name="T15" fmla="*/ 1272 h 1790"/>
                  <a:gd name="T16" fmla="*/ 1288 w 1455"/>
                  <a:gd name="T17" fmla="*/ 1192 h 1790"/>
                  <a:gd name="T18" fmla="*/ 1260 w 1455"/>
                  <a:gd name="T19" fmla="*/ 1111 h 1790"/>
                  <a:gd name="T20" fmla="*/ 1229 w 1455"/>
                  <a:gd name="T21" fmla="*/ 1028 h 1790"/>
                  <a:gd name="T22" fmla="*/ 1194 w 1455"/>
                  <a:gd name="T23" fmla="*/ 946 h 1790"/>
                  <a:gd name="T24" fmla="*/ 1157 w 1455"/>
                  <a:gd name="T25" fmla="*/ 865 h 1790"/>
                  <a:gd name="T26" fmla="*/ 1087 w 1455"/>
                  <a:gd name="T27" fmla="*/ 736 h 1790"/>
                  <a:gd name="T28" fmla="*/ 989 w 1455"/>
                  <a:gd name="T29" fmla="*/ 580 h 1790"/>
                  <a:gd name="T30" fmla="*/ 891 w 1455"/>
                  <a:gd name="T31" fmla="*/ 447 h 1790"/>
                  <a:gd name="T32" fmla="*/ 794 w 1455"/>
                  <a:gd name="T33" fmla="*/ 337 h 1790"/>
                  <a:gd name="T34" fmla="*/ 698 w 1455"/>
                  <a:gd name="T35" fmla="*/ 247 h 1790"/>
                  <a:gd name="T36" fmla="*/ 604 w 1455"/>
                  <a:gd name="T37" fmla="*/ 176 h 1790"/>
                  <a:gd name="T38" fmla="*/ 513 w 1455"/>
                  <a:gd name="T39" fmla="*/ 121 h 1790"/>
                  <a:gd name="T40" fmla="*/ 428 w 1455"/>
                  <a:gd name="T41" fmla="*/ 81 h 1790"/>
                  <a:gd name="T42" fmla="*/ 347 w 1455"/>
                  <a:gd name="T43" fmla="*/ 54 h 1790"/>
                  <a:gd name="T44" fmla="*/ 273 w 1455"/>
                  <a:gd name="T45" fmla="*/ 37 h 1790"/>
                  <a:gd name="T46" fmla="*/ 207 w 1455"/>
                  <a:gd name="T47" fmla="*/ 28 h 1790"/>
                  <a:gd name="T48" fmla="*/ 149 w 1455"/>
                  <a:gd name="T49" fmla="*/ 26 h 1790"/>
                  <a:gd name="T50" fmla="*/ 100 w 1455"/>
                  <a:gd name="T51" fmla="*/ 29 h 1790"/>
                  <a:gd name="T52" fmla="*/ 62 w 1455"/>
                  <a:gd name="T53" fmla="*/ 34 h 1790"/>
                  <a:gd name="T54" fmla="*/ 26 w 1455"/>
                  <a:gd name="T55" fmla="*/ 41 h 1790"/>
                  <a:gd name="T56" fmla="*/ 13 w 1455"/>
                  <a:gd name="T57" fmla="*/ 45 h 1790"/>
                  <a:gd name="T58" fmla="*/ 4 w 1455"/>
                  <a:gd name="T59" fmla="*/ 40 h 1790"/>
                  <a:gd name="T60" fmla="*/ 0 w 1455"/>
                  <a:gd name="T61" fmla="*/ 30 h 1790"/>
                  <a:gd name="T62" fmla="*/ 4 w 1455"/>
                  <a:gd name="T63" fmla="*/ 22 h 1790"/>
                  <a:gd name="T64" fmla="*/ 17 w 1455"/>
                  <a:gd name="T65" fmla="*/ 16 h 1790"/>
                  <a:gd name="T66" fmla="*/ 55 w 1455"/>
                  <a:gd name="T67" fmla="*/ 8 h 1790"/>
                  <a:gd name="T68" fmla="*/ 94 w 1455"/>
                  <a:gd name="T69" fmla="*/ 2 h 1790"/>
                  <a:gd name="T70" fmla="*/ 145 w 1455"/>
                  <a:gd name="T71" fmla="*/ 0 h 1790"/>
                  <a:gd name="T72" fmla="*/ 204 w 1455"/>
                  <a:gd name="T73" fmla="*/ 2 h 1790"/>
                  <a:gd name="T74" fmla="*/ 273 w 1455"/>
                  <a:gd name="T75" fmla="*/ 10 h 1790"/>
                  <a:gd name="T76" fmla="*/ 350 w 1455"/>
                  <a:gd name="T77" fmla="*/ 27 h 1790"/>
                  <a:gd name="T78" fmla="*/ 432 w 1455"/>
                  <a:gd name="T79" fmla="*/ 55 h 1790"/>
                  <a:gd name="T80" fmla="*/ 521 w 1455"/>
                  <a:gd name="T81" fmla="*/ 95 h 1790"/>
                  <a:gd name="T82" fmla="*/ 613 w 1455"/>
                  <a:gd name="T83" fmla="*/ 151 h 1790"/>
                  <a:gd name="T84" fmla="*/ 711 w 1455"/>
                  <a:gd name="T85" fmla="*/ 223 h 1790"/>
                  <a:gd name="T86" fmla="*/ 809 w 1455"/>
                  <a:gd name="T87" fmla="*/ 314 h 1790"/>
                  <a:gd name="T88" fmla="*/ 909 w 1455"/>
                  <a:gd name="T89" fmla="*/ 427 h 1790"/>
                  <a:gd name="T90" fmla="*/ 1010 w 1455"/>
                  <a:gd name="T91" fmla="*/ 562 h 1790"/>
                  <a:gd name="T92" fmla="*/ 1110 w 1455"/>
                  <a:gd name="T93" fmla="*/ 722 h 1790"/>
                  <a:gd name="T94" fmla="*/ 1180 w 1455"/>
                  <a:gd name="T95" fmla="*/ 853 h 1790"/>
                  <a:gd name="T96" fmla="*/ 1219 w 1455"/>
                  <a:gd name="T97" fmla="*/ 935 h 1790"/>
                  <a:gd name="T98" fmla="*/ 1254 w 1455"/>
                  <a:gd name="T99" fmla="*/ 1018 h 1790"/>
                  <a:gd name="T100" fmla="*/ 1285 w 1455"/>
                  <a:gd name="T101" fmla="*/ 1101 h 1790"/>
                  <a:gd name="T102" fmla="*/ 1314 w 1455"/>
                  <a:gd name="T103" fmla="*/ 1183 h 1790"/>
                  <a:gd name="T104" fmla="*/ 1340 w 1455"/>
                  <a:gd name="T105" fmla="*/ 1264 h 1790"/>
                  <a:gd name="T106" fmla="*/ 1373 w 1455"/>
                  <a:gd name="T107" fmla="*/ 1380 h 1790"/>
                  <a:gd name="T108" fmla="*/ 1407 w 1455"/>
                  <a:gd name="T109" fmla="*/ 1519 h 1790"/>
                  <a:gd name="T110" fmla="*/ 1431 w 1455"/>
                  <a:gd name="T111" fmla="*/ 1636 h 1790"/>
                  <a:gd name="T112" fmla="*/ 1446 w 1455"/>
                  <a:gd name="T113" fmla="*/ 1721 h 1790"/>
                  <a:gd name="T114" fmla="*/ 1453 w 1455"/>
                  <a:gd name="T115" fmla="*/ 1768 h 1790"/>
                  <a:gd name="T116" fmla="*/ 1455 w 1455"/>
                  <a:gd name="T117" fmla="*/ 1780 h 1790"/>
                  <a:gd name="T118" fmla="*/ 1448 w 1455"/>
                  <a:gd name="T119" fmla="*/ 1788 h 1790"/>
                  <a:gd name="T120" fmla="*/ 1442 w 1455"/>
                  <a:gd name="T121" fmla="*/ 179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5" h="1790">
                    <a:moveTo>
                      <a:pt x="1442" y="1790"/>
                    </a:moveTo>
                    <a:lnTo>
                      <a:pt x="1436" y="1789"/>
                    </a:lnTo>
                    <a:lnTo>
                      <a:pt x="1432" y="1787"/>
                    </a:lnTo>
                    <a:lnTo>
                      <a:pt x="1430" y="1784"/>
                    </a:lnTo>
                    <a:lnTo>
                      <a:pt x="1428" y="1778"/>
                    </a:lnTo>
                    <a:lnTo>
                      <a:pt x="1427" y="1772"/>
                    </a:lnTo>
                    <a:lnTo>
                      <a:pt x="1424" y="1753"/>
                    </a:lnTo>
                    <a:lnTo>
                      <a:pt x="1420" y="1724"/>
                    </a:lnTo>
                    <a:lnTo>
                      <a:pt x="1414" y="1686"/>
                    </a:lnTo>
                    <a:lnTo>
                      <a:pt x="1405" y="1640"/>
                    </a:lnTo>
                    <a:lnTo>
                      <a:pt x="1393" y="1586"/>
                    </a:lnTo>
                    <a:lnTo>
                      <a:pt x="1380" y="1524"/>
                    </a:lnTo>
                    <a:lnTo>
                      <a:pt x="1365" y="1459"/>
                    </a:lnTo>
                    <a:lnTo>
                      <a:pt x="1347" y="1386"/>
                    </a:lnTo>
                    <a:lnTo>
                      <a:pt x="1325" y="1311"/>
                    </a:lnTo>
                    <a:lnTo>
                      <a:pt x="1314" y="1272"/>
                    </a:lnTo>
                    <a:lnTo>
                      <a:pt x="1301" y="1232"/>
                    </a:lnTo>
                    <a:lnTo>
                      <a:pt x="1288" y="1192"/>
                    </a:lnTo>
                    <a:lnTo>
                      <a:pt x="1275" y="1152"/>
                    </a:lnTo>
                    <a:lnTo>
                      <a:pt x="1260" y="1111"/>
                    </a:lnTo>
                    <a:lnTo>
                      <a:pt x="1245" y="1070"/>
                    </a:lnTo>
                    <a:lnTo>
                      <a:pt x="1229" y="1028"/>
                    </a:lnTo>
                    <a:lnTo>
                      <a:pt x="1212" y="987"/>
                    </a:lnTo>
                    <a:lnTo>
                      <a:pt x="1194" y="946"/>
                    </a:lnTo>
                    <a:lnTo>
                      <a:pt x="1176" y="905"/>
                    </a:lnTo>
                    <a:lnTo>
                      <a:pt x="1157" y="865"/>
                    </a:lnTo>
                    <a:lnTo>
                      <a:pt x="1136" y="825"/>
                    </a:lnTo>
                    <a:lnTo>
                      <a:pt x="1087" y="736"/>
                    </a:lnTo>
                    <a:lnTo>
                      <a:pt x="1039" y="654"/>
                    </a:lnTo>
                    <a:lnTo>
                      <a:pt x="989" y="580"/>
                    </a:lnTo>
                    <a:lnTo>
                      <a:pt x="941" y="510"/>
                    </a:lnTo>
                    <a:lnTo>
                      <a:pt x="891" y="447"/>
                    </a:lnTo>
                    <a:lnTo>
                      <a:pt x="842" y="389"/>
                    </a:lnTo>
                    <a:lnTo>
                      <a:pt x="794" y="337"/>
                    </a:lnTo>
                    <a:lnTo>
                      <a:pt x="745" y="290"/>
                    </a:lnTo>
                    <a:lnTo>
                      <a:pt x="698" y="247"/>
                    </a:lnTo>
                    <a:lnTo>
                      <a:pt x="650" y="210"/>
                    </a:lnTo>
                    <a:lnTo>
                      <a:pt x="604" y="176"/>
                    </a:lnTo>
                    <a:lnTo>
                      <a:pt x="558" y="147"/>
                    </a:lnTo>
                    <a:lnTo>
                      <a:pt x="513" y="121"/>
                    </a:lnTo>
                    <a:lnTo>
                      <a:pt x="470" y="100"/>
                    </a:lnTo>
                    <a:lnTo>
                      <a:pt x="428" y="81"/>
                    </a:lnTo>
                    <a:lnTo>
                      <a:pt x="387" y="66"/>
                    </a:lnTo>
                    <a:lnTo>
                      <a:pt x="347" y="54"/>
                    </a:lnTo>
                    <a:lnTo>
                      <a:pt x="309" y="45"/>
                    </a:lnTo>
                    <a:lnTo>
                      <a:pt x="273" y="37"/>
                    </a:lnTo>
                    <a:lnTo>
                      <a:pt x="239" y="32"/>
                    </a:lnTo>
                    <a:lnTo>
                      <a:pt x="207" y="28"/>
                    </a:lnTo>
                    <a:lnTo>
                      <a:pt x="177" y="27"/>
                    </a:lnTo>
                    <a:lnTo>
                      <a:pt x="149" y="26"/>
                    </a:lnTo>
                    <a:lnTo>
                      <a:pt x="123" y="27"/>
                    </a:lnTo>
                    <a:lnTo>
                      <a:pt x="100" y="29"/>
                    </a:lnTo>
                    <a:lnTo>
                      <a:pt x="80" y="32"/>
                    </a:lnTo>
                    <a:lnTo>
                      <a:pt x="62" y="34"/>
                    </a:lnTo>
                    <a:lnTo>
                      <a:pt x="48" y="37"/>
                    </a:lnTo>
                    <a:lnTo>
                      <a:pt x="26" y="41"/>
                    </a:lnTo>
                    <a:lnTo>
                      <a:pt x="18" y="45"/>
                    </a:lnTo>
                    <a:lnTo>
                      <a:pt x="13" y="45"/>
                    </a:lnTo>
                    <a:lnTo>
                      <a:pt x="8" y="43"/>
                    </a:lnTo>
                    <a:lnTo>
                      <a:pt x="4" y="40"/>
                    </a:lnTo>
                    <a:lnTo>
                      <a:pt x="1" y="36"/>
                    </a:lnTo>
                    <a:lnTo>
                      <a:pt x="0" y="30"/>
                    </a:lnTo>
                    <a:lnTo>
                      <a:pt x="2" y="25"/>
                    </a:lnTo>
                    <a:lnTo>
                      <a:pt x="4" y="22"/>
                    </a:lnTo>
                    <a:lnTo>
                      <a:pt x="10" y="19"/>
                    </a:lnTo>
                    <a:lnTo>
                      <a:pt x="17" y="16"/>
                    </a:lnTo>
                    <a:lnTo>
                      <a:pt x="39" y="11"/>
                    </a:lnTo>
                    <a:lnTo>
                      <a:pt x="55" y="8"/>
                    </a:lnTo>
                    <a:lnTo>
                      <a:pt x="73" y="6"/>
                    </a:lnTo>
                    <a:lnTo>
                      <a:pt x="94" y="2"/>
                    </a:lnTo>
                    <a:lnTo>
                      <a:pt x="118" y="1"/>
                    </a:lnTo>
                    <a:lnTo>
                      <a:pt x="145" y="0"/>
                    </a:lnTo>
                    <a:lnTo>
                      <a:pt x="173" y="0"/>
                    </a:lnTo>
                    <a:lnTo>
                      <a:pt x="204" y="2"/>
                    </a:lnTo>
                    <a:lnTo>
                      <a:pt x="238" y="6"/>
                    </a:lnTo>
                    <a:lnTo>
                      <a:pt x="273" y="10"/>
                    </a:lnTo>
                    <a:lnTo>
                      <a:pt x="310" y="18"/>
                    </a:lnTo>
                    <a:lnTo>
                      <a:pt x="350" y="27"/>
                    </a:lnTo>
                    <a:lnTo>
                      <a:pt x="390" y="40"/>
                    </a:lnTo>
                    <a:lnTo>
                      <a:pt x="432" y="55"/>
                    </a:lnTo>
                    <a:lnTo>
                      <a:pt x="476" y="74"/>
                    </a:lnTo>
                    <a:lnTo>
                      <a:pt x="521" y="95"/>
                    </a:lnTo>
                    <a:lnTo>
                      <a:pt x="567" y="121"/>
                    </a:lnTo>
                    <a:lnTo>
                      <a:pt x="613" y="151"/>
                    </a:lnTo>
                    <a:lnTo>
                      <a:pt x="662" y="185"/>
                    </a:lnTo>
                    <a:lnTo>
                      <a:pt x="711" y="223"/>
                    </a:lnTo>
                    <a:lnTo>
                      <a:pt x="759" y="266"/>
                    </a:lnTo>
                    <a:lnTo>
                      <a:pt x="809" y="314"/>
                    </a:lnTo>
                    <a:lnTo>
                      <a:pt x="860" y="367"/>
                    </a:lnTo>
                    <a:lnTo>
                      <a:pt x="909" y="427"/>
                    </a:lnTo>
                    <a:lnTo>
                      <a:pt x="960" y="491"/>
                    </a:lnTo>
                    <a:lnTo>
                      <a:pt x="1010" y="562"/>
                    </a:lnTo>
                    <a:lnTo>
                      <a:pt x="1060" y="639"/>
                    </a:lnTo>
                    <a:lnTo>
                      <a:pt x="1110" y="722"/>
                    </a:lnTo>
                    <a:lnTo>
                      <a:pt x="1160" y="812"/>
                    </a:lnTo>
                    <a:lnTo>
                      <a:pt x="1180" y="853"/>
                    </a:lnTo>
                    <a:lnTo>
                      <a:pt x="1200" y="894"/>
                    </a:lnTo>
                    <a:lnTo>
                      <a:pt x="1219" y="935"/>
                    </a:lnTo>
                    <a:lnTo>
                      <a:pt x="1236" y="976"/>
                    </a:lnTo>
                    <a:lnTo>
                      <a:pt x="1254" y="1018"/>
                    </a:lnTo>
                    <a:lnTo>
                      <a:pt x="1270" y="1059"/>
                    </a:lnTo>
                    <a:lnTo>
                      <a:pt x="1285" y="1101"/>
                    </a:lnTo>
                    <a:lnTo>
                      <a:pt x="1300" y="1142"/>
                    </a:lnTo>
                    <a:lnTo>
                      <a:pt x="1314" y="1183"/>
                    </a:lnTo>
                    <a:lnTo>
                      <a:pt x="1327" y="1224"/>
                    </a:lnTo>
                    <a:lnTo>
                      <a:pt x="1340" y="1264"/>
                    </a:lnTo>
                    <a:lnTo>
                      <a:pt x="1351" y="1303"/>
                    </a:lnTo>
                    <a:lnTo>
                      <a:pt x="1373" y="1380"/>
                    </a:lnTo>
                    <a:lnTo>
                      <a:pt x="1391" y="1452"/>
                    </a:lnTo>
                    <a:lnTo>
                      <a:pt x="1407" y="1519"/>
                    </a:lnTo>
                    <a:lnTo>
                      <a:pt x="1420" y="1581"/>
                    </a:lnTo>
                    <a:lnTo>
                      <a:pt x="1431" y="1636"/>
                    </a:lnTo>
                    <a:lnTo>
                      <a:pt x="1439" y="1682"/>
                    </a:lnTo>
                    <a:lnTo>
                      <a:pt x="1446" y="1721"/>
                    </a:lnTo>
                    <a:lnTo>
                      <a:pt x="1451" y="1749"/>
                    </a:lnTo>
                    <a:lnTo>
                      <a:pt x="1453" y="1768"/>
                    </a:lnTo>
                    <a:lnTo>
                      <a:pt x="1455" y="1775"/>
                    </a:lnTo>
                    <a:lnTo>
                      <a:pt x="1455" y="1780"/>
                    </a:lnTo>
                    <a:lnTo>
                      <a:pt x="1452" y="1785"/>
                    </a:lnTo>
                    <a:lnTo>
                      <a:pt x="1448" y="1788"/>
                    </a:lnTo>
                    <a:lnTo>
                      <a:pt x="1443" y="1790"/>
                    </a:lnTo>
                    <a:lnTo>
                      <a:pt x="1442" y="1790"/>
                    </a:lnTo>
                    <a:lnTo>
                      <a:pt x="1442" y="1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0"/>
              <p:cNvSpPr>
                <a:spLocks/>
              </p:cNvSpPr>
              <p:nvPr userDrawn="1"/>
            </p:nvSpPr>
            <p:spPr bwMode="auto">
              <a:xfrm>
                <a:off x="361" y="3061"/>
                <a:ext cx="1739" cy="1259"/>
              </a:xfrm>
              <a:custGeom>
                <a:avLst/>
                <a:gdLst>
                  <a:gd name="T0" fmla="*/ 143 w 5215"/>
                  <a:gd name="T1" fmla="*/ 3596 h 3777"/>
                  <a:gd name="T2" fmla="*/ 426 w 5215"/>
                  <a:gd name="T3" fmla="*/ 3223 h 3777"/>
                  <a:gd name="T4" fmla="*/ 754 w 5215"/>
                  <a:gd name="T5" fmla="*/ 2771 h 3777"/>
                  <a:gd name="T6" fmla="*/ 922 w 5215"/>
                  <a:gd name="T7" fmla="*/ 2528 h 3777"/>
                  <a:gd name="T8" fmla="*/ 1086 w 5215"/>
                  <a:gd name="T9" fmla="*/ 2282 h 3777"/>
                  <a:gd name="T10" fmla="*/ 1241 w 5215"/>
                  <a:gd name="T11" fmla="*/ 2037 h 3777"/>
                  <a:gd name="T12" fmla="*/ 1380 w 5215"/>
                  <a:gd name="T13" fmla="*/ 1799 h 3777"/>
                  <a:gd name="T14" fmla="*/ 1499 w 5215"/>
                  <a:gd name="T15" fmla="*/ 1574 h 3777"/>
                  <a:gd name="T16" fmla="*/ 1636 w 5215"/>
                  <a:gd name="T17" fmla="*/ 1299 h 3777"/>
                  <a:gd name="T18" fmla="*/ 1795 w 5215"/>
                  <a:gd name="T19" fmla="*/ 1034 h 3777"/>
                  <a:gd name="T20" fmla="*/ 1956 w 5215"/>
                  <a:gd name="T21" fmla="*/ 817 h 3777"/>
                  <a:gd name="T22" fmla="*/ 2118 w 5215"/>
                  <a:gd name="T23" fmla="*/ 641 h 3777"/>
                  <a:gd name="T24" fmla="*/ 2275 w 5215"/>
                  <a:gd name="T25" fmla="*/ 503 h 3777"/>
                  <a:gd name="T26" fmla="*/ 2426 w 5215"/>
                  <a:gd name="T27" fmla="*/ 398 h 3777"/>
                  <a:gd name="T28" fmla="*/ 2568 w 5215"/>
                  <a:gd name="T29" fmla="*/ 322 h 3777"/>
                  <a:gd name="T30" fmla="*/ 2696 w 5215"/>
                  <a:gd name="T31" fmla="*/ 270 h 3777"/>
                  <a:gd name="T32" fmla="*/ 2808 w 5215"/>
                  <a:gd name="T33" fmla="*/ 236 h 3777"/>
                  <a:gd name="T34" fmla="*/ 2899 w 5215"/>
                  <a:gd name="T35" fmla="*/ 219 h 3777"/>
                  <a:gd name="T36" fmla="*/ 2969 w 5215"/>
                  <a:gd name="T37" fmla="*/ 211 h 3777"/>
                  <a:gd name="T38" fmla="*/ 3321 w 5215"/>
                  <a:gd name="T39" fmla="*/ 183 h 3777"/>
                  <a:gd name="T40" fmla="*/ 3844 w 5215"/>
                  <a:gd name="T41" fmla="*/ 135 h 3777"/>
                  <a:gd name="T42" fmla="*/ 4413 w 5215"/>
                  <a:gd name="T43" fmla="*/ 80 h 3777"/>
                  <a:gd name="T44" fmla="*/ 4899 w 5215"/>
                  <a:gd name="T45" fmla="*/ 30 h 3777"/>
                  <a:gd name="T46" fmla="*/ 5176 w 5215"/>
                  <a:gd name="T47" fmla="*/ 2 h 3777"/>
                  <a:gd name="T48" fmla="*/ 5209 w 5215"/>
                  <a:gd name="T49" fmla="*/ 3 h 3777"/>
                  <a:gd name="T50" fmla="*/ 5213 w 5215"/>
                  <a:gd name="T51" fmla="*/ 17 h 3777"/>
                  <a:gd name="T52" fmla="*/ 5203 w 5215"/>
                  <a:gd name="T53" fmla="*/ 27 h 3777"/>
                  <a:gd name="T54" fmla="*/ 5023 w 5215"/>
                  <a:gd name="T55" fmla="*/ 45 h 3777"/>
                  <a:gd name="T56" fmla="*/ 4594 w 5215"/>
                  <a:gd name="T57" fmla="*/ 88 h 3777"/>
                  <a:gd name="T58" fmla="*/ 4038 w 5215"/>
                  <a:gd name="T59" fmla="*/ 143 h 3777"/>
                  <a:gd name="T60" fmla="*/ 3485 w 5215"/>
                  <a:gd name="T61" fmla="*/ 196 h 3777"/>
                  <a:gd name="T62" fmla="*/ 3061 w 5215"/>
                  <a:gd name="T63" fmla="*/ 233 h 3777"/>
                  <a:gd name="T64" fmla="*/ 2892 w 5215"/>
                  <a:gd name="T65" fmla="*/ 247 h 3777"/>
                  <a:gd name="T66" fmla="*/ 2769 w 5215"/>
                  <a:gd name="T67" fmla="*/ 274 h 3777"/>
                  <a:gd name="T68" fmla="*/ 2638 w 5215"/>
                  <a:gd name="T69" fmla="*/ 321 h 3777"/>
                  <a:gd name="T70" fmla="*/ 2502 w 5215"/>
                  <a:gd name="T71" fmla="*/ 387 h 3777"/>
                  <a:gd name="T72" fmla="*/ 2364 w 5215"/>
                  <a:gd name="T73" fmla="*/ 475 h 3777"/>
                  <a:gd name="T74" fmla="*/ 2223 w 5215"/>
                  <a:gd name="T75" fmla="*/ 585 h 3777"/>
                  <a:gd name="T76" fmla="*/ 2083 w 5215"/>
                  <a:gd name="T77" fmla="*/ 719 h 3777"/>
                  <a:gd name="T78" fmla="*/ 1945 w 5215"/>
                  <a:gd name="T79" fmla="*/ 879 h 3777"/>
                  <a:gd name="T80" fmla="*/ 1810 w 5215"/>
                  <a:gd name="T81" fmla="*/ 1063 h 3777"/>
                  <a:gd name="T82" fmla="*/ 1680 w 5215"/>
                  <a:gd name="T83" fmla="*/ 1275 h 3777"/>
                  <a:gd name="T84" fmla="*/ 1558 w 5215"/>
                  <a:gd name="T85" fmla="*/ 1514 h 3777"/>
                  <a:gd name="T86" fmla="*/ 1448 w 5215"/>
                  <a:gd name="T87" fmla="*/ 1731 h 3777"/>
                  <a:gd name="T88" fmla="*/ 1318 w 5215"/>
                  <a:gd name="T89" fmla="*/ 1962 h 3777"/>
                  <a:gd name="T90" fmla="*/ 1170 w 5215"/>
                  <a:gd name="T91" fmla="*/ 2203 h 3777"/>
                  <a:gd name="T92" fmla="*/ 1011 w 5215"/>
                  <a:gd name="T93" fmla="*/ 2446 h 3777"/>
                  <a:gd name="T94" fmla="*/ 845 w 5215"/>
                  <a:gd name="T95" fmla="*/ 2689 h 3777"/>
                  <a:gd name="T96" fmla="*/ 569 w 5215"/>
                  <a:gd name="T97" fmla="*/ 3074 h 3777"/>
                  <a:gd name="T98" fmla="*/ 267 w 5215"/>
                  <a:gd name="T99" fmla="*/ 3478 h 3777"/>
                  <a:gd name="T100" fmla="*/ 35 w 5215"/>
                  <a:gd name="T101" fmla="*/ 3777 h 3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15" h="3777">
                    <a:moveTo>
                      <a:pt x="0" y="3777"/>
                    </a:moveTo>
                    <a:lnTo>
                      <a:pt x="66" y="3694"/>
                    </a:lnTo>
                    <a:lnTo>
                      <a:pt x="143" y="3596"/>
                    </a:lnTo>
                    <a:lnTo>
                      <a:pt x="229" y="3483"/>
                    </a:lnTo>
                    <a:lnTo>
                      <a:pt x="324" y="3358"/>
                    </a:lnTo>
                    <a:lnTo>
                      <a:pt x="426" y="3223"/>
                    </a:lnTo>
                    <a:lnTo>
                      <a:pt x="532" y="3080"/>
                    </a:lnTo>
                    <a:lnTo>
                      <a:pt x="643" y="2927"/>
                    </a:lnTo>
                    <a:lnTo>
                      <a:pt x="754" y="2771"/>
                    </a:lnTo>
                    <a:lnTo>
                      <a:pt x="811" y="2691"/>
                    </a:lnTo>
                    <a:lnTo>
                      <a:pt x="867" y="2610"/>
                    </a:lnTo>
                    <a:lnTo>
                      <a:pt x="922" y="2528"/>
                    </a:lnTo>
                    <a:lnTo>
                      <a:pt x="978" y="2446"/>
                    </a:lnTo>
                    <a:lnTo>
                      <a:pt x="1032" y="2364"/>
                    </a:lnTo>
                    <a:lnTo>
                      <a:pt x="1086" y="2282"/>
                    </a:lnTo>
                    <a:lnTo>
                      <a:pt x="1139" y="2200"/>
                    </a:lnTo>
                    <a:lnTo>
                      <a:pt x="1191" y="2118"/>
                    </a:lnTo>
                    <a:lnTo>
                      <a:pt x="1241" y="2037"/>
                    </a:lnTo>
                    <a:lnTo>
                      <a:pt x="1289" y="1956"/>
                    </a:lnTo>
                    <a:lnTo>
                      <a:pt x="1336" y="1877"/>
                    </a:lnTo>
                    <a:lnTo>
                      <a:pt x="1380" y="1799"/>
                    </a:lnTo>
                    <a:lnTo>
                      <a:pt x="1422" y="1723"/>
                    </a:lnTo>
                    <a:lnTo>
                      <a:pt x="1462" y="1647"/>
                    </a:lnTo>
                    <a:lnTo>
                      <a:pt x="1499" y="1574"/>
                    </a:lnTo>
                    <a:lnTo>
                      <a:pt x="1533" y="1503"/>
                    </a:lnTo>
                    <a:lnTo>
                      <a:pt x="1584" y="1398"/>
                    </a:lnTo>
                    <a:lnTo>
                      <a:pt x="1636" y="1299"/>
                    </a:lnTo>
                    <a:lnTo>
                      <a:pt x="1688" y="1206"/>
                    </a:lnTo>
                    <a:lnTo>
                      <a:pt x="1741" y="1117"/>
                    </a:lnTo>
                    <a:lnTo>
                      <a:pt x="1795" y="1034"/>
                    </a:lnTo>
                    <a:lnTo>
                      <a:pt x="1848" y="957"/>
                    </a:lnTo>
                    <a:lnTo>
                      <a:pt x="1902" y="884"/>
                    </a:lnTo>
                    <a:lnTo>
                      <a:pt x="1956" y="817"/>
                    </a:lnTo>
                    <a:lnTo>
                      <a:pt x="2010" y="753"/>
                    </a:lnTo>
                    <a:lnTo>
                      <a:pt x="2064" y="695"/>
                    </a:lnTo>
                    <a:lnTo>
                      <a:pt x="2118" y="641"/>
                    </a:lnTo>
                    <a:lnTo>
                      <a:pt x="2171" y="591"/>
                    </a:lnTo>
                    <a:lnTo>
                      <a:pt x="2223" y="545"/>
                    </a:lnTo>
                    <a:lnTo>
                      <a:pt x="2275" y="503"/>
                    </a:lnTo>
                    <a:lnTo>
                      <a:pt x="2327" y="464"/>
                    </a:lnTo>
                    <a:lnTo>
                      <a:pt x="2378" y="430"/>
                    </a:lnTo>
                    <a:lnTo>
                      <a:pt x="2426" y="398"/>
                    </a:lnTo>
                    <a:lnTo>
                      <a:pt x="2475" y="369"/>
                    </a:lnTo>
                    <a:lnTo>
                      <a:pt x="2523" y="344"/>
                    </a:lnTo>
                    <a:lnTo>
                      <a:pt x="2568" y="322"/>
                    </a:lnTo>
                    <a:lnTo>
                      <a:pt x="2612" y="302"/>
                    </a:lnTo>
                    <a:lnTo>
                      <a:pt x="2655" y="284"/>
                    </a:lnTo>
                    <a:lnTo>
                      <a:pt x="2696" y="270"/>
                    </a:lnTo>
                    <a:lnTo>
                      <a:pt x="2735" y="257"/>
                    </a:lnTo>
                    <a:lnTo>
                      <a:pt x="2773" y="246"/>
                    </a:lnTo>
                    <a:lnTo>
                      <a:pt x="2808" y="236"/>
                    </a:lnTo>
                    <a:lnTo>
                      <a:pt x="2841" y="229"/>
                    </a:lnTo>
                    <a:lnTo>
                      <a:pt x="2871" y="223"/>
                    </a:lnTo>
                    <a:lnTo>
                      <a:pt x="2899" y="219"/>
                    </a:lnTo>
                    <a:lnTo>
                      <a:pt x="2925" y="216"/>
                    </a:lnTo>
                    <a:lnTo>
                      <a:pt x="2949" y="214"/>
                    </a:lnTo>
                    <a:lnTo>
                      <a:pt x="2969" y="211"/>
                    </a:lnTo>
                    <a:lnTo>
                      <a:pt x="3059" y="206"/>
                    </a:lnTo>
                    <a:lnTo>
                      <a:pt x="3178" y="196"/>
                    </a:lnTo>
                    <a:lnTo>
                      <a:pt x="3321" y="183"/>
                    </a:lnTo>
                    <a:lnTo>
                      <a:pt x="3483" y="169"/>
                    </a:lnTo>
                    <a:lnTo>
                      <a:pt x="3659" y="153"/>
                    </a:lnTo>
                    <a:lnTo>
                      <a:pt x="3844" y="135"/>
                    </a:lnTo>
                    <a:lnTo>
                      <a:pt x="4035" y="116"/>
                    </a:lnTo>
                    <a:lnTo>
                      <a:pt x="4227" y="98"/>
                    </a:lnTo>
                    <a:lnTo>
                      <a:pt x="4413" y="80"/>
                    </a:lnTo>
                    <a:lnTo>
                      <a:pt x="4590" y="61"/>
                    </a:lnTo>
                    <a:lnTo>
                      <a:pt x="4755" y="45"/>
                    </a:lnTo>
                    <a:lnTo>
                      <a:pt x="4899" y="30"/>
                    </a:lnTo>
                    <a:lnTo>
                      <a:pt x="5021" y="18"/>
                    </a:lnTo>
                    <a:lnTo>
                      <a:pt x="5115" y="9"/>
                    </a:lnTo>
                    <a:lnTo>
                      <a:pt x="5176" y="2"/>
                    </a:lnTo>
                    <a:lnTo>
                      <a:pt x="5199" y="0"/>
                    </a:lnTo>
                    <a:lnTo>
                      <a:pt x="5205" y="0"/>
                    </a:lnTo>
                    <a:lnTo>
                      <a:pt x="5209" y="3"/>
                    </a:lnTo>
                    <a:lnTo>
                      <a:pt x="5212" y="6"/>
                    </a:lnTo>
                    <a:lnTo>
                      <a:pt x="5215" y="12"/>
                    </a:lnTo>
                    <a:lnTo>
                      <a:pt x="5213" y="17"/>
                    </a:lnTo>
                    <a:lnTo>
                      <a:pt x="5211" y="21"/>
                    </a:lnTo>
                    <a:lnTo>
                      <a:pt x="5207" y="25"/>
                    </a:lnTo>
                    <a:lnTo>
                      <a:pt x="5203" y="27"/>
                    </a:lnTo>
                    <a:lnTo>
                      <a:pt x="5179" y="29"/>
                    </a:lnTo>
                    <a:lnTo>
                      <a:pt x="5117" y="36"/>
                    </a:lnTo>
                    <a:lnTo>
                      <a:pt x="5023" y="45"/>
                    </a:lnTo>
                    <a:lnTo>
                      <a:pt x="4901" y="57"/>
                    </a:lnTo>
                    <a:lnTo>
                      <a:pt x="4757" y="72"/>
                    </a:lnTo>
                    <a:lnTo>
                      <a:pt x="4594" y="88"/>
                    </a:lnTo>
                    <a:lnTo>
                      <a:pt x="4415" y="107"/>
                    </a:lnTo>
                    <a:lnTo>
                      <a:pt x="4229" y="125"/>
                    </a:lnTo>
                    <a:lnTo>
                      <a:pt x="4038" y="143"/>
                    </a:lnTo>
                    <a:lnTo>
                      <a:pt x="3846" y="162"/>
                    </a:lnTo>
                    <a:lnTo>
                      <a:pt x="3661" y="180"/>
                    </a:lnTo>
                    <a:lnTo>
                      <a:pt x="3485" y="196"/>
                    </a:lnTo>
                    <a:lnTo>
                      <a:pt x="3323" y="210"/>
                    </a:lnTo>
                    <a:lnTo>
                      <a:pt x="3180" y="223"/>
                    </a:lnTo>
                    <a:lnTo>
                      <a:pt x="3061" y="233"/>
                    </a:lnTo>
                    <a:lnTo>
                      <a:pt x="2971" y="238"/>
                    </a:lnTo>
                    <a:lnTo>
                      <a:pt x="2932" y="242"/>
                    </a:lnTo>
                    <a:lnTo>
                      <a:pt x="2892" y="247"/>
                    </a:lnTo>
                    <a:lnTo>
                      <a:pt x="2852" y="254"/>
                    </a:lnTo>
                    <a:lnTo>
                      <a:pt x="2811" y="263"/>
                    </a:lnTo>
                    <a:lnTo>
                      <a:pt x="2769" y="274"/>
                    </a:lnTo>
                    <a:lnTo>
                      <a:pt x="2726" y="288"/>
                    </a:lnTo>
                    <a:lnTo>
                      <a:pt x="2682" y="303"/>
                    </a:lnTo>
                    <a:lnTo>
                      <a:pt x="2638" y="321"/>
                    </a:lnTo>
                    <a:lnTo>
                      <a:pt x="2593" y="341"/>
                    </a:lnTo>
                    <a:lnTo>
                      <a:pt x="2547" y="363"/>
                    </a:lnTo>
                    <a:lnTo>
                      <a:pt x="2502" y="387"/>
                    </a:lnTo>
                    <a:lnTo>
                      <a:pt x="2457" y="414"/>
                    </a:lnTo>
                    <a:lnTo>
                      <a:pt x="2410" y="444"/>
                    </a:lnTo>
                    <a:lnTo>
                      <a:pt x="2364" y="475"/>
                    </a:lnTo>
                    <a:lnTo>
                      <a:pt x="2316" y="509"/>
                    </a:lnTo>
                    <a:lnTo>
                      <a:pt x="2270" y="546"/>
                    </a:lnTo>
                    <a:lnTo>
                      <a:pt x="2223" y="585"/>
                    </a:lnTo>
                    <a:lnTo>
                      <a:pt x="2176" y="627"/>
                    </a:lnTo>
                    <a:lnTo>
                      <a:pt x="2130" y="672"/>
                    </a:lnTo>
                    <a:lnTo>
                      <a:pt x="2083" y="719"/>
                    </a:lnTo>
                    <a:lnTo>
                      <a:pt x="2037" y="770"/>
                    </a:lnTo>
                    <a:lnTo>
                      <a:pt x="1990" y="822"/>
                    </a:lnTo>
                    <a:lnTo>
                      <a:pt x="1945" y="879"/>
                    </a:lnTo>
                    <a:lnTo>
                      <a:pt x="1900" y="937"/>
                    </a:lnTo>
                    <a:lnTo>
                      <a:pt x="1854" y="998"/>
                    </a:lnTo>
                    <a:lnTo>
                      <a:pt x="1810" y="1063"/>
                    </a:lnTo>
                    <a:lnTo>
                      <a:pt x="1767" y="1130"/>
                    </a:lnTo>
                    <a:lnTo>
                      <a:pt x="1724" y="1200"/>
                    </a:lnTo>
                    <a:lnTo>
                      <a:pt x="1680" y="1275"/>
                    </a:lnTo>
                    <a:lnTo>
                      <a:pt x="1639" y="1351"/>
                    </a:lnTo>
                    <a:lnTo>
                      <a:pt x="1598" y="1431"/>
                    </a:lnTo>
                    <a:lnTo>
                      <a:pt x="1558" y="1514"/>
                    </a:lnTo>
                    <a:lnTo>
                      <a:pt x="1524" y="1585"/>
                    </a:lnTo>
                    <a:lnTo>
                      <a:pt x="1487" y="1657"/>
                    </a:lnTo>
                    <a:lnTo>
                      <a:pt x="1448" y="1731"/>
                    </a:lnTo>
                    <a:lnTo>
                      <a:pt x="1407" y="1807"/>
                    </a:lnTo>
                    <a:lnTo>
                      <a:pt x="1363" y="1885"/>
                    </a:lnTo>
                    <a:lnTo>
                      <a:pt x="1318" y="1962"/>
                    </a:lnTo>
                    <a:lnTo>
                      <a:pt x="1270" y="2042"/>
                    </a:lnTo>
                    <a:lnTo>
                      <a:pt x="1220" y="2122"/>
                    </a:lnTo>
                    <a:lnTo>
                      <a:pt x="1170" y="2203"/>
                    </a:lnTo>
                    <a:lnTo>
                      <a:pt x="1118" y="2284"/>
                    </a:lnTo>
                    <a:lnTo>
                      <a:pt x="1065" y="2365"/>
                    </a:lnTo>
                    <a:lnTo>
                      <a:pt x="1011" y="2446"/>
                    </a:lnTo>
                    <a:lnTo>
                      <a:pt x="956" y="2528"/>
                    </a:lnTo>
                    <a:lnTo>
                      <a:pt x="901" y="2608"/>
                    </a:lnTo>
                    <a:lnTo>
                      <a:pt x="845" y="2689"/>
                    </a:lnTo>
                    <a:lnTo>
                      <a:pt x="789" y="2768"/>
                    </a:lnTo>
                    <a:lnTo>
                      <a:pt x="678" y="2924"/>
                    </a:lnTo>
                    <a:lnTo>
                      <a:pt x="569" y="3074"/>
                    </a:lnTo>
                    <a:lnTo>
                      <a:pt x="463" y="3218"/>
                    </a:lnTo>
                    <a:lnTo>
                      <a:pt x="362" y="3353"/>
                    </a:lnTo>
                    <a:lnTo>
                      <a:pt x="267" y="3478"/>
                    </a:lnTo>
                    <a:lnTo>
                      <a:pt x="179" y="3591"/>
                    </a:lnTo>
                    <a:lnTo>
                      <a:pt x="102" y="3692"/>
                    </a:lnTo>
                    <a:lnTo>
                      <a:pt x="35" y="3777"/>
                    </a:lnTo>
                    <a:lnTo>
                      <a:pt x="0" y="3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01"/>
              <p:cNvSpPr>
                <a:spLocks/>
              </p:cNvSpPr>
              <p:nvPr userDrawn="1"/>
            </p:nvSpPr>
            <p:spPr bwMode="auto">
              <a:xfrm>
                <a:off x="501" y="3501"/>
                <a:ext cx="645" cy="819"/>
              </a:xfrm>
              <a:custGeom>
                <a:avLst/>
                <a:gdLst>
                  <a:gd name="T0" fmla="*/ 94 w 1936"/>
                  <a:gd name="T1" fmla="*/ 2352 h 2457"/>
                  <a:gd name="T2" fmla="*/ 334 w 1936"/>
                  <a:gd name="T3" fmla="*/ 2082 h 2457"/>
                  <a:gd name="T4" fmla="*/ 621 w 1936"/>
                  <a:gd name="T5" fmla="*/ 1752 h 2457"/>
                  <a:gd name="T6" fmla="*/ 931 w 1936"/>
                  <a:gd name="T7" fmla="*/ 1388 h 2457"/>
                  <a:gd name="T8" fmla="*/ 1162 w 1936"/>
                  <a:gd name="T9" fmla="*/ 1108 h 2457"/>
                  <a:gd name="T10" fmla="*/ 1310 w 1936"/>
                  <a:gd name="T11" fmla="*/ 923 h 2457"/>
                  <a:gd name="T12" fmla="*/ 1448 w 1936"/>
                  <a:gd name="T13" fmla="*/ 745 h 2457"/>
                  <a:gd name="T14" fmla="*/ 1574 w 1936"/>
                  <a:gd name="T15" fmla="*/ 575 h 2457"/>
                  <a:gd name="T16" fmla="*/ 1687 w 1936"/>
                  <a:gd name="T17" fmla="*/ 418 h 2457"/>
                  <a:gd name="T18" fmla="*/ 1780 w 1936"/>
                  <a:gd name="T19" fmla="*/ 276 h 2457"/>
                  <a:gd name="T20" fmla="*/ 1850 w 1936"/>
                  <a:gd name="T21" fmla="*/ 152 h 2457"/>
                  <a:gd name="T22" fmla="*/ 1896 w 1936"/>
                  <a:gd name="T23" fmla="*/ 51 h 2457"/>
                  <a:gd name="T24" fmla="*/ 1911 w 1936"/>
                  <a:gd name="T25" fmla="*/ 6 h 2457"/>
                  <a:gd name="T26" fmla="*/ 1920 w 1936"/>
                  <a:gd name="T27" fmla="*/ 0 h 2457"/>
                  <a:gd name="T28" fmla="*/ 1931 w 1936"/>
                  <a:gd name="T29" fmla="*/ 2 h 2457"/>
                  <a:gd name="T30" fmla="*/ 1936 w 1936"/>
                  <a:gd name="T31" fmla="*/ 11 h 2457"/>
                  <a:gd name="T32" fmla="*/ 1929 w 1936"/>
                  <a:gd name="T33" fmla="*/ 41 h 2457"/>
                  <a:gd name="T34" fmla="*/ 1906 w 1936"/>
                  <a:gd name="T35" fmla="*/ 98 h 2457"/>
                  <a:gd name="T36" fmla="*/ 1873 w 1936"/>
                  <a:gd name="T37" fmla="*/ 165 h 2457"/>
                  <a:gd name="T38" fmla="*/ 1831 w 1936"/>
                  <a:gd name="T39" fmla="*/ 240 h 2457"/>
                  <a:gd name="T40" fmla="*/ 1781 w 1936"/>
                  <a:gd name="T41" fmla="*/ 322 h 2457"/>
                  <a:gd name="T42" fmla="*/ 1722 w 1936"/>
                  <a:gd name="T43" fmla="*/ 410 h 2457"/>
                  <a:gd name="T44" fmla="*/ 1623 w 1936"/>
                  <a:gd name="T45" fmla="*/ 553 h 2457"/>
                  <a:gd name="T46" fmla="*/ 1471 w 1936"/>
                  <a:gd name="T47" fmla="*/ 758 h 2457"/>
                  <a:gd name="T48" fmla="*/ 1304 w 1936"/>
                  <a:gd name="T49" fmla="*/ 973 h 2457"/>
                  <a:gd name="T50" fmla="*/ 1130 w 1936"/>
                  <a:gd name="T51" fmla="*/ 1190 h 2457"/>
                  <a:gd name="T52" fmla="*/ 953 w 1936"/>
                  <a:gd name="T53" fmla="*/ 1403 h 2457"/>
                  <a:gd name="T54" fmla="*/ 813 w 1936"/>
                  <a:gd name="T55" fmla="*/ 1570 h 2457"/>
                  <a:gd name="T56" fmla="*/ 702 w 1936"/>
                  <a:gd name="T57" fmla="*/ 1700 h 2457"/>
                  <a:gd name="T58" fmla="*/ 589 w 1936"/>
                  <a:gd name="T59" fmla="*/ 1832 h 2457"/>
                  <a:gd name="T60" fmla="*/ 476 w 1936"/>
                  <a:gd name="T61" fmla="*/ 1962 h 2457"/>
                  <a:gd name="T62" fmla="*/ 366 w 1936"/>
                  <a:gd name="T63" fmla="*/ 2088 h 2457"/>
                  <a:gd name="T64" fmla="*/ 261 w 1936"/>
                  <a:gd name="T65" fmla="*/ 2207 h 2457"/>
                  <a:gd name="T66" fmla="*/ 164 w 1936"/>
                  <a:gd name="T67" fmla="*/ 2316 h 2457"/>
                  <a:gd name="T68" fmla="*/ 77 w 1936"/>
                  <a:gd name="T69" fmla="*/ 2414 h 2457"/>
                  <a:gd name="T70" fmla="*/ 0 w 1936"/>
                  <a:gd name="T71" fmla="*/ 2457 h 2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6" h="2457">
                    <a:moveTo>
                      <a:pt x="0" y="2457"/>
                    </a:moveTo>
                    <a:lnTo>
                      <a:pt x="94" y="2352"/>
                    </a:lnTo>
                    <a:lnTo>
                      <a:pt x="206" y="2227"/>
                    </a:lnTo>
                    <a:lnTo>
                      <a:pt x="334" y="2082"/>
                    </a:lnTo>
                    <a:lnTo>
                      <a:pt x="473" y="1924"/>
                    </a:lnTo>
                    <a:lnTo>
                      <a:pt x="621" y="1752"/>
                    </a:lnTo>
                    <a:lnTo>
                      <a:pt x="774" y="1573"/>
                    </a:lnTo>
                    <a:lnTo>
                      <a:pt x="931" y="1388"/>
                    </a:lnTo>
                    <a:lnTo>
                      <a:pt x="1085" y="1200"/>
                    </a:lnTo>
                    <a:lnTo>
                      <a:pt x="1162" y="1108"/>
                    </a:lnTo>
                    <a:lnTo>
                      <a:pt x="1236" y="1015"/>
                    </a:lnTo>
                    <a:lnTo>
                      <a:pt x="1310" y="923"/>
                    </a:lnTo>
                    <a:lnTo>
                      <a:pt x="1380" y="833"/>
                    </a:lnTo>
                    <a:lnTo>
                      <a:pt x="1448" y="745"/>
                    </a:lnTo>
                    <a:lnTo>
                      <a:pt x="1513" y="659"/>
                    </a:lnTo>
                    <a:lnTo>
                      <a:pt x="1574" y="575"/>
                    </a:lnTo>
                    <a:lnTo>
                      <a:pt x="1633" y="495"/>
                    </a:lnTo>
                    <a:lnTo>
                      <a:pt x="1687" y="418"/>
                    </a:lnTo>
                    <a:lnTo>
                      <a:pt x="1735" y="344"/>
                    </a:lnTo>
                    <a:lnTo>
                      <a:pt x="1780" y="276"/>
                    </a:lnTo>
                    <a:lnTo>
                      <a:pt x="1817" y="212"/>
                    </a:lnTo>
                    <a:lnTo>
                      <a:pt x="1850" y="152"/>
                    </a:lnTo>
                    <a:lnTo>
                      <a:pt x="1877" y="99"/>
                    </a:lnTo>
                    <a:lnTo>
                      <a:pt x="1896" y="51"/>
                    </a:lnTo>
                    <a:lnTo>
                      <a:pt x="1909" y="10"/>
                    </a:lnTo>
                    <a:lnTo>
                      <a:pt x="1911" y="6"/>
                    </a:lnTo>
                    <a:lnTo>
                      <a:pt x="1916" y="1"/>
                    </a:lnTo>
                    <a:lnTo>
                      <a:pt x="1920" y="0"/>
                    </a:lnTo>
                    <a:lnTo>
                      <a:pt x="1925" y="0"/>
                    </a:lnTo>
                    <a:lnTo>
                      <a:pt x="1931" y="2"/>
                    </a:lnTo>
                    <a:lnTo>
                      <a:pt x="1934" y="6"/>
                    </a:lnTo>
                    <a:lnTo>
                      <a:pt x="1936" y="11"/>
                    </a:lnTo>
                    <a:lnTo>
                      <a:pt x="1935" y="16"/>
                    </a:lnTo>
                    <a:lnTo>
                      <a:pt x="1929" y="41"/>
                    </a:lnTo>
                    <a:lnTo>
                      <a:pt x="1919" y="69"/>
                    </a:lnTo>
                    <a:lnTo>
                      <a:pt x="1906" y="98"/>
                    </a:lnTo>
                    <a:lnTo>
                      <a:pt x="1891" y="131"/>
                    </a:lnTo>
                    <a:lnTo>
                      <a:pt x="1873" y="165"/>
                    </a:lnTo>
                    <a:lnTo>
                      <a:pt x="1853" y="202"/>
                    </a:lnTo>
                    <a:lnTo>
                      <a:pt x="1831" y="240"/>
                    </a:lnTo>
                    <a:lnTo>
                      <a:pt x="1807" y="280"/>
                    </a:lnTo>
                    <a:lnTo>
                      <a:pt x="1781" y="322"/>
                    </a:lnTo>
                    <a:lnTo>
                      <a:pt x="1753" y="365"/>
                    </a:lnTo>
                    <a:lnTo>
                      <a:pt x="1722" y="410"/>
                    </a:lnTo>
                    <a:lnTo>
                      <a:pt x="1691" y="457"/>
                    </a:lnTo>
                    <a:lnTo>
                      <a:pt x="1623" y="553"/>
                    </a:lnTo>
                    <a:lnTo>
                      <a:pt x="1548" y="654"/>
                    </a:lnTo>
                    <a:lnTo>
                      <a:pt x="1471" y="758"/>
                    </a:lnTo>
                    <a:lnTo>
                      <a:pt x="1389" y="865"/>
                    </a:lnTo>
                    <a:lnTo>
                      <a:pt x="1304" y="973"/>
                    </a:lnTo>
                    <a:lnTo>
                      <a:pt x="1217" y="1082"/>
                    </a:lnTo>
                    <a:lnTo>
                      <a:pt x="1130" y="1190"/>
                    </a:lnTo>
                    <a:lnTo>
                      <a:pt x="1041" y="1298"/>
                    </a:lnTo>
                    <a:lnTo>
                      <a:pt x="953" y="1403"/>
                    </a:lnTo>
                    <a:lnTo>
                      <a:pt x="867" y="1506"/>
                    </a:lnTo>
                    <a:lnTo>
                      <a:pt x="813" y="1570"/>
                    </a:lnTo>
                    <a:lnTo>
                      <a:pt x="758" y="1634"/>
                    </a:lnTo>
                    <a:lnTo>
                      <a:pt x="702" y="1700"/>
                    </a:lnTo>
                    <a:lnTo>
                      <a:pt x="646" y="1766"/>
                    </a:lnTo>
                    <a:lnTo>
                      <a:pt x="589" y="1832"/>
                    </a:lnTo>
                    <a:lnTo>
                      <a:pt x="532" y="1897"/>
                    </a:lnTo>
                    <a:lnTo>
                      <a:pt x="476" y="1962"/>
                    </a:lnTo>
                    <a:lnTo>
                      <a:pt x="421" y="2025"/>
                    </a:lnTo>
                    <a:lnTo>
                      <a:pt x="366" y="2088"/>
                    </a:lnTo>
                    <a:lnTo>
                      <a:pt x="313" y="2148"/>
                    </a:lnTo>
                    <a:lnTo>
                      <a:pt x="261" y="2207"/>
                    </a:lnTo>
                    <a:lnTo>
                      <a:pt x="212" y="2263"/>
                    </a:lnTo>
                    <a:lnTo>
                      <a:pt x="164" y="2316"/>
                    </a:lnTo>
                    <a:lnTo>
                      <a:pt x="120" y="2366"/>
                    </a:lnTo>
                    <a:lnTo>
                      <a:pt x="77" y="2414"/>
                    </a:lnTo>
                    <a:lnTo>
                      <a:pt x="38" y="2457"/>
                    </a:lnTo>
                    <a:lnTo>
                      <a:pt x="0" y="24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02"/>
              <p:cNvSpPr>
                <a:spLocks/>
              </p:cNvSpPr>
              <p:nvPr userDrawn="1"/>
            </p:nvSpPr>
            <p:spPr bwMode="auto">
              <a:xfrm>
                <a:off x="374" y="3057"/>
                <a:ext cx="1067" cy="1253"/>
              </a:xfrm>
              <a:custGeom>
                <a:avLst/>
                <a:gdLst>
                  <a:gd name="T0" fmla="*/ 11 w 3200"/>
                  <a:gd name="T1" fmla="*/ 3759 h 3760"/>
                  <a:gd name="T2" fmla="*/ 3 w 3200"/>
                  <a:gd name="T3" fmla="*/ 3754 h 3760"/>
                  <a:gd name="T4" fmla="*/ 0 w 3200"/>
                  <a:gd name="T5" fmla="*/ 3746 h 3760"/>
                  <a:gd name="T6" fmla="*/ 14 w 3200"/>
                  <a:gd name="T7" fmla="*/ 3712 h 3760"/>
                  <a:gd name="T8" fmla="*/ 99 w 3200"/>
                  <a:gd name="T9" fmla="*/ 3532 h 3760"/>
                  <a:gd name="T10" fmla="*/ 246 w 3200"/>
                  <a:gd name="T11" fmla="*/ 3218 h 3760"/>
                  <a:gd name="T12" fmla="*/ 435 w 3200"/>
                  <a:gd name="T13" fmla="*/ 2813 h 3760"/>
                  <a:gd name="T14" fmla="*/ 649 w 3200"/>
                  <a:gd name="T15" fmla="*/ 2360 h 3760"/>
                  <a:gd name="T16" fmla="*/ 867 w 3200"/>
                  <a:gd name="T17" fmla="*/ 1900 h 3760"/>
                  <a:gd name="T18" fmla="*/ 1069 w 3200"/>
                  <a:gd name="T19" fmla="*/ 1476 h 3760"/>
                  <a:gd name="T20" fmla="*/ 1237 w 3200"/>
                  <a:gd name="T21" fmla="*/ 1129 h 3760"/>
                  <a:gd name="T22" fmla="*/ 1336 w 3200"/>
                  <a:gd name="T23" fmla="*/ 938 h 3760"/>
                  <a:gd name="T24" fmla="*/ 1422 w 3200"/>
                  <a:gd name="T25" fmla="*/ 825 h 3760"/>
                  <a:gd name="T26" fmla="*/ 1531 w 3200"/>
                  <a:gd name="T27" fmla="*/ 718 h 3760"/>
                  <a:gd name="T28" fmla="*/ 1660 w 3200"/>
                  <a:gd name="T29" fmla="*/ 619 h 3760"/>
                  <a:gd name="T30" fmla="*/ 1802 w 3200"/>
                  <a:gd name="T31" fmla="*/ 526 h 3760"/>
                  <a:gd name="T32" fmla="*/ 1955 w 3200"/>
                  <a:gd name="T33" fmla="*/ 440 h 3760"/>
                  <a:gd name="T34" fmla="*/ 2116 w 3200"/>
                  <a:gd name="T35" fmla="*/ 363 h 3760"/>
                  <a:gd name="T36" fmla="*/ 2278 w 3200"/>
                  <a:gd name="T37" fmla="*/ 291 h 3760"/>
                  <a:gd name="T38" fmla="*/ 2439 w 3200"/>
                  <a:gd name="T39" fmla="*/ 228 h 3760"/>
                  <a:gd name="T40" fmla="*/ 2595 w 3200"/>
                  <a:gd name="T41" fmla="*/ 173 h 3760"/>
                  <a:gd name="T42" fmla="*/ 2740 w 3200"/>
                  <a:gd name="T43" fmla="*/ 124 h 3760"/>
                  <a:gd name="T44" fmla="*/ 2872 w 3200"/>
                  <a:gd name="T45" fmla="*/ 83 h 3760"/>
                  <a:gd name="T46" fmla="*/ 3035 w 3200"/>
                  <a:gd name="T47" fmla="*/ 38 h 3760"/>
                  <a:gd name="T48" fmla="*/ 3167 w 3200"/>
                  <a:gd name="T49" fmla="*/ 4 h 3760"/>
                  <a:gd name="T50" fmla="*/ 3192 w 3200"/>
                  <a:gd name="T51" fmla="*/ 1 h 3760"/>
                  <a:gd name="T52" fmla="*/ 3199 w 3200"/>
                  <a:gd name="T53" fmla="*/ 9 h 3760"/>
                  <a:gd name="T54" fmla="*/ 3199 w 3200"/>
                  <a:gd name="T55" fmla="*/ 19 h 3760"/>
                  <a:gd name="T56" fmla="*/ 3192 w 3200"/>
                  <a:gd name="T57" fmla="*/ 26 h 3760"/>
                  <a:gd name="T58" fmla="*/ 3176 w 3200"/>
                  <a:gd name="T59" fmla="*/ 29 h 3760"/>
                  <a:gd name="T60" fmla="*/ 3130 w 3200"/>
                  <a:gd name="T61" fmla="*/ 39 h 3760"/>
                  <a:gd name="T62" fmla="*/ 3013 w 3200"/>
                  <a:gd name="T63" fmla="*/ 68 h 3760"/>
                  <a:gd name="T64" fmla="*/ 2846 w 3200"/>
                  <a:gd name="T65" fmla="*/ 117 h 3760"/>
                  <a:gd name="T66" fmla="*/ 2715 w 3200"/>
                  <a:gd name="T67" fmla="*/ 159 h 3760"/>
                  <a:gd name="T68" fmla="*/ 2571 w 3200"/>
                  <a:gd name="T69" fmla="*/ 207 h 3760"/>
                  <a:gd name="T70" fmla="*/ 2419 w 3200"/>
                  <a:gd name="T71" fmla="*/ 265 h 3760"/>
                  <a:gd name="T72" fmla="*/ 2262 w 3200"/>
                  <a:gd name="T73" fmla="*/ 328 h 3760"/>
                  <a:gd name="T74" fmla="*/ 2104 w 3200"/>
                  <a:gd name="T75" fmla="*/ 398 h 3760"/>
                  <a:gd name="T76" fmla="*/ 1950 w 3200"/>
                  <a:gd name="T77" fmla="*/ 476 h 3760"/>
                  <a:gd name="T78" fmla="*/ 1802 w 3200"/>
                  <a:gd name="T79" fmla="*/ 559 h 3760"/>
                  <a:gd name="T80" fmla="*/ 1666 w 3200"/>
                  <a:gd name="T81" fmla="*/ 650 h 3760"/>
                  <a:gd name="T82" fmla="*/ 1544 w 3200"/>
                  <a:gd name="T83" fmla="*/ 745 h 3760"/>
                  <a:gd name="T84" fmla="*/ 1439 w 3200"/>
                  <a:gd name="T85" fmla="*/ 846 h 3760"/>
                  <a:gd name="T86" fmla="*/ 1357 w 3200"/>
                  <a:gd name="T87" fmla="*/ 954 h 3760"/>
                  <a:gd name="T88" fmla="*/ 1261 w 3200"/>
                  <a:gd name="T89" fmla="*/ 1141 h 3760"/>
                  <a:gd name="T90" fmla="*/ 1094 w 3200"/>
                  <a:gd name="T91" fmla="*/ 1488 h 3760"/>
                  <a:gd name="T92" fmla="*/ 891 w 3200"/>
                  <a:gd name="T93" fmla="*/ 1912 h 3760"/>
                  <a:gd name="T94" fmla="*/ 674 w 3200"/>
                  <a:gd name="T95" fmla="*/ 2372 h 3760"/>
                  <a:gd name="T96" fmla="*/ 460 w 3200"/>
                  <a:gd name="T97" fmla="*/ 2825 h 3760"/>
                  <a:gd name="T98" fmla="*/ 270 w 3200"/>
                  <a:gd name="T99" fmla="*/ 3230 h 3760"/>
                  <a:gd name="T100" fmla="*/ 123 w 3200"/>
                  <a:gd name="T101" fmla="*/ 3543 h 3760"/>
                  <a:gd name="T102" fmla="*/ 39 w 3200"/>
                  <a:gd name="T103" fmla="*/ 3724 h 3760"/>
                  <a:gd name="T104" fmla="*/ 24 w 3200"/>
                  <a:gd name="T105" fmla="*/ 3754 h 3760"/>
                  <a:gd name="T106" fmla="*/ 17 w 3200"/>
                  <a:gd name="T107" fmla="*/ 3759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0" h="3760">
                    <a:moveTo>
                      <a:pt x="14" y="3760"/>
                    </a:moveTo>
                    <a:lnTo>
                      <a:pt x="11" y="3759"/>
                    </a:lnTo>
                    <a:lnTo>
                      <a:pt x="7" y="3758"/>
                    </a:lnTo>
                    <a:lnTo>
                      <a:pt x="3" y="3754"/>
                    </a:lnTo>
                    <a:lnTo>
                      <a:pt x="1" y="3750"/>
                    </a:lnTo>
                    <a:lnTo>
                      <a:pt x="0" y="3746"/>
                    </a:lnTo>
                    <a:lnTo>
                      <a:pt x="1" y="3740"/>
                    </a:lnTo>
                    <a:lnTo>
                      <a:pt x="14" y="3712"/>
                    </a:lnTo>
                    <a:lnTo>
                      <a:pt x="47" y="3641"/>
                    </a:lnTo>
                    <a:lnTo>
                      <a:pt x="99" y="3532"/>
                    </a:lnTo>
                    <a:lnTo>
                      <a:pt x="165" y="3389"/>
                    </a:lnTo>
                    <a:lnTo>
                      <a:pt x="246" y="3218"/>
                    </a:lnTo>
                    <a:lnTo>
                      <a:pt x="337" y="3025"/>
                    </a:lnTo>
                    <a:lnTo>
                      <a:pt x="435" y="2813"/>
                    </a:lnTo>
                    <a:lnTo>
                      <a:pt x="541" y="2591"/>
                    </a:lnTo>
                    <a:lnTo>
                      <a:pt x="649" y="2360"/>
                    </a:lnTo>
                    <a:lnTo>
                      <a:pt x="759" y="2129"/>
                    </a:lnTo>
                    <a:lnTo>
                      <a:pt x="867" y="1900"/>
                    </a:lnTo>
                    <a:lnTo>
                      <a:pt x="971" y="1681"/>
                    </a:lnTo>
                    <a:lnTo>
                      <a:pt x="1069" y="1476"/>
                    </a:lnTo>
                    <a:lnTo>
                      <a:pt x="1159" y="1290"/>
                    </a:lnTo>
                    <a:lnTo>
                      <a:pt x="1237" y="1129"/>
                    </a:lnTo>
                    <a:lnTo>
                      <a:pt x="1302" y="997"/>
                    </a:lnTo>
                    <a:lnTo>
                      <a:pt x="1336" y="938"/>
                    </a:lnTo>
                    <a:lnTo>
                      <a:pt x="1376" y="881"/>
                    </a:lnTo>
                    <a:lnTo>
                      <a:pt x="1422" y="825"/>
                    </a:lnTo>
                    <a:lnTo>
                      <a:pt x="1474" y="771"/>
                    </a:lnTo>
                    <a:lnTo>
                      <a:pt x="1531" y="718"/>
                    </a:lnTo>
                    <a:lnTo>
                      <a:pt x="1594" y="668"/>
                    </a:lnTo>
                    <a:lnTo>
                      <a:pt x="1660" y="619"/>
                    </a:lnTo>
                    <a:lnTo>
                      <a:pt x="1730" y="572"/>
                    </a:lnTo>
                    <a:lnTo>
                      <a:pt x="1802" y="526"/>
                    </a:lnTo>
                    <a:lnTo>
                      <a:pt x="1878" y="483"/>
                    </a:lnTo>
                    <a:lnTo>
                      <a:pt x="1955" y="440"/>
                    </a:lnTo>
                    <a:lnTo>
                      <a:pt x="2035" y="401"/>
                    </a:lnTo>
                    <a:lnTo>
                      <a:pt x="2116" y="363"/>
                    </a:lnTo>
                    <a:lnTo>
                      <a:pt x="2197" y="326"/>
                    </a:lnTo>
                    <a:lnTo>
                      <a:pt x="2278" y="291"/>
                    </a:lnTo>
                    <a:lnTo>
                      <a:pt x="2359" y="259"/>
                    </a:lnTo>
                    <a:lnTo>
                      <a:pt x="2439" y="228"/>
                    </a:lnTo>
                    <a:lnTo>
                      <a:pt x="2518" y="200"/>
                    </a:lnTo>
                    <a:lnTo>
                      <a:pt x="2595" y="173"/>
                    </a:lnTo>
                    <a:lnTo>
                      <a:pt x="2669" y="147"/>
                    </a:lnTo>
                    <a:lnTo>
                      <a:pt x="2740" y="124"/>
                    </a:lnTo>
                    <a:lnTo>
                      <a:pt x="2809" y="103"/>
                    </a:lnTo>
                    <a:lnTo>
                      <a:pt x="2872" y="83"/>
                    </a:lnTo>
                    <a:lnTo>
                      <a:pt x="2932" y="66"/>
                    </a:lnTo>
                    <a:lnTo>
                      <a:pt x="3035" y="38"/>
                    </a:lnTo>
                    <a:lnTo>
                      <a:pt x="3115" y="17"/>
                    </a:lnTo>
                    <a:lnTo>
                      <a:pt x="3167" y="4"/>
                    </a:lnTo>
                    <a:lnTo>
                      <a:pt x="3186" y="0"/>
                    </a:lnTo>
                    <a:lnTo>
                      <a:pt x="3192" y="1"/>
                    </a:lnTo>
                    <a:lnTo>
                      <a:pt x="3196" y="4"/>
                    </a:lnTo>
                    <a:lnTo>
                      <a:pt x="3199" y="9"/>
                    </a:lnTo>
                    <a:lnTo>
                      <a:pt x="3200" y="14"/>
                    </a:lnTo>
                    <a:lnTo>
                      <a:pt x="3199" y="19"/>
                    </a:lnTo>
                    <a:lnTo>
                      <a:pt x="3196" y="24"/>
                    </a:lnTo>
                    <a:lnTo>
                      <a:pt x="3192" y="26"/>
                    </a:lnTo>
                    <a:lnTo>
                      <a:pt x="3188" y="27"/>
                    </a:lnTo>
                    <a:lnTo>
                      <a:pt x="3176" y="29"/>
                    </a:lnTo>
                    <a:lnTo>
                      <a:pt x="3157" y="32"/>
                    </a:lnTo>
                    <a:lnTo>
                      <a:pt x="3130" y="39"/>
                    </a:lnTo>
                    <a:lnTo>
                      <a:pt x="3098" y="46"/>
                    </a:lnTo>
                    <a:lnTo>
                      <a:pt x="3013" y="68"/>
                    </a:lnTo>
                    <a:lnTo>
                      <a:pt x="2906" y="98"/>
                    </a:lnTo>
                    <a:lnTo>
                      <a:pt x="2846" y="117"/>
                    </a:lnTo>
                    <a:lnTo>
                      <a:pt x="2782" y="136"/>
                    </a:lnTo>
                    <a:lnTo>
                      <a:pt x="2715" y="159"/>
                    </a:lnTo>
                    <a:lnTo>
                      <a:pt x="2643" y="182"/>
                    </a:lnTo>
                    <a:lnTo>
                      <a:pt x="2571" y="207"/>
                    </a:lnTo>
                    <a:lnTo>
                      <a:pt x="2495" y="235"/>
                    </a:lnTo>
                    <a:lnTo>
                      <a:pt x="2419" y="265"/>
                    </a:lnTo>
                    <a:lnTo>
                      <a:pt x="2340" y="296"/>
                    </a:lnTo>
                    <a:lnTo>
                      <a:pt x="2262" y="328"/>
                    </a:lnTo>
                    <a:lnTo>
                      <a:pt x="2183" y="363"/>
                    </a:lnTo>
                    <a:lnTo>
                      <a:pt x="2104" y="398"/>
                    </a:lnTo>
                    <a:lnTo>
                      <a:pt x="2027" y="436"/>
                    </a:lnTo>
                    <a:lnTo>
                      <a:pt x="1950" y="476"/>
                    </a:lnTo>
                    <a:lnTo>
                      <a:pt x="1876" y="517"/>
                    </a:lnTo>
                    <a:lnTo>
                      <a:pt x="1802" y="559"/>
                    </a:lnTo>
                    <a:lnTo>
                      <a:pt x="1733" y="603"/>
                    </a:lnTo>
                    <a:lnTo>
                      <a:pt x="1666" y="650"/>
                    </a:lnTo>
                    <a:lnTo>
                      <a:pt x="1602" y="696"/>
                    </a:lnTo>
                    <a:lnTo>
                      <a:pt x="1544" y="745"/>
                    </a:lnTo>
                    <a:lnTo>
                      <a:pt x="1489" y="796"/>
                    </a:lnTo>
                    <a:lnTo>
                      <a:pt x="1439" y="846"/>
                    </a:lnTo>
                    <a:lnTo>
                      <a:pt x="1396" y="899"/>
                    </a:lnTo>
                    <a:lnTo>
                      <a:pt x="1357" y="954"/>
                    </a:lnTo>
                    <a:lnTo>
                      <a:pt x="1326" y="1009"/>
                    </a:lnTo>
                    <a:lnTo>
                      <a:pt x="1261" y="1141"/>
                    </a:lnTo>
                    <a:lnTo>
                      <a:pt x="1183" y="1302"/>
                    </a:lnTo>
                    <a:lnTo>
                      <a:pt x="1094" y="1488"/>
                    </a:lnTo>
                    <a:lnTo>
                      <a:pt x="996" y="1693"/>
                    </a:lnTo>
                    <a:lnTo>
                      <a:pt x="891" y="1912"/>
                    </a:lnTo>
                    <a:lnTo>
                      <a:pt x="783" y="2141"/>
                    </a:lnTo>
                    <a:lnTo>
                      <a:pt x="674" y="2372"/>
                    </a:lnTo>
                    <a:lnTo>
                      <a:pt x="565" y="2602"/>
                    </a:lnTo>
                    <a:lnTo>
                      <a:pt x="460" y="2825"/>
                    </a:lnTo>
                    <a:lnTo>
                      <a:pt x="361" y="3036"/>
                    </a:lnTo>
                    <a:lnTo>
                      <a:pt x="270" y="3230"/>
                    </a:lnTo>
                    <a:lnTo>
                      <a:pt x="190" y="3400"/>
                    </a:lnTo>
                    <a:lnTo>
                      <a:pt x="123" y="3543"/>
                    </a:lnTo>
                    <a:lnTo>
                      <a:pt x="72" y="3653"/>
                    </a:lnTo>
                    <a:lnTo>
                      <a:pt x="39" y="3724"/>
                    </a:lnTo>
                    <a:lnTo>
                      <a:pt x="26" y="3751"/>
                    </a:lnTo>
                    <a:lnTo>
                      <a:pt x="24" y="3754"/>
                    </a:lnTo>
                    <a:lnTo>
                      <a:pt x="20" y="3758"/>
                    </a:lnTo>
                    <a:lnTo>
                      <a:pt x="17" y="3759"/>
                    </a:lnTo>
                    <a:lnTo>
                      <a:pt x="14" y="37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03"/>
              <p:cNvSpPr>
                <a:spLocks/>
              </p:cNvSpPr>
              <p:nvPr userDrawn="1"/>
            </p:nvSpPr>
            <p:spPr bwMode="auto">
              <a:xfrm>
                <a:off x="1180" y="3594"/>
                <a:ext cx="1769" cy="368"/>
              </a:xfrm>
              <a:custGeom>
                <a:avLst/>
                <a:gdLst>
                  <a:gd name="T0" fmla="*/ 3262 w 5309"/>
                  <a:gd name="T1" fmla="*/ 1102 h 1104"/>
                  <a:gd name="T2" fmla="*/ 3052 w 5309"/>
                  <a:gd name="T3" fmla="*/ 1087 h 1104"/>
                  <a:gd name="T4" fmla="*/ 2846 w 5309"/>
                  <a:gd name="T5" fmla="*/ 1056 h 1104"/>
                  <a:gd name="T6" fmla="*/ 2644 w 5309"/>
                  <a:gd name="T7" fmla="*/ 1010 h 1104"/>
                  <a:gd name="T8" fmla="*/ 2513 w 5309"/>
                  <a:gd name="T9" fmla="*/ 970 h 1104"/>
                  <a:gd name="T10" fmla="*/ 2418 w 5309"/>
                  <a:gd name="T11" fmla="*/ 933 h 1104"/>
                  <a:gd name="T12" fmla="*/ 2324 w 5309"/>
                  <a:gd name="T13" fmla="*/ 892 h 1104"/>
                  <a:gd name="T14" fmla="*/ 2149 w 5309"/>
                  <a:gd name="T15" fmla="*/ 806 h 1104"/>
                  <a:gd name="T16" fmla="*/ 1983 w 5309"/>
                  <a:gd name="T17" fmla="*/ 722 h 1104"/>
                  <a:gd name="T18" fmla="*/ 1827 w 5309"/>
                  <a:gd name="T19" fmla="*/ 638 h 1104"/>
                  <a:gd name="T20" fmla="*/ 1679 w 5309"/>
                  <a:gd name="T21" fmla="*/ 555 h 1104"/>
                  <a:gd name="T22" fmla="*/ 1538 w 5309"/>
                  <a:gd name="T23" fmla="*/ 477 h 1104"/>
                  <a:gd name="T24" fmla="*/ 1264 w 5309"/>
                  <a:gd name="T25" fmla="*/ 323 h 1104"/>
                  <a:gd name="T26" fmla="*/ 1106 w 5309"/>
                  <a:gd name="T27" fmla="*/ 239 h 1104"/>
                  <a:gd name="T28" fmla="*/ 957 w 5309"/>
                  <a:gd name="T29" fmla="*/ 166 h 1104"/>
                  <a:gd name="T30" fmla="*/ 817 w 5309"/>
                  <a:gd name="T31" fmla="*/ 106 h 1104"/>
                  <a:gd name="T32" fmla="*/ 683 w 5309"/>
                  <a:gd name="T33" fmla="*/ 61 h 1104"/>
                  <a:gd name="T34" fmla="*/ 555 w 5309"/>
                  <a:gd name="T35" fmla="*/ 34 h 1104"/>
                  <a:gd name="T36" fmla="*/ 430 w 5309"/>
                  <a:gd name="T37" fmla="*/ 24 h 1104"/>
                  <a:gd name="T38" fmla="*/ 307 w 5309"/>
                  <a:gd name="T39" fmla="*/ 36 h 1104"/>
                  <a:gd name="T40" fmla="*/ 185 w 5309"/>
                  <a:gd name="T41" fmla="*/ 70 h 1104"/>
                  <a:gd name="T42" fmla="*/ 61 w 5309"/>
                  <a:gd name="T43" fmla="*/ 128 h 1104"/>
                  <a:gd name="T44" fmla="*/ 9 w 5309"/>
                  <a:gd name="T45" fmla="*/ 155 h 1104"/>
                  <a:gd name="T46" fmla="*/ 0 w 5309"/>
                  <a:gd name="T47" fmla="*/ 143 h 1104"/>
                  <a:gd name="T48" fmla="*/ 5 w 5309"/>
                  <a:gd name="T49" fmla="*/ 130 h 1104"/>
                  <a:gd name="T50" fmla="*/ 133 w 5309"/>
                  <a:gd name="T51" fmla="*/ 62 h 1104"/>
                  <a:gd name="T52" fmla="*/ 261 w 5309"/>
                  <a:gd name="T53" fmla="*/ 20 h 1104"/>
                  <a:gd name="T54" fmla="*/ 388 w 5309"/>
                  <a:gd name="T55" fmla="*/ 1 h 1104"/>
                  <a:gd name="T56" fmla="*/ 517 w 5309"/>
                  <a:gd name="T57" fmla="*/ 4 h 1104"/>
                  <a:gd name="T58" fmla="*/ 649 w 5309"/>
                  <a:gd name="T59" fmla="*/ 27 h 1104"/>
                  <a:gd name="T60" fmla="*/ 785 w 5309"/>
                  <a:gd name="T61" fmla="*/ 66 h 1104"/>
                  <a:gd name="T62" fmla="*/ 925 w 5309"/>
                  <a:gd name="T63" fmla="*/ 123 h 1104"/>
                  <a:gd name="T64" fmla="*/ 1072 w 5309"/>
                  <a:gd name="T65" fmla="*/ 192 h 1104"/>
                  <a:gd name="T66" fmla="*/ 1227 w 5309"/>
                  <a:gd name="T67" fmla="*/ 273 h 1104"/>
                  <a:gd name="T68" fmla="*/ 1507 w 5309"/>
                  <a:gd name="T69" fmla="*/ 428 h 1104"/>
                  <a:gd name="T70" fmla="*/ 1644 w 5309"/>
                  <a:gd name="T71" fmla="*/ 506 h 1104"/>
                  <a:gd name="T72" fmla="*/ 1790 w 5309"/>
                  <a:gd name="T73" fmla="*/ 587 h 1104"/>
                  <a:gd name="T74" fmla="*/ 1943 w 5309"/>
                  <a:gd name="T75" fmla="*/ 669 h 1104"/>
                  <a:gd name="T76" fmla="*/ 2105 w 5309"/>
                  <a:gd name="T77" fmla="*/ 754 h 1104"/>
                  <a:gd name="T78" fmla="*/ 2277 w 5309"/>
                  <a:gd name="T79" fmla="*/ 839 h 1104"/>
                  <a:gd name="T80" fmla="*/ 2560 w 5309"/>
                  <a:gd name="T81" fmla="*/ 957 h 1104"/>
                  <a:gd name="T82" fmla="*/ 2915 w 5309"/>
                  <a:gd name="T83" fmla="*/ 1041 h 1104"/>
                  <a:gd name="T84" fmla="*/ 3283 w 5309"/>
                  <a:gd name="T85" fmla="*/ 1075 h 1104"/>
                  <a:gd name="T86" fmla="*/ 3653 w 5309"/>
                  <a:gd name="T87" fmla="*/ 1069 h 1104"/>
                  <a:gd name="T88" fmla="*/ 4012 w 5309"/>
                  <a:gd name="T89" fmla="*/ 1032 h 1104"/>
                  <a:gd name="T90" fmla="*/ 4349 w 5309"/>
                  <a:gd name="T91" fmla="*/ 974 h 1104"/>
                  <a:gd name="T92" fmla="*/ 4652 w 5309"/>
                  <a:gd name="T93" fmla="*/ 904 h 1104"/>
                  <a:gd name="T94" fmla="*/ 4909 w 5309"/>
                  <a:gd name="T95" fmla="*/ 833 h 1104"/>
                  <a:gd name="T96" fmla="*/ 5109 w 5309"/>
                  <a:gd name="T97" fmla="*/ 769 h 1104"/>
                  <a:gd name="T98" fmla="*/ 5267 w 5309"/>
                  <a:gd name="T99" fmla="*/ 714 h 1104"/>
                  <a:gd name="T100" fmla="*/ 5300 w 5309"/>
                  <a:gd name="T101" fmla="*/ 704 h 1104"/>
                  <a:gd name="T102" fmla="*/ 5309 w 5309"/>
                  <a:gd name="T103" fmla="*/ 717 h 1104"/>
                  <a:gd name="T104" fmla="*/ 5300 w 5309"/>
                  <a:gd name="T105" fmla="*/ 729 h 1104"/>
                  <a:gd name="T106" fmla="*/ 5202 w 5309"/>
                  <a:gd name="T107" fmla="*/ 766 h 1104"/>
                  <a:gd name="T108" fmla="*/ 4945 w 5309"/>
                  <a:gd name="T109" fmla="*/ 850 h 1104"/>
                  <a:gd name="T110" fmla="*/ 4769 w 5309"/>
                  <a:gd name="T111" fmla="*/ 901 h 1104"/>
                  <a:gd name="T112" fmla="*/ 4566 w 5309"/>
                  <a:gd name="T113" fmla="*/ 954 h 1104"/>
                  <a:gd name="T114" fmla="*/ 4341 w 5309"/>
                  <a:gd name="T115" fmla="*/ 1002 h 1104"/>
                  <a:gd name="T116" fmla="*/ 4100 w 5309"/>
                  <a:gd name="T117" fmla="*/ 1047 h 1104"/>
                  <a:gd name="T118" fmla="*/ 3844 w 5309"/>
                  <a:gd name="T119" fmla="*/ 1080 h 1104"/>
                  <a:gd name="T120" fmla="*/ 3580 w 5309"/>
                  <a:gd name="T121" fmla="*/ 110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09" h="1104">
                    <a:moveTo>
                      <a:pt x="3401" y="1104"/>
                    </a:moveTo>
                    <a:lnTo>
                      <a:pt x="3331" y="1103"/>
                    </a:lnTo>
                    <a:lnTo>
                      <a:pt x="3262" y="1102"/>
                    </a:lnTo>
                    <a:lnTo>
                      <a:pt x="3191" y="1097"/>
                    </a:lnTo>
                    <a:lnTo>
                      <a:pt x="3121" y="1093"/>
                    </a:lnTo>
                    <a:lnTo>
                      <a:pt x="3052" y="1087"/>
                    </a:lnTo>
                    <a:lnTo>
                      <a:pt x="2983" y="1078"/>
                    </a:lnTo>
                    <a:lnTo>
                      <a:pt x="2914" y="1068"/>
                    </a:lnTo>
                    <a:lnTo>
                      <a:pt x="2846" y="1056"/>
                    </a:lnTo>
                    <a:lnTo>
                      <a:pt x="2778" y="1043"/>
                    </a:lnTo>
                    <a:lnTo>
                      <a:pt x="2711" y="1027"/>
                    </a:lnTo>
                    <a:lnTo>
                      <a:pt x="2644" y="1010"/>
                    </a:lnTo>
                    <a:lnTo>
                      <a:pt x="2578" y="990"/>
                    </a:lnTo>
                    <a:lnTo>
                      <a:pt x="2546" y="981"/>
                    </a:lnTo>
                    <a:lnTo>
                      <a:pt x="2513" y="970"/>
                    </a:lnTo>
                    <a:lnTo>
                      <a:pt x="2481" y="958"/>
                    </a:lnTo>
                    <a:lnTo>
                      <a:pt x="2450" y="946"/>
                    </a:lnTo>
                    <a:lnTo>
                      <a:pt x="2418" y="933"/>
                    </a:lnTo>
                    <a:lnTo>
                      <a:pt x="2386" y="920"/>
                    </a:lnTo>
                    <a:lnTo>
                      <a:pt x="2356" y="906"/>
                    </a:lnTo>
                    <a:lnTo>
                      <a:pt x="2324" y="892"/>
                    </a:lnTo>
                    <a:lnTo>
                      <a:pt x="2265" y="863"/>
                    </a:lnTo>
                    <a:lnTo>
                      <a:pt x="2207" y="835"/>
                    </a:lnTo>
                    <a:lnTo>
                      <a:pt x="2149" y="806"/>
                    </a:lnTo>
                    <a:lnTo>
                      <a:pt x="2093" y="778"/>
                    </a:lnTo>
                    <a:lnTo>
                      <a:pt x="2037" y="750"/>
                    </a:lnTo>
                    <a:lnTo>
                      <a:pt x="1983" y="722"/>
                    </a:lnTo>
                    <a:lnTo>
                      <a:pt x="1930" y="694"/>
                    </a:lnTo>
                    <a:lnTo>
                      <a:pt x="1878" y="666"/>
                    </a:lnTo>
                    <a:lnTo>
                      <a:pt x="1827" y="638"/>
                    </a:lnTo>
                    <a:lnTo>
                      <a:pt x="1777" y="611"/>
                    </a:lnTo>
                    <a:lnTo>
                      <a:pt x="1727" y="582"/>
                    </a:lnTo>
                    <a:lnTo>
                      <a:pt x="1679" y="555"/>
                    </a:lnTo>
                    <a:lnTo>
                      <a:pt x="1631" y="530"/>
                    </a:lnTo>
                    <a:lnTo>
                      <a:pt x="1585" y="503"/>
                    </a:lnTo>
                    <a:lnTo>
                      <a:pt x="1538" y="477"/>
                    </a:lnTo>
                    <a:lnTo>
                      <a:pt x="1493" y="452"/>
                    </a:lnTo>
                    <a:lnTo>
                      <a:pt x="1376" y="386"/>
                    </a:lnTo>
                    <a:lnTo>
                      <a:pt x="1264" y="323"/>
                    </a:lnTo>
                    <a:lnTo>
                      <a:pt x="1210" y="294"/>
                    </a:lnTo>
                    <a:lnTo>
                      <a:pt x="1157" y="266"/>
                    </a:lnTo>
                    <a:lnTo>
                      <a:pt x="1106" y="239"/>
                    </a:lnTo>
                    <a:lnTo>
                      <a:pt x="1056" y="213"/>
                    </a:lnTo>
                    <a:lnTo>
                      <a:pt x="1006" y="188"/>
                    </a:lnTo>
                    <a:lnTo>
                      <a:pt x="957" y="166"/>
                    </a:lnTo>
                    <a:lnTo>
                      <a:pt x="910" y="144"/>
                    </a:lnTo>
                    <a:lnTo>
                      <a:pt x="863" y="125"/>
                    </a:lnTo>
                    <a:lnTo>
                      <a:pt x="817" y="106"/>
                    </a:lnTo>
                    <a:lnTo>
                      <a:pt x="772" y="89"/>
                    </a:lnTo>
                    <a:lnTo>
                      <a:pt x="727" y="74"/>
                    </a:lnTo>
                    <a:lnTo>
                      <a:pt x="683" y="61"/>
                    </a:lnTo>
                    <a:lnTo>
                      <a:pt x="640" y="50"/>
                    </a:lnTo>
                    <a:lnTo>
                      <a:pt x="598" y="41"/>
                    </a:lnTo>
                    <a:lnTo>
                      <a:pt x="555" y="34"/>
                    </a:lnTo>
                    <a:lnTo>
                      <a:pt x="514" y="29"/>
                    </a:lnTo>
                    <a:lnTo>
                      <a:pt x="471" y="25"/>
                    </a:lnTo>
                    <a:lnTo>
                      <a:pt x="430" y="24"/>
                    </a:lnTo>
                    <a:lnTo>
                      <a:pt x="389" y="27"/>
                    </a:lnTo>
                    <a:lnTo>
                      <a:pt x="348" y="30"/>
                    </a:lnTo>
                    <a:lnTo>
                      <a:pt x="307" y="36"/>
                    </a:lnTo>
                    <a:lnTo>
                      <a:pt x="266" y="45"/>
                    </a:lnTo>
                    <a:lnTo>
                      <a:pt x="225" y="57"/>
                    </a:lnTo>
                    <a:lnTo>
                      <a:pt x="185" y="70"/>
                    </a:lnTo>
                    <a:lnTo>
                      <a:pt x="144" y="87"/>
                    </a:lnTo>
                    <a:lnTo>
                      <a:pt x="103" y="106"/>
                    </a:lnTo>
                    <a:lnTo>
                      <a:pt x="61" y="128"/>
                    </a:lnTo>
                    <a:lnTo>
                      <a:pt x="20" y="153"/>
                    </a:lnTo>
                    <a:lnTo>
                      <a:pt x="15" y="155"/>
                    </a:lnTo>
                    <a:lnTo>
                      <a:pt x="9" y="155"/>
                    </a:lnTo>
                    <a:lnTo>
                      <a:pt x="5" y="153"/>
                    </a:lnTo>
                    <a:lnTo>
                      <a:pt x="1" y="149"/>
                    </a:lnTo>
                    <a:lnTo>
                      <a:pt x="0" y="143"/>
                    </a:lnTo>
                    <a:lnTo>
                      <a:pt x="0" y="139"/>
                    </a:lnTo>
                    <a:lnTo>
                      <a:pt x="2" y="133"/>
                    </a:lnTo>
                    <a:lnTo>
                      <a:pt x="5" y="130"/>
                    </a:lnTo>
                    <a:lnTo>
                      <a:pt x="48" y="104"/>
                    </a:lnTo>
                    <a:lnTo>
                      <a:pt x="91" y="82"/>
                    </a:lnTo>
                    <a:lnTo>
                      <a:pt x="133" y="62"/>
                    </a:lnTo>
                    <a:lnTo>
                      <a:pt x="176" y="45"/>
                    </a:lnTo>
                    <a:lnTo>
                      <a:pt x="219" y="31"/>
                    </a:lnTo>
                    <a:lnTo>
                      <a:pt x="261" y="20"/>
                    </a:lnTo>
                    <a:lnTo>
                      <a:pt x="303" y="11"/>
                    </a:lnTo>
                    <a:lnTo>
                      <a:pt x="346" y="5"/>
                    </a:lnTo>
                    <a:lnTo>
                      <a:pt x="388" y="1"/>
                    </a:lnTo>
                    <a:lnTo>
                      <a:pt x="431" y="0"/>
                    </a:lnTo>
                    <a:lnTo>
                      <a:pt x="474" y="1"/>
                    </a:lnTo>
                    <a:lnTo>
                      <a:pt x="517" y="4"/>
                    </a:lnTo>
                    <a:lnTo>
                      <a:pt x="561" y="9"/>
                    </a:lnTo>
                    <a:lnTo>
                      <a:pt x="604" y="17"/>
                    </a:lnTo>
                    <a:lnTo>
                      <a:pt x="649" y="27"/>
                    </a:lnTo>
                    <a:lnTo>
                      <a:pt x="693" y="37"/>
                    </a:lnTo>
                    <a:lnTo>
                      <a:pt x="738" y="51"/>
                    </a:lnTo>
                    <a:lnTo>
                      <a:pt x="785" y="66"/>
                    </a:lnTo>
                    <a:lnTo>
                      <a:pt x="830" y="84"/>
                    </a:lnTo>
                    <a:lnTo>
                      <a:pt x="877" y="102"/>
                    </a:lnTo>
                    <a:lnTo>
                      <a:pt x="925" y="123"/>
                    </a:lnTo>
                    <a:lnTo>
                      <a:pt x="974" y="144"/>
                    </a:lnTo>
                    <a:lnTo>
                      <a:pt x="1022" y="167"/>
                    </a:lnTo>
                    <a:lnTo>
                      <a:pt x="1072" y="192"/>
                    </a:lnTo>
                    <a:lnTo>
                      <a:pt x="1123" y="218"/>
                    </a:lnTo>
                    <a:lnTo>
                      <a:pt x="1174" y="245"/>
                    </a:lnTo>
                    <a:lnTo>
                      <a:pt x="1227" y="273"/>
                    </a:lnTo>
                    <a:lnTo>
                      <a:pt x="1281" y="302"/>
                    </a:lnTo>
                    <a:lnTo>
                      <a:pt x="1391" y="363"/>
                    </a:lnTo>
                    <a:lnTo>
                      <a:pt x="1507" y="428"/>
                    </a:lnTo>
                    <a:lnTo>
                      <a:pt x="1551" y="454"/>
                    </a:lnTo>
                    <a:lnTo>
                      <a:pt x="1598" y="480"/>
                    </a:lnTo>
                    <a:lnTo>
                      <a:pt x="1644" y="506"/>
                    </a:lnTo>
                    <a:lnTo>
                      <a:pt x="1692" y="533"/>
                    </a:lnTo>
                    <a:lnTo>
                      <a:pt x="1740" y="559"/>
                    </a:lnTo>
                    <a:lnTo>
                      <a:pt x="1790" y="587"/>
                    </a:lnTo>
                    <a:lnTo>
                      <a:pt x="1840" y="614"/>
                    </a:lnTo>
                    <a:lnTo>
                      <a:pt x="1891" y="642"/>
                    </a:lnTo>
                    <a:lnTo>
                      <a:pt x="1943" y="669"/>
                    </a:lnTo>
                    <a:lnTo>
                      <a:pt x="1996" y="697"/>
                    </a:lnTo>
                    <a:lnTo>
                      <a:pt x="2050" y="726"/>
                    </a:lnTo>
                    <a:lnTo>
                      <a:pt x="2105" y="754"/>
                    </a:lnTo>
                    <a:lnTo>
                      <a:pt x="2161" y="782"/>
                    </a:lnTo>
                    <a:lnTo>
                      <a:pt x="2219" y="810"/>
                    </a:lnTo>
                    <a:lnTo>
                      <a:pt x="2277" y="839"/>
                    </a:lnTo>
                    <a:lnTo>
                      <a:pt x="2336" y="867"/>
                    </a:lnTo>
                    <a:lnTo>
                      <a:pt x="2446" y="916"/>
                    </a:lnTo>
                    <a:lnTo>
                      <a:pt x="2560" y="957"/>
                    </a:lnTo>
                    <a:lnTo>
                      <a:pt x="2675" y="990"/>
                    </a:lnTo>
                    <a:lnTo>
                      <a:pt x="2794" y="1019"/>
                    </a:lnTo>
                    <a:lnTo>
                      <a:pt x="2915" y="1041"/>
                    </a:lnTo>
                    <a:lnTo>
                      <a:pt x="3037" y="1057"/>
                    </a:lnTo>
                    <a:lnTo>
                      <a:pt x="3159" y="1068"/>
                    </a:lnTo>
                    <a:lnTo>
                      <a:pt x="3283" y="1075"/>
                    </a:lnTo>
                    <a:lnTo>
                      <a:pt x="3406" y="1077"/>
                    </a:lnTo>
                    <a:lnTo>
                      <a:pt x="3529" y="1075"/>
                    </a:lnTo>
                    <a:lnTo>
                      <a:pt x="3653" y="1069"/>
                    </a:lnTo>
                    <a:lnTo>
                      <a:pt x="3775" y="1060"/>
                    </a:lnTo>
                    <a:lnTo>
                      <a:pt x="3894" y="1047"/>
                    </a:lnTo>
                    <a:lnTo>
                      <a:pt x="4012" y="1032"/>
                    </a:lnTo>
                    <a:lnTo>
                      <a:pt x="4128" y="1014"/>
                    </a:lnTo>
                    <a:lnTo>
                      <a:pt x="4240" y="995"/>
                    </a:lnTo>
                    <a:lnTo>
                      <a:pt x="4349" y="974"/>
                    </a:lnTo>
                    <a:lnTo>
                      <a:pt x="4455" y="952"/>
                    </a:lnTo>
                    <a:lnTo>
                      <a:pt x="4555" y="928"/>
                    </a:lnTo>
                    <a:lnTo>
                      <a:pt x="4652" y="904"/>
                    </a:lnTo>
                    <a:lnTo>
                      <a:pt x="4744" y="880"/>
                    </a:lnTo>
                    <a:lnTo>
                      <a:pt x="4830" y="857"/>
                    </a:lnTo>
                    <a:lnTo>
                      <a:pt x="4909" y="833"/>
                    </a:lnTo>
                    <a:lnTo>
                      <a:pt x="4984" y="810"/>
                    </a:lnTo>
                    <a:lnTo>
                      <a:pt x="5050" y="790"/>
                    </a:lnTo>
                    <a:lnTo>
                      <a:pt x="5109" y="769"/>
                    </a:lnTo>
                    <a:lnTo>
                      <a:pt x="5161" y="752"/>
                    </a:lnTo>
                    <a:lnTo>
                      <a:pt x="5205" y="737"/>
                    </a:lnTo>
                    <a:lnTo>
                      <a:pt x="5267" y="714"/>
                    </a:lnTo>
                    <a:lnTo>
                      <a:pt x="5290" y="704"/>
                    </a:lnTo>
                    <a:lnTo>
                      <a:pt x="5295" y="703"/>
                    </a:lnTo>
                    <a:lnTo>
                      <a:pt x="5300" y="704"/>
                    </a:lnTo>
                    <a:lnTo>
                      <a:pt x="5305" y="708"/>
                    </a:lnTo>
                    <a:lnTo>
                      <a:pt x="5308" y="712"/>
                    </a:lnTo>
                    <a:lnTo>
                      <a:pt x="5309" y="717"/>
                    </a:lnTo>
                    <a:lnTo>
                      <a:pt x="5308" y="723"/>
                    </a:lnTo>
                    <a:lnTo>
                      <a:pt x="5305" y="727"/>
                    </a:lnTo>
                    <a:lnTo>
                      <a:pt x="5300" y="729"/>
                    </a:lnTo>
                    <a:lnTo>
                      <a:pt x="5287" y="735"/>
                    </a:lnTo>
                    <a:lnTo>
                      <a:pt x="5254" y="748"/>
                    </a:lnTo>
                    <a:lnTo>
                      <a:pt x="5202" y="766"/>
                    </a:lnTo>
                    <a:lnTo>
                      <a:pt x="5132" y="791"/>
                    </a:lnTo>
                    <a:lnTo>
                      <a:pt x="5047" y="819"/>
                    </a:lnTo>
                    <a:lnTo>
                      <a:pt x="4945" y="850"/>
                    </a:lnTo>
                    <a:lnTo>
                      <a:pt x="4890" y="867"/>
                    </a:lnTo>
                    <a:lnTo>
                      <a:pt x="4831" y="884"/>
                    </a:lnTo>
                    <a:lnTo>
                      <a:pt x="4769" y="901"/>
                    </a:lnTo>
                    <a:lnTo>
                      <a:pt x="4704" y="919"/>
                    </a:lnTo>
                    <a:lnTo>
                      <a:pt x="4636" y="937"/>
                    </a:lnTo>
                    <a:lnTo>
                      <a:pt x="4566" y="954"/>
                    </a:lnTo>
                    <a:lnTo>
                      <a:pt x="4494" y="970"/>
                    </a:lnTo>
                    <a:lnTo>
                      <a:pt x="4418" y="987"/>
                    </a:lnTo>
                    <a:lnTo>
                      <a:pt x="4341" y="1002"/>
                    </a:lnTo>
                    <a:lnTo>
                      <a:pt x="4263" y="1019"/>
                    </a:lnTo>
                    <a:lnTo>
                      <a:pt x="4182" y="1033"/>
                    </a:lnTo>
                    <a:lnTo>
                      <a:pt x="4100" y="1047"/>
                    </a:lnTo>
                    <a:lnTo>
                      <a:pt x="4015" y="1059"/>
                    </a:lnTo>
                    <a:lnTo>
                      <a:pt x="3930" y="1069"/>
                    </a:lnTo>
                    <a:lnTo>
                      <a:pt x="3844" y="1080"/>
                    </a:lnTo>
                    <a:lnTo>
                      <a:pt x="3756" y="1088"/>
                    </a:lnTo>
                    <a:lnTo>
                      <a:pt x="3669" y="1095"/>
                    </a:lnTo>
                    <a:lnTo>
                      <a:pt x="3580" y="1100"/>
                    </a:lnTo>
                    <a:lnTo>
                      <a:pt x="3491" y="1103"/>
                    </a:lnTo>
                    <a:lnTo>
                      <a:pt x="3401" y="1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04"/>
              <p:cNvSpPr>
                <a:spLocks/>
              </p:cNvSpPr>
              <p:nvPr userDrawn="1"/>
            </p:nvSpPr>
            <p:spPr bwMode="auto">
              <a:xfrm>
                <a:off x="1234" y="3493"/>
                <a:ext cx="1642" cy="269"/>
              </a:xfrm>
              <a:custGeom>
                <a:avLst/>
                <a:gdLst>
                  <a:gd name="T0" fmla="*/ 2702 w 4926"/>
                  <a:gd name="T1" fmla="*/ 808 h 808"/>
                  <a:gd name="T2" fmla="*/ 2521 w 4926"/>
                  <a:gd name="T3" fmla="*/ 798 h 808"/>
                  <a:gd name="T4" fmla="*/ 2314 w 4926"/>
                  <a:gd name="T5" fmla="*/ 769 h 808"/>
                  <a:gd name="T6" fmla="*/ 2115 w 4926"/>
                  <a:gd name="T7" fmla="*/ 725 h 808"/>
                  <a:gd name="T8" fmla="*/ 1925 w 4926"/>
                  <a:gd name="T9" fmla="*/ 668 h 808"/>
                  <a:gd name="T10" fmla="*/ 1742 w 4926"/>
                  <a:gd name="T11" fmla="*/ 602 h 808"/>
                  <a:gd name="T12" fmla="*/ 1441 w 4926"/>
                  <a:gd name="T13" fmla="*/ 470 h 808"/>
                  <a:gd name="T14" fmla="*/ 1119 w 4926"/>
                  <a:gd name="T15" fmla="*/ 314 h 808"/>
                  <a:gd name="T16" fmla="*/ 813 w 4926"/>
                  <a:gd name="T17" fmla="*/ 172 h 808"/>
                  <a:gd name="T18" fmla="*/ 628 w 4926"/>
                  <a:gd name="T19" fmla="*/ 102 h 808"/>
                  <a:gd name="T20" fmla="*/ 482 w 4926"/>
                  <a:gd name="T21" fmla="*/ 60 h 808"/>
                  <a:gd name="T22" fmla="*/ 339 w 4926"/>
                  <a:gd name="T23" fmla="*/ 34 h 808"/>
                  <a:gd name="T24" fmla="*/ 195 w 4926"/>
                  <a:gd name="T25" fmla="*/ 28 h 808"/>
                  <a:gd name="T26" fmla="*/ 51 w 4926"/>
                  <a:gd name="T27" fmla="*/ 43 h 808"/>
                  <a:gd name="T28" fmla="*/ 2 w 4926"/>
                  <a:gd name="T29" fmla="*/ 46 h 808"/>
                  <a:gd name="T30" fmla="*/ 5 w 4926"/>
                  <a:gd name="T31" fmla="*/ 27 h 808"/>
                  <a:gd name="T32" fmla="*/ 120 w 4926"/>
                  <a:gd name="T33" fmla="*/ 6 h 808"/>
                  <a:gd name="T34" fmla="*/ 266 w 4926"/>
                  <a:gd name="T35" fmla="*/ 1 h 808"/>
                  <a:gd name="T36" fmla="*/ 412 w 4926"/>
                  <a:gd name="T37" fmla="*/ 18 h 808"/>
                  <a:gd name="T38" fmla="*/ 559 w 4926"/>
                  <a:gd name="T39" fmla="*/ 52 h 808"/>
                  <a:gd name="T40" fmla="*/ 707 w 4926"/>
                  <a:gd name="T41" fmla="*/ 101 h 808"/>
                  <a:gd name="T42" fmla="*/ 974 w 4926"/>
                  <a:gd name="T43" fmla="*/ 214 h 808"/>
                  <a:gd name="T44" fmla="*/ 1290 w 4926"/>
                  <a:gd name="T45" fmla="*/ 367 h 808"/>
                  <a:gd name="T46" fmla="*/ 1620 w 4926"/>
                  <a:gd name="T47" fmla="*/ 522 h 808"/>
                  <a:gd name="T48" fmla="*/ 1841 w 4926"/>
                  <a:gd name="T49" fmla="*/ 610 h 808"/>
                  <a:gd name="T50" fmla="*/ 2025 w 4926"/>
                  <a:gd name="T51" fmla="*/ 672 h 808"/>
                  <a:gd name="T52" fmla="*/ 2217 w 4926"/>
                  <a:gd name="T53" fmla="*/ 722 h 808"/>
                  <a:gd name="T54" fmla="*/ 2419 w 4926"/>
                  <a:gd name="T55" fmla="*/ 758 h 808"/>
                  <a:gd name="T56" fmla="*/ 2630 w 4926"/>
                  <a:gd name="T57" fmla="*/ 779 h 808"/>
                  <a:gd name="T58" fmla="*/ 2893 w 4926"/>
                  <a:gd name="T59" fmla="*/ 778 h 808"/>
                  <a:gd name="T60" fmla="*/ 3154 w 4926"/>
                  <a:gd name="T61" fmla="*/ 756 h 808"/>
                  <a:gd name="T62" fmla="*/ 3396 w 4926"/>
                  <a:gd name="T63" fmla="*/ 719 h 808"/>
                  <a:gd name="T64" fmla="*/ 3621 w 4926"/>
                  <a:gd name="T65" fmla="*/ 675 h 808"/>
                  <a:gd name="T66" fmla="*/ 3916 w 4926"/>
                  <a:gd name="T67" fmla="*/ 617 h 808"/>
                  <a:gd name="T68" fmla="*/ 4109 w 4926"/>
                  <a:gd name="T69" fmla="*/ 588 h 808"/>
                  <a:gd name="T70" fmla="*/ 4263 w 4926"/>
                  <a:gd name="T71" fmla="*/ 575 h 808"/>
                  <a:gd name="T72" fmla="*/ 4414 w 4926"/>
                  <a:gd name="T73" fmla="*/ 576 h 808"/>
                  <a:gd name="T74" fmla="*/ 4566 w 4926"/>
                  <a:gd name="T75" fmla="*/ 593 h 808"/>
                  <a:gd name="T76" fmla="*/ 4720 w 4926"/>
                  <a:gd name="T77" fmla="*/ 630 h 808"/>
                  <a:gd name="T78" fmla="*/ 4878 w 4926"/>
                  <a:gd name="T79" fmla="*/ 689 h 808"/>
                  <a:gd name="T80" fmla="*/ 4926 w 4926"/>
                  <a:gd name="T81" fmla="*/ 721 h 808"/>
                  <a:gd name="T82" fmla="*/ 4912 w 4926"/>
                  <a:gd name="T83" fmla="*/ 734 h 808"/>
                  <a:gd name="T84" fmla="*/ 4790 w 4926"/>
                  <a:gd name="T85" fmla="*/ 681 h 808"/>
                  <a:gd name="T86" fmla="*/ 4636 w 4926"/>
                  <a:gd name="T87" fmla="*/ 635 h 808"/>
                  <a:gd name="T88" fmla="*/ 4485 w 4926"/>
                  <a:gd name="T89" fmla="*/ 609 h 808"/>
                  <a:gd name="T90" fmla="*/ 4336 w 4926"/>
                  <a:gd name="T91" fmla="*/ 600 h 808"/>
                  <a:gd name="T92" fmla="*/ 4186 w 4926"/>
                  <a:gd name="T93" fmla="*/ 607 h 808"/>
                  <a:gd name="T94" fmla="*/ 4034 w 4926"/>
                  <a:gd name="T95" fmla="*/ 625 h 808"/>
                  <a:gd name="T96" fmla="*/ 3762 w 4926"/>
                  <a:gd name="T97" fmla="*/ 674 h 808"/>
                  <a:gd name="T98" fmla="*/ 3525 w 4926"/>
                  <a:gd name="T99" fmla="*/ 722 h 808"/>
                  <a:gd name="T100" fmla="*/ 3306 w 4926"/>
                  <a:gd name="T101" fmla="*/ 761 h 808"/>
                  <a:gd name="T102" fmla="*/ 3072 w 4926"/>
                  <a:gd name="T103" fmla="*/ 792 h 808"/>
                  <a:gd name="T104" fmla="*/ 2820 w 4926"/>
                  <a:gd name="T105"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26" h="808">
                    <a:moveTo>
                      <a:pt x="2754" y="808"/>
                    </a:moveTo>
                    <a:lnTo>
                      <a:pt x="2737" y="808"/>
                    </a:lnTo>
                    <a:lnTo>
                      <a:pt x="2720" y="808"/>
                    </a:lnTo>
                    <a:lnTo>
                      <a:pt x="2702" y="808"/>
                    </a:lnTo>
                    <a:lnTo>
                      <a:pt x="2684" y="807"/>
                    </a:lnTo>
                    <a:lnTo>
                      <a:pt x="2629" y="806"/>
                    </a:lnTo>
                    <a:lnTo>
                      <a:pt x="2575" y="802"/>
                    </a:lnTo>
                    <a:lnTo>
                      <a:pt x="2521" y="798"/>
                    </a:lnTo>
                    <a:lnTo>
                      <a:pt x="2468" y="793"/>
                    </a:lnTo>
                    <a:lnTo>
                      <a:pt x="2416" y="785"/>
                    </a:lnTo>
                    <a:lnTo>
                      <a:pt x="2364" y="778"/>
                    </a:lnTo>
                    <a:lnTo>
                      <a:pt x="2314" y="769"/>
                    </a:lnTo>
                    <a:lnTo>
                      <a:pt x="2263" y="759"/>
                    </a:lnTo>
                    <a:lnTo>
                      <a:pt x="2213" y="748"/>
                    </a:lnTo>
                    <a:lnTo>
                      <a:pt x="2163" y="738"/>
                    </a:lnTo>
                    <a:lnTo>
                      <a:pt x="2115" y="725"/>
                    </a:lnTo>
                    <a:lnTo>
                      <a:pt x="2066" y="712"/>
                    </a:lnTo>
                    <a:lnTo>
                      <a:pt x="2019" y="698"/>
                    </a:lnTo>
                    <a:lnTo>
                      <a:pt x="1971" y="684"/>
                    </a:lnTo>
                    <a:lnTo>
                      <a:pt x="1925" y="668"/>
                    </a:lnTo>
                    <a:lnTo>
                      <a:pt x="1878" y="652"/>
                    </a:lnTo>
                    <a:lnTo>
                      <a:pt x="1832" y="636"/>
                    </a:lnTo>
                    <a:lnTo>
                      <a:pt x="1788" y="619"/>
                    </a:lnTo>
                    <a:lnTo>
                      <a:pt x="1742" y="602"/>
                    </a:lnTo>
                    <a:lnTo>
                      <a:pt x="1698" y="583"/>
                    </a:lnTo>
                    <a:lnTo>
                      <a:pt x="1611" y="546"/>
                    </a:lnTo>
                    <a:lnTo>
                      <a:pt x="1525" y="509"/>
                    </a:lnTo>
                    <a:lnTo>
                      <a:pt x="1441" y="470"/>
                    </a:lnTo>
                    <a:lnTo>
                      <a:pt x="1359" y="431"/>
                    </a:lnTo>
                    <a:lnTo>
                      <a:pt x="1278" y="392"/>
                    </a:lnTo>
                    <a:lnTo>
                      <a:pt x="1199" y="353"/>
                    </a:lnTo>
                    <a:lnTo>
                      <a:pt x="1119" y="314"/>
                    </a:lnTo>
                    <a:lnTo>
                      <a:pt x="1040" y="276"/>
                    </a:lnTo>
                    <a:lnTo>
                      <a:pt x="964" y="239"/>
                    </a:lnTo>
                    <a:lnTo>
                      <a:pt x="887" y="204"/>
                    </a:lnTo>
                    <a:lnTo>
                      <a:pt x="813" y="172"/>
                    </a:lnTo>
                    <a:lnTo>
                      <a:pt x="738" y="142"/>
                    </a:lnTo>
                    <a:lnTo>
                      <a:pt x="701" y="128"/>
                    </a:lnTo>
                    <a:lnTo>
                      <a:pt x="665" y="114"/>
                    </a:lnTo>
                    <a:lnTo>
                      <a:pt x="628" y="102"/>
                    </a:lnTo>
                    <a:lnTo>
                      <a:pt x="591" y="90"/>
                    </a:lnTo>
                    <a:lnTo>
                      <a:pt x="555" y="79"/>
                    </a:lnTo>
                    <a:lnTo>
                      <a:pt x="519" y="68"/>
                    </a:lnTo>
                    <a:lnTo>
                      <a:pt x="482" y="60"/>
                    </a:lnTo>
                    <a:lnTo>
                      <a:pt x="447" y="52"/>
                    </a:lnTo>
                    <a:lnTo>
                      <a:pt x="411" y="45"/>
                    </a:lnTo>
                    <a:lnTo>
                      <a:pt x="374" y="39"/>
                    </a:lnTo>
                    <a:lnTo>
                      <a:pt x="339" y="34"/>
                    </a:lnTo>
                    <a:lnTo>
                      <a:pt x="303" y="31"/>
                    </a:lnTo>
                    <a:lnTo>
                      <a:pt x="267" y="28"/>
                    </a:lnTo>
                    <a:lnTo>
                      <a:pt x="232" y="27"/>
                    </a:lnTo>
                    <a:lnTo>
                      <a:pt x="195" y="28"/>
                    </a:lnTo>
                    <a:lnTo>
                      <a:pt x="159" y="29"/>
                    </a:lnTo>
                    <a:lnTo>
                      <a:pt x="124" y="33"/>
                    </a:lnTo>
                    <a:lnTo>
                      <a:pt x="88" y="37"/>
                    </a:lnTo>
                    <a:lnTo>
                      <a:pt x="51" y="43"/>
                    </a:lnTo>
                    <a:lnTo>
                      <a:pt x="16" y="51"/>
                    </a:lnTo>
                    <a:lnTo>
                      <a:pt x="10" y="51"/>
                    </a:lnTo>
                    <a:lnTo>
                      <a:pt x="5" y="50"/>
                    </a:lnTo>
                    <a:lnTo>
                      <a:pt x="2" y="46"/>
                    </a:lnTo>
                    <a:lnTo>
                      <a:pt x="0" y="41"/>
                    </a:lnTo>
                    <a:lnTo>
                      <a:pt x="0" y="36"/>
                    </a:lnTo>
                    <a:lnTo>
                      <a:pt x="1" y="31"/>
                    </a:lnTo>
                    <a:lnTo>
                      <a:pt x="5" y="27"/>
                    </a:lnTo>
                    <a:lnTo>
                      <a:pt x="9" y="25"/>
                    </a:lnTo>
                    <a:lnTo>
                      <a:pt x="46" y="18"/>
                    </a:lnTo>
                    <a:lnTo>
                      <a:pt x="84" y="11"/>
                    </a:lnTo>
                    <a:lnTo>
                      <a:pt x="120" y="6"/>
                    </a:lnTo>
                    <a:lnTo>
                      <a:pt x="157" y="2"/>
                    </a:lnTo>
                    <a:lnTo>
                      <a:pt x="194" y="1"/>
                    </a:lnTo>
                    <a:lnTo>
                      <a:pt x="230" y="0"/>
                    </a:lnTo>
                    <a:lnTo>
                      <a:pt x="266" y="1"/>
                    </a:lnTo>
                    <a:lnTo>
                      <a:pt x="303" y="4"/>
                    </a:lnTo>
                    <a:lnTo>
                      <a:pt x="340" y="7"/>
                    </a:lnTo>
                    <a:lnTo>
                      <a:pt x="376" y="12"/>
                    </a:lnTo>
                    <a:lnTo>
                      <a:pt x="412" y="18"/>
                    </a:lnTo>
                    <a:lnTo>
                      <a:pt x="449" y="24"/>
                    </a:lnTo>
                    <a:lnTo>
                      <a:pt x="485" y="33"/>
                    </a:lnTo>
                    <a:lnTo>
                      <a:pt x="522" y="41"/>
                    </a:lnTo>
                    <a:lnTo>
                      <a:pt x="559" y="52"/>
                    </a:lnTo>
                    <a:lnTo>
                      <a:pt x="596" y="63"/>
                    </a:lnTo>
                    <a:lnTo>
                      <a:pt x="633" y="75"/>
                    </a:lnTo>
                    <a:lnTo>
                      <a:pt x="670" y="87"/>
                    </a:lnTo>
                    <a:lnTo>
                      <a:pt x="707" y="101"/>
                    </a:lnTo>
                    <a:lnTo>
                      <a:pt x="745" y="115"/>
                    </a:lnTo>
                    <a:lnTo>
                      <a:pt x="820" y="146"/>
                    </a:lnTo>
                    <a:lnTo>
                      <a:pt x="896" y="178"/>
                    </a:lnTo>
                    <a:lnTo>
                      <a:pt x="974" y="214"/>
                    </a:lnTo>
                    <a:lnTo>
                      <a:pt x="1051" y="251"/>
                    </a:lnTo>
                    <a:lnTo>
                      <a:pt x="1130" y="290"/>
                    </a:lnTo>
                    <a:lnTo>
                      <a:pt x="1211" y="328"/>
                    </a:lnTo>
                    <a:lnTo>
                      <a:pt x="1290" y="367"/>
                    </a:lnTo>
                    <a:lnTo>
                      <a:pt x="1370" y="406"/>
                    </a:lnTo>
                    <a:lnTo>
                      <a:pt x="1452" y="445"/>
                    </a:lnTo>
                    <a:lnTo>
                      <a:pt x="1535" y="484"/>
                    </a:lnTo>
                    <a:lnTo>
                      <a:pt x="1620" y="522"/>
                    </a:lnTo>
                    <a:lnTo>
                      <a:pt x="1707" y="558"/>
                    </a:lnTo>
                    <a:lnTo>
                      <a:pt x="1751" y="576"/>
                    </a:lnTo>
                    <a:lnTo>
                      <a:pt x="1795" y="593"/>
                    </a:lnTo>
                    <a:lnTo>
                      <a:pt x="1841" y="610"/>
                    </a:lnTo>
                    <a:lnTo>
                      <a:pt x="1886" y="626"/>
                    </a:lnTo>
                    <a:lnTo>
                      <a:pt x="1931" y="641"/>
                    </a:lnTo>
                    <a:lnTo>
                      <a:pt x="1978" y="657"/>
                    </a:lnTo>
                    <a:lnTo>
                      <a:pt x="2025" y="672"/>
                    </a:lnTo>
                    <a:lnTo>
                      <a:pt x="2073" y="686"/>
                    </a:lnTo>
                    <a:lnTo>
                      <a:pt x="2120" y="699"/>
                    </a:lnTo>
                    <a:lnTo>
                      <a:pt x="2169" y="711"/>
                    </a:lnTo>
                    <a:lnTo>
                      <a:pt x="2217" y="722"/>
                    </a:lnTo>
                    <a:lnTo>
                      <a:pt x="2267" y="732"/>
                    </a:lnTo>
                    <a:lnTo>
                      <a:pt x="2317" y="742"/>
                    </a:lnTo>
                    <a:lnTo>
                      <a:pt x="2368" y="751"/>
                    </a:lnTo>
                    <a:lnTo>
                      <a:pt x="2419" y="758"/>
                    </a:lnTo>
                    <a:lnTo>
                      <a:pt x="2471" y="766"/>
                    </a:lnTo>
                    <a:lnTo>
                      <a:pt x="2524" y="771"/>
                    </a:lnTo>
                    <a:lnTo>
                      <a:pt x="2577" y="775"/>
                    </a:lnTo>
                    <a:lnTo>
                      <a:pt x="2630" y="779"/>
                    </a:lnTo>
                    <a:lnTo>
                      <a:pt x="2685" y="780"/>
                    </a:lnTo>
                    <a:lnTo>
                      <a:pt x="2755" y="781"/>
                    </a:lnTo>
                    <a:lnTo>
                      <a:pt x="2825" y="780"/>
                    </a:lnTo>
                    <a:lnTo>
                      <a:pt x="2893" y="778"/>
                    </a:lnTo>
                    <a:lnTo>
                      <a:pt x="2960" y="774"/>
                    </a:lnTo>
                    <a:lnTo>
                      <a:pt x="3025" y="769"/>
                    </a:lnTo>
                    <a:lnTo>
                      <a:pt x="3090" y="762"/>
                    </a:lnTo>
                    <a:lnTo>
                      <a:pt x="3154" y="756"/>
                    </a:lnTo>
                    <a:lnTo>
                      <a:pt x="3215" y="747"/>
                    </a:lnTo>
                    <a:lnTo>
                      <a:pt x="3277" y="739"/>
                    </a:lnTo>
                    <a:lnTo>
                      <a:pt x="3337" y="729"/>
                    </a:lnTo>
                    <a:lnTo>
                      <a:pt x="3396" y="719"/>
                    </a:lnTo>
                    <a:lnTo>
                      <a:pt x="3454" y="708"/>
                    </a:lnTo>
                    <a:lnTo>
                      <a:pt x="3510" y="698"/>
                    </a:lnTo>
                    <a:lnTo>
                      <a:pt x="3566" y="687"/>
                    </a:lnTo>
                    <a:lnTo>
                      <a:pt x="3621" y="675"/>
                    </a:lnTo>
                    <a:lnTo>
                      <a:pt x="3675" y="664"/>
                    </a:lnTo>
                    <a:lnTo>
                      <a:pt x="3756" y="648"/>
                    </a:lnTo>
                    <a:lnTo>
                      <a:pt x="3837" y="632"/>
                    </a:lnTo>
                    <a:lnTo>
                      <a:pt x="3916" y="617"/>
                    </a:lnTo>
                    <a:lnTo>
                      <a:pt x="3994" y="604"/>
                    </a:lnTo>
                    <a:lnTo>
                      <a:pt x="4033" y="597"/>
                    </a:lnTo>
                    <a:lnTo>
                      <a:pt x="4071" y="592"/>
                    </a:lnTo>
                    <a:lnTo>
                      <a:pt x="4109" y="588"/>
                    </a:lnTo>
                    <a:lnTo>
                      <a:pt x="4148" y="583"/>
                    </a:lnTo>
                    <a:lnTo>
                      <a:pt x="4186" y="580"/>
                    </a:lnTo>
                    <a:lnTo>
                      <a:pt x="4224" y="577"/>
                    </a:lnTo>
                    <a:lnTo>
                      <a:pt x="4263" y="575"/>
                    </a:lnTo>
                    <a:lnTo>
                      <a:pt x="4300" y="573"/>
                    </a:lnTo>
                    <a:lnTo>
                      <a:pt x="4338" y="573"/>
                    </a:lnTo>
                    <a:lnTo>
                      <a:pt x="4376" y="573"/>
                    </a:lnTo>
                    <a:lnTo>
                      <a:pt x="4414" y="576"/>
                    </a:lnTo>
                    <a:lnTo>
                      <a:pt x="4452" y="578"/>
                    </a:lnTo>
                    <a:lnTo>
                      <a:pt x="4490" y="582"/>
                    </a:lnTo>
                    <a:lnTo>
                      <a:pt x="4528" y="586"/>
                    </a:lnTo>
                    <a:lnTo>
                      <a:pt x="4566" y="593"/>
                    </a:lnTo>
                    <a:lnTo>
                      <a:pt x="4605" y="599"/>
                    </a:lnTo>
                    <a:lnTo>
                      <a:pt x="4644" y="608"/>
                    </a:lnTo>
                    <a:lnTo>
                      <a:pt x="4682" y="619"/>
                    </a:lnTo>
                    <a:lnTo>
                      <a:pt x="4720" y="630"/>
                    </a:lnTo>
                    <a:lnTo>
                      <a:pt x="4759" y="643"/>
                    </a:lnTo>
                    <a:lnTo>
                      <a:pt x="4799" y="657"/>
                    </a:lnTo>
                    <a:lnTo>
                      <a:pt x="4838" y="672"/>
                    </a:lnTo>
                    <a:lnTo>
                      <a:pt x="4878" y="689"/>
                    </a:lnTo>
                    <a:lnTo>
                      <a:pt x="4918" y="708"/>
                    </a:lnTo>
                    <a:lnTo>
                      <a:pt x="4922" y="712"/>
                    </a:lnTo>
                    <a:lnTo>
                      <a:pt x="4925" y="716"/>
                    </a:lnTo>
                    <a:lnTo>
                      <a:pt x="4926" y="721"/>
                    </a:lnTo>
                    <a:lnTo>
                      <a:pt x="4925" y="727"/>
                    </a:lnTo>
                    <a:lnTo>
                      <a:pt x="4921" y="731"/>
                    </a:lnTo>
                    <a:lnTo>
                      <a:pt x="4916" y="733"/>
                    </a:lnTo>
                    <a:lnTo>
                      <a:pt x="4912" y="734"/>
                    </a:lnTo>
                    <a:lnTo>
                      <a:pt x="4906" y="732"/>
                    </a:lnTo>
                    <a:lnTo>
                      <a:pt x="4867" y="714"/>
                    </a:lnTo>
                    <a:lnTo>
                      <a:pt x="4828" y="698"/>
                    </a:lnTo>
                    <a:lnTo>
                      <a:pt x="4790" y="681"/>
                    </a:lnTo>
                    <a:lnTo>
                      <a:pt x="4751" y="667"/>
                    </a:lnTo>
                    <a:lnTo>
                      <a:pt x="4713" y="656"/>
                    </a:lnTo>
                    <a:lnTo>
                      <a:pt x="4674" y="645"/>
                    </a:lnTo>
                    <a:lnTo>
                      <a:pt x="4636" y="635"/>
                    </a:lnTo>
                    <a:lnTo>
                      <a:pt x="4598" y="626"/>
                    </a:lnTo>
                    <a:lnTo>
                      <a:pt x="4561" y="619"/>
                    </a:lnTo>
                    <a:lnTo>
                      <a:pt x="4523" y="613"/>
                    </a:lnTo>
                    <a:lnTo>
                      <a:pt x="4485" y="609"/>
                    </a:lnTo>
                    <a:lnTo>
                      <a:pt x="4448" y="605"/>
                    </a:lnTo>
                    <a:lnTo>
                      <a:pt x="4411" y="603"/>
                    </a:lnTo>
                    <a:lnTo>
                      <a:pt x="4373" y="600"/>
                    </a:lnTo>
                    <a:lnTo>
                      <a:pt x="4336" y="600"/>
                    </a:lnTo>
                    <a:lnTo>
                      <a:pt x="4298" y="600"/>
                    </a:lnTo>
                    <a:lnTo>
                      <a:pt x="4260" y="602"/>
                    </a:lnTo>
                    <a:lnTo>
                      <a:pt x="4223" y="604"/>
                    </a:lnTo>
                    <a:lnTo>
                      <a:pt x="4186" y="607"/>
                    </a:lnTo>
                    <a:lnTo>
                      <a:pt x="4148" y="610"/>
                    </a:lnTo>
                    <a:lnTo>
                      <a:pt x="4110" y="615"/>
                    </a:lnTo>
                    <a:lnTo>
                      <a:pt x="4073" y="620"/>
                    </a:lnTo>
                    <a:lnTo>
                      <a:pt x="4034" y="625"/>
                    </a:lnTo>
                    <a:lnTo>
                      <a:pt x="3996" y="631"/>
                    </a:lnTo>
                    <a:lnTo>
                      <a:pt x="3918" y="644"/>
                    </a:lnTo>
                    <a:lnTo>
                      <a:pt x="3840" y="659"/>
                    </a:lnTo>
                    <a:lnTo>
                      <a:pt x="3762" y="674"/>
                    </a:lnTo>
                    <a:lnTo>
                      <a:pt x="3681" y="691"/>
                    </a:lnTo>
                    <a:lnTo>
                      <a:pt x="3630" y="701"/>
                    </a:lnTo>
                    <a:lnTo>
                      <a:pt x="3578" y="712"/>
                    </a:lnTo>
                    <a:lnTo>
                      <a:pt x="3525" y="722"/>
                    </a:lnTo>
                    <a:lnTo>
                      <a:pt x="3472" y="732"/>
                    </a:lnTo>
                    <a:lnTo>
                      <a:pt x="3418" y="742"/>
                    </a:lnTo>
                    <a:lnTo>
                      <a:pt x="3363" y="752"/>
                    </a:lnTo>
                    <a:lnTo>
                      <a:pt x="3306" y="761"/>
                    </a:lnTo>
                    <a:lnTo>
                      <a:pt x="3250" y="770"/>
                    </a:lnTo>
                    <a:lnTo>
                      <a:pt x="3191" y="779"/>
                    </a:lnTo>
                    <a:lnTo>
                      <a:pt x="3132" y="785"/>
                    </a:lnTo>
                    <a:lnTo>
                      <a:pt x="3072" y="792"/>
                    </a:lnTo>
                    <a:lnTo>
                      <a:pt x="3011" y="797"/>
                    </a:lnTo>
                    <a:lnTo>
                      <a:pt x="2948" y="802"/>
                    </a:lnTo>
                    <a:lnTo>
                      <a:pt x="2885" y="806"/>
                    </a:lnTo>
                    <a:lnTo>
                      <a:pt x="2820" y="808"/>
                    </a:lnTo>
                    <a:lnTo>
                      <a:pt x="2754" y="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05"/>
              <p:cNvSpPr>
                <a:spLocks/>
              </p:cNvSpPr>
              <p:nvPr userDrawn="1"/>
            </p:nvSpPr>
            <p:spPr bwMode="auto">
              <a:xfrm>
                <a:off x="1222" y="3447"/>
                <a:ext cx="1625" cy="204"/>
              </a:xfrm>
              <a:custGeom>
                <a:avLst/>
                <a:gdLst>
                  <a:gd name="T0" fmla="*/ 4846 w 4877"/>
                  <a:gd name="T1" fmla="*/ 599 h 611"/>
                  <a:gd name="T2" fmla="*/ 4800 w 4877"/>
                  <a:gd name="T3" fmla="*/ 542 h 611"/>
                  <a:gd name="T4" fmla="*/ 4739 w 4877"/>
                  <a:gd name="T5" fmla="*/ 454 h 611"/>
                  <a:gd name="T6" fmla="*/ 4664 w 4877"/>
                  <a:gd name="T7" fmla="*/ 368 h 611"/>
                  <a:gd name="T8" fmla="*/ 4551 w 4877"/>
                  <a:gd name="T9" fmla="*/ 288 h 611"/>
                  <a:gd name="T10" fmla="*/ 4388 w 4877"/>
                  <a:gd name="T11" fmla="*/ 229 h 611"/>
                  <a:gd name="T12" fmla="*/ 4157 w 4877"/>
                  <a:gd name="T13" fmla="*/ 201 h 611"/>
                  <a:gd name="T14" fmla="*/ 3845 w 4877"/>
                  <a:gd name="T15" fmla="*/ 218 h 611"/>
                  <a:gd name="T16" fmla="*/ 3436 w 4877"/>
                  <a:gd name="T17" fmla="*/ 293 h 611"/>
                  <a:gd name="T18" fmla="*/ 2915 w 4877"/>
                  <a:gd name="T19" fmla="*/ 440 h 611"/>
                  <a:gd name="T20" fmla="*/ 2613 w 4877"/>
                  <a:gd name="T21" fmla="*/ 530 h 611"/>
                  <a:gd name="T22" fmla="*/ 2414 w 4877"/>
                  <a:gd name="T23" fmla="*/ 559 h 611"/>
                  <a:gd name="T24" fmla="*/ 2222 w 4877"/>
                  <a:gd name="T25" fmla="*/ 562 h 611"/>
                  <a:gd name="T26" fmla="*/ 2034 w 4877"/>
                  <a:gd name="T27" fmla="*/ 539 h 611"/>
                  <a:gd name="T28" fmla="*/ 1851 w 4877"/>
                  <a:gd name="T29" fmla="*/ 499 h 611"/>
                  <a:gd name="T30" fmla="*/ 1670 w 4877"/>
                  <a:gd name="T31" fmla="*/ 445 h 611"/>
                  <a:gd name="T32" fmla="*/ 1363 w 4877"/>
                  <a:gd name="T33" fmla="*/ 328 h 611"/>
                  <a:gd name="T34" fmla="*/ 1051 w 4877"/>
                  <a:gd name="T35" fmla="*/ 204 h 611"/>
                  <a:gd name="T36" fmla="*/ 783 w 4877"/>
                  <a:gd name="T37" fmla="*/ 112 h 611"/>
                  <a:gd name="T38" fmla="*/ 627 w 4877"/>
                  <a:gd name="T39" fmla="*/ 71 h 611"/>
                  <a:gd name="T40" fmla="*/ 469 w 4877"/>
                  <a:gd name="T41" fmla="*/ 42 h 611"/>
                  <a:gd name="T42" fmla="*/ 307 w 4877"/>
                  <a:gd name="T43" fmla="*/ 27 h 611"/>
                  <a:gd name="T44" fmla="*/ 142 w 4877"/>
                  <a:gd name="T45" fmla="*/ 31 h 611"/>
                  <a:gd name="T46" fmla="*/ 11 w 4877"/>
                  <a:gd name="T47" fmla="*/ 48 h 611"/>
                  <a:gd name="T48" fmla="*/ 1 w 4877"/>
                  <a:gd name="T49" fmla="*/ 31 h 611"/>
                  <a:gd name="T50" fmla="*/ 54 w 4877"/>
                  <a:gd name="T51" fmla="*/ 14 h 611"/>
                  <a:gd name="T52" fmla="*/ 223 w 4877"/>
                  <a:gd name="T53" fmla="*/ 0 h 611"/>
                  <a:gd name="T54" fmla="*/ 389 w 4877"/>
                  <a:gd name="T55" fmla="*/ 6 h 611"/>
                  <a:gd name="T56" fmla="*/ 551 w 4877"/>
                  <a:gd name="T57" fmla="*/ 28 h 611"/>
                  <a:gd name="T58" fmla="*/ 709 w 4877"/>
                  <a:gd name="T59" fmla="*/ 64 h 611"/>
                  <a:gd name="T60" fmla="*/ 905 w 4877"/>
                  <a:gd name="T61" fmla="*/ 123 h 611"/>
                  <a:gd name="T62" fmla="*/ 1210 w 4877"/>
                  <a:gd name="T63" fmla="*/ 239 h 611"/>
                  <a:gd name="T64" fmla="*/ 1545 w 4877"/>
                  <a:gd name="T65" fmla="*/ 372 h 611"/>
                  <a:gd name="T66" fmla="*/ 1765 w 4877"/>
                  <a:gd name="T67" fmla="*/ 446 h 611"/>
                  <a:gd name="T68" fmla="*/ 1945 w 4877"/>
                  <a:gd name="T69" fmla="*/ 494 h 611"/>
                  <a:gd name="T70" fmla="*/ 2128 w 4877"/>
                  <a:gd name="T71" fmla="*/ 526 h 611"/>
                  <a:gd name="T72" fmla="*/ 2316 w 4877"/>
                  <a:gd name="T73" fmla="*/ 537 h 611"/>
                  <a:gd name="T74" fmla="*/ 2509 w 4877"/>
                  <a:gd name="T75" fmla="*/ 523 h 611"/>
                  <a:gd name="T76" fmla="*/ 2707 w 4877"/>
                  <a:gd name="T77" fmla="*/ 478 h 611"/>
                  <a:gd name="T78" fmla="*/ 3187 w 4877"/>
                  <a:gd name="T79" fmla="*/ 329 h 611"/>
                  <a:gd name="T80" fmla="*/ 3656 w 4877"/>
                  <a:gd name="T81" fmla="*/ 220 h 611"/>
                  <a:gd name="T82" fmla="*/ 4020 w 4877"/>
                  <a:gd name="T83" fmla="*/ 176 h 611"/>
                  <a:gd name="T84" fmla="*/ 4293 w 4877"/>
                  <a:gd name="T85" fmla="*/ 185 h 611"/>
                  <a:gd name="T86" fmla="*/ 4493 w 4877"/>
                  <a:gd name="T87" fmla="*/ 232 h 611"/>
                  <a:gd name="T88" fmla="*/ 4631 w 4877"/>
                  <a:gd name="T89" fmla="*/ 306 h 611"/>
                  <a:gd name="T90" fmla="*/ 4726 w 4877"/>
                  <a:gd name="T91" fmla="*/ 393 h 611"/>
                  <a:gd name="T92" fmla="*/ 4790 w 4877"/>
                  <a:gd name="T93" fmla="*/ 479 h 611"/>
                  <a:gd name="T94" fmla="*/ 4846 w 4877"/>
                  <a:gd name="T95" fmla="*/ 560 h 611"/>
                  <a:gd name="T96" fmla="*/ 4876 w 4877"/>
                  <a:gd name="T97" fmla="*/ 592 h 611"/>
                  <a:gd name="T98" fmla="*/ 4872 w 4877"/>
                  <a:gd name="T99" fmla="*/ 608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77" h="611">
                    <a:moveTo>
                      <a:pt x="4864" y="611"/>
                    </a:moveTo>
                    <a:lnTo>
                      <a:pt x="4859" y="610"/>
                    </a:lnTo>
                    <a:lnTo>
                      <a:pt x="4856" y="608"/>
                    </a:lnTo>
                    <a:lnTo>
                      <a:pt x="4846" y="599"/>
                    </a:lnTo>
                    <a:lnTo>
                      <a:pt x="4836" y="590"/>
                    </a:lnTo>
                    <a:lnTo>
                      <a:pt x="4827" y="579"/>
                    </a:lnTo>
                    <a:lnTo>
                      <a:pt x="4818" y="568"/>
                    </a:lnTo>
                    <a:lnTo>
                      <a:pt x="4800" y="542"/>
                    </a:lnTo>
                    <a:lnTo>
                      <a:pt x="4781" y="514"/>
                    </a:lnTo>
                    <a:lnTo>
                      <a:pt x="4768" y="495"/>
                    </a:lnTo>
                    <a:lnTo>
                      <a:pt x="4754" y="474"/>
                    </a:lnTo>
                    <a:lnTo>
                      <a:pt x="4739" y="454"/>
                    </a:lnTo>
                    <a:lnTo>
                      <a:pt x="4723" y="432"/>
                    </a:lnTo>
                    <a:lnTo>
                      <a:pt x="4706" y="410"/>
                    </a:lnTo>
                    <a:lnTo>
                      <a:pt x="4686" y="389"/>
                    </a:lnTo>
                    <a:lnTo>
                      <a:pt x="4664" y="368"/>
                    </a:lnTo>
                    <a:lnTo>
                      <a:pt x="4640" y="347"/>
                    </a:lnTo>
                    <a:lnTo>
                      <a:pt x="4614" y="327"/>
                    </a:lnTo>
                    <a:lnTo>
                      <a:pt x="4584" y="308"/>
                    </a:lnTo>
                    <a:lnTo>
                      <a:pt x="4551" y="288"/>
                    </a:lnTo>
                    <a:lnTo>
                      <a:pt x="4516" y="271"/>
                    </a:lnTo>
                    <a:lnTo>
                      <a:pt x="4477" y="256"/>
                    </a:lnTo>
                    <a:lnTo>
                      <a:pt x="4435" y="241"/>
                    </a:lnTo>
                    <a:lnTo>
                      <a:pt x="4388" y="229"/>
                    </a:lnTo>
                    <a:lnTo>
                      <a:pt x="4336" y="218"/>
                    </a:lnTo>
                    <a:lnTo>
                      <a:pt x="4281" y="210"/>
                    </a:lnTo>
                    <a:lnTo>
                      <a:pt x="4222" y="204"/>
                    </a:lnTo>
                    <a:lnTo>
                      <a:pt x="4157" y="201"/>
                    </a:lnTo>
                    <a:lnTo>
                      <a:pt x="4087" y="201"/>
                    </a:lnTo>
                    <a:lnTo>
                      <a:pt x="4012" y="203"/>
                    </a:lnTo>
                    <a:lnTo>
                      <a:pt x="3931" y="209"/>
                    </a:lnTo>
                    <a:lnTo>
                      <a:pt x="3845" y="218"/>
                    </a:lnTo>
                    <a:lnTo>
                      <a:pt x="3752" y="231"/>
                    </a:lnTo>
                    <a:lnTo>
                      <a:pt x="3653" y="247"/>
                    </a:lnTo>
                    <a:lnTo>
                      <a:pt x="3548" y="268"/>
                    </a:lnTo>
                    <a:lnTo>
                      <a:pt x="3436" y="293"/>
                    </a:lnTo>
                    <a:lnTo>
                      <a:pt x="3317" y="323"/>
                    </a:lnTo>
                    <a:lnTo>
                      <a:pt x="3191" y="356"/>
                    </a:lnTo>
                    <a:lnTo>
                      <a:pt x="3057" y="395"/>
                    </a:lnTo>
                    <a:lnTo>
                      <a:pt x="2915" y="440"/>
                    </a:lnTo>
                    <a:lnTo>
                      <a:pt x="2766" y="488"/>
                    </a:lnTo>
                    <a:lnTo>
                      <a:pt x="2715" y="504"/>
                    </a:lnTo>
                    <a:lnTo>
                      <a:pt x="2664" y="518"/>
                    </a:lnTo>
                    <a:lnTo>
                      <a:pt x="2613" y="530"/>
                    </a:lnTo>
                    <a:lnTo>
                      <a:pt x="2563" y="541"/>
                    </a:lnTo>
                    <a:lnTo>
                      <a:pt x="2514" y="549"/>
                    </a:lnTo>
                    <a:lnTo>
                      <a:pt x="2464" y="555"/>
                    </a:lnTo>
                    <a:lnTo>
                      <a:pt x="2414" y="559"/>
                    </a:lnTo>
                    <a:lnTo>
                      <a:pt x="2366" y="563"/>
                    </a:lnTo>
                    <a:lnTo>
                      <a:pt x="2318" y="564"/>
                    </a:lnTo>
                    <a:lnTo>
                      <a:pt x="2270" y="563"/>
                    </a:lnTo>
                    <a:lnTo>
                      <a:pt x="2222" y="562"/>
                    </a:lnTo>
                    <a:lnTo>
                      <a:pt x="2175" y="557"/>
                    </a:lnTo>
                    <a:lnTo>
                      <a:pt x="2127" y="553"/>
                    </a:lnTo>
                    <a:lnTo>
                      <a:pt x="2081" y="546"/>
                    </a:lnTo>
                    <a:lnTo>
                      <a:pt x="2034" y="539"/>
                    </a:lnTo>
                    <a:lnTo>
                      <a:pt x="1988" y="530"/>
                    </a:lnTo>
                    <a:lnTo>
                      <a:pt x="1941" y="522"/>
                    </a:lnTo>
                    <a:lnTo>
                      <a:pt x="1896" y="511"/>
                    </a:lnTo>
                    <a:lnTo>
                      <a:pt x="1851" y="499"/>
                    </a:lnTo>
                    <a:lnTo>
                      <a:pt x="1805" y="486"/>
                    </a:lnTo>
                    <a:lnTo>
                      <a:pt x="1760" y="473"/>
                    </a:lnTo>
                    <a:lnTo>
                      <a:pt x="1716" y="459"/>
                    </a:lnTo>
                    <a:lnTo>
                      <a:pt x="1670" y="445"/>
                    </a:lnTo>
                    <a:lnTo>
                      <a:pt x="1626" y="429"/>
                    </a:lnTo>
                    <a:lnTo>
                      <a:pt x="1538" y="397"/>
                    </a:lnTo>
                    <a:lnTo>
                      <a:pt x="1450" y="364"/>
                    </a:lnTo>
                    <a:lnTo>
                      <a:pt x="1363" y="328"/>
                    </a:lnTo>
                    <a:lnTo>
                      <a:pt x="1275" y="294"/>
                    </a:lnTo>
                    <a:lnTo>
                      <a:pt x="1201" y="264"/>
                    </a:lnTo>
                    <a:lnTo>
                      <a:pt x="1126" y="233"/>
                    </a:lnTo>
                    <a:lnTo>
                      <a:pt x="1051" y="204"/>
                    </a:lnTo>
                    <a:lnTo>
                      <a:pt x="975" y="176"/>
                    </a:lnTo>
                    <a:lnTo>
                      <a:pt x="898" y="149"/>
                    </a:lnTo>
                    <a:lnTo>
                      <a:pt x="822" y="124"/>
                    </a:lnTo>
                    <a:lnTo>
                      <a:pt x="783" y="112"/>
                    </a:lnTo>
                    <a:lnTo>
                      <a:pt x="744" y="101"/>
                    </a:lnTo>
                    <a:lnTo>
                      <a:pt x="705" y="91"/>
                    </a:lnTo>
                    <a:lnTo>
                      <a:pt x="666" y="80"/>
                    </a:lnTo>
                    <a:lnTo>
                      <a:pt x="627" y="71"/>
                    </a:lnTo>
                    <a:lnTo>
                      <a:pt x="587" y="63"/>
                    </a:lnTo>
                    <a:lnTo>
                      <a:pt x="548" y="55"/>
                    </a:lnTo>
                    <a:lnTo>
                      <a:pt x="508" y="48"/>
                    </a:lnTo>
                    <a:lnTo>
                      <a:pt x="469" y="42"/>
                    </a:lnTo>
                    <a:lnTo>
                      <a:pt x="429" y="37"/>
                    </a:lnTo>
                    <a:lnTo>
                      <a:pt x="388" y="33"/>
                    </a:lnTo>
                    <a:lnTo>
                      <a:pt x="348" y="29"/>
                    </a:lnTo>
                    <a:lnTo>
                      <a:pt x="307" y="27"/>
                    </a:lnTo>
                    <a:lnTo>
                      <a:pt x="266" y="27"/>
                    </a:lnTo>
                    <a:lnTo>
                      <a:pt x="224" y="27"/>
                    </a:lnTo>
                    <a:lnTo>
                      <a:pt x="183" y="28"/>
                    </a:lnTo>
                    <a:lnTo>
                      <a:pt x="142" y="31"/>
                    </a:lnTo>
                    <a:lnTo>
                      <a:pt x="100" y="36"/>
                    </a:lnTo>
                    <a:lnTo>
                      <a:pt x="58" y="41"/>
                    </a:lnTo>
                    <a:lnTo>
                      <a:pt x="16" y="48"/>
                    </a:lnTo>
                    <a:lnTo>
                      <a:pt x="11" y="48"/>
                    </a:lnTo>
                    <a:lnTo>
                      <a:pt x="6" y="46"/>
                    </a:lnTo>
                    <a:lnTo>
                      <a:pt x="2" y="42"/>
                    </a:lnTo>
                    <a:lnTo>
                      <a:pt x="0" y="37"/>
                    </a:lnTo>
                    <a:lnTo>
                      <a:pt x="1" y="31"/>
                    </a:lnTo>
                    <a:lnTo>
                      <a:pt x="2" y="27"/>
                    </a:lnTo>
                    <a:lnTo>
                      <a:pt x="6" y="23"/>
                    </a:lnTo>
                    <a:lnTo>
                      <a:pt x="12" y="21"/>
                    </a:lnTo>
                    <a:lnTo>
                      <a:pt x="54" y="14"/>
                    </a:lnTo>
                    <a:lnTo>
                      <a:pt x="97" y="9"/>
                    </a:lnTo>
                    <a:lnTo>
                      <a:pt x="139" y="5"/>
                    </a:lnTo>
                    <a:lnTo>
                      <a:pt x="181" y="1"/>
                    </a:lnTo>
                    <a:lnTo>
                      <a:pt x="223" y="0"/>
                    </a:lnTo>
                    <a:lnTo>
                      <a:pt x="266" y="0"/>
                    </a:lnTo>
                    <a:lnTo>
                      <a:pt x="307" y="0"/>
                    </a:lnTo>
                    <a:lnTo>
                      <a:pt x="348" y="2"/>
                    </a:lnTo>
                    <a:lnTo>
                      <a:pt x="389" y="6"/>
                    </a:lnTo>
                    <a:lnTo>
                      <a:pt x="430" y="10"/>
                    </a:lnTo>
                    <a:lnTo>
                      <a:pt x="471" y="15"/>
                    </a:lnTo>
                    <a:lnTo>
                      <a:pt x="511" y="21"/>
                    </a:lnTo>
                    <a:lnTo>
                      <a:pt x="551" y="28"/>
                    </a:lnTo>
                    <a:lnTo>
                      <a:pt x="591" y="36"/>
                    </a:lnTo>
                    <a:lnTo>
                      <a:pt x="630" y="44"/>
                    </a:lnTo>
                    <a:lnTo>
                      <a:pt x="670" y="53"/>
                    </a:lnTo>
                    <a:lnTo>
                      <a:pt x="709" y="64"/>
                    </a:lnTo>
                    <a:lnTo>
                      <a:pt x="749" y="75"/>
                    </a:lnTo>
                    <a:lnTo>
                      <a:pt x="788" y="85"/>
                    </a:lnTo>
                    <a:lnTo>
                      <a:pt x="827" y="97"/>
                    </a:lnTo>
                    <a:lnTo>
                      <a:pt x="905" y="123"/>
                    </a:lnTo>
                    <a:lnTo>
                      <a:pt x="983" y="150"/>
                    </a:lnTo>
                    <a:lnTo>
                      <a:pt x="1058" y="178"/>
                    </a:lnTo>
                    <a:lnTo>
                      <a:pt x="1135" y="209"/>
                    </a:lnTo>
                    <a:lnTo>
                      <a:pt x="1210" y="239"/>
                    </a:lnTo>
                    <a:lnTo>
                      <a:pt x="1286" y="269"/>
                    </a:lnTo>
                    <a:lnTo>
                      <a:pt x="1371" y="304"/>
                    </a:lnTo>
                    <a:lnTo>
                      <a:pt x="1458" y="338"/>
                    </a:lnTo>
                    <a:lnTo>
                      <a:pt x="1545" y="372"/>
                    </a:lnTo>
                    <a:lnTo>
                      <a:pt x="1633" y="403"/>
                    </a:lnTo>
                    <a:lnTo>
                      <a:pt x="1677" y="418"/>
                    </a:lnTo>
                    <a:lnTo>
                      <a:pt x="1721" y="433"/>
                    </a:lnTo>
                    <a:lnTo>
                      <a:pt x="1765" y="446"/>
                    </a:lnTo>
                    <a:lnTo>
                      <a:pt x="1810" y="460"/>
                    </a:lnTo>
                    <a:lnTo>
                      <a:pt x="1855" y="472"/>
                    </a:lnTo>
                    <a:lnTo>
                      <a:pt x="1899" y="484"/>
                    </a:lnTo>
                    <a:lnTo>
                      <a:pt x="1945" y="494"/>
                    </a:lnTo>
                    <a:lnTo>
                      <a:pt x="1990" y="503"/>
                    </a:lnTo>
                    <a:lnTo>
                      <a:pt x="2036" y="512"/>
                    </a:lnTo>
                    <a:lnTo>
                      <a:pt x="2082" y="519"/>
                    </a:lnTo>
                    <a:lnTo>
                      <a:pt x="2128" y="526"/>
                    </a:lnTo>
                    <a:lnTo>
                      <a:pt x="2175" y="530"/>
                    </a:lnTo>
                    <a:lnTo>
                      <a:pt x="2222" y="533"/>
                    </a:lnTo>
                    <a:lnTo>
                      <a:pt x="2269" y="536"/>
                    </a:lnTo>
                    <a:lnTo>
                      <a:pt x="2316" y="537"/>
                    </a:lnTo>
                    <a:lnTo>
                      <a:pt x="2364" y="536"/>
                    </a:lnTo>
                    <a:lnTo>
                      <a:pt x="2412" y="532"/>
                    </a:lnTo>
                    <a:lnTo>
                      <a:pt x="2460" y="528"/>
                    </a:lnTo>
                    <a:lnTo>
                      <a:pt x="2509" y="523"/>
                    </a:lnTo>
                    <a:lnTo>
                      <a:pt x="2558" y="514"/>
                    </a:lnTo>
                    <a:lnTo>
                      <a:pt x="2608" y="504"/>
                    </a:lnTo>
                    <a:lnTo>
                      <a:pt x="2657" y="492"/>
                    </a:lnTo>
                    <a:lnTo>
                      <a:pt x="2707" y="478"/>
                    </a:lnTo>
                    <a:lnTo>
                      <a:pt x="2758" y="462"/>
                    </a:lnTo>
                    <a:lnTo>
                      <a:pt x="2909" y="413"/>
                    </a:lnTo>
                    <a:lnTo>
                      <a:pt x="3051" y="368"/>
                    </a:lnTo>
                    <a:lnTo>
                      <a:pt x="3187" y="329"/>
                    </a:lnTo>
                    <a:lnTo>
                      <a:pt x="3315" y="295"/>
                    </a:lnTo>
                    <a:lnTo>
                      <a:pt x="3436" y="266"/>
                    </a:lnTo>
                    <a:lnTo>
                      <a:pt x="3549" y="241"/>
                    </a:lnTo>
                    <a:lnTo>
                      <a:pt x="3656" y="220"/>
                    </a:lnTo>
                    <a:lnTo>
                      <a:pt x="3757" y="203"/>
                    </a:lnTo>
                    <a:lnTo>
                      <a:pt x="3850" y="190"/>
                    </a:lnTo>
                    <a:lnTo>
                      <a:pt x="3938" y="182"/>
                    </a:lnTo>
                    <a:lnTo>
                      <a:pt x="4020" y="176"/>
                    </a:lnTo>
                    <a:lnTo>
                      <a:pt x="4096" y="174"/>
                    </a:lnTo>
                    <a:lnTo>
                      <a:pt x="4167" y="175"/>
                    </a:lnTo>
                    <a:lnTo>
                      <a:pt x="4233" y="178"/>
                    </a:lnTo>
                    <a:lnTo>
                      <a:pt x="4293" y="185"/>
                    </a:lnTo>
                    <a:lnTo>
                      <a:pt x="4349" y="193"/>
                    </a:lnTo>
                    <a:lnTo>
                      <a:pt x="4401" y="204"/>
                    </a:lnTo>
                    <a:lnTo>
                      <a:pt x="4449" y="217"/>
                    </a:lnTo>
                    <a:lnTo>
                      <a:pt x="4493" y="232"/>
                    </a:lnTo>
                    <a:lnTo>
                      <a:pt x="4532" y="248"/>
                    </a:lnTo>
                    <a:lnTo>
                      <a:pt x="4569" y="267"/>
                    </a:lnTo>
                    <a:lnTo>
                      <a:pt x="4602" y="286"/>
                    </a:lnTo>
                    <a:lnTo>
                      <a:pt x="4631" y="306"/>
                    </a:lnTo>
                    <a:lnTo>
                      <a:pt x="4659" y="327"/>
                    </a:lnTo>
                    <a:lnTo>
                      <a:pt x="4683" y="349"/>
                    </a:lnTo>
                    <a:lnTo>
                      <a:pt x="4706" y="370"/>
                    </a:lnTo>
                    <a:lnTo>
                      <a:pt x="4726" y="393"/>
                    </a:lnTo>
                    <a:lnTo>
                      <a:pt x="4745" y="415"/>
                    </a:lnTo>
                    <a:lnTo>
                      <a:pt x="4761" y="437"/>
                    </a:lnTo>
                    <a:lnTo>
                      <a:pt x="4776" y="458"/>
                    </a:lnTo>
                    <a:lnTo>
                      <a:pt x="4790" y="479"/>
                    </a:lnTo>
                    <a:lnTo>
                      <a:pt x="4803" y="499"/>
                    </a:lnTo>
                    <a:lnTo>
                      <a:pt x="4821" y="526"/>
                    </a:lnTo>
                    <a:lnTo>
                      <a:pt x="4839" y="550"/>
                    </a:lnTo>
                    <a:lnTo>
                      <a:pt x="4846" y="560"/>
                    </a:lnTo>
                    <a:lnTo>
                      <a:pt x="4855" y="570"/>
                    </a:lnTo>
                    <a:lnTo>
                      <a:pt x="4863" y="580"/>
                    </a:lnTo>
                    <a:lnTo>
                      <a:pt x="4872" y="587"/>
                    </a:lnTo>
                    <a:lnTo>
                      <a:pt x="4876" y="592"/>
                    </a:lnTo>
                    <a:lnTo>
                      <a:pt x="4877" y="596"/>
                    </a:lnTo>
                    <a:lnTo>
                      <a:pt x="4877" y="601"/>
                    </a:lnTo>
                    <a:lnTo>
                      <a:pt x="4874" y="606"/>
                    </a:lnTo>
                    <a:lnTo>
                      <a:pt x="4872" y="608"/>
                    </a:lnTo>
                    <a:lnTo>
                      <a:pt x="4870" y="610"/>
                    </a:lnTo>
                    <a:lnTo>
                      <a:pt x="4867" y="611"/>
                    </a:lnTo>
                    <a:lnTo>
                      <a:pt x="4864" y="6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06"/>
              <p:cNvSpPr>
                <a:spLocks/>
              </p:cNvSpPr>
              <p:nvPr userDrawn="1"/>
            </p:nvSpPr>
            <p:spPr bwMode="auto">
              <a:xfrm>
                <a:off x="1202" y="3384"/>
                <a:ext cx="1588" cy="126"/>
              </a:xfrm>
              <a:custGeom>
                <a:avLst/>
                <a:gdLst>
                  <a:gd name="T0" fmla="*/ 4740 w 4762"/>
                  <a:gd name="T1" fmla="*/ 376 h 378"/>
                  <a:gd name="T2" fmla="*/ 4724 w 4762"/>
                  <a:gd name="T3" fmla="*/ 347 h 378"/>
                  <a:gd name="T4" fmla="*/ 4654 w 4762"/>
                  <a:gd name="T5" fmla="*/ 284 h 378"/>
                  <a:gd name="T6" fmla="*/ 4532 w 4762"/>
                  <a:gd name="T7" fmla="*/ 230 h 378"/>
                  <a:gd name="T8" fmla="*/ 4365 w 4762"/>
                  <a:gd name="T9" fmla="*/ 186 h 378"/>
                  <a:gd name="T10" fmla="*/ 4162 w 4762"/>
                  <a:gd name="T11" fmla="*/ 151 h 378"/>
                  <a:gd name="T12" fmla="*/ 3930 w 4762"/>
                  <a:gd name="T13" fmla="*/ 125 h 378"/>
                  <a:gd name="T14" fmla="*/ 3676 w 4762"/>
                  <a:gd name="T15" fmla="*/ 109 h 378"/>
                  <a:gd name="T16" fmla="*/ 3407 w 4762"/>
                  <a:gd name="T17" fmla="*/ 103 h 378"/>
                  <a:gd name="T18" fmla="*/ 3132 w 4762"/>
                  <a:gd name="T19" fmla="*/ 106 h 378"/>
                  <a:gd name="T20" fmla="*/ 2858 w 4762"/>
                  <a:gd name="T21" fmla="*/ 120 h 378"/>
                  <a:gd name="T22" fmla="*/ 2590 w 4762"/>
                  <a:gd name="T23" fmla="*/ 144 h 378"/>
                  <a:gd name="T24" fmla="*/ 2406 w 4762"/>
                  <a:gd name="T25" fmla="*/ 165 h 378"/>
                  <a:gd name="T26" fmla="*/ 2261 w 4762"/>
                  <a:gd name="T27" fmla="*/ 176 h 378"/>
                  <a:gd name="T28" fmla="*/ 2116 w 4762"/>
                  <a:gd name="T29" fmla="*/ 182 h 378"/>
                  <a:gd name="T30" fmla="*/ 1830 w 4762"/>
                  <a:gd name="T31" fmla="*/ 177 h 378"/>
                  <a:gd name="T32" fmla="*/ 1551 w 4762"/>
                  <a:gd name="T33" fmla="*/ 157 h 378"/>
                  <a:gd name="T34" fmla="*/ 1281 w 4762"/>
                  <a:gd name="T35" fmla="*/ 128 h 378"/>
                  <a:gd name="T36" fmla="*/ 1023 w 4762"/>
                  <a:gd name="T37" fmla="*/ 94 h 378"/>
                  <a:gd name="T38" fmla="*/ 803 w 4762"/>
                  <a:gd name="T39" fmla="*/ 65 h 378"/>
                  <a:gd name="T40" fmla="*/ 595 w 4762"/>
                  <a:gd name="T41" fmla="*/ 42 h 378"/>
                  <a:gd name="T42" fmla="*/ 402 w 4762"/>
                  <a:gd name="T43" fmla="*/ 28 h 378"/>
                  <a:gd name="T44" fmla="*/ 225 w 4762"/>
                  <a:gd name="T45" fmla="*/ 29 h 378"/>
                  <a:gd name="T46" fmla="*/ 143 w 4762"/>
                  <a:gd name="T47" fmla="*/ 36 h 378"/>
                  <a:gd name="T48" fmla="*/ 65 w 4762"/>
                  <a:gd name="T49" fmla="*/ 48 h 378"/>
                  <a:gd name="T50" fmla="*/ 10 w 4762"/>
                  <a:gd name="T51" fmla="*/ 58 h 378"/>
                  <a:gd name="T52" fmla="*/ 0 w 4762"/>
                  <a:gd name="T53" fmla="*/ 48 h 378"/>
                  <a:gd name="T54" fmla="*/ 4 w 4762"/>
                  <a:gd name="T55" fmla="*/ 34 h 378"/>
                  <a:gd name="T56" fmla="*/ 59 w 4762"/>
                  <a:gd name="T57" fmla="*/ 21 h 378"/>
                  <a:gd name="T58" fmla="*/ 139 w 4762"/>
                  <a:gd name="T59" fmla="*/ 9 h 378"/>
                  <a:gd name="T60" fmla="*/ 222 w 4762"/>
                  <a:gd name="T61" fmla="*/ 2 h 378"/>
                  <a:gd name="T62" fmla="*/ 401 w 4762"/>
                  <a:gd name="T63" fmla="*/ 1 h 378"/>
                  <a:gd name="T64" fmla="*/ 596 w 4762"/>
                  <a:gd name="T65" fmla="*/ 15 h 378"/>
                  <a:gd name="T66" fmla="*/ 804 w 4762"/>
                  <a:gd name="T67" fmla="*/ 38 h 378"/>
                  <a:gd name="T68" fmla="*/ 1026 w 4762"/>
                  <a:gd name="T69" fmla="*/ 67 h 378"/>
                  <a:gd name="T70" fmla="*/ 1285 w 4762"/>
                  <a:gd name="T71" fmla="*/ 101 h 378"/>
                  <a:gd name="T72" fmla="*/ 1553 w 4762"/>
                  <a:gd name="T73" fmla="*/ 130 h 378"/>
                  <a:gd name="T74" fmla="*/ 1831 w 4762"/>
                  <a:gd name="T75" fmla="*/ 150 h 378"/>
                  <a:gd name="T76" fmla="*/ 2115 w 4762"/>
                  <a:gd name="T77" fmla="*/ 155 h 378"/>
                  <a:gd name="T78" fmla="*/ 2259 w 4762"/>
                  <a:gd name="T79" fmla="*/ 149 h 378"/>
                  <a:gd name="T80" fmla="*/ 2404 w 4762"/>
                  <a:gd name="T81" fmla="*/ 138 h 378"/>
                  <a:gd name="T82" fmla="*/ 2580 w 4762"/>
                  <a:gd name="T83" fmla="*/ 118 h 378"/>
                  <a:gd name="T84" fmla="*/ 2832 w 4762"/>
                  <a:gd name="T85" fmla="*/ 95 h 378"/>
                  <a:gd name="T86" fmla="*/ 3099 w 4762"/>
                  <a:gd name="T87" fmla="*/ 81 h 378"/>
                  <a:gd name="T88" fmla="*/ 3373 w 4762"/>
                  <a:gd name="T89" fmla="*/ 77 h 378"/>
                  <a:gd name="T90" fmla="*/ 3645 w 4762"/>
                  <a:gd name="T91" fmla="*/ 82 h 378"/>
                  <a:gd name="T92" fmla="*/ 3906 w 4762"/>
                  <a:gd name="T93" fmla="*/ 97 h 378"/>
                  <a:gd name="T94" fmla="*/ 4148 w 4762"/>
                  <a:gd name="T95" fmla="*/ 122 h 378"/>
                  <a:gd name="T96" fmla="*/ 4362 w 4762"/>
                  <a:gd name="T97" fmla="*/ 159 h 378"/>
                  <a:gd name="T98" fmla="*/ 4539 w 4762"/>
                  <a:gd name="T99" fmla="*/ 205 h 378"/>
                  <a:gd name="T100" fmla="*/ 4671 w 4762"/>
                  <a:gd name="T101" fmla="*/ 265 h 378"/>
                  <a:gd name="T102" fmla="*/ 4749 w 4762"/>
                  <a:gd name="T103" fmla="*/ 335 h 378"/>
                  <a:gd name="T104" fmla="*/ 4759 w 4762"/>
                  <a:gd name="T105" fmla="*/ 372 h 378"/>
                  <a:gd name="T106" fmla="*/ 4750 w 4762"/>
                  <a:gd name="T107" fmla="*/ 37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62" h="378">
                    <a:moveTo>
                      <a:pt x="4748" y="378"/>
                    </a:moveTo>
                    <a:lnTo>
                      <a:pt x="4743" y="378"/>
                    </a:lnTo>
                    <a:lnTo>
                      <a:pt x="4740" y="376"/>
                    </a:lnTo>
                    <a:lnTo>
                      <a:pt x="4737" y="373"/>
                    </a:lnTo>
                    <a:lnTo>
                      <a:pt x="4735" y="369"/>
                    </a:lnTo>
                    <a:lnTo>
                      <a:pt x="4724" y="347"/>
                    </a:lnTo>
                    <a:lnTo>
                      <a:pt x="4706" y="325"/>
                    </a:lnTo>
                    <a:lnTo>
                      <a:pt x="4683" y="304"/>
                    </a:lnTo>
                    <a:lnTo>
                      <a:pt x="4654" y="284"/>
                    </a:lnTo>
                    <a:lnTo>
                      <a:pt x="4618" y="265"/>
                    </a:lnTo>
                    <a:lnTo>
                      <a:pt x="4577" y="247"/>
                    </a:lnTo>
                    <a:lnTo>
                      <a:pt x="4532" y="230"/>
                    </a:lnTo>
                    <a:lnTo>
                      <a:pt x="4481" y="215"/>
                    </a:lnTo>
                    <a:lnTo>
                      <a:pt x="4425" y="200"/>
                    </a:lnTo>
                    <a:lnTo>
                      <a:pt x="4365" y="186"/>
                    </a:lnTo>
                    <a:lnTo>
                      <a:pt x="4302" y="173"/>
                    </a:lnTo>
                    <a:lnTo>
                      <a:pt x="4234" y="162"/>
                    </a:lnTo>
                    <a:lnTo>
                      <a:pt x="4162" y="151"/>
                    </a:lnTo>
                    <a:lnTo>
                      <a:pt x="4088" y="142"/>
                    </a:lnTo>
                    <a:lnTo>
                      <a:pt x="4010" y="133"/>
                    </a:lnTo>
                    <a:lnTo>
                      <a:pt x="3930" y="125"/>
                    </a:lnTo>
                    <a:lnTo>
                      <a:pt x="3848" y="119"/>
                    </a:lnTo>
                    <a:lnTo>
                      <a:pt x="3763" y="114"/>
                    </a:lnTo>
                    <a:lnTo>
                      <a:pt x="3676" y="109"/>
                    </a:lnTo>
                    <a:lnTo>
                      <a:pt x="3588" y="106"/>
                    </a:lnTo>
                    <a:lnTo>
                      <a:pt x="3498" y="104"/>
                    </a:lnTo>
                    <a:lnTo>
                      <a:pt x="3407" y="103"/>
                    </a:lnTo>
                    <a:lnTo>
                      <a:pt x="3317" y="103"/>
                    </a:lnTo>
                    <a:lnTo>
                      <a:pt x="3225" y="104"/>
                    </a:lnTo>
                    <a:lnTo>
                      <a:pt x="3132" y="106"/>
                    </a:lnTo>
                    <a:lnTo>
                      <a:pt x="3040" y="110"/>
                    </a:lnTo>
                    <a:lnTo>
                      <a:pt x="2949" y="115"/>
                    </a:lnTo>
                    <a:lnTo>
                      <a:pt x="2858" y="120"/>
                    </a:lnTo>
                    <a:lnTo>
                      <a:pt x="2767" y="126"/>
                    </a:lnTo>
                    <a:lnTo>
                      <a:pt x="2679" y="135"/>
                    </a:lnTo>
                    <a:lnTo>
                      <a:pt x="2590" y="144"/>
                    </a:lnTo>
                    <a:lnTo>
                      <a:pt x="2505" y="155"/>
                    </a:lnTo>
                    <a:lnTo>
                      <a:pt x="2456" y="160"/>
                    </a:lnTo>
                    <a:lnTo>
                      <a:pt x="2406" y="165"/>
                    </a:lnTo>
                    <a:lnTo>
                      <a:pt x="2358" y="170"/>
                    </a:lnTo>
                    <a:lnTo>
                      <a:pt x="2309" y="173"/>
                    </a:lnTo>
                    <a:lnTo>
                      <a:pt x="2261" y="176"/>
                    </a:lnTo>
                    <a:lnTo>
                      <a:pt x="2212" y="178"/>
                    </a:lnTo>
                    <a:lnTo>
                      <a:pt x="2164" y="180"/>
                    </a:lnTo>
                    <a:lnTo>
                      <a:pt x="2116" y="182"/>
                    </a:lnTo>
                    <a:lnTo>
                      <a:pt x="2020" y="182"/>
                    </a:lnTo>
                    <a:lnTo>
                      <a:pt x="1925" y="180"/>
                    </a:lnTo>
                    <a:lnTo>
                      <a:pt x="1830" y="177"/>
                    </a:lnTo>
                    <a:lnTo>
                      <a:pt x="1736" y="172"/>
                    </a:lnTo>
                    <a:lnTo>
                      <a:pt x="1643" y="165"/>
                    </a:lnTo>
                    <a:lnTo>
                      <a:pt x="1551" y="157"/>
                    </a:lnTo>
                    <a:lnTo>
                      <a:pt x="1461" y="148"/>
                    </a:lnTo>
                    <a:lnTo>
                      <a:pt x="1371" y="137"/>
                    </a:lnTo>
                    <a:lnTo>
                      <a:pt x="1281" y="128"/>
                    </a:lnTo>
                    <a:lnTo>
                      <a:pt x="1194" y="116"/>
                    </a:lnTo>
                    <a:lnTo>
                      <a:pt x="1107" y="105"/>
                    </a:lnTo>
                    <a:lnTo>
                      <a:pt x="1023" y="94"/>
                    </a:lnTo>
                    <a:lnTo>
                      <a:pt x="948" y="83"/>
                    </a:lnTo>
                    <a:lnTo>
                      <a:pt x="874" y="75"/>
                    </a:lnTo>
                    <a:lnTo>
                      <a:pt x="803" y="65"/>
                    </a:lnTo>
                    <a:lnTo>
                      <a:pt x="732" y="56"/>
                    </a:lnTo>
                    <a:lnTo>
                      <a:pt x="663" y="49"/>
                    </a:lnTo>
                    <a:lnTo>
                      <a:pt x="595" y="42"/>
                    </a:lnTo>
                    <a:lnTo>
                      <a:pt x="529" y="36"/>
                    </a:lnTo>
                    <a:lnTo>
                      <a:pt x="465" y="32"/>
                    </a:lnTo>
                    <a:lnTo>
                      <a:pt x="402" y="28"/>
                    </a:lnTo>
                    <a:lnTo>
                      <a:pt x="341" y="27"/>
                    </a:lnTo>
                    <a:lnTo>
                      <a:pt x="282" y="27"/>
                    </a:lnTo>
                    <a:lnTo>
                      <a:pt x="225" y="29"/>
                    </a:lnTo>
                    <a:lnTo>
                      <a:pt x="197" y="30"/>
                    </a:lnTo>
                    <a:lnTo>
                      <a:pt x="170" y="33"/>
                    </a:lnTo>
                    <a:lnTo>
                      <a:pt x="143" y="36"/>
                    </a:lnTo>
                    <a:lnTo>
                      <a:pt x="116" y="39"/>
                    </a:lnTo>
                    <a:lnTo>
                      <a:pt x="90" y="42"/>
                    </a:lnTo>
                    <a:lnTo>
                      <a:pt x="65" y="48"/>
                    </a:lnTo>
                    <a:lnTo>
                      <a:pt x="41" y="52"/>
                    </a:lnTo>
                    <a:lnTo>
                      <a:pt x="16" y="58"/>
                    </a:lnTo>
                    <a:lnTo>
                      <a:pt x="10" y="58"/>
                    </a:lnTo>
                    <a:lnTo>
                      <a:pt x="6" y="56"/>
                    </a:lnTo>
                    <a:lnTo>
                      <a:pt x="2" y="53"/>
                    </a:lnTo>
                    <a:lnTo>
                      <a:pt x="0" y="48"/>
                    </a:lnTo>
                    <a:lnTo>
                      <a:pt x="0" y="42"/>
                    </a:lnTo>
                    <a:lnTo>
                      <a:pt x="1" y="38"/>
                    </a:lnTo>
                    <a:lnTo>
                      <a:pt x="4" y="34"/>
                    </a:lnTo>
                    <a:lnTo>
                      <a:pt x="9" y="32"/>
                    </a:lnTo>
                    <a:lnTo>
                      <a:pt x="34" y="26"/>
                    </a:lnTo>
                    <a:lnTo>
                      <a:pt x="59" y="21"/>
                    </a:lnTo>
                    <a:lnTo>
                      <a:pt x="85" y="16"/>
                    </a:lnTo>
                    <a:lnTo>
                      <a:pt x="112" y="12"/>
                    </a:lnTo>
                    <a:lnTo>
                      <a:pt x="139" y="9"/>
                    </a:lnTo>
                    <a:lnTo>
                      <a:pt x="166" y="6"/>
                    </a:lnTo>
                    <a:lnTo>
                      <a:pt x="194" y="3"/>
                    </a:lnTo>
                    <a:lnTo>
                      <a:pt x="222" y="2"/>
                    </a:lnTo>
                    <a:lnTo>
                      <a:pt x="279" y="0"/>
                    </a:lnTo>
                    <a:lnTo>
                      <a:pt x="340" y="0"/>
                    </a:lnTo>
                    <a:lnTo>
                      <a:pt x="401" y="1"/>
                    </a:lnTo>
                    <a:lnTo>
                      <a:pt x="464" y="5"/>
                    </a:lnTo>
                    <a:lnTo>
                      <a:pt x="529" y="9"/>
                    </a:lnTo>
                    <a:lnTo>
                      <a:pt x="596" y="15"/>
                    </a:lnTo>
                    <a:lnTo>
                      <a:pt x="664" y="22"/>
                    </a:lnTo>
                    <a:lnTo>
                      <a:pt x="734" y="29"/>
                    </a:lnTo>
                    <a:lnTo>
                      <a:pt x="804" y="38"/>
                    </a:lnTo>
                    <a:lnTo>
                      <a:pt x="877" y="48"/>
                    </a:lnTo>
                    <a:lnTo>
                      <a:pt x="951" y="57"/>
                    </a:lnTo>
                    <a:lnTo>
                      <a:pt x="1026" y="67"/>
                    </a:lnTo>
                    <a:lnTo>
                      <a:pt x="1111" y="78"/>
                    </a:lnTo>
                    <a:lnTo>
                      <a:pt x="1197" y="90"/>
                    </a:lnTo>
                    <a:lnTo>
                      <a:pt x="1285" y="101"/>
                    </a:lnTo>
                    <a:lnTo>
                      <a:pt x="1373" y="111"/>
                    </a:lnTo>
                    <a:lnTo>
                      <a:pt x="1463" y="121"/>
                    </a:lnTo>
                    <a:lnTo>
                      <a:pt x="1553" y="130"/>
                    </a:lnTo>
                    <a:lnTo>
                      <a:pt x="1644" y="137"/>
                    </a:lnTo>
                    <a:lnTo>
                      <a:pt x="1737" y="145"/>
                    </a:lnTo>
                    <a:lnTo>
                      <a:pt x="1831" y="150"/>
                    </a:lnTo>
                    <a:lnTo>
                      <a:pt x="1925" y="153"/>
                    </a:lnTo>
                    <a:lnTo>
                      <a:pt x="2019" y="155"/>
                    </a:lnTo>
                    <a:lnTo>
                      <a:pt x="2115" y="155"/>
                    </a:lnTo>
                    <a:lnTo>
                      <a:pt x="2162" y="153"/>
                    </a:lnTo>
                    <a:lnTo>
                      <a:pt x="2211" y="151"/>
                    </a:lnTo>
                    <a:lnTo>
                      <a:pt x="2259" y="149"/>
                    </a:lnTo>
                    <a:lnTo>
                      <a:pt x="2307" y="147"/>
                    </a:lnTo>
                    <a:lnTo>
                      <a:pt x="2356" y="143"/>
                    </a:lnTo>
                    <a:lnTo>
                      <a:pt x="2404" y="138"/>
                    </a:lnTo>
                    <a:lnTo>
                      <a:pt x="2453" y="133"/>
                    </a:lnTo>
                    <a:lnTo>
                      <a:pt x="2501" y="128"/>
                    </a:lnTo>
                    <a:lnTo>
                      <a:pt x="2580" y="118"/>
                    </a:lnTo>
                    <a:lnTo>
                      <a:pt x="2661" y="109"/>
                    </a:lnTo>
                    <a:lnTo>
                      <a:pt x="2746" y="102"/>
                    </a:lnTo>
                    <a:lnTo>
                      <a:pt x="2832" y="95"/>
                    </a:lnTo>
                    <a:lnTo>
                      <a:pt x="2919" y="90"/>
                    </a:lnTo>
                    <a:lnTo>
                      <a:pt x="3008" y="85"/>
                    </a:lnTo>
                    <a:lnTo>
                      <a:pt x="3099" y="81"/>
                    </a:lnTo>
                    <a:lnTo>
                      <a:pt x="3189" y="79"/>
                    </a:lnTo>
                    <a:lnTo>
                      <a:pt x="3281" y="78"/>
                    </a:lnTo>
                    <a:lnTo>
                      <a:pt x="3373" y="77"/>
                    </a:lnTo>
                    <a:lnTo>
                      <a:pt x="3464" y="78"/>
                    </a:lnTo>
                    <a:lnTo>
                      <a:pt x="3554" y="79"/>
                    </a:lnTo>
                    <a:lnTo>
                      <a:pt x="3645" y="82"/>
                    </a:lnTo>
                    <a:lnTo>
                      <a:pt x="3734" y="85"/>
                    </a:lnTo>
                    <a:lnTo>
                      <a:pt x="3821" y="91"/>
                    </a:lnTo>
                    <a:lnTo>
                      <a:pt x="3906" y="97"/>
                    </a:lnTo>
                    <a:lnTo>
                      <a:pt x="3989" y="104"/>
                    </a:lnTo>
                    <a:lnTo>
                      <a:pt x="4070" y="112"/>
                    </a:lnTo>
                    <a:lnTo>
                      <a:pt x="4148" y="122"/>
                    </a:lnTo>
                    <a:lnTo>
                      <a:pt x="4223" y="133"/>
                    </a:lnTo>
                    <a:lnTo>
                      <a:pt x="4295" y="145"/>
                    </a:lnTo>
                    <a:lnTo>
                      <a:pt x="4362" y="159"/>
                    </a:lnTo>
                    <a:lnTo>
                      <a:pt x="4426" y="173"/>
                    </a:lnTo>
                    <a:lnTo>
                      <a:pt x="4485" y="189"/>
                    </a:lnTo>
                    <a:lnTo>
                      <a:pt x="4539" y="205"/>
                    </a:lnTo>
                    <a:lnTo>
                      <a:pt x="4589" y="224"/>
                    </a:lnTo>
                    <a:lnTo>
                      <a:pt x="4633" y="243"/>
                    </a:lnTo>
                    <a:lnTo>
                      <a:pt x="4671" y="265"/>
                    </a:lnTo>
                    <a:lnTo>
                      <a:pt x="4703" y="286"/>
                    </a:lnTo>
                    <a:lnTo>
                      <a:pt x="4729" y="310"/>
                    </a:lnTo>
                    <a:lnTo>
                      <a:pt x="4749" y="335"/>
                    </a:lnTo>
                    <a:lnTo>
                      <a:pt x="4760" y="361"/>
                    </a:lnTo>
                    <a:lnTo>
                      <a:pt x="4762" y="366"/>
                    </a:lnTo>
                    <a:lnTo>
                      <a:pt x="4759" y="372"/>
                    </a:lnTo>
                    <a:lnTo>
                      <a:pt x="4756" y="375"/>
                    </a:lnTo>
                    <a:lnTo>
                      <a:pt x="4752" y="378"/>
                    </a:lnTo>
                    <a:lnTo>
                      <a:pt x="4750" y="378"/>
                    </a:lnTo>
                    <a:lnTo>
                      <a:pt x="4748" y="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07"/>
              <p:cNvSpPr>
                <a:spLocks/>
              </p:cNvSpPr>
              <p:nvPr userDrawn="1"/>
            </p:nvSpPr>
            <p:spPr bwMode="auto">
              <a:xfrm>
                <a:off x="3224" y="3855"/>
                <a:ext cx="493" cy="465"/>
              </a:xfrm>
              <a:custGeom>
                <a:avLst/>
                <a:gdLst>
                  <a:gd name="T0" fmla="*/ 1418 w 1481"/>
                  <a:gd name="T1" fmla="*/ 1339 h 1394"/>
                  <a:gd name="T2" fmla="*/ 1346 w 1481"/>
                  <a:gd name="T3" fmla="*/ 1229 h 1394"/>
                  <a:gd name="T4" fmla="*/ 1269 w 1481"/>
                  <a:gd name="T5" fmla="*/ 1118 h 1394"/>
                  <a:gd name="T6" fmla="*/ 1187 w 1481"/>
                  <a:gd name="T7" fmla="*/ 1006 h 1394"/>
                  <a:gd name="T8" fmla="*/ 1102 w 1481"/>
                  <a:gd name="T9" fmla="*/ 897 h 1394"/>
                  <a:gd name="T10" fmla="*/ 1015 w 1481"/>
                  <a:gd name="T11" fmla="*/ 789 h 1394"/>
                  <a:gd name="T12" fmla="*/ 884 w 1481"/>
                  <a:gd name="T13" fmla="*/ 634 h 1394"/>
                  <a:gd name="T14" fmla="*/ 717 w 1481"/>
                  <a:gd name="T15" fmla="*/ 444 h 1394"/>
                  <a:gd name="T16" fmla="*/ 565 w 1481"/>
                  <a:gd name="T17" fmla="*/ 281 h 1394"/>
                  <a:gd name="T18" fmla="*/ 439 w 1481"/>
                  <a:gd name="T19" fmla="*/ 150 h 1394"/>
                  <a:gd name="T20" fmla="*/ 353 w 1481"/>
                  <a:gd name="T21" fmla="*/ 63 h 1394"/>
                  <a:gd name="T22" fmla="*/ 28 w 1481"/>
                  <a:gd name="T23" fmla="*/ 705 h 1394"/>
                  <a:gd name="T24" fmla="*/ 35 w 1481"/>
                  <a:gd name="T25" fmla="*/ 779 h 1394"/>
                  <a:gd name="T26" fmla="*/ 53 w 1481"/>
                  <a:gd name="T27" fmla="*/ 932 h 1394"/>
                  <a:gd name="T28" fmla="*/ 80 w 1481"/>
                  <a:gd name="T29" fmla="*/ 1144 h 1394"/>
                  <a:gd name="T30" fmla="*/ 116 w 1481"/>
                  <a:gd name="T31" fmla="*/ 1394 h 1394"/>
                  <a:gd name="T32" fmla="*/ 69 w 1481"/>
                  <a:gd name="T33" fmla="*/ 1258 h 1394"/>
                  <a:gd name="T34" fmla="*/ 35 w 1481"/>
                  <a:gd name="T35" fmla="*/ 1014 h 1394"/>
                  <a:gd name="T36" fmla="*/ 14 w 1481"/>
                  <a:gd name="T37" fmla="*/ 826 h 1394"/>
                  <a:gd name="T38" fmla="*/ 2 w 1481"/>
                  <a:gd name="T39" fmla="*/ 719 h 1394"/>
                  <a:gd name="T40" fmla="*/ 0 w 1481"/>
                  <a:gd name="T41" fmla="*/ 701 h 1394"/>
                  <a:gd name="T42" fmla="*/ 310 w 1481"/>
                  <a:gd name="T43" fmla="*/ 8 h 1394"/>
                  <a:gd name="T44" fmla="*/ 314 w 1481"/>
                  <a:gd name="T45" fmla="*/ 4 h 1394"/>
                  <a:gd name="T46" fmla="*/ 319 w 1481"/>
                  <a:gd name="T47" fmla="*/ 0 h 1394"/>
                  <a:gd name="T48" fmla="*/ 326 w 1481"/>
                  <a:gd name="T49" fmla="*/ 1 h 1394"/>
                  <a:gd name="T50" fmla="*/ 331 w 1481"/>
                  <a:gd name="T51" fmla="*/ 5 h 1394"/>
                  <a:gd name="T52" fmla="*/ 368 w 1481"/>
                  <a:gd name="T53" fmla="*/ 40 h 1394"/>
                  <a:gd name="T54" fmla="*/ 463 w 1481"/>
                  <a:gd name="T55" fmla="*/ 135 h 1394"/>
                  <a:gd name="T56" fmla="*/ 601 w 1481"/>
                  <a:gd name="T57" fmla="*/ 280 h 1394"/>
                  <a:gd name="T58" fmla="*/ 771 w 1481"/>
                  <a:gd name="T59" fmla="*/ 465 h 1394"/>
                  <a:gd name="T60" fmla="*/ 958 w 1481"/>
                  <a:gd name="T61" fmla="*/ 678 h 1394"/>
                  <a:gd name="T62" fmla="*/ 1053 w 1481"/>
                  <a:gd name="T63" fmla="*/ 793 h 1394"/>
                  <a:gd name="T64" fmla="*/ 1147 w 1481"/>
                  <a:gd name="T65" fmla="*/ 910 h 1394"/>
                  <a:gd name="T66" fmla="*/ 1239 w 1481"/>
                  <a:gd name="T67" fmla="*/ 1031 h 1394"/>
                  <a:gd name="T68" fmla="*/ 1327 w 1481"/>
                  <a:gd name="T69" fmla="*/ 1152 h 1394"/>
                  <a:gd name="T70" fmla="*/ 1408 w 1481"/>
                  <a:gd name="T71" fmla="*/ 1274 h 1394"/>
                  <a:gd name="T72" fmla="*/ 1481 w 1481"/>
                  <a:gd name="T7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1" h="1394">
                    <a:moveTo>
                      <a:pt x="1450" y="1394"/>
                    </a:moveTo>
                    <a:lnTo>
                      <a:pt x="1418" y="1339"/>
                    </a:lnTo>
                    <a:lnTo>
                      <a:pt x="1382" y="1284"/>
                    </a:lnTo>
                    <a:lnTo>
                      <a:pt x="1346" y="1229"/>
                    </a:lnTo>
                    <a:lnTo>
                      <a:pt x="1307" y="1174"/>
                    </a:lnTo>
                    <a:lnTo>
                      <a:pt x="1269" y="1118"/>
                    </a:lnTo>
                    <a:lnTo>
                      <a:pt x="1229" y="1063"/>
                    </a:lnTo>
                    <a:lnTo>
                      <a:pt x="1187" y="1006"/>
                    </a:lnTo>
                    <a:lnTo>
                      <a:pt x="1144" y="951"/>
                    </a:lnTo>
                    <a:lnTo>
                      <a:pt x="1102" y="897"/>
                    </a:lnTo>
                    <a:lnTo>
                      <a:pt x="1059" y="842"/>
                    </a:lnTo>
                    <a:lnTo>
                      <a:pt x="1015" y="789"/>
                    </a:lnTo>
                    <a:lnTo>
                      <a:pt x="972" y="737"/>
                    </a:lnTo>
                    <a:lnTo>
                      <a:pt x="884" y="634"/>
                    </a:lnTo>
                    <a:lnTo>
                      <a:pt x="799" y="537"/>
                    </a:lnTo>
                    <a:lnTo>
                      <a:pt x="717" y="444"/>
                    </a:lnTo>
                    <a:lnTo>
                      <a:pt x="638" y="359"/>
                    </a:lnTo>
                    <a:lnTo>
                      <a:pt x="565" y="281"/>
                    </a:lnTo>
                    <a:lnTo>
                      <a:pt x="498" y="211"/>
                    </a:lnTo>
                    <a:lnTo>
                      <a:pt x="439" y="150"/>
                    </a:lnTo>
                    <a:lnTo>
                      <a:pt x="391" y="101"/>
                    </a:lnTo>
                    <a:lnTo>
                      <a:pt x="353" y="63"/>
                    </a:lnTo>
                    <a:lnTo>
                      <a:pt x="326" y="37"/>
                    </a:lnTo>
                    <a:lnTo>
                      <a:pt x="28" y="705"/>
                    </a:lnTo>
                    <a:lnTo>
                      <a:pt x="30" y="731"/>
                    </a:lnTo>
                    <a:lnTo>
                      <a:pt x="35" y="779"/>
                    </a:lnTo>
                    <a:lnTo>
                      <a:pt x="43" y="847"/>
                    </a:lnTo>
                    <a:lnTo>
                      <a:pt x="53" y="932"/>
                    </a:lnTo>
                    <a:lnTo>
                      <a:pt x="66" y="1031"/>
                    </a:lnTo>
                    <a:lnTo>
                      <a:pt x="80" y="1144"/>
                    </a:lnTo>
                    <a:lnTo>
                      <a:pt x="97" y="1266"/>
                    </a:lnTo>
                    <a:lnTo>
                      <a:pt x="116" y="1394"/>
                    </a:lnTo>
                    <a:lnTo>
                      <a:pt x="89" y="1394"/>
                    </a:lnTo>
                    <a:lnTo>
                      <a:pt x="69" y="1258"/>
                    </a:lnTo>
                    <a:lnTo>
                      <a:pt x="52" y="1131"/>
                    </a:lnTo>
                    <a:lnTo>
                      <a:pt x="35" y="1014"/>
                    </a:lnTo>
                    <a:lnTo>
                      <a:pt x="24" y="911"/>
                    </a:lnTo>
                    <a:lnTo>
                      <a:pt x="14" y="826"/>
                    </a:lnTo>
                    <a:lnTo>
                      <a:pt x="6" y="761"/>
                    </a:lnTo>
                    <a:lnTo>
                      <a:pt x="2" y="719"/>
                    </a:lnTo>
                    <a:lnTo>
                      <a:pt x="0" y="704"/>
                    </a:lnTo>
                    <a:lnTo>
                      <a:pt x="0" y="701"/>
                    </a:lnTo>
                    <a:lnTo>
                      <a:pt x="1" y="698"/>
                    </a:lnTo>
                    <a:lnTo>
                      <a:pt x="310" y="8"/>
                    </a:lnTo>
                    <a:lnTo>
                      <a:pt x="312" y="6"/>
                    </a:lnTo>
                    <a:lnTo>
                      <a:pt x="314" y="4"/>
                    </a:lnTo>
                    <a:lnTo>
                      <a:pt x="316" y="1"/>
                    </a:lnTo>
                    <a:lnTo>
                      <a:pt x="319" y="0"/>
                    </a:lnTo>
                    <a:lnTo>
                      <a:pt x="323" y="0"/>
                    </a:lnTo>
                    <a:lnTo>
                      <a:pt x="326" y="1"/>
                    </a:lnTo>
                    <a:lnTo>
                      <a:pt x="329" y="3"/>
                    </a:lnTo>
                    <a:lnTo>
                      <a:pt x="331" y="5"/>
                    </a:lnTo>
                    <a:lnTo>
                      <a:pt x="342" y="14"/>
                    </a:lnTo>
                    <a:lnTo>
                      <a:pt x="368" y="40"/>
                    </a:lnTo>
                    <a:lnTo>
                      <a:pt x="409" y="81"/>
                    </a:lnTo>
                    <a:lnTo>
                      <a:pt x="463" y="135"/>
                    </a:lnTo>
                    <a:lnTo>
                      <a:pt x="528" y="202"/>
                    </a:lnTo>
                    <a:lnTo>
                      <a:pt x="601" y="280"/>
                    </a:lnTo>
                    <a:lnTo>
                      <a:pt x="683" y="368"/>
                    </a:lnTo>
                    <a:lnTo>
                      <a:pt x="771" y="465"/>
                    </a:lnTo>
                    <a:lnTo>
                      <a:pt x="863" y="568"/>
                    </a:lnTo>
                    <a:lnTo>
                      <a:pt x="958" y="678"/>
                    </a:lnTo>
                    <a:lnTo>
                      <a:pt x="1005" y="734"/>
                    </a:lnTo>
                    <a:lnTo>
                      <a:pt x="1053" y="793"/>
                    </a:lnTo>
                    <a:lnTo>
                      <a:pt x="1100" y="851"/>
                    </a:lnTo>
                    <a:lnTo>
                      <a:pt x="1147" y="910"/>
                    </a:lnTo>
                    <a:lnTo>
                      <a:pt x="1193" y="971"/>
                    </a:lnTo>
                    <a:lnTo>
                      <a:pt x="1239" y="1031"/>
                    </a:lnTo>
                    <a:lnTo>
                      <a:pt x="1284" y="1092"/>
                    </a:lnTo>
                    <a:lnTo>
                      <a:pt x="1327" y="1152"/>
                    </a:lnTo>
                    <a:lnTo>
                      <a:pt x="1368" y="1214"/>
                    </a:lnTo>
                    <a:lnTo>
                      <a:pt x="1408" y="1274"/>
                    </a:lnTo>
                    <a:lnTo>
                      <a:pt x="1446" y="1335"/>
                    </a:lnTo>
                    <a:lnTo>
                      <a:pt x="1481" y="1394"/>
                    </a:lnTo>
                    <a:lnTo>
                      <a:pt x="1450" y="1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08"/>
              <p:cNvSpPr>
                <a:spLocks/>
              </p:cNvSpPr>
              <p:nvPr userDrawn="1"/>
            </p:nvSpPr>
            <p:spPr bwMode="auto">
              <a:xfrm>
                <a:off x="2457" y="3166"/>
                <a:ext cx="645" cy="232"/>
              </a:xfrm>
              <a:custGeom>
                <a:avLst/>
                <a:gdLst>
                  <a:gd name="T0" fmla="*/ 1918 w 1935"/>
                  <a:gd name="T1" fmla="*/ 695 h 696"/>
                  <a:gd name="T2" fmla="*/ 1851 w 1935"/>
                  <a:gd name="T3" fmla="*/ 643 h 696"/>
                  <a:gd name="T4" fmla="*/ 1723 w 1935"/>
                  <a:gd name="T5" fmla="*/ 553 h 696"/>
                  <a:gd name="T6" fmla="*/ 1591 w 1935"/>
                  <a:gd name="T7" fmla="*/ 471 h 696"/>
                  <a:gd name="T8" fmla="*/ 1458 w 1935"/>
                  <a:gd name="T9" fmla="*/ 397 h 696"/>
                  <a:gd name="T10" fmla="*/ 1324 w 1935"/>
                  <a:gd name="T11" fmla="*/ 332 h 696"/>
                  <a:gd name="T12" fmla="*/ 1192 w 1935"/>
                  <a:gd name="T13" fmla="*/ 273 h 696"/>
                  <a:gd name="T14" fmla="*/ 1063 w 1935"/>
                  <a:gd name="T15" fmla="*/ 222 h 696"/>
                  <a:gd name="T16" fmla="*/ 940 w 1935"/>
                  <a:gd name="T17" fmla="*/ 179 h 696"/>
                  <a:gd name="T18" fmla="*/ 823 w 1935"/>
                  <a:gd name="T19" fmla="*/ 142 h 696"/>
                  <a:gd name="T20" fmla="*/ 715 w 1935"/>
                  <a:gd name="T21" fmla="*/ 110 h 696"/>
                  <a:gd name="T22" fmla="*/ 571 w 1935"/>
                  <a:gd name="T23" fmla="*/ 74 h 696"/>
                  <a:gd name="T24" fmla="*/ 426 w 1935"/>
                  <a:gd name="T25" fmla="*/ 43 h 696"/>
                  <a:gd name="T26" fmla="*/ 345 w 1935"/>
                  <a:gd name="T27" fmla="*/ 28 h 696"/>
                  <a:gd name="T28" fmla="*/ 13 w 1935"/>
                  <a:gd name="T29" fmla="*/ 27 h 696"/>
                  <a:gd name="T30" fmla="*/ 3 w 1935"/>
                  <a:gd name="T31" fmla="*/ 23 h 696"/>
                  <a:gd name="T32" fmla="*/ 0 w 1935"/>
                  <a:gd name="T33" fmla="*/ 13 h 696"/>
                  <a:gd name="T34" fmla="*/ 3 w 1935"/>
                  <a:gd name="T35" fmla="*/ 3 h 696"/>
                  <a:gd name="T36" fmla="*/ 13 w 1935"/>
                  <a:gd name="T37" fmla="*/ 0 h 696"/>
                  <a:gd name="T38" fmla="*/ 347 w 1935"/>
                  <a:gd name="T39" fmla="*/ 1 h 696"/>
                  <a:gd name="T40" fmla="*/ 430 w 1935"/>
                  <a:gd name="T41" fmla="*/ 16 h 696"/>
                  <a:gd name="T42" fmla="*/ 576 w 1935"/>
                  <a:gd name="T43" fmla="*/ 48 h 696"/>
                  <a:gd name="T44" fmla="*/ 721 w 1935"/>
                  <a:gd name="T45" fmla="*/ 84 h 696"/>
                  <a:gd name="T46" fmla="*/ 830 w 1935"/>
                  <a:gd name="T47" fmla="*/ 116 h 696"/>
                  <a:gd name="T48" fmla="*/ 948 w 1935"/>
                  <a:gd name="T49" fmla="*/ 153 h 696"/>
                  <a:gd name="T50" fmla="*/ 1073 w 1935"/>
                  <a:gd name="T51" fmla="*/ 198 h 696"/>
                  <a:gd name="T52" fmla="*/ 1203 w 1935"/>
                  <a:gd name="T53" fmla="*/ 248 h 696"/>
                  <a:gd name="T54" fmla="*/ 1336 w 1935"/>
                  <a:gd name="T55" fmla="*/ 307 h 696"/>
                  <a:gd name="T56" fmla="*/ 1471 w 1935"/>
                  <a:gd name="T57" fmla="*/ 374 h 696"/>
                  <a:gd name="T58" fmla="*/ 1605 w 1935"/>
                  <a:gd name="T59" fmla="*/ 448 h 696"/>
                  <a:gd name="T60" fmla="*/ 1738 w 1935"/>
                  <a:gd name="T61" fmla="*/ 530 h 696"/>
                  <a:gd name="T62" fmla="*/ 1867 w 1935"/>
                  <a:gd name="T63" fmla="*/ 623 h 696"/>
                  <a:gd name="T64" fmla="*/ 1934 w 1935"/>
                  <a:gd name="T65" fmla="*/ 676 h 696"/>
                  <a:gd name="T66" fmla="*/ 1935 w 1935"/>
                  <a:gd name="T67" fmla="*/ 687 h 696"/>
                  <a:gd name="T68" fmla="*/ 1929 w 1935"/>
                  <a:gd name="T69" fmla="*/ 693 h 696"/>
                  <a:gd name="T70" fmla="*/ 1924 w 1935"/>
                  <a:gd name="T71"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5" h="696">
                    <a:moveTo>
                      <a:pt x="1922" y="696"/>
                    </a:moveTo>
                    <a:lnTo>
                      <a:pt x="1918" y="695"/>
                    </a:lnTo>
                    <a:lnTo>
                      <a:pt x="1913" y="693"/>
                    </a:lnTo>
                    <a:lnTo>
                      <a:pt x="1851" y="643"/>
                    </a:lnTo>
                    <a:lnTo>
                      <a:pt x="1787" y="597"/>
                    </a:lnTo>
                    <a:lnTo>
                      <a:pt x="1723" y="553"/>
                    </a:lnTo>
                    <a:lnTo>
                      <a:pt x="1657" y="511"/>
                    </a:lnTo>
                    <a:lnTo>
                      <a:pt x="1591" y="471"/>
                    </a:lnTo>
                    <a:lnTo>
                      <a:pt x="1524" y="433"/>
                    </a:lnTo>
                    <a:lnTo>
                      <a:pt x="1458" y="397"/>
                    </a:lnTo>
                    <a:lnTo>
                      <a:pt x="1391" y="363"/>
                    </a:lnTo>
                    <a:lnTo>
                      <a:pt x="1324" y="332"/>
                    </a:lnTo>
                    <a:lnTo>
                      <a:pt x="1258" y="301"/>
                    </a:lnTo>
                    <a:lnTo>
                      <a:pt x="1192" y="273"/>
                    </a:lnTo>
                    <a:lnTo>
                      <a:pt x="1127" y="247"/>
                    </a:lnTo>
                    <a:lnTo>
                      <a:pt x="1063" y="222"/>
                    </a:lnTo>
                    <a:lnTo>
                      <a:pt x="1001" y="200"/>
                    </a:lnTo>
                    <a:lnTo>
                      <a:pt x="940" y="179"/>
                    </a:lnTo>
                    <a:lnTo>
                      <a:pt x="881" y="160"/>
                    </a:lnTo>
                    <a:lnTo>
                      <a:pt x="823" y="142"/>
                    </a:lnTo>
                    <a:lnTo>
                      <a:pt x="768" y="125"/>
                    </a:lnTo>
                    <a:lnTo>
                      <a:pt x="715" y="110"/>
                    </a:lnTo>
                    <a:lnTo>
                      <a:pt x="664" y="97"/>
                    </a:lnTo>
                    <a:lnTo>
                      <a:pt x="571" y="74"/>
                    </a:lnTo>
                    <a:lnTo>
                      <a:pt x="491" y="56"/>
                    </a:lnTo>
                    <a:lnTo>
                      <a:pt x="426" y="43"/>
                    </a:lnTo>
                    <a:lnTo>
                      <a:pt x="377" y="34"/>
                    </a:lnTo>
                    <a:lnTo>
                      <a:pt x="345" y="28"/>
                    </a:lnTo>
                    <a:lnTo>
                      <a:pt x="333" y="27"/>
                    </a:lnTo>
                    <a:lnTo>
                      <a:pt x="13" y="27"/>
                    </a:lnTo>
                    <a:lnTo>
                      <a:pt x="7" y="26"/>
                    </a:lnTo>
                    <a:lnTo>
                      <a:pt x="3" y="23"/>
                    </a:lnTo>
                    <a:lnTo>
                      <a:pt x="1" y="18"/>
                    </a:lnTo>
                    <a:lnTo>
                      <a:pt x="0" y="13"/>
                    </a:lnTo>
                    <a:lnTo>
                      <a:pt x="1" y="8"/>
                    </a:lnTo>
                    <a:lnTo>
                      <a:pt x="3" y="3"/>
                    </a:lnTo>
                    <a:lnTo>
                      <a:pt x="7" y="1"/>
                    </a:lnTo>
                    <a:lnTo>
                      <a:pt x="13" y="0"/>
                    </a:lnTo>
                    <a:lnTo>
                      <a:pt x="335" y="0"/>
                    </a:lnTo>
                    <a:lnTo>
                      <a:pt x="347" y="1"/>
                    </a:lnTo>
                    <a:lnTo>
                      <a:pt x="380" y="7"/>
                    </a:lnTo>
                    <a:lnTo>
                      <a:pt x="430" y="16"/>
                    </a:lnTo>
                    <a:lnTo>
                      <a:pt x="495" y="29"/>
                    </a:lnTo>
                    <a:lnTo>
                      <a:pt x="576" y="48"/>
                    </a:lnTo>
                    <a:lnTo>
                      <a:pt x="670" y="70"/>
                    </a:lnTo>
                    <a:lnTo>
                      <a:pt x="721" y="84"/>
                    </a:lnTo>
                    <a:lnTo>
                      <a:pt x="774" y="99"/>
                    </a:lnTo>
                    <a:lnTo>
                      <a:pt x="830" y="116"/>
                    </a:lnTo>
                    <a:lnTo>
                      <a:pt x="888" y="134"/>
                    </a:lnTo>
                    <a:lnTo>
                      <a:pt x="948" y="153"/>
                    </a:lnTo>
                    <a:lnTo>
                      <a:pt x="1011" y="175"/>
                    </a:lnTo>
                    <a:lnTo>
                      <a:pt x="1073" y="198"/>
                    </a:lnTo>
                    <a:lnTo>
                      <a:pt x="1138" y="222"/>
                    </a:lnTo>
                    <a:lnTo>
                      <a:pt x="1203" y="248"/>
                    </a:lnTo>
                    <a:lnTo>
                      <a:pt x="1269" y="276"/>
                    </a:lnTo>
                    <a:lnTo>
                      <a:pt x="1336" y="307"/>
                    </a:lnTo>
                    <a:lnTo>
                      <a:pt x="1404" y="339"/>
                    </a:lnTo>
                    <a:lnTo>
                      <a:pt x="1471" y="374"/>
                    </a:lnTo>
                    <a:lnTo>
                      <a:pt x="1539" y="409"/>
                    </a:lnTo>
                    <a:lnTo>
                      <a:pt x="1605" y="448"/>
                    </a:lnTo>
                    <a:lnTo>
                      <a:pt x="1672" y="488"/>
                    </a:lnTo>
                    <a:lnTo>
                      <a:pt x="1738" y="530"/>
                    </a:lnTo>
                    <a:lnTo>
                      <a:pt x="1803" y="575"/>
                    </a:lnTo>
                    <a:lnTo>
                      <a:pt x="1867" y="623"/>
                    </a:lnTo>
                    <a:lnTo>
                      <a:pt x="1931" y="672"/>
                    </a:lnTo>
                    <a:lnTo>
                      <a:pt x="1934" y="676"/>
                    </a:lnTo>
                    <a:lnTo>
                      <a:pt x="1935" y="681"/>
                    </a:lnTo>
                    <a:lnTo>
                      <a:pt x="1935" y="687"/>
                    </a:lnTo>
                    <a:lnTo>
                      <a:pt x="1932" y="691"/>
                    </a:lnTo>
                    <a:lnTo>
                      <a:pt x="1929" y="693"/>
                    </a:lnTo>
                    <a:lnTo>
                      <a:pt x="1927" y="695"/>
                    </a:lnTo>
                    <a:lnTo>
                      <a:pt x="1924" y="695"/>
                    </a:lnTo>
                    <a:lnTo>
                      <a:pt x="1922"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09"/>
              <p:cNvSpPr>
                <a:spLocks/>
              </p:cNvSpPr>
              <p:nvPr userDrawn="1"/>
            </p:nvSpPr>
            <p:spPr bwMode="auto">
              <a:xfrm>
                <a:off x="3093" y="3389"/>
                <a:ext cx="280" cy="931"/>
              </a:xfrm>
              <a:custGeom>
                <a:avLst/>
                <a:gdLst>
                  <a:gd name="T0" fmla="*/ 775 w 840"/>
                  <a:gd name="T1" fmla="*/ 2740 h 2793"/>
                  <a:gd name="T2" fmla="*/ 763 w 840"/>
                  <a:gd name="T3" fmla="*/ 2667 h 2793"/>
                  <a:gd name="T4" fmla="*/ 750 w 840"/>
                  <a:gd name="T5" fmla="*/ 2599 h 2793"/>
                  <a:gd name="T6" fmla="*/ 729 w 840"/>
                  <a:gd name="T7" fmla="*/ 2469 h 2793"/>
                  <a:gd name="T8" fmla="*/ 715 w 840"/>
                  <a:gd name="T9" fmla="*/ 2372 h 2793"/>
                  <a:gd name="T10" fmla="*/ 713 w 840"/>
                  <a:gd name="T11" fmla="*/ 2308 h 2793"/>
                  <a:gd name="T12" fmla="*/ 721 w 840"/>
                  <a:gd name="T13" fmla="*/ 2258 h 2793"/>
                  <a:gd name="T14" fmla="*/ 757 w 840"/>
                  <a:gd name="T15" fmla="*/ 2137 h 2793"/>
                  <a:gd name="T16" fmla="*/ 783 w 840"/>
                  <a:gd name="T17" fmla="*/ 2040 h 2793"/>
                  <a:gd name="T18" fmla="*/ 800 w 840"/>
                  <a:gd name="T19" fmla="*/ 1953 h 2793"/>
                  <a:gd name="T20" fmla="*/ 810 w 840"/>
                  <a:gd name="T21" fmla="*/ 1853 h 2793"/>
                  <a:gd name="T22" fmla="*/ 813 w 840"/>
                  <a:gd name="T23" fmla="*/ 1738 h 2793"/>
                  <a:gd name="T24" fmla="*/ 803 w 840"/>
                  <a:gd name="T25" fmla="*/ 1606 h 2793"/>
                  <a:gd name="T26" fmla="*/ 781 w 840"/>
                  <a:gd name="T27" fmla="*/ 1454 h 2793"/>
                  <a:gd name="T28" fmla="*/ 742 w 840"/>
                  <a:gd name="T29" fmla="*/ 1283 h 2793"/>
                  <a:gd name="T30" fmla="*/ 683 w 840"/>
                  <a:gd name="T31" fmla="*/ 1087 h 2793"/>
                  <a:gd name="T32" fmla="*/ 602 w 840"/>
                  <a:gd name="T33" fmla="*/ 867 h 2793"/>
                  <a:gd name="T34" fmla="*/ 514 w 840"/>
                  <a:gd name="T35" fmla="*/ 658 h 2793"/>
                  <a:gd name="T36" fmla="*/ 440 w 840"/>
                  <a:gd name="T37" fmla="*/ 520 h 2793"/>
                  <a:gd name="T38" fmla="*/ 352 w 840"/>
                  <a:gd name="T39" fmla="*/ 386 h 2793"/>
                  <a:gd name="T40" fmla="*/ 249 w 840"/>
                  <a:gd name="T41" fmla="*/ 259 h 2793"/>
                  <a:gd name="T42" fmla="*/ 134 w 840"/>
                  <a:gd name="T43" fmla="*/ 139 h 2793"/>
                  <a:gd name="T44" fmla="*/ 5 w 840"/>
                  <a:gd name="T45" fmla="*/ 24 h 2793"/>
                  <a:gd name="T46" fmla="*/ 1 w 840"/>
                  <a:gd name="T47" fmla="*/ 10 h 2793"/>
                  <a:gd name="T48" fmla="*/ 12 w 840"/>
                  <a:gd name="T49" fmla="*/ 0 h 2793"/>
                  <a:gd name="T50" fmla="*/ 67 w 840"/>
                  <a:gd name="T51" fmla="*/ 41 h 2793"/>
                  <a:gd name="T52" fmla="*/ 193 w 840"/>
                  <a:gd name="T53" fmla="*/ 159 h 2793"/>
                  <a:gd name="T54" fmla="*/ 306 w 840"/>
                  <a:gd name="T55" fmla="*/ 283 h 2793"/>
                  <a:gd name="T56" fmla="*/ 405 w 840"/>
                  <a:gd name="T57" fmla="*/ 415 h 2793"/>
                  <a:gd name="T58" fmla="*/ 490 w 840"/>
                  <a:gd name="T59" fmla="*/ 552 h 2793"/>
                  <a:gd name="T60" fmla="*/ 560 w 840"/>
                  <a:gd name="T61" fmla="*/ 694 h 2793"/>
                  <a:gd name="T62" fmla="*/ 659 w 840"/>
                  <a:gd name="T63" fmla="*/ 935 h 2793"/>
                  <a:gd name="T64" fmla="*/ 732 w 840"/>
                  <a:gd name="T65" fmla="*/ 1149 h 2793"/>
                  <a:gd name="T66" fmla="*/ 784 w 840"/>
                  <a:gd name="T67" fmla="*/ 1339 h 2793"/>
                  <a:gd name="T68" fmla="*/ 817 w 840"/>
                  <a:gd name="T69" fmla="*/ 1505 h 2793"/>
                  <a:gd name="T70" fmla="*/ 836 w 840"/>
                  <a:gd name="T71" fmla="*/ 1652 h 2793"/>
                  <a:gd name="T72" fmla="*/ 840 w 840"/>
                  <a:gd name="T73" fmla="*/ 1780 h 2793"/>
                  <a:gd name="T74" fmla="*/ 835 w 840"/>
                  <a:gd name="T75" fmla="*/ 1892 h 2793"/>
                  <a:gd name="T76" fmla="*/ 822 w 840"/>
                  <a:gd name="T77" fmla="*/ 1988 h 2793"/>
                  <a:gd name="T78" fmla="*/ 803 w 840"/>
                  <a:gd name="T79" fmla="*/ 2071 h 2793"/>
                  <a:gd name="T80" fmla="*/ 770 w 840"/>
                  <a:gd name="T81" fmla="*/ 2186 h 2793"/>
                  <a:gd name="T82" fmla="*/ 744 w 840"/>
                  <a:gd name="T83" fmla="*/ 2278 h 2793"/>
                  <a:gd name="T84" fmla="*/ 738 w 840"/>
                  <a:gd name="T85" fmla="*/ 2325 h 2793"/>
                  <a:gd name="T86" fmla="*/ 745 w 840"/>
                  <a:gd name="T87" fmla="*/ 2399 h 2793"/>
                  <a:gd name="T88" fmla="*/ 762 w 840"/>
                  <a:gd name="T89" fmla="*/ 2506 h 2793"/>
                  <a:gd name="T90" fmla="*/ 782 w 840"/>
                  <a:gd name="T91" fmla="*/ 2616 h 2793"/>
                  <a:gd name="T92" fmla="*/ 793 w 840"/>
                  <a:gd name="T93" fmla="*/ 2688 h 2793"/>
                  <a:gd name="T94" fmla="*/ 808 w 840"/>
                  <a:gd name="T95" fmla="*/ 2766 h 2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0" h="2793">
                    <a:moveTo>
                      <a:pt x="785" y="2793"/>
                    </a:moveTo>
                    <a:lnTo>
                      <a:pt x="781" y="2766"/>
                    </a:lnTo>
                    <a:lnTo>
                      <a:pt x="775" y="2740"/>
                    </a:lnTo>
                    <a:lnTo>
                      <a:pt x="771" y="2715"/>
                    </a:lnTo>
                    <a:lnTo>
                      <a:pt x="766" y="2690"/>
                    </a:lnTo>
                    <a:lnTo>
                      <a:pt x="763" y="2667"/>
                    </a:lnTo>
                    <a:lnTo>
                      <a:pt x="759" y="2643"/>
                    </a:lnTo>
                    <a:lnTo>
                      <a:pt x="755" y="2620"/>
                    </a:lnTo>
                    <a:lnTo>
                      <a:pt x="750" y="2599"/>
                    </a:lnTo>
                    <a:lnTo>
                      <a:pt x="743" y="2552"/>
                    </a:lnTo>
                    <a:lnTo>
                      <a:pt x="735" y="2509"/>
                    </a:lnTo>
                    <a:lnTo>
                      <a:pt x="729" y="2469"/>
                    </a:lnTo>
                    <a:lnTo>
                      <a:pt x="722" y="2434"/>
                    </a:lnTo>
                    <a:lnTo>
                      <a:pt x="718" y="2401"/>
                    </a:lnTo>
                    <a:lnTo>
                      <a:pt x="715" y="2372"/>
                    </a:lnTo>
                    <a:lnTo>
                      <a:pt x="713" y="2346"/>
                    </a:lnTo>
                    <a:lnTo>
                      <a:pt x="711" y="2325"/>
                    </a:lnTo>
                    <a:lnTo>
                      <a:pt x="713" y="2308"/>
                    </a:lnTo>
                    <a:lnTo>
                      <a:pt x="715" y="2292"/>
                    </a:lnTo>
                    <a:lnTo>
                      <a:pt x="718" y="2275"/>
                    </a:lnTo>
                    <a:lnTo>
                      <a:pt x="721" y="2258"/>
                    </a:lnTo>
                    <a:lnTo>
                      <a:pt x="732" y="2220"/>
                    </a:lnTo>
                    <a:lnTo>
                      <a:pt x="744" y="2179"/>
                    </a:lnTo>
                    <a:lnTo>
                      <a:pt x="757" y="2137"/>
                    </a:lnTo>
                    <a:lnTo>
                      <a:pt x="771" y="2090"/>
                    </a:lnTo>
                    <a:lnTo>
                      <a:pt x="777" y="2065"/>
                    </a:lnTo>
                    <a:lnTo>
                      <a:pt x="783" y="2040"/>
                    </a:lnTo>
                    <a:lnTo>
                      <a:pt x="789" y="2011"/>
                    </a:lnTo>
                    <a:lnTo>
                      <a:pt x="795" y="1983"/>
                    </a:lnTo>
                    <a:lnTo>
                      <a:pt x="800" y="1953"/>
                    </a:lnTo>
                    <a:lnTo>
                      <a:pt x="804" y="1921"/>
                    </a:lnTo>
                    <a:lnTo>
                      <a:pt x="808" y="1888"/>
                    </a:lnTo>
                    <a:lnTo>
                      <a:pt x="810" y="1853"/>
                    </a:lnTo>
                    <a:lnTo>
                      <a:pt x="812" y="1817"/>
                    </a:lnTo>
                    <a:lnTo>
                      <a:pt x="813" y="1778"/>
                    </a:lnTo>
                    <a:lnTo>
                      <a:pt x="813" y="1738"/>
                    </a:lnTo>
                    <a:lnTo>
                      <a:pt x="811" y="1696"/>
                    </a:lnTo>
                    <a:lnTo>
                      <a:pt x="808" y="1652"/>
                    </a:lnTo>
                    <a:lnTo>
                      <a:pt x="803" y="1606"/>
                    </a:lnTo>
                    <a:lnTo>
                      <a:pt x="798" y="1558"/>
                    </a:lnTo>
                    <a:lnTo>
                      <a:pt x="790" y="1507"/>
                    </a:lnTo>
                    <a:lnTo>
                      <a:pt x="781" y="1454"/>
                    </a:lnTo>
                    <a:lnTo>
                      <a:pt x="770" y="1399"/>
                    </a:lnTo>
                    <a:lnTo>
                      <a:pt x="757" y="1342"/>
                    </a:lnTo>
                    <a:lnTo>
                      <a:pt x="742" y="1283"/>
                    </a:lnTo>
                    <a:lnTo>
                      <a:pt x="724" y="1220"/>
                    </a:lnTo>
                    <a:lnTo>
                      <a:pt x="705" y="1155"/>
                    </a:lnTo>
                    <a:lnTo>
                      <a:pt x="683" y="1087"/>
                    </a:lnTo>
                    <a:lnTo>
                      <a:pt x="659" y="1016"/>
                    </a:lnTo>
                    <a:lnTo>
                      <a:pt x="633" y="944"/>
                    </a:lnTo>
                    <a:lnTo>
                      <a:pt x="602" y="867"/>
                    </a:lnTo>
                    <a:lnTo>
                      <a:pt x="571" y="788"/>
                    </a:lnTo>
                    <a:lnTo>
                      <a:pt x="535" y="705"/>
                    </a:lnTo>
                    <a:lnTo>
                      <a:pt x="514" y="658"/>
                    </a:lnTo>
                    <a:lnTo>
                      <a:pt x="491" y="611"/>
                    </a:lnTo>
                    <a:lnTo>
                      <a:pt x="466" y="565"/>
                    </a:lnTo>
                    <a:lnTo>
                      <a:pt x="440" y="520"/>
                    </a:lnTo>
                    <a:lnTo>
                      <a:pt x="412" y="474"/>
                    </a:lnTo>
                    <a:lnTo>
                      <a:pt x="383" y="430"/>
                    </a:lnTo>
                    <a:lnTo>
                      <a:pt x="352" y="386"/>
                    </a:lnTo>
                    <a:lnTo>
                      <a:pt x="319" y="343"/>
                    </a:lnTo>
                    <a:lnTo>
                      <a:pt x="285" y="300"/>
                    </a:lnTo>
                    <a:lnTo>
                      <a:pt x="249" y="259"/>
                    </a:lnTo>
                    <a:lnTo>
                      <a:pt x="213" y="218"/>
                    </a:lnTo>
                    <a:lnTo>
                      <a:pt x="174" y="177"/>
                    </a:lnTo>
                    <a:lnTo>
                      <a:pt x="134" y="139"/>
                    </a:lnTo>
                    <a:lnTo>
                      <a:pt x="93" y="100"/>
                    </a:lnTo>
                    <a:lnTo>
                      <a:pt x="50" y="61"/>
                    </a:lnTo>
                    <a:lnTo>
                      <a:pt x="5" y="24"/>
                    </a:lnTo>
                    <a:lnTo>
                      <a:pt x="2" y="20"/>
                    </a:lnTo>
                    <a:lnTo>
                      <a:pt x="0" y="14"/>
                    </a:lnTo>
                    <a:lnTo>
                      <a:pt x="1" y="10"/>
                    </a:lnTo>
                    <a:lnTo>
                      <a:pt x="3" y="5"/>
                    </a:lnTo>
                    <a:lnTo>
                      <a:pt x="7" y="1"/>
                    </a:lnTo>
                    <a:lnTo>
                      <a:pt x="12" y="0"/>
                    </a:lnTo>
                    <a:lnTo>
                      <a:pt x="17" y="0"/>
                    </a:lnTo>
                    <a:lnTo>
                      <a:pt x="23" y="3"/>
                    </a:lnTo>
                    <a:lnTo>
                      <a:pt x="67" y="41"/>
                    </a:lnTo>
                    <a:lnTo>
                      <a:pt x="111" y="79"/>
                    </a:lnTo>
                    <a:lnTo>
                      <a:pt x="153" y="119"/>
                    </a:lnTo>
                    <a:lnTo>
                      <a:pt x="193" y="159"/>
                    </a:lnTo>
                    <a:lnTo>
                      <a:pt x="233" y="200"/>
                    </a:lnTo>
                    <a:lnTo>
                      <a:pt x="270" y="241"/>
                    </a:lnTo>
                    <a:lnTo>
                      <a:pt x="306" y="283"/>
                    </a:lnTo>
                    <a:lnTo>
                      <a:pt x="341" y="326"/>
                    </a:lnTo>
                    <a:lnTo>
                      <a:pt x="373" y="371"/>
                    </a:lnTo>
                    <a:lnTo>
                      <a:pt x="405" y="415"/>
                    </a:lnTo>
                    <a:lnTo>
                      <a:pt x="435" y="460"/>
                    </a:lnTo>
                    <a:lnTo>
                      <a:pt x="463" y="506"/>
                    </a:lnTo>
                    <a:lnTo>
                      <a:pt x="490" y="552"/>
                    </a:lnTo>
                    <a:lnTo>
                      <a:pt x="515" y="598"/>
                    </a:lnTo>
                    <a:lnTo>
                      <a:pt x="539" y="647"/>
                    </a:lnTo>
                    <a:lnTo>
                      <a:pt x="560" y="694"/>
                    </a:lnTo>
                    <a:lnTo>
                      <a:pt x="596" y="778"/>
                    </a:lnTo>
                    <a:lnTo>
                      <a:pt x="628" y="857"/>
                    </a:lnTo>
                    <a:lnTo>
                      <a:pt x="659" y="935"/>
                    </a:lnTo>
                    <a:lnTo>
                      <a:pt x="686" y="1010"/>
                    </a:lnTo>
                    <a:lnTo>
                      <a:pt x="709" y="1081"/>
                    </a:lnTo>
                    <a:lnTo>
                      <a:pt x="732" y="1149"/>
                    </a:lnTo>
                    <a:lnTo>
                      <a:pt x="751" y="1215"/>
                    </a:lnTo>
                    <a:lnTo>
                      <a:pt x="769" y="1278"/>
                    </a:lnTo>
                    <a:lnTo>
                      <a:pt x="784" y="1339"/>
                    </a:lnTo>
                    <a:lnTo>
                      <a:pt x="797" y="1397"/>
                    </a:lnTo>
                    <a:lnTo>
                      <a:pt x="808" y="1452"/>
                    </a:lnTo>
                    <a:lnTo>
                      <a:pt x="817" y="1505"/>
                    </a:lnTo>
                    <a:lnTo>
                      <a:pt x="825" y="1557"/>
                    </a:lnTo>
                    <a:lnTo>
                      <a:pt x="831" y="1606"/>
                    </a:lnTo>
                    <a:lnTo>
                      <a:pt x="836" y="1652"/>
                    </a:lnTo>
                    <a:lnTo>
                      <a:pt x="838" y="1697"/>
                    </a:lnTo>
                    <a:lnTo>
                      <a:pt x="840" y="1739"/>
                    </a:lnTo>
                    <a:lnTo>
                      <a:pt x="840" y="1780"/>
                    </a:lnTo>
                    <a:lnTo>
                      <a:pt x="839" y="1819"/>
                    </a:lnTo>
                    <a:lnTo>
                      <a:pt x="838" y="1856"/>
                    </a:lnTo>
                    <a:lnTo>
                      <a:pt x="835" y="1892"/>
                    </a:lnTo>
                    <a:lnTo>
                      <a:pt x="830" y="1925"/>
                    </a:lnTo>
                    <a:lnTo>
                      <a:pt x="826" y="1957"/>
                    </a:lnTo>
                    <a:lnTo>
                      <a:pt x="822" y="1988"/>
                    </a:lnTo>
                    <a:lnTo>
                      <a:pt x="816" y="2017"/>
                    </a:lnTo>
                    <a:lnTo>
                      <a:pt x="810" y="2045"/>
                    </a:lnTo>
                    <a:lnTo>
                      <a:pt x="803" y="2071"/>
                    </a:lnTo>
                    <a:lnTo>
                      <a:pt x="797" y="2097"/>
                    </a:lnTo>
                    <a:lnTo>
                      <a:pt x="783" y="2144"/>
                    </a:lnTo>
                    <a:lnTo>
                      <a:pt x="770" y="2186"/>
                    </a:lnTo>
                    <a:lnTo>
                      <a:pt x="758" y="2226"/>
                    </a:lnTo>
                    <a:lnTo>
                      <a:pt x="748" y="2262"/>
                    </a:lnTo>
                    <a:lnTo>
                      <a:pt x="744" y="2278"/>
                    </a:lnTo>
                    <a:lnTo>
                      <a:pt x="742" y="2294"/>
                    </a:lnTo>
                    <a:lnTo>
                      <a:pt x="740" y="2309"/>
                    </a:lnTo>
                    <a:lnTo>
                      <a:pt x="738" y="2325"/>
                    </a:lnTo>
                    <a:lnTo>
                      <a:pt x="740" y="2345"/>
                    </a:lnTo>
                    <a:lnTo>
                      <a:pt x="742" y="2370"/>
                    </a:lnTo>
                    <a:lnTo>
                      <a:pt x="745" y="2399"/>
                    </a:lnTo>
                    <a:lnTo>
                      <a:pt x="749" y="2430"/>
                    </a:lnTo>
                    <a:lnTo>
                      <a:pt x="755" y="2466"/>
                    </a:lnTo>
                    <a:lnTo>
                      <a:pt x="762" y="2506"/>
                    </a:lnTo>
                    <a:lnTo>
                      <a:pt x="770" y="2548"/>
                    </a:lnTo>
                    <a:lnTo>
                      <a:pt x="777" y="2594"/>
                    </a:lnTo>
                    <a:lnTo>
                      <a:pt x="782" y="2616"/>
                    </a:lnTo>
                    <a:lnTo>
                      <a:pt x="786" y="2640"/>
                    </a:lnTo>
                    <a:lnTo>
                      <a:pt x="789" y="2663"/>
                    </a:lnTo>
                    <a:lnTo>
                      <a:pt x="793" y="2688"/>
                    </a:lnTo>
                    <a:lnTo>
                      <a:pt x="798" y="2713"/>
                    </a:lnTo>
                    <a:lnTo>
                      <a:pt x="803" y="2739"/>
                    </a:lnTo>
                    <a:lnTo>
                      <a:pt x="808" y="2766"/>
                    </a:lnTo>
                    <a:lnTo>
                      <a:pt x="812" y="2793"/>
                    </a:lnTo>
                    <a:lnTo>
                      <a:pt x="785" y="27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10"/>
              <p:cNvSpPr>
                <a:spLocks/>
              </p:cNvSpPr>
              <p:nvPr userDrawn="1"/>
            </p:nvSpPr>
            <p:spPr bwMode="auto">
              <a:xfrm>
                <a:off x="1166" y="3938"/>
                <a:ext cx="188" cy="382"/>
              </a:xfrm>
              <a:custGeom>
                <a:avLst/>
                <a:gdLst>
                  <a:gd name="T0" fmla="*/ 533 w 563"/>
                  <a:gd name="T1" fmla="*/ 1147 h 1147"/>
                  <a:gd name="T2" fmla="*/ 521 w 563"/>
                  <a:gd name="T3" fmla="*/ 1123 h 1147"/>
                  <a:gd name="T4" fmla="*/ 509 w 563"/>
                  <a:gd name="T5" fmla="*/ 1100 h 1147"/>
                  <a:gd name="T6" fmla="*/ 498 w 563"/>
                  <a:gd name="T7" fmla="*/ 1077 h 1147"/>
                  <a:gd name="T8" fmla="*/ 488 w 563"/>
                  <a:gd name="T9" fmla="*/ 1054 h 1147"/>
                  <a:gd name="T10" fmla="*/ 477 w 563"/>
                  <a:gd name="T11" fmla="*/ 1033 h 1147"/>
                  <a:gd name="T12" fmla="*/ 466 w 563"/>
                  <a:gd name="T13" fmla="*/ 1011 h 1147"/>
                  <a:gd name="T14" fmla="*/ 455 w 563"/>
                  <a:gd name="T15" fmla="*/ 990 h 1147"/>
                  <a:gd name="T16" fmla="*/ 445 w 563"/>
                  <a:gd name="T17" fmla="*/ 970 h 1147"/>
                  <a:gd name="T18" fmla="*/ 433 w 563"/>
                  <a:gd name="T19" fmla="*/ 943 h 1147"/>
                  <a:gd name="T20" fmla="*/ 413 w 563"/>
                  <a:gd name="T21" fmla="*/ 904 h 1147"/>
                  <a:gd name="T22" fmla="*/ 394 w 563"/>
                  <a:gd name="T23" fmla="*/ 863 h 1147"/>
                  <a:gd name="T24" fmla="*/ 371 w 563"/>
                  <a:gd name="T25" fmla="*/ 818 h 1147"/>
                  <a:gd name="T26" fmla="*/ 347 w 563"/>
                  <a:gd name="T27" fmla="*/ 769 h 1147"/>
                  <a:gd name="T28" fmla="*/ 322 w 563"/>
                  <a:gd name="T29" fmla="*/ 718 h 1147"/>
                  <a:gd name="T30" fmla="*/ 296 w 563"/>
                  <a:gd name="T31" fmla="*/ 663 h 1147"/>
                  <a:gd name="T32" fmla="*/ 269 w 563"/>
                  <a:gd name="T33" fmla="*/ 607 h 1147"/>
                  <a:gd name="T34" fmla="*/ 241 w 563"/>
                  <a:gd name="T35" fmla="*/ 548 h 1147"/>
                  <a:gd name="T36" fmla="*/ 212 w 563"/>
                  <a:gd name="T37" fmla="*/ 486 h 1147"/>
                  <a:gd name="T38" fmla="*/ 183 w 563"/>
                  <a:gd name="T39" fmla="*/ 424 h 1147"/>
                  <a:gd name="T40" fmla="*/ 153 w 563"/>
                  <a:gd name="T41" fmla="*/ 359 h 1147"/>
                  <a:gd name="T42" fmla="*/ 123 w 563"/>
                  <a:gd name="T43" fmla="*/ 293 h 1147"/>
                  <a:gd name="T44" fmla="*/ 92 w 563"/>
                  <a:gd name="T45" fmla="*/ 225 h 1147"/>
                  <a:gd name="T46" fmla="*/ 62 w 563"/>
                  <a:gd name="T47" fmla="*/ 157 h 1147"/>
                  <a:gd name="T48" fmla="*/ 31 w 563"/>
                  <a:gd name="T49" fmla="*/ 88 h 1147"/>
                  <a:gd name="T50" fmla="*/ 1 w 563"/>
                  <a:gd name="T51" fmla="*/ 18 h 1147"/>
                  <a:gd name="T52" fmla="*/ 0 w 563"/>
                  <a:gd name="T53" fmla="*/ 12 h 1147"/>
                  <a:gd name="T54" fmla="*/ 1 w 563"/>
                  <a:gd name="T55" fmla="*/ 8 h 1147"/>
                  <a:gd name="T56" fmla="*/ 4 w 563"/>
                  <a:gd name="T57" fmla="*/ 4 h 1147"/>
                  <a:gd name="T58" fmla="*/ 8 w 563"/>
                  <a:gd name="T59" fmla="*/ 1 h 1147"/>
                  <a:gd name="T60" fmla="*/ 14 w 563"/>
                  <a:gd name="T61" fmla="*/ 0 h 1147"/>
                  <a:gd name="T62" fmla="*/ 18 w 563"/>
                  <a:gd name="T63" fmla="*/ 1 h 1147"/>
                  <a:gd name="T64" fmla="*/ 23 w 563"/>
                  <a:gd name="T65" fmla="*/ 3 h 1147"/>
                  <a:gd name="T66" fmla="*/ 25 w 563"/>
                  <a:gd name="T67" fmla="*/ 7 h 1147"/>
                  <a:gd name="T68" fmla="*/ 56 w 563"/>
                  <a:gd name="T69" fmla="*/ 77 h 1147"/>
                  <a:gd name="T70" fmla="*/ 86 w 563"/>
                  <a:gd name="T71" fmla="*/ 146 h 1147"/>
                  <a:gd name="T72" fmla="*/ 117 w 563"/>
                  <a:gd name="T73" fmla="*/ 214 h 1147"/>
                  <a:gd name="T74" fmla="*/ 147 w 563"/>
                  <a:gd name="T75" fmla="*/ 282 h 1147"/>
                  <a:gd name="T76" fmla="*/ 178 w 563"/>
                  <a:gd name="T77" fmla="*/ 348 h 1147"/>
                  <a:gd name="T78" fmla="*/ 208 w 563"/>
                  <a:gd name="T79" fmla="*/ 413 h 1147"/>
                  <a:gd name="T80" fmla="*/ 237 w 563"/>
                  <a:gd name="T81" fmla="*/ 476 h 1147"/>
                  <a:gd name="T82" fmla="*/ 266 w 563"/>
                  <a:gd name="T83" fmla="*/ 537 h 1147"/>
                  <a:gd name="T84" fmla="*/ 294 w 563"/>
                  <a:gd name="T85" fmla="*/ 595 h 1147"/>
                  <a:gd name="T86" fmla="*/ 321 w 563"/>
                  <a:gd name="T87" fmla="*/ 653 h 1147"/>
                  <a:gd name="T88" fmla="*/ 347 w 563"/>
                  <a:gd name="T89" fmla="*/ 707 h 1147"/>
                  <a:gd name="T90" fmla="*/ 372 w 563"/>
                  <a:gd name="T91" fmla="*/ 757 h 1147"/>
                  <a:gd name="T92" fmla="*/ 396 w 563"/>
                  <a:gd name="T93" fmla="*/ 806 h 1147"/>
                  <a:gd name="T94" fmla="*/ 417 w 563"/>
                  <a:gd name="T95" fmla="*/ 851 h 1147"/>
                  <a:gd name="T96" fmla="*/ 438 w 563"/>
                  <a:gd name="T97" fmla="*/ 892 h 1147"/>
                  <a:gd name="T98" fmla="*/ 456 w 563"/>
                  <a:gd name="T99" fmla="*/ 931 h 1147"/>
                  <a:gd name="T100" fmla="*/ 470 w 563"/>
                  <a:gd name="T101" fmla="*/ 958 h 1147"/>
                  <a:gd name="T102" fmla="*/ 480 w 563"/>
                  <a:gd name="T103" fmla="*/ 980 h 1147"/>
                  <a:gd name="T104" fmla="*/ 491 w 563"/>
                  <a:gd name="T105" fmla="*/ 1001 h 1147"/>
                  <a:gd name="T106" fmla="*/ 502 w 563"/>
                  <a:gd name="T107" fmla="*/ 1023 h 1147"/>
                  <a:gd name="T108" fmla="*/ 514 w 563"/>
                  <a:gd name="T109" fmla="*/ 1046 h 1147"/>
                  <a:gd name="T110" fmla="*/ 524 w 563"/>
                  <a:gd name="T111" fmla="*/ 1069 h 1147"/>
                  <a:gd name="T112" fmla="*/ 536 w 563"/>
                  <a:gd name="T113" fmla="*/ 1093 h 1147"/>
                  <a:gd name="T114" fmla="*/ 549 w 563"/>
                  <a:gd name="T115" fmla="*/ 1118 h 1147"/>
                  <a:gd name="T116" fmla="*/ 561 w 563"/>
                  <a:gd name="T117" fmla="*/ 1143 h 1147"/>
                  <a:gd name="T118" fmla="*/ 563 w 563"/>
                  <a:gd name="T119" fmla="*/ 1147 h 1147"/>
                  <a:gd name="T120" fmla="*/ 533 w 563"/>
                  <a:gd name="T121" fmla="*/ 114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3" h="1147">
                    <a:moveTo>
                      <a:pt x="533" y="1147"/>
                    </a:moveTo>
                    <a:lnTo>
                      <a:pt x="521" y="1123"/>
                    </a:lnTo>
                    <a:lnTo>
                      <a:pt x="509" y="1100"/>
                    </a:lnTo>
                    <a:lnTo>
                      <a:pt x="498" y="1077"/>
                    </a:lnTo>
                    <a:lnTo>
                      <a:pt x="488" y="1054"/>
                    </a:lnTo>
                    <a:lnTo>
                      <a:pt x="477" y="1033"/>
                    </a:lnTo>
                    <a:lnTo>
                      <a:pt x="466" y="1011"/>
                    </a:lnTo>
                    <a:lnTo>
                      <a:pt x="455" y="990"/>
                    </a:lnTo>
                    <a:lnTo>
                      <a:pt x="445" y="970"/>
                    </a:lnTo>
                    <a:lnTo>
                      <a:pt x="433" y="943"/>
                    </a:lnTo>
                    <a:lnTo>
                      <a:pt x="413" y="904"/>
                    </a:lnTo>
                    <a:lnTo>
                      <a:pt x="394" y="863"/>
                    </a:lnTo>
                    <a:lnTo>
                      <a:pt x="371" y="818"/>
                    </a:lnTo>
                    <a:lnTo>
                      <a:pt x="347" y="769"/>
                    </a:lnTo>
                    <a:lnTo>
                      <a:pt x="322" y="718"/>
                    </a:lnTo>
                    <a:lnTo>
                      <a:pt x="296" y="663"/>
                    </a:lnTo>
                    <a:lnTo>
                      <a:pt x="269" y="607"/>
                    </a:lnTo>
                    <a:lnTo>
                      <a:pt x="241" y="548"/>
                    </a:lnTo>
                    <a:lnTo>
                      <a:pt x="212" y="486"/>
                    </a:lnTo>
                    <a:lnTo>
                      <a:pt x="183" y="424"/>
                    </a:lnTo>
                    <a:lnTo>
                      <a:pt x="153" y="359"/>
                    </a:lnTo>
                    <a:lnTo>
                      <a:pt x="123" y="293"/>
                    </a:lnTo>
                    <a:lnTo>
                      <a:pt x="92" y="225"/>
                    </a:lnTo>
                    <a:lnTo>
                      <a:pt x="62" y="157"/>
                    </a:lnTo>
                    <a:lnTo>
                      <a:pt x="31" y="88"/>
                    </a:lnTo>
                    <a:lnTo>
                      <a:pt x="1" y="18"/>
                    </a:lnTo>
                    <a:lnTo>
                      <a:pt x="0" y="12"/>
                    </a:lnTo>
                    <a:lnTo>
                      <a:pt x="1" y="8"/>
                    </a:lnTo>
                    <a:lnTo>
                      <a:pt x="4" y="4"/>
                    </a:lnTo>
                    <a:lnTo>
                      <a:pt x="8" y="1"/>
                    </a:lnTo>
                    <a:lnTo>
                      <a:pt x="14" y="0"/>
                    </a:lnTo>
                    <a:lnTo>
                      <a:pt x="18" y="1"/>
                    </a:lnTo>
                    <a:lnTo>
                      <a:pt x="23" y="3"/>
                    </a:lnTo>
                    <a:lnTo>
                      <a:pt x="25" y="7"/>
                    </a:lnTo>
                    <a:lnTo>
                      <a:pt x="56" y="77"/>
                    </a:lnTo>
                    <a:lnTo>
                      <a:pt x="86" y="146"/>
                    </a:lnTo>
                    <a:lnTo>
                      <a:pt x="117" y="214"/>
                    </a:lnTo>
                    <a:lnTo>
                      <a:pt x="147" y="282"/>
                    </a:lnTo>
                    <a:lnTo>
                      <a:pt x="178" y="348"/>
                    </a:lnTo>
                    <a:lnTo>
                      <a:pt x="208" y="413"/>
                    </a:lnTo>
                    <a:lnTo>
                      <a:pt x="237" y="476"/>
                    </a:lnTo>
                    <a:lnTo>
                      <a:pt x="266" y="537"/>
                    </a:lnTo>
                    <a:lnTo>
                      <a:pt x="294" y="595"/>
                    </a:lnTo>
                    <a:lnTo>
                      <a:pt x="321" y="653"/>
                    </a:lnTo>
                    <a:lnTo>
                      <a:pt x="347" y="707"/>
                    </a:lnTo>
                    <a:lnTo>
                      <a:pt x="372" y="757"/>
                    </a:lnTo>
                    <a:lnTo>
                      <a:pt x="396" y="806"/>
                    </a:lnTo>
                    <a:lnTo>
                      <a:pt x="417" y="851"/>
                    </a:lnTo>
                    <a:lnTo>
                      <a:pt x="438" y="892"/>
                    </a:lnTo>
                    <a:lnTo>
                      <a:pt x="456" y="931"/>
                    </a:lnTo>
                    <a:lnTo>
                      <a:pt x="470" y="958"/>
                    </a:lnTo>
                    <a:lnTo>
                      <a:pt x="480" y="980"/>
                    </a:lnTo>
                    <a:lnTo>
                      <a:pt x="491" y="1001"/>
                    </a:lnTo>
                    <a:lnTo>
                      <a:pt x="502" y="1023"/>
                    </a:lnTo>
                    <a:lnTo>
                      <a:pt x="514" y="1046"/>
                    </a:lnTo>
                    <a:lnTo>
                      <a:pt x="524" y="1069"/>
                    </a:lnTo>
                    <a:lnTo>
                      <a:pt x="536" y="1093"/>
                    </a:lnTo>
                    <a:lnTo>
                      <a:pt x="549" y="1118"/>
                    </a:lnTo>
                    <a:lnTo>
                      <a:pt x="561" y="1143"/>
                    </a:lnTo>
                    <a:lnTo>
                      <a:pt x="563" y="1147"/>
                    </a:lnTo>
                    <a:lnTo>
                      <a:pt x="533"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11"/>
              <p:cNvSpPr>
                <a:spLocks/>
              </p:cNvSpPr>
              <p:nvPr userDrawn="1"/>
            </p:nvSpPr>
            <p:spPr bwMode="auto">
              <a:xfrm>
                <a:off x="200" y="2934"/>
                <a:ext cx="3186" cy="1386"/>
              </a:xfrm>
              <a:custGeom>
                <a:avLst/>
                <a:gdLst>
                  <a:gd name="T0" fmla="*/ 145 w 9557"/>
                  <a:gd name="T1" fmla="*/ 3871 h 4158"/>
                  <a:gd name="T2" fmla="*/ 823 w 9557"/>
                  <a:gd name="T3" fmla="*/ 2860 h 4158"/>
                  <a:gd name="T4" fmla="*/ 1177 w 9557"/>
                  <a:gd name="T5" fmla="*/ 2201 h 4158"/>
                  <a:gd name="T6" fmla="*/ 1521 w 9557"/>
                  <a:gd name="T7" fmla="*/ 1164 h 4158"/>
                  <a:gd name="T8" fmla="*/ 1878 w 9557"/>
                  <a:gd name="T9" fmla="*/ 584 h 4158"/>
                  <a:gd name="T10" fmla="*/ 2673 w 9557"/>
                  <a:gd name="T11" fmla="*/ 94 h 4158"/>
                  <a:gd name="T12" fmla="*/ 3607 w 9557"/>
                  <a:gd name="T13" fmla="*/ 8 h 4158"/>
                  <a:gd name="T14" fmla="*/ 4053 w 9557"/>
                  <a:gd name="T15" fmla="*/ 103 h 4158"/>
                  <a:gd name="T16" fmla="*/ 4728 w 9557"/>
                  <a:gd name="T17" fmla="*/ 323 h 4158"/>
                  <a:gd name="T18" fmla="*/ 5177 w 9557"/>
                  <a:gd name="T19" fmla="*/ 354 h 4158"/>
                  <a:gd name="T20" fmla="*/ 6114 w 9557"/>
                  <a:gd name="T21" fmla="*/ 412 h 4158"/>
                  <a:gd name="T22" fmla="*/ 6524 w 9557"/>
                  <a:gd name="T23" fmla="*/ 539 h 4158"/>
                  <a:gd name="T24" fmla="*/ 6954 w 9557"/>
                  <a:gd name="T25" fmla="*/ 577 h 4158"/>
                  <a:gd name="T26" fmla="*/ 7396 w 9557"/>
                  <a:gd name="T27" fmla="*/ 577 h 4158"/>
                  <a:gd name="T28" fmla="*/ 8211 w 9557"/>
                  <a:gd name="T29" fmla="*/ 871 h 4158"/>
                  <a:gd name="T30" fmla="*/ 8956 w 9557"/>
                  <a:gd name="T31" fmla="*/ 1562 h 4158"/>
                  <a:gd name="T32" fmla="*/ 9417 w 9557"/>
                  <a:gd name="T33" fmla="*/ 2436 h 4158"/>
                  <a:gd name="T34" fmla="*/ 9553 w 9557"/>
                  <a:gd name="T35" fmla="*/ 2993 h 4158"/>
                  <a:gd name="T36" fmla="*/ 9474 w 9557"/>
                  <a:gd name="T37" fmla="*/ 3527 h 4158"/>
                  <a:gd name="T38" fmla="*/ 9099 w 9557"/>
                  <a:gd name="T39" fmla="*/ 3473 h 4158"/>
                  <a:gd name="T40" fmla="*/ 8597 w 9557"/>
                  <a:gd name="T41" fmla="*/ 3049 h 4158"/>
                  <a:gd name="T42" fmla="*/ 8285 w 9557"/>
                  <a:gd name="T43" fmla="*/ 2903 h 4158"/>
                  <a:gd name="T44" fmla="*/ 7922 w 9557"/>
                  <a:gd name="T45" fmla="*/ 2958 h 4158"/>
                  <a:gd name="T46" fmla="*/ 7342 w 9557"/>
                  <a:gd name="T47" fmla="*/ 3145 h 4158"/>
                  <a:gd name="T48" fmla="*/ 6449 w 9557"/>
                  <a:gd name="T49" fmla="*/ 3227 h 4158"/>
                  <a:gd name="T50" fmla="*/ 5623 w 9557"/>
                  <a:gd name="T51" fmla="*/ 3161 h 4158"/>
                  <a:gd name="T52" fmla="*/ 4761 w 9557"/>
                  <a:gd name="T53" fmla="*/ 2808 h 4158"/>
                  <a:gd name="T54" fmla="*/ 3428 w 9557"/>
                  <a:gd name="T55" fmla="*/ 2166 h 4158"/>
                  <a:gd name="T56" fmla="*/ 3201 w 9557"/>
                  <a:gd name="T57" fmla="*/ 2368 h 4158"/>
                  <a:gd name="T58" fmla="*/ 2918 w 9557"/>
                  <a:gd name="T59" fmla="*/ 3085 h 4158"/>
                  <a:gd name="T60" fmla="*/ 2495 w 9557"/>
                  <a:gd name="T61" fmla="*/ 4063 h 4158"/>
                  <a:gd name="T62" fmla="*/ 2513 w 9557"/>
                  <a:gd name="T63" fmla="*/ 3973 h 4158"/>
                  <a:gd name="T64" fmla="*/ 2967 w 9557"/>
                  <a:gd name="T65" fmla="*/ 2865 h 4158"/>
                  <a:gd name="T66" fmla="*/ 3190 w 9557"/>
                  <a:gd name="T67" fmla="*/ 2336 h 4158"/>
                  <a:gd name="T68" fmla="*/ 3399 w 9557"/>
                  <a:gd name="T69" fmla="*/ 2147 h 4158"/>
                  <a:gd name="T70" fmla="*/ 4314 w 9557"/>
                  <a:gd name="T71" fmla="*/ 2563 h 4158"/>
                  <a:gd name="T72" fmla="*/ 5418 w 9557"/>
                  <a:gd name="T73" fmla="*/ 3077 h 4158"/>
                  <a:gd name="T74" fmla="*/ 6122 w 9557"/>
                  <a:gd name="T75" fmla="*/ 3195 h 4158"/>
                  <a:gd name="T76" fmla="*/ 7134 w 9557"/>
                  <a:gd name="T77" fmla="*/ 3163 h 4158"/>
                  <a:gd name="T78" fmla="*/ 7747 w 9557"/>
                  <a:gd name="T79" fmla="*/ 2988 h 4158"/>
                  <a:gd name="T80" fmla="*/ 8197 w 9557"/>
                  <a:gd name="T81" fmla="*/ 2873 h 4158"/>
                  <a:gd name="T82" fmla="*/ 8470 w 9557"/>
                  <a:gd name="T83" fmla="*/ 2937 h 4158"/>
                  <a:gd name="T84" fmla="*/ 9037 w 9557"/>
                  <a:gd name="T85" fmla="*/ 3393 h 4158"/>
                  <a:gd name="T86" fmla="*/ 9472 w 9557"/>
                  <a:gd name="T87" fmla="*/ 3452 h 4158"/>
                  <a:gd name="T88" fmla="*/ 9518 w 9557"/>
                  <a:gd name="T89" fmla="*/ 2913 h 4158"/>
                  <a:gd name="T90" fmla="*/ 9340 w 9557"/>
                  <a:gd name="T91" fmla="*/ 2311 h 4158"/>
                  <a:gd name="T92" fmla="*/ 8841 w 9557"/>
                  <a:gd name="T93" fmla="*/ 1455 h 4158"/>
                  <a:gd name="T94" fmla="*/ 8060 w 9557"/>
                  <a:gd name="T95" fmla="*/ 823 h 4158"/>
                  <a:gd name="T96" fmla="*/ 7280 w 9557"/>
                  <a:gd name="T97" fmla="*/ 591 h 4158"/>
                  <a:gd name="T98" fmla="*/ 6887 w 9557"/>
                  <a:gd name="T99" fmla="*/ 627 h 4158"/>
                  <a:gd name="T100" fmla="*/ 6589 w 9557"/>
                  <a:gd name="T101" fmla="*/ 587 h 4158"/>
                  <a:gd name="T102" fmla="*/ 6180 w 9557"/>
                  <a:gd name="T103" fmla="*/ 452 h 4158"/>
                  <a:gd name="T104" fmla="*/ 5178 w 9557"/>
                  <a:gd name="T105" fmla="*/ 381 h 4158"/>
                  <a:gd name="T106" fmla="*/ 4725 w 9557"/>
                  <a:gd name="T107" fmla="*/ 349 h 4158"/>
                  <a:gd name="T108" fmla="*/ 4043 w 9557"/>
                  <a:gd name="T109" fmla="*/ 129 h 4158"/>
                  <a:gd name="T110" fmla="*/ 3603 w 9557"/>
                  <a:gd name="T111" fmla="*/ 34 h 4158"/>
                  <a:gd name="T112" fmla="*/ 2683 w 9557"/>
                  <a:gd name="T113" fmla="*/ 119 h 4158"/>
                  <a:gd name="T114" fmla="*/ 1899 w 9557"/>
                  <a:gd name="T115" fmla="*/ 601 h 4158"/>
                  <a:gd name="T116" fmla="*/ 1543 w 9557"/>
                  <a:gd name="T117" fmla="*/ 1176 h 4158"/>
                  <a:gd name="T118" fmla="*/ 1203 w 9557"/>
                  <a:gd name="T119" fmla="*/ 2207 h 4158"/>
                  <a:gd name="T120" fmla="*/ 847 w 9557"/>
                  <a:gd name="T121" fmla="*/ 2873 h 4158"/>
                  <a:gd name="T122" fmla="*/ 169 w 9557"/>
                  <a:gd name="T123" fmla="*/ 3884 h 4158"/>
                  <a:gd name="T124" fmla="*/ 0 w 9557"/>
                  <a:gd name="T125" fmla="*/ 4158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57" h="4158">
                    <a:moveTo>
                      <a:pt x="0" y="4158"/>
                    </a:moveTo>
                    <a:lnTo>
                      <a:pt x="9" y="4140"/>
                    </a:lnTo>
                    <a:lnTo>
                      <a:pt x="18" y="4122"/>
                    </a:lnTo>
                    <a:lnTo>
                      <a:pt x="26" y="4103"/>
                    </a:lnTo>
                    <a:lnTo>
                      <a:pt x="35" y="4085"/>
                    </a:lnTo>
                    <a:lnTo>
                      <a:pt x="45" y="4062"/>
                    </a:lnTo>
                    <a:lnTo>
                      <a:pt x="55" y="4038"/>
                    </a:lnTo>
                    <a:lnTo>
                      <a:pt x="67" y="4013"/>
                    </a:lnTo>
                    <a:lnTo>
                      <a:pt x="79" y="3987"/>
                    </a:lnTo>
                    <a:lnTo>
                      <a:pt x="93" y="3960"/>
                    </a:lnTo>
                    <a:lnTo>
                      <a:pt x="108" y="3932"/>
                    </a:lnTo>
                    <a:lnTo>
                      <a:pt x="126" y="3902"/>
                    </a:lnTo>
                    <a:lnTo>
                      <a:pt x="145" y="3871"/>
                    </a:lnTo>
                    <a:lnTo>
                      <a:pt x="187" y="3803"/>
                    </a:lnTo>
                    <a:lnTo>
                      <a:pt x="235" y="3729"/>
                    </a:lnTo>
                    <a:lnTo>
                      <a:pt x="287" y="3651"/>
                    </a:lnTo>
                    <a:lnTo>
                      <a:pt x="343" y="3569"/>
                    </a:lnTo>
                    <a:lnTo>
                      <a:pt x="402" y="3481"/>
                    </a:lnTo>
                    <a:lnTo>
                      <a:pt x="465" y="3392"/>
                    </a:lnTo>
                    <a:lnTo>
                      <a:pt x="514" y="3319"/>
                    </a:lnTo>
                    <a:lnTo>
                      <a:pt x="565" y="3246"/>
                    </a:lnTo>
                    <a:lnTo>
                      <a:pt x="617" y="3170"/>
                    </a:lnTo>
                    <a:lnTo>
                      <a:pt x="669" y="3094"/>
                    </a:lnTo>
                    <a:lnTo>
                      <a:pt x="721" y="3017"/>
                    </a:lnTo>
                    <a:lnTo>
                      <a:pt x="772" y="2938"/>
                    </a:lnTo>
                    <a:lnTo>
                      <a:pt x="823" y="2860"/>
                    </a:lnTo>
                    <a:lnTo>
                      <a:pt x="872" y="2783"/>
                    </a:lnTo>
                    <a:lnTo>
                      <a:pt x="920" y="2705"/>
                    </a:lnTo>
                    <a:lnTo>
                      <a:pt x="966" y="2628"/>
                    </a:lnTo>
                    <a:lnTo>
                      <a:pt x="1010" y="2552"/>
                    </a:lnTo>
                    <a:lnTo>
                      <a:pt x="1050" y="2477"/>
                    </a:lnTo>
                    <a:lnTo>
                      <a:pt x="1069" y="2442"/>
                    </a:lnTo>
                    <a:lnTo>
                      <a:pt x="1088" y="2405"/>
                    </a:lnTo>
                    <a:lnTo>
                      <a:pt x="1105" y="2369"/>
                    </a:lnTo>
                    <a:lnTo>
                      <a:pt x="1122" y="2335"/>
                    </a:lnTo>
                    <a:lnTo>
                      <a:pt x="1137" y="2300"/>
                    </a:lnTo>
                    <a:lnTo>
                      <a:pt x="1151" y="2266"/>
                    </a:lnTo>
                    <a:lnTo>
                      <a:pt x="1165" y="2233"/>
                    </a:lnTo>
                    <a:lnTo>
                      <a:pt x="1177" y="2201"/>
                    </a:lnTo>
                    <a:lnTo>
                      <a:pt x="1197" y="2104"/>
                    </a:lnTo>
                    <a:lnTo>
                      <a:pt x="1218" y="2011"/>
                    </a:lnTo>
                    <a:lnTo>
                      <a:pt x="1241" y="1919"/>
                    </a:lnTo>
                    <a:lnTo>
                      <a:pt x="1266" y="1832"/>
                    </a:lnTo>
                    <a:lnTo>
                      <a:pt x="1291" y="1746"/>
                    </a:lnTo>
                    <a:lnTo>
                      <a:pt x="1317" y="1663"/>
                    </a:lnTo>
                    <a:lnTo>
                      <a:pt x="1345" y="1583"/>
                    </a:lnTo>
                    <a:lnTo>
                      <a:pt x="1373" y="1507"/>
                    </a:lnTo>
                    <a:lnTo>
                      <a:pt x="1402" y="1432"/>
                    </a:lnTo>
                    <a:lnTo>
                      <a:pt x="1431" y="1361"/>
                    </a:lnTo>
                    <a:lnTo>
                      <a:pt x="1460" y="1292"/>
                    </a:lnTo>
                    <a:lnTo>
                      <a:pt x="1491" y="1226"/>
                    </a:lnTo>
                    <a:lnTo>
                      <a:pt x="1521" y="1164"/>
                    </a:lnTo>
                    <a:lnTo>
                      <a:pt x="1550" y="1104"/>
                    </a:lnTo>
                    <a:lnTo>
                      <a:pt x="1580" y="1047"/>
                    </a:lnTo>
                    <a:lnTo>
                      <a:pt x="1609" y="993"/>
                    </a:lnTo>
                    <a:lnTo>
                      <a:pt x="1637" y="942"/>
                    </a:lnTo>
                    <a:lnTo>
                      <a:pt x="1665" y="894"/>
                    </a:lnTo>
                    <a:lnTo>
                      <a:pt x="1694" y="849"/>
                    </a:lnTo>
                    <a:lnTo>
                      <a:pt x="1719" y="807"/>
                    </a:lnTo>
                    <a:lnTo>
                      <a:pt x="1744" y="768"/>
                    </a:lnTo>
                    <a:lnTo>
                      <a:pt x="1768" y="733"/>
                    </a:lnTo>
                    <a:lnTo>
                      <a:pt x="1791" y="700"/>
                    </a:lnTo>
                    <a:lnTo>
                      <a:pt x="1812" y="670"/>
                    </a:lnTo>
                    <a:lnTo>
                      <a:pt x="1849" y="621"/>
                    </a:lnTo>
                    <a:lnTo>
                      <a:pt x="1878" y="584"/>
                    </a:lnTo>
                    <a:lnTo>
                      <a:pt x="1898" y="560"/>
                    </a:lnTo>
                    <a:lnTo>
                      <a:pt x="1907" y="548"/>
                    </a:lnTo>
                    <a:lnTo>
                      <a:pt x="1966" y="487"/>
                    </a:lnTo>
                    <a:lnTo>
                      <a:pt x="2026" y="429"/>
                    </a:lnTo>
                    <a:lnTo>
                      <a:pt x="2091" y="377"/>
                    </a:lnTo>
                    <a:lnTo>
                      <a:pt x="2158" y="328"/>
                    </a:lnTo>
                    <a:lnTo>
                      <a:pt x="2227" y="284"/>
                    </a:lnTo>
                    <a:lnTo>
                      <a:pt x="2297" y="244"/>
                    </a:lnTo>
                    <a:lnTo>
                      <a:pt x="2371" y="206"/>
                    </a:lnTo>
                    <a:lnTo>
                      <a:pt x="2444" y="173"/>
                    </a:lnTo>
                    <a:lnTo>
                      <a:pt x="2520" y="143"/>
                    </a:lnTo>
                    <a:lnTo>
                      <a:pt x="2596" y="116"/>
                    </a:lnTo>
                    <a:lnTo>
                      <a:pt x="2673" y="94"/>
                    </a:lnTo>
                    <a:lnTo>
                      <a:pt x="2751" y="73"/>
                    </a:lnTo>
                    <a:lnTo>
                      <a:pt x="2827" y="55"/>
                    </a:lnTo>
                    <a:lnTo>
                      <a:pt x="2905" y="41"/>
                    </a:lnTo>
                    <a:lnTo>
                      <a:pt x="2982" y="28"/>
                    </a:lnTo>
                    <a:lnTo>
                      <a:pt x="3057" y="18"/>
                    </a:lnTo>
                    <a:lnTo>
                      <a:pt x="3133" y="11"/>
                    </a:lnTo>
                    <a:lnTo>
                      <a:pt x="3206" y="5"/>
                    </a:lnTo>
                    <a:lnTo>
                      <a:pt x="3279" y="2"/>
                    </a:lnTo>
                    <a:lnTo>
                      <a:pt x="3349" y="0"/>
                    </a:lnTo>
                    <a:lnTo>
                      <a:pt x="3417" y="0"/>
                    </a:lnTo>
                    <a:lnTo>
                      <a:pt x="3483" y="2"/>
                    </a:lnTo>
                    <a:lnTo>
                      <a:pt x="3546" y="4"/>
                    </a:lnTo>
                    <a:lnTo>
                      <a:pt x="3607" y="8"/>
                    </a:lnTo>
                    <a:lnTo>
                      <a:pt x="3664" y="14"/>
                    </a:lnTo>
                    <a:lnTo>
                      <a:pt x="3718" y="19"/>
                    </a:lnTo>
                    <a:lnTo>
                      <a:pt x="3768" y="27"/>
                    </a:lnTo>
                    <a:lnTo>
                      <a:pt x="3814" y="34"/>
                    </a:lnTo>
                    <a:lnTo>
                      <a:pt x="3855" y="42"/>
                    </a:lnTo>
                    <a:lnTo>
                      <a:pt x="3893" y="51"/>
                    </a:lnTo>
                    <a:lnTo>
                      <a:pt x="3925" y="59"/>
                    </a:lnTo>
                    <a:lnTo>
                      <a:pt x="3952" y="68"/>
                    </a:lnTo>
                    <a:lnTo>
                      <a:pt x="3971" y="74"/>
                    </a:lnTo>
                    <a:lnTo>
                      <a:pt x="3991" y="81"/>
                    </a:lnTo>
                    <a:lnTo>
                      <a:pt x="4011" y="88"/>
                    </a:lnTo>
                    <a:lnTo>
                      <a:pt x="4031" y="96"/>
                    </a:lnTo>
                    <a:lnTo>
                      <a:pt x="4053" y="103"/>
                    </a:lnTo>
                    <a:lnTo>
                      <a:pt x="4075" y="112"/>
                    </a:lnTo>
                    <a:lnTo>
                      <a:pt x="4096" y="121"/>
                    </a:lnTo>
                    <a:lnTo>
                      <a:pt x="4119" y="129"/>
                    </a:lnTo>
                    <a:lnTo>
                      <a:pt x="4172" y="149"/>
                    </a:lnTo>
                    <a:lnTo>
                      <a:pt x="4228" y="170"/>
                    </a:lnTo>
                    <a:lnTo>
                      <a:pt x="4285" y="191"/>
                    </a:lnTo>
                    <a:lnTo>
                      <a:pt x="4344" y="213"/>
                    </a:lnTo>
                    <a:lnTo>
                      <a:pt x="4405" y="233"/>
                    </a:lnTo>
                    <a:lnTo>
                      <a:pt x="4468" y="254"/>
                    </a:lnTo>
                    <a:lnTo>
                      <a:pt x="4531" y="273"/>
                    </a:lnTo>
                    <a:lnTo>
                      <a:pt x="4596" y="290"/>
                    </a:lnTo>
                    <a:lnTo>
                      <a:pt x="4662" y="308"/>
                    </a:lnTo>
                    <a:lnTo>
                      <a:pt x="4728" y="323"/>
                    </a:lnTo>
                    <a:lnTo>
                      <a:pt x="4761" y="329"/>
                    </a:lnTo>
                    <a:lnTo>
                      <a:pt x="4796" y="334"/>
                    </a:lnTo>
                    <a:lnTo>
                      <a:pt x="4829" y="340"/>
                    </a:lnTo>
                    <a:lnTo>
                      <a:pt x="4863" y="345"/>
                    </a:lnTo>
                    <a:lnTo>
                      <a:pt x="4896" y="350"/>
                    </a:lnTo>
                    <a:lnTo>
                      <a:pt x="4931" y="353"/>
                    </a:lnTo>
                    <a:lnTo>
                      <a:pt x="4964" y="355"/>
                    </a:lnTo>
                    <a:lnTo>
                      <a:pt x="4998" y="357"/>
                    </a:lnTo>
                    <a:lnTo>
                      <a:pt x="5032" y="358"/>
                    </a:lnTo>
                    <a:lnTo>
                      <a:pt x="5066" y="358"/>
                    </a:lnTo>
                    <a:lnTo>
                      <a:pt x="5099" y="358"/>
                    </a:lnTo>
                    <a:lnTo>
                      <a:pt x="5133" y="356"/>
                    </a:lnTo>
                    <a:lnTo>
                      <a:pt x="5177" y="354"/>
                    </a:lnTo>
                    <a:lnTo>
                      <a:pt x="5221" y="352"/>
                    </a:lnTo>
                    <a:lnTo>
                      <a:pt x="5266" y="351"/>
                    </a:lnTo>
                    <a:lnTo>
                      <a:pt x="5311" y="350"/>
                    </a:lnTo>
                    <a:lnTo>
                      <a:pt x="5404" y="350"/>
                    </a:lnTo>
                    <a:lnTo>
                      <a:pt x="5497" y="352"/>
                    </a:lnTo>
                    <a:lnTo>
                      <a:pt x="5591" y="355"/>
                    </a:lnTo>
                    <a:lnTo>
                      <a:pt x="5683" y="360"/>
                    </a:lnTo>
                    <a:lnTo>
                      <a:pt x="5775" y="368"/>
                    </a:lnTo>
                    <a:lnTo>
                      <a:pt x="5865" y="377"/>
                    </a:lnTo>
                    <a:lnTo>
                      <a:pt x="5951" y="387"/>
                    </a:lnTo>
                    <a:lnTo>
                      <a:pt x="6035" y="399"/>
                    </a:lnTo>
                    <a:lnTo>
                      <a:pt x="6075" y="406"/>
                    </a:lnTo>
                    <a:lnTo>
                      <a:pt x="6114" y="412"/>
                    </a:lnTo>
                    <a:lnTo>
                      <a:pt x="6152" y="420"/>
                    </a:lnTo>
                    <a:lnTo>
                      <a:pt x="6189" y="426"/>
                    </a:lnTo>
                    <a:lnTo>
                      <a:pt x="6223" y="435"/>
                    </a:lnTo>
                    <a:lnTo>
                      <a:pt x="6257" y="442"/>
                    </a:lnTo>
                    <a:lnTo>
                      <a:pt x="6288" y="451"/>
                    </a:lnTo>
                    <a:lnTo>
                      <a:pt x="6318" y="460"/>
                    </a:lnTo>
                    <a:lnTo>
                      <a:pt x="6346" y="468"/>
                    </a:lnTo>
                    <a:lnTo>
                      <a:pt x="6372" y="477"/>
                    </a:lnTo>
                    <a:lnTo>
                      <a:pt x="6397" y="487"/>
                    </a:lnTo>
                    <a:lnTo>
                      <a:pt x="6419" y="496"/>
                    </a:lnTo>
                    <a:lnTo>
                      <a:pt x="6453" y="512"/>
                    </a:lnTo>
                    <a:lnTo>
                      <a:pt x="6488" y="526"/>
                    </a:lnTo>
                    <a:lnTo>
                      <a:pt x="6524" y="539"/>
                    </a:lnTo>
                    <a:lnTo>
                      <a:pt x="6560" y="550"/>
                    </a:lnTo>
                    <a:lnTo>
                      <a:pt x="6597" y="561"/>
                    </a:lnTo>
                    <a:lnTo>
                      <a:pt x="6635" y="572"/>
                    </a:lnTo>
                    <a:lnTo>
                      <a:pt x="6673" y="581"/>
                    </a:lnTo>
                    <a:lnTo>
                      <a:pt x="6711" y="589"/>
                    </a:lnTo>
                    <a:lnTo>
                      <a:pt x="6765" y="598"/>
                    </a:lnTo>
                    <a:lnTo>
                      <a:pt x="6810" y="604"/>
                    </a:lnTo>
                    <a:lnTo>
                      <a:pt x="6842" y="608"/>
                    </a:lnTo>
                    <a:lnTo>
                      <a:pt x="6859" y="609"/>
                    </a:lnTo>
                    <a:lnTo>
                      <a:pt x="6871" y="603"/>
                    </a:lnTo>
                    <a:lnTo>
                      <a:pt x="6891" y="596"/>
                    </a:lnTo>
                    <a:lnTo>
                      <a:pt x="6919" y="587"/>
                    </a:lnTo>
                    <a:lnTo>
                      <a:pt x="6954" y="577"/>
                    </a:lnTo>
                    <a:lnTo>
                      <a:pt x="6976" y="573"/>
                    </a:lnTo>
                    <a:lnTo>
                      <a:pt x="6999" y="569"/>
                    </a:lnTo>
                    <a:lnTo>
                      <a:pt x="7025" y="565"/>
                    </a:lnTo>
                    <a:lnTo>
                      <a:pt x="7052" y="562"/>
                    </a:lnTo>
                    <a:lnTo>
                      <a:pt x="7081" y="559"/>
                    </a:lnTo>
                    <a:lnTo>
                      <a:pt x="7113" y="558"/>
                    </a:lnTo>
                    <a:lnTo>
                      <a:pt x="7147" y="557"/>
                    </a:lnTo>
                    <a:lnTo>
                      <a:pt x="7182" y="557"/>
                    </a:lnTo>
                    <a:lnTo>
                      <a:pt x="7221" y="558"/>
                    </a:lnTo>
                    <a:lnTo>
                      <a:pt x="7261" y="561"/>
                    </a:lnTo>
                    <a:lnTo>
                      <a:pt x="7304" y="564"/>
                    </a:lnTo>
                    <a:lnTo>
                      <a:pt x="7348" y="570"/>
                    </a:lnTo>
                    <a:lnTo>
                      <a:pt x="7396" y="577"/>
                    </a:lnTo>
                    <a:lnTo>
                      <a:pt x="7446" y="586"/>
                    </a:lnTo>
                    <a:lnTo>
                      <a:pt x="7498" y="597"/>
                    </a:lnTo>
                    <a:lnTo>
                      <a:pt x="7552" y="610"/>
                    </a:lnTo>
                    <a:lnTo>
                      <a:pt x="7609" y="625"/>
                    </a:lnTo>
                    <a:lnTo>
                      <a:pt x="7667" y="642"/>
                    </a:lnTo>
                    <a:lnTo>
                      <a:pt x="7729" y="662"/>
                    </a:lnTo>
                    <a:lnTo>
                      <a:pt x="7792" y="683"/>
                    </a:lnTo>
                    <a:lnTo>
                      <a:pt x="7858" y="708"/>
                    </a:lnTo>
                    <a:lnTo>
                      <a:pt x="7927" y="735"/>
                    </a:lnTo>
                    <a:lnTo>
                      <a:pt x="7999" y="765"/>
                    </a:lnTo>
                    <a:lnTo>
                      <a:pt x="8072" y="799"/>
                    </a:lnTo>
                    <a:lnTo>
                      <a:pt x="8142" y="834"/>
                    </a:lnTo>
                    <a:lnTo>
                      <a:pt x="8211" y="871"/>
                    </a:lnTo>
                    <a:lnTo>
                      <a:pt x="8279" y="912"/>
                    </a:lnTo>
                    <a:lnTo>
                      <a:pt x="8344" y="955"/>
                    </a:lnTo>
                    <a:lnTo>
                      <a:pt x="8409" y="1001"/>
                    </a:lnTo>
                    <a:lnTo>
                      <a:pt x="8472" y="1048"/>
                    </a:lnTo>
                    <a:lnTo>
                      <a:pt x="8532" y="1098"/>
                    </a:lnTo>
                    <a:lnTo>
                      <a:pt x="8590" y="1149"/>
                    </a:lnTo>
                    <a:lnTo>
                      <a:pt x="8648" y="1203"/>
                    </a:lnTo>
                    <a:lnTo>
                      <a:pt x="8704" y="1260"/>
                    </a:lnTo>
                    <a:lnTo>
                      <a:pt x="8758" y="1317"/>
                    </a:lnTo>
                    <a:lnTo>
                      <a:pt x="8809" y="1376"/>
                    </a:lnTo>
                    <a:lnTo>
                      <a:pt x="8860" y="1437"/>
                    </a:lnTo>
                    <a:lnTo>
                      <a:pt x="8909" y="1498"/>
                    </a:lnTo>
                    <a:lnTo>
                      <a:pt x="8956" y="1562"/>
                    </a:lnTo>
                    <a:lnTo>
                      <a:pt x="9002" y="1626"/>
                    </a:lnTo>
                    <a:lnTo>
                      <a:pt x="9046" y="1691"/>
                    </a:lnTo>
                    <a:lnTo>
                      <a:pt x="9088" y="1757"/>
                    </a:lnTo>
                    <a:lnTo>
                      <a:pt x="9128" y="1824"/>
                    </a:lnTo>
                    <a:lnTo>
                      <a:pt x="9167" y="1891"/>
                    </a:lnTo>
                    <a:lnTo>
                      <a:pt x="9204" y="1959"/>
                    </a:lnTo>
                    <a:lnTo>
                      <a:pt x="9239" y="2027"/>
                    </a:lnTo>
                    <a:lnTo>
                      <a:pt x="9274" y="2095"/>
                    </a:lnTo>
                    <a:lnTo>
                      <a:pt x="9305" y="2164"/>
                    </a:lnTo>
                    <a:lnTo>
                      <a:pt x="9335" y="2232"/>
                    </a:lnTo>
                    <a:lnTo>
                      <a:pt x="9365" y="2300"/>
                    </a:lnTo>
                    <a:lnTo>
                      <a:pt x="9392" y="2368"/>
                    </a:lnTo>
                    <a:lnTo>
                      <a:pt x="9417" y="2436"/>
                    </a:lnTo>
                    <a:lnTo>
                      <a:pt x="9441" y="2503"/>
                    </a:lnTo>
                    <a:lnTo>
                      <a:pt x="9463" y="2570"/>
                    </a:lnTo>
                    <a:lnTo>
                      <a:pt x="9483" y="2635"/>
                    </a:lnTo>
                    <a:lnTo>
                      <a:pt x="9502" y="2701"/>
                    </a:lnTo>
                    <a:lnTo>
                      <a:pt x="9510" y="2731"/>
                    </a:lnTo>
                    <a:lnTo>
                      <a:pt x="9518" y="2762"/>
                    </a:lnTo>
                    <a:lnTo>
                      <a:pt x="9524" y="2792"/>
                    </a:lnTo>
                    <a:lnTo>
                      <a:pt x="9531" y="2823"/>
                    </a:lnTo>
                    <a:lnTo>
                      <a:pt x="9536" y="2852"/>
                    </a:lnTo>
                    <a:lnTo>
                      <a:pt x="9541" y="2881"/>
                    </a:lnTo>
                    <a:lnTo>
                      <a:pt x="9545" y="2910"/>
                    </a:lnTo>
                    <a:lnTo>
                      <a:pt x="9548" y="2938"/>
                    </a:lnTo>
                    <a:lnTo>
                      <a:pt x="9553" y="2993"/>
                    </a:lnTo>
                    <a:lnTo>
                      <a:pt x="9556" y="3046"/>
                    </a:lnTo>
                    <a:lnTo>
                      <a:pt x="9557" y="3097"/>
                    </a:lnTo>
                    <a:lnTo>
                      <a:pt x="9556" y="3145"/>
                    </a:lnTo>
                    <a:lnTo>
                      <a:pt x="9552" y="3193"/>
                    </a:lnTo>
                    <a:lnTo>
                      <a:pt x="9548" y="3237"/>
                    </a:lnTo>
                    <a:lnTo>
                      <a:pt x="9542" y="3280"/>
                    </a:lnTo>
                    <a:lnTo>
                      <a:pt x="9534" y="3320"/>
                    </a:lnTo>
                    <a:lnTo>
                      <a:pt x="9526" y="3359"/>
                    </a:lnTo>
                    <a:lnTo>
                      <a:pt x="9518" y="3395"/>
                    </a:lnTo>
                    <a:lnTo>
                      <a:pt x="9508" y="3429"/>
                    </a:lnTo>
                    <a:lnTo>
                      <a:pt x="9498" y="3461"/>
                    </a:lnTo>
                    <a:lnTo>
                      <a:pt x="9485" y="3496"/>
                    </a:lnTo>
                    <a:lnTo>
                      <a:pt x="9474" y="3527"/>
                    </a:lnTo>
                    <a:lnTo>
                      <a:pt x="9462" y="3553"/>
                    </a:lnTo>
                    <a:lnTo>
                      <a:pt x="9452" y="3575"/>
                    </a:lnTo>
                    <a:lnTo>
                      <a:pt x="9436" y="3605"/>
                    </a:lnTo>
                    <a:lnTo>
                      <a:pt x="9429" y="3617"/>
                    </a:lnTo>
                    <a:lnTo>
                      <a:pt x="9425" y="3620"/>
                    </a:lnTo>
                    <a:lnTo>
                      <a:pt x="9422" y="3623"/>
                    </a:lnTo>
                    <a:lnTo>
                      <a:pt x="9416" y="3624"/>
                    </a:lnTo>
                    <a:lnTo>
                      <a:pt x="9412" y="3623"/>
                    </a:lnTo>
                    <a:lnTo>
                      <a:pt x="9171" y="3514"/>
                    </a:lnTo>
                    <a:lnTo>
                      <a:pt x="9153" y="3505"/>
                    </a:lnTo>
                    <a:lnTo>
                      <a:pt x="9136" y="3495"/>
                    </a:lnTo>
                    <a:lnTo>
                      <a:pt x="9117" y="3484"/>
                    </a:lnTo>
                    <a:lnTo>
                      <a:pt x="9099" y="3473"/>
                    </a:lnTo>
                    <a:lnTo>
                      <a:pt x="9079" y="3460"/>
                    </a:lnTo>
                    <a:lnTo>
                      <a:pt x="9060" y="3446"/>
                    </a:lnTo>
                    <a:lnTo>
                      <a:pt x="9041" y="3430"/>
                    </a:lnTo>
                    <a:lnTo>
                      <a:pt x="9021" y="3415"/>
                    </a:lnTo>
                    <a:lnTo>
                      <a:pt x="8981" y="3382"/>
                    </a:lnTo>
                    <a:lnTo>
                      <a:pt x="8940" y="3346"/>
                    </a:lnTo>
                    <a:lnTo>
                      <a:pt x="8898" y="3308"/>
                    </a:lnTo>
                    <a:lnTo>
                      <a:pt x="8856" y="3270"/>
                    </a:lnTo>
                    <a:lnTo>
                      <a:pt x="8785" y="3205"/>
                    </a:lnTo>
                    <a:lnTo>
                      <a:pt x="8710" y="3140"/>
                    </a:lnTo>
                    <a:lnTo>
                      <a:pt x="8673" y="3109"/>
                    </a:lnTo>
                    <a:lnTo>
                      <a:pt x="8636" y="3079"/>
                    </a:lnTo>
                    <a:lnTo>
                      <a:pt x="8597" y="3049"/>
                    </a:lnTo>
                    <a:lnTo>
                      <a:pt x="8559" y="3022"/>
                    </a:lnTo>
                    <a:lnTo>
                      <a:pt x="8520" y="2996"/>
                    </a:lnTo>
                    <a:lnTo>
                      <a:pt x="8481" y="2974"/>
                    </a:lnTo>
                    <a:lnTo>
                      <a:pt x="8462" y="2963"/>
                    </a:lnTo>
                    <a:lnTo>
                      <a:pt x="8442" y="2953"/>
                    </a:lnTo>
                    <a:lnTo>
                      <a:pt x="8422" y="2944"/>
                    </a:lnTo>
                    <a:lnTo>
                      <a:pt x="8402" y="2935"/>
                    </a:lnTo>
                    <a:lnTo>
                      <a:pt x="8383" y="2927"/>
                    </a:lnTo>
                    <a:lnTo>
                      <a:pt x="8364" y="2921"/>
                    </a:lnTo>
                    <a:lnTo>
                      <a:pt x="8344" y="2914"/>
                    </a:lnTo>
                    <a:lnTo>
                      <a:pt x="8325" y="2910"/>
                    </a:lnTo>
                    <a:lnTo>
                      <a:pt x="8304" y="2906"/>
                    </a:lnTo>
                    <a:lnTo>
                      <a:pt x="8285" y="2903"/>
                    </a:lnTo>
                    <a:lnTo>
                      <a:pt x="8265" y="2900"/>
                    </a:lnTo>
                    <a:lnTo>
                      <a:pt x="8246" y="2900"/>
                    </a:lnTo>
                    <a:lnTo>
                      <a:pt x="8222" y="2900"/>
                    </a:lnTo>
                    <a:lnTo>
                      <a:pt x="8198" y="2900"/>
                    </a:lnTo>
                    <a:lnTo>
                      <a:pt x="8175" y="2903"/>
                    </a:lnTo>
                    <a:lnTo>
                      <a:pt x="8149" y="2906"/>
                    </a:lnTo>
                    <a:lnTo>
                      <a:pt x="8123" y="2909"/>
                    </a:lnTo>
                    <a:lnTo>
                      <a:pt x="8096" y="2913"/>
                    </a:lnTo>
                    <a:lnTo>
                      <a:pt x="8068" y="2920"/>
                    </a:lnTo>
                    <a:lnTo>
                      <a:pt x="8040" y="2926"/>
                    </a:lnTo>
                    <a:lnTo>
                      <a:pt x="8001" y="2936"/>
                    </a:lnTo>
                    <a:lnTo>
                      <a:pt x="7962" y="2946"/>
                    </a:lnTo>
                    <a:lnTo>
                      <a:pt x="7922" y="2958"/>
                    </a:lnTo>
                    <a:lnTo>
                      <a:pt x="7881" y="2971"/>
                    </a:lnTo>
                    <a:lnTo>
                      <a:pt x="7840" y="2985"/>
                    </a:lnTo>
                    <a:lnTo>
                      <a:pt x="7798" y="2999"/>
                    </a:lnTo>
                    <a:lnTo>
                      <a:pt x="7756" y="3013"/>
                    </a:lnTo>
                    <a:lnTo>
                      <a:pt x="7712" y="3028"/>
                    </a:lnTo>
                    <a:lnTo>
                      <a:pt x="7669" y="3043"/>
                    </a:lnTo>
                    <a:lnTo>
                      <a:pt x="7624" y="3058"/>
                    </a:lnTo>
                    <a:lnTo>
                      <a:pt x="7580" y="3073"/>
                    </a:lnTo>
                    <a:lnTo>
                      <a:pt x="7533" y="3088"/>
                    </a:lnTo>
                    <a:lnTo>
                      <a:pt x="7487" y="3103"/>
                    </a:lnTo>
                    <a:lnTo>
                      <a:pt x="7439" y="3118"/>
                    </a:lnTo>
                    <a:lnTo>
                      <a:pt x="7391" y="3132"/>
                    </a:lnTo>
                    <a:lnTo>
                      <a:pt x="7342" y="3145"/>
                    </a:lnTo>
                    <a:lnTo>
                      <a:pt x="7291" y="3157"/>
                    </a:lnTo>
                    <a:lnTo>
                      <a:pt x="7242" y="3169"/>
                    </a:lnTo>
                    <a:lnTo>
                      <a:pt x="7190" y="3180"/>
                    </a:lnTo>
                    <a:lnTo>
                      <a:pt x="7138" y="3189"/>
                    </a:lnTo>
                    <a:lnTo>
                      <a:pt x="7084" y="3197"/>
                    </a:lnTo>
                    <a:lnTo>
                      <a:pt x="7030" y="3204"/>
                    </a:lnTo>
                    <a:lnTo>
                      <a:pt x="6976" y="3209"/>
                    </a:lnTo>
                    <a:lnTo>
                      <a:pt x="6920" y="3212"/>
                    </a:lnTo>
                    <a:lnTo>
                      <a:pt x="6878" y="3213"/>
                    </a:lnTo>
                    <a:lnTo>
                      <a:pt x="6772" y="3218"/>
                    </a:lnTo>
                    <a:lnTo>
                      <a:pt x="6666" y="3222"/>
                    </a:lnTo>
                    <a:lnTo>
                      <a:pt x="6558" y="3225"/>
                    </a:lnTo>
                    <a:lnTo>
                      <a:pt x="6449" y="3227"/>
                    </a:lnTo>
                    <a:lnTo>
                      <a:pt x="6339" y="3229"/>
                    </a:lnTo>
                    <a:lnTo>
                      <a:pt x="6229" y="3226"/>
                    </a:lnTo>
                    <a:lnTo>
                      <a:pt x="6174" y="3225"/>
                    </a:lnTo>
                    <a:lnTo>
                      <a:pt x="6118" y="3222"/>
                    </a:lnTo>
                    <a:lnTo>
                      <a:pt x="6062" y="3219"/>
                    </a:lnTo>
                    <a:lnTo>
                      <a:pt x="6007" y="3216"/>
                    </a:lnTo>
                    <a:lnTo>
                      <a:pt x="5952" y="3210"/>
                    </a:lnTo>
                    <a:lnTo>
                      <a:pt x="5897" y="3205"/>
                    </a:lnTo>
                    <a:lnTo>
                      <a:pt x="5842" y="3198"/>
                    </a:lnTo>
                    <a:lnTo>
                      <a:pt x="5787" y="3190"/>
                    </a:lnTo>
                    <a:lnTo>
                      <a:pt x="5732" y="3181"/>
                    </a:lnTo>
                    <a:lnTo>
                      <a:pt x="5678" y="3171"/>
                    </a:lnTo>
                    <a:lnTo>
                      <a:pt x="5623" y="3161"/>
                    </a:lnTo>
                    <a:lnTo>
                      <a:pt x="5569" y="3148"/>
                    </a:lnTo>
                    <a:lnTo>
                      <a:pt x="5516" y="3135"/>
                    </a:lnTo>
                    <a:lnTo>
                      <a:pt x="5462" y="3120"/>
                    </a:lnTo>
                    <a:lnTo>
                      <a:pt x="5409" y="3103"/>
                    </a:lnTo>
                    <a:lnTo>
                      <a:pt x="5356" y="3085"/>
                    </a:lnTo>
                    <a:lnTo>
                      <a:pt x="5304" y="3066"/>
                    </a:lnTo>
                    <a:lnTo>
                      <a:pt x="5253" y="3045"/>
                    </a:lnTo>
                    <a:lnTo>
                      <a:pt x="5201" y="3022"/>
                    </a:lnTo>
                    <a:lnTo>
                      <a:pt x="5150" y="2999"/>
                    </a:lnTo>
                    <a:lnTo>
                      <a:pt x="5064" y="2955"/>
                    </a:lnTo>
                    <a:lnTo>
                      <a:pt x="4970" y="2910"/>
                    </a:lnTo>
                    <a:lnTo>
                      <a:pt x="4868" y="2860"/>
                    </a:lnTo>
                    <a:lnTo>
                      <a:pt x="4761" y="2808"/>
                    </a:lnTo>
                    <a:lnTo>
                      <a:pt x="4649" y="2754"/>
                    </a:lnTo>
                    <a:lnTo>
                      <a:pt x="4535" y="2699"/>
                    </a:lnTo>
                    <a:lnTo>
                      <a:pt x="4419" y="2642"/>
                    </a:lnTo>
                    <a:lnTo>
                      <a:pt x="4302" y="2586"/>
                    </a:lnTo>
                    <a:lnTo>
                      <a:pt x="4187" y="2531"/>
                    </a:lnTo>
                    <a:lnTo>
                      <a:pt x="4075" y="2476"/>
                    </a:lnTo>
                    <a:lnTo>
                      <a:pt x="3965" y="2424"/>
                    </a:lnTo>
                    <a:lnTo>
                      <a:pt x="3861" y="2374"/>
                    </a:lnTo>
                    <a:lnTo>
                      <a:pt x="3764" y="2327"/>
                    </a:lnTo>
                    <a:lnTo>
                      <a:pt x="3674" y="2284"/>
                    </a:lnTo>
                    <a:lnTo>
                      <a:pt x="3593" y="2245"/>
                    </a:lnTo>
                    <a:lnTo>
                      <a:pt x="3523" y="2212"/>
                    </a:lnTo>
                    <a:lnTo>
                      <a:pt x="3428" y="2166"/>
                    </a:lnTo>
                    <a:lnTo>
                      <a:pt x="3422" y="2167"/>
                    </a:lnTo>
                    <a:lnTo>
                      <a:pt x="3415" y="2170"/>
                    </a:lnTo>
                    <a:lnTo>
                      <a:pt x="3404" y="2174"/>
                    </a:lnTo>
                    <a:lnTo>
                      <a:pt x="3392" y="2180"/>
                    </a:lnTo>
                    <a:lnTo>
                      <a:pt x="3376" y="2188"/>
                    </a:lnTo>
                    <a:lnTo>
                      <a:pt x="3359" y="2200"/>
                    </a:lnTo>
                    <a:lnTo>
                      <a:pt x="3339" y="2214"/>
                    </a:lnTo>
                    <a:lnTo>
                      <a:pt x="3319" y="2232"/>
                    </a:lnTo>
                    <a:lnTo>
                      <a:pt x="3295" y="2254"/>
                    </a:lnTo>
                    <a:lnTo>
                      <a:pt x="3270" y="2280"/>
                    </a:lnTo>
                    <a:lnTo>
                      <a:pt x="3243" y="2311"/>
                    </a:lnTo>
                    <a:lnTo>
                      <a:pt x="3215" y="2348"/>
                    </a:lnTo>
                    <a:lnTo>
                      <a:pt x="3201" y="2368"/>
                    </a:lnTo>
                    <a:lnTo>
                      <a:pt x="3186" y="2390"/>
                    </a:lnTo>
                    <a:lnTo>
                      <a:pt x="3171" y="2414"/>
                    </a:lnTo>
                    <a:lnTo>
                      <a:pt x="3155" y="2438"/>
                    </a:lnTo>
                    <a:lnTo>
                      <a:pt x="3138" y="2464"/>
                    </a:lnTo>
                    <a:lnTo>
                      <a:pt x="3123" y="2492"/>
                    </a:lnTo>
                    <a:lnTo>
                      <a:pt x="3106" y="2523"/>
                    </a:lnTo>
                    <a:lnTo>
                      <a:pt x="3090" y="2554"/>
                    </a:lnTo>
                    <a:lnTo>
                      <a:pt x="3072" y="2618"/>
                    </a:lnTo>
                    <a:lnTo>
                      <a:pt x="3051" y="2693"/>
                    </a:lnTo>
                    <a:lnTo>
                      <a:pt x="3023" y="2780"/>
                    </a:lnTo>
                    <a:lnTo>
                      <a:pt x="2991" y="2875"/>
                    </a:lnTo>
                    <a:lnTo>
                      <a:pt x="2956" y="2977"/>
                    </a:lnTo>
                    <a:lnTo>
                      <a:pt x="2918" y="3085"/>
                    </a:lnTo>
                    <a:lnTo>
                      <a:pt x="2876" y="3197"/>
                    </a:lnTo>
                    <a:lnTo>
                      <a:pt x="2833" y="3312"/>
                    </a:lnTo>
                    <a:lnTo>
                      <a:pt x="2788" y="3426"/>
                    </a:lnTo>
                    <a:lnTo>
                      <a:pt x="2742" y="3539"/>
                    </a:lnTo>
                    <a:lnTo>
                      <a:pt x="2696" y="3650"/>
                    </a:lnTo>
                    <a:lnTo>
                      <a:pt x="2649" y="3755"/>
                    </a:lnTo>
                    <a:lnTo>
                      <a:pt x="2626" y="3805"/>
                    </a:lnTo>
                    <a:lnTo>
                      <a:pt x="2603" y="3855"/>
                    </a:lnTo>
                    <a:lnTo>
                      <a:pt x="2581" y="3901"/>
                    </a:lnTo>
                    <a:lnTo>
                      <a:pt x="2558" y="3945"/>
                    </a:lnTo>
                    <a:lnTo>
                      <a:pt x="2537" y="3987"/>
                    </a:lnTo>
                    <a:lnTo>
                      <a:pt x="2515" y="4026"/>
                    </a:lnTo>
                    <a:lnTo>
                      <a:pt x="2495" y="4063"/>
                    </a:lnTo>
                    <a:lnTo>
                      <a:pt x="2475" y="4096"/>
                    </a:lnTo>
                    <a:lnTo>
                      <a:pt x="2466" y="4112"/>
                    </a:lnTo>
                    <a:lnTo>
                      <a:pt x="2456" y="4127"/>
                    </a:lnTo>
                    <a:lnTo>
                      <a:pt x="2445" y="4142"/>
                    </a:lnTo>
                    <a:lnTo>
                      <a:pt x="2433" y="4158"/>
                    </a:lnTo>
                    <a:lnTo>
                      <a:pt x="2400" y="4158"/>
                    </a:lnTo>
                    <a:lnTo>
                      <a:pt x="2414" y="4139"/>
                    </a:lnTo>
                    <a:lnTo>
                      <a:pt x="2428" y="4119"/>
                    </a:lnTo>
                    <a:lnTo>
                      <a:pt x="2441" y="4101"/>
                    </a:lnTo>
                    <a:lnTo>
                      <a:pt x="2452" y="4082"/>
                    </a:lnTo>
                    <a:lnTo>
                      <a:pt x="2472" y="4049"/>
                    </a:lnTo>
                    <a:lnTo>
                      <a:pt x="2493" y="4012"/>
                    </a:lnTo>
                    <a:lnTo>
                      <a:pt x="2513" y="3973"/>
                    </a:lnTo>
                    <a:lnTo>
                      <a:pt x="2536" y="3931"/>
                    </a:lnTo>
                    <a:lnTo>
                      <a:pt x="2557" y="3887"/>
                    </a:lnTo>
                    <a:lnTo>
                      <a:pt x="2580" y="3841"/>
                    </a:lnTo>
                    <a:lnTo>
                      <a:pt x="2603" y="3792"/>
                    </a:lnTo>
                    <a:lnTo>
                      <a:pt x="2625" y="3742"/>
                    </a:lnTo>
                    <a:lnTo>
                      <a:pt x="2672" y="3637"/>
                    </a:lnTo>
                    <a:lnTo>
                      <a:pt x="2718" y="3527"/>
                    </a:lnTo>
                    <a:lnTo>
                      <a:pt x="2764" y="3414"/>
                    </a:lnTo>
                    <a:lnTo>
                      <a:pt x="2809" y="3300"/>
                    </a:lnTo>
                    <a:lnTo>
                      <a:pt x="2852" y="3185"/>
                    </a:lnTo>
                    <a:lnTo>
                      <a:pt x="2893" y="3074"/>
                    </a:lnTo>
                    <a:lnTo>
                      <a:pt x="2931" y="2966"/>
                    </a:lnTo>
                    <a:lnTo>
                      <a:pt x="2967" y="2865"/>
                    </a:lnTo>
                    <a:lnTo>
                      <a:pt x="2998" y="2770"/>
                    </a:lnTo>
                    <a:lnTo>
                      <a:pt x="3025" y="2683"/>
                    </a:lnTo>
                    <a:lnTo>
                      <a:pt x="3047" y="2609"/>
                    </a:lnTo>
                    <a:lnTo>
                      <a:pt x="3064" y="2545"/>
                    </a:lnTo>
                    <a:lnTo>
                      <a:pt x="3064" y="2544"/>
                    </a:lnTo>
                    <a:lnTo>
                      <a:pt x="3065" y="2543"/>
                    </a:lnTo>
                    <a:lnTo>
                      <a:pt x="3083" y="2507"/>
                    </a:lnTo>
                    <a:lnTo>
                      <a:pt x="3103" y="2473"/>
                    </a:lnTo>
                    <a:lnTo>
                      <a:pt x="3121" y="2442"/>
                    </a:lnTo>
                    <a:lnTo>
                      <a:pt x="3138" y="2412"/>
                    </a:lnTo>
                    <a:lnTo>
                      <a:pt x="3157" y="2385"/>
                    </a:lnTo>
                    <a:lnTo>
                      <a:pt x="3174" y="2360"/>
                    </a:lnTo>
                    <a:lnTo>
                      <a:pt x="3190" y="2336"/>
                    </a:lnTo>
                    <a:lnTo>
                      <a:pt x="3206" y="2314"/>
                    </a:lnTo>
                    <a:lnTo>
                      <a:pt x="3223" y="2294"/>
                    </a:lnTo>
                    <a:lnTo>
                      <a:pt x="3239" y="2275"/>
                    </a:lnTo>
                    <a:lnTo>
                      <a:pt x="3254" y="2258"/>
                    </a:lnTo>
                    <a:lnTo>
                      <a:pt x="3268" y="2242"/>
                    </a:lnTo>
                    <a:lnTo>
                      <a:pt x="3282" y="2228"/>
                    </a:lnTo>
                    <a:lnTo>
                      <a:pt x="3296" y="2215"/>
                    </a:lnTo>
                    <a:lnTo>
                      <a:pt x="3309" y="2204"/>
                    </a:lnTo>
                    <a:lnTo>
                      <a:pt x="3321" y="2193"/>
                    </a:lnTo>
                    <a:lnTo>
                      <a:pt x="3345" y="2176"/>
                    </a:lnTo>
                    <a:lnTo>
                      <a:pt x="3365" y="2163"/>
                    </a:lnTo>
                    <a:lnTo>
                      <a:pt x="3383" y="2153"/>
                    </a:lnTo>
                    <a:lnTo>
                      <a:pt x="3399" y="2147"/>
                    </a:lnTo>
                    <a:lnTo>
                      <a:pt x="3420" y="2140"/>
                    </a:lnTo>
                    <a:lnTo>
                      <a:pt x="3430" y="2139"/>
                    </a:lnTo>
                    <a:lnTo>
                      <a:pt x="3433" y="2139"/>
                    </a:lnTo>
                    <a:lnTo>
                      <a:pt x="3436" y="2140"/>
                    </a:lnTo>
                    <a:lnTo>
                      <a:pt x="3535" y="2188"/>
                    </a:lnTo>
                    <a:lnTo>
                      <a:pt x="3605" y="2221"/>
                    </a:lnTo>
                    <a:lnTo>
                      <a:pt x="3686" y="2260"/>
                    </a:lnTo>
                    <a:lnTo>
                      <a:pt x="3775" y="2302"/>
                    </a:lnTo>
                    <a:lnTo>
                      <a:pt x="3873" y="2350"/>
                    </a:lnTo>
                    <a:lnTo>
                      <a:pt x="3976" y="2400"/>
                    </a:lnTo>
                    <a:lnTo>
                      <a:pt x="4086" y="2452"/>
                    </a:lnTo>
                    <a:lnTo>
                      <a:pt x="4199" y="2506"/>
                    </a:lnTo>
                    <a:lnTo>
                      <a:pt x="4314" y="2563"/>
                    </a:lnTo>
                    <a:lnTo>
                      <a:pt x="4431" y="2619"/>
                    </a:lnTo>
                    <a:lnTo>
                      <a:pt x="4546" y="2675"/>
                    </a:lnTo>
                    <a:lnTo>
                      <a:pt x="4661" y="2730"/>
                    </a:lnTo>
                    <a:lnTo>
                      <a:pt x="4773" y="2784"/>
                    </a:lnTo>
                    <a:lnTo>
                      <a:pt x="4880" y="2836"/>
                    </a:lnTo>
                    <a:lnTo>
                      <a:pt x="4982" y="2885"/>
                    </a:lnTo>
                    <a:lnTo>
                      <a:pt x="5075" y="2932"/>
                    </a:lnTo>
                    <a:lnTo>
                      <a:pt x="5162" y="2974"/>
                    </a:lnTo>
                    <a:lnTo>
                      <a:pt x="5213" y="2998"/>
                    </a:lnTo>
                    <a:lnTo>
                      <a:pt x="5263" y="3020"/>
                    </a:lnTo>
                    <a:lnTo>
                      <a:pt x="5314" y="3041"/>
                    </a:lnTo>
                    <a:lnTo>
                      <a:pt x="5366" y="3060"/>
                    </a:lnTo>
                    <a:lnTo>
                      <a:pt x="5418" y="3077"/>
                    </a:lnTo>
                    <a:lnTo>
                      <a:pt x="5471" y="3094"/>
                    </a:lnTo>
                    <a:lnTo>
                      <a:pt x="5524" y="3109"/>
                    </a:lnTo>
                    <a:lnTo>
                      <a:pt x="5578" y="3122"/>
                    </a:lnTo>
                    <a:lnTo>
                      <a:pt x="5631" y="3135"/>
                    </a:lnTo>
                    <a:lnTo>
                      <a:pt x="5685" y="3145"/>
                    </a:lnTo>
                    <a:lnTo>
                      <a:pt x="5738" y="3155"/>
                    </a:lnTo>
                    <a:lnTo>
                      <a:pt x="5792" y="3164"/>
                    </a:lnTo>
                    <a:lnTo>
                      <a:pt x="5848" y="3171"/>
                    </a:lnTo>
                    <a:lnTo>
                      <a:pt x="5903" y="3178"/>
                    </a:lnTo>
                    <a:lnTo>
                      <a:pt x="5957" y="3183"/>
                    </a:lnTo>
                    <a:lnTo>
                      <a:pt x="6012" y="3189"/>
                    </a:lnTo>
                    <a:lnTo>
                      <a:pt x="6067" y="3192"/>
                    </a:lnTo>
                    <a:lnTo>
                      <a:pt x="6122" y="3195"/>
                    </a:lnTo>
                    <a:lnTo>
                      <a:pt x="6177" y="3198"/>
                    </a:lnTo>
                    <a:lnTo>
                      <a:pt x="6231" y="3199"/>
                    </a:lnTo>
                    <a:lnTo>
                      <a:pt x="6341" y="3202"/>
                    </a:lnTo>
                    <a:lnTo>
                      <a:pt x="6450" y="3201"/>
                    </a:lnTo>
                    <a:lnTo>
                      <a:pt x="6558" y="3198"/>
                    </a:lnTo>
                    <a:lnTo>
                      <a:pt x="6666" y="3195"/>
                    </a:lnTo>
                    <a:lnTo>
                      <a:pt x="6772" y="3191"/>
                    </a:lnTo>
                    <a:lnTo>
                      <a:pt x="6877" y="3186"/>
                    </a:lnTo>
                    <a:lnTo>
                      <a:pt x="6919" y="3185"/>
                    </a:lnTo>
                    <a:lnTo>
                      <a:pt x="6974" y="3182"/>
                    </a:lnTo>
                    <a:lnTo>
                      <a:pt x="7028" y="3177"/>
                    </a:lnTo>
                    <a:lnTo>
                      <a:pt x="7081" y="3170"/>
                    </a:lnTo>
                    <a:lnTo>
                      <a:pt x="7134" y="3163"/>
                    </a:lnTo>
                    <a:lnTo>
                      <a:pt x="7185" y="3153"/>
                    </a:lnTo>
                    <a:lnTo>
                      <a:pt x="7236" y="3142"/>
                    </a:lnTo>
                    <a:lnTo>
                      <a:pt x="7286" y="3131"/>
                    </a:lnTo>
                    <a:lnTo>
                      <a:pt x="7336" y="3118"/>
                    </a:lnTo>
                    <a:lnTo>
                      <a:pt x="7384" y="3106"/>
                    </a:lnTo>
                    <a:lnTo>
                      <a:pt x="7432" y="3091"/>
                    </a:lnTo>
                    <a:lnTo>
                      <a:pt x="7479" y="3077"/>
                    </a:lnTo>
                    <a:lnTo>
                      <a:pt x="7526" y="3062"/>
                    </a:lnTo>
                    <a:lnTo>
                      <a:pt x="7571" y="3047"/>
                    </a:lnTo>
                    <a:lnTo>
                      <a:pt x="7616" y="3032"/>
                    </a:lnTo>
                    <a:lnTo>
                      <a:pt x="7661" y="3017"/>
                    </a:lnTo>
                    <a:lnTo>
                      <a:pt x="7704" y="3002"/>
                    </a:lnTo>
                    <a:lnTo>
                      <a:pt x="7747" y="2988"/>
                    </a:lnTo>
                    <a:lnTo>
                      <a:pt x="7790" y="2973"/>
                    </a:lnTo>
                    <a:lnTo>
                      <a:pt x="7832" y="2959"/>
                    </a:lnTo>
                    <a:lnTo>
                      <a:pt x="7873" y="2945"/>
                    </a:lnTo>
                    <a:lnTo>
                      <a:pt x="7914" y="2932"/>
                    </a:lnTo>
                    <a:lnTo>
                      <a:pt x="7954" y="2920"/>
                    </a:lnTo>
                    <a:lnTo>
                      <a:pt x="7994" y="2909"/>
                    </a:lnTo>
                    <a:lnTo>
                      <a:pt x="8033" y="2899"/>
                    </a:lnTo>
                    <a:lnTo>
                      <a:pt x="8062" y="2893"/>
                    </a:lnTo>
                    <a:lnTo>
                      <a:pt x="8091" y="2887"/>
                    </a:lnTo>
                    <a:lnTo>
                      <a:pt x="8118" y="2882"/>
                    </a:lnTo>
                    <a:lnTo>
                      <a:pt x="8145" y="2879"/>
                    </a:lnTo>
                    <a:lnTo>
                      <a:pt x="8172" y="2876"/>
                    </a:lnTo>
                    <a:lnTo>
                      <a:pt x="8197" y="2873"/>
                    </a:lnTo>
                    <a:lnTo>
                      <a:pt x="8222" y="2873"/>
                    </a:lnTo>
                    <a:lnTo>
                      <a:pt x="8246" y="2873"/>
                    </a:lnTo>
                    <a:lnTo>
                      <a:pt x="8266" y="2873"/>
                    </a:lnTo>
                    <a:lnTo>
                      <a:pt x="8287" y="2876"/>
                    </a:lnTo>
                    <a:lnTo>
                      <a:pt x="8307" y="2879"/>
                    </a:lnTo>
                    <a:lnTo>
                      <a:pt x="8328" y="2883"/>
                    </a:lnTo>
                    <a:lnTo>
                      <a:pt x="8348" y="2889"/>
                    </a:lnTo>
                    <a:lnTo>
                      <a:pt x="8369" y="2894"/>
                    </a:lnTo>
                    <a:lnTo>
                      <a:pt x="8389" y="2901"/>
                    </a:lnTo>
                    <a:lnTo>
                      <a:pt x="8410" y="2909"/>
                    </a:lnTo>
                    <a:lnTo>
                      <a:pt x="8430" y="2918"/>
                    </a:lnTo>
                    <a:lnTo>
                      <a:pt x="8450" y="2927"/>
                    </a:lnTo>
                    <a:lnTo>
                      <a:pt x="8470" y="2937"/>
                    </a:lnTo>
                    <a:lnTo>
                      <a:pt x="8491" y="2948"/>
                    </a:lnTo>
                    <a:lnTo>
                      <a:pt x="8531" y="2972"/>
                    </a:lnTo>
                    <a:lnTo>
                      <a:pt x="8571" y="2998"/>
                    </a:lnTo>
                    <a:lnTo>
                      <a:pt x="8610" y="3026"/>
                    </a:lnTo>
                    <a:lnTo>
                      <a:pt x="8649" y="3055"/>
                    </a:lnTo>
                    <a:lnTo>
                      <a:pt x="8687" y="3086"/>
                    </a:lnTo>
                    <a:lnTo>
                      <a:pt x="8726" y="3117"/>
                    </a:lnTo>
                    <a:lnTo>
                      <a:pt x="8801" y="3183"/>
                    </a:lnTo>
                    <a:lnTo>
                      <a:pt x="8874" y="3250"/>
                    </a:lnTo>
                    <a:lnTo>
                      <a:pt x="8916" y="3288"/>
                    </a:lnTo>
                    <a:lnTo>
                      <a:pt x="8957" y="3325"/>
                    </a:lnTo>
                    <a:lnTo>
                      <a:pt x="8997" y="3360"/>
                    </a:lnTo>
                    <a:lnTo>
                      <a:pt x="9037" y="3393"/>
                    </a:lnTo>
                    <a:lnTo>
                      <a:pt x="9075" y="3423"/>
                    </a:lnTo>
                    <a:lnTo>
                      <a:pt x="9112" y="3449"/>
                    </a:lnTo>
                    <a:lnTo>
                      <a:pt x="9130" y="3461"/>
                    </a:lnTo>
                    <a:lnTo>
                      <a:pt x="9147" y="3471"/>
                    </a:lnTo>
                    <a:lnTo>
                      <a:pt x="9165" y="3481"/>
                    </a:lnTo>
                    <a:lnTo>
                      <a:pt x="9182" y="3489"/>
                    </a:lnTo>
                    <a:lnTo>
                      <a:pt x="9412" y="3592"/>
                    </a:lnTo>
                    <a:lnTo>
                      <a:pt x="9423" y="3573"/>
                    </a:lnTo>
                    <a:lnTo>
                      <a:pt x="9437" y="3542"/>
                    </a:lnTo>
                    <a:lnTo>
                      <a:pt x="9445" y="3523"/>
                    </a:lnTo>
                    <a:lnTo>
                      <a:pt x="9454" y="3502"/>
                    </a:lnTo>
                    <a:lnTo>
                      <a:pt x="9464" y="3478"/>
                    </a:lnTo>
                    <a:lnTo>
                      <a:pt x="9472" y="3452"/>
                    </a:lnTo>
                    <a:lnTo>
                      <a:pt x="9482" y="3421"/>
                    </a:lnTo>
                    <a:lnTo>
                      <a:pt x="9492" y="3388"/>
                    </a:lnTo>
                    <a:lnTo>
                      <a:pt x="9501" y="3353"/>
                    </a:lnTo>
                    <a:lnTo>
                      <a:pt x="9508" y="3315"/>
                    </a:lnTo>
                    <a:lnTo>
                      <a:pt x="9515" y="3276"/>
                    </a:lnTo>
                    <a:lnTo>
                      <a:pt x="9521" y="3234"/>
                    </a:lnTo>
                    <a:lnTo>
                      <a:pt x="9525" y="3190"/>
                    </a:lnTo>
                    <a:lnTo>
                      <a:pt x="9529" y="3144"/>
                    </a:lnTo>
                    <a:lnTo>
                      <a:pt x="9530" y="3096"/>
                    </a:lnTo>
                    <a:lnTo>
                      <a:pt x="9529" y="3046"/>
                    </a:lnTo>
                    <a:lnTo>
                      <a:pt x="9526" y="2994"/>
                    </a:lnTo>
                    <a:lnTo>
                      <a:pt x="9521" y="2940"/>
                    </a:lnTo>
                    <a:lnTo>
                      <a:pt x="9518" y="2913"/>
                    </a:lnTo>
                    <a:lnTo>
                      <a:pt x="9515" y="2885"/>
                    </a:lnTo>
                    <a:lnTo>
                      <a:pt x="9509" y="2856"/>
                    </a:lnTo>
                    <a:lnTo>
                      <a:pt x="9504" y="2827"/>
                    </a:lnTo>
                    <a:lnTo>
                      <a:pt x="9498" y="2798"/>
                    </a:lnTo>
                    <a:lnTo>
                      <a:pt x="9492" y="2769"/>
                    </a:lnTo>
                    <a:lnTo>
                      <a:pt x="9484" y="2738"/>
                    </a:lnTo>
                    <a:lnTo>
                      <a:pt x="9476" y="2707"/>
                    </a:lnTo>
                    <a:lnTo>
                      <a:pt x="9457" y="2643"/>
                    </a:lnTo>
                    <a:lnTo>
                      <a:pt x="9437" y="2578"/>
                    </a:lnTo>
                    <a:lnTo>
                      <a:pt x="9415" y="2512"/>
                    </a:lnTo>
                    <a:lnTo>
                      <a:pt x="9392" y="2446"/>
                    </a:lnTo>
                    <a:lnTo>
                      <a:pt x="9367" y="2379"/>
                    </a:lnTo>
                    <a:lnTo>
                      <a:pt x="9340" y="2311"/>
                    </a:lnTo>
                    <a:lnTo>
                      <a:pt x="9312" y="2243"/>
                    </a:lnTo>
                    <a:lnTo>
                      <a:pt x="9281" y="2176"/>
                    </a:lnTo>
                    <a:lnTo>
                      <a:pt x="9249" y="2108"/>
                    </a:lnTo>
                    <a:lnTo>
                      <a:pt x="9215" y="2040"/>
                    </a:lnTo>
                    <a:lnTo>
                      <a:pt x="9181" y="1972"/>
                    </a:lnTo>
                    <a:lnTo>
                      <a:pt x="9144" y="1905"/>
                    </a:lnTo>
                    <a:lnTo>
                      <a:pt x="9105" y="1838"/>
                    </a:lnTo>
                    <a:lnTo>
                      <a:pt x="9065" y="1772"/>
                    </a:lnTo>
                    <a:lnTo>
                      <a:pt x="9024" y="1708"/>
                    </a:lnTo>
                    <a:lnTo>
                      <a:pt x="8980" y="1643"/>
                    </a:lnTo>
                    <a:lnTo>
                      <a:pt x="8936" y="1579"/>
                    </a:lnTo>
                    <a:lnTo>
                      <a:pt x="8888" y="1517"/>
                    </a:lnTo>
                    <a:lnTo>
                      <a:pt x="8841" y="1455"/>
                    </a:lnTo>
                    <a:lnTo>
                      <a:pt x="8790" y="1395"/>
                    </a:lnTo>
                    <a:lnTo>
                      <a:pt x="8738" y="1336"/>
                    </a:lnTo>
                    <a:lnTo>
                      <a:pt x="8685" y="1279"/>
                    </a:lnTo>
                    <a:lnTo>
                      <a:pt x="8630" y="1224"/>
                    </a:lnTo>
                    <a:lnTo>
                      <a:pt x="8574" y="1171"/>
                    </a:lnTo>
                    <a:lnTo>
                      <a:pt x="8516" y="1119"/>
                    </a:lnTo>
                    <a:lnTo>
                      <a:pt x="8455" y="1070"/>
                    </a:lnTo>
                    <a:lnTo>
                      <a:pt x="8394" y="1022"/>
                    </a:lnTo>
                    <a:lnTo>
                      <a:pt x="8330" y="978"/>
                    </a:lnTo>
                    <a:lnTo>
                      <a:pt x="8265" y="935"/>
                    </a:lnTo>
                    <a:lnTo>
                      <a:pt x="8198" y="895"/>
                    </a:lnTo>
                    <a:lnTo>
                      <a:pt x="8130" y="858"/>
                    </a:lnTo>
                    <a:lnTo>
                      <a:pt x="8060" y="823"/>
                    </a:lnTo>
                    <a:lnTo>
                      <a:pt x="7986" y="789"/>
                    </a:lnTo>
                    <a:lnTo>
                      <a:pt x="7912" y="759"/>
                    </a:lnTo>
                    <a:lnTo>
                      <a:pt x="7842" y="731"/>
                    </a:lnTo>
                    <a:lnTo>
                      <a:pt x="7775" y="706"/>
                    </a:lnTo>
                    <a:lnTo>
                      <a:pt x="7710" y="684"/>
                    </a:lnTo>
                    <a:lnTo>
                      <a:pt x="7648" y="665"/>
                    </a:lnTo>
                    <a:lnTo>
                      <a:pt x="7588" y="648"/>
                    </a:lnTo>
                    <a:lnTo>
                      <a:pt x="7531" y="634"/>
                    </a:lnTo>
                    <a:lnTo>
                      <a:pt x="7476" y="621"/>
                    </a:lnTo>
                    <a:lnTo>
                      <a:pt x="7423" y="611"/>
                    </a:lnTo>
                    <a:lnTo>
                      <a:pt x="7373" y="602"/>
                    </a:lnTo>
                    <a:lnTo>
                      <a:pt x="7326" y="596"/>
                    </a:lnTo>
                    <a:lnTo>
                      <a:pt x="7280" y="591"/>
                    </a:lnTo>
                    <a:lnTo>
                      <a:pt x="7238" y="588"/>
                    </a:lnTo>
                    <a:lnTo>
                      <a:pt x="7198" y="586"/>
                    </a:lnTo>
                    <a:lnTo>
                      <a:pt x="7161" y="586"/>
                    </a:lnTo>
                    <a:lnTo>
                      <a:pt x="7125" y="586"/>
                    </a:lnTo>
                    <a:lnTo>
                      <a:pt x="7092" y="588"/>
                    </a:lnTo>
                    <a:lnTo>
                      <a:pt x="7061" y="590"/>
                    </a:lnTo>
                    <a:lnTo>
                      <a:pt x="7032" y="594"/>
                    </a:lnTo>
                    <a:lnTo>
                      <a:pt x="7006" y="597"/>
                    </a:lnTo>
                    <a:lnTo>
                      <a:pt x="6982" y="601"/>
                    </a:lnTo>
                    <a:lnTo>
                      <a:pt x="6961" y="605"/>
                    </a:lnTo>
                    <a:lnTo>
                      <a:pt x="6942" y="610"/>
                    </a:lnTo>
                    <a:lnTo>
                      <a:pt x="6910" y="618"/>
                    </a:lnTo>
                    <a:lnTo>
                      <a:pt x="6887" y="627"/>
                    </a:lnTo>
                    <a:lnTo>
                      <a:pt x="6874" y="632"/>
                    </a:lnTo>
                    <a:lnTo>
                      <a:pt x="6869" y="635"/>
                    </a:lnTo>
                    <a:lnTo>
                      <a:pt x="6866" y="636"/>
                    </a:lnTo>
                    <a:lnTo>
                      <a:pt x="6863" y="636"/>
                    </a:lnTo>
                    <a:lnTo>
                      <a:pt x="6850" y="636"/>
                    </a:lnTo>
                    <a:lnTo>
                      <a:pt x="6818" y="632"/>
                    </a:lnTo>
                    <a:lnTo>
                      <a:pt x="6796" y="630"/>
                    </a:lnTo>
                    <a:lnTo>
                      <a:pt x="6769" y="626"/>
                    </a:lnTo>
                    <a:lnTo>
                      <a:pt x="6739" y="622"/>
                    </a:lnTo>
                    <a:lnTo>
                      <a:pt x="6706" y="615"/>
                    </a:lnTo>
                    <a:lnTo>
                      <a:pt x="6666" y="608"/>
                    </a:lnTo>
                    <a:lnTo>
                      <a:pt x="6627" y="598"/>
                    </a:lnTo>
                    <a:lnTo>
                      <a:pt x="6589" y="587"/>
                    </a:lnTo>
                    <a:lnTo>
                      <a:pt x="6552" y="576"/>
                    </a:lnTo>
                    <a:lnTo>
                      <a:pt x="6515" y="563"/>
                    </a:lnTo>
                    <a:lnTo>
                      <a:pt x="6478" y="550"/>
                    </a:lnTo>
                    <a:lnTo>
                      <a:pt x="6443" y="536"/>
                    </a:lnTo>
                    <a:lnTo>
                      <a:pt x="6408" y="520"/>
                    </a:lnTo>
                    <a:lnTo>
                      <a:pt x="6386" y="512"/>
                    </a:lnTo>
                    <a:lnTo>
                      <a:pt x="6362" y="502"/>
                    </a:lnTo>
                    <a:lnTo>
                      <a:pt x="6336" y="493"/>
                    </a:lnTo>
                    <a:lnTo>
                      <a:pt x="6309" y="485"/>
                    </a:lnTo>
                    <a:lnTo>
                      <a:pt x="6278" y="476"/>
                    </a:lnTo>
                    <a:lnTo>
                      <a:pt x="6247" y="467"/>
                    </a:lnTo>
                    <a:lnTo>
                      <a:pt x="6215" y="460"/>
                    </a:lnTo>
                    <a:lnTo>
                      <a:pt x="6180" y="452"/>
                    </a:lnTo>
                    <a:lnTo>
                      <a:pt x="6107" y="438"/>
                    </a:lnTo>
                    <a:lnTo>
                      <a:pt x="6028" y="425"/>
                    </a:lnTo>
                    <a:lnTo>
                      <a:pt x="5946" y="413"/>
                    </a:lnTo>
                    <a:lnTo>
                      <a:pt x="5859" y="404"/>
                    </a:lnTo>
                    <a:lnTo>
                      <a:pt x="5771" y="395"/>
                    </a:lnTo>
                    <a:lnTo>
                      <a:pt x="5680" y="387"/>
                    </a:lnTo>
                    <a:lnTo>
                      <a:pt x="5588" y="382"/>
                    </a:lnTo>
                    <a:lnTo>
                      <a:pt x="5496" y="379"/>
                    </a:lnTo>
                    <a:lnTo>
                      <a:pt x="5403" y="377"/>
                    </a:lnTo>
                    <a:lnTo>
                      <a:pt x="5312" y="377"/>
                    </a:lnTo>
                    <a:lnTo>
                      <a:pt x="5267" y="378"/>
                    </a:lnTo>
                    <a:lnTo>
                      <a:pt x="5222" y="379"/>
                    </a:lnTo>
                    <a:lnTo>
                      <a:pt x="5178" y="381"/>
                    </a:lnTo>
                    <a:lnTo>
                      <a:pt x="5135" y="383"/>
                    </a:lnTo>
                    <a:lnTo>
                      <a:pt x="5100" y="385"/>
                    </a:lnTo>
                    <a:lnTo>
                      <a:pt x="5067" y="385"/>
                    </a:lnTo>
                    <a:lnTo>
                      <a:pt x="5032" y="385"/>
                    </a:lnTo>
                    <a:lnTo>
                      <a:pt x="4998" y="384"/>
                    </a:lnTo>
                    <a:lnTo>
                      <a:pt x="4963" y="382"/>
                    </a:lnTo>
                    <a:lnTo>
                      <a:pt x="4930" y="380"/>
                    </a:lnTo>
                    <a:lnTo>
                      <a:pt x="4895" y="377"/>
                    </a:lnTo>
                    <a:lnTo>
                      <a:pt x="4861" y="372"/>
                    </a:lnTo>
                    <a:lnTo>
                      <a:pt x="4826" y="367"/>
                    </a:lnTo>
                    <a:lnTo>
                      <a:pt x="4793" y="361"/>
                    </a:lnTo>
                    <a:lnTo>
                      <a:pt x="4758" y="356"/>
                    </a:lnTo>
                    <a:lnTo>
                      <a:pt x="4725" y="349"/>
                    </a:lnTo>
                    <a:lnTo>
                      <a:pt x="4658" y="333"/>
                    </a:lnTo>
                    <a:lnTo>
                      <a:pt x="4591" y="317"/>
                    </a:lnTo>
                    <a:lnTo>
                      <a:pt x="4525" y="299"/>
                    </a:lnTo>
                    <a:lnTo>
                      <a:pt x="4461" y="279"/>
                    </a:lnTo>
                    <a:lnTo>
                      <a:pt x="4397" y="259"/>
                    </a:lnTo>
                    <a:lnTo>
                      <a:pt x="4336" y="238"/>
                    </a:lnTo>
                    <a:lnTo>
                      <a:pt x="4276" y="217"/>
                    </a:lnTo>
                    <a:lnTo>
                      <a:pt x="4219" y="195"/>
                    </a:lnTo>
                    <a:lnTo>
                      <a:pt x="4163" y="175"/>
                    </a:lnTo>
                    <a:lnTo>
                      <a:pt x="4109" y="154"/>
                    </a:lnTo>
                    <a:lnTo>
                      <a:pt x="4087" y="146"/>
                    </a:lnTo>
                    <a:lnTo>
                      <a:pt x="4065" y="137"/>
                    </a:lnTo>
                    <a:lnTo>
                      <a:pt x="4043" y="129"/>
                    </a:lnTo>
                    <a:lnTo>
                      <a:pt x="4023" y="122"/>
                    </a:lnTo>
                    <a:lnTo>
                      <a:pt x="4002" y="114"/>
                    </a:lnTo>
                    <a:lnTo>
                      <a:pt x="3982" y="107"/>
                    </a:lnTo>
                    <a:lnTo>
                      <a:pt x="3962" y="99"/>
                    </a:lnTo>
                    <a:lnTo>
                      <a:pt x="3944" y="93"/>
                    </a:lnTo>
                    <a:lnTo>
                      <a:pt x="3917" y="84"/>
                    </a:lnTo>
                    <a:lnTo>
                      <a:pt x="3884" y="76"/>
                    </a:lnTo>
                    <a:lnTo>
                      <a:pt x="3848" y="68"/>
                    </a:lnTo>
                    <a:lnTo>
                      <a:pt x="3807" y="60"/>
                    </a:lnTo>
                    <a:lnTo>
                      <a:pt x="3761" y="53"/>
                    </a:lnTo>
                    <a:lnTo>
                      <a:pt x="3713" y="46"/>
                    </a:lnTo>
                    <a:lnTo>
                      <a:pt x="3659" y="40"/>
                    </a:lnTo>
                    <a:lnTo>
                      <a:pt x="3603" y="34"/>
                    </a:lnTo>
                    <a:lnTo>
                      <a:pt x="3543" y="31"/>
                    </a:lnTo>
                    <a:lnTo>
                      <a:pt x="3481" y="28"/>
                    </a:lnTo>
                    <a:lnTo>
                      <a:pt x="3416" y="27"/>
                    </a:lnTo>
                    <a:lnTo>
                      <a:pt x="3349" y="27"/>
                    </a:lnTo>
                    <a:lnTo>
                      <a:pt x="3279" y="28"/>
                    </a:lnTo>
                    <a:lnTo>
                      <a:pt x="3208" y="31"/>
                    </a:lnTo>
                    <a:lnTo>
                      <a:pt x="3135" y="37"/>
                    </a:lnTo>
                    <a:lnTo>
                      <a:pt x="3062" y="44"/>
                    </a:lnTo>
                    <a:lnTo>
                      <a:pt x="2986" y="54"/>
                    </a:lnTo>
                    <a:lnTo>
                      <a:pt x="2910" y="66"/>
                    </a:lnTo>
                    <a:lnTo>
                      <a:pt x="2835" y="81"/>
                    </a:lnTo>
                    <a:lnTo>
                      <a:pt x="2758" y="98"/>
                    </a:lnTo>
                    <a:lnTo>
                      <a:pt x="2683" y="119"/>
                    </a:lnTo>
                    <a:lnTo>
                      <a:pt x="2606" y="141"/>
                    </a:lnTo>
                    <a:lnTo>
                      <a:pt x="2531" y="167"/>
                    </a:lnTo>
                    <a:lnTo>
                      <a:pt x="2457" y="196"/>
                    </a:lnTo>
                    <a:lnTo>
                      <a:pt x="2384" y="230"/>
                    </a:lnTo>
                    <a:lnTo>
                      <a:pt x="2312" y="265"/>
                    </a:lnTo>
                    <a:lnTo>
                      <a:pt x="2242" y="305"/>
                    </a:lnTo>
                    <a:lnTo>
                      <a:pt x="2174" y="350"/>
                    </a:lnTo>
                    <a:lnTo>
                      <a:pt x="2108" y="397"/>
                    </a:lnTo>
                    <a:lnTo>
                      <a:pt x="2046" y="450"/>
                    </a:lnTo>
                    <a:lnTo>
                      <a:pt x="1985" y="506"/>
                    </a:lnTo>
                    <a:lnTo>
                      <a:pt x="1928" y="567"/>
                    </a:lnTo>
                    <a:lnTo>
                      <a:pt x="1918" y="577"/>
                    </a:lnTo>
                    <a:lnTo>
                      <a:pt x="1899" y="601"/>
                    </a:lnTo>
                    <a:lnTo>
                      <a:pt x="1870" y="638"/>
                    </a:lnTo>
                    <a:lnTo>
                      <a:pt x="1833" y="687"/>
                    </a:lnTo>
                    <a:lnTo>
                      <a:pt x="1812" y="717"/>
                    </a:lnTo>
                    <a:lnTo>
                      <a:pt x="1790" y="749"/>
                    </a:lnTo>
                    <a:lnTo>
                      <a:pt x="1766" y="785"/>
                    </a:lnTo>
                    <a:lnTo>
                      <a:pt x="1741" y="823"/>
                    </a:lnTo>
                    <a:lnTo>
                      <a:pt x="1715" y="865"/>
                    </a:lnTo>
                    <a:lnTo>
                      <a:pt x="1688" y="909"/>
                    </a:lnTo>
                    <a:lnTo>
                      <a:pt x="1660" y="956"/>
                    </a:lnTo>
                    <a:lnTo>
                      <a:pt x="1632" y="1007"/>
                    </a:lnTo>
                    <a:lnTo>
                      <a:pt x="1603" y="1061"/>
                    </a:lnTo>
                    <a:lnTo>
                      <a:pt x="1574" y="1117"/>
                    </a:lnTo>
                    <a:lnTo>
                      <a:pt x="1543" y="1176"/>
                    </a:lnTo>
                    <a:lnTo>
                      <a:pt x="1514" y="1239"/>
                    </a:lnTo>
                    <a:lnTo>
                      <a:pt x="1484" y="1304"/>
                    </a:lnTo>
                    <a:lnTo>
                      <a:pt x="1455" y="1373"/>
                    </a:lnTo>
                    <a:lnTo>
                      <a:pt x="1426" y="1443"/>
                    </a:lnTo>
                    <a:lnTo>
                      <a:pt x="1398" y="1518"/>
                    </a:lnTo>
                    <a:lnTo>
                      <a:pt x="1370" y="1594"/>
                    </a:lnTo>
                    <a:lnTo>
                      <a:pt x="1343" y="1673"/>
                    </a:lnTo>
                    <a:lnTo>
                      <a:pt x="1316" y="1755"/>
                    </a:lnTo>
                    <a:lnTo>
                      <a:pt x="1291" y="1840"/>
                    </a:lnTo>
                    <a:lnTo>
                      <a:pt x="1267" y="1928"/>
                    </a:lnTo>
                    <a:lnTo>
                      <a:pt x="1244" y="2018"/>
                    </a:lnTo>
                    <a:lnTo>
                      <a:pt x="1223" y="2111"/>
                    </a:lnTo>
                    <a:lnTo>
                      <a:pt x="1203" y="2207"/>
                    </a:lnTo>
                    <a:lnTo>
                      <a:pt x="1191" y="2241"/>
                    </a:lnTo>
                    <a:lnTo>
                      <a:pt x="1177" y="2274"/>
                    </a:lnTo>
                    <a:lnTo>
                      <a:pt x="1163" y="2309"/>
                    </a:lnTo>
                    <a:lnTo>
                      <a:pt x="1147" y="2343"/>
                    </a:lnTo>
                    <a:lnTo>
                      <a:pt x="1131" y="2379"/>
                    </a:lnTo>
                    <a:lnTo>
                      <a:pt x="1113" y="2415"/>
                    </a:lnTo>
                    <a:lnTo>
                      <a:pt x="1094" y="2451"/>
                    </a:lnTo>
                    <a:lnTo>
                      <a:pt x="1075" y="2488"/>
                    </a:lnTo>
                    <a:lnTo>
                      <a:pt x="1034" y="2564"/>
                    </a:lnTo>
                    <a:lnTo>
                      <a:pt x="991" y="2640"/>
                    </a:lnTo>
                    <a:lnTo>
                      <a:pt x="944" y="2717"/>
                    </a:lnTo>
                    <a:lnTo>
                      <a:pt x="896" y="2796"/>
                    </a:lnTo>
                    <a:lnTo>
                      <a:pt x="847" y="2873"/>
                    </a:lnTo>
                    <a:lnTo>
                      <a:pt x="795" y="2952"/>
                    </a:lnTo>
                    <a:lnTo>
                      <a:pt x="744" y="3031"/>
                    </a:lnTo>
                    <a:lnTo>
                      <a:pt x="691" y="3108"/>
                    </a:lnTo>
                    <a:lnTo>
                      <a:pt x="640" y="3185"/>
                    </a:lnTo>
                    <a:lnTo>
                      <a:pt x="588" y="3261"/>
                    </a:lnTo>
                    <a:lnTo>
                      <a:pt x="537" y="3334"/>
                    </a:lnTo>
                    <a:lnTo>
                      <a:pt x="487" y="3407"/>
                    </a:lnTo>
                    <a:lnTo>
                      <a:pt x="425" y="3496"/>
                    </a:lnTo>
                    <a:lnTo>
                      <a:pt x="365" y="3583"/>
                    </a:lnTo>
                    <a:lnTo>
                      <a:pt x="309" y="3666"/>
                    </a:lnTo>
                    <a:lnTo>
                      <a:pt x="257" y="3743"/>
                    </a:lnTo>
                    <a:lnTo>
                      <a:pt x="210" y="3816"/>
                    </a:lnTo>
                    <a:lnTo>
                      <a:pt x="169" y="3884"/>
                    </a:lnTo>
                    <a:lnTo>
                      <a:pt x="149" y="3915"/>
                    </a:lnTo>
                    <a:lnTo>
                      <a:pt x="132" y="3945"/>
                    </a:lnTo>
                    <a:lnTo>
                      <a:pt x="117" y="3973"/>
                    </a:lnTo>
                    <a:lnTo>
                      <a:pt x="104" y="3999"/>
                    </a:lnTo>
                    <a:lnTo>
                      <a:pt x="91" y="4025"/>
                    </a:lnTo>
                    <a:lnTo>
                      <a:pt x="80" y="4049"/>
                    </a:lnTo>
                    <a:lnTo>
                      <a:pt x="69" y="4073"/>
                    </a:lnTo>
                    <a:lnTo>
                      <a:pt x="60" y="4095"/>
                    </a:lnTo>
                    <a:lnTo>
                      <a:pt x="52" y="4112"/>
                    </a:lnTo>
                    <a:lnTo>
                      <a:pt x="45" y="4127"/>
                    </a:lnTo>
                    <a:lnTo>
                      <a:pt x="38" y="4143"/>
                    </a:lnTo>
                    <a:lnTo>
                      <a:pt x="31" y="4158"/>
                    </a:lnTo>
                    <a:lnTo>
                      <a:pt x="0" y="4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12"/>
              <p:cNvSpPr>
                <a:spLocks noEditPoints="1"/>
              </p:cNvSpPr>
              <p:nvPr userDrawn="1"/>
            </p:nvSpPr>
            <p:spPr bwMode="auto">
              <a:xfrm>
                <a:off x="2432" y="3120"/>
                <a:ext cx="954" cy="1022"/>
              </a:xfrm>
              <a:custGeom>
                <a:avLst/>
                <a:gdLst>
                  <a:gd name="T0" fmla="*/ 2441 w 2862"/>
                  <a:gd name="T1" fmla="*/ 2937 h 3066"/>
                  <a:gd name="T2" fmla="*/ 2326 w 2862"/>
                  <a:gd name="T3" fmla="*/ 2857 h 3066"/>
                  <a:gd name="T4" fmla="*/ 2015 w 2862"/>
                  <a:gd name="T5" fmla="*/ 2582 h 3066"/>
                  <a:gd name="T6" fmla="*/ 1786 w 2862"/>
                  <a:gd name="T7" fmla="*/ 2416 h 3066"/>
                  <a:gd name="T8" fmla="*/ 1669 w 2862"/>
                  <a:gd name="T9" fmla="*/ 2363 h 3066"/>
                  <a:gd name="T10" fmla="*/ 1551 w 2862"/>
                  <a:gd name="T11" fmla="*/ 2342 h 3066"/>
                  <a:gd name="T12" fmla="*/ 1527 w 2862"/>
                  <a:gd name="T13" fmla="*/ 2323 h 3066"/>
                  <a:gd name="T14" fmla="*/ 1462 w 2862"/>
                  <a:gd name="T15" fmla="*/ 2164 h 3066"/>
                  <a:gd name="T16" fmla="*/ 1311 w 2862"/>
                  <a:gd name="T17" fmla="*/ 1781 h 3066"/>
                  <a:gd name="T18" fmla="*/ 1122 w 2862"/>
                  <a:gd name="T19" fmla="*/ 1390 h 3066"/>
                  <a:gd name="T20" fmla="*/ 850 w 2862"/>
                  <a:gd name="T21" fmla="*/ 950 h 3066"/>
                  <a:gd name="T22" fmla="*/ 483 w 2862"/>
                  <a:gd name="T23" fmla="*/ 493 h 3066"/>
                  <a:gd name="T24" fmla="*/ 6 w 2862"/>
                  <a:gd name="T25" fmla="*/ 55 h 3066"/>
                  <a:gd name="T26" fmla="*/ 8 w 2862"/>
                  <a:gd name="T27" fmla="*/ 32 h 3066"/>
                  <a:gd name="T28" fmla="*/ 164 w 2862"/>
                  <a:gd name="T29" fmla="*/ 51 h 3066"/>
                  <a:gd name="T30" fmla="*/ 294 w 2862"/>
                  <a:gd name="T31" fmla="*/ 14 h 3066"/>
                  <a:gd name="T32" fmla="*/ 466 w 2862"/>
                  <a:gd name="T33" fmla="*/ 0 h 3066"/>
                  <a:gd name="T34" fmla="*/ 778 w 2862"/>
                  <a:gd name="T35" fmla="*/ 33 h 3066"/>
                  <a:gd name="T36" fmla="*/ 1126 w 2862"/>
                  <a:gd name="T37" fmla="*/ 136 h 3066"/>
                  <a:gd name="T38" fmla="*/ 1516 w 2862"/>
                  <a:gd name="T39" fmla="*/ 313 h 3066"/>
                  <a:gd name="T40" fmla="*/ 1895 w 2862"/>
                  <a:gd name="T41" fmla="*/ 591 h 3066"/>
                  <a:gd name="T42" fmla="*/ 2214 w 2862"/>
                  <a:gd name="T43" fmla="*/ 940 h 3066"/>
                  <a:gd name="T44" fmla="*/ 2472 w 2862"/>
                  <a:gd name="T45" fmla="*/ 1333 h 3066"/>
                  <a:gd name="T46" fmla="*/ 2670 w 2862"/>
                  <a:gd name="T47" fmla="*/ 1742 h 3066"/>
                  <a:gd name="T48" fmla="*/ 2807 w 2862"/>
                  <a:gd name="T49" fmla="*/ 2143 h 3066"/>
                  <a:gd name="T50" fmla="*/ 2846 w 2862"/>
                  <a:gd name="T51" fmla="*/ 2323 h 3066"/>
                  <a:gd name="T52" fmla="*/ 2861 w 2862"/>
                  <a:gd name="T53" fmla="*/ 2587 h 3066"/>
                  <a:gd name="T54" fmla="*/ 2823 w 2862"/>
                  <a:gd name="T55" fmla="*/ 2837 h 3066"/>
                  <a:gd name="T56" fmla="*/ 2757 w 2862"/>
                  <a:gd name="T57" fmla="*/ 3017 h 3066"/>
                  <a:gd name="T58" fmla="*/ 2722 w 2862"/>
                  <a:gd name="T59" fmla="*/ 3066 h 3066"/>
                  <a:gd name="T60" fmla="*/ 1635 w 2862"/>
                  <a:gd name="T61" fmla="*/ 2325 h 3066"/>
                  <a:gd name="T62" fmla="*/ 1757 w 2862"/>
                  <a:gd name="T63" fmla="*/ 2369 h 3066"/>
                  <a:gd name="T64" fmla="*/ 1955 w 2862"/>
                  <a:gd name="T65" fmla="*/ 2498 h 3066"/>
                  <a:gd name="T66" fmla="*/ 2262 w 2862"/>
                  <a:gd name="T67" fmla="*/ 2767 h 3066"/>
                  <a:gd name="T68" fmla="*/ 2452 w 2862"/>
                  <a:gd name="T69" fmla="*/ 2913 h 3066"/>
                  <a:gd name="T70" fmla="*/ 2750 w 2862"/>
                  <a:gd name="T71" fmla="*/ 2965 h 3066"/>
                  <a:gd name="T72" fmla="*/ 2806 w 2862"/>
                  <a:gd name="T73" fmla="*/ 2795 h 3066"/>
                  <a:gd name="T74" fmla="*/ 2835 w 2862"/>
                  <a:gd name="T75" fmla="*/ 2538 h 3066"/>
                  <a:gd name="T76" fmla="*/ 2814 w 2862"/>
                  <a:gd name="T77" fmla="*/ 2298 h 3066"/>
                  <a:gd name="T78" fmla="*/ 2762 w 2862"/>
                  <a:gd name="T79" fmla="*/ 2085 h 3066"/>
                  <a:gd name="T80" fmla="*/ 2617 w 2862"/>
                  <a:gd name="T81" fmla="*/ 1685 h 3066"/>
                  <a:gd name="T82" fmla="*/ 2410 w 2862"/>
                  <a:gd name="T83" fmla="*/ 1280 h 3066"/>
                  <a:gd name="T84" fmla="*/ 2146 w 2862"/>
                  <a:gd name="T85" fmla="*/ 897 h 3066"/>
                  <a:gd name="T86" fmla="*/ 1821 w 2862"/>
                  <a:gd name="T87" fmla="*/ 561 h 3066"/>
                  <a:gd name="T88" fmla="*/ 1435 w 2862"/>
                  <a:gd name="T89" fmla="*/ 300 h 3066"/>
                  <a:gd name="T90" fmla="*/ 1004 w 2862"/>
                  <a:gd name="T91" fmla="*/ 123 h 3066"/>
                  <a:gd name="T92" fmla="*/ 668 w 2862"/>
                  <a:gd name="T93" fmla="*/ 42 h 3066"/>
                  <a:gd name="T94" fmla="*/ 430 w 2862"/>
                  <a:gd name="T95" fmla="*/ 27 h 3066"/>
                  <a:gd name="T96" fmla="*/ 266 w 2862"/>
                  <a:gd name="T97" fmla="*/ 46 h 3066"/>
                  <a:gd name="T98" fmla="*/ 171 w 2862"/>
                  <a:gd name="T99" fmla="*/ 78 h 3066"/>
                  <a:gd name="T100" fmla="*/ 150 w 2862"/>
                  <a:gd name="T101" fmla="*/ 137 h 3066"/>
                  <a:gd name="T102" fmla="*/ 596 w 2862"/>
                  <a:gd name="T103" fmla="*/ 580 h 3066"/>
                  <a:gd name="T104" fmla="*/ 939 w 2862"/>
                  <a:gd name="T105" fmla="*/ 1031 h 3066"/>
                  <a:gd name="T106" fmla="*/ 1189 w 2862"/>
                  <a:gd name="T107" fmla="*/ 1460 h 3066"/>
                  <a:gd name="T108" fmla="*/ 1363 w 2862"/>
                  <a:gd name="T109" fmla="*/ 1834 h 3066"/>
                  <a:gd name="T110" fmla="*/ 1509 w 2862"/>
                  <a:gd name="T111" fmla="*/ 2212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2" h="3066">
                    <a:moveTo>
                      <a:pt x="2722" y="3066"/>
                    </a:moveTo>
                    <a:lnTo>
                      <a:pt x="2719" y="3065"/>
                    </a:lnTo>
                    <a:lnTo>
                      <a:pt x="2717" y="3065"/>
                    </a:lnTo>
                    <a:lnTo>
                      <a:pt x="2476" y="2956"/>
                    </a:lnTo>
                    <a:lnTo>
                      <a:pt x="2458" y="2947"/>
                    </a:lnTo>
                    <a:lnTo>
                      <a:pt x="2441" y="2937"/>
                    </a:lnTo>
                    <a:lnTo>
                      <a:pt x="2422" y="2926"/>
                    </a:lnTo>
                    <a:lnTo>
                      <a:pt x="2404" y="2915"/>
                    </a:lnTo>
                    <a:lnTo>
                      <a:pt x="2384" y="2902"/>
                    </a:lnTo>
                    <a:lnTo>
                      <a:pt x="2365" y="2888"/>
                    </a:lnTo>
                    <a:lnTo>
                      <a:pt x="2346" y="2872"/>
                    </a:lnTo>
                    <a:lnTo>
                      <a:pt x="2326" y="2857"/>
                    </a:lnTo>
                    <a:lnTo>
                      <a:pt x="2286" y="2824"/>
                    </a:lnTo>
                    <a:lnTo>
                      <a:pt x="2245" y="2788"/>
                    </a:lnTo>
                    <a:lnTo>
                      <a:pt x="2203" y="2750"/>
                    </a:lnTo>
                    <a:lnTo>
                      <a:pt x="2161" y="2712"/>
                    </a:lnTo>
                    <a:lnTo>
                      <a:pt x="2090" y="2647"/>
                    </a:lnTo>
                    <a:lnTo>
                      <a:pt x="2015" y="2582"/>
                    </a:lnTo>
                    <a:lnTo>
                      <a:pt x="1978" y="2551"/>
                    </a:lnTo>
                    <a:lnTo>
                      <a:pt x="1941" y="2521"/>
                    </a:lnTo>
                    <a:lnTo>
                      <a:pt x="1902" y="2491"/>
                    </a:lnTo>
                    <a:lnTo>
                      <a:pt x="1864" y="2464"/>
                    </a:lnTo>
                    <a:lnTo>
                      <a:pt x="1825" y="2438"/>
                    </a:lnTo>
                    <a:lnTo>
                      <a:pt x="1786" y="2416"/>
                    </a:lnTo>
                    <a:lnTo>
                      <a:pt x="1767" y="2405"/>
                    </a:lnTo>
                    <a:lnTo>
                      <a:pt x="1747" y="2395"/>
                    </a:lnTo>
                    <a:lnTo>
                      <a:pt x="1727" y="2386"/>
                    </a:lnTo>
                    <a:lnTo>
                      <a:pt x="1707" y="2377"/>
                    </a:lnTo>
                    <a:lnTo>
                      <a:pt x="1688" y="2369"/>
                    </a:lnTo>
                    <a:lnTo>
                      <a:pt x="1669" y="2363"/>
                    </a:lnTo>
                    <a:lnTo>
                      <a:pt x="1649" y="2356"/>
                    </a:lnTo>
                    <a:lnTo>
                      <a:pt x="1630" y="2352"/>
                    </a:lnTo>
                    <a:lnTo>
                      <a:pt x="1609" y="2348"/>
                    </a:lnTo>
                    <a:lnTo>
                      <a:pt x="1590" y="2345"/>
                    </a:lnTo>
                    <a:lnTo>
                      <a:pt x="1570" y="2342"/>
                    </a:lnTo>
                    <a:lnTo>
                      <a:pt x="1551" y="2342"/>
                    </a:lnTo>
                    <a:lnTo>
                      <a:pt x="1547" y="2341"/>
                    </a:lnTo>
                    <a:lnTo>
                      <a:pt x="1542" y="2340"/>
                    </a:lnTo>
                    <a:lnTo>
                      <a:pt x="1539" y="2338"/>
                    </a:lnTo>
                    <a:lnTo>
                      <a:pt x="1535" y="2334"/>
                    </a:lnTo>
                    <a:lnTo>
                      <a:pt x="1530" y="2329"/>
                    </a:lnTo>
                    <a:lnTo>
                      <a:pt x="1527" y="2323"/>
                    </a:lnTo>
                    <a:lnTo>
                      <a:pt x="1523" y="2315"/>
                    </a:lnTo>
                    <a:lnTo>
                      <a:pt x="1517" y="2307"/>
                    </a:lnTo>
                    <a:lnTo>
                      <a:pt x="1508" y="2283"/>
                    </a:lnTo>
                    <a:lnTo>
                      <a:pt x="1495" y="2252"/>
                    </a:lnTo>
                    <a:lnTo>
                      <a:pt x="1480" y="2213"/>
                    </a:lnTo>
                    <a:lnTo>
                      <a:pt x="1462" y="2164"/>
                    </a:lnTo>
                    <a:lnTo>
                      <a:pt x="1434" y="2087"/>
                    </a:lnTo>
                    <a:lnTo>
                      <a:pt x="1400" y="1997"/>
                    </a:lnTo>
                    <a:lnTo>
                      <a:pt x="1380" y="1946"/>
                    </a:lnTo>
                    <a:lnTo>
                      <a:pt x="1359" y="1894"/>
                    </a:lnTo>
                    <a:lnTo>
                      <a:pt x="1336" y="1839"/>
                    </a:lnTo>
                    <a:lnTo>
                      <a:pt x="1311" y="1781"/>
                    </a:lnTo>
                    <a:lnTo>
                      <a:pt x="1285" y="1721"/>
                    </a:lnTo>
                    <a:lnTo>
                      <a:pt x="1256" y="1659"/>
                    </a:lnTo>
                    <a:lnTo>
                      <a:pt x="1226" y="1594"/>
                    </a:lnTo>
                    <a:lnTo>
                      <a:pt x="1193" y="1528"/>
                    </a:lnTo>
                    <a:lnTo>
                      <a:pt x="1159" y="1460"/>
                    </a:lnTo>
                    <a:lnTo>
                      <a:pt x="1122" y="1390"/>
                    </a:lnTo>
                    <a:lnTo>
                      <a:pt x="1082" y="1320"/>
                    </a:lnTo>
                    <a:lnTo>
                      <a:pt x="1041" y="1248"/>
                    </a:lnTo>
                    <a:lnTo>
                      <a:pt x="997" y="1174"/>
                    </a:lnTo>
                    <a:lnTo>
                      <a:pt x="950" y="1100"/>
                    </a:lnTo>
                    <a:lnTo>
                      <a:pt x="902" y="1025"/>
                    </a:lnTo>
                    <a:lnTo>
                      <a:pt x="850" y="950"/>
                    </a:lnTo>
                    <a:lnTo>
                      <a:pt x="796" y="874"/>
                    </a:lnTo>
                    <a:lnTo>
                      <a:pt x="740" y="798"/>
                    </a:lnTo>
                    <a:lnTo>
                      <a:pt x="679" y="721"/>
                    </a:lnTo>
                    <a:lnTo>
                      <a:pt x="617" y="645"/>
                    </a:lnTo>
                    <a:lnTo>
                      <a:pt x="552" y="569"/>
                    </a:lnTo>
                    <a:lnTo>
                      <a:pt x="483" y="493"/>
                    </a:lnTo>
                    <a:lnTo>
                      <a:pt x="412" y="418"/>
                    </a:lnTo>
                    <a:lnTo>
                      <a:pt x="337" y="343"/>
                    </a:lnTo>
                    <a:lnTo>
                      <a:pt x="259" y="270"/>
                    </a:lnTo>
                    <a:lnTo>
                      <a:pt x="178" y="196"/>
                    </a:lnTo>
                    <a:lnTo>
                      <a:pt x="93" y="125"/>
                    </a:lnTo>
                    <a:lnTo>
                      <a:pt x="6" y="55"/>
                    </a:lnTo>
                    <a:lnTo>
                      <a:pt x="2" y="52"/>
                    </a:lnTo>
                    <a:lnTo>
                      <a:pt x="0" y="47"/>
                    </a:lnTo>
                    <a:lnTo>
                      <a:pt x="0" y="43"/>
                    </a:lnTo>
                    <a:lnTo>
                      <a:pt x="1" y="39"/>
                    </a:lnTo>
                    <a:lnTo>
                      <a:pt x="3" y="34"/>
                    </a:lnTo>
                    <a:lnTo>
                      <a:pt x="8" y="32"/>
                    </a:lnTo>
                    <a:lnTo>
                      <a:pt x="12" y="31"/>
                    </a:lnTo>
                    <a:lnTo>
                      <a:pt x="16" y="31"/>
                    </a:lnTo>
                    <a:lnTo>
                      <a:pt x="70" y="41"/>
                    </a:lnTo>
                    <a:lnTo>
                      <a:pt x="115" y="46"/>
                    </a:lnTo>
                    <a:lnTo>
                      <a:pt x="147" y="50"/>
                    </a:lnTo>
                    <a:lnTo>
                      <a:pt x="164" y="51"/>
                    </a:lnTo>
                    <a:lnTo>
                      <a:pt x="175" y="46"/>
                    </a:lnTo>
                    <a:lnTo>
                      <a:pt x="193" y="39"/>
                    </a:lnTo>
                    <a:lnTo>
                      <a:pt x="219" y="30"/>
                    </a:lnTo>
                    <a:lnTo>
                      <a:pt x="253" y="22"/>
                    </a:lnTo>
                    <a:lnTo>
                      <a:pt x="272" y="17"/>
                    </a:lnTo>
                    <a:lnTo>
                      <a:pt x="294" y="14"/>
                    </a:lnTo>
                    <a:lnTo>
                      <a:pt x="318" y="10"/>
                    </a:lnTo>
                    <a:lnTo>
                      <a:pt x="344" y="6"/>
                    </a:lnTo>
                    <a:lnTo>
                      <a:pt x="371" y="3"/>
                    </a:lnTo>
                    <a:lnTo>
                      <a:pt x="401" y="1"/>
                    </a:lnTo>
                    <a:lnTo>
                      <a:pt x="432" y="0"/>
                    </a:lnTo>
                    <a:lnTo>
                      <a:pt x="466" y="0"/>
                    </a:lnTo>
                    <a:lnTo>
                      <a:pt x="515" y="1"/>
                    </a:lnTo>
                    <a:lnTo>
                      <a:pt x="566" y="3"/>
                    </a:lnTo>
                    <a:lnTo>
                      <a:pt x="617" y="9"/>
                    </a:lnTo>
                    <a:lnTo>
                      <a:pt x="670" y="15"/>
                    </a:lnTo>
                    <a:lnTo>
                      <a:pt x="724" y="24"/>
                    </a:lnTo>
                    <a:lnTo>
                      <a:pt x="778" y="33"/>
                    </a:lnTo>
                    <a:lnTo>
                      <a:pt x="834" y="46"/>
                    </a:lnTo>
                    <a:lnTo>
                      <a:pt x="890" y="60"/>
                    </a:lnTo>
                    <a:lnTo>
                      <a:pt x="948" y="77"/>
                    </a:lnTo>
                    <a:lnTo>
                      <a:pt x="1007" y="94"/>
                    </a:lnTo>
                    <a:lnTo>
                      <a:pt x="1066" y="114"/>
                    </a:lnTo>
                    <a:lnTo>
                      <a:pt x="1126" y="136"/>
                    </a:lnTo>
                    <a:lnTo>
                      <a:pt x="1188" y="160"/>
                    </a:lnTo>
                    <a:lnTo>
                      <a:pt x="1250" y="185"/>
                    </a:lnTo>
                    <a:lnTo>
                      <a:pt x="1313" y="212"/>
                    </a:lnTo>
                    <a:lnTo>
                      <a:pt x="1377" y="241"/>
                    </a:lnTo>
                    <a:lnTo>
                      <a:pt x="1447" y="276"/>
                    </a:lnTo>
                    <a:lnTo>
                      <a:pt x="1516" y="313"/>
                    </a:lnTo>
                    <a:lnTo>
                      <a:pt x="1584" y="354"/>
                    </a:lnTo>
                    <a:lnTo>
                      <a:pt x="1649" y="397"/>
                    </a:lnTo>
                    <a:lnTo>
                      <a:pt x="1714" y="443"/>
                    </a:lnTo>
                    <a:lnTo>
                      <a:pt x="1777" y="490"/>
                    </a:lnTo>
                    <a:lnTo>
                      <a:pt x="1837" y="540"/>
                    </a:lnTo>
                    <a:lnTo>
                      <a:pt x="1895" y="591"/>
                    </a:lnTo>
                    <a:lnTo>
                      <a:pt x="1953" y="645"/>
                    </a:lnTo>
                    <a:lnTo>
                      <a:pt x="2009" y="702"/>
                    </a:lnTo>
                    <a:lnTo>
                      <a:pt x="2063" y="759"/>
                    </a:lnTo>
                    <a:lnTo>
                      <a:pt x="2114" y="818"/>
                    </a:lnTo>
                    <a:lnTo>
                      <a:pt x="2165" y="879"/>
                    </a:lnTo>
                    <a:lnTo>
                      <a:pt x="2214" y="940"/>
                    </a:lnTo>
                    <a:lnTo>
                      <a:pt x="2261" y="1004"/>
                    </a:lnTo>
                    <a:lnTo>
                      <a:pt x="2307" y="1068"/>
                    </a:lnTo>
                    <a:lnTo>
                      <a:pt x="2351" y="1133"/>
                    </a:lnTo>
                    <a:lnTo>
                      <a:pt x="2393" y="1199"/>
                    </a:lnTo>
                    <a:lnTo>
                      <a:pt x="2433" y="1266"/>
                    </a:lnTo>
                    <a:lnTo>
                      <a:pt x="2472" y="1333"/>
                    </a:lnTo>
                    <a:lnTo>
                      <a:pt x="2509" y="1401"/>
                    </a:lnTo>
                    <a:lnTo>
                      <a:pt x="2544" y="1469"/>
                    </a:lnTo>
                    <a:lnTo>
                      <a:pt x="2579" y="1537"/>
                    </a:lnTo>
                    <a:lnTo>
                      <a:pt x="2610" y="1606"/>
                    </a:lnTo>
                    <a:lnTo>
                      <a:pt x="2640" y="1674"/>
                    </a:lnTo>
                    <a:lnTo>
                      <a:pt x="2670" y="1742"/>
                    </a:lnTo>
                    <a:lnTo>
                      <a:pt x="2697" y="1810"/>
                    </a:lnTo>
                    <a:lnTo>
                      <a:pt x="2722" y="1878"/>
                    </a:lnTo>
                    <a:lnTo>
                      <a:pt x="2746" y="1945"/>
                    </a:lnTo>
                    <a:lnTo>
                      <a:pt x="2768" y="2012"/>
                    </a:lnTo>
                    <a:lnTo>
                      <a:pt x="2788" y="2077"/>
                    </a:lnTo>
                    <a:lnTo>
                      <a:pt x="2807" y="2143"/>
                    </a:lnTo>
                    <a:lnTo>
                      <a:pt x="2815" y="2173"/>
                    </a:lnTo>
                    <a:lnTo>
                      <a:pt x="2823" y="2204"/>
                    </a:lnTo>
                    <a:lnTo>
                      <a:pt x="2829" y="2234"/>
                    </a:lnTo>
                    <a:lnTo>
                      <a:pt x="2836" y="2265"/>
                    </a:lnTo>
                    <a:lnTo>
                      <a:pt x="2841" y="2294"/>
                    </a:lnTo>
                    <a:lnTo>
                      <a:pt x="2846" y="2323"/>
                    </a:lnTo>
                    <a:lnTo>
                      <a:pt x="2850" y="2352"/>
                    </a:lnTo>
                    <a:lnTo>
                      <a:pt x="2853" y="2380"/>
                    </a:lnTo>
                    <a:lnTo>
                      <a:pt x="2858" y="2435"/>
                    </a:lnTo>
                    <a:lnTo>
                      <a:pt x="2861" y="2488"/>
                    </a:lnTo>
                    <a:lnTo>
                      <a:pt x="2862" y="2539"/>
                    </a:lnTo>
                    <a:lnTo>
                      <a:pt x="2861" y="2587"/>
                    </a:lnTo>
                    <a:lnTo>
                      <a:pt x="2857" y="2635"/>
                    </a:lnTo>
                    <a:lnTo>
                      <a:pt x="2853" y="2679"/>
                    </a:lnTo>
                    <a:lnTo>
                      <a:pt x="2847" y="2722"/>
                    </a:lnTo>
                    <a:lnTo>
                      <a:pt x="2839" y="2762"/>
                    </a:lnTo>
                    <a:lnTo>
                      <a:pt x="2831" y="2801"/>
                    </a:lnTo>
                    <a:lnTo>
                      <a:pt x="2823" y="2837"/>
                    </a:lnTo>
                    <a:lnTo>
                      <a:pt x="2813" y="2871"/>
                    </a:lnTo>
                    <a:lnTo>
                      <a:pt x="2803" y="2903"/>
                    </a:lnTo>
                    <a:lnTo>
                      <a:pt x="2790" y="2938"/>
                    </a:lnTo>
                    <a:lnTo>
                      <a:pt x="2779" y="2969"/>
                    </a:lnTo>
                    <a:lnTo>
                      <a:pt x="2767" y="2995"/>
                    </a:lnTo>
                    <a:lnTo>
                      <a:pt x="2757" y="3017"/>
                    </a:lnTo>
                    <a:lnTo>
                      <a:pt x="2741" y="3047"/>
                    </a:lnTo>
                    <a:lnTo>
                      <a:pt x="2734" y="3059"/>
                    </a:lnTo>
                    <a:lnTo>
                      <a:pt x="2731" y="3061"/>
                    </a:lnTo>
                    <a:lnTo>
                      <a:pt x="2729" y="3063"/>
                    </a:lnTo>
                    <a:lnTo>
                      <a:pt x="2726" y="3065"/>
                    </a:lnTo>
                    <a:lnTo>
                      <a:pt x="2722" y="3066"/>
                    </a:lnTo>
                    <a:close/>
                    <a:moveTo>
                      <a:pt x="1554" y="2315"/>
                    </a:moveTo>
                    <a:lnTo>
                      <a:pt x="1554" y="2315"/>
                    </a:lnTo>
                    <a:lnTo>
                      <a:pt x="1575" y="2317"/>
                    </a:lnTo>
                    <a:lnTo>
                      <a:pt x="1595" y="2319"/>
                    </a:lnTo>
                    <a:lnTo>
                      <a:pt x="1615" y="2322"/>
                    </a:lnTo>
                    <a:lnTo>
                      <a:pt x="1635" y="2325"/>
                    </a:lnTo>
                    <a:lnTo>
                      <a:pt x="1656" y="2331"/>
                    </a:lnTo>
                    <a:lnTo>
                      <a:pt x="1676" y="2337"/>
                    </a:lnTo>
                    <a:lnTo>
                      <a:pt x="1697" y="2343"/>
                    </a:lnTo>
                    <a:lnTo>
                      <a:pt x="1717" y="2352"/>
                    </a:lnTo>
                    <a:lnTo>
                      <a:pt x="1737" y="2361"/>
                    </a:lnTo>
                    <a:lnTo>
                      <a:pt x="1757" y="2369"/>
                    </a:lnTo>
                    <a:lnTo>
                      <a:pt x="1778" y="2380"/>
                    </a:lnTo>
                    <a:lnTo>
                      <a:pt x="1797" y="2391"/>
                    </a:lnTo>
                    <a:lnTo>
                      <a:pt x="1837" y="2415"/>
                    </a:lnTo>
                    <a:lnTo>
                      <a:pt x="1877" y="2441"/>
                    </a:lnTo>
                    <a:lnTo>
                      <a:pt x="1916" y="2468"/>
                    </a:lnTo>
                    <a:lnTo>
                      <a:pt x="1955" y="2498"/>
                    </a:lnTo>
                    <a:lnTo>
                      <a:pt x="1994" y="2528"/>
                    </a:lnTo>
                    <a:lnTo>
                      <a:pt x="2031" y="2560"/>
                    </a:lnTo>
                    <a:lnTo>
                      <a:pt x="2106" y="2625"/>
                    </a:lnTo>
                    <a:lnTo>
                      <a:pt x="2179" y="2692"/>
                    </a:lnTo>
                    <a:lnTo>
                      <a:pt x="2221" y="2730"/>
                    </a:lnTo>
                    <a:lnTo>
                      <a:pt x="2262" y="2767"/>
                    </a:lnTo>
                    <a:lnTo>
                      <a:pt x="2302" y="2802"/>
                    </a:lnTo>
                    <a:lnTo>
                      <a:pt x="2342" y="2835"/>
                    </a:lnTo>
                    <a:lnTo>
                      <a:pt x="2380" y="2865"/>
                    </a:lnTo>
                    <a:lnTo>
                      <a:pt x="2417" y="2891"/>
                    </a:lnTo>
                    <a:lnTo>
                      <a:pt x="2435" y="2903"/>
                    </a:lnTo>
                    <a:lnTo>
                      <a:pt x="2452" y="2913"/>
                    </a:lnTo>
                    <a:lnTo>
                      <a:pt x="2470" y="2923"/>
                    </a:lnTo>
                    <a:lnTo>
                      <a:pt x="2487" y="2931"/>
                    </a:lnTo>
                    <a:lnTo>
                      <a:pt x="2717" y="3034"/>
                    </a:lnTo>
                    <a:lnTo>
                      <a:pt x="2728" y="3015"/>
                    </a:lnTo>
                    <a:lnTo>
                      <a:pt x="2742" y="2984"/>
                    </a:lnTo>
                    <a:lnTo>
                      <a:pt x="2750" y="2965"/>
                    </a:lnTo>
                    <a:lnTo>
                      <a:pt x="2759" y="2944"/>
                    </a:lnTo>
                    <a:lnTo>
                      <a:pt x="2769" y="2920"/>
                    </a:lnTo>
                    <a:lnTo>
                      <a:pt x="2777" y="2894"/>
                    </a:lnTo>
                    <a:lnTo>
                      <a:pt x="2787" y="2863"/>
                    </a:lnTo>
                    <a:lnTo>
                      <a:pt x="2797" y="2830"/>
                    </a:lnTo>
                    <a:lnTo>
                      <a:pt x="2806" y="2795"/>
                    </a:lnTo>
                    <a:lnTo>
                      <a:pt x="2813" y="2757"/>
                    </a:lnTo>
                    <a:lnTo>
                      <a:pt x="2820" y="2718"/>
                    </a:lnTo>
                    <a:lnTo>
                      <a:pt x="2826" y="2676"/>
                    </a:lnTo>
                    <a:lnTo>
                      <a:pt x="2830" y="2632"/>
                    </a:lnTo>
                    <a:lnTo>
                      <a:pt x="2834" y="2586"/>
                    </a:lnTo>
                    <a:lnTo>
                      <a:pt x="2835" y="2538"/>
                    </a:lnTo>
                    <a:lnTo>
                      <a:pt x="2834" y="2488"/>
                    </a:lnTo>
                    <a:lnTo>
                      <a:pt x="2831" y="2436"/>
                    </a:lnTo>
                    <a:lnTo>
                      <a:pt x="2826" y="2382"/>
                    </a:lnTo>
                    <a:lnTo>
                      <a:pt x="2823" y="2355"/>
                    </a:lnTo>
                    <a:lnTo>
                      <a:pt x="2820" y="2327"/>
                    </a:lnTo>
                    <a:lnTo>
                      <a:pt x="2814" y="2298"/>
                    </a:lnTo>
                    <a:lnTo>
                      <a:pt x="2809" y="2269"/>
                    </a:lnTo>
                    <a:lnTo>
                      <a:pt x="2803" y="2240"/>
                    </a:lnTo>
                    <a:lnTo>
                      <a:pt x="2797" y="2211"/>
                    </a:lnTo>
                    <a:lnTo>
                      <a:pt x="2789" y="2180"/>
                    </a:lnTo>
                    <a:lnTo>
                      <a:pt x="2781" y="2149"/>
                    </a:lnTo>
                    <a:lnTo>
                      <a:pt x="2762" y="2085"/>
                    </a:lnTo>
                    <a:lnTo>
                      <a:pt x="2742" y="2020"/>
                    </a:lnTo>
                    <a:lnTo>
                      <a:pt x="2720" y="1954"/>
                    </a:lnTo>
                    <a:lnTo>
                      <a:pt x="2697" y="1888"/>
                    </a:lnTo>
                    <a:lnTo>
                      <a:pt x="2672" y="1821"/>
                    </a:lnTo>
                    <a:lnTo>
                      <a:pt x="2645" y="1753"/>
                    </a:lnTo>
                    <a:lnTo>
                      <a:pt x="2617" y="1685"/>
                    </a:lnTo>
                    <a:lnTo>
                      <a:pt x="2586" y="1618"/>
                    </a:lnTo>
                    <a:lnTo>
                      <a:pt x="2554" y="1550"/>
                    </a:lnTo>
                    <a:lnTo>
                      <a:pt x="2520" y="1482"/>
                    </a:lnTo>
                    <a:lnTo>
                      <a:pt x="2486" y="1414"/>
                    </a:lnTo>
                    <a:lnTo>
                      <a:pt x="2449" y="1347"/>
                    </a:lnTo>
                    <a:lnTo>
                      <a:pt x="2410" y="1280"/>
                    </a:lnTo>
                    <a:lnTo>
                      <a:pt x="2370" y="1214"/>
                    </a:lnTo>
                    <a:lnTo>
                      <a:pt x="2329" y="1150"/>
                    </a:lnTo>
                    <a:lnTo>
                      <a:pt x="2285" y="1085"/>
                    </a:lnTo>
                    <a:lnTo>
                      <a:pt x="2241" y="1021"/>
                    </a:lnTo>
                    <a:lnTo>
                      <a:pt x="2193" y="959"/>
                    </a:lnTo>
                    <a:lnTo>
                      <a:pt x="2146" y="897"/>
                    </a:lnTo>
                    <a:lnTo>
                      <a:pt x="2095" y="837"/>
                    </a:lnTo>
                    <a:lnTo>
                      <a:pt x="2043" y="778"/>
                    </a:lnTo>
                    <a:lnTo>
                      <a:pt x="1990" y="721"/>
                    </a:lnTo>
                    <a:lnTo>
                      <a:pt x="1935" y="666"/>
                    </a:lnTo>
                    <a:lnTo>
                      <a:pt x="1879" y="613"/>
                    </a:lnTo>
                    <a:lnTo>
                      <a:pt x="1821" y="561"/>
                    </a:lnTo>
                    <a:lnTo>
                      <a:pt x="1760" y="512"/>
                    </a:lnTo>
                    <a:lnTo>
                      <a:pt x="1699" y="464"/>
                    </a:lnTo>
                    <a:lnTo>
                      <a:pt x="1635" y="420"/>
                    </a:lnTo>
                    <a:lnTo>
                      <a:pt x="1570" y="377"/>
                    </a:lnTo>
                    <a:lnTo>
                      <a:pt x="1503" y="337"/>
                    </a:lnTo>
                    <a:lnTo>
                      <a:pt x="1435" y="300"/>
                    </a:lnTo>
                    <a:lnTo>
                      <a:pt x="1365" y="265"/>
                    </a:lnTo>
                    <a:lnTo>
                      <a:pt x="1287" y="230"/>
                    </a:lnTo>
                    <a:lnTo>
                      <a:pt x="1213" y="199"/>
                    </a:lnTo>
                    <a:lnTo>
                      <a:pt x="1140" y="170"/>
                    </a:lnTo>
                    <a:lnTo>
                      <a:pt x="1071" y="145"/>
                    </a:lnTo>
                    <a:lnTo>
                      <a:pt x="1004" y="123"/>
                    </a:lnTo>
                    <a:lnTo>
                      <a:pt x="941" y="104"/>
                    </a:lnTo>
                    <a:lnTo>
                      <a:pt x="880" y="86"/>
                    </a:lnTo>
                    <a:lnTo>
                      <a:pt x="823" y="72"/>
                    </a:lnTo>
                    <a:lnTo>
                      <a:pt x="768" y="60"/>
                    </a:lnTo>
                    <a:lnTo>
                      <a:pt x="716" y="51"/>
                    </a:lnTo>
                    <a:lnTo>
                      <a:pt x="668" y="42"/>
                    </a:lnTo>
                    <a:lnTo>
                      <a:pt x="621" y="37"/>
                    </a:lnTo>
                    <a:lnTo>
                      <a:pt x="578" y="32"/>
                    </a:lnTo>
                    <a:lnTo>
                      <a:pt x="538" y="29"/>
                    </a:lnTo>
                    <a:lnTo>
                      <a:pt x="500" y="27"/>
                    </a:lnTo>
                    <a:lnTo>
                      <a:pt x="466" y="27"/>
                    </a:lnTo>
                    <a:lnTo>
                      <a:pt x="430" y="27"/>
                    </a:lnTo>
                    <a:lnTo>
                      <a:pt x="397" y="29"/>
                    </a:lnTo>
                    <a:lnTo>
                      <a:pt x="366" y="31"/>
                    </a:lnTo>
                    <a:lnTo>
                      <a:pt x="337" y="34"/>
                    </a:lnTo>
                    <a:lnTo>
                      <a:pt x="311" y="38"/>
                    </a:lnTo>
                    <a:lnTo>
                      <a:pt x="287" y="42"/>
                    </a:lnTo>
                    <a:lnTo>
                      <a:pt x="266" y="46"/>
                    </a:lnTo>
                    <a:lnTo>
                      <a:pt x="246" y="52"/>
                    </a:lnTo>
                    <a:lnTo>
                      <a:pt x="215" y="60"/>
                    </a:lnTo>
                    <a:lnTo>
                      <a:pt x="192" y="69"/>
                    </a:lnTo>
                    <a:lnTo>
                      <a:pt x="178" y="74"/>
                    </a:lnTo>
                    <a:lnTo>
                      <a:pt x="174" y="77"/>
                    </a:lnTo>
                    <a:lnTo>
                      <a:pt x="171" y="78"/>
                    </a:lnTo>
                    <a:lnTo>
                      <a:pt x="168" y="78"/>
                    </a:lnTo>
                    <a:lnTo>
                      <a:pt x="159" y="78"/>
                    </a:lnTo>
                    <a:lnTo>
                      <a:pt x="138" y="77"/>
                    </a:lnTo>
                    <a:lnTo>
                      <a:pt x="106" y="72"/>
                    </a:lnTo>
                    <a:lnTo>
                      <a:pt x="64" y="67"/>
                    </a:lnTo>
                    <a:lnTo>
                      <a:pt x="150" y="137"/>
                    </a:lnTo>
                    <a:lnTo>
                      <a:pt x="232" y="208"/>
                    </a:lnTo>
                    <a:lnTo>
                      <a:pt x="311" y="282"/>
                    </a:lnTo>
                    <a:lnTo>
                      <a:pt x="387" y="355"/>
                    </a:lnTo>
                    <a:lnTo>
                      <a:pt x="460" y="430"/>
                    </a:lnTo>
                    <a:lnTo>
                      <a:pt x="529" y="504"/>
                    </a:lnTo>
                    <a:lnTo>
                      <a:pt x="596" y="580"/>
                    </a:lnTo>
                    <a:lnTo>
                      <a:pt x="660" y="655"/>
                    </a:lnTo>
                    <a:lnTo>
                      <a:pt x="722" y="731"/>
                    </a:lnTo>
                    <a:lnTo>
                      <a:pt x="780" y="806"/>
                    </a:lnTo>
                    <a:lnTo>
                      <a:pt x="835" y="882"/>
                    </a:lnTo>
                    <a:lnTo>
                      <a:pt x="888" y="956"/>
                    </a:lnTo>
                    <a:lnTo>
                      <a:pt x="939" y="1031"/>
                    </a:lnTo>
                    <a:lnTo>
                      <a:pt x="986" y="1105"/>
                    </a:lnTo>
                    <a:lnTo>
                      <a:pt x="1031" y="1179"/>
                    </a:lnTo>
                    <a:lnTo>
                      <a:pt x="1075" y="1251"/>
                    </a:lnTo>
                    <a:lnTo>
                      <a:pt x="1115" y="1322"/>
                    </a:lnTo>
                    <a:lnTo>
                      <a:pt x="1153" y="1391"/>
                    </a:lnTo>
                    <a:lnTo>
                      <a:pt x="1189" y="1460"/>
                    </a:lnTo>
                    <a:lnTo>
                      <a:pt x="1224" y="1527"/>
                    </a:lnTo>
                    <a:lnTo>
                      <a:pt x="1255" y="1592"/>
                    </a:lnTo>
                    <a:lnTo>
                      <a:pt x="1285" y="1656"/>
                    </a:lnTo>
                    <a:lnTo>
                      <a:pt x="1313" y="1717"/>
                    </a:lnTo>
                    <a:lnTo>
                      <a:pt x="1339" y="1777"/>
                    </a:lnTo>
                    <a:lnTo>
                      <a:pt x="1363" y="1834"/>
                    </a:lnTo>
                    <a:lnTo>
                      <a:pt x="1386" y="1888"/>
                    </a:lnTo>
                    <a:lnTo>
                      <a:pt x="1406" y="1940"/>
                    </a:lnTo>
                    <a:lnTo>
                      <a:pt x="1426" y="1989"/>
                    </a:lnTo>
                    <a:lnTo>
                      <a:pt x="1459" y="2078"/>
                    </a:lnTo>
                    <a:lnTo>
                      <a:pt x="1487" y="2155"/>
                    </a:lnTo>
                    <a:lnTo>
                      <a:pt x="1509" y="2212"/>
                    </a:lnTo>
                    <a:lnTo>
                      <a:pt x="1527" y="2260"/>
                    </a:lnTo>
                    <a:lnTo>
                      <a:pt x="1536" y="2280"/>
                    </a:lnTo>
                    <a:lnTo>
                      <a:pt x="1542" y="2296"/>
                    </a:lnTo>
                    <a:lnTo>
                      <a:pt x="1549" y="2308"/>
                    </a:lnTo>
                    <a:lnTo>
                      <a:pt x="1554" y="2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13"/>
              <p:cNvSpPr>
                <a:spLocks/>
              </p:cNvSpPr>
              <p:nvPr userDrawn="1"/>
            </p:nvSpPr>
            <p:spPr bwMode="auto">
              <a:xfrm>
                <a:off x="779" y="3190"/>
                <a:ext cx="391" cy="723"/>
              </a:xfrm>
              <a:custGeom>
                <a:avLst/>
                <a:gdLst>
                  <a:gd name="T0" fmla="*/ 1153 w 1172"/>
                  <a:gd name="T1" fmla="*/ 2167 h 2168"/>
                  <a:gd name="T2" fmla="*/ 1147 w 1172"/>
                  <a:gd name="T3" fmla="*/ 2160 h 2168"/>
                  <a:gd name="T4" fmla="*/ 1145 w 1172"/>
                  <a:gd name="T5" fmla="*/ 2146 h 2168"/>
                  <a:gd name="T6" fmla="*/ 1144 w 1172"/>
                  <a:gd name="T7" fmla="*/ 2087 h 2168"/>
                  <a:gd name="T8" fmla="*/ 1139 w 1172"/>
                  <a:gd name="T9" fmla="*/ 1978 h 2168"/>
                  <a:gd name="T10" fmla="*/ 1129 w 1172"/>
                  <a:gd name="T11" fmla="*/ 1828 h 2168"/>
                  <a:gd name="T12" fmla="*/ 1112 w 1172"/>
                  <a:gd name="T13" fmla="*/ 1646 h 2168"/>
                  <a:gd name="T14" fmla="*/ 1094 w 1172"/>
                  <a:gd name="T15" fmla="*/ 1492 h 2168"/>
                  <a:gd name="T16" fmla="*/ 1077 w 1172"/>
                  <a:gd name="T17" fmla="*/ 1384 h 2168"/>
                  <a:gd name="T18" fmla="*/ 1059 w 1172"/>
                  <a:gd name="T19" fmla="*/ 1272 h 2168"/>
                  <a:gd name="T20" fmla="*/ 1036 w 1172"/>
                  <a:gd name="T21" fmla="*/ 1159 h 2168"/>
                  <a:gd name="T22" fmla="*/ 1010 w 1172"/>
                  <a:gd name="T23" fmla="*/ 1043 h 2168"/>
                  <a:gd name="T24" fmla="*/ 981 w 1172"/>
                  <a:gd name="T25" fmla="*/ 927 h 2168"/>
                  <a:gd name="T26" fmla="*/ 947 w 1172"/>
                  <a:gd name="T27" fmla="*/ 812 h 2168"/>
                  <a:gd name="T28" fmla="*/ 901 w 1172"/>
                  <a:gd name="T29" fmla="*/ 706 h 2168"/>
                  <a:gd name="T30" fmla="*/ 844 w 1172"/>
                  <a:gd name="T31" fmla="*/ 609 h 2168"/>
                  <a:gd name="T32" fmla="*/ 778 w 1172"/>
                  <a:gd name="T33" fmla="*/ 521 h 2168"/>
                  <a:gd name="T34" fmla="*/ 705 w 1172"/>
                  <a:gd name="T35" fmla="*/ 441 h 2168"/>
                  <a:gd name="T36" fmla="*/ 627 w 1172"/>
                  <a:gd name="T37" fmla="*/ 367 h 2168"/>
                  <a:gd name="T38" fmla="*/ 546 w 1172"/>
                  <a:gd name="T39" fmla="*/ 303 h 2168"/>
                  <a:gd name="T40" fmla="*/ 465 w 1172"/>
                  <a:gd name="T41" fmla="*/ 245 h 2168"/>
                  <a:gd name="T42" fmla="*/ 384 w 1172"/>
                  <a:gd name="T43" fmla="*/ 196 h 2168"/>
                  <a:gd name="T44" fmla="*/ 306 w 1172"/>
                  <a:gd name="T45" fmla="*/ 153 h 2168"/>
                  <a:gd name="T46" fmla="*/ 233 w 1172"/>
                  <a:gd name="T47" fmla="*/ 116 h 2168"/>
                  <a:gd name="T48" fmla="*/ 167 w 1172"/>
                  <a:gd name="T49" fmla="*/ 86 h 2168"/>
                  <a:gd name="T50" fmla="*/ 85 w 1172"/>
                  <a:gd name="T51" fmla="*/ 53 h 2168"/>
                  <a:gd name="T52" fmla="*/ 19 w 1172"/>
                  <a:gd name="T53" fmla="*/ 31 h 2168"/>
                  <a:gd name="T54" fmla="*/ 5 w 1172"/>
                  <a:gd name="T55" fmla="*/ 25 h 2168"/>
                  <a:gd name="T56" fmla="*/ 0 w 1172"/>
                  <a:gd name="T57" fmla="*/ 16 h 2168"/>
                  <a:gd name="T58" fmla="*/ 3 w 1172"/>
                  <a:gd name="T59" fmla="*/ 6 h 2168"/>
                  <a:gd name="T60" fmla="*/ 12 w 1172"/>
                  <a:gd name="T61" fmla="*/ 0 h 2168"/>
                  <a:gd name="T62" fmla="*/ 27 w 1172"/>
                  <a:gd name="T63" fmla="*/ 5 h 2168"/>
                  <a:gd name="T64" fmla="*/ 95 w 1172"/>
                  <a:gd name="T65" fmla="*/ 27 h 2168"/>
                  <a:gd name="T66" fmla="*/ 177 w 1172"/>
                  <a:gd name="T67" fmla="*/ 61 h 2168"/>
                  <a:gd name="T68" fmla="*/ 245 w 1172"/>
                  <a:gd name="T69" fmla="*/ 92 h 2168"/>
                  <a:gd name="T70" fmla="*/ 319 w 1172"/>
                  <a:gd name="T71" fmla="*/ 129 h 2168"/>
                  <a:gd name="T72" fmla="*/ 398 w 1172"/>
                  <a:gd name="T73" fmla="*/ 173 h 2168"/>
                  <a:gd name="T74" fmla="*/ 480 w 1172"/>
                  <a:gd name="T75" fmla="*/ 224 h 2168"/>
                  <a:gd name="T76" fmla="*/ 565 w 1172"/>
                  <a:gd name="T77" fmla="*/ 282 h 2168"/>
                  <a:gd name="T78" fmla="*/ 647 w 1172"/>
                  <a:gd name="T79" fmla="*/ 349 h 2168"/>
                  <a:gd name="T80" fmla="*/ 727 w 1172"/>
                  <a:gd name="T81" fmla="*/ 424 h 2168"/>
                  <a:gd name="T82" fmla="*/ 800 w 1172"/>
                  <a:gd name="T83" fmla="*/ 506 h 2168"/>
                  <a:gd name="T84" fmla="*/ 868 w 1172"/>
                  <a:gd name="T85" fmla="*/ 596 h 2168"/>
                  <a:gd name="T86" fmla="*/ 925 w 1172"/>
                  <a:gd name="T87" fmla="*/ 696 h 2168"/>
                  <a:gd name="T88" fmla="*/ 973 w 1172"/>
                  <a:gd name="T89" fmla="*/ 804 h 2168"/>
                  <a:gd name="T90" fmla="*/ 1007 w 1172"/>
                  <a:gd name="T91" fmla="*/ 919 h 2168"/>
                  <a:gd name="T92" fmla="*/ 1037 w 1172"/>
                  <a:gd name="T93" fmla="*/ 1037 h 2168"/>
                  <a:gd name="T94" fmla="*/ 1062 w 1172"/>
                  <a:gd name="T95" fmla="*/ 1152 h 2168"/>
                  <a:gd name="T96" fmla="*/ 1085 w 1172"/>
                  <a:gd name="T97" fmla="*/ 1268 h 2168"/>
                  <a:gd name="T98" fmla="*/ 1104 w 1172"/>
                  <a:gd name="T99" fmla="*/ 1380 h 2168"/>
                  <a:gd name="T100" fmla="*/ 1121 w 1172"/>
                  <a:gd name="T101" fmla="*/ 1489 h 2168"/>
                  <a:gd name="T102" fmla="*/ 1139 w 1172"/>
                  <a:gd name="T103" fmla="*/ 1642 h 2168"/>
                  <a:gd name="T104" fmla="*/ 1156 w 1172"/>
                  <a:gd name="T105" fmla="*/ 1826 h 2168"/>
                  <a:gd name="T106" fmla="*/ 1166 w 1172"/>
                  <a:gd name="T107" fmla="*/ 1977 h 2168"/>
                  <a:gd name="T108" fmla="*/ 1171 w 1172"/>
                  <a:gd name="T109" fmla="*/ 2086 h 2168"/>
                  <a:gd name="T110" fmla="*/ 1172 w 1172"/>
                  <a:gd name="T111" fmla="*/ 2146 h 2168"/>
                  <a:gd name="T112" fmla="*/ 1171 w 1172"/>
                  <a:gd name="T113" fmla="*/ 2160 h 2168"/>
                  <a:gd name="T114" fmla="*/ 1164 w 1172"/>
                  <a:gd name="T115" fmla="*/ 2167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2" h="2168">
                    <a:moveTo>
                      <a:pt x="1158" y="2168"/>
                    </a:moveTo>
                    <a:lnTo>
                      <a:pt x="1153" y="2167"/>
                    </a:lnTo>
                    <a:lnTo>
                      <a:pt x="1149" y="2165"/>
                    </a:lnTo>
                    <a:lnTo>
                      <a:pt x="1147" y="2160"/>
                    </a:lnTo>
                    <a:lnTo>
                      <a:pt x="1145" y="2155"/>
                    </a:lnTo>
                    <a:lnTo>
                      <a:pt x="1145" y="2146"/>
                    </a:lnTo>
                    <a:lnTo>
                      <a:pt x="1144" y="2123"/>
                    </a:lnTo>
                    <a:lnTo>
                      <a:pt x="1144" y="2087"/>
                    </a:lnTo>
                    <a:lnTo>
                      <a:pt x="1142" y="2037"/>
                    </a:lnTo>
                    <a:lnTo>
                      <a:pt x="1139" y="1978"/>
                    </a:lnTo>
                    <a:lnTo>
                      <a:pt x="1136" y="1908"/>
                    </a:lnTo>
                    <a:lnTo>
                      <a:pt x="1129" y="1828"/>
                    </a:lnTo>
                    <a:lnTo>
                      <a:pt x="1122" y="1741"/>
                    </a:lnTo>
                    <a:lnTo>
                      <a:pt x="1112" y="1646"/>
                    </a:lnTo>
                    <a:lnTo>
                      <a:pt x="1100" y="1545"/>
                    </a:lnTo>
                    <a:lnTo>
                      <a:pt x="1094" y="1492"/>
                    </a:lnTo>
                    <a:lnTo>
                      <a:pt x="1086" y="1438"/>
                    </a:lnTo>
                    <a:lnTo>
                      <a:pt x="1077" y="1384"/>
                    </a:lnTo>
                    <a:lnTo>
                      <a:pt x="1069" y="1329"/>
                    </a:lnTo>
                    <a:lnTo>
                      <a:pt x="1059" y="1272"/>
                    </a:lnTo>
                    <a:lnTo>
                      <a:pt x="1048" y="1216"/>
                    </a:lnTo>
                    <a:lnTo>
                      <a:pt x="1036" y="1159"/>
                    </a:lnTo>
                    <a:lnTo>
                      <a:pt x="1025" y="1100"/>
                    </a:lnTo>
                    <a:lnTo>
                      <a:pt x="1010" y="1043"/>
                    </a:lnTo>
                    <a:lnTo>
                      <a:pt x="996" y="985"/>
                    </a:lnTo>
                    <a:lnTo>
                      <a:pt x="981" y="927"/>
                    </a:lnTo>
                    <a:lnTo>
                      <a:pt x="965" y="868"/>
                    </a:lnTo>
                    <a:lnTo>
                      <a:pt x="947" y="812"/>
                    </a:lnTo>
                    <a:lnTo>
                      <a:pt x="925" y="758"/>
                    </a:lnTo>
                    <a:lnTo>
                      <a:pt x="901" y="706"/>
                    </a:lnTo>
                    <a:lnTo>
                      <a:pt x="873" y="657"/>
                    </a:lnTo>
                    <a:lnTo>
                      <a:pt x="844" y="609"/>
                    </a:lnTo>
                    <a:lnTo>
                      <a:pt x="812" y="564"/>
                    </a:lnTo>
                    <a:lnTo>
                      <a:pt x="778" y="521"/>
                    </a:lnTo>
                    <a:lnTo>
                      <a:pt x="743" y="480"/>
                    </a:lnTo>
                    <a:lnTo>
                      <a:pt x="705" y="441"/>
                    </a:lnTo>
                    <a:lnTo>
                      <a:pt x="667" y="403"/>
                    </a:lnTo>
                    <a:lnTo>
                      <a:pt x="627" y="367"/>
                    </a:lnTo>
                    <a:lnTo>
                      <a:pt x="587" y="334"/>
                    </a:lnTo>
                    <a:lnTo>
                      <a:pt x="546" y="303"/>
                    </a:lnTo>
                    <a:lnTo>
                      <a:pt x="506" y="274"/>
                    </a:lnTo>
                    <a:lnTo>
                      <a:pt x="465" y="245"/>
                    </a:lnTo>
                    <a:lnTo>
                      <a:pt x="424" y="220"/>
                    </a:lnTo>
                    <a:lnTo>
                      <a:pt x="384" y="196"/>
                    </a:lnTo>
                    <a:lnTo>
                      <a:pt x="344" y="173"/>
                    </a:lnTo>
                    <a:lnTo>
                      <a:pt x="306" y="153"/>
                    </a:lnTo>
                    <a:lnTo>
                      <a:pt x="269" y="133"/>
                    </a:lnTo>
                    <a:lnTo>
                      <a:pt x="233" y="116"/>
                    </a:lnTo>
                    <a:lnTo>
                      <a:pt x="200" y="100"/>
                    </a:lnTo>
                    <a:lnTo>
                      <a:pt x="167" y="86"/>
                    </a:lnTo>
                    <a:lnTo>
                      <a:pt x="137" y="74"/>
                    </a:lnTo>
                    <a:lnTo>
                      <a:pt x="85" y="53"/>
                    </a:lnTo>
                    <a:lnTo>
                      <a:pt x="45" y="39"/>
                    </a:lnTo>
                    <a:lnTo>
                      <a:pt x="19" y="31"/>
                    </a:lnTo>
                    <a:lnTo>
                      <a:pt x="10" y="27"/>
                    </a:lnTo>
                    <a:lnTo>
                      <a:pt x="5" y="25"/>
                    </a:lnTo>
                    <a:lnTo>
                      <a:pt x="1" y="21"/>
                    </a:lnTo>
                    <a:lnTo>
                      <a:pt x="0" y="16"/>
                    </a:lnTo>
                    <a:lnTo>
                      <a:pt x="0" y="10"/>
                    </a:lnTo>
                    <a:lnTo>
                      <a:pt x="3" y="6"/>
                    </a:lnTo>
                    <a:lnTo>
                      <a:pt x="6" y="3"/>
                    </a:lnTo>
                    <a:lnTo>
                      <a:pt x="12" y="0"/>
                    </a:lnTo>
                    <a:lnTo>
                      <a:pt x="17" y="2"/>
                    </a:lnTo>
                    <a:lnTo>
                      <a:pt x="27" y="5"/>
                    </a:lnTo>
                    <a:lnTo>
                      <a:pt x="54" y="13"/>
                    </a:lnTo>
                    <a:lnTo>
                      <a:pt x="95" y="27"/>
                    </a:lnTo>
                    <a:lnTo>
                      <a:pt x="147" y="49"/>
                    </a:lnTo>
                    <a:lnTo>
                      <a:pt x="177" y="61"/>
                    </a:lnTo>
                    <a:lnTo>
                      <a:pt x="210" y="76"/>
                    </a:lnTo>
                    <a:lnTo>
                      <a:pt x="245" y="92"/>
                    </a:lnTo>
                    <a:lnTo>
                      <a:pt x="281" y="109"/>
                    </a:lnTo>
                    <a:lnTo>
                      <a:pt x="319" y="129"/>
                    </a:lnTo>
                    <a:lnTo>
                      <a:pt x="358" y="150"/>
                    </a:lnTo>
                    <a:lnTo>
                      <a:pt x="398" y="173"/>
                    </a:lnTo>
                    <a:lnTo>
                      <a:pt x="439" y="198"/>
                    </a:lnTo>
                    <a:lnTo>
                      <a:pt x="480" y="224"/>
                    </a:lnTo>
                    <a:lnTo>
                      <a:pt x="522" y="252"/>
                    </a:lnTo>
                    <a:lnTo>
                      <a:pt x="565" y="282"/>
                    </a:lnTo>
                    <a:lnTo>
                      <a:pt x="606" y="315"/>
                    </a:lnTo>
                    <a:lnTo>
                      <a:pt x="647" y="349"/>
                    </a:lnTo>
                    <a:lnTo>
                      <a:pt x="687" y="385"/>
                    </a:lnTo>
                    <a:lnTo>
                      <a:pt x="727" y="424"/>
                    </a:lnTo>
                    <a:lnTo>
                      <a:pt x="764" y="464"/>
                    </a:lnTo>
                    <a:lnTo>
                      <a:pt x="800" y="506"/>
                    </a:lnTo>
                    <a:lnTo>
                      <a:pt x="834" y="550"/>
                    </a:lnTo>
                    <a:lnTo>
                      <a:pt x="868" y="596"/>
                    </a:lnTo>
                    <a:lnTo>
                      <a:pt x="898" y="645"/>
                    </a:lnTo>
                    <a:lnTo>
                      <a:pt x="925" y="696"/>
                    </a:lnTo>
                    <a:lnTo>
                      <a:pt x="951" y="749"/>
                    </a:lnTo>
                    <a:lnTo>
                      <a:pt x="973" y="804"/>
                    </a:lnTo>
                    <a:lnTo>
                      <a:pt x="991" y="861"/>
                    </a:lnTo>
                    <a:lnTo>
                      <a:pt x="1007" y="919"/>
                    </a:lnTo>
                    <a:lnTo>
                      <a:pt x="1022" y="977"/>
                    </a:lnTo>
                    <a:lnTo>
                      <a:pt x="1037" y="1037"/>
                    </a:lnTo>
                    <a:lnTo>
                      <a:pt x="1050" y="1095"/>
                    </a:lnTo>
                    <a:lnTo>
                      <a:pt x="1062" y="1152"/>
                    </a:lnTo>
                    <a:lnTo>
                      <a:pt x="1074" y="1211"/>
                    </a:lnTo>
                    <a:lnTo>
                      <a:pt x="1085" y="1268"/>
                    </a:lnTo>
                    <a:lnTo>
                      <a:pt x="1095" y="1324"/>
                    </a:lnTo>
                    <a:lnTo>
                      <a:pt x="1104" y="1380"/>
                    </a:lnTo>
                    <a:lnTo>
                      <a:pt x="1113" y="1435"/>
                    </a:lnTo>
                    <a:lnTo>
                      <a:pt x="1121" y="1489"/>
                    </a:lnTo>
                    <a:lnTo>
                      <a:pt x="1127" y="1541"/>
                    </a:lnTo>
                    <a:lnTo>
                      <a:pt x="1139" y="1642"/>
                    </a:lnTo>
                    <a:lnTo>
                      <a:pt x="1149" y="1738"/>
                    </a:lnTo>
                    <a:lnTo>
                      <a:pt x="1156" y="1826"/>
                    </a:lnTo>
                    <a:lnTo>
                      <a:pt x="1163" y="1906"/>
                    </a:lnTo>
                    <a:lnTo>
                      <a:pt x="1166" y="1977"/>
                    </a:lnTo>
                    <a:lnTo>
                      <a:pt x="1169" y="2037"/>
                    </a:lnTo>
                    <a:lnTo>
                      <a:pt x="1171" y="2086"/>
                    </a:lnTo>
                    <a:lnTo>
                      <a:pt x="1171" y="2123"/>
                    </a:lnTo>
                    <a:lnTo>
                      <a:pt x="1172" y="2146"/>
                    </a:lnTo>
                    <a:lnTo>
                      <a:pt x="1172" y="2155"/>
                    </a:lnTo>
                    <a:lnTo>
                      <a:pt x="1171" y="2160"/>
                    </a:lnTo>
                    <a:lnTo>
                      <a:pt x="1168" y="2165"/>
                    </a:lnTo>
                    <a:lnTo>
                      <a:pt x="1164" y="2167"/>
                    </a:lnTo>
                    <a:lnTo>
                      <a:pt x="1158" y="2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14"/>
              <p:cNvSpPr>
                <a:spLocks/>
              </p:cNvSpPr>
              <p:nvPr userDrawn="1"/>
            </p:nvSpPr>
            <p:spPr bwMode="auto">
              <a:xfrm>
                <a:off x="910" y="3040"/>
                <a:ext cx="359" cy="767"/>
              </a:xfrm>
              <a:custGeom>
                <a:avLst/>
                <a:gdLst>
                  <a:gd name="T0" fmla="*/ 927 w 1077"/>
                  <a:gd name="T1" fmla="*/ 2291 h 2301"/>
                  <a:gd name="T2" fmla="*/ 840 w 1077"/>
                  <a:gd name="T3" fmla="*/ 2181 h 2301"/>
                  <a:gd name="T4" fmla="*/ 771 w 1077"/>
                  <a:gd name="T5" fmla="*/ 2066 h 2301"/>
                  <a:gd name="T6" fmla="*/ 708 w 1077"/>
                  <a:gd name="T7" fmla="*/ 1919 h 2301"/>
                  <a:gd name="T8" fmla="*/ 670 w 1077"/>
                  <a:gd name="T9" fmla="*/ 1745 h 2301"/>
                  <a:gd name="T10" fmla="*/ 674 w 1077"/>
                  <a:gd name="T11" fmla="*/ 1548 h 2301"/>
                  <a:gd name="T12" fmla="*/ 734 w 1077"/>
                  <a:gd name="T13" fmla="*/ 1335 h 2301"/>
                  <a:gd name="T14" fmla="*/ 851 w 1077"/>
                  <a:gd name="T15" fmla="*/ 1133 h 2301"/>
                  <a:gd name="T16" fmla="*/ 930 w 1077"/>
                  <a:gd name="T17" fmla="*/ 1002 h 2301"/>
                  <a:gd name="T18" fmla="*/ 988 w 1077"/>
                  <a:gd name="T19" fmla="*/ 879 h 2301"/>
                  <a:gd name="T20" fmla="*/ 1028 w 1077"/>
                  <a:gd name="T21" fmla="*/ 764 h 2301"/>
                  <a:gd name="T22" fmla="*/ 1047 w 1077"/>
                  <a:gd name="T23" fmla="*/ 656 h 2301"/>
                  <a:gd name="T24" fmla="*/ 1048 w 1077"/>
                  <a:gd name="T25" fmla="*/ 554 h 2301"/>
                  <a:gd name="T26" fmla="*/ 1030 w 1077"/>
                  <a:gd name="T27" fmla="*/ 460 h 2301"/>
                  <a:gd name="T28" fmla="*/ 991 w 1077"/>
                  <a:gd name="T29" fmla="*/ 374 h 2301"/>
                  <a:gd name="T30" fmla="*/ 926 w 1077"/>
                  <a:gd name="T31" fmla="*/ 288 h 2301"/>
                  <a:gd name="T32" fmla="*/ 815 w 1077"/>
                  <a:gd name="T33" fmla="*/ 195 h 2301"/>
                  <a:gd name="T34" fmla="*/ 683 w 1077"/>
                  <a:gd name="T35" fmla="*/ 125 h 2301"/>
                  <a:gd name="T36" fmla="*/ 541 w 1077"/>
                  <a:gd name="T37" fmla="*/ 76 h 2301"/>
                  <a:gd name="T38" fmla="*/ 398 w 1077"/>
                  <a:gd name="T39" fmla="*/ 46 h 2301"/>
                  <a:gd name="T40" fmla="*/ 264 w 1077"/>
                  <a:gd name="T41" fmla="*/ 32 h 2301"/>
                  <a:gd name="T42" fmla="*/ 149 w 1077"/>
                  <a:gd name="T43" fmla="*/ 28 h 2301"/>
                  <a:gd name="T44" fmla="*/ 60 w 1077"/>
                  <a:gd name="T45" fmla="*/ 37 h 2301"/>
                  <a:gd name="T46" fmla="*/ 14 w 1077"/>
                  <a:gd name="T47" fmla="*/ 49 h 2301"/>
                  <a:gd name="T48" fmla="*/ 0 w 1077"/>
                  <a:gd name="T49" fmla="*/ 35 h 2301"/>
                  <a:gd name="T50" fmla="*/ 23 w 1077"/>
                  <a:gd name="T51" fmla="*/ 18 h 2301"/>
                  <a:gd name="T52" fmla="*/ 101 w 1077"/>
                  <a:gd name="T53" fmla="*/ 4 h 2301"/>
                  <a:gd name="T54" fmla="*/ 211 w 1077"/>
                  <a:gd name="T55" fmla="*/ 1 h 2301"/>
                  <a:gd name="T56" fmla="*/ 343 w 1077"/>
                  <a:gd name="T57" fmla="*/ 11 h 2301"/>
                  <a:gd name="T58" fmla="*/ 487 w 1077"/>
                  <a:gd name="T59" fmla="*/ 36 h 2301"/>
                  <a:gd name="T60" fmla="*/ 633 w 1077"/>
                  <a:gd name="T61" fmla="*/ 78 h 2301"/>
                  <a:gd name="T62" fmla="*/ 773 w 1077"/>
                  <a:gd name="T63" fmla="*/ 140 h 2301"/>
                  <a:gd name="T64" fmla="*/ 895 w 1077"/>
                  <a:gd name="T65" fmla="*/ 221 h 2301"/>
                  <a:gd name="T66" fmla="*/ 987 w 1077"/>
                  <a:gd name="T67" fmla="*/ 318 h 2301"/>
                  <a:gd name="T68" fmla="*/ 1038 w 1077"/>
                  <a:gd name="T69" fmla="*/ 404 h 2301"/>
                  <a:gd name="T70" fmla="*/ 1068 w 1077"/>
                  <a:gd name="T71" fmla="*/ 498 h 2301"/>
                  <a:gd name="T72" fmla="*/ 1077 w 1077"/>
                  <a:gd name="T73" fmla="*/ 599 h 2301"/>
                  <a:gd name="T74" fmla="*/ 1068 w 1077"/>
                  <a:gd name="T75" fmla="*/ 709 h 2301"/>
                  <a:gd name="T76" fmla="*/ 1038 w 1077"/>
                  <a:gd name="T77" fmla="*/ 825 h 2301"/>
                  <a:gd name="T78" fmla="*/ 987 w 1077"/>
                  <a:gd name="T79" fmla="*/ 948 h 2301"/>
                  <a:gd name="T80" fmla="*/ 917 w 1077"/>
                  <a:gd name="T81" fmla="*/ 1079 h 2301"/>
                  <a:gd name="T82" fmla="*/ 815 w 1077"/>
                  <a:gd name="T83" fmla="*/ 1236 h 2301"/>
                  <a:gd name="T84" fmla="*/ 722 w 1077"/>
                  <a:gd name="T85" fmla="*/ 1450 h 2301"/>
                  <a:gd name="T86" fmla="*/ 693 w 1077"/>
                  <a:gd name="T87" fmla="*/ 1650 h 2301"/>
                  <a:gd name="T88" fmla="*/ 713 w 1077"/>
                  <a:gd name="T89" fmla="*/ 1830 h 2301"/>
                  <a:gd name="T90" fmla="*/ 763 w 1077"/>
                  <a:gd name="T91" fmla="*/ 1986 h 2301"/>
                  <a:gd name="T92" fmla="*/ 829 w 1077"/>
                  <a:gd name="T93" fmla="*/ 2114 h 2301"/>
                  <a:gd name="T94" fmla="*/ 907 w 1077"/>
                  <a:gd name="T95" fmla="*/ 2225 h 2301"/>
                  <a:gd name="T96" fmla="*/ 957 w 1077"/>
                  <a:gd name="T97" fmla="*/ 2282 h 2301"/>
                  <a:gd name="T98" fmla="*/ 949 w 1077"/>
                  <a:gd name="T99" fmla="*/ 2300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7" h="2301">
                    <a:moveTo>
                      <a:pt x="944" y="2301"/>
                    </a:moveTo>
                    <a:lnTo>
                      <a:pt x="939" y="2301"/>
                    </a:lnTo>
                    <a:lnTo>
                      <a:pt x="934" y="2298"/>
                    </a:lnTo>
                    <a:lnTo>
                      <a:pt x="927" y="2291"/>
                    </a:lnTo>
                    <a:lnTo>
                      <a:pt x="911" y="2273"/>
                    </a:lnTo>
                    <a:lnTo>
                      <a:pt x="886" y="2244"/>
                    </a:lnTo>
                    <a:lnTo>
                      <a:pt x="857" y="2205"/>
                    </a:lnTo>
                    <a:lnTo>
                      <a:pt x="840" y="2181"/>
                    </a:lnTo>
                    <a:lnTo>
                      <a:pt x="824" y="2155"/>
                    </a:lnTo>
                    <a:lnTo>
                      <a:pt x="805" y="2128"/>
                    </a:lnTo>
                    <a:lnTo>
                      <a:pt x="788" y="2098"/>
                    </a:lnTo>
                    <a:lnTo>
                      <a:pt x="771" y="2066"/>
                    </a:lnTo>
                    <a:lnTo>
                      <a:pt x="755" y="2032"/>
                    </a:lnTo>
                    <a:lnTo>
                      <a:pt x="738" y="1996"/>
                    </a:lnTo>
                    <a:lnTo>
                      <a:pt x="722" y="1959"/>
                    </a:lnTo>
                    <a:lnTo>
                      <a:pt x="708" y="1919"/>
                    </a:lnTo>
                    <a:lnTo>
                      <a:pt x="696" y="1878"/>
                    </a:lnTo>
                    <a:lnTo>
                      <a:pt x="686" y="1835"/>
                    </a:lnTo>
                    <a:lnTo>
                      <a:pt x="677" y="1790"/>
                    </a:lnTo>
                    <a:lnTo>
                      <a:pt x="670" y="1745"/>
                    </a:lnTo>
                    <a:lnTo>
                      <a:pt x="667" y="1697"/>
                    </a:lnTo>
                    <a:lnTo>
                      <a:pt x="666" y="1649"/>
                    </a:lnTo>
                    <a:lnTo>
                      <a:pt x="668" y="1599"/>
                    </a:lnTo>
                    <a:lnTo>
                      <a:pt x="674" y="1548"/>
                    </a:lnTo>
                    <a:lnTo>
                      <a:pt x="682" y="1497"/>
                    </a:lnTo>
                    <a:lnTo>
                      <a:pt x="695" y="1444"/>
                    </a:lnTo>
                    <a:lnTo>
                      <a:pt x="713" y="1390"/>
                    </a:lnTo>
                    <a:lnTo>
                      <a:pt x="734" y="1335"/>
                    </a:lnTo>
                    <a:lnTo>
                      <a:pt x="761" y="1280"/>
                    </a:lnTo>
                    <a:lnTo>
                      <a:pt x="792" y="1222"/>
                    </a:lnTo>
                    <a:lnTo>
                      <a:pt x="828" y="1166"/>
                    </a:lnTo>
                    <a:lnTo>
                      <a:pt x="851" y="1133"/>
                    </a:lnTo>
                    <a:lnTo>
                      <a:pt x="872" y="1099"/>
                    </a:lnTo>
                    <a:lnTo>
                      <a:pt x="893" y="1067"/>
                    </a:lnTo>
                    <a:lnTo>
                      <a:pt x="911" y="1035"/>
                    </a:lnTo>
                    <a:lnTo>
                      <a:pt x="930" y="1002"/>
                    </a:lnTo>
                    <a:lnTo>
                      <a:pt x="946" y="971"/>
                    </a:lnTo>
                    <a:lnTo>
                      <a:pt x="961" y="940"/>
                    </a:lnTo>
                    <a:lnTo>
                      <a:pt x="975" y="909"/>
                    </a:lnTo>
                    <a:lnTo>
                      <a:pt x="988" y="879"/>
                    </a:lnTo>
                    <a:lnTo>
                      <a:pt x="1000" y="850"/>
                    </a:lnTo>
                    <a:lnTo>
                      <a:pt x="1011" y="821"/>
                    </a:lnTo>
                    <a:lnTo>
                      <a:pt x="1019" y="792"/>
                    </a:lnTo>
                    <a:lnTo>
                      <a:pt x="1028" y="764"/>
                    </a:lnTo>
                    <a:lnTo>
                      <a:pt x="1034" y="735"/>
                    </a:lnTo>
                    <a:lnTo>
                      <a:pt x="1040" y="709"/>
                    </a:lnTo>
                    <a:lnTo>
                      <a:pt x="1044" y="682"/>
                    </a:lnTo>
                    <a:lnTo>
                      <a:pt x="1047" y="656"/>
                    </a:lnTo>
                    <a:lnTo>
                      <a:pt x="1049" y="630"/>
                    </a:lnTo>
                    <a:lnTo>
                      <a:pt x="1051" y="604"/>
                    </a:lnTo>
                    <a:lnTo>
                      <a:pt x="1049" y="579"/>
                    </a:lnTo>
                    <a:lnTo>
                      <a:pt x="1048" y="554"/>
                    </a:lnTo>
                    <a:lnTo>
                      <a:pt x="1045" y="529"/>
                    </a:lnTo>
                    <a:lnTo>
                      <a:pt x="1041" y="507"/>
                    </a:lnTo>
                    <a:lnTo>
                      <a:pt x="1036" y="483"/>
                    </a:lnTo>
                    <a:lnTo>
                      <a:pt x="1030" y="460"/>
                    </a:lnTo>
                    <a:lnTo>
                      <a:pt x="1022" y="438"/>
                    </a:lnTo>
                    <a:lnTo>
                      <a:pt x="1013" y="416"/>
                    </a:lnTo>
                    <a:lnTo>
                      <a:pt x="1003" y="394"/>
                    </a:lnTo>
                    <a:lnTo>
                      <a:pt x="991" y="374"/>
                    </a:lnTo>
                    <a:lnTo>
                      <a:pt x="979" y="353"/>
                    </a:lnTo>
                    <a:lnTo>
                      <a:pt x="965" y="334"/>
                    </a:lnTo>
                    <a:lnTo>
                      <a:pt x="950" y="315"/>
                    </a:lnTo>
                    <a:lnTo>
                      <a:pt x="926" y="288"/>
                    </a:lnTo>
                    <a:lnTo>
                      <a:pt x="901" y="262"/>
                    </a:lnTo>
                    <a:lnTo>
                      <a:pt x="873" y="238"/>
                    </a:lnTo>
                    <a:lnTo>
                      <a:pt x="845" y="215"/>
                    </a:lnTo>
                    <a:lnTo>
                      <a:pt x="815" y="195"/>
                    </a:lnTo>
                    <a:lnTo>
                      <a:pt x="784" y="175"/>
                    </a:lnTo>
                    <a:lnTo>
                      <a:pt x="751" y="157"/>
                    </a:lnTo>
                    <a:lnTo>
                      <a:pt x="718" y="140"/>
                    </a:lnTo>
                    <a:lnTo>
                      <a:pt x="683" y="125"/>
                    </a:lnTo>
                    <a:lnTo>
                      <a:pt x="649" y="110"/>
                    </a:lnTo>
                    <a:lnTo>
                      <a:pt x="613" y="99"/>
                    </a:lnTo>
                    <a:lnTo>
                      <a:pt x="578" y="87"/>
                    </a:lnTo>
                    <a:lnTo>
                      <a:pt x="541" y="76"/>
                    </a:lnTo>
                    <a:lnTo>
                      <a:pt x="505" y="67"/>
                    </a:lnTo>
                    <a:lnTo>
                      <a:pt x="470" y="59"/>
                    </a:lnTo>
                    <a:lnTo>
                      <a:pt x="434" y="52"/>
                    </a:lnTo>
                    <a:lnTo>
                      <a:pt x="398" y="46"/>
                    </a:lnTo>
                    <a:lnTo>
                      <a:pt x="364" y="41"/>
                    </a:lnTo>
                    <a:lnTo>
                      <a:pt x="329" y="37"/>
                    </a:lnTo>
                    <a:lnTo>
                      <a:pt x="297" y="34"/>
                    </a:lnTo>
                    <a:lnTo>
                      <a:pt x="264" y="32"/>
                    </a:lnTo>
                    <a:lnTo>
                      <a:pt x="233" y="30"/>
                    </a:lnTo>
                    <a:lnTo>
                      <a:pt x="204" y="28"/>
                    </a:lnTo>
                    <a:lnTo>
                      <a:pt x="176" y="28"/>
                    </a:lnTo>
                    <a:lnTo>
                      <a:pt x="149" y="28"/>
                    </a:lnTo>
                    <a:lnTo>
                      <a:pt x="124" y="31"/>
                    </a:lnTo>
                    <a:lnTo>
                      <a:pt x="100" y="32"/>
                    </a:lnTo>
                    <a:lnTo>
                      <a:pt x="80" y="34"/>
                    </a:lnTo>
                    <a:lnTo>
                      <a:pt x="60" y="37"/>
                    </a:lnTo>
                    <a:lnTo>
                      <a:pt x="44" y="40"/>
                    </a:lnTo>
                    <a:lnTo>
                      <a:pt x="30" y="44"/>
                    </a:lnTo>
                    <a:lnTo>
                      <a:pt x="18" y="48"/>
                    </a:lnTo>
                    <a:lnTo>
                      <a:pt x="14" y="49"/>
                    </a:lnTo>
                    <a:lnTo>
                      <a:pt x="8" y="48"/>
                    </a:lnTo>
                    <a:lnTo>
                      <a:pt x="4" y="45"/>
                    </a:lnTo>
                    <a:lnTo>
                      <a:pt x="1" y="40"/>
                    </a:lnTo>
                    <a:lnTo>
                      <a:pt x="0" y="35"/>
                    </a:lnTo>
                    <a:lnTo>
                      <a:pt x="1" y="30"/>
                    </a:lnTo>
                    <a:lnTo>
                      <a:pt x="4" y="25"/>
                    </a:lnTo>
                    <a:lnTo>
                      <a:pt x="8" y="23"/>
                    </a:lnTo>
                    <a:lnTo>
                      <a:pt x="23" y="18"/>
                    </a:lnTo>
                    <a:lnTo>
                      <a:pt x="39" y="13"/>
                    </a:lnTo>
                    <a:lnTo>
                      <a:pt x="57" y="10"/>
                    </a:lnTo>
                    <a:lnTo>
                      <a:pt x="79" y="7"/>
                    </a:lnTo>
                    <a:lnTo>
                      <a:pt x="101" y="4"/>
                    </a:lnTo>
                    <a:lnTo>
                      <a:pt x="126" y="3"/>
                    </a:lnTo>
                    <a:lnTo>
                      <a:pt x="153" y="1"/>
                    </a:lnTo>
                    <a:lnTo>
                      <a:pt x="181" y="0"/>
                    </a:lnTo>
                    <a:lnTo>
                      <a:pt x="211" y="1"/>
                    </a:lnTo>
                    <a:lnTo>
                      <a:pt x="243" y="3"/>
                    </a:lnTo>
                    <a:lnTo>
                      <a:pt x="275" y="5"/>
                    </a:lnTo>
                    <a:lnTo>
                      <a:pt x="309" y="8"/>
                    </a:lnTo>
                    <a:lnTo>
                      <a:pt x="343" y="11"/>
                    </a:lnTo>
                    <a:lnTo>
                      <a:pt x="379" y="17"/>
                    </a:lnTo>
                    <a:lnTo>
                      <a:pt x="414" y="22"/>
                    </a:lnTo>
                    <a:lnTo>
                      <a:pt x="450" y="28"/>
                    </a:lnTo>
                    <a:lnTo>
                      <a:pt x="487" y="36"/>
                    </a:lnTo>
                    <a:lnTo>
                      <a:pt x="524" y="46"/>
                    </a:lnTo>
                    <a:lnTo>
                      <a:pt x="560" y="55"/>
                    </a:lnTo>
                    <a:lnTo>
                      <a:pt x="597" y="66"/>
                    </a:lnTo>
                    <a:lnTo>
                      <a:pt x="633" y="78"/>
                    </a:lnTo>
                    <a:lnTo>
                      <a:pt x="669" y="92"/>
                    </a:lnTo>
                    <a:lnTo>
                      <a:pt x="704" y="106"/>
                    </a:lnTo>
                    <a:lnTo>
                      <a:pt x="738" y="122"/>
                    </a:lnTo>
                    <a:lnTo>
                      <a:pt x="773" y="140"/>
                    </a:lnTo>
                    <a:lnTo>
                      <a:pt x="805" y="158"/>
                    </a:lnTo>
                    <a:lnTo>
                      <a:pt x="837" y="177"/>
                    </a:lnTo>
                    <a:lnTo>
                      <a:pt x="867" y="199"/>
                    </a:lnTo>
                    <a:lnTo>
                      <a:pt x="895" y="221"/>
                    </a:lnTo>
                    <a:lnTo>
                      <a:pt x="923" y="245"/>
                    </a:lnTo>
                    <a:lnTo>
                      <a:pt x="948" y="270"/>
                    </a:lnTo>
                    <a:lnTo>
                      <a:pt x="972" y="297"/>
                    </a:lnTo>
                    <a:lnTo>
                      <a:pt x="987" y="318"/>
                    </a:lnTo>
                    <a:lnTo>
                      <a:pt x="1002" y="338"/>
                    </a:lnTo>
                    <a:lnTo>
                      <a:pt x="1015" y="360"/>
                    </a:lnTo>
                    <a:lnTo>
                      <a:pt x="1027" y="381"/>
                    </a:lnTo>
                    <a:lnTo>
                      <a:pt x="1038" y="404"/>
                    </a:lnTo>
                    <a:lnTo>
                      <a:pt x="1047" y="427"/>
                    </a:lnTo>
                    <a:lnTo>
                      <a:pt x="1055" y="451"/>
                    </a:lnTo>
                    <a:lnTo>
                      <a:pt x="1062" y="474"/>
                    </a:lnTo>
                    <a:lnTo>
                      <a:pt x="1068" y="498"/>
                    </a:lnTo>
                    <a:lnTo>
                      <a:pt x="1072" y="523"/>
                    </a:lnTo>
                    <a:lnTo>
                      <a:pt x="1075" y="548"/>
                    </a:lnTo>
                    <a:lnTo>
                      <a:pt x="1076" y="574"/>
                    </a:lnTo>
                    <a:lnTo>
                      <a:pt x="1077" y="599"/>
                    </a:lnTo>
                    <a:lnTo>
                      <a:pt x="1076" y="626"/>
                    </a:lnTo>
                    <a:lnTo>
                      <a:pt x="1075" y="653"/>
                    </a:lnTo>
                    <a:lnTo>
                      <a:pt x="1072" y="680"/>
                    </a:lnTo>
                    <a:lnTo>
                      <a:pt x="1068" y="709"/>
                    </a:lnTo>
                    <a:lnTo>
                      <a:pt x="1061" y="737"/>
                    </a:lnTo>
                    <a:lnTo>
                      <a:pt x="1055" y="766"/>
                    </a:lnTo>
                    <a:lnTo>
                      <a:pt x="1046" y="795"/>
                    </a:lnTo>
                    <a:lnTo>
                      <a:pt x="1038" y="825"/>
                    </a:lnTo>
                    <a:lnTo>
                      <a:pt x="1027" y="854"/>
                    </a:lnTo>
                    <a:lnTo>
                      <a:pt x="1015" y="886"/>
                    </a:lnTo>
                    <a:lnTo>
                      <a:pt x="1002" y="917"/>
                    </a:lnTo>
                    <a:lnTo>
                      <a:pt x="987" y="948"/>
                    </a:lnTo>
                    <a:lnTo>
                      <a:pt x="972" y="979"/>
                    </a:lnTo>
                    <a:lnTo>
                      <a:pt x="954" y="1013"/>
                    </a:lnTo>
                    <a:lnTo>
                      <a:pt x="936" y="1045"/>
                    </a:lnTo>
                    <a:lnTo>
                      <a:pt x="917" y="1079"/>
                    </a:lnTo>
                    <a:lnTo>
                      <a:pt x="896" y="1112"/>
                    </a:lnTo>
                    <a:lnTo>
                      <a:pt x="873" y="1147"/>
                    </a:lnTo>
                    <a:lnTo>
                      <a:pt x="851" y="1181"/>
                    </a:lnTo>
                    <a:lnTo>
                      <a:pt x="815" y="1236"/>
                    </a:lnTo>
                    <a:lnTo>
                      <a:pt x="785" y="1290"/>
                    </a:lnTo>
                    <a:lnTo>
                      <a:pt x="760" y="1344"/>
                    </a:lnTo>
                    <a:lnTo>
                      <a:pt x="738" y="1397"/>
                    </a:lnTo>
                    <a:lnTo>
                      <a:pt x="722" y="1450"/>
                    </a:lnTo>
                    <a:lnTo>
                      <a:pt x="709" y="1501"/>
                    </a:lnTo>
                    <a:lnTo>
                      <a:pt x="701" y="1552"/>
                    </a:lnTo>
                    <a:lnTo>
                      <a:pt x="695" y="1601"/>
                    </a:lnTo>
                    <a:lnTo>
                      <a:pt x="693" y="1650"/>
                    </a:lnTo>
                    <a:lnTo>
                      <a:pt x="694" y="1696"/>
                    </a:lnTo>
                    <a:lnTo>
                      <a:pt x="697" y="1743"/>
                    </a:lnTo>
                    <a:lnTo>
                      <a:pt x="704" y="1787"/>
                    </a:lnTo>
                    <a:lnTo>
                      <a:pt x="713" y="1830"/>
                    </a:lnTo>
                    <a:lnTo>
                      <a:pt x="722" y="1871"/>
                    </a:lnTo>
                    <a:lnTo>
                      <a:pt x="735" y="1911"/>
                    </a:lnTo>
                    <a:lnTo>
                      <a:pt x="748" y="1949"/>
                    </a:lnTo>
                    <a:lnTo>
                      <a:pt x="763" y="1986"/>
                    </a:lnTo>
                    <a:lnTo>
                      <a:pt x="778" y="2021"/>
                    </a:lnTo>
                    <a:lnTo>
                      <a:pt x="795" y="2054"/>
                    </a:lnTo>
                    <a:lnTo>
                      <a:pt x="812" y="2085"/>
                    </a:lnTo>
                    <a:lnTo>
                      <a:pt x="829" y="2114"/>
                    </a:lnTo>
                    <a:lnTo>
                      <a:pt x="845" y="2141"/>
                    </a:lnTo>
                    <a:lnTo>
                      <a:pt x="863" y="2165"/>
                    </a:lnTo>
                    <a:lnTo>
                      <a:pt x="878" y="2187"/>
                    </a:lnTo>
                    <a:lnTo>
                      <a:pt x="907" y="2225"/>
                    </a:lnTo>
                    <a:lnTo>
                      <a:pt x="931" y="2253"/>
                    </a:lnTo>
                    <a:lnTo>
                      <a:pt x="947" y="2272"/>
                    </a:lnTo>
                    <a:lnTo>
                      <a:pt x="953" y="2278"/>
                    </a:lnTo>
                    <a:lnTo>
                      <a:pt x="957" y="2282"/>
                    </a:lnTo>
                    <a:lnTo>
                      <a:pt x="958" y="2288"/>
                    </a:lnTo>
                    <a:lnTo>
                      <a:pt x="957" y="2292"/>
                    </a:lnTo>
                    <a:lnTo>
                      <a:pt x="953" y="2298"/>
                    </a:lnTo>
                    <a:lnTo>
                      <a:pt x="949" y="2300"/>
                    </a:lnTo>
                    <a:lnTo>
                      <a:pt x="944" y="2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15"/>
              <p:cNvSpPr>
                <a:spLocks/>
              </p:cNvSpPr>
              <p:nvPr userDrawn="1"/>
            </p:nvSpPr>
            <p:spPr bwMode="auto">
              <a:xfrm>
                <a:off x="1063" y="2979"/>
                <a:ext cx="1628" cy="416"/>
              </a:xfrm>
              <a:custGeom>
                <a:avLst/>
                <a:gdLst>
                  <a:gd name="T0" fmla="*/ 4862 w 4884"/>
                  <a:gd name="T1" fmla="*/ 1245 h 1249"/>
                  <a:gd name="T2" fmla="*/ 4845 w 4884"/>
                  <a:gd name="T3" fmla="*/ 1212 h 1249"/>
                  <a:gd name="T4" fmla="*/ 4723 w 4884"/>
                  <a:gd name="T5" fmla="*/ 1144 h 1249"/>
                  <a:gd name="T6" fmla="*/ 4491 w 4884"/>
                  <a:gd name="T7" fmla="*/ 1087 h 1249"/>
                  <a:gd name="T8" fmla="*/ 4171 w 4884"/>
                  <a:gd name="T9" fmla="*/ 1039 h 1249"/>
                  <a:gd name="T10" fmla="*/ 3787 w 4884"/>
                  <a:gd name="T11" fmla="*/ 1000 h 1249"/>
                  <a:gd name="T12" fmla="*/ 3358 w 4884"/>
                  <a:gd name="T13" fmla="*/ 970 h 1249"/>
                  <a:gd name="T14" fmla="*/ 2909 w 4884"/>
                  <a:gd name="T15" fmla="*/ 949 h 1249"/>
                  <a:gd name="T16" fmla="*/ 2462 w 4884"/>
                  <a:gd name="T17" fmla="*/ 932 h 1249"/>
                  <a:gd name="T18" fmla="*/ 1904 w 4884"/>
                  <a:gd name="T19" fmla="*/ 922 h 1249"/>
                  <a:gd name="T20" fmla="*/ 1441 w 4884"/>
                  <a:gd name="T21" fmla="*/ 920 h 1249"/>
                  <a:gd name="T22" fmla="*/ 1252 w 4884"/>
                  <a:gd name="T23" fmla="*/ 924 h 1249"/>
                  <a:gd name="T24" fmla="*/ 1129 w 4884"/>
                  <a:gd name="T25" fmla="*/ 916 h 1249"/>
                  <a:gd name="T26" fmla="*/ 962 w 4884"/>
                  <a:gd name="T27" fmla="*/ 878 h 1249"/>
                  <a:gd name="T28" fmla="*/ 800 w 4884"/>
                  <a:gd name="T29" fmla="*/ 815 h 1249"/>
                  <a:gd name="T30" fmla="*/ 645 w 4884"/>
                  <a:gd name="T31" fmla="*/ 729 h 1249"/>
                  <a:gd name="T32" fmla="*/ 502 w 4884"/>
                  <a:gd name="T33" fmla="*/ 629 h 1249"/>
                  <a:gd name="T34" fmla="*/ 372 w 4884"/>
                  <a:gd name="T35" fmla="*/ 519 h 1249"/>
                  <a:gd name="T36" fmla="*/ 257 w 4884"/>
                  <a:gd name="T37" fmla="*/ 405 h 1249"/>
                  <a:gd name="T38" fmla="*/ 159 w 4884"/>
                  <a:gd name="T39" fmla="*/ 291 h 1249"/>
                  <a:gd name="T40" fmla="*/ 83 w 4884"/>
                  <a:gd name="T41" fmla="*/ 185 h 1249"/>
                  <a:gd name="T42" fmla="*/ 29 w 4884"/>
                  <a:gd name="T43" fmla="*/ 93 h 1249"/>
                  <a:gd name="T44" fmla="*/ 0 w 4884"/>
                  <a:gd name="T45" fmla="*/ 17 h 1249"/>
                  <a:gd name="T46" fmla="*/ 4 w 4884"/>
                  <a:gd name="T47" fmla="*/ 3 h 1249"/>
                  <a:gd name="T48" fmla="*/ 19 w 4884"/>
                  <a:gd name="T49" fmla="*/ 2 h 1249"/>
                  <a:gd name="T50" fmla="*/ 32 w 4884"/>
                  <a:gd name="T51" fmla="*/ 32 h 1249"/>
                  <a:gd name="T52" fmla="*/ 69 w 4884"/>
                  <a:gd name="T53" fmla="*/ 113 h 1249"/>
                  <a:gd name="T54" fmla="*/ 130 w 4884"/>
                  <a:gd name="T55" fmla="*/ 209 h 1249"/>
                  <a:gd name="T56" fmla="*/ 212 w 4884"/>
                  <a:gd name="T57" fmla="*/ 315 h 1249"/>
                  <a:gd name="T58" fmla="*/ 313 w 4884"/>
                  <a:gd name="T59" fmla="*/ 426 h 1249"/>
                  <a:gd name="T60" fmla="*/ 431 w 4884"/>
                  <a:gd name="T61" fmla="*/ 537 h 1249"/>
                  <a:gd name="T62" fmla="*/ 563 w 4884"/>
                  <a:gd name="T63" fmla="*/ 642 h 1249"/>
                  <a:gd name="T64" fmla="*/ 707 w 4884"/>
                  <a:gd name="T65" fmla="*/ 736 h 1249"/>
                  <a:gd name="T66" fmla="*/ 860 w 4884"/>
                  <a:gd name="T67" fmla="*/ 813 h 1249"/>
                  <a:gd name="T68" fmla="*/ 1021 w 4884"/>
                  <a:gd name="T69" fmla="*/ 868 h 1249"/>
                  <a:gd name="T70" fmla="*/ 1187 w 4884"/>
                  <a:gd name="T71" fmla="*/ 895 h 1249"/>
                  <a:gd name="T72" fmla="*/ 1261 w 4884"/>
                  <a:gd name="T73" fmla="*/ 897 h 1249"/>
                  <a:gd name="T74" fmla="*/ 1753 w 4884"/>
                  <a:gd name="T75" fmla="*/ 896 h 1249"/>
                  <a:gd name="T76" fmla="*/ 2285 w 4884"/>
                  <a:gd name="T77" fmla="*/ 903 h 1249"/>
                  <a:gd name="T78" fmla="*/ 2740 w 4884"/>
                  <a:gd name="T79" fmla="*/ 916 h 1249"/>
                  <a:gd name="T80" fmla="*/ 3214 w 4884"/>
                  <a:gd name="T81" fmla="*/ 937 h 1249"/>
                  <a:gd name="T82" fmla="*/ 3679 w 4884"/>
                  <a:gd name="T83" fmla="*/ 966 h 1249"/>
                  <a:gd name="T84" fmla="*/ 4105 w 4884"/>
                  <a:gd name="T85" fmla="*/ 1006 h 1249"/>
                  <a:gd name="T86" fmla="*/ 4464 w 4884"/>
                  <a:gd name="T87" fmla="*/ 1057 h 1249"/>
                  <a:gd name="T88" fmla="*/ 4728 w 4884"/>
                  <a:gd name="T89" fmla="*/ 1122 h 1249"/>
                  <a:gd name="T90" fmla="*/ 4869 w 4884"/>
                  <a:gd name="T91" fmla="*/ 1202 h 1249"/>
                  <a:gd name="T92" fmla="*/ 4882 w 4884"/>
                  <a:gd name="T93" fmla="*/ 1242 h 1249"/>
                  <a:gd name="T94" fmla="*/ 4872 w 4884"/>
                  <a:gd name="T95" fmla="*/ 1248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84" h="1249">
                    <a:moveTo>
                      <a:pt x="4870" y="1249"/>
                    </a:moveTo>
                    <a:lnTo>
                      <a:pt x="4865" y="1248"/>
                    </a:lnTo>
                    <a:lnTo>
                      <a:pt x="4862" y="1245"/>
                    </a:lnTo>
                    <a:lnTo>
                      <a:pt x="4859" y="1241"/>
                    </a:lnTo>
                    <a:lnTo>
                      <a:pt x="4857" y="1237"/>
                    </a:lnTo>
                    <a:lnTo>
                      <a:pt x="4845" y="1212"/>
                    </a:lnTo>
                    <a:lnTo>
                      <a:pt x="4818" y="1188"/>
                    </a:lnTo>
                    <a:lnTo>
                      <a:pt x="4777" y="1166"/>
                    </a:lnTo>
                    <a:lnTo>
                      <a:pt x="4723" y="1144"/>
                    </a:lnTo>
                    <a:lnTo>
                      <a:pt x="4657" y="1125"/>
                    </a:lnTo>
                    <a:lnTo>
                      <a:pt x="4579" y="1105"/>
                    </a:lnTo>
                    <a:lnTo>
                      <a:pt x="4491" y="1087"/>
                    </a:lnTo>
                    <a:lnTo>
                      <a:pt x="4393" y="1071"/>
                    </a:lnTo>
                    <a:lnTo>
                      <a:pt x="4287" y="1054"/>
                    </a:lnTo>
                    <a:lnTo>
                      <a:pt x="4171" y="1039"/>
                    </a:lnTo>
                    <a:lnTo>
                      <a:pt x="4049" y="1025"/>
                    </a:lnTo>
                    <a:lnTo>
                      <a:pt x="3920" y="1012"/>
                    </a:lnTo>
                    <a:lnTo>
                      <a:pt x="3787" y="1000"/>
                    </a:lnTo>
                    <a:lnTo>
                      <a:pt x="3647" y="990"/>
                    </a:lnTo>
                    <a:lnTo>
                      <a:pt x="3505" y="980"/>
                    </a:lnTo>
                    <a:lnTo>
                      <a:pt x="3358" y="970"/>
                    </a:lnTo>
                    <a:lnTo>
                      <a:pt x="3210" y="963"/>
                    </a:lnTo>
                    <a:lnTo>
                      <a:pt x="3060" y="955"/>
                    </a:lnTo>
                    <a:lnTo>
                      <a:pt x="2909" y="949"/>
                    </a:lnTo>
                    <a:lnTo>
                      <a:pt x="2759" y="942"/>
                    </a:lnTo>
                    <a:lnTo>
                      <a:pt x="2609" y="937"/>
                    </a:lnTo>
                    <a:lnTo>
                      <a:pt x="2462" y="932"/>
                    </a:lnTo>
                    <a:lnTo>
                      <a:pt x="2316" y="929"/>
                    </a:lnTo>
                    <a:lnTo>
                      <a:pt x="2174" y="926"/>
                    </a:lnTo>
                    <a:lnTo>
                      <a:pt x="1904" y="922"/>
                    </a:lnTo>
                    <a:lnTo>
                      <a:pt x="1657" y="920"/>
                    </a:lnTo>
                    <a:lnTo>
                      <a:pt x="1545" y="920"/>
                    </a:lnTo>
                    <a:lnTo>
                      <a:pt x="1441" y="920"/>
                    </a:lnTo>
                    <a:lnTo>
                      <a:pt x="1346" y="922"/>
                    </a:lnTo>
                    <a:lnTo>
                      <a:pt x="1261" y="924"/>
                    </a:lnTo>
                    <a:lnTo>
                      <a:pt x="1252" y="924"/>
                    </a:lnTo>
                    <a:lnTo>
                      <a:pt x="1244" y="924"/>
                    </a:lnTo>
                    <a:lnTo>
                      <a:pt x="1186" y="922"/>
                    </a:lnTo>
                    <a:lnTo>
                      <a:pt x="1129" y="916"/>
                    </a:lnTo>
                    <a:lnTo>
                      <a:pt x="1073" y="906"/>
                    </a:lnTo>
                    <a:lnTo>
                      <a:pt x="1017" y="894"/>
                    </a:lnTo>
                    <a:lnTo>
                      <a:pt x="962" y="878"/>
                    </a:lnTo>
                    <a:lnTo>
                      <a:pt x="907" y="860"/>
                    </a:lnTo>
                    <a:lnTo>
                      <a:pt x="853" y="838"/>
                    </a:lnTo>
                    <a:lnTo>
                      <a:pt x="800" y="815"/>
                    </a:lnTo>
                    <a:lnTo>
                      <a:pt x="747" y="788"/>
                    </a:lnTo>
                    <a:lnTo>
                      <a:pt x="696" y="760"/>
                    </a:lnTo>
                    <a:lnTo>
                      <a:pt x="645" y="729"/>
                    </a:lnTo>
                    <a:lnTo>
                      <a:pt x="597" y="697"/>
                    </a:lnTo>
                    <a:lnTo>
                      <a:pt x="548" y="664"/>
                    </a:lnTo>
                    <a:lnTo>
                      <a:pt x="502" y="629"/>
                    </a:lnTo>
                    <a:lnTo>
                      <a:pt x="458" y="593"/>
                    </a:lnTo>
                    <a:lnTo>
                      <a:pt x="413" y="557"/>
                    </a:lnTo>
                    <a:lnTo>
                      <a:pt x="372" y="519"/>
                    </a:lnTo>
                    <a:lnTo>
                      <a:pt x="331" y="481"/>
                    </a:lnTo>
                    <a:lnTo>
                      <a:pt x="293" y="442"/>
                    </a:lnTo>
                    <a:lnTo>
                      <a:pt x="257" y="405"/>
                    </a:lnTo>
                    <a:lnTo>
                      <a:pt x="222" y="367"/>
                    </a:lnTo>
                    <a:lnTo>
                      <a:pt x="190" y="329"/>
                    </a:lnTo>
                    <a:lnTo>
                      <a:pt x="159" y="291"/>
                    </a:lnTo>
                    <a:lnTo>
                      <a:pt x="131" y="256"/>
                    </a:lnTo>
                    <a:lnTo>
                      <a:pt x="106" y="220"/>
                    </a:lnTo>
                    <a:lnTo>
                      <a:pt x="83" y="185"/>
                    </a:lnTo>
                    <a:lnTo>
                      <a:pt x="62" y="153"/>
                    </a:lnTo>
                    <a:lnTo>
                      <a:pt x="44" y="122"/>
                    </a:lnTo>
                    <a:lnTo>
                      <a:pt x="29" y="93"/>
                    </a:lnTo>
                    <a:lnTo>
                      <a:pt x="16" y="64"/>
                    </a:lnTo>
                    <a:lnTo>
                      <a:pt x="6" y="40"/>
                    </a:lnTo>
                    <a:lnTo>
                      <a:pt x="0" y="17"/>
                    </a:lnTo>
                    <a:lnTo>
                      <a:pt x="0" y="12"/>
                    </a:lnTo>
                    <a:lnTo>
                      <a:pt x="1" y="6"/>
                    </a:lnTo>
                    <a:lnTo>
                      <a:pt x="4" y="3"/>
                    </a:lnTo>
                    <a:lnTo>
                      <a:pt x="9" y="1"/>
                    </a:lnTo>
                    <a:lnTo>
                      <a:pt x="15" y="0"/>
                    </a:lnTo>
                    <a:lnTo>
                      <a:pt x="19" y="2"/>
                    </a:lnTo>
                    <a:lnTo>
                      <a:pt x="23" y="5"/>
                    </a:lnTo>
                    <a:lnTo>
                      <a:pt x="26" y="10"/>
                    </a:lnTo>
                    <a:lnTo>
                      <a:pt x="32" y="32"/>
                    </a:lnTo>
                    <a:lnTo>
                      <a:pt x="42" y="57"/>
                    </a:lnTo>
                    <a:lnTo>
                      <a:pt x="54" y="84"/>
                    </a:lnTo>
                    <a:lnTo>
                      <a:pt x="69" y="113"/>
                    </a:lnTo>
                    <a:lnTo>
                      <a:pt x="87" y="143"/>
                    </a:lnTo>
                    <a:lnTo>
                      <a:pt x="108" y="176"/>
                    </a:lnTo>
                    <a:lnTo>
                      <a:pt x="130" y="209"/>
                    </a:lnTo>
                    <a:lnTo>
                      <a:pt x="155" y="244"/>
                    </a:lnTo>
                    <a:lnTo>
                      <a:pt x="182" y="279"/>
                    </a:lnTo>
                    <a:lnTo>
                      <a:pt x="212" y="315"/>
                    </a:lnTo>
                    <a:lnTo>
                      <a:pt x="244" y="352"/>
                    </a:lnTo>
                    <a:lnTo>
                      <a:pt x="277" y="389"/>
                    </a:lnTo>
                    <a:lnTo>
                      <a:pt x="313" y="426"/>
                    </a:lnTo>
                    <a:lnTo>
                      <a:pt x="351" y="464"/>
                    </a:lnTo>
                    <a:lnTo>
                      <a:pt x="389" y="501"/>
                    </a:lnTo>
                    <a:lnTo>
                      <a:pt x="431" y="537"/>
                    </a:lnTo>
                    <a:lnTo>
                      <a:pt x="474" y="573"/>
                    </a:lnTo>
                    <a:lnTo>
                      <a:pt x="518" y="609"/>
                    </a:lnTo>
                    <a:lnTo>
                      <a:pt x="563" y="642"/>
                    </a:lnTo>
                    <a:lnTo>
                      <a:pt x="610" y="675"/>
                    </a:lnTo>
                    <a:lnTo>
                      <a:pt x="658" y="707"/>
                    </a:lnTo>
                    <a:lnTo>
                      <a:pt x="707" y="736"/>
                    </a:lnTo>
                    <a:lnTo>
                      <a:pt x="758" y="764"/>
                    </a:lnTo>
                    <a:lnTo>
                      <a:pt x="808" y="790"/>
                    </a:lnTo>
                    <a:lnTo>
                      <a:pt x="860" y="813"/>
                    </a:lnTo>
                    <a:lnTo>
                      <a:pt x="913" y="834"/>
                    </a:lnTo>
                    <a:lnTo>
                      <a:pt x="967" y="852"/>
                    </a:lnTo>
                    <a:lnTo>
                      <a:pt x="1021" y="868"/>
                    </a:lnTo>
                    <a:lnTo>
                      <a:pt x="1076" y="879"/>
                    </a:lnTo>
                    <a:lnTo>
                      <a:pt x="1131" y="889"/>
                    </a:lnTo>
                    <a:lnTo>
                      <a:pt x="1187" y="895"/>
                    </a:lnTo>
                    <a:lnTo>
                      <a:pt x="1243" y="897"/>
                    </a:lnTo>
                    <a:lnTo>
                      <a:pt x="1252" y="897"/>
                    </a:lnTo>
                    <a:lnTo>
                      <a:pt x="1261" y="897"/>
                    </a:lnTo>
                    <a:lnTo>
                      <a:pt x="1373" y="895"/>
                    </a:lnTo>
                    <a:lnTo>
                      <a:pt x="1541" y="895"/>
                    </a:lnTo>
                    <a:lnTo>
                      <a:pt x="1753" y="896"/>
                    </a:lnTo>
                    <a:lnTo>
                      <a:pt x="2005" y="898"/>
                    </a:lnTo>
                    <a:lnTo>
                      <a:pt x="2141" y="900"/>
                    </a:lnTo>
                    <a:lnTo>
                      <a:pt x="2285" y="903"/>
                    </a:lnTo>
                    <a:lnTo>
                      <a:pt x="2433" y="906"/>
                    </a:lnTo>
                    <a:lnTo>
                      <a:pt x="2585" y="911"/>
                    </a:lnTo>
                    <a:lnTo>
                      <a:pt x="2740" y="916"/>
                    </a:lnTo>
                    <a:lnTo>
                      <a:pt x="2898" y="922"/>
                    </a:lnTo>
                    <a:lnTo>
                      <a:pt x="3057" y="928"/>
                    </a:lnTo>
                    <a:lnTo>
                      <a:pt x="3214" y="937"/>
                    </a:lnTo>
                    <a:lnTo>
                      <a:pt x="3372" y="945"/>
                    </a:lnTo>
                    <a:lnTo>
                      <a:pt x="3527" y="955"/>
                    </a:lnTo>
                    <a:lnTo>
                      <a:pt x="3679" y="966"/>
                    </a:lnTo>
                    <a:lnTo>
                      <a:pt x="3827" y="978"/>
                    </a:lnTo>
                    <a:lnTo>
                      <a:pt x="3969" y="991"/>
                    </a:lnTo>
                    <a:lnTo>
                      <a:pt x="4105" y="1006"/>
                    </a:lnTo>
                    <a:lnTo>
                      <a:pt x="4234" y="1021"/>
                    </a:lnTo>
                    <a:lnTo>
                      <a:pt x="4353" y="1038"/>
                    </a:lnTo>
                    <a:lnTo>
                      <a:pt x="4464" y="1057"/>
                    </a:lnTo>
                    <a:lnTo>
                      <a:pt x="4564" y="1077"/>
                    </a:lnTo>
                    <a:lnTo>
                      <a:pt x="4653" y="1099"/>
                    </a:lnTo>
                    <a:lnTo>
                      <a:pt x="4728" y="1122"/>
                    </a:lnTo>
                    <a:lnTo>
                      <a:pt x="4790" y="1147"/>
                    </a:lnTo>
                    <a:lnTo>
                      <a:pt x="4837" y="1173"/>
                    </a:lnTo>
                    <a:lnTo>
                      <a:pt x="4869" y="1202"/>
                    </a:lnTo>
                    <a:lnTo>
                      <a:pt x="4884" y="1232"/>
                    </a:lnTo>
                    <a:lnTo>
                      <a:pt x="4884" y="1238"/>
                    </a:lnTo>
                    <a:lnTo>
                      <a:pt x="4882" y="1242"/>
                    </a:lnTo>
                    <a:lnTo>
                      <a:pt x="4877" y="1245"/>
                    </a:lnTo>
                    <a:lnTo>
                      <a:pt x="4873" y="1248"/>
                    </a:lnTo>
                    <a:lnTo>
                      <a:pt x="4872" y="1248"/>
                    </a:lnTo>
                    <a:lnTo>
                      <a:pt x="4870" y="1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16"/>
              <p:cNvSpPr>
                <a:spLocks/>
              </p:cNvSpPr>
              <p:nvPr userDrawn="1"/>
            </p:nvSpPr>
            <p:spPr bwMode="auto">
              <a:xfrm>
                <a:off x="672" y="3389"/>
                <a:ext cx="485" cy="596"/>
              </a:xfrm>
              <a:custGeom>
                <a:avLst/>
                <a:gdLst>
                  <a:gd name="T0" fmla="*/ 1436 w 1455"/>
                  <a:gd name="T1" fmla="*/ 1789 h 1790"/>
                  <a:gd name="T2" fmla="*/ 1429 w 1455"/>
                  <a:gd name="T3" fmla="*/ 1783 h 1790"/>
                  <a:gd name="T4" fmla="*/ 1427 w 1455"/>
                  <a:gd name="T5" fmla="*/ 1772 h 1790"/>
                  <a:gd name="T6" fmla="*/ 1419 w 1455"/>
                  <a:gd name="T7" fmla="*/ 1724 h 1790"/>
                  <a:gd name="T8" fmla="*/ 1404 w 1455"/>
                  <a:gd name="T9" fmla="*/ 1640 h 1790"/>
                  <a:gd name="T10" fmla="*/ 1380 w 1455"/>
                  <a:gd name="T11" fmla="*/ 1525 h 1790"/>
                  <a:gd name="T12" fmla="*/ 1347 w 1455"/>
                  <a:gd name="T13" fmla="*/ 1386 h 1790"/>
                  <a:gd name="T14" fmla="*/ 1314 w 1455"/>
                  <a:gd name="T15" fmla="*/ 1272 h 1790"/>
                  <a:gd name="T16" fmla="*/ 1288 w 1455"/>
                  <a:gd name="T17" fmla="*/ 1192 h 1790"/>
                  <a:gd name="T18" fmla="*/ 1260 w 1455"/>
                  <a:gd name="T19" fmla="*/ 1111 h 1790"/>
                  <a:gd name="T20" fmla="*/ 1229 w 1455"/>
                  <a:gd name="T21" fmla="*/ 1028 h 1790"/>
                  <a:gd name="T22" fmla="*/ 1194 w 1455"/>
                  <a:gd name="T23" fmla="*/ 946 h 1790"/>
                  <a:gd name="T24" fmla="*/ 1155 w 1455"/>
                  <a:gd name="T25" fmla="*/ 865 h 1790"/>
                  <a:gd name="T26" fmla="*/ 1087 w 1455"/>
                  <a:gd name="T27" fmla="*/ 737 h 1790"/>
                  <a:gd name="T28" fmla="*/ 989 w 1455"/>
                  <a:gd name="T29" fmla="*/ 579 h 1790"/>
                  <a:gd name="T30" fmla="*/ 891 w 1455"/>
                  <a:gd name="T31" fmla="*/ 447 h 1790"/>
                  <a:gd name="T32" fmla="*/ 794 w 1455"/>
                  <a:gd name="T33" fmla="*/ 337 h 1790"/>
                  <a:gd name="T34" fmla="*/ 698 w 1455"/>
                  <a:gd name="T35" fmla="*/ 248 h 1790"/>
                  <a:gd name="T36" fmla="*/ 604 w 1455"/>
                  <a:gd name="T37" fmla="*/ 176 h 1790"/>
                  <a:gd name="T38" fmla="*/ 513 w 1455"/>
                  <a:gd name="T39" fmla="*/ 121 h 1790"/>
                  <a:gd name="T40" fmla="*/ 428 w 1455"/>
                  <a:gd name="T41" fmla="*/ 81 h 1790"/>
                  <a:gd name="T42" fmla="*/ 347 w 1455"/>
                  <a:gd name="T43" fmla="*/ 54 h 1790"/>
                  <a:gd name="T44" fmla="*/ 273 w 1455"/>
                  <a:gd name="T45" fmla="*/ 37 h 1790"/>
                  <a:gd name="T46" fmla="*/ 206 w 1455"/>
                  <a:gd name="T47" fmla="*/ 28 h 1790"/>
                  <a:gd name="T48" fmla="*/ 149 w 1455"/>
                  <a:gd name="T49" fmla="*/ 26 h 1790"/>
                  <a:gd name="T50" fmla="*/ 101 w 1455"/>
                  <a:gd name="T51" fmla="*/ 29 h 1790"/>
                  <a:gd name="T52" fmla="*/ 62 w 1455"/>
                  <a:gd name="T53" fmla="*/ 34 h 1790"/>
                  <a:gd name="T54" fmla="*/ 26 w 1455"/>
                  <a:gd name="T55" fmla="*/ 41 h 1790"/>
                  <a:gd name="T56" fmla="*/ 13 w 1455"/>
                  <a:gd name="T57" fmla="*/ 45 h 1790"/>
                  <a:gd name="T58" fmla="*/ 4 w 1455"/>
                  <a:gd name="T59" fmla="*/ 40 h 1790"/>
                  <a:gd name="T60" fmla="*/ 0 w 1455"/>
                  <a:gd name="T61" fmla="*/ 31 h 1790"/>
                  <a:gd name="T62" fmla="*/ 4 w 1455"/>
                  <a:gd name="T63" fmla="*/ 21 h 1790"/>
                  <a:gd name="T64" fmla="*/ 17 w 1455"/>
                  <a:gd name="T65" fmla="*/ 17 h 1790"/>
                  <a:gd name="T66" fmla="*/ 54 w 1455"/>
                  <a:gd name="T67" fmla="*/ 8 h 1790"/>
                  <a:gd name="T68" fmla="*/ 94 w 1455"/>
                  <a:gd name="T69" fmla="*/ 2 h 1790"/>
                  <a:gd name="T70" fmla="*/ 145 w 1455"/>
                  <a:gd name="T71" fmla="*/ 0 h 1790"/>
                  <a:gd name="T72" fmla="*/ 204 w 1455"/>
                  <a:gd name="T73" fmla="*/ 1 h 1790"/>
                  <a:gd name="T74" fmla="*/ 273 w 1455"/>
                  <a:gd name="T75" fmla="*/ 10 h 1790"/>
                  <a:gd name="T76" fmla="*/ 350 w 1455"/>
                  <a:gd name="T77" fmla="*/ 27 h 1790"/>
                  <a:gd name="T78" fmla="*/ 432 w 1455"/>
                  <a:gd name="T79" fmla="*/ 55 h 1790"/>
                  <a:gd name="T80" fmla="*/ 521 w 1455"/>
                  <a:gd name="T81" fmla="*/ 95 h 1790"/>
                  <a:gd name="T82" fmla="*/ 613 w 1455"/>
                  <a:gd name="T83" fmla="*/ 150 h 1790"/>
                  <a:gd name="T84" fmla="*/ 711 w 1455"/>
                  <a:gd name="T85" fmla="*/ 223 h 1790"/>
                  <a:gd name="T86" fmla="*/ 809 w 1455"/>
                  <a:gd name="T87" fmla="*/ 314 h 1790"/>
                  <a:gd name="T88" fmla="*/ 909 w 1455"/>
                  <a:gd name="T89" fmla="*/ 427 h 1790"/>
                  <a:gd name="T90" fmla="*/ 1010 w 1455"/>
                  <a:gd name="T91" fmla="*/ 562 h 1790"/>
                  <a:gd name="T92" fmla="*/ 1110 w 1455"/>
                  <a:gd name="T93" fmla="*/ 722 h 1790"/>
                  <a:gd name="T94" fmla="*/ 1180 w 1455"/>
                  <a:gd name="T95" fmla="*/ 853 h 1790"/>
                  <a:gd name="T96" fmla="*/ 1218 w 1455"/>
                  <a:gd name="T97" fmla="*/ 935 h 1790"/>
                  <a:gd name="T98" fmla="*/ 1254 w 1455"/>
                  <a:gd name="T99" fmla="*/ 1018 h 1790"/>
                  <a:gd name="T100" fmla="*/ 1285 w 1455"/>
                  <a:gd name="T101" fmla="*/ 1101 h 1790"/>
                  <a:gd name="T102" fmla="*/ 1314 w 1455"/>
                  <a:gd name="T103" fmla="*/ 1183 h 1790"/>
                  <a:gd name="T104" fmla="*/ 1339 w 1455"/>
                  <a:gd name="T105" fmla="*/ 1264 h 1790"/>
                  <a:gd name="T106" fmla="*/ 1373 w 1455"/>
                  <a:gd name="T107" fmla="*/ 1380 h 1790"/>
                  <a:gd name="T108" fmla="*/ 1407 w 1455"/>
                  <a:gd name="T109" fmla="*/ 1519 h 1790"/>
                  <a:gd name="T110" fmla="*/ 1431 w 1455"/>
                  <a:gd name="T111" fmla="*/ 1636 h 1790"/>
                  <a:gd name="T112" fmla="*/ 1446 w 1455"/>
                  <a:gd name="T113" fmla="*/ 1721 h 1790"/>
                  <a:gd name="T114" fmla="*/ 1454 w 1455"/>
                  <a:gd name="T115" fmla="*/ 1767 h 1790"/>
                  <a:gd name="T116" fmla="*/ 1455 w 1455"/>
                  <a:gd name="T117" fmla="*/ 1780 h 1790"/>
                  <a:gd name="T118" fmla="*/ 1448 w 1455"/>
                  <a:gd name="T119" fmla="*/ 1788 h 1790"/>
                  <a:gd name="T120" fmla="*/ 1442 w 1455"/>
                  <a:gd name="T121" fmla="*/ 179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5" h="1790">
                    <a:moveTo>
                      <a:pt x="1441" y="1790"/>
                    </a:moveTo>
                    <a:lnTo>
                      <a:pt x="1436" y="1789"/>
                    </a:lnTo>
                    <a:lnTo>
                      <a:pt x="1432" y="1787"/>
                    </a:lnTo>
                    <a:lnTo>
                      <a:pt x="1429" y="1783"/>
                    </a:lnTo>
                    <a:lnTo>
                      <a:pt x="1428" y="1778"/>
                    </a:lnTo>
                    <a:lnTo>
                      <a:pt x="1427" y="1772"/>
                    </a:lnTo>
                    <a:lnTo>
                      <a:pt x="1424" y="1753"/>
                    </a:lnTo>
                    <a:lnTo>
                      <a:pt x="1419" y="1724"/>
                    </a:lnTo>
                    <a:lnTo>
                      <a:pt x="1412" y="1686"/>
                    </a:lnTo>
                    <a:lnTo>
                      <a:pt x="1404" y="1640"/>
                    </a:lnTo>
                    <a:lnTo>
                      <a:pt x="1393" y="1586"/>
                    </a:lnTo>
                    <a:lnTo>
                      <a:pt x="1380" y="1525"/>
                    </a:lnTo>
                    <a:lnTo>
                      <a:pt x="1365" y="1459"/>
                    </a:lnTo>
                    <a:lnTo>
                      <a:pt x="1347" y="1386"/>
                    </a:lnTo>
                    <a:lnTo>
                      <a:pt x="1325" y="1311"/>
                    </a:lnTo>
                    <a:lnTo>
                      <a:pt x="1314" y="1272"/>
                    </a:lnTo>
                    <a:lnTo>
                      <a:pt x="1301" y="1232"/>
                    </a:lnTo>
                    <a:lnTo>
                      <a:pt x="1288" y="1192"/>
                    </a:lnTo>
                    <a:lnTo>
                      <a:pt x="1274" y="1151"/>
                    </a:lnTo>
                    <a:lnTo>
                      <a:pt x="1260" y="1111"/>
                    </a:lnTo>
                    <a:lnTo>
                      <a:pt x="1245" y="1069"/>
                    </a:lnTo>
                    <a:lnTo>
                      <a:pt x="1229" y="1028"/>
                    </a:lnTo>
                    <a:lnTo>
                      <a:pt x="1212" y="987"/>
                    </a:lnTo>
                    <a:lnTo>
                      <a:pt x="1194" y="946"/>
                    </a:lnTo>
                    <a:lnTo>
                      <a:pt x="1175" y="905"/>
                    </a:lnTo>
                    <a:lnTo>
                      <a:pt x="1155" y="865"/>
                    </a:lnTo>
                    <a:lnTo>
                      <a:pt x="1136" y="825"/>
                    </a:lnTo>
                    <a:lnTo>
                      <a:pt x="1087" y="737"/>
                    </a:lnTo>
                    <a:lnTo>
                      <a:pt x="1039" y="654"/>
                    </a:lnTo>
                    <a:lnTo>
                      <a:pt x="989" y="579"/>
                    </a:lnTo>
                    <a:lnTo>
                      <a:pt x="941" y="510"/>
                    </a:lnTo>
                    <a:lnTo>
                      <a:pt x="891" y="447"/>
                    </a:lnTo>
                    <a:lnTo>
                      <a:pt x="842" y="389"/>
                    </a:lnTo>
                    <a:lnTo>
                      <a:pt x="794" y="337"/>
                    </a:lnTo>
                    <a:lnTo>
                      <a:pt x="745" y="290"/>
                    </a:lnTo>
                    <a:lnTo>
                      <a:pt x="698" y="248"/>
                    </a:lnTo>
                    <a:lnTo>
                      <a:pt x="650" y="210"/>
                    </a:lnTo>
                    <a:lnTo>
                      <a:pt x="604" y="176"/>
                    </a:lnTo>
                    <a:lnTo>
                      <a:pt x="558" y="147"/>
                    </a:lnTo>
                    <a:lnTo>
                      <a:pt x="513" y="121"/>
                    </a:lnTo>
                    <a:lnTo>
                      <a:pt x="470" y="100"/>
                    </a:lnTo>
                    <a:lnTo>
                      <a:pt x="428" y="81"/>
                    </a:lnTo>
                    <a:lnTo>
                      <a:pt x="387" y="66"/>
                    </a:lnTo>
                    <a:lnTo>
                      <a:pt x="347" y="54"/>
                    </a:lnTo>
                    <a:lnTo>
                      <a:pt x="309" y="45"/>
                    </a:lnTo>
                    <a:lnTo>
                      <a:pt x="273" y="37"/>
                    </a:lnTo>
                    <a:lnTo>
                      <a:pt x="239" y="32"/>
                    </a:lnTo>
                    <a:lnTo>
                      <a:pt x="206" y="28"/>
                    </a:lnTo>
                    <a:lnTo>
                      <a:pt x="177" y="27"/>
                    </a:lnTo>
                    <a:lnTo>
                      <a:pt x="149" y="26"/>
                    </a:lnTo>
                    <a:lnTo>
                      <a:pt x="123" y="27"/>
                    </a:lnTo>
                    <a:lnTo>
                      <a:pt x="101" y="29"/>
                    </a:lnTo>
                    <a:lnTo>
                      <a:pt x="80" y="32"/>
                    </a:lnTo>
                    <a:lnTo>
                      <a:pt x="62" y="34"/>
                    </a:lnTo>
                    <a:lnTo>
                      <a:pt x="47" y="37"/>
                    </a:lnTo>
                    <a:lnTo>
                      <a:pt x="26" y="41"/>
                    </a:lnTo>
                    <a:lnTo>
                      <a:pt x="18" y="45"/>
                    </a:lnTo>
                    <a:lnTo>
                      <a:pt x="13" y="45"/>
                    </a:lnTo>
                    <a:lnTo>
                      <a:pt x="8" y="43"/>
                    </a:lnTo>
                    <a:lnTo>
                      <a:pt x="4" y="40"/>
                    </a:lnTo>
                    <a:lnTo>
                      <a:pt x="1" y="36"/>
                    </a:lnTo>
                    <a:lnTo>
                      <a:pt x="0" y="31"/>
                    </a:lnTo>
                    <a:lnTo>
                      <a:pt x="2" y="25"/>
                    </a:lnTo>
                    <a:lnTo>
                      <a:pt x="4" y="21"/>
                    </a:lnTo>
                    <a:lnTo>
                      <a:pt x="10" y="19"/>
                    </a:lnTo>
                    <a:lnTo>
                      <a:pt x="17" y="17"/>
                    </a:lnTo>
                    <a:lnTo>
                      <a:pt x="39" y="11"/>
                    </a:lnTo>
                    <a:lnTo>
                      <a:pt x="54" y="8"/>
                    </a:lnTo>
                    <a:lnTo>
                      <a:pt x="72" y="6"/>
                    </a:lnTo>
                    <a:lnTo>
                      <a:pt x="94" y="2"/>
                    </a:lnTo>
                    <a:lnTo>
                      <a:pt x="118" y="1"/>
                    </a:lnTo>
                    <a:lnTo>
                      <a:pt x="145" y="0"/>
                    </a:lnTo>
                    <a:lnTo>
                      <a:pt x="173" y="0"/>
                    </a:lnTo>
                    <a:lnTo>
                      <a:pt x="204" y="1"/>
                    </a:lnTo>
                    <a:lnTo>
                      <a:pt x="238" y="5"/>
                    </a:lnTo>
                    <a:lnTo>
                      <a:pt x="273" y="10"/>
                    </a:lnTo>
                    <a:lnTo>
                      <a:pt x="310" y="18"/>
                    </a:lnTo>
                    <a:lnTo>
                      <a:pt x="350" y="27"/>
                    </a:lnTo>
                    <a:lnTo>
                      <a:pt x="390" y="39"/>
                    </a:lnTo>
                    <a:lnTo>
                      <a:pt x="432" y="55"/>
                    </a:lnTo>
                    <a:lnTo>
                      <a:pt x="476" y="74"/>
                    </a:lnTo>
                    <a:lnTo>
                      <a:pt x="521" y="95"/>
                    </a:lnTo>
                    <a:lnTo>
                      <a:pt x="567" y="121"/>
                    </a:lnTo>
                    <a:lnTo>
                      <a:pt x="613" y="150"/>
                    </a:lnTo>
                    <a:lnTo>
                      <a:pt x="662" y="185"/>
                    </a:lnTo>
                    <a:lnTo>
                      <a:pt x="711" y="223"/>
                    </a:lnTo>
                    <a:lnTo>
                      <a:pt x="759" y="266"/>
                    </a:lnTo>
                    <a:lnTo>
                      <a:pt x="809" y="314"/>
                    </a:lnTo>
                    <a:lnTo>
                      <a:pt x="860" y="367"/>
                    </a:lnTo>
                    <a:lnTo>
                      <a:pt x="909" y="427"/>
                    </a:lnTo>
                    <a:lnTo>
                      <a:pt x="960" y="491"/>
                    </a:lnTo>
                    <a:lnTo>
                      <a:pt x="1010" y="562"/>
                    </a:lnTo>
                    <a:lnTo>
                      <a:pt x="1060" y="638"/>
                    </a:lnTo>
                    <a:lnTo>
                      <a:pt x="1110" y="722"/>
                    </a:lnTo>
                    <a:lnTo>
                      <a:pt x="1160" y="812"/>
                    </a:lnTo>
                    <a:lnTo>
                      <a:pt x="1180" y="853"/>
                    </a:lnTo>
                    <a:lnTo>
                      <a:pt x="1200" y="894"/>
                    </a:lnTo>
                    <a:lnTo>
                      <a:pt x="1218" y="935"/>
                    </a:lnTo>
                    <a:lnTo>
                      <a:pt x="1236" y="976"/>
                    </a:lnTo>
                    <a:lnTo>
                      <a:pt x="1254" y="1018"/>
                    </a:lnTo>
                    <a:lnTo>
                      <a:pt x="1270" y="1059"/>
                    </a:lnTo>
                    <a:lnTo>
                      <a:pt x="1285" y="1101"/>
                    </a:lnTo>
                    <a:lnTo>
                      <a:pt x="1300" y="1142"/>
                    </a:lnTo>
                    <a:lnTo>
                      <a:pt x="1314" y="1183"/>
                    </a:lnTo>
                    <a:lnTo>
                      <a:pt x="1327" y="1223"/>
                    </a:lnTo>
                    <a:lnTo>
                      <a:pt x="1339" y="1264"/>
                    </a:lnTo>
                    <a:lnTo>
                      <a:pt x="1351" y="1303"/>
                    </a:lnTo>
                    <a:lnTo>
                      <a:pt x="1373" y="1380"/>
                    </a:lnTo>
                    <a:lnTo>
                      <a:pt x="1391" y="1452"/>
                    </a:lnTo>
                    <a:lnTo>
                      <a:pt x="1407" y="1519"/>
                    </a:lnTo>
                    <a:lnTo>
                      <a:pt x="1420" y="1581"/>
                    </a:lnTo>
                    <a:lnTo>
                      <a:pt x="1431" y="1636"/>
                    </a:lnTo>
                    <a:lnTo>
                      <a:pt x="1439" y="1682"/>
                    </a:lnTo>
                    <a:lnTo>
                      <a:pt x="1446" y="1721"/>
                    </a:lnTo>
                    <a:lnTo>
                      <a:pt x="1451" y="1749"/>
                    </a:lnTo>
                    <a:lnTo>
                      <a:pt x="1454" y="1767"/>
                    </a:lnTo>
                    <a:lnTo>
                      <a:pt x="1455" y="1775"/>
                    </a:lnTo>
                    <a:lnTo>
                      <a:pt x="1455" y="1780"/>
                    </a:lnTo>
                    <a:lnTo>
                      <a:pt x="1451" y="1785"/>
                    </a:lnTo>
                    <a:lnTo>
                      <a:pt x="1448" y="1788"/>
                    </a:lnTo>
                    <a:lnTo>
                      <a:pt x="1443" y="1790"/>
                    </a:lnTo>
                    <a:lnTo>
                      <a:pt x="1442" y="1790"/>
                    </a:lnTo>
                    <a:lnTo>
                      <a:pt x="1441" y="1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17"/>
              <p:cNvSpPr>
                <a:spLocks/>
              </p:cNvSpPr>
              <p:nvPr userDrawn="1"/>
            </p:nvSpPr>
            <p:spPr bwMode="auto">
              <a:xfrm>
                <a:off x="304" y="3051"/>
                <a:ext cx="1534" cy="1269"/>
              </a:xfrm>
              <a:custGeom>
                <a:avLst/>
                <a:gdLst>
                  <a:gd name="T0" fmla="*/ 122 w 4604"/>
                  <a:gd name="T1" fmla="*/ 3655 h 3808"/>
                  <a:gd name="T2" fmla="*/ 401 w 4604"/>
                  <a:gd name="T3" fmla="*/ 3293 h 3808"/>
                  <a:gd name="T4" fmla="*/ 748 w 4604"/>
                  <a:gd name="T5" fmla="*/ 2821 h 3808"/>
                  <a:gd name="T6" fmla="*/ 930 w 4604"/>
                  <a:gd name="T7" fmla="*/ 2562 h 3808"/>
                  <a:gd name="T8" fmla="*/ 1109 w 4604"/>
                  <a:gd name="T9" fmla="*/ 2297 h 3808"/>
                  <a:gd name="T10" fmla="*/ 1278 w 4604"/>
                  <a:gd name="T11" fmla="*/ 2032 h 3808"/>
                  <a:gd name="T12" fmla="*/ 1431 w 4604"/>
                  <a:gd name="T13" fmla="*/ 1774 h 3808"/>
                  <a:gd name="T14" fmla="*/ 1562 w 4604"/>
                  <a:gd name="T15" fmla="*/ 1530 h 3808"/>
                  <a:gd name="T16" fmla="*/ 1701 w 4604"/>
                  <a:gd name="T17" fmla="*/ 1249 h 3808"/>
                  <a:gd name="T18" fmla="*/ 1860 w 4604"/>
                  <a:gd name="T19" fmla="*/ 984 h 3808"/>
                  <a:gd name="T20" fmla="*/ 2021 w 4604"/>
                  <a:gd name="T21" fmla="*/ 767 h 3808"/>
                  <a:gd name="T22" fmla="*/ 2183 w 4604"/>
                  <a:gd name="T23" fmla="*/ 591 h 3808"/>
                  <a:gd name="T24" fmla="*/ 2340 w 4604"/>
                  <a:gd name="T25" fmla="*/ 453 h 3808"/>
                  <a:gd name="T26" fmla="*/ 2491 w 4604"/>
                  <a:gd name="T27" fmla="*/ 348 h 3808"/>
                  <a:gd name="T28" fmla="*/ 2633 w 4604"/>
                  <a:gd name="T29" fmla="*/ 272 h 3808"/>
                  <a:gd name="T30" fmla="*/ 2761 w 4604"/>
                  <a:gd name="T31" fmla="*/ 219 h 3808"/>
                  <a:gd name="T32" fmla="*/ 2873 w 4604"/>
                  <a:gd name="T33" fmla="*/ 186 h 3808"/>
                  <a:gd name="T34" fmla="*/ 2964 w 4604"/>
                  <a:gd name="T35" fmla="*/ 169 h 3808"/>
                  <a:gd name="T36" fmla="*/ 3034 w 4604"/>
                  <a:gd name="T37" fmla="*/ 162 h 3808"/>
                  <a:gd name="T38" fmla="*/ 3324 w 4604"/>
                  <a:gd name="T39" fmla="*/ 139 h 3808"/>
                  <a:gd name="T40" fmla="*/ 3698 w 4604"/>
                  <a:gd name="T41" fmla="*/ 101 h 3808"/>
                  <a:gd name="T42" fmla="*/ 4080 w 4604"/>
                  <a:gd name="T43" fmla="*/ 59 h 3808"/>
                  <a:gd name="T44" fmla="*/ 4396 w 4604"/>
                  <a:gd name="T45" fmla="*/ 22 h 3808"/>
                  <a:gd name="T46" fmla="*/ 4573 w 4604"/>
                  <a:gd name="T47" fmla="*/ 1 h 3808"/>
                  <a:gd name="T48" fmla="*/ 4598 w 4604"/>
                  <a:gd name="T49" fmla="*/ 2 h 3808"/>
                  <a:gd name="T50" fmla="*/ 4603 w 4604"/>
                  <a:gd name="T51" fmla="*/ 17 h 3808"/>
                  <a:gd name="T52" fmla="*/ 4592 w 4604"/>
                  <a:gd name="T53" fmla="*/ 27 h 3808"/>
                  <a:gd name="T54" fmla="*/ 4478 w 4604"/>
                  <a:gd name="T55" fmla="*/ 40 h 3808"/>
                  <a:gd name="T56" fmla="*/ 4199 w 4604"/>
                  <a:gd name="T57" fmla="*/ 72 h 3808"/>
                  <a:gd name="T58" fmla="*/ 3830 w 4604"/>
                  <a:gd name="T59" fmla="*/ 114 h 3808"/>
                  <a:gd name="T60" fmla="*/ 3445 w 4604"/>
                  <a:gd name="T61" fmla="*/ 154 h 3808"/>
                  <a:gd name="T62" fmla="*/ 3119 w 4604"/>
                  <a:gd name="T63" fmla="*/ 183 h 3808"/>
                  <a:gd name="T64" fmla="*/ 2957 w 4604"/>
                  <a:gd name="T65" fmla="*/ 197 h 3808"/>
                  <a:gd name="T66" fmla="*/ 2834 w 4604"/>
                  <a:gd name="T67" fmla="*/ 224 h 3808"/>
                  <a:gd name="T68" fmla="*/ 2703 w 4604"/>
                  <a:gd name="T69" fmla="*/ 271 h 3808"/>
                  <a:gd name="T70" fmla="*/ 2567 w 4604"/>
                  <a:gd name="T71" fmla="*/ 337 h 3808"/>
                  <a:gd name="T72" fmla="*/ 2429 w 4604"/>
                  <a:gd name="T73" fmla="*/ 425 h 3808"/>
                  <a:gd name="T74" fmla="*/ 2288 w 4604"/>
                  <a:gd name="T75" fmla="*/ 535 h 3808"/>
                  <a:gd name="T76" fmla="*/ 2148 w 4604"/>
                  <a:gd name="T77" fmla="*/ 669 h 3808"/>
                  <a:gd name="T78" fmla="*/ 2010 w 4604"/>
                  <a:gd name="T79" fmla="*/ 828 h 3808"/>
                  <a:gd name="T80" fmla="*/ 1875 w 4604"/>
                  <a:gd name="T81" fmla="*/ 1013 h 3808"/>
                  <a:gd name="T82" fmla="*/ 1745 w 4604"/>
                  <a:gd name="T83" fmla="*/ 1225 h 3808"/>
                  <a:gd name="T84" fmla="*/ 1623 w 4604"/>
                  <a:gd name="T85" fmla="*/ 1464 h 3808"/>
                  <a:gd name="T86" fmla="*/ 1505 w 4604"/>
                  <a:gd name="T87" fmla="*/ 1699 h 3808"/>
                  <a:gd name="T88" fmla="*/ 1361 w 4604"/>
                  <a:gd name="T89" fmla="*/ 1948 h 3808"/>
                  <a:gd name="T90" fmla="*/ 1199 w 4604"/>
                  <a:gd name="T91" fmla="*/ 2207 h 3808"/>
                  <a:gd name="T92" fmla="*/ 1026 w 4604"/>
                  <a:gd name="T93" fmla="*/ 2469 h 3808"/>
                  <a:gd name="T94" fmla="*/ 847 w 4604"/>
                  <a:gd name="T95" fmla="*/ 2729 h 3808"/>
                  <a:gd name="T96" fmla="*/ 554 w 4604"/>
                  <a:gd name="T97" fmla="*/ 3133 h 3808"/>
                  <a:gd name="T98" fmla="*/ 247 w 4604"/>
                  <a:gd name="T99" fmla="*/ 3539 h 3808"/>
                  <a:gd name="T100" fmla="*/ 35 w 4604"/>
                  <a:gd name="T101" fmla="*/ 3808 h 3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04" h="3808">
                    <a:moveTo>
                      <a:pt x="0" y="3808"/>
                    </a:moveTo>
                    <a:lnTo>
                      <a:pt x="53" y="3741"/>
                    </a:lnTo>
                    <a:lnTo>
                      <a:pt x="122" y="3655"/>
                    </a:lnTo>
                    <a:lnTo>
                      <a:pt x="204" y="3549"/>
                    </a:lnTo>
                    <a:lnTo>
                      <a:pt x="297" y="3428"/>
                    </a:lnTo>
                    <a:lnTo>
                      <a:pt x="401" y="3293"/>
                    </a:lnTo>
                    <a:lnTo>
                      <a:pt x="511" y="3145"/>
                    </a:lnTo>
                    <a:lnTo>
                      <a:pt x="628" y="2988"/>
                    </a:lnTo>
                    <a:lnTo>
                      <a:pt x="748" y="2821"/>
                    </a:lnTo>
                    <a:lnTo>
                      <a:pt x="808" y="2736"/>
                    </a:lnTo>
                    <a:lnTo>
                      <a:pt x="869" y="2650"/>
                    </a:lnTo>
                    <a:lnTo>
                      <a:pt x="930" y="2562"/>
                    </a:lnTo>
                    <a:lnTo>
                      <a:pt x="991" y="2475"/>
                    </a:lnTo>
                    <a:lnTo>
                      <a:pt x="1050" y="2386"/>
                    </a:lnTo>
                    <a:lnTo>
                      <a:pt x="1109" y="2297"/>
                    </a:lnTo>
                    <a:lnTo>
                      <a:pt x="1167" y="2208"/>
                    </a:lnTo>
                    <a:lnTo>
                      <a:pt x="1223" y="2120"/>
                    </a:lnTo>
                    <a:lnTo>
                      <a:pt x="1278" y="2032"/>
                    </a:lnTo>
                    <a:lnTo>
                      <a:pt x="1332" y="1945"/>
                    </a:lnTo>
                    <a:lnTo>
                      <a:pt x="1383" y="1858"/>
                    </a:lnTo>
                    <a:lnTo>
                      <a:pt x="1431" y="1774"/>
                    </a:lnTo>
                    <a:lnTo>
                      <a:pt x="1478" y="1691"/>
                    </a:lnTo>
                    <a:lnTo>
                      <a:pt x="1521" y="1609"/>
                    </a:lnTo>
                    <a:lnTo>
                      <a:pt x="1562" y="1530"/>
                    </a:lnTo>
                    <a:lnTo>
                      <a:pt x="1598" y="1453"/>
                    </a:lnTo>
                    <a:lnTo>
                      <a:pt x="1649" y="1348"/>
                    </a:lnTo>
                    <a:lnTo>
                      <a:pt x="1701" y="1249"/>
                    </a:lnTo>
                    <a:lnTo>
                      <a:pt x="1753" y="1156"/>
                    </a:lnTo>
                    <a:lnTo>
                      <a:pt x="1806" y="1067"/>
                    </a:lnTo>
                    <a:lnTo>
                      <a:pt x="1860" y="984"/>
                    </a:lnTo>
                    <a:lnTo>
                      <a:pt x="1913" y="907"/>
                    </a:lnTo>
                    <a:lnTo>
                      <a:pt x="1967" y="834"/>
                    </a:lnTo>
                    <a:lnTo>
                      <a:pt x="2021" y="767"/>
                    </a:lnTo>
                    <a:lnTo>
                      <a:pt x="2075" y="703"/>
                    </a:lnTo>
                    <a:lnTo>
                      <a:pt x="2129" y="645"/>
                    </a:lnTo>
                    <a:lnTo>
                      <a:pt x="2183" y="591"/>
                    </a:lnTo>
                    <a:lnTo>
                      <a:pt x="2236" y="541"/>
                    </a:lnTo>
                    <a:lnTo>
                      <a:pt x="2288" y="495"/>
                    </a:lnTo>
                    <a:lnTo>
                      <a:pt x="2340" y="453"/>
                    </a:lnTo>
                    <a:lnTo>
                      <a:pt x="2392" y="414"/>
                    </a:lnTo>
                    <a:lnTo>
                      <a:pt x="2442" y="380"/>
                    </a:lnTo>
                    <a:lnTo>
                      <a:pt x="2491" y="348"/>
                    </a:lnTo>
                    <a:lnTo>
                      <a:pt x="2540" y="319"/>
                    </a:lnTo>
                    <a:lnTo>
                      <a:pt x="2588" y="294"/>
                    </a:lnTo>
                    <a:lnTo>
                      <a:pt x="2633" y="272"/>
                    </a:lnTo>
                    <a:lnTo>
                      <a:pt x="2677" y="252"/>
                    </a:lnTo>
                    <a:lnTo>
                      <a:pt x="2720" y="234"/>
                    </a:lnTo>
                    <a:lnTo>
                      <a:pt x="2761" y="219"/>
                    </a:lnTo>
                    <a:lnTo>
                      <a:pt x="2800" y="207"/>
                    </a:lnTo>
                    <a:lnTo>
                      <a:pt x="2838" y="195"/>
                    </a:lnTo>
                    <a:lnTo>
                      <a:pt x="2873" y="186"/>
                    </a:lnTo>
                    <a:lnTo>
                      <a:pt x="2906" y="179"/>
                    </a:lnTo>
                    <a:lnTo>
                      <a:pt x="2936" y="173"/>
                    </a:lnTo>
                    <a:lnTo>
                      <a:pt x="2964" y="169"/>
                    </a:lnTo>
                    <a:lnTo>
                      <a:pt x="2990" y="166"/>
                    </a:lnTo>
                    <a:lnTo>
                      <a:pt x="3014" y="164"/>
                    </a:lnTo>
                    <a:lnTo>
                      <a:pt x="3034" y="162"/>
                    </a:lnTo>
                    <a:lnTo>
                      <a:pt x="3117" y="156"/>
                    </a:lnTo>
                    <a:lnTo>
                      <a:pt x="3214" y="149"/>
                    </a:lnTo>
                    <a:lnTo>
                      <a:pt x="3324" y="139"/>
                    </a:lnTo>
                    <a:lnTo>
                      <a:pt x="3443" y="127"/>
                    </a:lnTo>
                    <a:lnTo>
                      <a:pt x="3568" y="114"/>
                    </a:lnTo>
                    <a:lnTo>
                      <a:pt x="3698" y="101"/>
                    </a:lnTo>
                    <a:lnTo>
                      <a:pt x="3827" y="87"/>
                    </a:lnTo>
                    <a:lnTo>
                      <a:pt x="3956" y="73"/>
                    </a:lnTo>
                    <a:lnTo>
                      <a:pt x="4080" y="59"/>
                    </a:lnTo>
                    <a:lnTo>
                      <a:pt x="4197" y="45"/>
                    </a:lnTo>
                    <a:lnTo>
                      <a:pt x="4302" y="33"/>
                    </a:lnTo>
                    <a:lnTo>
                      <a:pt x="4396" y="22"/>
                    </a:lnTo>
                    <a:lnTo>
                      <a:pt x="4475" y="13"/>
                    </a:lnTo>
                    <a:lnTo>
                      <a:pt x="4534" y="6"/>
                    </a:lnTo>
                    <a:lnTo>
                      <a:pt x="4573" y="1"/>
                    </a:lnTo>
                    <a:lnTo>
                      <a:pt x="4588" y="0"/>
                    </a:lnTo>
                    <a:lnTo>
                      <a:pt x="4594" y="0"/>
                    </a:lnTo>
                    <a:lnTo>
                      <a:pt x="4598" y="2"/>
                    </a:lnTo>
                    <a:lnTo>
                      <a:pt x="4601" y="6"/>
                    </a:lnTo>
                    <a:lnTo>
                      <a:pt x="4604" y="11"/>
                    </a:lnTo>
                    <a:lnTo>
                      <a:pt x="4603" y="17"/>
                    </a:lnTo>
                    <a:lnTo>
                      <a:pt x="4600" y="21"/>
                    </a:lnTo>
                    <a:lnTo>
                      <a:pt x="4597" y="24"/>
                    </a:lnTo>
                    <a:lnTo>
                      <a:pt x="4592" y="27"/>
                    </a:lnTo>
                    <a:lnTo>
                      <a:pt x="4577" y="28"/>
                    </a:lnTo>
                    <a:lnTo>
                      <a:pt x="4538" y="33"/>
                    </a:lnTo>
                    <a:lnTo>
                      <a:pt x="4478" y="40"/>
                    </a:lnTo>
                    <a:lnTo>
                      <a:pt x="4400" y="49"/>
                    </a:lnTo>
                    <a:lnTo>
                      <a:pt x="4306" y="60"/>
                    </a:lnTo>
                    <a:lnTo>
                      <a:pt x="4199" y="72"/>
                    </a:lnTo>
                    <a:lnTo>
                      <a:pt x="4082" y="86"/>
                    </a:lnTo>
                    <a:lnTo>
                      <a:pt x="3959" y="99"/>
                    </a:lnTo>
                    <a:lnTo>
                      <a:pt x="3830" y="114"/>
                    </a:lnTo>
                    <a:lnTo>
                      <a:pt x="3700" y="128"/>
                    </a:lnTo>
                    <a:lnTo>
                      <a:pt x="3570" y="141"/>
                    </a:lnTo>
                    <a:lnTo>
                      <a:pt x="3445" y="154"/>
                    </a:lnTo>
                    <a:lnTo>
                      <a:pt x="3326" y="166"/>
                    </a:lnTo>
                    <a:lnTo>
                      <a:pt x="3216" y="176"/>
                    </a:lnTo>
                    <a:lnTo>
                      <a:pt x="3119" y="183"/>
                    </a:lnTo>
                    <a:lnTo>
                      <a:pt x="3036" y="189"/>
                    </a:lnTo>
                    <a:lnTo>
                      <a:pt x="2997" y="192"/>
                    </a:lnTo>
                    <a:lnTo>
                      <a:pt x="2957" y="197"/>
                    </a:lnTo>
                    <a:lnTo>
                      <a:pt x="2917" y="204"/>
                    </a:lnTo>
                    <a:lnTo>
                      <a:pt x="2876" y="213"/>
                    </a:lnTo>
                    <a:lnTo>
                      <a:pt x="2834" y="224"/>
                    </a:lnTo>
                    <a:lnTo>
                      <a:pt x="2791" y="237"/>
                    </a:lnTo>
                    <a:lnTo>
                      <a:pt x="2746" y="253"/>
                    </a:lnTo>
                    <a:lnTo>
                      <a:pt x="2703" y="271"/>
                    </a:lnTo>
                    <a:lnTo>
                      <a:pt x="2658" y="291"/>
                    </a:lnTo>
                    <a:lnTo>
                      <a:pt x="2612" y="313"/>
                    </a:lnTo>
                    <a:lnTo>
                      <a:pt x="2567" y="337"/>
                    </a:lnTo>
                    <a:lnTo>
                      <a:pt x="2522" y="364"/>
                    </a:lnTo>
                    <a:lnTo>
                      <a:pt x="2475" y="394"/>
                    </a:lnTo>
                    <a:lnTo>
                      <a:pt x="2429" y="425"/>
                    </a:lnTo>
                    <a:lnTo>
                      <a:pt x="2381" y="459"/>
                    </a:lnTo>
                    <a:lnTo>
                      <a:pt x="2335" y="496"/>
                    </a:lnTo>
                    <a:lnTo>
                      <a:pt x="2288" y="535"/>
                    </a:lnTo>
                    <a:lnTo>
                      <a:pt x="2241" y="577"/>
                    </a:lnTo>
                    <a:lnTo>
                      <a:pt x="2195" y="622"/>
                    </a:lnTo>
                    <a:lnTo>
                      <a:pt x="2148" y="669"/>
                    </a:lnTo>
                    <a:lnTo>
                      <a:pt x="2102" y="720"/>
                    </a:lnTo>
                    <a:lnTo>
                      <a:pt x="2055" y="773"/>
                    </a:lnTo>
                    <a:lnTo>
                      <a:pt x="2010" y="828"/>
                    </a:lnTo>
                    <a:lnTo>
                      <a:pt x="1965" y="887"/>
                    </a:lnTo>
                    <a:lnTo>
                      <a:pt x="1919" y="948"/>
                    </a:lnTo>
                    <a:lnTo>
                      <a:pt x="1875" y="1013"/>
                    </a:lnTo>
                    <a:lnTo>
                      <a:pt x="1831" y="1080"/>
                    </a:lnTo>
                    <a:lnTo>
                      <a:pt x="1787" y="1150"/>
                    </a:lnTo>
                    <a:lnTo>
                      <a:pt x="1745" y="1225"/>
                    </a:lnTo>
                    <a:lnTo>
                      <a:pt x="1703" y="1301"/>
                    </a:lnTo>
                    <a:lnTo>
                      <a:pt x="1663" y="1381"/>
                    </a:lnTo>
                    <a:lnTo>
                      <a:pt x="1623" y="1464"/>
                    </a:lnTo>
                    <a:lnTo>
                      <a:pt x="1587" y="1540"/>
                    </a:lnTo>
                    <a:lnTo>
                      <a:pt x="1547" y="1619"/>
                    </a:lnTo>
                    <a:lnTo>
                      <a:pt x="1505" y="1699"/>
                    </a:lnTo>
                    <a:lnTo>
                      <a:pt x="1459" y="1781"/>
                    </a:lnTo>
                    <a:lnTo>
                      <a:pt x="1411" y="1864"/>
                    </a:lnTo>
                    <a:lnTo>
                      <a:pt x="1361" y="1948"/>
                    </a:lnTo>
                    <a:lnTo>
                      <a:pt x="1309" y="2034"/>
                    </a:lnTo>
                    <a:lnTo>
                      <a:pt x="1255" y="2121"/>
                    </a:lnTo>
                    <a:lnTo>
                      <a:pt x="1199" y="2207"/>
                    </a:lnTo>
                    <a:lnTo>
                      <a:pt x="1143" y="2295"/>
                    </a:lnTo>
                    <a:lnTo>
                      <a:pt x="1084" y="2382"/>
                    </a:lnTo>
                    <a:lnTo>
                      <a:pt x="1026" y="2469"/>
                    </a:lnTo>
                    <a:lnTo>
                      <a:pt x="967" y="2557"/>
                    </a:lnTo>
                    <a:lnTo>
                      <a:pt x="907" y="2643"/>
                    </a:lnTo>
                    <a:lnTo>
                      <a:pt x="847" y="2729"/>
                    </a:lnTo>
                    <a:lnTo>
                      <a:pt x="788" y="2813"/>
                    </a:lnTo>
                    <a:lnTo>
                      <a:pt x="669" y="2977"/>
                    </a:lnTo>
                    <a:lnTo>
                      <a:pt x="554" y="3133"/>
                    </a:lnTo>
                    <a:lnTo>
                      <a:pt x="444" y="3280"/>
                    </a:lnTo>
                    <a:lnTo>
                      <a:pt x="341" y="3416"/>
                    </a:lnTo>
                    <a:lnTo>
                      <a:pt x="247" y="3539"/>
                    </a:lnTo>
                    <a:lnTo>
                      <a:pt x="162" y="3646"/>
                    </a:lnTo>
                    <a:lnTo>
                      <a:pt x="92" y="3737"/>
                    </a:lnTo>
                    <a:lnTo>
                      <a:pt x="35" y="3808"/>
                    </a:lnTo>
                    <a:lnTo>
                      <a:pt x="0" y="3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18"/>
              <p:cNvSpPr>
                <a:spLocks/>
              </p:cNvSpPr>
              <p:nvPr userDrawn="1"/>
            </p:nvSpPr>
            <p:spPr bwMode="auto">
              <a:xfrm>
                <a:off x="440" y="3474"/>
                <a:ext cx="670" cy="846"/>
              </a:xfrm>
              <a:custGeom>
                <a:avLst/>
                <a:gdLst>
                  <a:gd name="T0" fmla="*/ 76 w 2008"/>
                  <a:gd name="T1" fmla="*/ 2453 h 2538"/>
                  <a:gd name="T2" fmla="*/ 300 w 2008"/>
                  <a:gd name="T3" fmla="*/ 2203 h 2538"/>
                  <a:gd name="T4" fmla="*/ 589 w 2008"/>
                  <a:gd name="T5" fmla="*/ 1873 h 2538"/>
                  <a:gd name="T6" fmla="*/ 914 w 2008"/>
                  <a:gd name="T7" fmla="*/ 1494 h 2538"/>
                  <a:gd name="T8" fmla="*/ 1161 w 2008"/>
                  <a:gd name="T9" fmla="*/ 1197 h 2538"/>
                  <a:gd name="T10" fmla="*/ 1322 w 2008"/>
                  <a:gd name="T11" fmla="*/ 999 h 2538"/>
                  <a:gd name="T12" fmla="*/ 1474 w 2008"/>
                  <a:gd name="T13" fmla="*/ 807 h 2538"/>
                  <a:gd name="T14" fmla="*/ 1613 w 2008"/>
                  <a:gd name="T15" fmla="*/ 623 h 2538"/>
                  <a:gd name="T16" fmla="*/ 1736 w 2008"/>
                  <a:gd name="T17" fmla="*/ 451 h 2538"/>
                  <a:gd name="T18" fmla="*/ 1839 w 2008"/>
                  <a:gd name="T19" fmla="*/ 297 h 2538"/>
                  <a:gd name="T20" fmla="*/ 1917 w 2008"/>
                  <a:gd name="T21" fmla="*/ 163 h 2538"/>
                  <a:gd name="T22" fmla="*/ 1968 w 2008"/>
                  <a:gd name="T23" fmla="*/ 54 h 2538"/>
                  <a:gd name="T24" fmla="*/ 1984 w 2008"/>
                  <a:gd name="T25" fmla="*/ 4 h 2538"/>
                  <a:gd name="T26" fmla="*/ 1993 w 2008"/>
                  <a:gd name="T27" fmla="*/ 0 h 2538"/>
                  <a:gd name="T28" fmla="*/ 2004 w 2008"/>
                  <a:gd name="T29" fmla="*/ 2 h 2538"/>
                  <a:gd name="T30" fmla="*/ 2008 w 2008"/>
                  <a:gd name="T31" fmla="*/ 11 h 2538"/>
                  <a:gd name="T32" fmla="*/ 2002 w 2008"/>
                  <a:gd name="T33" fmla="*/ 41 h 2538"/>
                  <a:gd name="T34" fmla="*/ 1979 w 2008"/>
                  <a:gd name="T35" fmla="*/ 98 h 2538"/>
                  <a:gd name="T36" fmla="*/ 1947 w 2008"/>
                  <a:gd name="T37" fmla="*/ 165 h 2538"/>
                  <a:gd name="T38" fmla="*/ 1904 w 2008"/>
                  <a:gd name="T39" fmla="*/ 240 h 2538"/>
                  <a:gd name="T40" fmla="*/ 1854 w 2008"/>
                  <a:gd name="T41" fmla="*/ 322 h 2538"/>
                  <a:gd name="T42" fmla="*/ 1795 w 2008"/>
                  <a:gd name="T43" fmla="*/ 410 h 2538"/>
                  <a:gd name="T44" fmla="*/ 1695 w 2008"/>
                  <a:gd name="T45" fmla="*/ 553 h 2538"/>
                  <a:gd name="T46" fmla="*/ 1544 w 2008"/>
                  <a:gd name="T47" fmla="*/ 758 h 2538"/>
                  <a:gd name="T48" fmla="*/ 1376 w 2008"/>
                  <a:gd name="T49" fmla="*/ 973 h 2538"/>
                  <a:gd name="T50" fmla="*/ 1203 w 2008"/>
                  <a:gd name="T51" fmla="*/ 1190 h 2538"/>
                  <a:gd name="T52" fmla="*/ 1027 w 2008"/>
                  <a:gd name="T53" fmla="*/ 1403 h 2538"/>
                  <a:gd name="T54" fmla="*/ 879 w 2008"/>
                  <a:gd name="T55" fmla="*/ 1578 h 2538"/>
                  <a:gd name="T56" fmla="*/ 752 w 2008"/>
                  <a:gd name="T57" fmla="*/ 1727 h 2538"/>
                  <a:gd name="T58" fmla="*/ 623 w 2008"/>
                  <a:gd name="T59" fmla="*/ 1876 h 2538"/>
                  <a:gd name="T60" fmla="*/ 496 w 2008"/>
                  <a:gd name="T61" fmla="*/ 2023 h 2538"/>
                  <a:gd name="T62" fmla="*/ 374 w 2008"/>
                  <a:gd name="T63" fmla="*/ 2162 h 2538"/>
                  <a:gd name="T64" fmla="*/ 261 w 2008"/>
                  <a:gd name="T65" fmla="*/ 2290 h 2538"/>
                  <a:gd name="T66" fmla="*/ 159 w 2008"/>
                  <a:gd name="T67" fmla="*/ 2403 h 2538"/>
                  <a:gd name="T68" fmla="*/ 73 w 2008"/>
                  <a:gd name="T69" fmla="*/ 2499 h 2538"/>
                  <a:gd name="T70" fmla="*/ 0 w 2008"/>
                  <a:gd name="T71" fmla="*/ 2538 h 2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8" h="2538">
                    <a:moveTo>
                      <a:pt x="0" y="2538"/>
                    </a:moveTo>
                    <a:lnTo>
                      <a:pt x="76" y="2453"/>
                    </a:lnTo>
                    <a:lnTo>
                      <a:pt x="178" y="2339"/>
                    </a:lnTo>
                    <a:lnTo>
                      <a:pt x="300" y="2203"/>
                    </a:lnTo>
                    <a:lnTo>
                      <a:pt x="438" y="2047"/>
                    </a:lnTo>
                    <a:lnTo>
                      <a:pt x="589" y="1873"/>
                    </a:lnTo>
                    <a:lnTo>
                      <a:pt x="749" y="1688"/>
                    </a:lnTo>
                    <a:lnTo>
                      <a:pt x="914" y="1494"/>
                    </a:lnTo>
                    <a:lnTo>
                      <a:pt x="1079" y="1297"/>
                    </a:lnTo>
                    <a:lnTo>
                      <a:pt x="1161" y="1197"/>
                    </a:lnTo>
                    <a:lnTo>
                      <a:pt x="1242" y="1098"/>
                    </a:lnTo>
                    <a:lnTo>
                      <a:pt x="1322" y="999"/>
                    </a:lnTo>
                    <a:lnTo>
                      <a:pt x="1399" y="902"/>
                    </a:lnTo>
                    <a:lnTo>
                      <a:pt x="1474" y="807"/>
                    </a:lnTo>
                    <a:lnTo>
                      <a:pt x="1545" y="714"/>
                    </a:lnTo>
                    <a:lnTo>
                      <a:pt x="1613" y="623"/>
                    </a:lnTo>
                    <a:lnTo>
                      <a:pt x="1677" y="536"/>
                    </a:lnTo>
                    <a:lnTo>
                      <a:pt x="1736" y="451"/>
                    </a:lnTo>
                    <a:lnTo>
                      <a:pt x="1790" y="373"/>
                    </a:lnTo>
                    <a:lnTo>
                      <a:pt x="1839" y="297"/>
                    </a:lnTo>
                    <a:lnTo>
                      <a:pt x="1882" y="228"/>
                    </a:lnTo>
                    <a:lnTo>
                      <a:pt x="1917" y="163"/>
                    </a:lnTo>
                    <a:lnTo>
                      <a:pt x="1947" y="106"/>
                    </a:lnTo>
                    <a:lnTo>
                      <a:pt x="1968" y="54"/>
                    </a:lnTo>
                    <a:lnTo>
                      <a:pt x="1982" y="10"/>
                    </a:lnTo>
                    <a:lnTo>
                      <a:pt x="1984" y="4"/>
                    </a:lnTo>
                    <a:lnTo>
                      <a:pt x="1989" y="1"/>
                    </a:lnTo>
                    <a:lnTo>
                      <a:pt x="1993" y="0"/>
                    </a:lnTo>
                    <a:lnTo>
                      <a:pt x="1998" y="0"/>
                    </a:lnTo>
                    <a:lnTo>
                      <a:pt x="2004" y="2"/>
                    </a:lnTo>
                    <a:lnTo>
                      <a:pt x="2007" y="6"/>
                    </a:lnTo>
                    <a:lnTo>
                      <a:pt x="2008" y="11"/>
                    </a:lnTo>
                    <a:lnTo>
                      <a:pt x="2008" y="16"/>
                    </a:lnTo>
                    <a:lnTo>
                      <a:pt x="2002" y="41"/>
                    </a:lnTo>
                    <a:lnTo>
                      <a:pt x="1992" y="69"/>
                    </a:lnTo>
                    <a:lnTo>
                      <a:pt x="1979" y="98"/>
                    </a:lnTo>
                    <a:lnTo>
                      <a:pt x="1964" y="131"/>
                    </a:lnTo>
                    <a:lnTo>
                      <a:pt x="1947" y="165"/>
                    </a:lnTo>
                    <a:lnTo>
                      <a:pt x="1926" y="202"/>
                    </a:lnTo>
                    <a:lnTo>
                      <a:pt x="1904" y="240"/>
                    </a:lnTo>
                    <a:lnTo>
                      <a:pt x="1880" y="280"/>
                    </a:lnTo>
                    <a:lnTo>
                      <a:pt x="1854" y="322"/>
                    </a:lnTo>
                    <a:lnTo>
                      <a:pt x="1826" y="365"/>
                    </a:lnTo>
                    <a:lnTo>
                      <a:pt x="1795" y="410"/>
                    </a:lnTo>
                    <a:lnTo>
                      <a:pt x="1764" y="457"/>
                    </a:lnTo>
                    <a:lnTo>
                      <a:pt x="1695" y="553"/>
                    </a:lnTo>
                    <a:lnTo>
                      <a:pt x="1621" y="654"/>
                    </a:lnTo>
                    <a:lnTo>
                      <a:pt x="1544" y="758"/>
                    </a:lnTo>
                    <a:lnTo>
                      <a:pt x="1462" y="865"/>
                    </a:lnTo>
                    <a:lnTo>
                      <a:pt x="1376" y="973"/>
                    </a:lnTo>
                    <a:lnTo>
                      <a:pt x="1290" y="1081"/>
                    </a:lnTo>
                    <a:lnTo>
                      <a:pt x="1203" y="1190"/>
                    </a:lnTo>
                    <a:lnTo>
                      <a:pt x="1114" y="1298"/>
                    </a:lnTo>
                    <a:lnTo>
                      <a:pt x="1027" y="1403"/>
                    </a:lnTo>
                    <a:lnTo>
                      <a:pt x="940" y="1506"/>
                    </a:lnTo>
                    <a:lnTo>
                      <a:pt x="879" y="1578"/>
                    </a:lnTo>
                    <a:lnTo>
                      <a:pt x="816" y="1653"/>
                    </a:lnTo>
                    <a:lnTo>
                      <a:pt x="752" y="1727"/>
                    </a:lnTo>
                    <a:lnTo>
                      <a:pt x="687" y="1802"/>
                    </a:lnTo>
                    <a:lnTo>
                      <a:pt x="623" y="1876"/>
                    </a:lnTo>
                    <a:lnTo>
                      <a:pt x="559" y="1951"/>
                    </a:lnTo>
                    <a:lnTo>
                      <a:pt x="496" y="2023"/>
                    </a:lnTo>
                    <a:lnTo>
                      <a:pt x="434" y="2093"/>
                    </a:lnTo>
                    <a:lnTo>
                      <a:pt x="374" y="2162"/>
                    </a:lnTo>
                    <a:lnTo>
                      <a:pt x="316" y="2227"/>
                    </a:lnTo>
                    <a:lnTo>
                      <a:pt x="261" y="2290"/>
                    </a:lnTo>
                    <a:lnTo>
                      <a:pt x="208" y="2349"/>
                    </a:lnTo>
                    <a:lnTo>
                      <a:pt x="159" y="2403"/>
                    </a:lnTo>
                    <a:lnTo>
                      <a:pt x="114" y="2454"/>
                    </a:lnTo>
                    <a:lnTo>
                      <a:pt x="73" y="2499"/>
                    </a:lnTo>
                    <a:lnTo>
                      <a:pt x="36" y="2538"/>
                    </a:lnTo>
                    <a:lnTo>
                      <a:pt x="0" y="2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19"/>
              <p:cNvSpPr>
                <a:spLocks/>
              </p:cNvSpPr>
              <p:nvPr userDrawn="1"/>
            </p:nvSpPr>
            <p:spPr bwMode="auto">
              <a:xfrm>
                <a:off x="338" y="3040"/>
                <a:ext cx="1023" cy="1243"/>
              </a:xfrm>
              <a:custGeom>
                <a:avLst/>
                <a:gdLst>
                  <a:gd name="T0" fmla="*/ 11 w 3069"/>
                  <a:gd name="T1" fmla="*/ 3729 h 3729"/>
                  <a:gd name="T2" fmla="*/ 3 w 3069"/>
                  <a:gd name="T3" fmla="*/ 3724 h 3729"/>
                  <a:gd name="T4" fmla="*/ 0 w 3069"/>
                  <a:gd name="T5" fmla="*/ 3715 h 3729"/>
                  <a:gd name="T6" fmla="*/ 14 w 3069"/>
                  <a:gd name="T7" fmla="*/ 3682 h 3729"/>
                  <a:gd name="T8" fmla="*/ 98 w 3069"/>
                  <a:gd name="T9" fmla="*/ 3501 h 3729"/>
                  <a:gd name="T10" fmla="*/ 245 w 3069"/>
                  <a:gd name="T11" fmla="*/ 3188 h 3729"/>
                  <a:gd name="T12" fmla="*/ 435 w 3069"/>
                  <a:gd name="T13" fmla="*/ 2783 h 3729"/>
                  <a:gd name="T14" fmla="*/ 649 w 3069"/>
                  <a:gd name="T15" fmla="*/ 2330 h 3729"/>
                  <a:gd name="T16" fmla="*/ 867 w 3069"/>
                  <a:gd name="T17" fmla="*/ 1870 h 3729"/>
                  <a:gd name="T18" fmla="*/ 1069 w 3069"/>
                  <a:gd name="T19" fmla="*/ 1446 h 3729"/>
                  <a:gd name="T20" fmla="*/ 1237 w 3069"/>
                  <a:gd name="T21" fmla="*/ 1099 h 3729"/>
                  <a:gd name="T22" fmla="*/ 1334 w 3069"/>
                  <a:gd name="T23" fmla="*/ 910 h 3729"/>
                  <a:gd name="T24" fmla="*/ 1414 w 3069"/>
                  <a:gd name="T25" fmla="*/ 801 h 3729"/>
                  <a:gd name="T26" fmla="*/ 1516 w 3069"/>
                  <a:gd name="T27" fmla="*/ 699 h 3729"/>
                  <a:gd name="T28" fmla="*/ 1634 w 3069"/>
                  <a:gd name="T29" fmla="*/ 602 h 3729"/>
                  <a:gd name="T30" fmla="*/ 1763 w 3069"/>
                  <a:gd name="T31" fmla="*/ 512 h 3729"/>
                  <a:gd name="T32" fmla="*/ 1904 w 3069"/>
                  <a:gd name="T33" fmla="*/ 430 h 3729"/>
                  <a:gd name="T34" fmla="*/ 2049 w 3069"/>
                  <a:gd name="T35" fmla="*/ 353 h 3729"/>
                  <a:gd name="T36" fmla="*/ 2197 w 3069"/>
                  <a:gd name="T37" fmla="*/ 284 h 3729"/>
                  <a:gd name="T38" fmla="*/ 2344 w 3069"/>
                  <a:gd name="T39" fmla="*/ 223 h 3729"/>
                  <a:gd name="T40" fmla="*/ 2486 w 3069"/>
                  <a:gd name="T41" fmla="*/ 169 h 3729"/>
                  <a:gd name="T42" fmla="*/ 2620 w 3069"/>
                  <a:gd name="T43" fmla="*/ 121 h 3729"/>
                  <a:gd name="T44" fmla="*/ 2743 w 3069"/>
                  <a:gd name="T45" fmla="*/ 81 h 3729"/>
                  <a:gd name="T46" fmla="*/ 2850 w 3069"/>
                  <a:gd name="T47" fmla="*/ 50 h 3729"/>
                  <a:gd name="T48" fmla="*/ 2938 w 3069"/>
                  <a:gd name="T49" fmla="*/ 25 h 3729"/>
                  <a:gd name="T50" fmla="*/ 3005 w 3069"/>
                  <a:gd name="T51" fmla="*/ 9 h 3729"/>
                  <a:gd name="T52" fmla="*/ 3046 w 3069"/>
                  <a:gd name="T53" fmla="*/ 1 h 3729"/>
                  <a:gd name="T54" fmla="*/ 3061 w 3069"/>
                  <a:gd name="T55" fmla="*/ 1 h 3729"/>
                  <a:gd name="T56" fmla="*/ 3068 w 3069"/>
                  <a:gd name="T57" fmla="*/ 9 h 3729"/>
                  <a:gd name="T58" fmla="*/ 3068 w 3069"/>
                  <a:gd name="T59" fmla="*/ 19 h 3729"/>
                  <a:gd name="T60" fmla="*/ 3061 w 3069"/>
                  <a:gd name="T61" fmla="*/ 26 h 3729"/>
                  <a:gd name="T62" fmla="*/ 3045 w 3069"/>
                  <a:gd name="T63" fmla="*/ 28 h 3729"/>
                  <a:gd name="T64" fmla="*/ 3002 w 3069"/>
                  <a:gd name="T65" fmla="*/ 37 h 3729"/>
                  <a:gd name="T66" fmla="*/ 2893 w 3069"/>
                  <a:gd name="T67" fmla="*/ 65 h 3729"/>
                  <a:gd name="T68" fmla="*/ 2739 w 3069"/>
                  <a:gd name="T69" fmla="*/ 110 h 3729"/>
                  <a:gd name="T70" fmla="*/ 2618 w 3069"/>
                  <a:gd name="T71" fmla="*/ 150 h 3729"/>
                  <a:gd name="T72" fmla="*/ 2486 w 3069"/>
                  <a:gd name="T73" fmla="*/ 197 h 3729"/>
                  <a:gd name="T74" fmla="*/ 2345 w 3069"/>
                  <a:gd name="T75" fmla="*/ 251 h 3729"/>
                  <a:gd name="T76" fmla="*/ 2202 w 3069"/>
                  <a:gd name="T77" fmla="*/ 311 h 3729"/>
                  <a:gd name="T78" fmla="*/ 2056 w 3069"/>
                  <a:gd name="T79" fmla="*/ 379 h 3729"/>
                  <a:gd name="T80" fmla="*/ 1913 w 3069"/>
                  <a:gd name="T81" fmla="*/ 454 h 3729"/>
                  <a:gd name="T82" fmla="*/ 1777 w 3069"/>
                  <a:gd name="T83" fmla="*/ 536 h 3729"/>
                  <a:gd name="T84" fmla="*/ 1650 w 3069"/>
                  <a:gd name="T85" fmla="*/ 623 h 3729"/>
                  <a:gd name="T86" fmla="*/ 1534 w 3069"/>
                  <a:gd name="T87" fmla="*/ 717 h 3729"/>
                  <a:gd name="T88" fmla="*/ 1436 w 3069"/>
                  <a:gd name="T89" fmla="*/ 817 h 3729"/>
                  <a:gd name="T90" fmla="*/ 1357 w 3069"/>
                  <a:gd name="T91" fmla="*/ 924 h 3729"/>
                  <a:gd name="T92" fmla="*/ 1261 w 3069"/>
                  <a:gd name="T93" fmla="*/ 1111 h 3729"/>
                  <a:gd name="T94" fmla="*/ 1094 w 3069"/>
                  <a:gd name="T95" fmla="*/ 1458 h 3729"/>
                  <a:gd name="T96" fmla="*/ 891 w 3069"/>
                  <a:gd name="T97" fmla="*/ 1882 h 3729"/>
                  <a:gd name="T98" fmla="*/ 674 w 3069"/>
                  <a:gd name="T99" fmla="*/ 2342 h 3729"/>
                  <a:gd name="T100" fmla="*/ 460 w 3069"/>
                  <a:gd name="T101" fmla="*/ 2795 h 3729"/>
                  <a:gd name="T102" fmla="*/ 270 w 3069"/>
                  <a:gd name="T103" fmla="*/ 3199 h 3729"/>
                  <a:gd name="T104" fmla="*/ 123 w 3069"/>
                  <a:gd name="T105" fmla="*/ 3513 h 3729"/>
                  <a:gd name="T106" fmla="*/ 39 w 3069"/>
                  <a:gd name="T107" fmla="*/ 3694 h 3729"/>
                  <a:gd name="T108" fmla="*/ 24 w 3069"/>
                  <a:gd name="T109" fmla="*/ 3724 h 3729"/>
                  <a:gd name="T110" fmla="*/ 17 w 3069"/>
                  <a:gd name="T111" fmla="*/ 3729 h 3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9" h="3729">
                    <a:moveTo>
                      <a:pt x="13" y="3729"/>
                    </a:moveTo>
                    <a:lnTo>
                      <a:pt x="11" y="3729"/>
                    </a:lnTo>
                    <a:lnTo>
                      <a:pt x="8" y="3728"/>
                    </a:lnTo>
                    <a:lnTo>
                      <a:pt x="3" y="3724"/>
                    </a:lnTo>
                    <a:lnTo>
                      <a:pt x="1" y="3720"/>
                    </a:lnTo>
                    <a:lnTo>
                      <a:pt x="0" y="3715"/>
                    </a:lnTo>
                    <a:lnTo>
                      <a:pt x="1" y="3710"/>
                    </a:lnTo>
                    <a:lnTo>
                      <a:pt x="14" y="3682"/>
                    </a:lnTo>
                    <a:lnTo>
                      <a:pt x="47" y="3611"/>
                    </a:lnTo>
                    <a:lnTo>
                      <a:pt x="98" y="3501"/>
                    </a:lnTo>
                    <a:lnTo>
                      <a:pt x="165" y="3359"/>
                    </a:lnTo>
                    <a:lnTo>
                      <a:pt x="245" y="3188"/>
                    </a:lnTo>
                    <a:lnTo>
                      <a:pt x="337" y="2995"/>
                    </a:lnTo>
                    <a:lnTo>
                      <a:pt x="435" y="2783"/>
                    </a:lnTo>
                    <a:lnTo>
                      <a:pt x="541" y="2560"/>
                    </a:lnTo>
                    <a:lnTo>
                      <a:pt x="649" y="2330"/>
                    </a:lnTo>
                    <a:lnTo>
                      <a:pt x="758" y="2099"/>
                    </a:lnTo>
                    <a:lnTo>
                      <a:pt x="867" y="1870"/>
                    </a:lnTo>
                    <a:lnTo>
                      <a:pt x="971" y="1651"/>
                    </a:lnTo>
                    <a:lnTo>
                      <a:pt x="1069" y="1446"/>
                    </a:lnTo>
                    <a:lnTo>
                      <a:pt x="1159" y="1260"/>
                    </a:lnTo>
                    <a:lnTo>
                      <a:pt x="1237" y="1099"/>
                    </a:lnTo>
                    <a:lnTo>
                      <a:pt x="1302" y="968"/>
                    </a:lnTo>
                    <a:lnTo>
                      <a:pt x="1334" y="910"/>
                    </a:lnTo>
                    <a:lnTo>
                      <a:pt x="1371" y="855"/>
                    </a:lnTo>
                    <a:lnTo>
                      <a:pt x="1414" y="801"/>
                    </a:lnTo>
                    <a:lnTo>
                      <a:pt x="1463" y="748"/>
                    </a:lnTo>
                    <a:lnTo>
                      <a:pt x="1516" y="699"/>
                    </a:lnTo>
                    <a:lnTo>
                      <a:pt x="1573" y="649"/>
                    </a:lnTo>
                    <a:lnTo>
                      <a:pt x="1634" y="602"/>
                    </a:lnTo>
                    <a:lnTo>
                      <a:pt x="1697" y="556"/>
                    </a:lnTo>
                    <a:lnTo>
                      <a:pt x="1763" y="512"/>
                    </a:lnTo>
                    <a:lnTo>
                      <a:pt x="1832" y="470"/>
                    </a:lnTo>
                    <a:lnTo>
                      <a:pt x="1904" y="430"/>
                    </a:lnTo>
                    <a:lnTo>
                      <a:pt x="1976" y="391"/>
                    </a:lnTo>
                    <a:lnTo>
                      <a:pt x="2049" y="353"/>
                    </a:lnTo>
                    <a:lnTo>
                      <a:pt x="2123" y="318"/>
                    </a:lnTo>
                    <a:lnTo>
                      <a:pt x="2197" y="284"/>
                    </a:lnTo>
                    <a:lnTo>
                      <a:pt x="2271" y="253"/>
                    </a:lnTo>
                    <a:lnTo>
                      <a:pt x="2344" y="223"/>
                    </a:lnTo>
                    <a:lnTo>
                      <a:pt x="2415" y="195"/>
                    </a:lnTo>
                    <a:lnTo>
                      <a:pt x="2486" y="169"/>
                    </a:lnTo>
                    <a:lnTo>
                      <a:pt x="2555" y="144"/>
                    </a:lnTo>
                    <a:lnTo>
                      <a:pt x="2620" y="121"/>
                    </a:lnTo>
                    <a:lnTo>
                      <a:pt x="2683" y="101"/>
                    </a:lnTo>
                    <a:lnTo>
                      <a:pt x="2743" y="81"/>
                    </a:lnTo>
                    <a:lnTo>
                      <a:pt x="2799" y="65"/>
                    </a:lnTo>
                    <a:lnTo>
                      <a:pt x="2850" y="50"/>
                    </a:lnTo>
                    <a:lnTo>
                      <a:pt x="2897" y="37"/>
                    </a:lnTo>
                    <a:lnTo>
                      <a:pt x="2938" y="25"/>
                    </a:lnTo>
                    <a:lnTo>
                      <a:pt x="2975" y="16"/>
                    </a:lnTo>
                    <a:lnTo>
                      <a:pt x="3005" y="9"/>
                    </a:lnTo>
                    <a:lnTo>
                      <a:pt x="3029" y="5"/>
                    </a:lnTo>
                    <a:lnTo>
                      <a:pt x="3046" y="1"/>
                    </a:lnTo>
                    <a:lnTo>
                      <a:pt x="3056" y="0"/>
                    </a:lnTo>
                    <a:lnTo>
                      <a:pt x="3061" y="1"/>
                    </a:lnTo>
                    <a:lnTo>
                      <a:pt x="3066" y="5"/>
                    </a:lnTo>
                    <a:lnTo>
                      <a:pt x="3068" y="9"/>
                    </a:lnTo>
                    <a:lnTo>
                      <a:pt x="3069" y="13"/>
                    </a:lnTo>
                    <a:lnTo>
                      <a:pt x="3068" y="19"/>
                    </a:lnTo>
                    <a:lnTo>
                      <a:pt x="3066" y="23"/>
                    </a:lnTo>
                    <a:lnTo>
                      <a:pt x="3061" y="26"/>
                    </a:lnTo>
                    <a:lnTo>
                      <a:pt x="3056" y="27"/>
                    </a:lnTo>
                    <a:lnTo>
                      <a:pt x="3045" y="28"/>
                    </a:lnTo>
                    <a:lnTo>
                      <a:pt x="3027" y="32"/>
                    </a:lnTo>
                    <a:lnTo>
                      <a:pt x="3002" y="37"/>
                    </a:lnTo>
                    <a:lnTo>
                      <a:pt x="2972" y="45"/>
                    </a:lnTo>
                    <a:lnTo>
                      <a:pt x="2893" y="65"/>
                    </a:lnTo>
                    <a:lnTo>
                      <a:pt x="2794" y="93"/>
                    </a:lnTo>
                    <a:lnTo>
                      <a:pt x="2739" y="110"/>
                    </a:lnTo>
                    <a:lnTo>
                      <a:pt x="2680" y="130"/>
                    </a:lnTo>
                    <a:lnTo>
                      <a:pt x="2618" y="150"/>
                    </a:lnTo>
                    <a:lnTo>
                      <a:pt x="2553" y="172"/>
                    </a:lnTo>
                    <a:lnTo>
                      <a:pt x="2486" y="197"/>
                    </a:lnTo>
                    <a:lnTo>
                      <a:pt x="2417" y="223"/>
                    </a:lnTo>
                    <a:lnTo>
                      <a:pt x="2345" y="251"/>
                    </a:lnTo>
                    <a:lnTo>
                      <a:pt x="2274" y="280"/>
                    </a:lnTo>
                    <a:lnTo>
                      <a:pt x="2202" y="311"/>
                    </a:lnTo>
                    <a:lnTo>
                      <a:pt x="2129" y="345"/>
                    </a:lnTo>
                    <a:lnTo>
                      <a:pt x="2056" y="379"/>
                    </a:lnTo>
                    <a:lnTo>
                      <a:pt x="1985" y="416"/>
                    </a:lnTo>
                    <a:lnTo>
                      <a:pt x="1913" y="454"/>
                    </a:lnTo>
                    <a:lnTo>
                      <a:pt x="1844" y="494"/>
                    </a:lnTo>
                    <a:lnTo>
                      <a:pt x="1777" y="536"/>
                    </a:lnTo>
                    <a:lnTo>
                      <a:pt x="1711" y="578"/>
                    </a:lnTo>
                    <a:lnTo>
                      <a:pt x="1650" y="623"/>
                    </a:lnTo>
                    <a:lnTo>
                      <a:pt x="1591" y="670"/>
                    </a:lnTo>
                    <a:lnTo>
                      <a:pt x="1534" y="717"/>
                    </a:lnTo>
                    <a:lnTo>
                      <a:pt x="1484" y="767"/>
                    </a:lnTo>
                    <a:lnTo>
                      <a:pt x="1436" y="817"/>
                    </a:lnTo>
                    <a:lnTo>
                      <a:pt x="1394" y="870"/>
                    </a:lnTo>
                    <a:lnTo>
                      <a:pt x="1357" y="924"/>
                    </a:lnTo>
                    <a:lnTo>
                      <a:pt x="1326" y="979"/>
                    </a:lnTo>
                    <a:lnTo>
                      <a:pt x="1261" y="1111"/>
                    </a:lnTo>
                    <a:lnTo>
                      <a:pt x="1182" y="1272"/>
                    </a:lnTo>
                    <a:lnTo>
                      <a:pt x="1094" y="1458"/>
                    </a:lnTo>
                    <a:lnTo>
                      <a:pt x="996" y="1663"/>
                    </a:lnTo>
                    <a:lnTo>
                      <a:pt x="891" y="1882"/>
                    </a:lnTo>
                    <a:lnTo>
                      <a:pt x="783" y="2111"/>
                    </a:lnTo>
                    <a:lnTo>
                      <a:pt x="674" y="2342"/>
                    </a:lnTo>
                    <a:lnTo>
                      <a:pt x="565" y="2572"/>
                    </a:lnTo>
                    <a:lnTo>
                      <a:pt x="460" y="2795"/>
                    </a:lnTo>
                    <a:lnTo>
                      <a:pt x="361" y="3006"/>
                    </a:lnTo>
                    <a:lnTo>
                      <a:pt x="270" y="3199"/>
                    </a:lnTo>
                    <a:lnTo>
                      <a:pt x="190" y="3370"/>
                    </a:lnTo>
                    <a:lnTo>
                      <a:pt x="123" y="3513"/>
                    </a:lnTo>
                    <a:lnTo>
                      <a:pt x="72" y="3623"/>
                    </a:lnTo>
                    <a:lnTo>
                      <a:pt x="39" y="3694"/>
                    </a:lnTo>
                    <a:lnTo>
                      <a:pt x="26" y="3721"/>
                    </a:lnTo>
                    <a:lnTo>
                      <a:pt x="24" y="3724"/>
                    </a:lnTo>
                    <a:lnTo>
                      <a:pt x="20" y="3728"/>
                    </a:lnTo>
                    <a:lnTo>
                      <a:pt x="17" y="3729"/>
                    </a:lnTo>
                    <a:lnTo>
                      <a:pt x="13" y="37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20"/>
              <p:cNvSpPr>
                <a:spLocks/>
              </p:cNvSpPr>
              <p:nvPr userDrawn="1"/>
            </p:nvSpPr>
            <p:spPr bwMode="auto">
              <a:xfrm>
                <a:off x="1208" y="3525"/>
                <a:ext cx="1705" cy="409"/>
              </a:xfrm>
              <a:custGeom>
                <a:avLst/>
                <a:gdLst>
                  <a:gd name="T0" fmla="*/ 2896 w 5115"/>
                  <a:gd name="T1" fmla="*/ 1220 h 1227"/>
                  <a:gd name="T2" fmla="*/ 2666 w 5115"/>
                  <a:gd name="T3" fmla="*/ 1191 h 1227"/>
                  <a:gd name="T4" fmla="*/ 2431 w 5115"/>
                  <a:gd name="T5" fmla="*/ 1134 h 1227"/>
                  <a:gd name="T6" fmla="*/ 2192 w 5115"/>
                  <a:gd name="T7" fmla="*/ 1044 h 1227"/>
                  <a:gd name="T8" fmla="*/ 1890 w 5115"/>
                  <a:gd name="T9" fmla="*/ 896 h 1227"/>
                  <a:gd name="T10" fmla="*/ 1616 w 5115"/>
                  <a:gd name="T11" fmla="*/ 742 h 1227"/>
                  <a:gd name="T12" fmla="*/ 1387 w 5115"/>
                  <a:gd name="T13" fmla="*/ 597 h 1227"/>
                  <a:gd name="T14" fmla="*/ 1193 w 5115"/>
                  <a:gd name="T15" fmla="*/ 466 h 1227"/>
                  <a:gd name="T16" fmla="*/ 951 w 5115"/>
                  <a:gd name="T17" fmla="*/ 301 h 1227"/>
                  <a:gd name="T18" fmla="*/ 799 w 5115"/>
                  <a:gd name="T19" fmla="*/ 207 h 1227"/>
                  <a:gd name="T20" fmla="*/ 675 w 5115"/>
                  <a:gd name="T21" fmla="*/ 145 h 1227"/>
                  <a:gd name="T22" fmla="*/ 545 w 5115"/>
                  <a:gd name="T23" fmla="*/ 95 h 1227"/>
                  <a:gd name="T24" fmla="*/ 404 w 5115"/>
                  <a:gd name="T25" fmla="*/ 59 h 1227"/>
                  <a:gd name="T26" fmla="*/ 245 w 5115"/>
                  <a:gd name="T27" fmla="*/ 36 h 1227"/>
                  <a:gd name="T28" fmla="*/ 64 w 5115"/>
                  <a:gd name="T29" fmla="*/ 27 h 1227"/>
                  <a:gd name="T30" fmla="*/ 1 w 5115"/>
                  <a:gd name="T31" fmla="*/ 20 h 1227"/>
                  <a:gd name="T32" fmla="*/ 8 w 5115"/>
                  <a:gd name="T33" fmla="*/ 2 h 1227"/>
                  <a:gd name="T34" fmla="*/ 160 w 5115"/>
                  <a:gd name="T35" fmla="*/ 4 h 1227"/>
                  <a:gd name="T36" fmla="*/ 332 w 5115"/>
                  <a:gd name="T37" fmla="*/ 20 h 1227"/>
                  <a:gd name="T38" fmla="*/ 487 w 5115"/>
                  <a:gd name="T39" fmla="*/ 51 h 1227"/>
                  <a:gd name="T40" fmla="*/ 625 w 5115"/>
                  <a:gd name="T41" fmla="*/ 95 h 1227"/>
                  <a:gd name="T42" fmla="*/ 754 w 5115"/>
                  <a:gd name="T43" fmla="*/ 153 h 1227"/>
                  <a:gd name="T44" fmla="*/ 877 w 5115"/>
                  <a:gd name="T45" fmla="*/ 222 h 1227"/>
                  <a:gd name="T46" fmla="*/ 1097 w 5115"/>
                  <a:gd name="T47" fmla="*/ 366 h 1227"/>
                  <a:gd name="T48" fmla="*/ 1301 w 5115"/>
                  <a:gd name="T49" fmla="*/ 507 h 1227"/>
                  <a:gd name="T50" fmla="*/ 1511 w 5115"/>
                  <a:gd name="T51" fmla="*/ 645 h 1227"/>
                  <a:gd name="T52" fmla="*/ 1760 w 5115"/>
                  <a:gd name="T53" fmla="*/ 794 h 1227"/>
                  <a:gd name="T54" fmla="*/ 2059 w 5115"/>
                  <a:gd name="T55" fmla="*/ 953 h 1227"/>
                  <a:gd name="T56" fmla="*/ 2358 w 5115"/>
                  <a:gd name="T57" fmla="*/ 1081 h 1227"/>
                  <a:gd name="T58" fmla="*/ 2638 w 5115"/>
                  <a:gd name="T59" fmla="*/ 1158 h 1227"/>
                  <a:gd name="T60" fmla="*/ 2912 w 5115"/>
                  <a:gd name="T61" fmla="*/ 1194 h 1227"/>
                  <a:gd name="T62" fmla="*/ 3180 w 5115"/>
                  <a:gd name="T63" fmla="*/ 1196 h 1227"/>
                  <a:gd name="T64" fmla="*/ 3441 w 5115"/>
                  <a:gd name="T65" fmla="*/ 1172 h 1227"/>
                  <a:gd name="T66" fmla="*/ 3695 w 5115"/>
                  <a:gd name="T67" fmla="*/ 1127 h 1227"/>
                  <a:gd name="T68" fmla="*/ 3941 w 5115"/>
                  <a:gd name="T69" fmla="*/ 1069 h 1227"/>
                  <a:gd name="T70" fmla="*/ 4296 w 5115"/>
                  <a:gd name="T71" fmla="*/ 972 h 1227"/>
                  <a:gd name="T72" fmla="*/ 4526 w 5115"/>
                  <a:gd name="T73" fmla="*/ 910 h 1227"/>
                  <a:gd name="T74" fmla="*/ 4746 w 5115"/>
                  <a:gd name="T75" fmla="*/ 861 h 1227"/>
                  <a:gd name="T76" fmla="*/ 4955 w 5115"/>
                  <a:gd name="T77" fmla="*/ 832 h 1227"/>
                  <a:gd name="T78" fmla="*/ 5107 w 5115"/>
                  <a:gd name="T79" fmla="*/ 829 h 1227"/>
                  <a:gd name="T80" fmla="*/ 5114 w 5115"/>
                  <a:gd name="T81" fmla="*/ 848 h 1227"/>
                  <a:gd name="T82" fmla="*/ 5053 w 5115"/>
                  <a:gd name="T83" fmla="*/ 854 h 1227"/>
                  <a:gd name="T84" fmla="*/ 4854 w 5115"/>
                  <a:gd name="T85" fmla="*/ 870 h 1227"/>
                  <a:gd name="T86" fmla="*/ 4642 w 5115"/>
                  <a:gd name="T87" fmla="*/ 910 h 1227"/>
                  <a:gd name="T88" fmla="*/ 4418 w 5115"/>
                  <a:gd name="T89" fmla="*/ 967 h 1227"/>
                  <a:gd name="T90" fmla="*/ 4177 w 5115"/>
                  <a:gd name="T91" fmla="*/ 1033 h 1227"/>
                  <a:gd name="T92" fmla="*/ 3894 w 5115"/>
                  <a:gd name="T93" fmla="*/ 1109 h 1227"/>
                  <a:gd name="T94" fmla="*/ 3601 w 5115"/>
                  <a:gd name="T95" fmla="*/ 1173 h 1227"/>
                  <a:gd name="T96" fmla="*/ 3299 w 5115"/>
                  <a:gd name="T97" fmla="*/ 1216 h 1227"/>
                  <a:gd name="T98" fmla="*/ 3104 w 5115"/>
                  <a:gd name="T99" fmla="*/ 1226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15" h="1227">
                    <a:moveTo>
                      <a:pt x="3064" y="1227"/>
                    </a:moveTo>
                    <a:lnTo>
                      <a:pt x="3008" y="1226"/>
                    </a:lnTo>
                    <a:lnTo>
                      <a:pt x="2952" y="1223"/>
                    </a:lnTo>
                    <a:lnTo>
                      <a:pt x="2896" y="1220"/>
                    </a:lnTo>
                    <a:lnTo>
                      <a:pt x="2839" y="1215"/>
                    </a:lnTo>
                    <a:lnTo>
                      <a:pt x="2781" y="1208"/>
                    </a:lnTo>
                    <a:lnTo>
                      <a:pt x="2723" y="1201"/>
                    </a:lnTo>
                    <a:lnTo>
                      <a:pt x="2666" y="1191"/>
                    </a:lnTo>
                    <a:lnTo>
                      <a:pt x="2608" y="1179"/>
                    </a:lnTo>
                    <a:lnTo>
                      <a:pt x="2549" y="1166"/>
                    </a:lnTo>
                    <a:lnTo>
                      <a:pt x="2490" y="1151"/>
                    </a:lnTo>
                    <a:lnTo>
                      <a:pt x="2431" y="1134"/>
                    </a:lnTo>
                    <a:lnTo>
                      <a:pt x="2371" y="1114"/>
                    </a:lnTo>
                    <a:lnTo>
                      <a:pt x="2312" y="1094"/>
                    </a:lnTo>
                    <a:lnTo>
                      <a:pt x="2252" y="1070"/>
                    </a:lnTo>
                    <a:lnTo>
                      <a:pt x="2192" y="1044"/>
                    </a:lnTo>
                    <a:lnTo>
                      <a:pt x="2131" y="1017"/>
                    </a:lnTo>
                    <a:lnTo>
                      <a:pt x="2047" y="976"/>
                    </a:lnTo>
                    <a:lnTo>
                      <a:pt x="1967" y="936"/>
                    </a:lnTo>
                    <a:lnTo>
                      <a:pt x="1890" y="896"/>
                    </a:lnTo>
                    <a:lnTo>
                      <a:pt x="1817" y="856"/>
                    </a:lnTo>
                    <a:lnTo>
                      <a:pt x="1747" y="818"/>
                    </a:lnTo>
                    <a:lnTo>
                      <a:pt x="1680" y="780"/>
                    </a:lnTo>
                    <a:lnTo>
                      <a:pt x="1616" y="742"/>
                    </a:lnTo>
                    <a:lnTo>
                      <a:pt x="1555" y="704"/>
                    </a:lnTo>
                    <a:lnTo>
                      <a:pt x="1496" y="669"/>
                    </a:lnTo>
                    <a:lnTo>
                      <a:pt x="1440" y="633"/>
                    </a:lnTo>
                    <a:lnTo>
                      <a:pt x="1387" y="597"/>
                    </a:lnTo>
                    <a:lnTo>
                      <a:pt x="1336" y="563"/>
                    </a:lnTo>
                    <a:lnTo>
                      <a:pt x="1286" y="529"/>
                    </a:lnTo>
                    <a:lnTo>
                      <a:pt x="1238" y="497"/>
                    </a:lnTo>
                    <a:lnTo>
                      <a:pt x="1193" y="466"/>
                    </a:lnTo>
                    <a:lnTo>
                      <a:pt x="1148" y="434"/>
                    </a:lnTo>
                    <a:lnTo>
                      <a:pt x="1080" y="387"/>
                    </a:lnTo>
                    <a:lnTo>
                      <a:pt x="1015" y="343"/>
                    </a:lnTo>
                    <a:lnTo>
                      <a:pt x="951" y="301"/>
                    </a:lnTo>
                    <a:lnTo>
                      <a:pt x="890" y="261"/>
                    </a:lnTo>
                    <a:lnTo>
                      <a:pt x="859" y="242"/>
                    </a:lnTo>
                    <a:lnTo>
                      <a:pt x="829" y="224"/>
                    </a:lnTo>
                    <a:lnTo>
                      <a:pt x="799" y="207"/>
                    </a:lnTo>
                    <a:lnTo>
                      <a:pt x="768" y="190"/>
                    </a:lnTo>
                    <a:lnTo>
                      <a:pt x="737" y="174"/>
                    </a:lnTo>
                    <a:lnTo>
                      <a:pt x="706" y="159"/>
                    </a:lnTo>
                    <a:lnTo>
                      <a:pt x="675" y="145"/>
                    </a:lnTo>
                    <a:lnTo>
                      <a:pt x="643" y="131"/>
                    </a:lnTo>
                    <a:lnTo>
                      <a:pt x="611" y="118"/>
                    </a:lnTo>
                    <a:lnTo>
                      <a:pt x="579" y="106"/>
                    </a:lnTo>
                    <a:lnTo>
                      <a:pt x="545" y="95"/>
                    </a:lnTo>
                    <a:lnTo>
                      <a:pt x="512" y="85"/>
                    </a:lnTo>
                    <a:lnTo>
                      <a:pt x="476" y="75"/>
                    </a:lnTo>
                    <a:lnTo>
                      <a:pt x="440" y="66"/>
                    </a:lnTo>
                    <a:lnTo>
                      <a:pt x="404" y="59"/>
                    </a:lnTo>
                    <a:lnTo>
                      <a:pt x="366" y="51"/>
                    </a:lnTo>
                    <a:lnTo>
                      <a:pt x="327" y="46"/>
                    </a:lnTo>
                    <a:lnTo>
                      <a:pt x="286" y="40"/>
                    </a:lnTo>
                    <a:lnTo>
                      <a:pt x="245" y="36"/>
                    </a:lnTo>
                    <a:lnTo>
                      <a:pt x="202" y="33"/>
                    </a:lnTo>
                    <a:lnTo>
                      <a:pt x="158" y="30"/>
                    </a:lnTo>
                    <a:lnTo>
                      <a:pt x="111" y="28"/>
                    </a:lnTo>
                    <a:lnTo>
                      <a:pt x="64" y="27"/>
                    </a:lnTo>
                    <a:lnTo>
                      <a:pt x="14" y="27"/>
                    </a:lnTo>
                    <a:lnTo>
                      <a:pt x="8" y="26"/>
                    </a:lnTo>
                    <a:lnTo>
                      <a:pt x="4" y="24"/>
                    </a:lnTo>
                    <a:lnTo>
                      <a:pt x="1" y="20"/>
                    </a:lnTo>
                    <a:lnTo>
                      <a:pt x="0" y="14"/>
                    </a:lnTo>
                    <a:lnTo>
                      <a:pt x="1" y="9"/>
                    </a:lnTo>
                    <a:lnTo>
                      <a:pt x="4" y="5"/>
                    </a:lnTo>
                    <a:lnTo>
                      <a:pt x="8" y="2"/>
                    </a:lnTo>
                    <a:lnTo>
                      <a:pt x="14" y="0"/>
                    </a:lnTo>
                    <a:lnTo>
                      <a:pt x="64" y="0"/>
                    </a:lnTo>
                    <a:lnTo>
                      <a:pt x="112" y="2"/>
                    </a:lnTo>
                    <a:lnTo>
                      <a:pt x="160" y="4"/>
                    </a:lnTo>
                    <a:lnTo>
                      <a:pt x="205" y="6"/>
                    </a:lnTo>
                    <a:lnTo>
                      <a:pt x="249" y="10"/>
                    </a:lnTo>
                    <a:lnTo>
                      <a:pt x="291" y="14"/>
                    </a:lnTo>
                    <a:lnTo>
                      <a:pt x="332" y="20"/>
                    </a:lnTo>
                    <a:lnTo>
                      <a:pt x="373" y="26"/>
                    </a:lnTo>
                    <a:lnTo>
                      <a:pt x="412" y="34"/>
                    </a:lnTo>
                    <a:lnTo>
                      <a:pt x="449" y="41"/>
                    </a:lnTo>
                    <a:lnTo>
                      <a:pt x="487" y="51"/>
                    </a:lnTo>
                    <a:lnTo>
                      <a:pt x="522" y="61"/>
                    </a:lnTo>
                    <a:lnTo>
                      <a:pt x="557" y="72"/>
                    </a:lnTo>
                    <a:lnTo>
                      <a:pt x="592" y="84"/>
                    </a:lnTo>
                    <a:lnTo>
                      <a:pt x="625" y="95"/>
                    </a:lnTo>
                    <a:lnTo>
                      <a:pt x="657" y="108"/>
                    </a:lnTo>
                    <a:lnTo>
                      <a:pt x="690" y="122"/>
                    </a:lnTo>
                    <a:lnTo>
                      <a:pt x="722" y="138"/>
                    </a:lnTo>
                    <a:lnTo>
                      <a:pt x="754" y="153"/>
                    </a:lnTo>
                    <a:lnTo>
                      <a:pt x="785" y="169"/>
                    </a:lnTo>
                    <a:lnTo>
                      <a:pt x="815" y="186"/>
                    </a:lnTo>
                    <a:lnTo>
                      <a:pt x="846" y="203"/>
                    </a:lnTo>
                    <a:lnTo>
                      <a:pt x="877" y="222"/>
                    </a:lnTo>
                    <a:lnTo>
                      <a:pt x="908" y="240"/>
                    </a:lnTo>
                    <a:lnTo>
                      <a:pt x="970" y="280"/>
                    </a:lnTo>
                    <a:lnTo>
                      <a:pt x="1032" y="322"/>
                    </a:lnTo>
                    <a:lnTo>
                      <a:pt x="1097" y="366"/>
                    </a:lnTo>
                    <a:lnTo>
                      <a:pt x="1164" y="412"/>
                    </a:lnTo>
                    <a:lnTo>
                      <a:pt x="1208" y="443"/>
                    </a:lnTo>
                    <a:lnTo>
                      <a:pt x="1254" y="474"/>
                    </a:lnTo>
                    <a:lnTo>
                      <a:pt x="1301" y="507"/>
                    </a:lnTo>
                    <a:lnTo>
                      <a:pt x="1351" y="540"/>
                    </a:lnTo>
                    <a:lnTo>
                      <a:pt x="1401" y="575"/>
                    </a:lnTo>
                    <a:lnTo>
                      <a:pt x="1455" y="609"/>
                    </a:lnTo>
                    <a:lnTo>
                      <a:pt x="1511" y="645"/>
                    </a:lnTo>
                    <a:lnTo>
                      <a:pt x="1569" y="682"/>
                    </a:lnTo>
                    <a:lnTo>
                      <a:pt x="1629" y="718"/>
                    </a:lnTo>
                    <a:lnTo>
                      <a:pt x="1693" y="756"/>
                    </a:lnTo>
                    <a:lnTo>
                      <a:pt x="1760" y="794"/>
                    </a:lnTo>
                    <a:lnTo>
                      <a:pt x="1830" y="833"/>
                    </a:lnTo>
                    <a:lnTo>
                      <a:pt x="1902" y="873"/>
                    </a:lnTo>
                    <a:lnTo>
                      <a:pt x="1979" y="912"/>
                    </a:lnTo>
                    <a:lnTo>
                      <a:pt x="2059" y="953"/>
                    </a:lnTo>
                    <a:lnTo>
                      <a:pt x="2143" y="992"/>
                    </a:lnTo>
                    <a:lnTo>
                      <a:pt x="2215" y="1025"/>
                    </a:lnTo>
                    <a:lnTo>
                      <a:pt x="2287" y="1055"/>
                    </a:lnTo>
                    <a:lnTo>
                      <a:pt x="2358" y="1081"/>
                    </a:lnTo>
                    <a:lnTo>
                      <a:pt x="2428" y="1105"/>
                    </a:lnTo>
                    <a:lnTo>
                      <a:pt x="2499" y="1125"/>
                    </a:lnTo>
                    <a:lnTo>
                      <a:pt x="2569" y="1143"/>
                    </a:lnTo>
                    <a:lnTo>
                      <a:pt x="2638" y="1158"/>
                    </a:lnTo>
                    <a:lnTo>
                      <a:pt x="2708" y="1171"/>
                    </a:lnTo>
                    <a:lnTo>
                      <a:pt x="2776" y="1180"/>
                    </a:lnTo>
                    <a:lnTo>
                      <a:pt x="2845" y="1189"/>
                    </a:lnTo>
                    <a:lnTo>
                      <a:pt x="2912" y="1194"/>
                    </a:lnTo>
                    <a:lnTo>
                      <a:pt x="2980" y="1198"/>
                    </a:lnTo>
                    <a:lnTo>
                      <a:pt x="3047" y="1199"/>
                    </a:lnTo>
                    <a:lnTo>
                      <a:pt x="3114" y="1199"/>
                    </a:lnTo>
                    <a:lnTo>
                      <a:pt x="3180" y="1196"/>
                    </a:lnTo>
                    <a:lnTo>
                      <a:pt x="3246" y="1192"/>
                    </a:lnTo>
                    <a:lnTo>
                      <a:pt x="3312" y="1187"/>
                    </a:lnTo>
                    <a:lnTo>
                      <a:pt x="3376" y="1180"/>
                    </a:lnTo>
                    <a:lnTo>
                      <a:pt x="3441" y="1172"/>
                    </a:lnTo>
                    <a:lnTo>
                      <a:pt x="3505" y="1162"/>
                    </a:lnTo>
                    <a:lnTo>
                      <a:pt x="3569" y="1151"/>
                    </a:lnTo>
                    <a:lnTo>
                      <a:pt x="3632" y="1139"/>
                    </a:lnTo>
                    <a:lnTo>
                      <a:pt x="3695" y="1127"/>
                    </a:lnTo>
                    <a:lnTo>
                      <a:pt x="3757" y="1113"/>
                    </a:lnTo>
                    <a:lnTo>
                      <a:pt x="3819" y="1099"/>
                    </a:lnTo>
                    <a:lnTo>
                      <a:pt x="3880" y="1084"/>
                    </a:lnTo>
                    <a:lnTo>
                      <a:pt x="3941" y="1069"/>
                    </a:lnTo>
                    <a:lnTo>
                      <a:pt x="4002" y="1053"/>
                    </a:lnTo>
                    <a:lnTo>
                      <a:pt x="4120" y="1021"/>
                    </a:lnTo>
                    <a:lnTo>
                      <a:pt x="4238" y="988"/>
                    </a:lnTo>
                    <a:lnTo>
                      <a:pt x="4296" y="972"/>
                    </a:lnTo>
                    <a:lnTo>
                      <a:pt x="4355" y="956"/>
                    </a:lnTo>
                    <a:lnTo>
                      <a:pt x="4412" y="940"/>
                    </a:lnTo>
                    <a:lnTo>
                      <a:pt x="4469" y="924"/>
                    </a:lnTo>
                    <a:lnTo>
                      <a:pt x="4526" y="910"/>
                    </a:lnTo>
                    <a:lnTo>
                      <a:pt x="4581" y="896"/>
                    </a:lnTo>
                    <a:lnTo>
                      <a:pt x="4638" y="883"/>
                    </a:lnTo>
                    <a:lnTo>
                      <a:pt x="4692" y="872"/>
                    </a:lnTo>
                    <a:lnTo>
                      <a:pt x="4746" y="861"/>
                    </a:lnTo>
                    <a:lnTo>
                      <a:pt x="4800" y="851"/>
                    </a:lnTo>
                    <a:lnTo>
                      <a:pt x="4851" y="844"/>
                    </a:lnTo>
                    <a:lnTo>
                      <a:pt x="4903" y="837"/>
                    </a:lnTo>
                    <a:lnTo>
                      <a:pt x="4955" y="832"/>
                    </a:lnTo>
                    <a:lnTo>
                      <a:pt x="5005" y="828"/>
                    </a:lnTo>
                    <a:lnTo>
                      <a:pt x="5054" y="827"/>
                    </a:lnTo>
                    <a:lnTo>
                      <a:pt x="5102" y="828"/>
                    </a:lnTo>
                    <a:lnTo>
                      <a:pt x="5107" y="829"/>
                    </a:lnTo>
                    <a:lnTo>
                      <a:pt x="5112" y="833"/>
                    </a:lnTo>
                    <a:lnTo>
                      <a:pt x="5115" y="837"/>
                    </a:lnTo>
                    <a:lnTo>
                      <a:pt x="5115" y="842"/>
                    </a:lnTo>
                    <a:lnTo>
                      <a:pt x="5114" y="848"/>
                    </a:lnTo>
                    <a:lnTo>
                      <a:pt x="5112" y="852"/>
                    </a:lnTo>
                    <a:lnTo>
                      <a:pt x="5106" y="854"/>
                    </a:lnTo>
                    <a:lnTo>
                      <a:pt x="5101" y="855"/>
                    </a:lnTo>
                    <a:lnTo>
                      <a:pt x="5053" y="854"/>
                    </a:lnTo>
                    <a:lnTo>
                      <a:pt x="5005" y="855"/>
                    </a:lnTo>
                    <a:lnTo>
                      <a:pt x="4956" y="859"/>
                    </a:lnTo>
                    <a:lnTo>
                      <a:pt x="4905" y="864"/>
                    </a:lnTo>
                    <a:lnTo>
                      <a:pt x="4854" y="870"/>
                    </a:lnTo>
                    <a:lnTo>
                      <a:pt x="4802" y="878"/>
                    </a:lnTo>
                    <a:lnTo>
                      <a:pt x="4749" y="888"/>
                    </a:lnTo>
                    <a:lnTo>
                      <a:pt x="4696" y="899"/>
                    </a:lnTo>
                    <a:lnTo>
                      <a:pt x="4642" y="910"/>
                    </a:lnTo>
                    <a:lnTo>
                      <a:pt x="4587" y="923"/>
                    </a:lnTo>
                    <a:lnTo>
                      <a:pt x="4531" y="936"/>
                    </a:lnTo>
                    <a:lnTo>
                      <a:pt x="4475" y="951"/>
                    </a:lnTo>
                    <a:lnTo>
                      <a:pt x="4418" y="967"/>
                    </a:lnTo>
                    <a:lnTo>
                      <a:pt x="4361" y="982"/>
                    </a:lnTo>
                    <a:lnTo>
                      <a:pt x="4304" y="998"/>
                    </a:lnTo>
                    <a:lnTo>
                      <a:pt x="4246" y="1014"/>
                    </a:lnTo>
                    <a:lnTo>
                      <a:pt x="4177" y="1033"/>
                    </a:lnTo>
                    <a:lnTo>
                      <a:pt x="4107" y="1053"/>
                    </a:lnTo>
                    <a:lnTo>
                      <a:pt x="4036" y="1071"/>
                    </a:lnTo>
                    <a:lnTo>
                      <a:pt x="3966" y="1091"/>
                    </a:lnTo>
                    <a:lnTo>
                      <a:pt x="3894" y="1109"/>
                    </a:lnTo>
                    <a:lnTo>
                      <a:pt x="3821" y="1126"/>
                    </a:lnTo>
                    <a:lnTo>
                      <a:pt x="3749" y="1143"/>
                    </a:lnTo>
                    <a:lnTo>
                      <a:pt x="3676" y="1159"/>
                    </a:lnTo>
                    <a:lnTo>
                      <a:pt x="3601" y="1173"/>
                    </a:lnTo>
                    <a:lnTo>
                      <a:pt x="3527" y="1186"/>
                    </a:lnTo>
                    <a:lnTo>
                      <a:pt x="3451" y="1198"/>
                    </a:lnTo>
                    <a:lnTo>
                      <a:pt x="3375" y="1207"/>
                    </a:lnTo>
                    <a:lnTo>
                      <a:pt x="3299" y="1216"/>
                    </a:lnTo>
                    <a:lnTo>
                      <a:pt x="3221" y="1221"/>
                    </a:lnTo>
                    <a:lnTo>
                      <a:pt x="3182" y="1223"/>
                    </a:lnTo>
                    <a:lnTo>
                      <a:pt x="3143" y="1226"/>
                    </a:lnTo>
                    <a:lnTo>
                      <a:pt x="3104" y="1226"/>
                    </a:lnTo>
                    <a:lnTo>
                      <a:pt x="3064" y="1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21"/>
              <p:cNvSpPr>
                <a:spLocks/>
              </p:cNvSpPr>
              <p:nvPr userDrawn="1"/>
            </p:nvSpPr>
            <p:spPr bwMode="auto">
              <a:xfrm>
                <a:off x="1211" y="3469"/>
                <a:ext cx="1667" cy="302"/>
              </a:xfrm>
              <a:custGeom>
                <a:avLst/>
                <a:gdLst>
                  <a:gd name="T0" fmla="*/ 2665 w 5002"/>
                  <a:gd name="T1" fmla="*/ 901 h 906"/>
                  <a:gd name="T2" fmla="*/ 2470 w 5002"/>
                  <a:gd name="T3" fmla="*/ 879 h 906"/>
                  <a:gd name="T4" fmla="*/ 2270 w 5002"/>
                  <a:gd name="T5" fmla="*/ 838 h 906"/>
                  <a:gd name="T6" fmla="*/ 2079 w 5002"/>
                  <a:gd name="T7" fmla="*/ 785 h 906"/>
                  <a:gd name="T8" fmla="*/ 1898 w 5002"/>
                  <a:gd name="T9" fmla="*/ 720 h 906"/>
                  <a:gd name="T10" fmla="*/ 1725 w 5002"/>
                  <a:gd name="T11" fmla="*/ 648 h 906"/>
                  <a:gd name="T12" fmla="*/ 1439 w 5002"/>
                  <a:gd name="T13" fmla="*/ 508 h 906"/>
                  <a:gd name="T14" fmla="*/ 1129 w 5002"/>
                  <a:gd name="T15" fmla="*/ 343 h 906"/>
                  <a:gd name="T16" fmla="*/ 823 w 5002"/>
                  <a:gd name="T17" fmla="*/ 188 h 906"/>
                  <a:gd name="T18" fmla="*/ 638 w 5002"/>
                  <a:gd name="T19" fmla="*/ 110 h 906"/>
                  <a:gd name="T20" fmla="*/ 492 w 5002"/>
                  <a:gd name="T21" fmla="*/ 64 h 906"/>
                  <a:gd name="T22" fmla="*/ 347 w 5002"/>
                  <a:gd name="T23" fmla="*/ 35 h 906"/>
                  <a:gd name="T24" fmla="*/ 201 w 5002"/>
                  <a:gd name="T25" fmla="*/ 27 h 906"/>
                  <a:gd name="T26" fmla="*/ 53 w 5002"/>
                  <a:gd name="T27" fmla="*/ 42 h 906"/>
                  <a:gd name="T28" fmla="*/ 3 w 5002"/>
                  <a:gd name="T29" fmla="*/ 44 h 906"/>
                  <a:gd name="T30" fmla="*/ 6 w 5002"/>
                  <a:gd name="T31" fmla="*/ 26 h 906"/>
                  <a:gd name="T32" fmla="*/ 124 w 5002"/>
                  <a:gd name="T33" fmla="*/ 4 h 906"/>
                  <a:gd name="T34" fmla="*/ 274 w 5002"/>
                  <a:gd name="T35" fmla="*/ 1 h 906"/>
                  <a:gd name="T36" fmla="*/ 422 w 5002"/>
                  <a:gd name="T37" fmla="*/ 19 h 906"/>
                  <a:gd name="T38" fmla="*/ 570 w 5002"/>
                  <a:gd name="T39" fmla="*/ 58 h 906"/>
                  <a:gd name="T40" fmla="*/ 719 w 5002"/>
                  <a:gd name="T41" fmla="*/ 112 h 906"/>
                  <a:gd name="T42" fmla="*/ 984 w 5002"/>
                  <a:gd name="T43" fmla="*/ 236 h 906"/>
                  <a:gd name="T44" fmla="*/ 1296 w 5002"/>
                  <a:gd name="T45" fmla="*/ 403 h 906"/>
                  <a:gd name="T46" fmla="*/ 1610 w 5002"/>
                  <a:gd name="T47" fmla="*/ 565 h 906"/>
                  <a:gd name="T48" fmla="*/ 1820 w 5002"/>
                  <a:gd name="T49" fmla="*/ 660 h 906"/>
                  <a:gd name="T50" fmla="*/ 1996 w 5002"/>
                  <a:gd name="T51" fmla="*/ 728 h 906"/>
                  <a:gd name="T52" fmla="*/ 2180 w 5002"/>
                  <a:gd name="T53" fmla="*/ 787 h 906"/>
                  <a:gd name="T54" fmla="*/ 2374 w 5002"/>
                  <a:gd name="T55" fmla="*/ 833 h 906"/>
                  <a:gd name="T56" fmla="*/ 2577 w 5002"/>
                  <a:gd name="T57" fmla="*/ 866 h 906"/>
                  <a:gd name="T58" fmla="*/ 2721 w 5002"/>
                  <a:gd name="T59" fmla="*/ 877 h 906"/>
                  <a:gd name="T60" fmla="*/ 2930 w 5002"/>
                  <a:gd name="T61" fmla="*/ 872 h 906"/>
                  <a:gd name="T62" fmla="*/ 3165 w 5002"/>
                  <a:gd name="T63" fmla="*/ 842 h 906"/>
                  <a:gd name="T64" fmla="*/ 3398 w 5002"/>
                  <a:gd name="T65" fmla="*/ 795 h 906"/>
                  <a:gd name="T66" fmla="*/ 3655 w 5002"/>
                  <a:gd name="T67" fmla="*/ 734 h 906"/>
                  <a:gd name="T68" fmla="*/ 3956 w 5002"/>
                  <a:gd name="T69" fmla="*/ 669 h 906"/>
                  <a:gd name="T70" fmla="*/ 4130 w 5002"/>
                  <a:gd name="T71" fmla="*/ 644 h 906"/>
                  <a:gd name="T72" fmla="*/ 4307 w 5002"/>
                  <a:gd name="T73" fmla="*/ 632 h 906"/>
                  <a:gd name="T74" fmla="*/ 4486 w 5002"/>
                  <a:gd name="T75" fmla="*/ 636 h 906"/>
                  <a:gd name="T76" fmla="*/ 4669 w 5002"/>
                  <a:gd name="T77" fmla="*/ 662 h 906"/>
                  <a:gd name="T78" fmla="*/ 4853 w 5002"/>
                  <a:gd name="T79" fmla="*/ 714 h 906"/>
                  <a:gd name="T80" fmla="*/ 4999 w 5002"/>
                  <a:gd name="T81" fmla="*/ 774 h 906"/>
                  <a:gd name="T82" fmla="*/ 4998 w 5002"/>
                  <a:gd name="T83" fmla="*/ 793 h 906"/>
                  <a:gd name="T84" fmla="*/ 4936 w 5002"/>
                  <a:gd name="T85" fmla="*/ 775 h 906"/>
                  <a:gd name="T86" fmla="*/ 4753 w 5002"/>
                  <a:gd name="T87" fmla="*/ 710 h 906"/>
                  <a:gd name="T88" fmla="*/ 4571 w 5002"/>
                  <a:gd name="T89" fmla="*/ 673 h 906"/>
                  <a:gd name="T90" fmla="*/ 4393 w 5002"/>
                  <a:gd name="T91" fmla="*/ 659 h 906"/>
                  <a:gd name="T92" fmla="*/ 4217 w 5002"/>
                  <a:gd name="T93" fmla="*/ 663 h 906"/>
                  <a:gd name="T94" fmla="*/ 4044 w 5002"/>
                  <a:gd name="T95" fmla="*/ 682 h 906"/>
                  <a:gd name="T96" fmla="*/ 3830 w 5002"/>
                  <a:gd name="T97" fmla="*/ 722 h 906"/>
                  <a:gd name="T98" fmla="*/ 3527 w 5002"/>
                  <a:gd name="T99" fmla="*/ 792 h 906"/>
                  <a:gd name="T100" fmla="*/ 3333 w 5002"/>
                  <a:gd name="T101" fmla="*/ 837 h 906"/>
                  <a:gd name="T102" fmla="*/ 3134 w 5002"/>
                  <a:gd name="T103" fmla="*/ 874 h 906"/>
                  <a:gd name="T104" fmla="*/ 2933 w 5002"/>
                  <a:gd name="T105" fmla="*/ 899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02" h="906">
                    <a:moveTo>
                      <a:pt x="2781" y="906"/>
                    </a:moveTo>
                    <a:lnTo>
                      <a:pt x="2742" y="905"/>
                    </a:lnTo>
                    <a:lnTo>
                      <a:pt x="2704" y="904"/>
                    </a:lnTo>
                    <a:lnTo>
                      <a:pt x="2665" y="901"/>
                    </a:lnTo>
                    <a:lnTo>
                      <a:pt x="2628" y="898"/>
                    </a:lnTo>
                    <a:lnTo>
                      <a:pt x="2574" y="893"/>
                    </a:lnTo>
                    <a:lnTo>
                      <a:pt x="2522" y="886"/>
                    </a:lnTo>
                    <a:lnTo>
                      <a:pt x="2470" y="879"/>
                    </a:lnTo>
                    <a:lnTo>
                      <a:pt x="2419" y="870"/>
                    </a:lnTo>
                    <a:lnTo>
                      <a:pt x="2369" y="860"/>
                    </a:lnTo>
                    <a:lnTo>
                      <a:pt x="2319" y="850"/>
                    </a:lnTo>
                    <a:lnTo>
                      <a:pt x="2270" y="838"/>
                    </a:lnTo>
                    <a:lnTo>
                      <a:pt x="2222" y="826"/>
                    </a:lnTo>
                    <a:lnTo>
                      <a:pt x="2173" y="813"/>
                    </a:lnTo>
                    <a:lnTo>
                      <a:pt x="2127" y="799"/>
                    </a:lnTo>
                    <a:lnTo>
                      <a:pt x="2079" y="785"/>
                    </a:lnTo>
                    <a:lnTo>
                      <a:pt x="2034" y="770"/>
                    </a:lnTo>
                    <a:lnTo>
                      <a:pt x="1987" y="754"/>
                    </a:lnTo>
                    <a:lnTo>
                      <a:pt x="1942" y="737"/>
                    </a:lnTo>
                    <a:lnTo>
                      <a:pt x="1898" y="720"/>
                    </a:lnTo>
                    <a:lnTo>
                      <a:pt x="1853" y="703"/>
                    </a:lnTo>
                    <a:lnTo>
                      <a:pt x="1810" y="684"/>
                    </a:lnTo>
                    <a:lnTo>
                      <a:pt x="1767" y="666"/>
                    </a:lnTo>
                    <a:lnTo>
                      <a:pt x="1725" y="648"/>
                    </a:lnTo>
                    <a:lnTo>
                      <a:pt x="1683" y="628"/>
                    </a:lnTo>
                    <a:lnTo>
                      <a:pt x="1600" y="589"/>
                    </a:lnTo>
                    <a:lnTo>
                      <a:pt x="1519" y="549"/>
                    </a:lnTo>
                    <a:lnTo>
                      <a:pt x="1439" y="508"/>
                    </a:lnTo>
                    <a:lnTo>
                      <a:pt x="1361" y="467"/>
                    </a:lnTo>
                    <a:lnTo>
                      <a:pt x="1284" y="426"/>
                    </a:lnTo>
                    <a:lnTo>
                      <a:pt x="1209" y="386"/>
                    </a:lnTo>
                    <a:lnTo>
                      <a:pt x="1129" y="343"/>
                    </a:lnTo>
                    <a:lnTo>
                      <a:pt x="1051" y="302"/>
                    </a:lnTo>
                    <a:lnTo>
                      <a:pt x="974" y="261"/>
                    </a:lnTo>
                    <a:lnTo>
                      <a:pt x="898" y="223"/>
                    </a:lnTo>
                    <a:lnTo>
                      <a:pt x="823" y="188"/>
                    </a:lnTo>
                    <a:lnTo>
                      <a:pt x="749" y="154"/>
                    </a:lnTo>
                    <a:lnTo>
                      <a:pt x="712" y="138"/>
                    </a:lnTo>
                    <a:lnTo>
                      <a:pt x="675" y="124"/>
                    </a:lnTo>
                    <a:lnTo>
                      <a:pt x="638" y="110"/>
                    </a:lnTo>
                    <a:lnTo>
                      <a:pt x="602" y="97"/>
                    </a:lnTo>
                    <a:lnTo>
                      <a:pt x="565" y="85"/>
                    </a:lnTo>
                    <a:lnTo>
                      <a:pt x="529" y="73"/>
                    </a:lnTo>
                    <a:lnTo>
                      <a:pt x="492" y="64"/>
                    </a:lnTo>
                    <a:lnTo>
                      <a:pt x="456" y="55"/>
                    </a:lnTo>
                    <a:lnTo>
                      <a:pt x="419" y="46"/>
                    </a:lnTo>
                    <a:lnTo>
                      <a:pt x="383" y="40"/>
                    </a:lnTo>
                    <a:lnTo>
                      <a:pt x="347" y="35"/>
                    </a:lnTo>
                    <a:lnTo>
                      <a:pt x="310" y="31"/>
                    </a:lnTo>
                    <a:lnTo>
                      <a:pt x="274" y="28"/>
                    </a:lnTo>
                    <a:lnTo>
                      <a:pt x="237" y="27"/>
                    </a:lnTo>
                    <a:lnTo>
                      <a:pt x="201" y="27"/>
                    </a:lnTo>
                    <a:lnTo>
                      <a:pt x="165" y="28"/>
                    </a:lnTo>
                    <a:lnTo>
                      <a:pt x="128" y="31"/>
                    </a:lnTo>
                    <a:lnTo>
                      <a:pt x="91" y="36"/>
                    </a:lnTo>
                    <a:lnTo>
                      <a:pt x="53" y="42"/>
                    </a:lnTo>
                    <a:lnTo>
                      <a:pt x="17" y="50"/>
                    </a:lnTo>
                    <a:lnTo>
                      <a:pt x="11" y="50"/>
                    </a:lnTo>
                    <a:lnTo>
                      <a:pt x="6" y="48"/>
                    </a:lnTo>
                    <a:lnTo>
                      <a:pt x="3" y="44"/>
                    </a:lnTo>
                    <a:lnTo>
                      <a:pt x="0" y="40"/>
                    </a:lnTo>
                    <a:lnTo>
                      <a:pt x="0" y="35"/>
                    </a:lnTo>
                    <a:lnTo>
                      <a:pt x="2" y="29"/>
                    </a:lnTo>
                    <a:lnTo>
                      <a:pt x="6" y="26"/>
                    </a:lnTo>
                    <a:lnTo>
                      <a:pt x="10" y="24"/>
                    </a:lnTo>
                    <a:lnTo>
                      <a:pt x="48" y="15"/>
                    </a:lnTo>
                    <a:lnTo>
                      <a:pt x="87" y="9"/>
                    </a:lnTo>
                    <a:lnTo>
                      <a:pt x="124" y="4"/>
                    </a:lnTo>
                    <a:lnTo>
                      <a:pt x="161" y="1"/>
                    </a:lnTo>
                    <a:lnTo>
                      <a:pt x="199" y="0"/>
                    </a:lnTo>
                    <a:lnTo>
                      <a:pt x="236" y="0"/>
                    </a:lnTo>
                    <a:lnTo>
                      <a:pt x="274" y="1"/>
                    </a:lnTo>
                    <a:lnTo>
                      <a:pt x="310" y="3"/>
                    </a:lnTo>
                    <a:lnTo>
                      <a:pt x="348" y="8"/>
                    </a:lnTo>
                    <a:lnTo>
                      <a:pt x="385" y="13"/>
                    </a:lnTo>
                    <a:lnTo>
                      <a:pt x="422" y="19"/>
                    </a:lnTo>
                    <a:lnTo>
                      <a:pt x="458" y="28"/>
                    </a:lnTo>
                    <a:lnTo>
                      <a:pt x="496" y="37"/>
                    </a:lnTo>
                    <a:lnTo>
                      <a:pt x="533" y="46"/>
                    </a:lnTo>
                    <a:lnTo>
                      <a:pt x="570" y="58"/>
                    </a:lnTo>
                    <a:lnTo>
                      <a:pt x="606" y="70"/>
                    </a:lnTo>
                    <a:lnTo>
                      <a:pt x="644" y="83"/>
                    </a:lnTo>
                    <a:lnTo>
                      <a:pt x="681" y="97"/>
                    </a:lnTo>
                    <a:lnTo>
                      <a:pt x="719" y="112"/>
                    </a:lnTo>
                    <a:lnTo>
                      <a:pt x="756" y="127"/>
                    </a:lnTo>
                    <a:lnTo>
                      <a:pt x="831" y="162"/>
                    </a:lnTo>
                    <a:lnTo>
                      <a:pt x="908" y="198"/>
                    </a:lnTo>
                    <a:lnTo>
                      <a:pt x="984" y="236"/>
                    </a:lnTo>
                    <a:lnTo>
                      <a:pt x="1062" y="277"/>
                    </a:lnTo>
                    <a:lnTo>
                      <a:pt x="1141" y="320"/>
                    </a:lnTo>
                    <a:lnTo>
                      <a:pt x="1222" y="363"/>
                    </a:lnTo>
                    <a:lnTo>
                      <a:pt x="1296" y="403"/>
                    </a:lnTo>
                    <a:lnTo>
                      <a:pt x="1373" y="444"/>
                    </a:lnTo>
                    <a:lnTo>
                      <a:pt x="1451" y="485"/>
                    </a:lnTo>
                    <a:lnTo>
                      <a:pt x="1530" y="525"/>
                    </a:lnTo>
                    <a:lnTo>
                      <a:pt x="1610" y="565"/>
                    </a:lnTo>
                    <a:lnTo>
                      <a:pt x="1693" y="603"/>
                    </a:lnTo>
                    <a:lnTo>
                      <a:pt x="1735" y="623"/>
                    </a:lnTo>
                    <a:lnTo>
                      <a:pt x="1777" y="641"/>
                    </a:lnTo>
                    <a:lnTo>
                      <a:pt x="1820" y="660"/>
                    </a:lnTo>
                    <a:lnTo>
                      <a:pt x="1863" y="677"/>
                    </a:lnTo>
                    <a:lnTo>
                      <a:pt x="1906" y="694"/>
                    </a:lnTo>
                    <a:lnTo>
                      <a:pt x="1951" y="711"/>
                    </a:lnTo>
                    <a:lnTo>
                      <a:pt x="1996" y="728"/>
                    </a:lnTo>
                    <a:lnTo>
                      <a:pt x="2041" y="744"/>
                    </a:lnTo>
                    <a:lnTo>
                      <a:pt x="2087" y="759"/>
                    </a:lnTo>
                    <a:lnTo>
                      <a:pt x="2133" y="773"/>
                    </a:lnTo>
                    <a:lnTo>
                      <a:pt x="2180" y="787"/>
                    </a:lnTo>
                    <a:lnTo>
                      <a:pt x="2227" y="800"/>
                    </a:lnTo>
                    <a:lnTo>
                      <a:pt x="2276" y="812"/>
                    </a:lnTo>
                    <a:lnTo>
                      <a:pt x="2324" y="823"/>
                    </a:lnTo>
                    <a:lnTo>
                      <a:pt x="2374" y="833"/>
                    </a:lnTo>
                    <a:lnTo>
                      <a:pt x="2424" y="843"/>
                    </a:lnTo>
                    <a:lnTo>
                      <a:pt x="2474" y="852"/>
                    </a:lnTo>
                    <a:lnTo>
                      <a:pt x="2525" y="859"/>
                    </a:lnTo>
                    <a:lnTo>
                      <a:pt x="2577" y="866"/>
                    </a:lnTo>
                    <a:lnTo>
                      <a:pt x="2630" y="871"/>
                    </a:lnTo>
                    <a:lnTo>
                      <a:pt x="2660" y="873"/>
                    </a:lnTo>
                    <a:lnTo>
                      <a:pt x="2690" y="875"/>
                    </a:lnTo>
                    <a:lnTo>
                      <a:pt x="2721" y="877"/>
                    </a:lnTo>
                    <a:lnTo>
                      <a:pt x="2751" y="878"/>
                    </a:lnTo>
                    <a:lnTo>
                      <a:pt x="2810" y="878"/>
                    </a:lnTo>
                    <a:lnTo>
                      <a:pt x="2871" y="875"/>
                    </a:lnTo>
                    <a:lnTo>
                      <a:pt x="2930" y="872"/>
                    </a:lnTo>
                    <a:lnTo>
                      <a:pt x="2989" y="867"/>
                    </a:lnTo>
                    <a:lnTo>
                      <a:pt x="3048" y="859"/>
                    </a:lnTo>
                    <a:lnTo>
                      <a:pt x="3107" y="852"/>
                    </a:lnTo>
                    <a:lnTo>
                      <a:pt x="3165" y="842"/>
                    </a:lnTo>
                    <a:lnTo>
                      <a:pt x="3224" y="831"/>
                    </a:lnTo>
                    <a:lnTo>
                      <a:pt x="3282" y="819"/>
                    </a:lnTo>
                    <a:lnTo>
                      <a:pt x="3340" y="807"/>
                    </a:lnTo>
                    <a:lnTo>
                      <a:pt x="3398" y="795"/>
                    </a:lnTo>
                    <a:lnTo>
                      <a:pt x="3456" y="782"/>
                    </a:lnTo>
                    <a:lnTo>
                      <a:pt x="3513" y="768"/>
                    </a:lnTo>
                    <a:lnTo>
                      <a:pt x="3569" y="755"/>
                    </a:lnTo>
                    <a:lnTo>
                      <a:pt x="3655" y="734"/>
                    </a:lnTo>
                    <a:lnTo>
                      <a:pt x="3740" y="714"/>
                    </a:lnTo>
                    <a:lnTo>
                      <a:pt x="3826" y="695"/>
                    </a:lnTo>
                    <a:lnTo>
                      <a:pt x="3913" y="678"/>
                    </a:lnTo>
                    <a:lnTo>
                      <a:pt x="3956" y="669"/>
                    </a:lnTo>
                    <a:lnTo>
                      <a:pt x="3999" y="663"/>
                    </a:lnTo>
                    <a:lnTo>
                      <a:pt x="4042" y="655"/>
                    </a:lnTo>
                    <a:lnTo>
                      <a:pt x="4086" y="650"/>
                    </a:lnTo>
                    <a:lnTo>
                      <a:pt x="4130" y="644"/>
                    </a:lnTo>
                    <a:lnTo>
                      <a:pt x="4174" y="639"/>
                    </a:lnTo>
                    <a:lnTo>
                      <a:pt x="4218" y="636"/>
                    </a:lnTo>
                    <a:lnTo>
                      <a:pt x="4263" y="634"/>
                    </a:lnTo>
                    <a:lnTo>
                      <a:pt x="4307" y="632"/>
                    </a:lnTo>
                    <a:lnTo>
                      <a:pt x="4351" y="630"/>
                    </a:lnTo>
                    <a:lnTo>
                      <a:pt x="4396" y="632"/>
                    </a:lnTo>
                    <a:lnTo>
                      <a:pt x="4441" y="633"/>
                    </a:lnTo>
                    <a:lnTo>
                      <a:pt x="4486" y="636"/>
                    </a:lnTo>
                    <a:lnTo>
                      <a:pt x="4531" y="640"/>
                    </a:lnTo>
                    <a:lnTo>
                      <a:pt x="4577" y="647"/>
                    </a:lnTo>
                    <a:lnTo>
                      <a:pt x="4622" y="653"/>
                    </a:lnTo>
                    <a:lnTo>
                      <a:pt x="4669" y="662"/>
                    </a:lnTo>
                    <a:lnTo>
                      <a:pt x="4714" y="673"/>
                    </a:lnTo>
                    <a:lnTo>
                      <a:pt x="4760" y="684"/>
                    </a:lnTo>
                    <a:lnTo>
                      <a:pt x="4807" y="698"/>
                    </a:lnTo>
                    <a:lnTo>
                      <a:pt x="4853" y="714"/>
                    </a:lnTo>
                    <a:lnTo>
                      <a:pt x="4900" y="731"/>
                    </a:lnTo>
                    <a:lnTo>
                      <a:pt x="4947" y="750"/>
                    </a:lnTo>
                    <a:lnTo>
                      <a:pt x="4995" y="772"/>
                    </a:lnTo>
                    <a:lnTo>
                      <a:pt x="4999" y="774"/>
                    </a:lnTo>
                    <a:lnTo>
                      <a:pt x="5001" y="779"/>
                    </a:lnTo>
                    <a:lnTo>
                      <a:pt x="5002" y="784"/>
                    </a:lnTo>
                    <a:lnTo>
                      <a:pt x="5001" y="789"/>
                    </a:lnTo>
                    <a:lnTo>
                      <a:pt x="4998" y="793"/>
                    </a:lnTo>
                    <a:lnTo>
                      <a:pt x="4992" y="797"/>
                    </a:lnTo>
                    <a:lnTo>
                      <a:pt x="4988" y="797"/>
                    </a:lnTo>
                    <a:lnTo>
                      <a:pt x="4983" y="796"/>
                    </a:lnTo>
                    <a:lnTo>
                      <a:pt x="4936" y="775"/>
                    </a:lnTo>
                    <a:lnTo>
                      <a:pt x="4890" y="756"/>
                    </a:lnTo>
                    <a:lnTo>
                      <a:pt x="4845" y="739"/>
                    </a:lnTo>
                    <a:lnTo>
                      <a:pt x="4798" y="723"/>
                    </a:lnTo>
                    <a:lnTo>
                      <a:pt x="4753" y="710"/>
                    </a:lnTo>
                    <a:lnTo>
                      <a:pt x="4707" y="698"/>
                    </a:lnTo>
                    <a:lnTo>
                      <a:pt x="4662" y="689"/>
                    </a:lnTo>
                    <a:lnTo>
                      <a:pt x="4617" y="680"/>
                    </a:lnTo>
                    <a:lnTo>
                      <a:pt x="4571" y="673"/>
                    </a:lnTo>
                    <a:lnTo>
                      <a:pt x="4527" y="667"/>
                    </a:lnTo>
                    <a:lnTo>
                      <a:pt x="4483" y="663"/>
                    </a:lnTo>
                    <a:lnTo>
                      <a:pt x="4437" y="661"/>
                    </a:lnTo>
                    <a:lnTo>
                      <a:pt x="4393" y="659"/>
                    </a:lnTo>
                    <a:lnTo>
                      <a:pt x="4349" y="659"/>
                    </a:lnTo>
                    <a:lnTo>
                      <a:pt x="4306" y="659"/>
                    </a:lnTo>
                    <a:lnTo>
                      <a:pt x="4261" y="661"/>
                    </a:lnTo>
                    <a:lnTo>
                      <a:pt x="4217" y="663"/>
                    </a:lnTo>
                    <a:lnTo>
                      <a:pt x="4174" y="667"/>
                    </a:lnTo>
                    <a:lnTo>
                      <a:pt x="4131" y="671"/>
                    </a:lnTo>
                    <a:lnTo>
                      <a:pt x="4088" y="677"/>
                    </a:lnTo>
                    <a:lnTo>
                      <a:pt x="4044" y="682"/>
                    </a:lnTo>
                    <a:lnTo>
                      <a:pt x="4001" y="690"/>
                    </a:lnTo>
                    <a:lnTo>
                      <a:pt x="3958" y="697"/>
                    </a:lnTo>
                    <a:lnTo>
                      <a:pt x="3915" y="705"/>
                    </a:lnTo>
                    <a:lnTo>
                      <a:pt x="3830" y="722"/>
                    </a:lnTo>
                    <a:lnTo>
                      <a:pt x="3744" y="741"/>
                    </a:lnTo>
                    <a:lnTo>
                      <a:pt x="3660" y="760"/>
                    </a:lnTo>
                    <a:lnTo>
                      <a:pt x="3576" y="780"/>
                    </a:lnTo>
                    <a:lnTo>
                      <a:pt x="3527" y="792"/>
                    </a:lnTo>
                    <a:lnTo>
                      <a:pt x="3479" y="803"/>
                    </a:lnTo>
                    <a:lnTo>
                      <a:pt x="3430" y="815"/>
                    </a:lnTo>
                    <a:lnTo>
                      <a:pt x="3381" y="826"/>
                    </a:lnTo>
                    <a:lnTo>
                      <a:pt x="3333" y="837"/>
                    </a:lnTo>
                    <a:lnTo>
                      <a:pt x="3283" y="847"/>
                    </a:lnTo>
                    <a:lnTo>
                      <a:pt x="3233" y="857"/>
                    </a:lnTo>
                    <a:lnTo>
                      <a:pt x="3184" y="866"/>
                    </a:lnTo>
                    <a:lnTo>
                      <a:pt x="3134" y="874"/>
                    </a:lnTo>
                    <a:lnTo>
                      <a:pt x="3084" y="882"/>
                    </a:lnTo>
                    <a:lnTo>
                      <a:pt x="3035" y="888"/>
                    </a:lnTo>
                    <a:lnTo>
                      <a:pt x="2984" y="894"/>
                    </a:lnTo>
                    <a:lnTo>
                      <a:pt x="2933" y="899"/>
                    </a:lnTo>
                    <a:lnTo>
                      <a:pt x="2883" y="902"/>
                    </a:lnTo>
                    <a:lnTo>
                      <a:pt x="2832" y="905"/>
                    </a:lnTo>
                    <a:lnTo>
                      <a:pt x="2781"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22"/>
              <p:cNvSpPr>
                <a:spLocks/>
              </p:cNvSpPr>
              <p:nvPr userDrawn="1"/>
            </p:nvSpPr>
            <p:spPr bwMode="auto">
              <a:xfrm>
                <a:off x="1186" y="3418"/>
                <a:ext cx="1625" cy="198"/>
              </a:xfrm>
              <a:custGeom>
                <a:avLst/>
                <a:gdLst>
                  <a:gd name="T0" fmla="*/ 2528 w 4876"/>
                  <a:gd name="T1" fmla="*/ 588 h 592"/>
                  <a:gd name="T2" fmla="*/ 2361 w 4876"/>
                  <a:gd name="T3" fmla="*/ 572 h 592"/>
                  <a:gd name="T4" fmla="*/ 2201 w 4876"/>
                  <a:gd name="T5" fmla="*/ 545 h 592"/>
                  <a:gd name="T6" fmla="*/ 1928 w 4876"/>
                  <a:gd name="T7" fmla="*/ 477 h 592"/>
                  <a:gd name="T8" fmla="*/ 1628 w 4876"/>
                  <a:gd name="T9" fmla="*/ 379 h 592"/>
                  <a:gd name="T10" fmla="*/ 1324 w 4876"/>
                  <a:gd name="T11" fmla="*/ 265 h 592"/>
                  <a:gd name="T12" fmla="*/ 984 w 4876"/>
                  <a:gd name="T13" fmla="*/ 147 h 592"/>
                  <a:gd name="T14" fmla="*/ 771 w 4876"/>
                  <a:gd name="T15" fmla="*/ 87 h 592"/>
                  <a:gd name="T16" fmla="*/ 599 w 4876"/>
                  <a:gd name="T17" fmla="*/ 52 h 592"/>
                  <a:gd name="T18" fmla="*/ 425 w 4876"/>
                  <a:gd name="T19" fmla="*/ 31 h 592"/>
                  <a:gd name="T20" fmla="*/ 246 w 4876"/>
                  <a:gd name="T21" fmla="*/ 28 h 592"/>
                  <a:gd name="T22" fmla="*/ 63 w 4876"/>
                  <a:gd name="T23" fmla="*/ 45 h 592"/>
                  <a:gd name="T24" fmla="*/ 2 w 4876"/>
                  <a:gd name="T25" fmla="*/ 47 h 592"/>
                  <a:gd name="T26" fmla="*/ 6 w 4876"/>
                  <a:gd name="T27" fmla="*/ 28 h 592"/>
                  <a:gd name="T28" fmla="*/ 152 w 4876"/>
                  <a:gd name="T29" fmla="*/ 7 h 592"/>
                  <a:gd name="T30" fmla="*/ 336 w 4876"/>
                  <a:gd name="T31" fmla="*/ 1 h 592"/>
                  <a:gd name="T32" fmla="*/ 514 w 4876"/>
                  <a:gd name="T33" fmla="*/ 13 h 592"/>
                  <a:gd name="T34" fmla="*/ 689 w 4876"/>
                  <a:gd name="T35" fmla="*/ 41 h 592"/>
                  <a:gd name="T36" fmla="*/ 862 w 4876"/>
                  <a:gd name="T37" fmla="*/ 82 h 592"/>
                  <a:gd name="T38" fmla="*/ 1161 w 4876"/>
                  <a:gd name="T39" fmla="*/ 177 h 592"/>
                  <a:gd name="T40" fmla="*/ 1499 w 4876"/>
                  <a:gd name="T41" fmla="*/ 302 h 592"/>
                  <a:gd name="T42" fmla="*/ 1823 w 4876"/>
                  <a:gd name="T43" fmla="*/ 417 h 592"/>
                  <a:gd name="T44" fmla="*/ 2032 w 4876"/>
                  <a:gd name="T45" fmla="*/ 478 h 592"/>
                  <a:gd name="T46" fmla="*/ 2204 w 4876"/>
                  <a:gd name="T47" fmla="*/ 518 h 592"/>
                  <a:gd name="T48" fmla="*/ 2381 w 4876"/>
                  <a:gd name="T49" fmla="*/ 547 h 592"/>
                  <a:gd name="T50" fmla="*/ 2562 w 4876"/>
                  <a:gd name="T51" fmla="*/ 563 h 592"/>
                  <a:gd name="T52" fmla="*/ 2751 w 4876"/>
                  <a:gd name="T53" fmla="*/ 562 h 592"/>
                  <a:gd name="T54" fmla="*/ 2928 w 4876"/>
                  <a:gd name="T55" fmla="*/ 547 h 592"/>
                  <a:gd name="T56" fmla="*/ 3244 w 4876"/>
                  <a:gd name="T57" fmla="*/ 493 h 592"/>
                  <a:gd name="T58" fmla="*/ 3619 w 4876"/>
                  <a:gd name="T59" fmla="*/ 411 h 592"/>
                  <a:gd name="T60" fmla="*/ 3961 w 4876"/>
                  <a:gd name="T61" fmla="*/ 342 h 592"/>
                  <a:gd name="T62" fmla="*/ 4149 w 4876"/>
                  <a:gd name="T63" fmla="*/ 315 h 592"/>
                  <a:gd name="T64" fmla="*/ 4329 w 4876"/>
                  <a:gd name="T65" fmla="*/ 302 h 592"/>
                  <a:gd name="T66" fmla="*/ 4497 w 4876"/>
                  <a:gd name="T67" fmla="*/ 309 h 592"/>
                  <a:gd name="T68" fmla="*/ 4650 w 4876"/>
                  <a:gd name="T69" fmla="*/ 339 h 592"/>
                  <a:gd name="T70" fmla="*/ 4785 w 4876"/>
                  <a:gd name="T71" fmla="*/ 396 h 592"/>
                  <a:gd name="T72" fmla="*/ 4875 w 4876"/>
                  <a:gd name="T73" fmla="*/ 466 h 592"/>
                  <a:gd name="T74" fmla="*/ 4869 w 4876"/>
                  <a:gd name="T75" fmla="*/ 483 h 592"/>
                  <a:gd name="T76" fmla="*/ 4827 w 4876"/>
                  <a:gd name="T77" fmla="*/ 459 h 592"/>
                  <a:gd name="T78" fmla="*/ 4706 w 4876"/>
                  <a:gd name="T79" fmla="*/ 387 h 592"/>
                  <a:gd name="T80" fmla="*/ 4565 w 4876"/>
                  <a:gd name="T81" fmla="*/ 346 h 592"/>
                  <a:gd name="T82" fmla="*/ 4408 w 4876"/>
                  <a:gd name="T83" fmla="*/ 330 h 592"/>
                  <a:gd name="T84" fmla="*/ 4236 w 4876"/>
                  <a:gd name="T85" fmla="*/ 334 h 592"/>
                  <a:gd name="T86" fmla="*/ 4055 w 4876"/>
                  <a:gd name="T87" fmla="*/ 355 h 592"/>
                  <a:gd name="T88" fmla="*/ 3817 w 4876"/>
                  <a:gd name="T89" fmla="*/ 397 h 592"/>
                  <a:gd name="T90" fmla="*/ 3435 w 4876"/>
                  <a:gd name="T91" fmla="*/ 480 h 592"/>
                  <a:gd name="T92" fmla="*/ 3065 w 4876"/>
                  <a:gd name="T93" fmla="*/ 555 h 592"/>
                  <a:gd name="T94" fmla="*/ 2844 w 4876"/>
                  <a:gd name="T95" fmla="*/ 584 h 592"/>
                  <a:gd name="T96" fmla="*/ 2691 w 4876"/>
                  <a:gd name="T97" fmla="*/ 591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76" h="592">
                    <a:moveTo>
                      <a:pt x="2655" y="592"/>
                    </a:moveTo>
                    <a:lnTo>
                      <a:pt x="2612" y="591"/>
                    </a:lnTo>
                    <a:lnTo>
                      <a:pt x="2570" y="590"/>
                    </a:lnTo>
                    <a:lnTo>
                      <a:pt x="2528" y="588"/>
                    </a:lnTo>
                    <a:lnTo>
                      <a:pt x="2486" y="585"/>
                    </a:lnTo>
                    <a:lnTo>
                      <a:pt x="2444" y="582"/>
                    </a:lnTo>
                    <a:lnTo>
                      <a:pt x="2402" y="577"/>
                    </a:lnTo>
                    <a:lnTo>
                      <a:pt x="2361" y="572"/>
                    </a:lnTo>
                    <a:lnTo>
                      <a:pt x="2320" y="567"/>
                    </a:lnTo>
                    <a:lnTo>
                      <a:pt x="2280" y="560"/>
                    </a:lnTo>
                    <a:lnTo>
                      <a:pt x="2241" y="553"/>
                    </a:lnTo>
                    <a:lnTo>
                      <a:pt x="2201" y="545"/>
                    </a:lnTo>
                    <a:lnTo>
                      <a:pt x="2161" y="537"/>
                    </a:lnTo>
                    <a:lnTo>
                      <a:pt x="2082" y="519"/>
                    </a:lnTo>
                    <a:lnTo>
                      <a:pt x="2005" y="499"/>
                    </a:lnTo>
                    <a:lnTo>
                      <a:pt x="1928" y="477"/>
                    </a:lnTo>
                    <a:lnTo>
                      <a:pt x="1852" y="454"/>
                    </a:lnTo>
                    <a:lnTo>
                      <a:pt x="1777" y="429"/>
                    </a:lnTo>
                    <a:lnTo>
                      <a:pt x="1703" y="405"/>
                    </a:lnTo>
                    <a:lnTo>
                      <a:pt x="1628" y="379"/>
                    </a:lnTo>
                    <a:lnTo>
                      <a:pt x="1555" y="352"/>
                    </a:lnTo>
                    <a:lnTo>
                      <a:pt x="1481" y="325"/>
                    </a:lnTo>
                    <a:lnTo>
                      <a:pt x="1409" y="298"/>
                    </a:lnTo>
                    <a:lnTo>
                      <a:pt x="1324" y="265"/>
                    </a:lnTo>
                    <a:lnTo>
                      <a:pt x="1238" y="234"/>
                    </a:lnTo>
                    <a:lnTo>
                      <a:pt x="1153" y="203"/>
                    </a:lnTo>
                    <a:lnTo>
                      <a:pt x="1069" y="174"/>
                    </a:lnTo>
                    <a:lnTo>
                      <a:pt x="984" y="147"/>
                    </a:lnTo>
                    <a:lnTo>
                      <a:pt x="899" y="121"/>
                    </a:lnTo>
                    <a:lnTo>
                      <a:pt x="856" y="109"/>
                    </a:lnTo>
                    <a:lnTo>
                      <a:pt x="814" y="98"/>
                    </a:lnTo>
                    <a:lnTo>
                      <a:pt x="771" y="87"/>
                    </a:lnTo>
                    <a:lnTo>
                      <a:pt x="729" y="76"/>
                    </a:lnTo>
                    <a:lnTo>
                      <a:pt x="686" y="68"/>
                    </a:lnTo>
                    <a:lnTo>
                      <a:pt x="642" y="59"/>
                    </a:lnTo>
                    <a:lnTo>
                      <a:pt x="599" y="52"/>
                    </a:lnTo>
                    <a:lnTo>
                      <a:pt x="556" y="45"/>
                    </a:lnTo>
                    <a:lnTo>
                      <a:pt x="513" y="40"/>
                    </a:lnTo>
                    <a:lnTo>
                      <a:pt x="469" y="35"/>
                    </a:lnTo>
                    <a:lnTo>
                      <a:pt x="425" y="31"/>
                    </a:lnTo>
                    <a:lnTo>
                      <a:pt x="381" y="29"/>
                    </a:lnTo>
                    <a:lnTo>
                      <a:pt x="337" y="28"/>
                    </a:lnTo>
                    <a:lnTo>
                      <a:pt x="291" y="27"/>
                    </a:lnTo>
                    <a:lnTo>
                      <a:pt x="246" y="28"/>
                    </a:lnTo>
                    <a:lnTo>
                      <a:pt x="201" y="30"/>
                    </a:lnTo>
                    <a:lnTo>
                      <a:pt x="155" y="34"/>
                    </a:lnTo>
                    <a:lnTo>
                      <a:pt x="109" y="39"/>
                    </a:lnTo>
                    <a:lnTo>
                      <a:pt x="63" y="45"/>
                    </a:lnTo>
                    <a:lnTo>
                      <a:pt x="16" y="53"/>
                    </a:lnTo>
                    <a:lnTo>
                      <a:pt x="11" y="53"/>
                    </a:lnTo>
                    <a:lnTo>
                      <a:pt x="6" y="51"/>
                    </a:lnTo>
                    <a:lnTo>
                      <a:pt x="2" y="47"/>
                    </a:lnTo>
                    <a:lnTo>
                      <a:pt x="0" y="42"/>
                    </a:lnTo>
                    <a:lnTo>
                      <a:pt x="0" y="37"/>
                    </a:lnTo>
                    <a:lnTo>
                      <a:pt x="2" y="32"/>
                    </a:lnTo>
                    <a:lnTo>
                      <a:pt x="6" y="28"/>
                    </a:lnTo>
                    <a:lnTo>
                      <a:pt x="11" y="26"/>
                    </a:lnTo>
                    <a:lnTo>
                      <a:pt x="58" y="18"/>
                    </a:lnTo>
                    <a:lnTo>
                      <a:pt x="106" y="12"/>
                    </a:lnTo>
                    <a:lnTo>
                      <a:pt x="152" y="7"/>
                    </a:lnTo>
                    <a:lnTo>
                      <a:pt x="199" y="3"/>
                    </a:lnTo>
                    <a:lnTo>
                      <a:pt x="245" y="1"/>
                    </a:lnTo>
                    <a:lnTo>
                      <a:pt x="290" y="0"/>
                    </a:lnTo>
                    <a:lnTo>
                      <a:pt x="336" y="1"/>
                    </a:lnTo>
                    <a:lnTo>
                      <a:pt x="381" y="2"/>
                    </a:lnTo>
                    <a:lnTo>
                      <a:pt x="425" y="4"/>
                    </a:lnTo>
                    <a:lnTo>
                      <a:pt x="470" y="8"/>
                    </a:lnTo>
                    <a:lnTo>
                      <a:pt x="514" y="13"/>
                    </a:lnTo>
                    <a:lnTo>
                      <a:pt x="558" y="18"/>
                    </a:lnTo>
                    <a:lnTo>
                      <a:pt x="602" y="25"/>
                    </a:lnTo>
                    <a:lnTo>
                      <a:pt x="646" y="32"/>
                    </a:lnTo>
                    <a:lnTo>
                      <a:pt x="689" y="41"/>
                    </a:lnTo>
                    <a:lnTo>
                      <a:pt x="732" y="51"/>
                    </a:lnTo>
                    <a:lnTo>
                      <a:pt x="775" y="60"/>
                    </a:lnTo>
                    <a:lnTo>
                      <a:pt x="818" y="71"/>
                    </a:lnTo>
                    <a:lnTo>
                      <a:pt x="862" y="82"/>
                    </a:lnTo>
                    <a:lnTo>
                      <a:pt x="905" y="94"/>
                    </a:lnTo>
                    <a:lnTo>
                      <a:pt x="990" y="120"/>
                    </a:lnTo>
                    <a:lnTo>
                      <a:pt x="1075" y="148"/>
                    </a:lnTo>
                    <a:lnTo>
                      <a:pt x="1161" y="177"/>
                    </a:lnTo>
                    <a:lnTo>
                      <a:pt x="1246" y="208"/>
                    </a:lnTo>
                    <a:lnTo>
                      <a:pt x="1332" y="239"/>
                    </a:lnTo>
                    <a:lnTo>
                      <a:pt x="1419" y="272"/>
                    </a:lnTo>
                    <a:lnTo>
                      <a:pt x="1499" y="302"/>
                    </a:lnTo>
                    <a:lnTo>
                      <a:pt x="1579" y="331"/>
                    </a:lnTo>
                    <a:lnTo>
                      <a:pt x="1660" y="360"/>
                    </a:lnTo>
                    <a:lnTo>
                      <a:pt x="1741" y="390"/>
                    </a:lnTo>
                    <a:lnTo>
                      <a:pt x="1823" y="417"/>
                    </a:lnTo>
                    <a:lnTo>
                      <a:pt x="1906" y="442"/>
                    </a:lnTo>
                    <a:lnTo>
                      <a:pt x="1948" y="455"/>
                    </a:lnTo>
                    <a:lnTo>
                      <a:pt x="1990" y="467"/>
                    </a:lnTo>
                    <a:lnTo>
                      <a:pt x="2032" y="478"/>
                    </a:lnTo>
                    <a:lnTo>
                      <a:pt x="2074" y="489"/>
                    </a:lnTo>
                    <a:lnTo>
                      <a:pt x="2117" y="500"/>
                    </a:lnTo>
                    <a:lnTo>
                      <a:pt x="2161" y="509"/>
                    </a:lnTo>
                    <a:lnTo>
                      <a:pt x="2204" y="518"/>
                    </a:lnTo>
                    <a:lnTo>
                      <a:pt x="2247" y="527"/>
                    </a:lnTo>
                    <a:lnTo>
                      <a:pt x="2291" y="534"/>
                    </a:lnTo>
                    <a:lnTo>
                      <a:pt x="2336" y="541"/>
                    </a:lnTo>
                    <a:lnTo>
                      <a:pt x="2381" y="547"/>
                    </a:lnTo>
                    <a:lnTo>
                      <a:pt x="2425" y="553"/>
                    </a:lnTo>
                    <a:lnTo>
                      <a:pt x="2471" y="557"/>
                    </a:lnTo>
                    <a:lnTo>
                      <a:pt x="2517" y="560"/>
                    </a:lnTo>
                    <a:lnTo>
                      <a:pt x="2562" y="563"/>
                    </a:lnTo>
                    <a:lnTo>
                      <a:pt x="2610" y="564"/>
                    </a:lnTo>
                    <a:lnTo>
                      <a:pt x="2656" y="564"/>
                    </a:lnTo>
                    <a:lnTo>
                      <a:pt x="2704" y="564"/>
                    </a:lnTo>
                    <a:lnTo>
                      <a:pt x="2751" y="562"/>
                    </a:lnTo>
                    <a:lnTo>
                      <a:pt x="2800" y="560"/>
                    </a:lnTo>
                    <a:lnTo>
                      <a:pt x="2842" y="557"/>
                    </a:lnTo>
                    <a:lnTo>
                      <a:pt x="2885" y="553"/>
                    </a:lnTo>
                    <a:lnTo>
                      <a:pt x="2928" y="547"/>
                    </a:lnTo>
                    <a:lnTo>
                      <a:pt x="2972" y="542"/>
                    </a:lnTo>
                    <a:lnTo>
                      <a:pt x="3061" y="528"/>
                    </a:lnTo>
                    <a:lnTo>
                      <a:pt x="3152" y="512"/>
                    </a:lnTo>
                    <a:lnTo>
                      <a:pt x="3244" y="493"/>
                    </a:lnTo>
                    <a:lnTo>
                      <a:pt x="3337" y="474"/>
                    </a:lnTo>
                    <a:lnTo>
                      <a:pt x="3429" y="453"/>
                    </a:lnTo>
                    <a:lnTo>
                      <a:pt x="3521" y="433"/>
                    </a:lnTo>
                    <a:lnTo>
                      <a:pt x="3619" y="411"/>
                    </a:lnTo>
                    <a:lnTo>
                      <a:pt x="3718" y="390"/>
                    </a:lnTo>
                    <a:lnTo>
                      <a:pt x="3816" y="370"/>
                    </a:lnTo>
                    <a:lnTo>
                      <a:pt x="3912" y="351"/>
                    </a:lnTo>
                    <a:lnTo>
                      <a:pt x="3961" y="342"/>
                    </a:lnTo>
                    <a:lnTo>
                      <a:pt x="4008" y="334"/>
                    </a:lnTo>
                    <a:lnTo>
                      <a:pt x="4056" y="327"/>
                    </a:lnTo>
                    <a:lnTo>
                      <a:pt x="4102" y="320"/>
                    </a:lnTo>
                    <a:lnTo>
                      <a:pt x="4149" y="315"/>
                    </a:lnTo>
                    <a:lnTo>
                      <a:pt x="4195" y="311"/>
                    </a:lnTo>
                    <a:lnTo>
                      <a:pt x="4240" y="306"/>
                    </a:lnTo>
                    <a:lnTo>
                      <a:pt x="4285" y="304"/>
                    </a:lnTo>
                    <a:lnTo>
                      <a:pt x="4329" y="302"/>
                    </a:lnTo>
                    <a:lnTo>
                      <a:pt x="4372" y="302"/>
                    </a:lnTo>
                    <a:lnTo>
                      <a:pt x="4414" y="303"/>
                    </a:lnTo>
                    <a:lnTo>
                      <a:pt x="4456" y="305"/>
                    </a:lnTo>
                    <a:lnTo>
                      <a:pt x="4497" y="309"/>
                    </a:lnTo>
                    <a:lnTo>
                      <a:pt x="4536" y="314"/>
                    </a:lnTo>
                    <a:lnTo>
                      <a:pt x="4575" y="320"/>
                    </a:lnTo>
                    <a:lnTo>
                      <a:pt x="4613" y="329"/>
                    </a:lnTo>
                    <a:lnTo>
                      <a:pt x="4650" y="339"/>
                    </a:lnTo>
                    <a:lnTo>
                      <a:pt x="4685" y="351"/>
                    </a:lnTo>
                    <a:lnTo>
                      <a:pt x="4720" y="364"/>
                    </a:lnTo>
                    <a:lnTo>
                      <a:pt x="4753" y="379"/>
                    </a:lnTo>
                    <a:lnTo>
                      <a:pt x="4785" y="396"/>
                    </a:lnTo>
                    <a:lnTo>
                      <a:pt x="4815" y="417"/>
                    </a:lnTo>
                    <a:lnTo>
                      <a:pt x="4844" y="437"/>
                    </a:lnTo>
                    <a:lnTo>
                      <a:pt x="4872" y="462"/>
                    </a:lnTo>
                    <a:lnTo>
                      <a:pt x="4875" y="466"/>
                    </a:lnTo>
                    <a:lnTo>
                      <a:pt x="4876" y="470"/>
                    </a:lnTo>
                    <a:lnTo>
                      <a:pt x="4875" y="476"/>
                    </a:lnTo>
                    <a:lnTo>
                      <a:pt x="4873" y="480"/>
                    </a:lnTo>
                    <a:lnTo>
                      <a:pt x="4869" y="483"/>
                    </a:lnTo>
                    <a:lnTo>
                      <a:pt x="4863" y="485"/>
                    </a:lnTo>
                    <a:lnTo>
                      <a:pt x="4858" y="483"/>
                    </a:lnTo>
                    <a:lnTo>
                      <a:pt x="4854" y="481"/>
                    </a:lnTo>
                    <a:lnTo>
                      <a:pt x="4827" y="459"/>
                    </a:lnTo>
                    <a:lnTo>
                      <a:pt x="4799" y="437"/>
                    </a:lnTo>
                    <a:lnTo>
                      <a:pt x="4769" y="419"/>
                    </a:lnTo>
                    <a:lnTo>
                      <a:pt x="4738" y="402"/>
                    </a:lnTo>
                    <a:lnTo>
                      <a:pt x="4706" y="387"/>
                    </a:lnTo>
                    <a:lnTo>
                      <a:pt x="4672" y="374"/>
                    </a:lnTo>
                    <a:lnTo>
                      <a:pt x="4638" y="364"/>
                    </a:lnTo>
                    <a:lnTo>
                      <a:pt x="4602" y="354"/>
                    </a:lnTo>
                    <a:lnTo>
                      <a:pt x="4565" y="346"/>
                    </a:lnTo>
                    <a:lnTo>
                      <a:pt x="4528" y="340"/>
                    </a:lnTo>
                    <a:lnTo>
                      <a:pt x="4489" y="334"/>
                    </a:lnTo>
                    <a:lnTo>
                      <a:pt x="4449" y="331"/>
                    </a:lnTo>
                    <a:lnTo>
                      <a:pt x="4408" y="330"/>
                    </a:lnTo>
                    <a:lnTo>
                      <a:pt x="4366" y="329"/>
                    </a:lnTo>
                    <a:lnTo>
                      <a:pt x="4323" y="329"/>
                    </a:lnTo>
                    <a:lnTo>
                      <a:pt x="4280" y="331"/>
                    </a:lnTo>
                    <a:lnTo>
                      <a:pt x="4236" y="334"/>
                    </a:lnTo>
                    <a:lnTo>
                      <a:pt x="4192" y="338"/>
                    </a:lnTo>
                    <a:lnTo>
                      <a:pt x="4146" y="343"/>
                    </a:lnTo>
                    <a:lnTo>
                      <a:pt x="4101" y="348"/>
                    </a:lnTo>
                    <a:lnTo>
                      <a:pt x="4055" y="355"/>
                    </a:lnTo>
                    <a:lnTo>
                      <a:pt x="4008" y="363"/>
                    </a:lnTo>
                    <a:lnTo>
                      <a:pt x="3961" y="370"/>
                    </a:lnTo>
                    <a:lnTo>
                      <a:pt x="3913" y="379"/>
                    </a:lnTo>
                    <a:lnTo>
                      <a:pt x="3817" y="397"/>
                    </a:lnTo>
                    <a:lnTo>
                      <a:pt x="3721" y="417"/>
                    </a:lnTo>
                    <a:lnTo>
                      <a:pt x="3624" y="438"/>
                    </a:lnTo>
                    <a:lnTo>
                      <a:pt x="3528" y="460"/>
                    </a:lnTo>
                    <a:lnTo>
                      <a:pt x="3435" y="480"/>
                    </a:lnTo>
                    <a:lnTo>
                      <a:pt x="3342" y="501"/>
                    </a:lnTo>
                    <a:lnTo>
                      <a:pt x="3249" y="520"/>
                    </a:lnTo>
                    <a:lnTo>
                      <a:pt x="3156" y="537"/>
                    </a:lnTo>
                    <a:lnTo>
                      <a:pt x="3065" y="555"/>
                    </a:lnTo>
                    <a:lnTo>
                      <a:pt x="2975" y="568"/>
                    </a:lnTo>
                    <a:lnTo>
                      <a:pt x="2931" y="574"/>
                    </a:lnTo>
                    <a:lnTo>
                      <a:pt x="2887" y="580"/>
                    </a:lnTo>
                    <a:lnTo>
                      <a:pt x="2844" y="584"/>
                    </a:lnTo>
                    <a:lnTo>
                      <a:pt x="2802" y="587"/>
                    </a:lnTo>
                    <a:lnTo>
                      <a:pt x="2764" y="589"/>
                    </a:lnTo>
                    <a:lnTo>
                      <a:pt x="2728" y="590"/>
                    </a:lnTo>
                    <a:lnTo>
                      <a:pt x="2691" y="591"/>
                    </a:lnTo>
                    <a:lnTo>
                      <a:pt x="2655"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23"/>
              <p:cNvSpPr>
                <a:spLocks/>
              </p:cNvSpPr>
              <p:nvPr userDrawn="1"/>
            </p:nvSpPr>
            <p:spPr bwMode="auto">
              <a:xfrm>
                <a:off x="1198" y="3347"/>
                <a:ext cx="1557" cy="152"/>
              </a:xfrm>
              <a:custGeom>
                <a:avLst/>
                <a:gdLst>
                  <a:gd name="T0" fmla="*/ 4651 w 4672"/>
                  <a:gd name="T1" fmla="*/ 456 h 458"/>
                  <a:gd name="T2" fmla="*/ 4636 w 4672"/>
                  <a:gd name="T3" fmla="*/ 426 h 458"/>
                  <a:gd name="T4" fmla="*/ 4577 w 4672"/>
                  <a:gd name="T5" fmla="*/ 367 h 458"/>
                  <a:gd name="T6" fmla="*/ 4476 w 4672"/>
                  <a:gd name="T7" fmla="*/ 321 h 458"/>
                  <a:gd name="T8" fmla="*/ 4337 w 4672"/>
                  <a:gd name="T9" fmla="*/ 286 h 458"/>
                  <a:gd name="T10" fmla="*/ 4161 w 4672"/>
                  <a:gd name="T11" fmla="*/ 261 h 458"/>
                  <a:gd name="T12" fmla="*/ 3952 w 4672"/>
                  <a:gd name="T13" fmla="*/ 245 h 458"/>
                  <a:gd name="T14" fmla="*/ 3712 w 4672"/>
                  <a:gd name="T15" fmla="*/ 236 h 458"/>
                  <a:gd name="T16" fmla="*/ 3445 w 4672"/>
                  <a:gd name="T17" fmla="*/ 235 h 458"/>
                  <a:gd name="T18" fmla="*/ 3052 w 4672"/>
                  <a:gd name="T19" fmla="*/ 242 h 458"/>
                  <a:gd name="T20" fmla="*/ 2395 w 4672"/>
                  <a:gd name="T21" fmla="*/ 263 h 458"/>
                  <a:gd name="T22" fmla="*/ 2257 w 4672"/>
                  <a:gd name="T23" fmla="*/ 266 h 458"/>
                  <a:gd name="T24" fmla="*/ 2034 w 4672"/>
                  <a:gd name="T25" fmla="*/ 260 h 458"/>
                  <a:gd name="T26" fmla="*/ 1774 w 4672"/>
                  <a:gd name="T27" fmla="*/ 239 h 458"/>
                  <a:gd name="T28" fmla="*/ 1523 w 4672"/>
                  <a:gd name="T29" fmla="*/ 207 h 458"/>
                  <a:gd name="T30" fmla="*/ 1283 w 4672"/>
                  <a:gd name="T31" fmla="*/ 168 h 458"/>
                  <a:gd name="T32" fmla="*/ 1053 w 4672"/>
                  <a:gd name="T33" fmla="*/ 126 h 458"/>
                  <a:gd name="T34" fmla="*/ 830 w 4672"/>
                  <a:gd name="T35" fmla="*/ 86 h 458"/>
                  <a:gd name="T36" fmla="*/ 618 w 4672"/>
                  <a:gd name="T37" fmla="*/ 53 h 458"/>
                  <a:gd name="T38" fmla="*/ 421 w 4672"/>
                  <a:gd name="T39" fmla="*/ 32 h 458"/>
                  <a:gd name="T40" fmla="*/ 296 w 4672"/>
                  <a:gd name="T41" fmla="*/ 27 h 458"/>
                  <a:gd name="T42" fmla="*/ 208 w 4672"/>
                  <a:gd name="T43" fmla="*/ 29 h 458"/>
                  <a:gd name="T44" fmla="*/ 123 w 4672"/>
                  <a:gd name="T45" fmla="*/ 37 h 458"/>
                  <a:gd name="T46" fmla="*/ 42 w 4672"/>
                  <a:gd name="T47" fmla="*/ 50 h 458"/>
                  <a:gd name="T48" fmla="*/ 5 w 4672"/>
                  <a:gd name="T49" fmla="*/ 55 h 458"/>
                  <a:gd name="T50" fmla="*/ 0 w 4672"/>
                  <a:gd name="T51" fmla="*/ 41 h 458"/>
                  <a:gd name="T52" fmla="*/ 9 w 4672"/>
                  <a:gd name="T53" fmla="*/ 30 h 458"/>
                  <a:gd name="T54" fmla="*/ 90 w 4672"/>
                  <a:gd name="T55" fmla="*/ 14 h 458"/>
                  <a:gd name="T56" fmla="*/ 176 w 4672"/>
                  <a:gd name="T57" fmla="*/ 4 h 458"/>
                  <a:gd name="T58" fmla="*/ 264 w 4672"/>
                  <a:gd name="T59" fmla="*/ 0 h 458"/>
                  <a:gd name="T60" fmla="*/ 356 w 4672"/>
                  <a:gd name="T61" fmla="*/ 1 h 458"/>
                  <a:gd name="T62" fmla="*/ 551 w 4672"/>
                  <a:gd name="T63" fmla="*/ 17 h 458"/>
                  <a:gd name="T64" fmla="*/ 761 w 4672"/>
                  <a:gd name="T65" fmla="*/ 48 h 458"/>
                  <a:gd name="T66" fmla="*/ 982 w 4672"/>
                  <a:gd name="T67" fmla="*/ 86 h 458"/>
                  <a:gd name="T68" fmla="*/ 1210 w 4672"/>
                  <a:gd name="T69" fmla="*/ 127 h 458"/>
                  <a:gd name="T70" fmla="*/ 1445 w 4672"/>
                  <a:gd name="T71" fmla="*/ 167 h 458"/>
                  <a:gd name="T72" fmla="*/ 1692 w 4672"/>
                  <a:gd name="T73" fmla="*/ 202 h 458"/>
                  <a:gd name="T74" fmla="*/ 1948 w 4672"/>
                  <a:gd name="T75" fmla="*/ 228 h 458"/>
                  <a:gd name="T76" fmla="*/ 2212 w 4672"/>
                  <a:gd name="T77" fmla="*/ 239 h 458"/>
                  <a:gd name="T78" fmla="*/ 2348 w 4672"/>
                  <a:gd name="T79" fmla="*/ 237 h 458"/>
                  <a:gd name="T80" fmla="*/ 2856 w 4672"/>
                  <a:gd name="T81" fmla="*/ 220 h 458"/>
                  <a:gd name="T82" fmla="*/ 3377 w 4672"/>
                  <a:gd name="T83" fmla="*/ 208 h 458"/>
                  <a:gd name="T84" fmla="*/ 3656 w 4672"/>
                  <a:gd name="T85" fmla="*/ 208 h 458"/>
                  <a:gd name="T86" fmla="*/ 3905 w 4672"/>
                  <a:gd name="T87" fmla="*/ 216 h 458"/>
                  <a:gd name="T88" fmla="*/ 4124 w 4672"/>
                  <a:gd name="T89" fmla="*/ 230 h 458"/>
                  <a:gd name="T90" fmla="*/ 4310 w 4672"/>
                  <a:gd name="T91" fmla="*/ 255 h 458"/>
                  <a:gd name="T92" fmla="*/ 4461 w 4672"/>
                  <a:gd name="T93" fmla="*/ 288 h 458"/>
                  <a:gd name="T94" fmla="*/ 4574 w 4672"/>
                  <a:gd name="T95" fmla="*/ 335 h 458"/>
                  <a:gd name="T96" fmla="*/ 4647 w 4672"/>
                  <a:gd name="T97" fmla="*/ 394 h 458"/>
                  <a:gd name="T98" fmla="*/ 4672 w 4672"/>
                  <a:gd name="T99" fmla="*/ 446 h 458"/>
                  <a:gd name="T100" fmla="*/ 4663 w 4672"/>
                  <a:gd name="T101"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2" h="458">
                    <a:moveTo>
                      <a:pt x="4659" y="458"/>
                    </a:moveTo>
                    <a:lnTo>
                      <a:pt x="4655" y="458"/>
                    </a:lnTo>
                    <a:lnTo>
                      <a:pt x="4651" y="456"/>
                    </a:lnTo>
                    <a:lnTo>
                      <a:pt x="4648" y="452"/>
                    </a:lnTo>
                    <a:lnTo>
                      <a:pt x="4646" y="449"/>
                    </a:lnTo>
                    <a:lnTo>
                      <a:pt x="4636" y="426"/>
                    </a:lnTo>
                    <a:lnTo>
                      <a:pt x="4621" y="405"/>
                    </a:lnTo>
                    <a:lnTo>
                      <a:pt x="4602" y="385"/>
                    </a:lnTo>
                    <a:lnTo>
                      <a:pt x="4577" y="367"/>
                    </a:lnTo>
                    <a:lnTo>
                      <a:pt x="4549" y="351"/>
                    </a:lnTo>
                    <a:lnTo>
                      <a:pt x="4514" y="335"/>
                    </a:lnTo>
                    <a:lnTo>
                      <a:pt x="4476" y="321"/>
                    </a:lnTo>
                    <a:lnTo>
                      <a:pt x="4434" y="308"/>
                    </a:lnTo>
                    <a:lnTo>
                      <a:pt x="4388" y="296"/>
                    </a:lnTo>
                    <a:lnTo>
                      <a:pt x="4337" y="286"/>
                    </a:lnTo>
                    <a:lnTo>
                      <a:pt x="4282" y="276"/>
                    </a:lnTo>
                    <a:lnTo>
                      <a:pt x="4224" y="268"/>
                    </a:lnTo>
                    <a:lnTo>
                      <a:pt x="4161" y="261"/>
                    </a:lnTo>
                    <a:lnTo>
                      <a:pt x="4095" y="255"/>
                    </a:lnTo>
                    <a:lnTo>
                      <a:pt x="4025" y="249"/>
                    </a:lnTo>
                    <a:lnTo>
                      <a:pt x="3952" y="245"/>
                    </a:lnTo>
                    <a:lnTo>
                      <a:pt x="3875" y="242"/>
                    </a:lnTo>
                    <a:lnTo>
                      <a:pt x="3795" y="239"/>
                    </a:lnTo>
                    <a:lnTo>
                      <a:pt x="3712" y="236"/>
                    </a:lnTo>
                    <a:lnTo>
                      <a:pt x="3627" y="235"/>
                    </a:lnTo>
                    <a:lnTo>
                      <a:pt x="3537" y="235"/>
                    </a:lnTo>
                    <a:lnTo>
                      <a:pt x="3445" y="235"/>
                    </a:lnTo>
                    <a:lnTo>
                      <a:pt x="3351" y="236"/>
                    </a:lnTo>
                    <a:lnTo>
                      <a:pt x="3254" y="237"/>
                    </a:lnTo>
                    <a:lnTo>
                      <a:pt x="3052" y="242"/>
                    </a:lnTo>
                    <a:lnTo>
                      <a:pt x="2841" y="247"/>
                    </a:lnTo>
                    <a:lnTo>
                      <a:pt x="2621" y="255"/>
                    </a:lnTo>
                    <a:lnTo>
                      <a:pt x="2395" y="263"/>
                    </a:lnTo>
                    <a:lnTo>
                      <a:pt x="2349" y="264"/>
                    </a:lnTo>
                    <a:lnTo>
                      <a:pt x="2303" y="266"/>
                    </a:lnTo>
                    <a:lnTo>
                      <a:pt x="2257" y="266"/>
                    </a:lnTo>
                    <a:lnTo>
                      <a:pt x="2212" y="266"/>
                    </a:lnTo>
                    <a:lnTo>
                      <a:pt x="2122" y="263"/>
                    </a:lnTo>
                    <a:lnTo>
                      <a:pt x="2034" y="260"/>
                    </a:lnTo>
                    <a:lnTo>
                      <a:pt x="1946" y="255"/>
                    </a:lnTo>
                    <a:lnTo>
                      <a:pt x="1860" y="247"/>
                    </a:lnTo>
                    <a:lnTo>
                      <a:pt x="1774" y="239"/>
                    </a:lnTo>
                    <a:lnTo>
                      <a:pt x="1689" y="229"/>
                    </a:lnTo>
                    <a:lnTo>
                      <a:pt x="1606" y="218"/>
                    </a:lnTo>
                    <a:lnTo>
                      <a:pt x="1523" y="207"/>
                    </a:lnTo>
                    <a:lnTo>
                      <a:pt x="1442" y="194"/>
                    </a:lnTo>
                    <a:lnTo>
                      <a:pt x="1362" y="181"/>
                    </a:lnTo>
                    <a:lnTo>
                      <a:pt x="1283" y="168"/>
                    </a:lnTo>
                    <a:lnTo>
                      <a:pt x="1206" y="154"/>
                    </a:lnTo>
                    <a:lnTo>
                      <a:pt x="1129" y="140"/>
                    </a:lnTo>
                    <a:lnTo>
                      <a:pt x="1053" y="126"/>
                    </a:lnTo>
                    <a:lnTo>
                      <a:pt x="978" y="113"/>
                    </a:lnTo>
                    <a:lnTo>
                      <a:pt x="903" y="99"/>
                    </a:lnTo>
                    <a:lnTo>
                      <a:pt x="830" y="86"/>
                    </a:lnTo>
                    <a:lnTo>
                      <a:pt x="758" y="74"/>
                    </a:lnTo>
                    <a:lnTo>
                      <a:pt x="687" y="64"/>
                    </a:lnTo>
                    <a:lnTo>
                      <a:pt x="618" y="53"/>
                    </a:lnTo>
                    <a:lnTo>
                      <a:pt x="550" y="44"/>
                    </a:lnTo>
                    <a:lnTo>
                      <a:pt x="484" y="38"/>
                    </a:lnTo>
                    <a:lnTo>
                      <a:pt x="421" y="32"/>
                    </a:lnTo>
                    <a:lnTo>
                      <a:pt x="357" y="28"/>
                    </a:lnTo>
                    <a:lnTo>
                      <a:pt x="327" y="27"/>
                    </a:lnTo>
                    <a:lnTo>
                      <a:pt x="296" y="27"/>
                    </a:lnTo>
                    <a:lnTo>
                      <a:pt x="266" y="27"/>
                    </a:lnTo>
                    <a:lnTo>
                      <a:pt x="237" y="28"/>
                    </a:lnTo>
                    <a:lnTo>
                      <a:pt x="208" y="29"/>
                    </a:lnTo>
                    <a:lnTo>
                      <a:pt x="179" y="30"/>
                    </a:lnTo>
                    <a:lnTo>
                      <a:pt x="151" y="33"/>
                    </a:lnTo>
                    <a:lnTo>
                      <a:pt x="123" y="37"/>
                    </a:lnTo>
                    <a:lnTo>
                      <a:pt x="96" y="40"/>
                    </a:lnTo>
                    <a:lnTo>
                      <a:pt x="69" y="44"/>
                    </a:lnTo>
                    <a:lnTo>
                      <a:pt x="42" y="50"/>
                    </a:lnTo>
                    <a:lnTo>
                      <a:pt x="16" y="56"/>
                    </a:lnTo>
                    <a:lnTo>
                      <a:pt x="10" y="56"/>
                    </a:lnTo>
                    <a:lnTo>
                      <a:pt x="5" y="55"/>
                    </a:lnTo>
                    <a:lnTo>
                      <a:pt x="2" y="51"/>
                    </a:lnTo>
                    <a:lnTo>
                      <a:pt x="0" y="46"/>
                    </a:lnTo>
                    <a:lnTo>
                      <a:pt x="0" y="41"/>
                    </a:lnTo>
                    <a:lnTo>
                      <a:pt x="1" y="36"/>
                    </a:lnTo>
                    <a:lnTo>
                      <a:pt x="4" y="32"/>
                    </a:lnTo>
                    <a:lnTo>
                      <a:pt x="9" y="30"/>
                    </a:lnTo>
                    <a:lnTo>
                      <a:pt x="36" y="24"/>
                    </a:lnTo>
                    <a:lnTo>
                      <a:pt x="63" y="18"/>
                    </a:lnTo>
                    <a:lnTo>
                      <a:pt x="90" y="14"/>
                    </a:lnTo>
                    <a:lnTo>
                      <a:pt x="118" y="10"/>
                    </a:lnTo>
                    <a:lnTo>
                      <a:pt x="146" y="6"/>
                    </a:lnTo>
                    <a:lnTo>
                      <a:pt x="176" y="4"/>
                    </a:lnTo>
                    <a:lnTo>
                      <a:pt x="205" y="2"/>
                    </a:lnTo>
                    <a:lnTo>
                      <a:pt x="234" y="1"/>
                    </a:lnTo>
                    <a:lnTo>
                      <a:pt x="264" y="0"/>
                    </a:lnTo>
                    <a:lnTo>
                      <a:pt x="294" y="0"/>
                    </a:lnTo>
                    <a:lnTo>
                      <a:pt x="325" y="0"/>
                    </a:lnTo>
                    <a:lnTo>
                      <a:pt x="356" y="1"/>
                    </a:lnTo>
                    <a:lnTo>
                      <a:pt x="420" y="5"/>
                    </a:lnTo>
                    <a:lnTo>
                      <a:pt x="484" y="11"/>
                    </a:lnTo>
                    <a:lnTo>
                      <a:pt x="551" y="17"/>
                    </a:lnTo>
                    <a:lnTo>
                      <a:pt x="619" y="26"/>
                    </a:lnTo>
                    <a:lnTo>
                      <a:pt x="690" y="37"/>
                    </a:lnTo>
                    <a:lnTo>
                      <a:pt x="761" y="48"/>
                    </a:lnTo>
                    <a:lnTo>
                      <a:pt x="833" y="59"/>
                    </a:lnTo>
                    <a:lnTo>
                      <a:pt x="907" y="72"/>
                    </a:lnTo>
                    <a:lnTo>
                      <a:pt x="982" y="86"/>
                    </a:lnTo>
                    <a:lnTo>
                      <a:pt x="1059" y="100"/>
                    </a:lnTo>
                    <a:lnTo>
                      <a:pt x="1133" y="113"/>
                    </a:lnTo>
                    <a:lnTo>
                      <a:pt x="1210" y="127"/>
                    </a:lnTo>
                    <a:lnTo>
                      <a:pt x="1288" y="141"/>
                    </a:lnTo>
                    <a:lnTo>
                      <a:pt x="1365" y="154"/>
                    </a:lnTo>
                    <a:lnTo>
                      <a:pt x="1445" y="167"/>
                    </a:lnTo>
                    <a:lnTo>
                      <a:pt x="1526" y="180"/>
                    </a:lnTo>
                    <a:lnTo>
                      <a:pt x="1608" y="192"/>
                    </a:lnTo>
                    <a:lnTo>
                      <a:pt x="1692" y="202"/>
                    </a:lnTo>
                    <a:lnTo>
                      <a:pt x="1776" y="212"/>
                    </a:lnTo>
                    <a:lnTo>
                      <a:pt x="1861" y="220"/>
                    </a:lnTo>
                    <a:lnTo>
                      <a:pt x="1948" y="228"/>
                    </a:lnTo>
                    <a:lnTo>
                      <a:pt x="2035" y="233"/>
                    </a:lnTo>
                    <a:lnTo>
                      <a:pt x="2124" y="236"/>
                    </a:lnTo>
                    <a:lnTo>
                      <a:pt x="2212" y="239"/>
                    </a:lnTo>
                    <a:lnTo>
                      <a:pt x="2257" y="239"/>
                    </a:lnTo>
                    <a:lnTo>
                      <a:pt x="2303" y="239"/>
                    </a:lnTo>
                    <a:lnTo>
                      <a:pt x="2348" y="237"/>
                    </a:lnTo>
                    <a:lnTo>
                      <a:pt x="2393" y="236"/>
                    </a:lnTo>
                    <a:lnTo>
                      <a:pt x="2630" y="228"/>
                    </a:lnTo>
                    <a:lnTo>
                      <a:pt x="2856" y="220"/>
                    </a:lnTo>
                    <a:lnTo>
                      <a:pt x="3073" y="214"/>
                    </a:lnTo>
                    <a:lnTo>
                      <a:pt x="3279" y="209"/>
                    </a:lnTo>
                    <a:lnTo>
                      <a:pt x="3377" y="208"/>
                    </a:lnTo>
                    <a:lnTo>
                      <a:pt x="3473" y="208"/>
                    </a:lnTo>
                    <a:lnTo>
                      <a:pt x="3566" y="208"/>
                    </a:lnTo>
                    <a:lnTo>
                      <a:pt x="3656" y="208"/>
                    </a:lnTo>
                    <a:lnTo>
                      <a:pt x="3742" y="211"/>
                    </a:lnTo>
                    <a:lnTo>
                      <a:pt x="3825" y="213"/>
                    </a:lnTo>
                    <a:lnTo>
                      <a:pt x="3905" y="216"/>
                    </a:lnTo>
                    <a:lnTo>
                      <a:pt x="3982" y="219"/>
                    </a:lnTo>
                    <a:lnTo>
                      <a:pt x="4055" y="225"/>
                    </a:lnTo>
                    <a:lnTo>
                      <a:pt x="4124" y="230"/>
                    </a:lnTo>
                    <a:lnTo>
                      <a:pt x="4190" y="237"/>
                    </a:lnTo>
                    <a:lnTo>
                      <a:pt x="4252" y="245"/>
                    </a:lnTo>
                    <a:lnTo>
                      <a:pt x="4310" y="255"/>
                    </a:lnTo>
                    <a:lnTo>
                      <a:pt x="4364" y="264"/>
                    </a:lnTo>
                    <a:lnTo>
                      <a:pt x="4415" y="276"/>
                    </a:lnTo>
                    <a:lnTo>
                      <a:pt x="4461" y="288"/>
                    </a:lnTo>
                    <a:lnTo>
                      <a:pt x="4502" y="302"/>
                    </a:lnTo>
                    <a:lnTo>
                      <a:pt x="4540" y="318"/>
                    </a:lnTo>
                    <a:lnTo>
                      <a:pt x="4574" y="335"/>
                    </a:lnTo>
                    <a:lnTo>
                      <a:pt x="4603" y="353"/>
                    </a:lnTo>
                    <a:lnTo>
                      <a:pt x="4627" y="372"/>
                    </a:lnTo>
                    <a:lnTo>
                      <a:pt x="4647" y="394"/>
                    </a:lnTo>
                    <a:lnTo>
                      <a:pt x="4661" y="417"/>
                    </a:lnTo>
                    <a:lnTo>
                      <a:pt x="4672" y="440"/>
                    </a:lnTo>
                    <a:lnTo>
                      <a:pt x="4672" y="446"/>
                    </a:lnTo>
                    <a:lnTo>
                      <a:pt x="4671" y="451"/>
                    </a:lnTo>
                    <a:lnTo>
                      <a:pt x="4668" y="454"/>
                    </a:lnTo>
                    <a:lnTo>
                      <a:pt x="4663" y="458"/>
                    </a:lnTo>
                    <a:lnTo>
                      <a:pt x="4661" y="458"/>
                    </a:lnTo>
                    <a:lnTo>
                      <a:pt x="4659" y="4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24"/>
              <p:cNvSpPr>
                <a:spLocks/>
              </p:cNvSpPr>
              <p:nvPr userDrawn="1"/>
            </p:nvSpPr>
            <p:spPr bwMode="auto">
              <a:xfrm>
                <a:off x="3205" y="3855"/>
                <a:ext cx="494" cy="465"/>
              </a:xfrm>
              <a:custGeom>
                <a:avLst/>
                <a:gdLst>
                  <a:gd name="T0" fmla="*/ 1416 w 1481"/>
                  <a:gd name="T1" fmla="*/ 1339 h 1394"/>
                  <a:gd name="T2" fmla="*/ 1345 w 1481"/>
                  <a:gd name="T3" fmla="*/ 1229 h 1394"/>
                  <a:gd name="T4" fmla="*/ 1267 w 1481"/>
                  <a:gd name="T5" fmla="*/ 1118 h 1394"/>
                  <a:gd name="T6" fmla="*/ 1186 w 1481"/>
                  <a:gd name="T7" fmla="*/ 1006 h 1394"/>
                  <a:gd name="T8" fmla="*/ 1101 w 1481"/>
                  <a:gd name="T9" fmla="*/ 897 h 1394"/>
                  <a:gd name="T10" fmla="*/ 1015 w 1481"/>
                  <a:gd name="T11" fmla="*/ 789 h 1394"/>
                  <a:gd name="T12" fmla="*/ 884 w 1481"/>
                  <a:gd name="T13" fmla="*/ 634 h 1394"/>
                  <a:gd name="T14" fmla="*/ 716 w 1481"/>
                  <a:gd name="T15" fmla="*/ 444 h 1394"/>
                  <a:gd name="T16" fmla="*/ 563 w 1481"/>
                  <a:gd name="T17" fmla="*/ 281 h 1394"/>
                  <a:gd name="T18" fmla="*/ 439 w 1481"/>
                  <a:gd name="T19" fmla="*/ 150 h 1394"/>
                  <a:gd name="T20" fmla="*/ 352 w 1481"/>
                  <a:gd name="T21" fmla="*/ 63 h 1394"/>
                  <a:gd name="T22" fmla="*/ 27 w 1481"/>
                  <a:gd name="T23" fmla="*/ 705 h 1394"/>
                  <a:gd name="T24" fmla="*/ 34 w 1481"/>
                  <a:gd name="T25" fmla="*/ 779 h 1394"/>
                  <a:gd name="T26" fmla="*/ 53 w 1481"/>
                  <a:gd name="T27" fmla="*/ 932 h 1394"/>
                  <a:gd name="T28" fmla="*/ 80 w 1481"/>
                  <a:gd name="T29" fmla="*/ 1144 h 1394"/>
                  <a:gd name="T30" fmla="*/ 116 w 1481"/>
                  <a:gd name="T31" fmla="*/ 1394 h 1394"/>
                  <a:gd name="T32" fmla="*/ 69 w 1481"/>
                  <a:gd name="T33" fmla="*/ 1258 h 1394"/>
                  <a:gd name="T34" fmla="*/ 35 w 1481"/>
                  <a:gd name="T35" fmla="*/ 1014 h 1394"/>
                  <a:gd name="T36" fmla="*/ 13 w 1481"/>
                  <a:gd name="T37" fmla="*/ 826 h 1394"/>
                  <a:gd name="T38" fmla="*/ 1 w 1481"/>
                  <a:gd name="T39" fmla="*/ 719 h 1394"/>
                  <a:gd name="T40" fmla="*/ 0 w 1481"/>
                  <a:gd name="T41" fmla="*/ 701 h 1394"/>
                  <a:gd name="T42" fmla="*/ 308 w 1481"/>
                  <a:gd name="T43" fmla="*/ 8 h 1394"/>
                  <a:gd name="T44" fmla="*/ 313 w 1481"/>
                  <a:gd name="T45" fmla="*/ 4 h 1394"/>
                  <a:gd name="T46" fmla="*/ 318 w 1481"/>
                  <a:gd name="T47" fmla="*/ 0 h 1394"/>
                  <a:gd name="T48" fmla="*/ 325 w 1481"/>
                  <a:gd name="T49" fmla="*/ 1 h 1394"/>
                  <a:gd name="T50" fmla="*/ 331 w 1481"/>
                  <a:gd name="T51" fmla="*/ 5 h 1394"/>
                  <a:gd name="T52" fmla="*/ 368 w 1481"/>
                  <a:gd name="T53" fmla="*/ 40 h 1394"/>
                  <a:gd name="T54" fmla="*/ 462 w 1481"/>
                  <a:gd name="T55" fmla="*/ 135 h 1394"/>
                  <a:gd name="T56" fmla="*/ 601 w 1481"/>
                  <a:gd name="T57" fmla="*/ 280 h 1394"/>
                  <a:gd name="T58" fmla="*/ 771 w 1481"/>
                  <a:gd name="T59" fmla="*/ 465 h 1394"/>
                  <a:gd name="T60" fmla="*/ 956 w 1481"/>
                  <a:gd name="T61" fmla="*/ 678 h 1394"/>
                  <a:gd name="T62" fmla="*/ 1051 w 1481"/>
                  <a:gd name="T63" fmla="*/ 793 h 1394"/>
                  <a:gd name="T64" fmla="*/ 1146 w 1481"/>
                  <a:gd name="T65" fmla="*/ 910 h 1394"/>
                  <a:gd name="T66" fmla="*/ 1238 w 1481"/>
                  <a:gd name="T67" fmla="*/ 1031 h 1394"/>
                  <a:gd name="T68" fmla="*/ 1326 w 1481"/>
                  <a:gd name="T69" fmla="*/ 1152 h 1394"/>
                  <a:gd name="T70" fmla="*/ 1408 w 1481"/>
                  <a:gd name="T71" fmla="*/ 1274 h 1394"/>
                  <a:gd name="T72" fmla="*/ 1481 w 1481"/>
                  <a:gd name="T7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1" h="1394">
                    <a:moveTo>
                      <a:pt x="1450" y="1394"/>
                    </a:moveTo>
                    <a:lnTo>
                      <a:pt x="1416" y="1339"/>
                    </a:lnTo>
                    <a:lnTo>
                      <a:pt x="1382" y="1284"/>
                    </a:lnTo>
                    <a:lnTo>
                      <a:pt x="1345" y="1229"/>
                    </a:lnTo>
                    <a:lnTo>
                      <a:pt x="1307" y="1174"/>
                    </a:lnTo>
                    <a:lnTo>
                      <a:pt x="1267" y="1118"/>
                    </a:lnTo>
                    <a:lnTo>
                      <a:pt x="1227" y="1062"/>
                    </a:lnTo>
                    <a:lnTo>
                      <a:pt x="1186" y="1006"/>
                    </a:lnTo>
                    <a:lnTo>
                      <a:pt x="1144" y="951"/>
                    </a:lnTo>
                    <a:lnTo>
                      <a:pt x="1101" y="897"/>
                    </a:lnTo>
                    <a:lnTo>
                      <a:pt x="1058" y="842"/>
                    </a:lnTo>
                    <a:lnTo>
                      <a:pt x="1015" y="789"/>
                    </a:lnTo>
                    <a:lnTo>
                      <a:pt x="970" y="737"/>
                    </a:lnTo>
                    <a:lnTo>
                      <a:pt x="884" y="634"/>
                    </a:lnTo>
                    <a:lnTo>
                      <a:pt x="799" y="537"/>
                    </a:lnTo>
                    <a:lnTo>
                      <a:pt x="716" y="444"/>
                    </a:lnTo>
                    <a:lnTo>
                      <a:pt x="637" y="359"/>
                    </a:lnTo>
                    <a:lnTo>
                      <a:pt x="563" y="281"/>
                    </a:lnTo>
                    <a:lnTo>
                      <a:pt x="497" y="211"/>
                    </a:lnTo>
                    <a:lnTo>
                      <a:pt x="439" y="150"/>
                    </a:lnTo>
                    <a:lnTo>
                      <a:pt x="391" y="101"/>
                    </a:lnTo>
                    <a:lnTo>
                      <a:pt x="352" y="63"/>
                    </a:lnTo>
                    <a:lnTo>
                      <a:pt x="326" y="37"/>
                    </a:lnTo>
                    <a:lnTo>
                      <a:pt x="27" y="705"/>
                    </a:lnTo>
                    <a:lnTo>
                      <a:pt x="29" y="731"/>
                    </a:lnTo>
                    <a:lnTo>
                      <a:pt x="34" y="779"/>
                    </a:lnTo>
                    <a:lnTo>
                      <a:pt x="42" y="847"/>
                    </a:lnTo>
                    <a:lnTo>
                      <a:pt x="53" y="932"/>
                    </a:lnTo>
                    <a:lnTo>
                      <a:pt x="64" y="1031"/>
                    </a:lnTo>
                    <a:lnTo>
                      <a:pt x="80" y="1144"/>
                    </a:lnTo>
                    <a:lnTo>
                      <a:pt x="97" y="1266"/>
                    </a:lnTo>
                    <a:lnTo>
                      <a:pt x="116" y="1394"/>
                    </a:lnTo>
                    <a:lnTo>
                      <a:pt x="88" y="1394"/>
                    </a:lnTo>
                    <a:lnTo>
                      <a:pt x="69" y="1258"/>
                    </a:lnTo>
                    <a:lnTo>
                      <a:pt x="50" y="1131"/>
                    </a:lnTo>
                    <a:lnTo>
                      <a:pt x="35" y="1014"/>
                    </a:lnTo>
                    <a:lnTo>
                      <a:pt x="22" y="911"/>
                    </a:lnTo>
                    <a:lnTo>
                      <a:pt x="13" y="826"/>
                    </a:lnTo>
                    <a:lnTo>
                      <a:pt x="5" y="761"/>
                    </a:lnTo>
                    <a:lnTo>
                      <a:pt x="1" y="719"/>
                    </a:lnTo>
                    <a:lnTo>
                      <a:pt x="0" y="704"/>
                    </a:lnTo>
                    <a:lnTo>
                      <a:pt x="0" y="701"/>
                    </a:lnTo>
                    <a:lnTo>
                      <a:pt x="1" y="698"/>
                    </a:lnTo>
                    <a:lnTo>
                      <a:pt x="308" y="8"/>
                    </a:lnTo>
                    <a:lnTo>
                      <a:pt x="311" y="6"/>
                    </a:lnTo>
                    <a:lnTo>
                      <a:pt x="313" y="4"/>
                    </a:lnTo>
                    <a:lnTo>
                      <a:pt x="316" y="1"/>
                    </a:lnTo>
                    <a:lnTo>
                      <a:pt x="318" y="0"/>
                    </a:lnTo>
                    <a:lnTo>
                      <a:pt x="321" y="0"/>
                    </a:lnTo>
                    <a:lnTo>
                      <a:pt x="325" y="1"/>
                    </a:lnTo>
                    <a:lnTo>
                      <a:pt x="328" y="3"/>
                    </a:lnTo>
                    <a:lnTo>
                      <a:pt x="331" y="5"/>
                    </a:lnTo>
                    <a:lnTo>
                      <a:pt x="341" y="14"/>
                    </a:lnTo>
                    <a:lnTo>
                      <a:pt x="368" y="40"/>
                    </a:lnTo>
                    <a:lnTo>
                      <a:pt x="408" y="81"/>
                    </a:lnTo>
                    <a:lnTo>
                      <a:pt x="462" y="135"/>
                    </a:lnTo>
                    <a:lnTo>
                      <a:pt x="527" y="202"/>
                    </a:lnTo>
                    <a:lnTo>
                      <a:pt x="601" y="280"/>
                    </a:lnTo>
                    <a:lnTo>
                      <a:pt x="682" y="368"/>
                    </a:lnTo>
                    <a:lnTo>
                      <a:pt x="771" y="465"/>
                    </a:lnTo>
                    <a:lnTo>
                      <a:pt x="862" y="568"/>
                    </a:lnTo>
                    <a:lnTo>
                      <a:pt x="956" y="678"/>
                    </a:lnTo>
                    <a:lnTo>
                      <a:pt x="1004" y="734"/>
                    </a:lnTo>
                    <a:lnTo>
                      <a:pt x="1051" y="793"/>
                    </a:lnTo>
                    <a:lnTo>
                      <a:pt x="1099" y="851"/>
                    </a:lnTo>
                    <a:lnTo>
                      <a:pt x="1146" y="910"/>
                    </a:lnTo>
                    <a:lnTo>
                      <a:pt x="1193" y="971"/>
                    </a:lnTo>
                    <a:lnTo>
                      <a:pt x="1238" y="1031"/>
                    </a:lnTo>
                    <a:lnTo>
                      <a:pt x="1282" y="1092"/>
                    </a:lnTo>
                    <a:lnTo>
                      <a:pt x="1326" y="1152"/>
                    </a:lnTo>
                    <a:lnTo>
                      <a:pt x="1368" y="1214"/>
                    </a:lnTo>
                    <a:lnTo>
                      <a:pt x="1408" y="1274"/>
                    </a:lnTo>
                    <a:lnTo>
                      <a:pt x="1446" y="1335"/>
                    </a:lnTo>
                    <a:lnTo>
                      <a:pt x="1481" y="1394"/>
                    </a:lnTo>
                    <a:lnTo>
                      <a:pt x="1450" y="1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25"/>
              <p:cNvSpPr>
                <a:spLocks/>
              </p:cNvSpPr>
              <p:nvPr userDrawn="1"/>
            </p:nvSpPr>
            <p:spPr bwMode="auto">
              <a:xfrm>
                <a:off x="2457" y="3165"/>
                <a:ext cx="626" cy="233"/>
              </a:xfrm>
              <a:custGeom>
                <a:avLst/>
                <a:gdLst>
                  <a:gd name="T0" fmla="*/ 1860 w 1879"/>
                  <a:gd name="T1" fmla="*/ 699 h 700"/>
                  <a:gd name="T2" fmla="*/ 1796 w 1879"/>
                  <a:gd name="T3" fmla="*/ 647 h 700"/>
                  <a:gd name="T4" fmla="*/ 1681 w 1879"/>
                  <a:gd name="T5" fmla="*/ 558 h 700"/>
                  <a:gd name="T6" fmla="*/ 1575 w 1879"/>
                  <a:gd name="T7" fmla="*/ 476 h 700"/>
                  <a:gd name="T8" fmla="*/ 1476 w 1879"/>
                  <a:gd name="T9" fmla="*/ 404 h 700"/>
                  <a:gd name="T10" fmla="*/ 1382 w 1879"/>
                  <a:gd name="T11" fmla="*/ 340 h 700"/>
                  <a:gd name="T12" fmla="*/ 1296 w 1879"/>
                  <a:gd name="T13" fmla="*/ 284 h 700"/>
                  <a:gd name="T14" fmla="*/ 1214 w 1879"/>
                  <a:gd name="T15" fmla="*/ 235 h 700"/>
                  <a:gd name="T16" fmla="*/ 1136 w 1879"/>
                  <a:gd name="T17" fmla="*/ 192 h 700"/>
                  <a:gd name="T18" fmla="*/ 1061 w 1879"/>
                  <a:gd name="T19" fmla="*/ 156 h 700"/>
                  <a:gd name="T20" fmla="*/ 990 w 1879"/>
                  <a:gd name="T21" fmla="*/ 126 h 700"/>
                  <a:gd name="T22" fmla="*/ 921 w 1879"/>
                  <a:gd name="T23" fmla="*/ 101 h 700"/>
                  <a:gd name="T24" fmla="*/ 854 w 1879"/>
                  <a:gd name="T25" fmla="*/ 81 h 700"/>
                  <a:gd name="T26" fmla="*/ 788 w 1879"/>
                  <a:gd name="T27" fmla="*/ 65 h 700"/>
                  <a:gd name="T28" fmla="*/ 722 w 1879"/>
                  <a:gd name="T29" fmla="*/ 52 h 700"/>
                  <a:gd name="T30" fmla="*/ 655 w 1879"/>
                  <a:gd name="T31" fmla="*/ 42 h 700"/>
                  <a:gd name="T32" fmla="*/ 587 w 1879"/>
                  <a:gd name="T33" fmla="*/ 35 h 700"/>
                  <a:gd name="T34" fmla="*/ 482 w 1879"/>
                  <a:gd name="T35" fmla="*/ 29 h 700"/>
                  <a:gd name="T36" fmla="*/ 311 w 1879"/>
                  <a:gd name="T37" fmla="*/ 27 h 700"/>
                  <a:gd name="T38" fmla="*/ 142 w 1879"/>
                  <a:gd name="T39" fmla="*/ 28 h 700"/>
                  <a:gd name="T40" fmla="*/ 31 w 1879"/>
                  <a:gd name="T41" fmla="*/ 30 h 700"/>
                  <a:gd name="T42" fmla="*/ 8 w 1879"/>
                  <a:gd name="T43" fmla="*/ 30 h 700"/>
                  <a:gd name="T44" fmla="*/ 1 w 1879"/>
                  <a:gd name="T45" fmla="*/ 22 h 700"/>
                  <a:gd name="T46" fmla="*/ 1 w 1879"/>
                  <a:gd name="T47" fmla="*/ 13 h 700"/>
                  <a:gd name="T48" fmla="*/ 7 w 1879"/>
                  <a:gd name="T49" fmla="*/ 5 h 700"/>
                  <a:gd name="T50" fmla="*/ 30 w 1879"/>
                  <a:gd name="T51" fmla="*/ 3 h 700"/>
                  <a:gd name="T52" fmla="*/ 142 w 1879"/>
                  <a:gd name="T53" fmla="*/ 1 h 700"/>
                  <a:gd name="T54" fmla="*/ 311 w 1879"/>
                  <a:gd name="T55" fmla="*/ 0 h 700"/>
                  <a:gd name="T56" fmla="*/ 484 w 1879"/>
                  <a:gd name="T57" fmla="*/ 2 h 700"/>
                  <a:gd name="T58" fmla="*/ 590 w 1879"/>
                  <a:gd name="T59" fmla="*/ 8 h 700"/>
                  <a:gd name="T60" fmla="*/ 658 w 1879"/>
                  <a:gd name="T61" fmla="*/ 15 h 700"/>
                  <a:gd name="T62" fmla="*/ 727 w 1879"/>
                  <a:gd name="T63" fmla="*/ 25 h 700"/>
                  <a:gd name="T64" fmla="*/ 793 w 1879"/>
                  <a:gd name="T65" fmla="*/ 38 h 700"/>
                  <a:gd name="T66" fmla="*/ 860 w 1879"/>
                  <a:gd name="T67" fmla="*/ 54 h 700"/>
                  <a:gd name="T68" fmla="*/ 928 w 1879"/>
                  <a:gd name="T69" fmla="*/ 75 h 700"/>
                  <a:gd name="T70" fmla="*/ 999 w 1879"/>
                  <a:gd name="T71" fmla="*/ 100 h 700"/>
                  <a:gd name="T72" fmla="*/ 1071 w 1879"/>
                  <a:gd name="T73" fmla="*/ 130 h 700"/>
                  <a:gd name="T74" fmla="*/ 1145 w 1879"/>
                  <a:gd name="T75" fmla="*/ 167 h 700"/>
                  <a:gd name="T76" fmla="*/ 1224 w 1879"/>
                  <a:gd name="T77" fmla="*/ 209 h 700"/>
                  <a:gd name="T78" fmla="*/ 1307 w 1879"/>
                  <a:gd name="T79" fmla="*/ 259 h 700"/>
                  <a:gd name="T80" fmla="*/ 1395 w 1879"/>
                  <a:gd name="T81" fmla="*/ 316 h 700"/>
                  <a:gd name="T82" fmla="*/ 1489 w 1879"/>
                  <a:gd name="T83" fmla="*/ 381 h 700"/>
                  <a:gd name="T84" fmla="*/ 1589 w 1879"/>
                  <a:gd name="T85" fmla="*/ 453 h 700"/>
                  <a:gd name="T86" fmla="*/ 1697 w 1879"/>
                  <a:gd name="T87" fmla="*/ 535 h 700"/>
                  <a:gd name="T88" fmla="*/ 1813 w 1879"/>
                  <a:gd name="T89" fmla="*/ 627 h 700"/>
                  <a:gd name="T90" fmla="*/ 1877 w 1879"/>
                  <a:gd name="T91" fmla="*/ 680 h 700"/>
                  <a:gd name="T92" fmla="*/ 1878 w 1879"/>
                  <a:gd name="T93" fmla="*/ 691 h 700"/>
                  <a:gd name="T94" fmla="*/ 1873 w 1879"/>
                  <a:gd name="T95" fmla="*/ 697 h 700"/>
                  <a:gd name="T96" fmla="*/ 1868 w 1879"/>
                  <a:gd name="T97" fmla="*/ 699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79" h="700">
                    <a:moveTo>
                      <a:pt x="1865" y="700"/>
                    </a:moveTo>
                    <a:lnTo>
                      <a:pt x="1860" y="699"/>
                    </a:lnTo>
                    <a:lnTo>
                      <a:pt x="1856" y="697"/>
                    </a:lnTo>
                    <a:lnTo>
                      <a:pt x="1796" y="647"/>
                    </a:lnTo>
                    <a:lnTo>
                      <a:pt x="1737" y="601"/>
                    </a:lnTo>
                    <a:lnTo>
                      <a:pt x="1681" y="558"/>
                    </a:lnTo>
                    <a:lnTo>
                      <a:pt x="1627" y="516"/>
                    </a:lnTo>
                    <a:lnTo>
                      <a:pt x="1575" y="476"/>
                    </a:lnTo>
                    <a:lnTo>
                      <a:pt x="1524" y="439"/>
                    </a:lnTo>
                    <a:lnTo>
                      <a:pt x="1476" y="404"/>
                    </a:lnTo>
                    <a:lnTo>
                      <a:pt x="1428" y="371"/>
                    </a:lnTo>
                    <a:lnTo>
                      <a:pt x="1382" y="340"/>
                    </a:lnTo>
                    <a:lnTo>
                      <a:pt x="1338" y="311"/>
                    </a:lnTo>
                    <a:lnTo>
                      <a:pt x="1296" y="284"/>
                    </a:lnTo>
                    <a:lnTo>
                      <a:pt x="1253" y="258"/>
                    </a:lnTo>
                    <a:lnTo>
                      <a:pt x="1214" y="235"/>
                    </a:lnTo>
                    <a:lnTo>
                      <a:pt x="1174" y="212"/>
                    </a:lnTo>
                    <a:lnTo>
                      <a:pt x="1136" y="192"/>
                    </a:lnTo>
                    <a:lnTo>
                      <a:pt x="1098" y="174"/>
                    </a:lnTo>
                    <a:lnTo>
                      <a:pt x="1061" y="156"/>
                    </a:lnTo>
                    <a:lnTo>
                      <a:pt x="1026" y="140"/>
                    </a:lnTo>
                    <a:lnTo>
                      <a:pt x="990" y="126"/>
                    </a:lnTo>
                    <a:lnTo>
                      <a:pt x="955" y="113"/>
                    </a:lnTo>
                    <a:lnTo>
                      <a:pt x="921" y="101"/>
                    </a:lnTo>
                    <a:lnTo>
                      <a:pt x="887" y="90"/>
                    </a:lnTo>
                    <a:lnTo>
                      <a:pt x="854" y="81"/>
                    </a:lnTo>
                    <a:lnTo>
                      <a:pt x="822" y="72"/>
                    </a:lnTo>
                    <a:lnTo>
                      <a:pt x="788" y="65"/>
                    </a:lnTo>
                    <a:lnTo>
                      <a:pt x="755" y="58"/>
                    </a:lnTo>
                    <a:lnTo>
                      <a:pt x="722" y="52"/>
                    </a:lnTo>
                    <a:lnTo>
                      <a:pt x="689" y="46"/>
                    </a:lnTo>
                    <a:lnTo>
                      <a:pt x="655" y="42"/>
                    </a:lnTo>
                    <a:lnTo>
                      <a:pt x="622" y="39"/>
                    </a:lnTo>
                    <a:lnTo>
                      <a:pt x="587" y="35"/>
                    </a:lnTo>
                    <a:lnTo>
                      <a:pt x="553" y="32"/>
                    </a:lnTo>
                    <a:lnTo>
                      <a:pt x="482" y="29"/>
                    </a:lnTo>
                    <a:lnTo>
                      <a:pt x="399" y="27"/>
                    </a:lnTo>
                    <a:lnTo>
                      <a:pt x="311" y="27"/>
                    </a:lnTo>
                    <a:lnTo>
                      <a:pt x="222" y="27"/>
                    </a:lnTo>
                    <a:lnTo>
                      <a:pt x="142" y="28"/>
                    </a:lnTo>
                    <a:lnTo>
                      <a:pt x="76" y="29"/>
                    </a:lnTo>
                    <a:lnTo>
                      <a:pt x="31" y="30"/>
                    </a:lnTo>
                    <a:lnTo>
                      <a:pt x="14" y="31"/>
                    </a:lnTo>
                    <a:lnTo>
                      <a:pt x="8" y="30"/>
                    </a:lnTo>
                    <a:lnTo>
                      <a:pt x="4" y="27"/>
                    </a:lnTo>
                    <a:lnTo>
                      <a:pt x="1" y="22"/>
                    </a:lnTo>
                    <a:lnTo>
                      <a:pt x="0" y="18"/>
                    </a:lnTo>
                    <a:lnTo>
                      <a:pt x="1" y="13"/>
                    </a:lnTo>
                    <a:lnTo>
                      <a:pt x="3" y="8"/>
                    </a:lnTo>
                    <a:lnTo>
                      <a:pt x="7" y="5"/>
                    </a:lnTo>
                    <a:lnTo>
                      <a:pt x="13" y="4"/>
                    </a:lnTo>
                    <a:lnTo>
                      <a:pt x="30" y="3"/>
                    </a:lnTo>
                    <a:lnTo>
                      <a:pt x="75" y="2"/>
                    </a:lnTo>
                    <a:lnTo>
                      <a:pt x="142" y="1"/>
                    </a:lnTo>
                    <a:lnTo>
                      <a:pt x="222" y="0"/>
                    </a:lnTo>
                    <a:lnTo>
                      <a:pt x="311" y="0"/>
                    </a:lnTo>
                    <a:lnTo>
                      <a:pt x="400" y="0"/>
                    </a:lnTo>
                    <a:lnTo>
                      <a:pt x="484" y="2"/>
                    </a:lnTo>
                    <a:lnTo>
                      <a:pt x="555" y="5"/>
                    </a:lnTo>
                    <a:lnTo>
                      <a:pt x="590" y="8"/>
                    </a:lnTo>
                    <a:lnTo>
                      <a:pt x="625" y="12"/>
                    </a:lnTo>
                    <a:lnTo>
                      <a:pt x="658" y="15"/>
                    </a:lnTo>
                    <a:lnTo>
                      <a:pt x="693" y="20"/>
                    </a:lnTo>
                    <a:lnTo>
                      <a:pt x="727" y="25"/>
                    </a:lnTo>
                    <a:lnTo>
                      <a:pt x="760" y="31"/>
                    </a:lnTo>
                    <a:lnTo>
                      <a:pt x="793" y="38"/>
                    </a:lnTo>
                    <a:lnTo>
                      <a:pt x="827" y="45"/>
                    </a:lnTo>
                    <a:lnTo>
                      <a:pt x="860" y="54"/>
                    </a:lnTo>
                    <a:lnTo>
                      <a:pt x="895" y="65"/>
                    </a:lnTo>
                    <a:lnTo>
                      <a:pt x="928" y="75"/>
                    </a:lnTo>
                    <a:lnTo>
                      <a:pt x="963" y="87"/>
                    </a:lnTo>
                    <a:lnTo>
                      <a:pt x="999" y="100"/>
                    </a:lnTo>
                    <a:lnTo>
                      <a:pt x="1034" y="115"/>
                    </a:lnTo>
                    <a:lnTo>
                      <a:pt x="1071" y="130"/>
                    </a:lnTo>
                    <a:lnTo>
                      <a:pt x="1108" y="148"/>
                    </a:lnTo>
                    <a:lnTo>
                      <a:pt x="1145" y="167"/>
                    </a:lnTo>
                    <a:lnTo>
                      <a:pt x="1184" y="188"/>
                    </a:lnTo>
                    <a:lnTo>
                      <a:pt x="1224" y="209"/>
                    </a:lnTo>
                    <a:lnTo>
                      <a:pt x="1265" y="233"/>
                    </a:lnTo>
                    <a:lnTo>
                      <a:pt x="1307" y="259"/>
                    </a:lnTo>
                    <a:lnTo>
                      <a:pt x="1351" y="287"/>
                    </a:lnTo>
                    <a:lnTo>
                      <a:pt x="1395" y="316"/>
                    </a:lnTo>
                    <a:lnTo>
                      <a:pt x="1441" y="347"/>
                    </a:lnTo>
                    <a:lnTo>
                      <a:pt x="1489" y="381"/>
                    </a:lnTo>
                    <a:lnTo>
                      <a:pt x="1539" y="415"/>
                    </a:lnTo>
                    <a:lnTo>
                      <a:pt x="1589" y="453"/>
                    </a:lnTo>
                    <a:lnTo>
                      <a:pt x="1642" y="493"/>
                    </a:lnTo>
                    <a:lnTo>
                      <a:pt x="1697" y="535"/>
                    </a:lnTo>
                    <a:lnTo>
                      <a:pt x="1753" y="579"/>
                    </a:lnTo>
                    <a:lnTo>
                      <a:pt x="1813" y="627"/>
                    </a:lnTo>
                    <a:lnTo>
                      <a:pt x="1873" y="676"/>
                    </a:lnTo>
                    <a:lnTo>
                      <a:pt x="1877" y="680"/>
                    </a:lnTo>
                    <a:lnTo>
                      <a:pt x="1879" y="685"/>
                    </a:lnTo>
                    <a:lnTo>
                      <a:pt x="1878" y="691"/>
                    </a:lnTo>
                    <a:lnTo>
                      <a:pt x="1875" y="695"/>
                    </a:lnTo>
                    <a:lnTo>
                      <a:pt x="1873" y="697"/>
                    </a:lnTo>
                    <a:lnTo>
                      <a:pt x="1870" y="699"/>
                    </a:lnTo>
                    <a:lnTo>
                      <a:pt x="1868" y="699"/>
                    </a:lnTo>
                    <a:lnTo>
                      <a:pt x="1865" y="7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26"/>
              <p:cNvSpPr>
                <a:spLocks/>
              </p:cNvSpPr>
              <p:nvPr userDrawn="1"/>
            </p:nvSpPr>
            <p:spPr bwMode="auto">
              <a:xfrm>
                <a:off x="3074" y="3389"/>
                <a:ext cx="280" cy="931"/>
              </a:xfrm>
              <a:custGeom>
                <a:avLst/>
                <a:gdLst>
                  <a:gd name="T0" fmla="*/ 775 w 839"/>
                  <a:gd name="T1" fmla="*/ 2740 h 2793"/>
                  <a:gd name="T2" fmla="*/ 762 w 839"/>
                  <a:gd name="T3" fmla="*/ 2667 h 2793"/>
                  <a:gd name="T4" fmla="*/ 750 w 839"/>
                  <a:gd name="T5" fmla="*/ 2599 h 2793"/>
                  <a:gd name="T6" fmla="*/ 727 w 839"/>
                  <a:gd name="T7" fmla="*/ 2470 h 2793"/>
                  <a:gd name="T8" fmla="*/ 713 w 839"/>
                  <a:gd name="T9" fmla="*/ 2372 h 2793"/>
                  <a:gd name="T10" fmla="*/ 712 w 839"/>
                  <a:gd name="T11" fmla="*/ 2308 h 2793"/>
                  <a:gd name="T12" fmla="*/ 721 w 839"/>
                  <a:gd name="T13" fmla="*/ 2258 h 2793"/>
                  <a:gd name="T14" fmla="*/ 757 w 839"/>
                  <a:gd name="T15" fmla="*/ 2137 h 2793"/>
                  <a:gd name="T16" fmla="*/ 783 w 839"/>
                  <a:gd name="T17" fmla="*/ 2040 h 2793"/>
                  <a:gd name="T18" fmla="*/ 799 w 839"/>
                  <a:gd name="T19" fmla="*/ 1953 h 2793"/>
                  <a:gd name="T20" fmla="*/ 810 w 839"/>
                  <a:gd name="T21" fmla="*/ 1853 h 2793"/>
                  <a:gd name="T22" fmla="*/ 812 w 839"/>
                  <a:gd name="T23" fmla="*/ 1738 h 2793"/>
                  <a:gd name="T24" fmla="*/ 803 w 839"/>
                  <a:gd name="T25" fmla="*/ 1606 h 2793"/>
                  <a:gd name="T26" fmla="*/ 780 w 839"/>
                  <a:gd name="T27" fmla="*/ 1454 h 2793"/>
                  <a:gd name="T28" fmla="*/ 740 w 839"/>
                  <a:gd name="T29" fmla="*/ 1283 h 2793"/>
                  <a:gd name="T30" fmla="*/ 682 w 839"/>
                  <a:gd name="T31" fmla="*/ 1087 h 2793"/>
                  <a:gd name="T32" fmla="*/ 602 w 839"/>
                  <a:gd name="T33" fmla="*/ 867 h 2793"/>
                  <a:gd name="T34" fmla="*/ 514 w 839"/>
                  <a:gd name="T35" fmla="*/ 658 h 2793"/>
                  <a:gd name="T36" fmla="*/ 439 w 839"/>
                  <a:gd name="T37" fmla="*/ 520 h 2793"/>
                  <a:gd name="T38" fmla="*/ 351 w 839"/>
                  <a:gd name="T39" fmla="*/ 386 h 2793"/>
                  <a:gd name="T40" fmla="*/ 249 w 839"/>
                  <a:gd name="T41" fmla="*/ 259 h 2793"/>
                  <a:gd name="T42" fmla="*/ 134 w 839"/>
                  <a:gd name="T43" fmla="*/ 139 h 2793"/>
                  <a:gd name="T44" fmla="*/ 4 w 839"/>
                  <a:gd name="T45" fmla="*/ 24 h 2793"/>
                  <a:gd name="T46" fmla="*/ 0 w 839"/>
                  <a:gd name="T47" fmla="*/ 10 h 2793"/>
                  <a:gd name="T48" fmla="*/ 12 w 839"/>
                  <a:gd name="T49" fmla="*/ 0 h 2793"/>
                  <a:gd name="T50" fmla="*/ 67 w 839"/>
                  <a:gd name="T51" fmla="*/ 41 h 2793"/>
                  <a:gd name="T52" fmla="*/ 193 w 839"/>
                  <a:gd name="T53" fmla="*/ 159 h 2793"/>
                  <a:gd name="T54" fmla="*/ 305 w 839"/>
                  <a:gd name="T55" fmla="*/ 283 h 2793"/>
                  <a:gd name="T56" fmla="*/ 405 w 839"/>
                  <a:gd name="T57" fmla="*/ 415 h 2793"/>
                  <a:gd name="T58" fmla="*/ 489 w 839"/>
                  <a:gd name="T59" fmla="*/ 552 h 2793"/>
                  <a:gd name="T60" fmla="*/ 560 w 839"/>
                  <a:gd name="T61" fmla="*/ 694 h 2793"/>
                  <a:gd name="T62" fmla="*/ 657 w 839"/>
                  <a:gd name="T63" fmla="*/ 935 h 2793"/>
                  <a:gd name="T64" fmla="*/ 731 w 839"/>
                  <a:gd name="T65" fmla="*/ 1149 h 2793"/>
                  <a:gd name="T66" fmla="*/ 783 w 839"/>
                  <a:gd name="T67" fmla="*/ 1339 h 2793"/>
                  <a:gd name="T68" fmla="*/ 816 w 839"/>
                  <a:gd name="T69" fmla="*/ 1506 h 2793"/>
                  <a:gd name="T70" fmla="*/ 834 w 839"/>
                  <a:gd name="T71" fmla="*/ 1652 h 2793"/>
                  <a:gd name="T72" fmla="*/ 839 w 839"/>
                  <a:gd name="T73" fmla="*/ 1780 h 2793"/>
                  <a:gd name="T74" fmla="*/ 833 w 839"/>
                  <a:gd name="T75" fmla="*/ 1892 h 2793"/>
                  <a:gd name="T76" fmla="*/ 820 w 839"/>
                  <a:gd name="T77" fmla="*/ 1988 h 2793"/>
                  <a:gd name="T78" fmla="*/ 803 w 839"/>
                  <a:gd name="T79" fmla="*/ 2071 h 2793"/>
                  <a:gd name="T80" fmla="*/ 770 w 839"/>
                  <a:gd name="T81" fmla="*/ 2186 h 2793"/>
                  <a:gd name="T82" fmla="*/ 744 w 839"/>
                  <a:gd name="T83" fmla="*/ 2278 h 2793"/>
                  <a:gd name="T84" fmla="*/ 738 w 839"/>
                  <a:gd name="T85" fmla="*/ 2325 h 2793"/>
                  <a:gd name="T86" fmla="*/ 744 w 839"/>
                  <a:gd name="T87" fmla="*/ 2399 h 2793"/>
                  <a:gd name="T88" fmla="*/ 761 w 839"/>
                  <a:gd name="T89" fmla="*/ 2506 h 2793"/>
                  <a:gd name="T90" fmla="*/ 780 w 839"/>
                  <a:gd name="T91" fmla="*/ 2617 h 2793"/>
                  <a:gd name="T92" fmla="*/ 793 w 839"/>
                  <a:gd name="T93" fmla="*/ 2688 h 2793"/>
                  <a:gd name="T94" fmla="*/ 806 w 839"/>
                  <a:gd name="T95" fmla="*/ 2766 h 2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39" h="2793">
                    <a:moveTo>
                      <a:pt x="784" y="2793"/>
                    </a:moveTo>
                    <a:lnTo>
                      <a:pt x="779" y="2766"/>
                    </a:lnTo>
                    <a:lnTo>
                      <a:pt x="775" y="2740"/>
                    </a:lnTo>
                    <a:lnTo>
                      <a:pt x="771" y="2715"/>
                    </a:lnTo>
                    <a:lnTo>
                      <a:pt x="766" y="2690"/>
                    </a:lnTo>
                    <a:lnTo>
                      <a:pt x="762" y="2667"/>
                    </a:lnTo>
                    <a:lnTo>
                      <a:pt x="758" y="2644"/>
                    </a:lnTo>
                    <a:lnTo>
                      <a:pt x="754" y="2621"/>
                    </a:lnTo>
                    <a:lnTo>
                      <a:pt x="750" y="2599"/>
                    </a:lnTo>
                    <a:lnTo>
                      <a:pt x="742" y="2552"/>
                    </a:lnTo>
                    <a:lnTo>
                      <a:pt x="734" y="2509"/>
                    </a:lnTo>
                    <a:lnTo>
                      <a:pt x="727" y="2470"/>
                    </a:lnTo>
                    <a:lnTo>
                      <a:pt x="722" y="2434"/>
                    </a:lnTo>
                    <a:lnTo>
                      <a:pt x="717" y="2401"/>
                    </a:lnTo>
                    <a:lnTo>
                      <a:pt x="713" y="2372"/>
                    </a:lnTo>
                    <a:lnTo>
                      <a:pt x="711" y="2346"/>
                    </a:lnTo>
                    <a:lnTo>
                      <a:pt x="711" y="2325"/>
                    </a:lnTo>
                    <a:lnTo>
                      <a:pt x="712" y="2308"/>
                    </a:lnTo>
                    <a:lnTo>
                      <a:pt x="713" y="2292"/>
                    </a:lnTo>
                    <a:lnTo>
                      <a:pt x="717" y="2275"/>
                    </a:lnTo>
                    <a:lnTo>
                      <a:pt x="721" y="2258"/>
                    </a:lnTo>
                    <a:lnTo>
                      <a:pt x="731" y="2220"/>
                    </a:lnTo>
                    <a:lnTo>
                      <a:pt x="744" y="2179"/>
                    </a:lnTo>
                    <a:lnTo>
                      <a:pt x="757" y="2137"/>
                    </a:lnTo>
                    <a:lnTo>
                      <a:pt x="770" y="2090"/>
                    </a:lnTo>
                    <a:lnTo>
                      <a:pt x="776" y="2065"/>
                    </a:lnTo>
                    <a:lnTo>
                      <a:pt x="783" y="2040"/>
                    </a:lnTo>
                    <a:lnTo>
                      <a:pt x="788" y="2011"/>
                    </a:lnTo>
                    <a:lnTo>
                      <a:pt x="793" y="1983"/>
                    </a:lnTo>
                    <a:lnTo>
                      <a:pt x="799" y="1953"/>
                    </a:lnTo>
                    <a:lnTo>
                      <a:pt x="803" y="1921"/>
                    </a:lnTo>
                    <a:lnTo>
                      <a:pt x="806" y="1888"/>
                    </a:lnTo>
                    <a:lnTo>
                      <a:pt x="810" y="1853"/>
                    </a:lnTo>
                    <a:lnTo>
                      <a:pt x="812" y="1817"/>
                    </a:lnTo>
                    <a:lnTo>
                      <a:pt x="812" y="1778"/>
                    </a:lnTo>
                    <a:lnTo>
                      <a:pt x="812" y="1738"/>
                    </a:lnTo>
                    <a:lnTo>
                      <a:pt x="811" y="1696"/>
                    </a:lnTo>
                    <a:lnTo>
                      <a:pt x="807" y="1652"/>
                    </a:lnTo>
                    <a:lnTo>
                      <a:pt x="803" y="1606"/>
                    </a:lnTo>
                    <a:lnTo>
                      <a:pt x="797" y="1558"/>
                    </a:lnTo>
                    <a:lnTo>
                      <a:pt x="789" y="1507"/>
                    </a:lnTo>
                    <a:lnTo>
                      <a:pt x="780" y="1454"/>
                    </a:lnTo>
                    <a:lnTo>
                      <a:pt x="769" y="1399"/>
                    </a:lnTo>
                    <a:lnTo>
                      <a:pt x="756" y="1342"/>
                    </a:lnTo>
                    <a:lnTo>
                      <a:pt x="740" y="1283"/>
                    </a:lnTo>
                    <a:lnTo>
                      <a:pt x="723" y="1220"/>
                    </a:lnTo>
                    <a:lnTo>
                      <a:pt x="704" y="1155"/>
                    </a:lnTo>
                    <a:lnTo>
                      <a:pt x="682" y="1087"/>
                    </a:lnTo>
                    <a:lnTo>
                      <a:pt x="658" y="1016"/>
                    </a:lnTo>
                    <a:lnTo>
                      <a:pt x="631" y="944"/>
                    </a:lnTo>
                    <a:lnTo>
                      <a:pt x="602" y="867"/>
                    </a:lnTo>
                    <a:lnTo>
                      <a:pt x="570" y="788"/>
                    </a:lnTo>
                    <a:lnTo>
                      <a:pt x="535" y="705"/>
                    </a:lnTo>
                    <a:lnTo>
                      <a:pt x="514" y="658"/>
                    </a:lnTo>
                    <a:lnTo>
                      <a:pt x="490" y="611"/>
                    </a:lnTo>
                    <a:lnTo>
                      <a:pt x="465" y="565"/>
                    </a:lnTo>
                    <a:lnTo>
                      <a:pt x="439" y="520"/>
                    </a:lnTo>
                    <a:lnTo>
                      <a:pt x="411" y="474"/>
                    </a:lnTo>
                    <a:lnTo>
                      <a:pt x="382" y="430"/>
                    </a:lnTo>
                    <a:lnTo>
                      <a:pt x="351" y="386"/>
                    </a:lnTo>
                    <a:lnTo>
                      <a:pt x="318" y="343"/>
                    </a:lnTo>
                    <a:lnTo>
                      <a:pt x="285" y="300"/>
                    </a:lnTo>
                    <a:lnTo>
                      <a:pt x="249" y="259"/>
                    </a:lnTo>
                    <a:lnTo>
                      <a:pt x="212" y="218"/>
                    </a:lnTo>
                    <a:lnTo>
                      <a:pt x="174" y="177"/>
                    </a:lnTo>
                    <a:lnTo>
                      <a:pt x="134" y="139"/>
                    </a:lnTo>
                    <a:lnTo>
                      <a:pt x="91" y="100"/>
                    </a:lnTo>
                    <a:lnTo>
                      <a:pt x="48" y="61"/>
                    </a:lnTo>
                    <a:lnTo>
                      <a:pt x="4" y="24"/>
                    </a:lnTo>
                    <a:lnTo>
                      <a:pt x="1" y="20"/>
                    </a:lnTo>
                    <a:lnTo>
                      <a:pt x="0" y="14"/>
                    </a:lnTo>
                    <a:lnTo>
                      <a:pt x="0" y="10"/>
                    </a:lnTo>
                    <a:lnTo>
                      <a:pt x="2" y="5"/>
                    </a:lnTo>
                    <a:lnTo>
                      <a:pt x="6" y="1"/>
                    </a:lnTo>
                    <a:lnTo>
                      <a:pt x="12" y="0"/>
                    </a:lnTo>
                    <a:lnTo>
                      <a:pt x="17" y="0"/>
                    </a:lnTo>
                    <a:lnTo>
                      <a:pt x="21" y="3"/>
                    </a:lnTo>
                    <a:lnTo>
                      <a:pt x="67" y="41"/>
                    </a:lnTo>
                    <a:lnTo>
                      <a:pt x="110" y="79"/>
                    </a:lnTo>
                    <a:lnTo>
                      <a:pt x="152" y="119"/>
                    </a:lnTo>
                    <a:lnTo>
                      <a:pt x="193" y="159"/>
                    </a:lnTo>
                    <a:lnTo>
                      <a:pt x="232" y="200"/>
                    </a:lnTo>
                    <a:lnTo>
                      <a:pt x="270" y="241"/>
                    </a:lnTo>
                    <a:lnTo>
                      <a:pt x="305" y="283"/>
                    </a:lnTo>
                    <a:lnTo>
                      <a:pt x="340" y="326"/>
                    </a:lnTo>
                    <a:lnTo>
                      <a:pt x="373" y="371"/>
                    </a:lnTo>
                    <a:lnTo>
                      <a:pt x="405" y="415"/>
                    </a:lnTo>
                    <a:lnTo>
                      <a:pt x="434" y="460"/>
                    </a:lnTo>
                    <a:lnTo>
                      <a:pt x="463" y="506"/>
                    </a:lnTo>
                    <a:lnTo>
                      <a:pt x="489" y="552"/>
                    </a:lnTo>
                    <a:lnTo>
                      <a:pt x="515" y="598"/>
                    </a:lnTo>
                    <a:lnTo>
                      <a:pt x="537" y="647"/>
                    </a:lnTo>
                    <a:lnTo>
                      <a:pt x="560" y="694"/>
                    </a:lnTo>
                    <a:lnTo>
                      <a:pt x="595" y="778"/>
                    </a:lnTo>
                    <a:lnTo>
                      <a:pt x="627" y="857"/>
                    </a:lnTo>
                    <a:lnTo>
                      <a:pt x="657" y="935"/>
                    </a:lnTo>
                    <a:lnTo>
                      <a:pt x="684" y="1010"/>
                    </a:lnTo>
                    <a:lnTo>
                      <a:pt x="709" y="1081"/>
                    </a:lnTo>
                    <a:lnTo>
                      <a:pt x="731" y="1149"/>
                    </a:lnTo>
                    <a:lnTo>
                      <a:pt x="750" y="1215"/>
                    </a:lnTo>
                    <a:lnTo>
                      <a:pt x="767" y="1278"/>
                    </a:lnTo>
                    <a:lnTo>
                      <a:pt x="783" y="1339"/>
                    </a:lnTo>
                    <a:lnTo>
                      <a:pt x="797" y="1397"/>
                    </a:lnTo>
                    <a:lnTo>
                      <a:pt x="807" y="1452"/>
                    </a:lnTo>
                    <a:lnTo>
                      <a:pt x="816" y="1506"/>
                    </a:lnTo>
                    <a:lnTo>
                      <a:pt x="825" y="1557"/>
                    </a:lnTo>
                    <a:lnTo>
                      <a:pt x="830" y="1606"/>
                    </a:lnTo>
                    <a:lnTo>
                      <a:pt x="834" y="1652"/>
                    </a:lnTo>
                    <a:lnTo>
                      <a:pt x="838" y="1697"/>
                    </a:lnTo>
                    <a:lnTo>
                      <a:pt x="839" y="1739"/>
                    </a:lnTo>
                    <a:lnTo>
                      <a:pt x="839" y="1780"/>
                    </a:lnTo>
                    <a:lnTo>
                      <a:pt x="839" y="1819"/>
                    </a:lnTo>
                    <a:lnTo>
                      <a:pt x="837" y="1856"/>
                    </a:lnTo>
                    <a:lnTo>
                      <a:pt x="833" y="1892"/>
                    </a:lnTo>
                    <a:lnTo>
                      <a:pt x="830" y="1925"/>
                    </a:lnTo>
                    <a:lnTo>
                      <a:pt x="826" y="1957"/>
                    </a:lnTo>
                    <a:lnTo>
                      <a:pt x="820" y="1988"/>
                    </a:lnTo>
                    <a:lnTo>
                      <a:pt x="815" y="2017"/>
                    </a:lnTo>
                    <a:lnTo>
                      <a:pt x="808" y="2045"/>
                    </a:lnTo>
                    <a:lnTo>
                      <a:pt x="803" y="2071"/>
                    </a:lnTo>
                    <a:lnTo>
                      <a:pt x="796" y="2097"/>
                    </a:lnTo>
                    <a:lnTo>
                      <a:pt x="783" y="2144"/>
                    </a:lnTo>
                    <a:lnTo>
                      <a:pt x="770" y="2186"/>
                    </a:lnTo>
                    <a:lnTo>
                      <a:pt x="757" y="2226"/>
                    </a:lnTo>
                    <a:lnTo>
                      <a:pt x="747" y="2262"/>
                    </a:lnTo>
                    <a:lnTo>
                      <a:pt x="744" y="2278"/>
                    </a:lnTo>
                    <a:lnTo>
                      <a:pt x="740" y="2294"/>
                    </a:lnTo>
                    <a:lnTo>
                      <a:pt x="738" y="2309"/>
                    </a:lnTo>
                    <a:lnTo>
                      <a:pt x="738" y="2325"/>
                    </a:lnTo>
                    <a:lnTo>
                      <a:pt x="738" y="2345"/>
                    </a:lnTo>
                    <a:lnTo>
                      <a:pt x="740" y="2370"/>
                    </a:lnTo>
                    <a:lnTo>
                      <a:pt x="744" y="2399"/>
                    </a:lnTo>
                    <a:lnTo>
                      <a:pt x="749" y="2431"/>
                    </a:lnTo>
                    <a:lnTo>
                      <a:pt x="754" y="2467"/>
                    </a:lnTo>
                    <a:lnTo>
                      <a:pt x="761" y="2506"/>
                    </a:lnTo>
                    <a:lnTo>
                      <a:pt x="769" y="2548"/>
                    </a:lnTo>
                    <a:lnTo>
                      <a:pt x="777" y="2594"/>
                    </a:lnTo>
                    <a:lnTo>
                      <a:pt x="780" y="2617"/>
                    </a:lnTo>
                    <a:lnTo>
                      <a:pt x="785" y="2640"/>
                    </a:lnTo>
                    <a:lnTo>
                      <a:pt x="789" y="2663"/>
                    </a:lnTo>
                    <a:lnTo>
                      <a:pt x="793" y="2688"/>
                    </a:lnTo>
                    <a:lnTo>
                      <a:pt x="798" y="2713"/>
                    </a:lnTo>
                    <a:lnTo>
                      <a:pt x="802" y="2739"/>
                    </a:lnTo>
                    <a:lnTo>
                      <a:pt x="806" y="2766"/>
                    </a:lnTo>
                    <a:lnTo>
                      <a:pt x="811" y="2793"/>
                    </a:lnTo>
                    <a:lnTo>
                      <a:pt x="784" y="27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27"/>
              <p:cNvSpPr>
                <a:spLocks/>
              </p:cNvSpPr>
              <p:nvPr userDrawn="1"/>
            </p:nvSpPr>
            <p:spPr bwMode="auto">
              <a:xfrm>
                <a:off x="1147" y="3938"/>
                <a:ext cx="188" cy="382"/>
              </a:xfrm>
              <a:custGeom>
                <a:avLst/>
                <a:gdLst>
                  <a:gd name="T0" fmla="*/ 533 w 563"/>
                  <a:gd name="T1" fmla="*/ 1147 h 1147"/>
                  <a:gd name="T2" fmla="*/ 521 w 563"/>
                  <a:gd name="T3" fmla="*/ 1123 h 1147"/>
                  <a:gd name="T4" fmla="*/ 510 w 563"/>
                  <a:gd name="T5" fmla="*/ 1100 h 1147"/>
                  <a:gd name="T6" fmla="*/ 498 w 563"/>
                  <a:gd name="T7" fmla="*/ 1077 h 1147"/>
                  <a:gd name="T8" fmla="*/ 487 w 563"/>
                  <a:gd name="T9" fmla="*/ 1054 h 1147"/>
                  <a:gd name="T10" fmla="*/ 477 w 563"/>
                  <a:gd name="T11" fmla="*/ 1033 h 1147"/>
                  <a:gd name="T12" fmla="*/ 466 w 563"/>
                  <a:gd name="T13" fmla="*/ 1011 h 1147"/>
                  <a:gd name="T14" fmla="*/ 456 w 563"/>
                  <a:gd name="T15" fmla="*/ 990 h 1147"/>
                  <a:gd name="T16" fmla="*/ 446 w 563"/>
                  <a:gd name="T17" fmla="*/ 970 h 1147"/>
                  <a:gd name="T18" fmla="*/ 432 w 563"/>
                  <a:gd name="T19" fmla="*/ 943 h 1147"/>
                  <a:gd name="T20" fmla="*/ 414 w 563"/>
                  <a:gd name="T21" fmla="*/ 904 h 1147"/>
                  <a:gd name="T22" fmla="*/ 393 w 563"/>
                  <a:gd name="T23" fmla="*/ 863 h 1147"/>
                  <a:gd name="T24" fmla="*/ 372 w 563"/>
                  <a:gd name="T25" fmla="*/ 818 h 1147"/>
                  <a:gd name="T26" fmla="*/ 348 w 563"/>
                  <a:gd name="T27" fmla="*/ 769 h 1147"/>
                  <a:gd name="T28" fmla="*/ 323 w 563"/>
                  <a:gd name="T29" fmla="*/ 718 h 1147"/>
                  <a:gd name="T30" fmla="*/ 296 w 563"/>
                  <a:gd name="T31" fmla="*/ 663 h 1147"/>
                  <a:gd name="T32" fmla="*/ 269 w 563"/>
                  <a:gd name="T33" fmla="*/ 607 h 1147"/>
                  <a:gd name="T34" fmla="*/ 241 w 563"/>
                  <a:gd name="T35" fmla="*/ 548 h 1147"/>
                  <a:gd name="T36" fmla="*/ 213 w 563"/>
                  <a:gd name="T37" fmla="*/ 486 h 1147"/>
                  <a:gd name="T38" fmla="*/ 183 w 563"/>
                  <a:gd name="T39" fmla="*/ 424 h 1147"/>
                  <a:gd name="T40" fmla="*/ 154 w 563"/>
                  <a:gd name="T41" fmla="*/ 359 h 1147"/>
                  <a:gd name="T42" fmla="*/ 123 w 563"/>
                  <a:gd name="T43" fmla="*/ 293 h 1147"/>
                  <a:gd name="T44" fmla="*/ 92 w 563"/>
                  <a:gd name="T45" fmla="*/ 225 h 1147"/>
                  <a:gd name="T46" fmla="*/ 62 w 563"/>
                  <a:gd name="T47" fmla="*/ 157 h 1147"/>
                  <a:gd name="T48" fmla="*/ 32 w 563"/>
                  <a:gd name="T49" fmla="*/ 88 h 1147"/>
                  <a:gd name="T50" fmla="*/ 1 w 563"/>
                  <a:gd name="T51" fmla="*/ 18 h 1147"/>
                  <a:gd name="T52" fmla="*/ 0 w 563"/>
                  <a:gd name="T53" fmla="*/ 12 h 1147"/>
                  <a:gd name="T54" fmla="*/ 1 w 563"/>
                  <a:gd name="T55" fmla="*/ 8 h 1147"/>
                  <a:gd name="T56" fmla="*/ 4 w 563"/>
                  <a:gd name="T57" fmla="*/ 4 h 1147"/>
                  <a:gd name="T58" fmla="*/ 8 w 563"/>
                  <a:gd name="T59" fmla="*/ 1 h 1147"/>
                  <a:gd name="T60" fmla="*/ 13 w 563"/>
                  <a:gd name="T61" fmla="*/ 0 h 1147"/>
                  <a:gd name="T62" fmla="*/ 19 w 563"/>
                  <a:gd name="T63" fmla="*/ 1 h 1147"/>
                  <a:gd name="T64" fmla="*/ 23 w 563"/>
                  <a:gd name="T65" fmla="*/ 3 h 1147"/>
                  <a:gd name="T66" fmla="*/ 26 w 563"/>
                  <a:gd name="T67" fmla="*/ 7 h 1147"/>
                  <a:gd name="T68" fmla="*/ 57 w 563"/>
                  <a:gd name="T69" fmla="*/ 77 h 1147"/>
                  <a:gd name="T70" fmla="*/ 87 w 563"/>
                  <a:gd name="T71" fmla="*/ 146 h 1147"/>
                  <a:gd name="T72" fmla="*/ 117 w 563"/>
                  <a:gd name="T73" fmla="*/ 214 h 1147"/>
                  <a:gd name="T74" fmla="*/ 147 w 563"/>
                  <a:gd name="T75" fmla="*/ 282 h 1147"/>
                  <a:gd name="T76" fmla="*/ 177 w 563"/>
                  <a:gd name="T77" fmla="*/ 348 h 1147"/>
                  <a:gd name="T78" fmla="*/ 208 w 563"/>
                  <a:gd name="T79" fmla="*/ 413 h 1147"/>
                  <a:gd name="T80" fmla="*/ 237 w 563"/>
                  <a:gd name="T81" fmla="*/ 476 h 1147"/>
                  <a:gd name="T82" fmla="*/ 266 w 563"/>
                  <a:gd name="T83" fmla="*/ 537 h 1147"/>
                  <a:gd name="T84" fmla="*/ 294 w 563"/>
                  <a:gd name="T85" fmla="*/ 595 h 1147"/>
                  <a:gd name="T86" fmla="*/ 321 w 563"/>
                  <a:gd name="T87" fmla="*/ 653 h 1147"/>
                  <a:gd name="T88" fmla="*/ 347 w 563"/>
                  <a:gd name="T89" fmla="*/ 707 h 1147"/>
                  <a:gd name="T90" fmla="*/ 372 w 563"/>
                  <a:gd name="T91" fmla="*/ 757 h 1147"/>
                  <a:gd name="T92" fmla="*/ 396 w 563"/>
                  <a:gd name="T93" fmla="*/ 806 h 1147"/>
                  <a:gd name="T94" fmla="*/ 417 w 563"/>
                  <a:gd name="T95" fmla="*/ 851 h 1147"/>
                  <a:gd name="T96" fmla="*/ 438 w 563"/>
                  <a:gd name="T97" fmla="*/ 892 h 1147"/>
                  <a:gd name="T98" fmla="*/ 457 w 563"/>
                  <a:gd name="T99" fmla="*/ 931 h 1147"/>
                  <a:gd name="T100" fmla="*/ 470 w 563"/>
                  <a:gd name="T101" fmla="*/ 958 h 1147"/>
                  <a:gd name="T102" fmla="*/ 481 w 563"/>
                  <a:gd name="T103" fmla="*/ 980 h 1147"/>
                  <a:gd name="T104" fmla="*/ 491 w 563"/>
                  <a:gd name="T105" fmla="*/ 1000 h 1147"/>
                  <a:gd name="T106" fmla="*/ 502 w 563"/>
                  <a:gd name="T107" fmla="*/ 1023 h 1147"/>
                  <a:gd name="T108" fmla="*/ 513 w 563"/>
                  <a:gd name="T109" fmla="*/ 1046 h 1147"/>
                  <a:gd name="T110" fmla="*/ 524 w 563"/>
                  <a:gd name="T111" fmla="*/ 1068 h 1147"/>
                  <a:gd name="T112" fmla="*/ 536 w 563"/>
                  <a:gd name="T113" fmla="*/ 1092 h 1147"/>
                  <a:gd name="T114" fmla="*/ 548 w 563"/>
                  <a:gd name="T115" fmla="*/ 1117 h 1147"/>
                  <a:gd name="T116" fmla="*/ 561 w 563"/>
                  <a:gd name="T117" fmla="*/ 1142 h 1147"/>
                  <a:gd name="T118" fmla="*/ 563 w 563"/>
                  <a:gd name="T119" fmla="*/ 1147 h 1147"/>
                  <a:gd name="T120" fmla="*/ 533 w 563"/>
                  <a:gd name="T121" fmla="*/ 114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3" h="1147">
                    <a:moveTo>
                      <a:pt x="533" y="1147"/>
                    </a:moveTo>
                    <a:lnTo>
                      <a:pt x="521" y="1123"/>
                    </a:lnTo>
                    <a:lnTo>
                      <a:pt x="510" y="1100"/>
                    </a:lnTo>
                    <a:lnTo>
                      <a:pt x="498" y="1077"/>
                    </a:lnTo>
                    <a:lnTo>
                      <a:pt x="487" y="1054"/>
                    </a:lnTo>
                    <a:lnTo>
                      <a:pt x="477" y="1033"/>
                    </a:lnTo>
                    <a:lnTo>
                      <a:pt x="466" y="1011"/>
                    </a:lnTo>
                    <a:lnTo>
                      <a:pt x="456" y="990"/>
                    </a:lnTo>
                    <a:lnTo>
                      <a:pt x="446" y="970"/>
                    </a:lnTo>
                    <a:lnTo>
                      <a:pt x="432" y="943"/>
                    </a:lnTo>
                    <a:lnTo>
                      <a:pt x="414" y="904"/>
                    </a:lnTo>
                    <a:lnTo>
                      <a:pt x="393" y="863"/>
                    </a:lnTo>
                    <a:lnTo>
                      <a:pt x="372" y="818"/>
                    </a:lnTo>
                    <a:lnTo>
                      <a:pt x="348" y="769"/>
                    </a:lnTo>
                    <a:lnTo>
                      <a:pt x="323" y="718"/>
                    </a:lnTo>
                    <a:lnTo>
                      <a:pt x="296" y="663"/>
                    </a:lnTo>
                    <a:lnTo>
                      <a:pt x="269" y="607"/>
                    </a:lnTo>
                    <a:lnTo>
                      <a:pt x="241" y="548"/>
                    </a:lnTo>
                    <a:lnTo>
                      <a:pt x="213" y="486"/>
                    </a:lnTo>
                    <a:lnTo>
                      <a:pt x="183" y="424"/>
                    </a:lnTo>
                    <a:lnTo>
                      <a:pt x="154" y="359"/>
                    </a:lnTo>
                    <a:lnTo>
                      <a:pt x="123" y="293"/>
                    </a:lnTo>
                    <a:lnTo>
                      <a:pt x="92" y="225"/>
                    </a:lnTo>
                    <a:lnTo>
                      <a:pt x="62" y="157"/>
                    </a:lnTo>
                    <a:lnTo>
                      <a:pt x="32" y="88"/>
                    </a:lnTo>
                    <a:lnTo>
                      <a:pt x="1" y="18"/>
                    </a:lnTo>
                    <a:lnTo>
                      <a:pt x="0" y="12"/>
                    </a:lnTo>
                    <a:lnTo>
                      <a:pt x="1" y="8"/>
                    </a:lnTo>
                    <a:lnTo>
                      <a:pt x="4" y="4"/>
                    </a:lnTo>
                    <a:lnTo>
                      <a:pt x="8" y="1"/>
                    </a:lnTo>
                    <a:lnTo>
                      <a:pt x="13" y="0"/>
                    </a:lnTo>
                    <a:lnTo>
                      <a:pt x="19" y="1"/>
                    </a:lnTo>
                    <a:lnTo>
                      <a:pt x="23" y="3"/>
                    </a:lnTo>
                    <a:lnTo>
                      <a:pt x="26" y="7"/>
                    </a:lnTo>
                    <a:lnTo>
                      <a:pt x="57" y="77"/>
                    </a:lnTo>
                    <a:lnTo>
                      <a:pt x="87" y="146"/>
                    </a:lnTo>
                    <a:lnTo>
                      <a:pt x="117" y="214"/>
                    </a:lnTo>
                    <a:lnTo>
                      <a:pt x="147" y="282"/>
                    </a:lnTo>
                    <a:lnTo>
                      <a:pt x="177" y="348"/>
                    </a:lnTo>
                    <a:lnTo>
                      <a:pt x="208" y="413"/>
                    </a:lnTo>
                    <a:lnTo>
                      <a:pt x="237" y="476"/>
                    </a:lnTo>
                    <a:lnTo>
                      <a:pt x="266" y="537"/>
                    </a:lnTo>
                    <a:lnTo>
                      <a:pt x="294" y="595"/>
                    </a:lnTo>
                    <a:lnTo>
                      <a:pt x="321" y="653"/>
                    </a:lnTo>
                    <a:lnTo>
                      <a:pt x="347" y="707"/>
                    </a:lnTo>
                    <a:lnTo>
                      <a:pt x="372" y="757"/>
                    </a:lnTo>
                    <a:lnTo>
                      <a:pt x="396" y="806"/>
                    </a:lnTo>
                    <a:lnTo>
                      <a:pt x="417" y="851"/>
                    </a:lnTo>
                    <a:lnTo>
                      <a:pt x="438" y="892"/>
                    </a:lnTo>
                    <a:lnTo>
                      <a:pt x="457" y="931"/>
                    </a:lnTo>
                    <a:lnTo>
                      <a:pt x="470" y="958"/>
                    </a:lnTo>
                    <a:lnTo>
                      <a:pt x="481" y="980"/>
                    </a:lnTo>
                    <a:lnTo>
                      <a:pt x="491" y="1000"/>
                    </a:lnTo>
                    <a:lnTo>
                      <a:pt x="502" y="1023"/>
                    </a:lnTo>
                    <a:lnTo>
                      <a:pt x="513" y="1046"/>
                    </a:lnTo>
                    <a:lnTo>
                      <a:pt x="524" y="1068"/>
                    </a:lnTo>
                    <a:lnTo>
                      <a:pt x="536" y="1092"/>
                    </a:lnTo>
                    <a:lnTo>
                      <a:pt x="548" y="1117"/>
                    </a:lnTo>
                    <a:lnTo>
                      <a:pt x="561" y="1142"/>
                    </a:lnTo>
                    <a:lnTo>
                      <a:pt x="563" y="1147"/>
                    </a:lnTo>
                    <a:lnTo>
                      <a:pt x="533"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28"/>
              <p:cNvSpPr>
                <a:spLocks/>
              </p:cNvSpPr>
              <p:nvPr userDrawn="1"/>
            </p:nvSpPr>
            <p:spPr bwMode="auto">
              <a:xfrm>
                <a:off x="181" y="2934"/>
                <a:ext cx="3185" cy="1386"/>
              </a:xfrm>
              <a:custGeom>
                <a:avLst/>
                <a:gdLst>
                  <a:gd name="T0" fmla="*/ 186 w 9555"/>
                  <a:gd name="T1" fmla="*/ 3803 h 4158"/>
                  <a:gd name="T2" fmla="*/ 919 w 9555"/>
                  <a:gd name="T3" fmla="*/ 2705 h 4158"/>
                  <a:gd name="T4" fmla="*/ 1241 w 9555"/>
                  <a:gd name="T5" fmla="*/ 1919 h 4158"/>
                  <a:gd name="T6" fmla="*/ 1637 w 9555"/>
                  <a:gd name="T7" fmla="*/ 942 h 4158"/>
                  <a:gd name="T8" fmla="*/ 2090 w 9555"/>
                  <a:gd name="T9" fmla="*/ 377 h 4158"/>
                  <a:gd name="T10" fmla="*/ 3132 w 9555"/>
                  <a:gd name="T11" fmla="*/ 11 h 4158"/>
                  <a:gd name="T12" fmla="*/ 3924 w 9555"/>
                  <a:gd name="T13" fmla="*/ 59 h 4158"/>
                  <a:gd name="T14" fmla="*/ 4418 w 9555"/>
                  <a:gd name="T15" fmla="*/ 241 h 4158"/>
                  <a:gd name="T16" fmla="*/ 5038 w 9555"/>
                  <a:gd name="T17" fmla="*/ 369 h 4158"/>
                  <a:gd name="T18" fmla="*/ 6060 w 9555"/>
                  <a:gd name="T19" fmla="*/ 406 h 4158"/>
                  <a:gd name="T20" fmla="*/ 6522 w 9555"/>
                  <a:gd name="T21" fmla="*/ 539 h 4158"/>
                  <a:gd name="T22" fmla="*/ 6975 w 9555"/>
                  <a:gd name="T23" fmla="*/ 573 h 4158"/>
                  <a:gd name="T24" fmla="*/ 7497 w 9555"/>
                  <a:gd name="T25" fmla="*/ 597 h 4158"/>
                  <a:gd name="T26" fmla="*/ 8408 w 9555"/>
                  <a:gd name="T27" fmla="*/ 1001 h 4158"/>
                  <a:gd name="T28" fmla="*/ 9128 w 9555"/>
                  <a:gd name="T29" fmla="*/ 1824 h 4158"/>
                  <a:gd name="T30" fmla="*/ 9510 w 9555"/>
                  <a:gd name="T31" fmla="*/ 2731 h 4158"/>
                  <a:gd name="T32" fmla="*/ 9540 w 9555"/>
                  <a:gd name="T33" fmla="*/ 3280 h 4158"/>
                  <a:gd name="T34" fmla="*/ 9416 w 9555"/>
                  <a:gd name="T35" fmla="*/ 3624 h 4158"/>
                  <a:gd name="T36" fmla="*/ 8855 w 9555"/>
                  <a:gd name="T37" fmla="*/ 3270 h 4158"/>
                  <a:gd name="T38" fmla="*/ 8362 w 9555"/>
                  <a:gd name="T39" fmla="*/ 2921 h 4158"/>
                  <a:gd name="T40" fmla="*/ 8038 w 9555"/>
                  <a:gd name="T41" fmla="*/ 2926 h 4158"/>
                  <a:gd name="T42" fmla="*/ 7438 w 9555"/>
                  <a:gd name="T43" fmla="*/ 3118 h 4158"/>
                  <a:gd name="T44" fmla="*/ 6557 w 9555"/>
                  <a:gd name="T45" fmla="*/ 3225 h 4158"/>
                  <a:gd name="T46" fmla="*/ 5623 w 9555"/>
                  <a:gd name="T47" fmla="*/ 3161 h 4158"/>
                  <a:gd name="T48" fmla="*/ 4918 w 9555"/>
                  <a:gd name="T49" fmla="*/ 2871 h 4158"/>
                  <a:gd name="T50" fmla="*/ 3923 w 9555"/>
                  <a:gd name="T51" fmla="*/ 2257 h 4158"/>
                  <a:gd name="T52" fmla="*/ 3510 w 9555"/>
                  <a:gd name="T53" fmla="*/ 2107 h 4158"/>
                  <a:gd name="T54" fmla="*/ 3299 w 9555"/>
                  <a:gd name="T55" fmla="*/ 2220 h 4158"/>
                  <a:gd name="T56" fmla="*/ 2956 w 9555"/>
                  <a:gd name="T57" fmla="*/ 2977 h 4158"/>
                  <a:gd name="T58" fmla="*/ 2495 w 9555"/>
                  <a:gd name="T59" fmla="*/ 4063 h 4158"/>
                  <a:gd name="T60" fmla="*/ 2535 w 9555"/>
                  <a:gd name="T61" fmla="*/ 3931 h 4158"/>
                  <a:gd name="T62" fmla="*/ 3024 w 9555"/>
                  <a:gd name="T63" fmla="*/ 2683 h 4158"/>
                  <a:gd name="T64" fmla="*/ 3268 w 9555"/>
                  <a:gd name="T65" fmla="*/ 2216 h 4158"/>
                  <a:gd name="T66" fmla="*/ 3492 w 9555"/>
                  <a:gd name="T67" fmla="*/ 2081 h 4158"/>
                  <a:gd name="T68" fmla="*/ 3878 w 9555"/>
                  <a:gd name="T69" fmla="*/ 2202 h 4158"/>
                  <a:gd name="T70" fmla="*/ 4848 w 9555"/>
                  <a:gd name="T71" fmla="*/ 2798 h 4158"/>
                  <a:gd name="T72" fmla="*/ 5576 w 9555"/>
                  <a:gd name="T73" fmla="*/ 3122 h 4158"/>
                  <a:gd name="T74" fmla="*/ 6449 w 9555"/>
                  <a:gd name="T75" fmla="*/ 3201 h 4158"/>
                  <a:gd name="T76" fmla="*/ 7384 w 9555"/>
                  <a:gd name="T77" fmla="*/ 3106 h 4158"/>
                  <a:gd name="T78" fmla="*/ 7994 w 9555"/>
                  <a:gd name="T79" fmla="*/ 2909 h 4158"/>
                  <a:gd name="T80" fmla="*/ 8348 w 9555"/>
                  <a:gd name="T81" fmla="*/ 2889 h 4158"/>
                  <a:gd name="T82" fmla="*/ 8801 w 9555"/>
                  <a:gd name="T83" fmla="*/ 3183 h 4158"/>
                  <a:gd name="T84" fmla="*/ 9437 w 9555"/>
                  <a:gd name="T85" fmla="*/ 3542 h 4158"/>
                  <a:gd name="T86" fmla="*/ 9528 w 9555"/>
                  <a:gd name="T87" fmla="*/ 3046 h 4158"/>
                  <a:gd name="T88" fmla="*/ 9391 w 9555"/>
                  <a:gd name="T89" fmla="*/ 2446 h 4158"/>
                  <a:gd name="T90" fmla="*/ 8888 w 9555"/>
                  <a:gd name="T91" fmla="*/ 1517 h 4158"/>
                  <a:gd name="T92" fmla="*/ 8060 w 9555"/>
                  <a:gd name="T93" fmla="*/ 823 h 4158"/>
                  <a:gd name="T94" fmla="*/ 7237 w 9555"/>
                  <a:gd name="T95" fmla="*/ 588 h 4158"/>
                  <a:gd name="T96" fmla="*/ 6868 w 9555"/>
                  <a:gd name="T97" fmla="*/ 635 h 4158"/>
                  <a:gd name="T98" fmla="*/ 6477 w 9555"/>
                  <a:gd name="T99" fmla="*/ 550 h 4158"/>
                  <a:gd name="T100" fmla="*/ 6014 w 9555"/>
                  <a:gd name="T101" fmla="*/ 426 h 4158"/>
                  <a:gd name="T102" fmla="*/ 5003 w 9555"/>
                  <a:gd name="T103" fmla="*/ 395 h 4158"/>
                  <a:gd name="T104" fmla="*/ 4349 w 9555"/>
                  <a:gd name="T105" fmla="*/ 246 h 4158"/>
                  <a:gd name="T106" fmla="*/ 3884 w 9555"/>
                  <a:gd name="T107" fmla="*/ 76 h 4158"/>
                  <a:gd name="T108" fmla="*/ 3060 w 9555"/>
                  <a:gd name="T109" fmla="*/ 44 h 4158"/>
                  <a:gd name="T110" fmla="*/ 2044 w 9555"/>
                  <a:gd name="T111" fmla="*/ 450 h 4158"/>
                  <a:gd name="T112" fmla="*/ 1631 w 9555"/>
                  <a:gd name="T113" fmla="*/ 1007 h 4158"/>
                  <a:gd name="T114" fmla="*/ 1243 w 9555"/>
                  <a:gd name="T115" fmla="*/ 2018 h 4158"/>
                  <a:gd name="T116" fmla="*/ 895 w 9555"/>
                  <a:gd name="T117" fmla="*/ 2796 h 4158"/>
                  <a:gd name="T118" fmla="*/ 168 w 9555"/>
                  <a:gd name="T119" fmla="*/ 3884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55" h="4158">
                    <a:moveTo>
                      <a:pt x="0" y="4158"/>
                    </a:moveTo>
                    <a:lnTo>
                      <a:pt x="9" y="4140"/>
                    </a:lnTo>
                    <a:lnTo>
                      <a:pt x="18" y="4122"/>
                    </a:lnTo>
                    <a:lnTo>
                      <a:pt x="25" y="4103"/>
                    </a:lnTo>
                    <a:lnTo>
                      <a:pt x="34" y="4085"/>
                    </a:lnTo>
                    <a:lnTo>
                      <a:pt x="44" y="4062"/>
                    </a:lnTo>
                    <a:lnTo>
                      <a:pt x="54" y="4038"/>
                    </a:lnTo>
                    <a:lnTo>
                      <a:pt x="66" y="4013"/>
                    </a:lnTo>
                    <a:lnTo>
                      <a:pt x="79" y="3987"/>
                    </a:lnTo>
                    <a:lnTo>
                      <a:pt x="92" y="3960"/>
                    </a:lnTo>
                    <a:lnTo>
                      <a:pt x="108" y="3932"/>
                    </a:lnTo>
                    <a:lnTo>
                      <a:pt x="125" y="3902"/>
                    </a:lnTo>
                    <a:lnTo>
                      <a:pt x="144" y="3871"/>
                    </a:lnTo>
                    <a:lnTo>
                      <a:pt x="186" y="3803"/>
                    </a:lnTo>
                    <a:lnTo>
                      <a:pt x="233" y="3729"/>
                    </a:lnTo>
                    <a:lnTo>
                      <a:pt x="285" y="3651"/>
                    </a:lnTo>
                    <a:lnTo>
                      <a:pt x="341" y="3569"/>
                    </a:lnTo>
                    <a:lnTo>
                      <a:pt x="402" y="3481"/>
                    </a:lnTo>
                    <a:lnTo>
                      <a:pt x="465" y="3392"/>
                    </a:lnTo>
                    <a:lnTo>
                      <a:pt x="514" y="3319"/>
                    </a:lnTo>
                    <a:lnTo>
                      <a:pt x="565" y="3246"/>
                    </a:lnTo>
                    <a:lnTo>
                      <a:pt x="616" y="3170"/>
                    </a:lnTo>
                    <a:lnTo>
                      <a:pt x="669" y="3094"/>
                    </a:lnTo>
                    <a:lnTo>
                      <a:pt x="720" y="3017"/>
                    </a:lnTo>
                    <a:lnTo>
                      <a:pt x="771" y="2938"/>
                    </a:lnTo>
                    <a:lnTo>
                      <a:pt x="822" y="2860"/>
                    </a:lnTo>
                    <a:lnTo>
                      <a:pt x="872" y="2783"/>
                    </a:lnTo>
                    <a:lnTo>
                      <a:pt x="919" y="2705"/>
                    </a:lnTo>
                    <a:lnTo>
                      <a:pt x="966" y="2628"/>
                    </a:lnTo>
                    <a:lnTo>
                      <a:pt x="1009" y="2552"/>
                    </a:lnTo>
                    <a:lnTo>
                      <a:pt x="1050" y="2477"/>
                    </a:lnTo>
                    <a:lnTo>
                      <a:pt x="1068" y="2442"/>
                    </a:lnTo>
                    <a:lnTo>
                      <a:pt x="1087" y="2405"/>
                    </a:lnTo>
                    <a:lnTo>
                      <a:pt x="1105" y="2369"/>
                    </a:lnTo>
                    <a:lnTo>
                      <a:pt x="1121" y="2335"/>
                    </a:lnTo>
                    <a:lnTo>
                      <a:pt x="1136" y="2300"/>
                    </a:lnTo>
                    <a:lnTo>
                      <a:pt x="1151" y="2266"/>
                    </a:lnTo>
                    <a:lnTo>
                      <a:pt x="1164" y="2233"/>
                    </a:lnTo>
                    <a:lnTo>
                      <a:pt x="1177" y="2201"/>
                    </a:lnTo>
                    <a:lnTo>
                      <a:pt x="1197" y="2104"/>
                    </a:lnTo>
                    <a:lnTo>
                      <a:pt x="1218" y="2011"/>
                    </a:lnTo>
                    <a:lnTo>
                      <a:pt x="1241" y="1919"/>
                    </a:lnTo>
                    <a:lnTo>
                      <a:pt x="1265" y="1832"/>
                    </a:lnTo>
                    <a:lnTo>
                      <a:pt x="1290" y="1746"/>
                    </a:lnTo>
                    <a:lnTo>
                      <a:pt x="1317" y="1663"/>
                    </a:lnTo>
                    <a:lnTo>
                      <a:pt x="1344" y="1583"/>
                    </a:lnTo>
                    <a:lnTo>
                      <a:pt x="1372" y="1507"/>
                    </a:lnTo>
                    <a:lnTo>
                      <a:pt x="1401" y="1432"/>
                    </a:lnTo>
                    <a:lnTo>
                      <a:pt x="1430" y="1361"/>
                    </a:lnTo>
                    <a:lnTo>
                      <a:pt x="1460" y="1292"/>
                    </a:lnTo>
                    <a:lnTo>
                      <a:pt x="1489" y="1226"/>
                    </a:lnTo>
                    <a:lnTo>
                      <a:pt x="1520" y="1164"/>
                    </a:lnTo>
                    <a:lnTo>
                      <a:pt x="1550" y="1104"/>
                    </a:lnTo>
                    <a:lnTo>
                      <a:pt x="1579" y="1047"/>
                    </a:lnTo>
                    <a:lnTo>
                      <a:pt x="1608" y="993"/>
                    </a:lnTo>
                    <a:lnTo>
                      <a:pt x="1637" y="942"/>
                    </a:lnTo>
                    <a:lnTo>
                      <a:pt x="1665" y="894"/>
                    </a:lnTo>
                    <a:lnTo>
                      <a:pt x="1692" y="849"/>
                    </a:lnTo>
                    <a:lnTo>
                      <a:pt x="1718" y="807"/>
                    </a:lnTo>
                    <a:lnTo>
                      <a:pt x="1744" y="768"/>
                    </a:lnTo>
                    <a:lnTo>
                      <a:pt x="1768" y="733"/>
                    </a:lnTo>
                    <a:lnTo>
                      <a:pt x="1791" y="700"/>
                    </a:lnTo>
                    <a:lnTo>
                      <a:pt x="1811" y="670"/>
                    </a:lnTo>
                    <a:lnTo>
                      <a:pt x="1848" y="621"/>
                    </a:lnTo>
                    <a:lnTo>
                      <a:pt x="1877" y="584"/>
                    </a:lnTo>
                    <a:lnTo>
                      <a:pt x="1896" y="560"/>
                    </a:lnTo>
                    <a:lnTo>
                      <a:pt x="1906" y="548"/>
                    </a:lnTo>
                    <a:lnTo>
                      <a:pt x="1964" y="487"/>
                    </a:lnTo>
                    <a:lnTo>
                      <a:pt x="2026" y="429"/>
                    </a:lnTo>
                    <a:lnTo>
                      <a:pt x="2090" y="377"/>
                    </a:lnTo>
                    <a:lnTo>
                      <a:pt x="2157" y="328"/>
                    </a:lnTo>
                    <a:lnTo>
                      <a:pt x="2226" y="284"/>
                    </a:lnTo>
                    <a:lnTo>
                      <a:pt x="2297" y="244"/>
                    </a:lnTo>
                    <a:lnTo>
                      <a:pt x="2369" y="206"/>
                    </a:lnTo>
                    <a:lnTo>
                      <a:pt x="2444" y="173"/>
                    </a:lnTo>
                    <a:lnTo>
                      <a:pt x="2519" y="143"/>
                    </a:lnTo>
                    <a:lnTo>
                      <a:pt x="2595" y="116"/>
                    </a:lnTo>
                    <a:lnTo>
                      <a:pt x="2672" y="94"/>
                    </a:lnTo>
                    <a:lnTo>
                      <a:pt x="2749" y="73"/>
                    </a:lnTo>
                    <a:lnTo>
                      <a:pt x="2827" y="55"/>
                    </a:lnTo>
                    <a:lnTo>
                      <a:pt x="2904" y="41"/>
                    </a:lnTo>
                    <a:lnTo>
                      <a:pt x="2981" y="28"/>
                    </a:lnTo>
                    <a:lnTo>
                      <a:pt x="3057" y="18"/>
                    </a:lnTo>
                    <a:lnTo>
                      <a:pt x="3132" y="11"/>
                    </a:lnTo>
                    <a:lnTo>
                      <a:pt x="3205" y="5"/>
                    </a:lnTo>
                    <a:lnTo>
                      <a:pt x="3277" y="2"/>
                    </a:lnTo>
                    <a:lnTo>
                      <a:pt x="3349" y="0"/>
                    </a:lnTo>
                    <a:lnTo>
                      <a:pt x="3417" y="0"/>
                    </a:lnTo>
                    <a:lnTo>
                      <a:pt x="3483" y="2"/>
                    </a:lnTo>
                    <a:lnTo>
                      <a:pt x="3545" y="4"/>
                    </a:lnTo>
                    <a:lnTo>
                      <a:pt x="3606" y="8"/>
                    </a:lnTo>
                    <a:lnTo>
                      <a:pt x="3663" y="14"/>
                    </a:lnTo>
                    <a:lnTo>
                      <a:pt x="3717" y="19"/>
                    </a:lnTo>
                    <a:lnTo>
                      <a:pt x="3767" y="27"/>
                    </a:lnTo>
                    <a:lnTo>
                      <a:pt x="3813" y="34"/>
                    </a:lnTo>
                    <a:lnTo>
                      <a:pt x="3855" y="42"/>
                    </a:lnTo>
                    <a:lnTo>
                      <a:pt x="3892" y="51"/>
                    </a:lnTo>
                    <a:lnTo>
                      <a:pt x="3924" y="59"/>
                    </a:lnTo>
                    <a:lnTo>
                      <a:pt x="3951" y="68"/>
                    </a:lnTo>
                    <a:lnTo>
                      <a:pt x="3972" y="74"/>
                    </a:lnTo>
                    <a:lnTo>
                      <a:pt x="3993" y="82"/>
                    </a:lnTo>
                    <a:lnTo>
                      <a:pt x="4015" y="91"/>
                    </a:lnTo>
                    <a:lnTo>
                      <a:pt x="4038" y="99"/>
                    </a:lnTo>
                    <a:lnTo>
                      <a:pt x="4061" y="108"/>
                    </a:lnTo>
                    <a:lnTo>
                      <a:pt x="4085" y="116"/>
                    </a:lnTo>
                    <a:lnTo>
                      <a:pt x="4109" y="126"/>
                    </a:lnTo>
                    <a:lnTo>
                      <a:pt x="4134" y="136"/>
                    </a:lnTo>
                    <a:lnTo>
                      <a:pt x="4186" y="156"/>
                    </a:lnTo>
                    <a:lnTo>
                      <a:pt x="4241" y="177"/>
                    </a:lnTo>
                    <a:lnTo>
                      <a:pt x="4298" y="198"/>
                    </a:lnTo>
                    <a:lnTo>
                      <a:pt x="4357" y="220"/>
                    </a:lnTo>
                    <a:lnTo>
                      <a:pt x="4418" y="241"/>
                    </a:lnTo>
                    <a:lnTo>
                      <a:pt x="4479" y="262"/>
                    </a:lnTo>
                    <a:lnTo>
                      <a:pt x="4542" y="282"/>
                    </a:lnTo>
                    <a:lnTo>
                      <a:pt x="4607" y="300"/>
                    </a:lnTo>
                    <a:lnTo>
                      <a:pt x="4671" y="316"/>
                    </a:lnTo>
                    <a:lnTo>
                      <a:pt x="4737" y="331"/>
                    </a:lnTo>
                    <a:lnTo>
                      <a:pt x="4771" y="339"/>
                    </a:lnTo>
                    <a:lnTo>
                      <a:pt x="4804" y="344"/>
                    </a:lnTo>
                    <a:lnTo>
                      <a:pt x="4837" y="351"/>
                    </a:lnTo>
                    <a:lnTo>
                      <a:pt x="4870" y="355"/>
                    </a:lnTo>
                    <a:lnTo>
                      <a:pt x="4904" y="359"/>
                    </a:lnTo>
                    <a:lnTo>
                      <a:pt x="4937" y="363"/>
                    </a:lnTo>
                    <a:lnTo>
                      <a:pt x="4971" y="366"/>
                    </a:lnTo>
                    <a:lnTo>
                      <a:pt x="5004" y="368"/>
                    </a:lnTo>
                    <a:lnTo>
                      <a:pt x="5038" y="369"/>
                    </a:lnTo>
                    <a:lnTo>
                      <a:pt x="5070" y="369"/>
                    </a:lnTo>
                    <a:lnTo>
                      <a:pt x="5103" y="368"/>
                    </a:lnTo>
                    <a:lnTo>
                      <a:pt x="5137" y="367"/>
                    </a:lnTo>
                    <a:lnTo>
                      <a:pt x="5218" y="363"/>
                    </a:lnTo>
                    <a:lnTo>
                      <a:pt x="5304" y="360"/>
                    </a:lnTo>
                    <a:lnTo>
                      <a:pt x="5392" y="359"/>
                    </a:lnTo>
                    <a:lnTo>
                      <a:pt x="5482" y="360"/>
                    </a:lnTo>
                    <a:lnTo>
                      <a:pt x="5574" y="363"/>
                    </a:lnTo>
                    <a:lnTo>
                      <a:pt x="5666" y="367"/>
                    </a:lnTo>
                    <a:lnTo>
                      <a:pt x="5757" y="372"/>
                    </a:lnTo>
                    <a:lnTo>
                      <a:pt x="5847" y="380"/>
                    </a:lnTo>
                    <a:lnTo>
                      <a:pt x="5935" y="390"/>
                    </a:lnTo>
                    <a:lnTo>
                      <a:pt x="6020" y="399"/>
                    </a:lnTo>
                    <a:lnTo>
                      <a:pt x="6060" y="406"/>
                    </a:lnTo>
                    <a:lnTo>
                      <a:pt x="6100" y="412"/>
                    </a:lnTo>
                    <a:lnTo>
                      <a:pt x="6139" y="419"/>
                    </a:lnTo>
                    <a:lnTo>
                      <a:pt x="6177" y="425"/>
                    </a:lnTo>
                    <a:lnTo>
                      <a:pt x="6212" y="433"/>
                    </a:lnTo>
                    <a:lnTo>
                      <a:pt x="6248" y="441"/>
                    </a:lnTo>
                    <a:lnTo>
                      <a:pt x="6280" y="449"/>
                    </a:lnTo>
                    <a:lnTo>
                      <a:pt x="6312" y="458"/>
                    </a:lnTo>
                    <a:lnTo>
                      <a:pt x="6342" y="467"/>
                    </a:lnTo>
                    <a:lnTo>
                      <a:pt x="6369" y="476"/>
                    </a:lnTo>
                    <a:lnTo>
                      <a:pt x="6395" y="486"/>
                    </a:lnTo>
                    <a:lnTo>
                      <a:pt x="6419" y="496"/>
                    </a:lnTo>
                    <a:lnTo>
                      <a:pt x="6452" y="512"/>
                    </a:lnTo>
                    <a:lnTo>
                      <a:pt x="6488" y="526"/>
                    </a:lnTo>
                    <a:lnTo>
                      <a:pt x="6522" y="539"/>
                    </a:lnTo>
                    <a:lnTo>
                      <a:pt x="6559" y="550"/>
                    </a:lnTo>
                    <a:lnTo>
                      <a:pt x="6596" y="561"/>
                    </a:lnTo>
                    <a:lnTo>
                      <a:pt x="6634" y="572"/>
                    </a:lnTo>
                    <a:lnTo>
                      <a:pt x="6671" y="581"/>
                    </a:lnTo>
                    <a:lnTo>
                      <a:pt x="6710" y="589"/>
                    </a:lnTo>
                    <a:lnTo>
                      <a:pt x="6764" y="598"/>
                    </a:lnTo>
                    <a:lnTo>
                      <a:pt x="6808" y="604"/>
                    </a:lnTo>
                    <a:lnTo>
                      <a:pt x="6841" y="608"/>
                    </a:lnTo>
                    <a:lnTo>
                      <a:pt x="6859" y="609"/>
                    </a:lnTo>
                    <a:lnTo>
                      <a:pt x="6871" y="603"/>
                    </a:lnTo>
                    <a:lnTo>
                      <a:pt x="6891" y="596"/>
                    </a:lnTo>
                    <a:lnTo>
                      <a:pt x="6919" y="587"/>
                    </a:lnTo>
                    <a:lnTo>
                      <a:pt x="6954" y="577"/>
                    </a:lnTo>
                    <a:lnTo>
                      <a:pt x="6975" y="573"/>
                    </a:lnTo>
                    <a:lnTo>
                      <a:pt x="6998" y="569"/>
                    </a:lnTo>
                    <a:lnTo>
                      <a:pt x="7023" y="565"/>
                    </a:lnTo>
                    <a:lnTo>
                      <a:pt x="7050" y="562"/>
                    </a:lnTo>
                    <a:lnTo>
                      <a:pt x="7081" y="559"/>
                    </a:lnTo>
                    <a:lnTo>
                      <a:pt x="7112" y="558"/>
                    </a:lnTo>
                    <a:lnTo>
                      <a:pt x="7145" y="557"/>
                    </a:lnTo>
                    <a:lnTo>
                      <a:pt x="7182" y="557"/>
                    </a:lnTo>
                    <a:lnTo>
                      <a:pt x="7220" y="558"/>
                    </a:lnTo>
                    <a:lnTo>
                      <a:pt x="7261" y="561"/>
                    </a:lnTo>
                    <a:lnTo>
                      <a:pt x="7303" y="564"/>
                    </a:lnTo>
                    <a:lnTo>
                      <a:pt x="7348" y="570"/>
                    </a:lnTo>
                    <a:lnTo>
                      <a:pt x="7396" y="577"/>
                    </a:lnTo>
                    <a:lnTo>
                      <a:pt x="7446" y="586"/>
                    </a:lnTo>
                    <a:lnTo>
                      <a:pt x="7497" y="597"/>
                    </a:lnTo>
                    <a:lnTo>
                      <a:pt x="7551" y="610"/>
                    </a:lnTo>
                    <a:lnTo>
                      <a:pt x="7608" y="625"/>
                    </a:lnTo>
                    <a:lnTo>
                      <a:pt x="7667" y="642"/>
                    </a:lnTo>
                    <a:lnTo>
                      <a:pt x="7728" y="662"/>
                    </a:lnTo>
                    <a:lnTo>
                      <a:pt x="7792" y="683"/>
                    </a:lnTo>
                    <a:lnTo>
                      <a:pt x="7858" y="708"/>
                    </a:lnTo>
                    <a:lnTo>
                      <a:pt x="7926" y="735"/>
                    </a:lnTo>
                    <a:lnTo>
                      <a:pt x="7997" y="765"/>
                    </a:lnTo>
                    <a:lnTo>
                      <a:pt x="8071" y="799"/>
                    </a:lnTo>
                    <a:lnTo>
                      <a:pt x="8142" y="834"/>
                    </a:lnTo>
                    <a:lnTo>
                      <a:pt x="8211" y="871"/>
                    </a:lnTo>
                    <a:lnTo>
                      <a:pt x="8278" y="912"/>
                    </a:lnTo>
                    <a:lnTo>
                      <a:pt x="8344" y="955"/>
                    </a:lnTo>
                    <a:lnTo>
                      <a:pt x="8408" y="1001"/>
                    </a:lnTo>
                    <a:lnTo>
                      <a:pt x="8470" y="1048"/>
                    </a:lnTo>
                    <a:lnTo>
                      <a:pt x="8531" y="1098"/>
                    </a:lnTo>
                    <a:lnTo>
                      <a:pt x="8590" y="1149"/>
                    </a:lnTo>
                    <a:lnTo>
                      <a:pt x="8647" y="1203"/>
                    </a:lnTo>
                    <a:lnTo>
                      <a:pt x="8702" y="1260"/>
                    </a:lnTo>
                    <a:lnTo>
                      <a:pt x="8756" y="1317"/>
                    </a:lnTo>
                    <a:lnTo>
                      <a:pt x="8809" y="1376"/>
                    </a:lnTo>
                    <a:lnTo>
                      <a:pt x="8859" y="1437"/>
                    </a:lnTo>
                    <a:lnTo>
                      <a:pt x="8909" y="1498"/>
                    </a:lnTo>
                    <a:lnTo>
                      <a:pt x="8955" y="1562"/>
                    </a:lnTo>
                    <a:lnTo>
                      <a:pt x="9002" y="1626"/>
                    </a:lnTo>
                    <a:lnTo>
                      <a:pt x="9045" y="1691"/>
                    </a:lnTo>
                    <a:lnTo>
                      <a:pt x="9087" y="1757"/>
                    </a:lnTo>
                    <a:lnTo>
                      <a:pt x="9128" y="1824"/>
                    </a:lnTo>
                    <a:lnTo>
                      <a:pt x="9167" y="1891"/>
                    </a:lnTo>
                    <a:lnTo>
                      <a:pt x="9203" y="1959"/>
                    </a:lnTo>
                    <a:lnTo>
                      <a:pt x="9239" y="2027"/>
                    </a:lnTo>
                    <a:lnTo>
                      <a:pt x="9273" y="2095"/>
                    </a:lnTo>
                    <a:lnTo>
                      <a:pt x="9305" y="2164"/>
                    </a:lnTo>
                    <a:lnTo>
                      <a:pt x="9335" y="2232"/>
                    </a:lnTo>
                    <a:lnTo>
                      <a:pt x="9364" y="2300"/>
                    </a:lnTo>
                    <a:lnTo>
                      <a:pt x="9391" y="2368"/>
                    </a:lnTo>
                    <a:lnTo>
                      <a:pt x="9416" y="2436"/>
                    </a:lnTo>
                    <a:lnTo>
                      <a:pt x="9440" y="2503"/>
                    </a:lnTo>
                    <a:lnTo>
                      <a:pt x="9463" y="2570"/>
                    </a:lnTo>
                    <a:lnTo>
                      <a:pt x="9482" y="2635"/>
                    </a:lnTo>
                    <a:lnTo>
                      <a:pt x="9501" y="2701"/>
                    </a:lnTo>
                    <a:lnTo>
                      <a:pt x="9510" y="2731"/>
                    </a:lnTo>
                    <a:lnTo>
                      <a:pt x="9518" y="2762"/>
                    </a:lnTo>
                    <a:lnTo>
                      <a:pt x="9524" y="2792"/>
                    </a:lnTo>
                    <a:lnTo>
                      <a:pt x="9531" y="2823"/>
                    </a:lnTo>
                    <a:lnTo>
                      <a:pt x="9536" y="2852"/>
                    </a:lnTo>
                    <a:lnTo>
                      <a:pt x="9540" y="2881"/>
                    </a:lnTo>
                    <a:lnTo>
                      <a:pt x="9545" y="2910"/>
                    </a:lnTo>
                    <a:lnTo>
                      <a:pt x="9548" y="2938"/>
                    </a:lnTo>
                    <a:lnTo>
                      <a:pt x="9552" y="2993"/>
                    </a:lnTo>
                    <a:lnTo>
                      <a:pt x="9555" y="3046"/>
                    </a:lnTo>
                    <a:lnTo>
                      <a:pt x="9555" y="3097"/>
                    </a:lnTo>
                    <a:lnTo>
                      <a:pt x="9554" y="3145"/>
                    </a:lnTo>
                    <a:lnTo>
                      <a:pt x="9551" y="3193"/>
                    </a:lnTo>
                    <a:lnTo>
                      <a:pt x="9547" y="3237"/>
                    </a:lnTo>
                    <a:lnTo>
                      <a:pt x="9540" y="3280"/>
                    </a:lnTo>
                    <a:lnTo>
                      <a:pt x="9534" y="3320"/>
                    </a:lnTo>
                    <a:lnTo>
                      <a:pt x="9525" y="3359"/>
                    </a:lnTo>
                    <a:lnTo>
                      <a:pt x="9517" y="3395"/>
                    </a:lnTo>
                    <a:lnTo>
                      <a:pt x="9507" y="3429"/>
                    </a:lnTo>
                    <a:lnTo>
                      <a:pt x="9497" y="3461"/>
                    </a:lnTo>
                    <a:lnTo>
                      <a:pt x="9485" y="3496"/>
                    </a:lnTo>
                    <a:lnTo>
                      <a:pt x="9472" y="3527"/>
                    </a:lnTo>
                    <a:lnTo>
                      <a:pt x="9462" y="3553"/>
                    </a:lnTo>
                    <a:lnTo>
                      <a:pt x="9451" y="3575"/>
                    </a:lnTo>
                    <a:lnTo>
                      <a:pt x="9435" y="3605"/>
                    </a:lnTo>
                    <a:lnTo>
                      <a:pt x="9428" y="3617"/>
                    </a:lnTo>
                    <a:lnTo>
                      <a:pt x="9425" y="3620"/>
                    </a:lnTo>
                    <a:lnTo>
                      <a:pt x="9421" y="3623"/>
                    </a:lnTo>
                    <a:lnTo>
                      <a:pt x="9416" y="3624"/>
                    </a:lnTo>
                    <a:lnTo>
                      <a:pt x="9411" y="3623"/>
                    </a:lnTo>
                    <a:lnTo>
                      <a:pt x="9170" y="3514"/>
                    </a:lnTo>
                    <a:lnTo>
                      <a:pt x="9153" y="3505"/>
                    </a:lnTo>
                    <a:lnTo>
                      <a:pt x="9134" y="3495"/>
                    </a:lnTo>
                    <a:lnTo>
                      <a:pt x="9116" y="3484"/>
                    </a:lnTo>
                    <a:lnTo>
                      <a:pt x="9098" y="3473"/>
                    </a:lnTo>
                    <a:lnTo>
                      <a:pt x="9079" y="3460"/>
                    </a:lnTo>
                    <a:lnTo>
                      <a:pt x="9060" y="3446"/>
                    </a:lnTo>
                    <a:lnTo>
                      <a:pt x="9040" y="3430"/>
                    </a:lnTo>
                    <a:lnTo>
                      <a:pt x="9021" y="3415"/>
                    </a:lnTo>
                    <a:lnTo>
                      <a:pt x="8980" y="3382"/>
                    </a:lnTo>
                    <a:lnTo>
                      <a:pt x="8939" y="3346"/>
                    </a:lnTo>
                    <a:lnTo>
                      <a:pt x="8898" y="3308"/>
                    </a:lnTo>
                    <a:lnTo>
                      <a:pt x="8855" y="3270"/>
                    </a:lnTo>
                    <a:lnTo>
                      <a:pt x="8783" y="3205"/>
                    </a:lnTo>
                    <a:lnTo>
                      <a:pt x="8710" y="3140"/>
                    </a:lnTo>
                    <a:lnTo>
                      <a:pt x="8672" y="3109"/>
                    </a:lnTo>
                    <a:lnTo>
                      <a:pt x="8634" y="3079"/>
                    </a:lnTo>
                    <a:lnTo>
                      <a:pt x="8597" y="3049"/>
                    </a:lnTo>
                    <a:lnTo>
                      <a:pt x="8558" y="3022"/>
                    </a:lnTo>
                    <a:lnTo>
                      <a:pt x="8519" y="2996"/>
                    </a:lnTo>
                    <a:lnTo>
                      <a:pt x="8480" y="2974"/>
                    </a:lnTo>
                    <a:lnTo>
                      <a:pt x="8461" y="2963"/>
                    </a:lnTo>
                    <a:lnTo>
                      <a:pt x="8441" y="2953"/>
                    </a:lnTo>
                    <a:lnTo>
                      <a:pt x="8422" y="2944"/>
                    </a:lnTo>
                    <a:lnTo>
                      <a:pt x="8402" y="2935"/>
                    </a:lnTo>
                    <a:lnTo>
                      <a:pt x="8383" y="2927"/>
                    </a:lnTo>
                    <a:lnTo>
                      <a:pt x="8362" y="2921"/>
                    </a:lnTo>
                    <a:lnTo>
                      <a:pt x="8343" y="2914"/>
                    </a:lnTo>
                    <a:lnTo>
                      <a:pt x="8323" y="2910"/>
                    </a:lnTo>
                    <a:lnTo>
                      <a:pt x="8304" y="2906"/>
                    </a:lnTo>
                    <a:lnTo>
                      <a:pt x="8285" y="2903"/>
                    </a:lnTo>
                    <a:lnTo>
                      <a:pt x="8264" y="2900"/>
                    </a:lnTo>
                    <a:lnTo>
                      <a:pt x="8245" y="2900"/>
                    </a:lnTo>
                    <a:lnTo>
                      <a:pt x="8222" y="2900"/>
                    </a:lnTo>
                    <a:lnTo>
                      <a:pt x="8198" y="2900"/>
                    </a:lnTo>
                    <a:lnTo>
                      <a:pt x="8173" y="2903"/>
                    </a:lnTo>
                    <a:lnTo>
                      <a:pt x="8148" y="2906"/>
                    </a:lnTo>
                    <a:lnTo>
                      <a:pt x="8123" y="2909"/>
                    </a:lnTo>
                    <a:lnTo>
                      <a:pt x="8096" y="2913"/>
                    </a:lnTo>
                    <a:lnTo>
                      <a:pt x="8068" y="2920"/>
                    </a:lnTo>
                    <a:lnTo>
                      <a:pt x="8038" y="2926"/>
                    </a:lnTo>
                    <a:lnTo>
                      <a:pt x="8001" y="2936"/>
                    </a:lnTo>
                    <a:lnTo>
                      <a:pt x="7961" y="2946"/>
                    </a:lnTo>
                    <a:lnTo>
                      <a:pt x="7921" y="2958"/>
                    </a:lnTo>
                    <a:lnTo>
                      <a:pt x="7881" y="2971"/>
                    </a:lnTo>
                    <a:lnTo>
                      <a:pt x="7840" y="2985"/>
                    </a:lnTo>
                    <a:lnTo>
                      <a:pt x="7798" y="2999"/>
                    </a:lnTo>
                    <a:lnTo>
                      <a:pt x="7755" y="3013"/>
                    </a:lnTo>
                    <a:lnTo>
                      <a:pt x="7712" y="3028"/>
                    </a:lnTo>
                    <a:lnTo>
                      <a:pt x="7668" y="3043"/>
                    </a:lnTo>
                    <a:lnTo>
                      <a:pt x="7624" y="3058"/>
                    </a:lnTo>
                    <a:lnTo>
                      <a:pt x="7578" y="3073"/>
                    </a:lnTo>
                    <a:lnTo>
                      <a:pt x="7532" y="3088"/>
                    </a:lnTo>
                    <a:lnTo>
                      <a:pt x="7485" y="3103"/>
                    </a:lnTo>
                    <a:lnTo>
                      <a:pt x="7438" y="3118"/>
                    </a:lnTo>
                    <a:lnTo>
                      <a:pt x="7389" y="3132"/>
                    </a:lnTo>
                    <a:lnTo>
                      <a:pt x="7341" y="3145"/>
                    </a:lnTo>
                    <a:lnTo>
                      <a:pt x="7291" y="3157"/>
                    </a:lnTo>
                    <a:lnTo>
                      <a:pt x="7240" y="3169"/>
                    </a:lnTo>
                    <a:lnTo>
                      <a:pt x="7189" y="3180"/>
                    </a:lnTo>
                    <a:lnTo>
                      <a:pt x="7137" y="3189"/>
                    </a:lnTo>
                    <a:lnTo>
                      <a:pt x="7084" y="3197"/>
                    </a:lnTo>
                    <a:lnTo>
                      <a:pt x="7030" y="3204"/>
                    </a:lnTo>
                    <a:lnTo>
                      <a:pt x="6975" y="3209"/>
                    </a:lnTo>
                    <a:lnTo>
                      <a:pt x="6920" y="3212"/>
                    </a:lnTo>
                    <a:lnTo>
                      <a:pt x="6876" y="3213"/>
                    </a:lnTo>
                    <a:lnTo>
                      <a:pt x="6772" y="3218"/>
                    </a:lnTo>
                    <a:lnTo>
                      <a:pt x="6665" y="3222"/>
                    </a:lnTo>
                    <a:lnTo>
                      <a:pt x="6557" y="3225"/>
                    </a:lnTo>
                    <a:lnTo>
                      <a:pt x="6448" y="3227"/>
                    </a:lnTo>
                    <a:lnTo>
                      <a:pt x="6338" y="3229"/>
                    </a:lnTo>
                    <a:lnTo>
                      <a:pt x="6228" y="3226"/>
                    </a:lnTo>
                    <a:lnTo>
                      <a:pt x="6172" y="3225"/>
                    </a:lnTo>
                    <a:lnTo>
                      <a:pt x="6117" y="3222"/>
                    </a:lnTo>
                    <a:lnTo>
                      <a:pt x="6062" y="3219"/>
                    </a:lnTo>
                    <a:lnTo>
                      <a:pt x="6006" y="3216"/>
                    </a:lnTo>
                    <a:lnTo>
                      <a:pt x="5951" y="3210"/>
                    </a:lnTo>
                    <a:lnTo>
                      <a:pt x="5896" y="3205"/>
                    </a:lnTo>
                    <a:lnTo>
                      <a:pt x="5841" y="3198"/>
                    </a:lnTo>
                    <a:lnTo>
                      <a:pt x="5786" y="3190"/>
                    </a:lnTo>
                    <a:lnTo>
                      <a:pt x="5732" y="3181"/>
                    </a:lnTo>
                    <a:lnTo>
                      <a:pt x="5677" y="3171"/>
                    </a:lnTo>
                    <a:lnTo>
                      <a:pt x="5623" y="3161"/>
                    </a:lnTo>
                    <a:lnTo>
                      <a:pt x="5569" y="3148"/>
                    </a:lnTo>
                    <a:lnTo>
                      <a:pt x="5515" y="3135"/>
                    </a:lnTo>
                    <a:lnTo>
                      <a:pt x="5462" y="3120"/>
                    </a:lnTo>
                    <a:lnTo>
                      <a:pt x="5408" y="3103"/>
                    </a:lnTo>
                    <a:lnTo>
                      <a:pt x="5356" y="3085"/>
                    </a:lnTo>
                    <a:lnTo>
                      <a:pt x="5303" y="3066"/>
                    </a:lnTo>
                    <a:lnTo>
                      <a:pt x="5251" y="3045"/>
                    </a:lnTo>
                    <a:lnTo>
                      <a:pt x="5200" y="3022"/>
                    </a:lnTo>
                    <a:lnTo>
                      <a:pt x="5149" y="2999"/>
                    </a:lnTo>
                    <a:lnTo>
                      <a:pt x="5113" y="2980"/>
                    </a:lnTo>
                    <a:lnTo>
                      <a:pt x="5076" y="2961"/>
                    </a:lnTo>
                    <a:lnTo>
                      <a:pt x="5039" y="2940"/>
                    </a:lnTo>
                    <a:lnTo>
                      <a:pt x="5000" y="2919"/>
                    </a:lnTo>
                    <a:lnTo>
                      <a:pt x="4918" y="2871"/>
                    </a:lnTo>
                    <a:lnTo>
                      <a:pt x="4833" y="2821"/>
                    </a:lnTo>
                    <a:lnTo>
                      <a:pt x="4747" y="2768"/>
                    </a:lnTo>
                    <a:lnTo>
                      <a:pt x="4659" y="2713"/>
                    </a:lnTo>
                    <a:lnTo>
                      <a:pt x="4570" y="2655"/>
                    </a:lnTo>
                    <a:lnTo>
                      <a:pt x="4480" y="2599"/>
                    </a:lnTo>
                    <a:lnTo>
                      <a:pt x="4417" y="2558"/>
                    </a:lnTo>
                    <a:lnTo>
                      <a:pt x="4352" y="2517"/>
                    </a:lnTo>
                    <a:lnTo>
                      <a:pt x="4288" y="2476"/>
                    </a:lnTo>
                    <a:lnTo>
                      <a:pt x="4224" y="2436"/>
                    </a:lnTo>
                    <a:lnTo>
                      <a:pt x="4161" y="2397"/>
                    </a:lnTo>
                    <a:lnTo>
                      <a:pt x="4099" y="2360"/>
                    </a:lnTo>
                    <a:lnTo>
                      <a:pt x="4039" y="2324"/>
                    </a:lnTo>
                    <a:lnTo>
                      <a:pt x="3980" y="2289"/>
                    </a:lnTo>
                    <a:lnTo>
                      <a:pt x="3923" y="2257"/>
                    </a:lnTo>
                    <a:lnTo>
                      <a:pt x="3868" y="2228"/>
                    </a:lnTo>
                    <a:lnTo>
                      <a:pt x="3815" y="2201"/>
                    </a:lnTo>
                    <a:lnTo>
                      <a:pt x="3766" y="2176"/>
                    </a:lnTo>
                    <a:lnTo>
                      <a:pt x="3718" y="2156"/>
                    </a:lnTo>
                    <a:lnTo>
                      <a:pt x="3674" y="2138"/>
                    </a:lnTo>
                    <a:lnTo>
                      <a:pt x="3653" y="2131"/>
                    </a:lnTo>
                    <a:lnTo>
                      <a:pt x="3634" y="2124"/>
                    </a:lnTo>
                    <a:lnTo>
                      <a:pt x="3614" y="2120"/>
                    </a:lnTo>
                    <a:lnTo>
                      <a:pt x="3597" y="2116"/>
                    </a:lnTo>
                    <a:lnTo>
                      <a:pt x="3579" y="2112"/>
                    </a:lnTo>
                    <a:lnTo>
                      <a:pt x="3560" y="2109"/>
                    </a:lnTo>
                    <a:lnTo>
                      <a:pt x="3543" y="2108"/>
                    </a:lnTo>
                    <a:lnTo>
                      <a:pt x="3527" y="2107"/>
                    </a:lnTo>
                    <a:lnTo>
                      <a:pt x="3510" y="2107"/>
                    </a:lnTo>
                    <a:lnTo>
                      <a:pt x="3493" y="2108"/>
                    </a:lnTo>
                    <a:lnTo>
                      <a:pt x="3478" y="2110"/>
                    </a:lnTo>
                    <a:lnTo>
                      <a:pt x="3462" y="2113"/>
                    </a:lnTo>
                    <a:lnTo>
                      <a:pt x="3447" y="2117"/>
                    </a:lnTo>
                    <a:lnTo>
                      <a:pt x="3432" y="2122"/>
                    </a:lnTo>
                    <a:lnTo>
                      <a:pt x="3417" y="2129"/>
                    </a:lnTo>
                    <a:lnTo>
                      <a:pt x="3402" y="2136"/>
                    </a:lnTo>
                    <a:lnTo>
                      <a:pt x="3387" y="2144"/>
                    </a:lnTo>
                    <a:lnTo>
                      <a:pt x="3372" y="2153"/>
                    </a:lnTo>
                    <a:lnTo>
                      <a:pt x="3357" y="2164"/>
                    </a:lnTo>
                    <a:lnTo>
                      <a:pt x="3343" y="2176"/>
                    </a:lnTo>
                    <a:lnTo>
                      <a:pt x="3328" y="2190"/>
                    </a:lnTo>
                    <a:lnTo>
                      <a:pt x="3314" y="2204"/>
                    </a:lnTo>
                    <a:lnTo>
                      <a:pt x="3299" y="2220"/>
                    </a:lnTo>
                    <a:lnTo>
                      <a:pt x="3284" y="2237"/>
                    </a:lnTo>
                    <a:lnTo>
                      <a:pt x="3270" y="2255"/>
                    </a:lnTo>
                    <a:lnTo>
                      <a:pt x="3255" y="2275"/>
                    </a:lnTo>
                    <a:lnTo>
                      <a:pt x="3240" y="2296"/>
                    </a:lnTo>
                    <a:lnTo>
                      <a:pt x="3223" y="2319"/>
                    </a:lnTo>
                    <a:lnTo>
                      <a:pt x="3192" y="2368"/>
                    </a:lnTo>
                    <a:lnTo>
                      <a:pt x="3159" y="2424"/>
                    </a:lnTo>
                    <a:lnTo>
                      <a:pt x="3125" y="2486"/>
                    </a:lnTo>
                    <a:lnTo>
                      <a:pt x="3088" y="2554"/>
                    </a:lnTo>
                    <a:lnTo>
                      <a:pt x="3072" y="2618"/>
                    </a:lnTo>
                    <a:lnTo>
                      <a:pt x="3050" y="2693"/>
                    </a:lnTo>
                    <a:lnTo>
                      <a:pt x="3023" y="2780"/>
                    </a:lnTo>
                    <a:lnTo>
                      <a:pt x="2991" y="2875"/>
                    </a:lnTo>
                    <a:lnTo>
                      <a:pt x="2956" y="2977"/>
                    </a:lnTo>
                    <a:lnTo>
                      <a:pt x="2917" y="3085"/>
                    </a:lnTo>
                    <a:lnTo>
                      <a:pt x="2876" y="3197"/>
                    </a:lnTo>
                    <a:lnTo>
                      <a:pt x="2833" y="3312"/>
                    </a:lnTo>
                    <a:lnTo>
                      <a:pt x="2787" y="3426"/>
                    </a:lnTo>
                    <a:lnTo>
                      <a:pt x="2741" y="3539"/>
                    </a:lnTo>
                    <a:lnTo>
                      <a:pt x="2694" y="3650"/>
                    </a:lnTo>
                    <a:lnTo>
                      <a:pt x="2648" y="3755"/>
                    </a:lnTo>
                    <a:lnTo>
                      <a:pt x="2625" y="3805"/>
                    </a:lnTo>
                    <a:lnTo>
                      <a:pt x="2603" y="3855"/>
                    </a:lnTo>
                    <a:lnTo>
                      <a:pt x="2580" y="3901"/>
                    </a:lnTo>
                    <a:lnTo>
                      <a:pt x="2558" y="3945"/>
                    </a:lnTo>
                    <a:lnTo>
                      <a:pt x="2536" y="3987"/>
                    </a:lnTo>
                    <a:lnTo>
                      <a:pt x="2515" y="4026"/>
                    </a:lnTo>
                    <a:lnTo>
                      <a:pt x="2495" y="4063"/>
                    </a:lnTo>
                    <a:lnTo>
                      <a:pt x="2474" y="4096"/>
                    </a:lnTo>
                    <a:lnTo>
                      <a:pt x="2464" y="4112"/>
                    </a:lnTo>
                    <a:lnTo>
                      <a:pt x="2455" y="4127"/>
                    </a:lnTo>
                    <a:lnTo>
                      <a:pt x="2444" y="4142"/>
                    </a:lnTo>
                    <a:lnTo>
                      <a:pt x="2432" y="4158"/>
                    </a:lnTo>
                    <a:lnTo>
                      <a:pt x="2398" y="4158"/>
                    </a:lnTo>
                    <a:lnTo>
                      <a:pt x="2414" y="4139"/>
                    </a:lnTo>
                    <a:lnTo>
                      <a:pt x="2428" y="4119"/>
                    </a:lnTo>
                    <a:lnTo>
                      <a:pt x="2440" y="4101"/>
                    </a:lnTo>
                    <a:lnTo>
                      <a:pt x="2451" y="4082"/>
                    </a:lnTo>
                    <a:lnTo>
                      <a:pt x="2471" y="4049"/>
                    </a:lnTo>
                    <a:lnTo>
                      <a:pt x="2491" y="4012"/>
                    </a:lnTo>
                    <a:lnTo>
                      <a:pt x="2513" y="3973"/>
                    </a:lnTo>
                    <a:lnTo>
                      <a:pt x="2535" y="3931"/>
                    </a:lnTo>
                    <a:lnTo>
                      <a:pt x="2556" y="3887"/>
                    </a:lnTo>
                    <a:lnTo>
                      <a:pt x="2579" y="3841"/>
                    </a:lnTo>
                    <a:lnTo>
                      <a:pt x="2601" y="3792"/>
                    </a:lnTo>
                    <a:lnTo>
                      <a:pt x="2624" y="3742"/>
                    </a:lnTo>
                    <a:lnTo>
                      <a:pt x="2671" y="3637"/>
                    </a:lnTo>
                    <a:lnTo>
                      <a:pt x="2717" y="3527"/>
                    </a:lnTo>
                    <a:lnTo>
                      <a:pt x="2763" y="3414"/>
                    </a:lnTo>
                    <a:lnTo>
                      <a:pt x="2808" y="3300"/>
                    </a:lnTo>
                    <a:lnTo>
                      <a:pt x="2851" y="3185"/>
                    </a:lnTo>
                    <a:lnTo>
                      <a:pt x="2892" y="3074"/>
                    </a:lnTo>
                    <a:lnTo>
                      <a:pt x="2931" y="2966"/>
                    </a:lnTo>
                    <a:lnTo>
                      <a:pt x="2965" y="2865"/>
                    </a:lnTo>
                    <a:lnTo>
                      <a:pt x="2997" y="2770"/>
                    </a:lnTo>
                    <a:lnTo>
                      <a:pt x="3024" y="2683"/>
                    </a:lnTo>
                    <a:lnTo>
                      <a:pt x="3046" y="2609"/>
                    </a:lnTo>
                    <a:lnTo>
                      <a:pt x="3063" y="2545"/>
                    </a:lnTo>
                    <a:lnTo>
                      <a:pt x="3064" y="2544"/>
                    </a:lnTo>
                    <a:lnTo>
                      <a:pt x="3064" y="2543"/>
                    </a:lnTo>
                    <a:lnTo>
                      <a:pt x="3101" y="2473"/>
                    </a:lnTo>
                    <a:lnTo>
                      <a:pt x="3137" y="2409"/>
                    </a:lnTo>
                    <a:lnTo>
                      <a:pt x="3154" y="2380"/>
                    </a:lnTo>
                    <a:lnTo>
                      <a:pt x="3171" y="2352"/>
                    </a:lnTo>
                    <a:lnTo>
                      <a:pt x="3188" y="2325"/>
                    </a:lnTo>
                    <a:lnTo>
                      <a:pt x="3204" y="2300"/>
                    </a:lnTo>
                    <a:lnTo>
                      <a:pt x="3220" y="2278"/>
                    </a:lnTo>
                    <a:lnTo>
                      <a:pt x="3236" y="2255"/>
                    </a:lnTo>
                    <a:lnTo>
                      <a:pt x="3253" y="2234"/>
                    </a:lnTo>
                    <a:lnTo>
                      <a:pt x="3268" y="2216"/>
                    </a:lnTo>
                    <a:lnTo>
                      <a:pt x="3284" y="2198"/>
                    </a:lnTo>
                    <a:lnTo>
                      <a:pt x="3299" y="2181"/>
                    </a:lnTo>
                    <a:lnTo>
                      <a:pt x="3315" y="2166"/>
                    </a:lnTo>
                    <a:lnTo>
                      <a:pt x="3330" y="2152"/>
                    </a:lnTo>
                    <a:lnTo>
                      <a:pt x="3345" y="2140"/>
                    </a:lnTo>
                    <a:lnTo>
                      <a:pt x="3362" y="2129"/>
                    </a:lnTo>
                    <a:lnTo>
                      <a:pt x="3377" y="2119"/>
                    </a:lnTo>
                    <a:lnTo>
                      <a:pt x="3393" y="2110"/>
                    </a:lnTo>
                    <a:lnTo>
                      <a:pt x="3409" y="2103"/>
                    </a:lnTo>
                    <a:lnTo>
                      <a:pt x="3425" y="2096"/>
                    </a:lnTo>
                    <a:lnTo>
                      <a:pt x="3442" y="2091"/>
                    </a:lnTo>
                    <a:lnTo>
                      <a:pt x="3458" y="2086"/>
                    </a:lnTo>
                    <a:lnTo>
                      <a:pt x="3475" y="2083"/>
                    </a:lnTo>
                    <a:lnTo>
                      <a:pt x="3492" y="2081"/>
                    </a:lnTo>
                    <a:lnTo>
                      <a:pt x="3510" y="2080"/>
                    </a:lnTo>
                    <a:lnTo>
                      <a:pt x="3527" y="2080"/>
                    </a:lnTo>
                    <a:lnTo>
                      <a:pt x="3545" y="2081"/>
                    </a:lnTo>
                    <a:lnTo>
                      <a:pt x="3564" y="2082"/>
                    </a:lnTo>
                    <a:lnTo>
                      <a:pt x="3583" y="2085"/>
                    </a:lnTo>
                    <a:lnTo>
                      <a:pt x="3602" y="2089"/>
                    </a:lnTo>
                    <a:lnTo>
                      <a:pt x="3621" y="2093"/>
                    </a:lnTo>
                    <a:lnTo>
                      <a:pt x="3640" y="2098"/>
                    </a:lnTo>
                    <a:lnTo>
                      <a:pt x="3660" y="2105"/>
                    </a:lnTo>
                    <a:lnTo>
                      <a:pt x="3681" y="2112"/>
                    </a:lnTo>
                    <a:lnTo>
                      <a:pt x="3726" y="2130"/>
                    </a:lnTo>
                    <a:lnTo>
                      <a:pt x="3774" y="2151"/>
                    </a:lnTo>
                    <a:lnTo>
                      <a:pt x="3825" y="2175"/>
                    </a:lnTo>
                    <a:lnTo>
                      <a:pt x="3878" y="2202"/>
                    </a:lnTo>
                    <a:lnTo>
                      <a:pt x="3933" y="2232"/>
                    </a:lnTo>
                    <a:lnTo>
                      <a:pt x="3991" y="2265"/>
                    </a:lnTo>
                    <a:lnTo>
                      <a:pt x="4051" y="2299"/>
                    </a:lnTo>
                    <a:lnTo>
                      <a:pt x="4111" y="2336"/>
                    </a:lnTo>
                    <a:lnTo>
                      <a:pt x="4174" y="2374"/>
                    </a:lnTo>
                    <a:lnTo>
                      <a:pt x="4237" y="2412"/>
                    </a:lnTo>
                    <a:lnTo>
                      <a:pt x="4301" y="2452"/>
                    </a:lnTo>
                    <a:lnTo>
                      <a:pt x="4366" y="2493"/>
                    </a:lnTo>
                    <a:lnTo>
                      <a:pt x="4431" y="2534"/>
                    </a:lnTo>
                    <a:lnTo>
                      <a:pt x="4495" y="2577"/>
                    </a:lnTo>
                    <a:lnTo>
                      <a:pt x="4584" y="2633"/>
                    </a:lnTo>
                    <a:lnTo>
                      <a:pt x="4673" y="2689"/>
                    </a:lnTo>
                    <a:lnTo>
                      <a:pt x="4761" y="2744"/>
                    </a:lnTo>
                    <a:lnTo>
                      <a:pt x="4848" y="2798"/>
                    </a:lnTo>
                    <a:lnTo>
                      <a:pt x="4932" y="2848"/>
                    </a:lnTo>
                    <a:lnTo>
                      <a:pt x="5013" y="2895"/>
                    </a:lnTo>
                    <a:lnTo>
                      <a:pt x="5052" y="2917"/>
                    </a:lnTo>
                    <a:lnTo>
                      <a:pt x="5089" y="2937"/>
                    </a:lnTo>
                    <a:lnTo>
                      <a:pt x="5126" y="2957"/>
                    </a:lnTo>
                    <a:lnTo>
                      <a:pt x="5161" y="2974"/>
                    </a:lnTo>
                    <a:lnTo>
                      <a:pt x="5211" y="2998"/>
                    </a:lnTo>
                    <a:lnTo>
                      <a:pt x="5262" y="3020"/>
                    </a:lnTo>
                    <a:lnTo>
                      <a:pt x="5314" y="3041"/>
                    </a:lnTo>
                    <a:lnTo>
                      <a:pt x="5366" y="3060"/>
                    </a:lnTo>
                    <a:lnTo>
                      <a:pt x="5418" y="3077"/>
                    </a:lnTo>
                    <a:lnTo>
                      <a:pt x="5471" y="3094"/>
                    </a:lnTo>
                    <a:lnTo>
                      <a:pt x="5523" y="3109"/>
                    </a:lnTo>
                    <a:lnTo>
                      <a:pt x="5576" y="3122"/>
                    </a:lnTo>
                    <a:lnTo>
                      <a:pt x="5630" y="3135"/>
                    </a:lnTo>
                    <a:lnTo>
                      <a:pt x="5683" y="3145"/>
                    </a:lnTo>
                    <a:lnTo>
                      <a:pt x="5738" y="3155"/>
                    </a:lnTo>
                    <a:lnTo>
                      <a:pt x="5792" y="3164"/>
                    </a:lnTo>
                    <a:lnTo>
                      <a:pt x="5846" y="3171"/>
                    </a:lnTo>
                    <a:lnTo>
                      <a:pt x="5901" y="3178"/>
                    </a:lnTo>
                    <a:lnTo>
                      <a:pt x="5956" y="3183"/>
                    </a:lnTo>
                    <a:lnTo>
                      <a:pt x="6010" y="3189"/>
                    </a:lnTo>
                    <a:lnTo>
                      <a:pt x="6066" y="3192"/>
                    </a:lnTo>
                    <a:lnTo>
                      <a:pt x="6121" y="3195"/>
                    </a:lnTo>
                    <a:lnTo>
                      <a:pt x="6176" y="3198"/>
                    </a:lnTo>
                    <a:lnTo>
                      <a:pt x="6231" y="3199"/>
                    </a:lnTo>
                    <a:lnTo>
                      <a:pt x="6340" y="3202"/>
                    </a:lnTo>
                    <a:lnTo>
                      <a:pt x="6449" y="3201"/>
                    </a:lnTo>
                    <a:lnTo>
                      <a:pt x="6558" y="3198"/>
                    </a:lnTo>
                    <a:lnTo>
                      <a:pt x="6665" y="3195"/>
                    </a:lnTo>
                    <a:lnTo>
                      <a:pt x="6771" y="3191"/>
                    </a:lnTo>
                    <a:lnTo>
                      <a:pt x="6875" y="3186"/>
                    </a:lnTo>
                    <a:lnTo>
                      <a:pt x="6919" y="3185"/>
                    </a:lnTo>
                    <a:lnTo>
                      <a:pt x="6974" y="3182"/>
                    </a:lnTo>
                    <a:lnTo>
                      <a:pt x="7028" y="3177"/>
                    </a:lnTo>
                    <a:lnTo>
                      <a:pt x="7081" y="3170"/>
                    </a:lnTo>
                    <a:lnTo>
                      <a:pt x="7132" y="3163"/>
                    </a:lnTo>
                    <a:lnTo>
                      <a:pt x="7184" y="3153"/>
                    </a:lnTo>
                    <a:lnTo>
                      <a:pt x="7235" y="3142"/>
                    </a:lnTo>
                    <a:lnTo>
                      <a:pt x="7286" y="3131"/>
                    </a:lnTo>
                    <a:lnTo>
                      <a:pt x="7335" y="3118"/>
                    </a:lnTo>
                    <a:lnTo>
                      <a:pt x="7384" y="3106"/>
                    </a:lnTo>
                    <a:lnTo>
                      <a:pt x="7431" y="3091"/>
                    </a:lnTo>
                    <a:lnTo>
                      <a:pt x="7479" y="3077"/>
                    </a:lnTo>
                    <a:lnTo>
                      <a:pt x="7524" y="3062"/>
                    </a:lnTo>
                    <a:lnTo>
                      <a:pt x="7571" y="3047"/>
                    </a:lnTo>
                    <a:lnTo>
                      <a:pt x="7615" y="3032"/>
                    </a:lnTo>
                    <a:lnTo>
                      <a:pt x="7659" y="3017"/>
                    </a:lnTo>
                    <a:lnTo>
                      <a:pt x="7703" y="3002"/>
                    </a:lnTo>
                    <a:lnTo>
                      <a:pt x="7747" y="2988"/>
                    </a:lnTo>
                    <a:lnTo>
                      <a:pt x="7789" y="2973"/>
                    </a:lnTo>
                    <a:lnTo>
                      <a:pt x="7831" y="2959"/>
                    </a:lnTo>
                    <a:lnTo>
                      <a:pt x="7873" y="2945"/>
                    </a:lnTo>
                    <a:lnTo>
                      <a:pt x="7914" y="2932"/>
                    </a:lnTo>
                    <a:lnTo>
                      <a:pt x="7954" y="2920"/>
                    </a:lnTo>
                    <a:lnTo>
                      <a:pt x="7994" y="2909"/>
                    </a:lnTo>
                    <a:lnTo>
                      <a:pt x="8033" y="2899"/>
                    </a:lnTo>
                    <a:lnTo>
                      <a:pt x="8062" y="2893"/>
                    </a:lnTo>
                    <a:lnTo>
                      <a:pt x="8090" y="2887"/>
                    </a:lnTo>
                    <a:lnTo>
                      <a:pt x="8118" y="2882"/>
                    </a:lnTo>
                    <a:lnTo>
                      <a:pt x="8145" y="2879"/>
                    </a:lnTo>
                    <a:lnTo>
                      <a:pt x="8171" y="2876"/>
                    </a:lnTo>
                    <a:lnTo>
                      <a:pt x="8196" y="2873"/>
                    </a:lnTo>
                    <a:lnTo>
                      <a:pt x="8221" y="2873"/>
                    </a:lnTo>
                    <a:lnTo>
                      <a:pt x="8246" y="2873"/>
                    </a:lnTo>
                    <a:lnTo>
                      <a:pt x="8266" y="2873"/>
                    </a:lnTo>
                    <a:lnTo>
                      <a:pt x="8287" y="2876"/>
                    </a:lnTo>
                    <a:lnTo>
                      <a:pt x="8307" y="2879"/>
                    </a:lnTo>
                    <a:lnTo>
                      <a:pt x="8328" y="2883"/>
                    </a:lnTo>
                    <a:lnTo>
                      <a:pt x="8348" y="2889"/>
                    </a:lnTo>
                    <a:lnTo>
                      <a:pt x="8369" y="2894"/>
                    </a:lnTo>
                    <a:lnTo>
                      <a:pt x="8388" y="2901"/>
                    </a:lnTo>
                    <a:lnTo>
                      <a:pt x="8409" y="2909"/>
                    </a:lnTo>
                    <a:lnTo>
                      <a:pt x="8429" y="2918"/>
                    </a:lnTo>
                    <a:lnTo>
                      <a:pt x="8450" y="2927"/>
                    </a:lnTo>
                    <a:lnTo>
                      <a:pt x="8470" y="2937"/>
                    </a:lnTo>
                    <a:lnTo>
                      <a:pt x="8490" y="2948"/>
                    </a:lnTo>
                    <a:lnTo>
                      <a:pt x="8530" y="2972"/>
                    </a:lnTo>
                    <a:lnTo>
                      <a:pt x="8570" y="2998"/>
                    </a:lnTo>
                    <a:lnTo>
                      <a:pt x="8610" y="3026"/>
                    </a:lnTo>
                    <a:lnTo>
                      <a:pt x="8648" y="3055"/>
                    </a:lnTo>
                    <a:lnTo>
                      <a:pt x="8687" y="3086"/>
                    </a:lnTo>
                    <a:lnTo>
                      <a:pt x="8725" y="3117"/>
                    </a:lnTo>
                    <a:lnTo>
                      <a:pt x="8801" y="3183"/>
                    </a:lnTo>
                    <a:lnTo>
                      <a:pt x="8873" y="3249"/>
                    </a:lnTo>
                    <a:lnTo>
                      <a:pt x="8915" y="3288"/>
                    </a:lnTo>
                    <a:lnTo>
                      <a:pt x="8956" y="3325"/>
                    </a:lnTo>
                    <a:lnTo>
                      <a:pt x="8997" y="3360"/>
                    </a:lnTo>
                    <a:lnTo>
                      <a:pt x="9036" y="3393"/>
                    </a:lnTo>
                    <a:lnTo>
                      <a:pt x="9074" y="3423"/>
                    </a:lnTo>
                    <a:lnTo>
                      <a:pt x="9112" y="3449"/>
                    </a:lnTo>
                    <a:lnTo>
                      <a:pt x="9129" y="3461"/>
                    </a:lnTo>
                    <a:lnTo>
                      <a:pt x="9147" y="3471"/>
                    </a:lnTo>
                    <a:lnTo>
                      <a:pt x="9165" y="3481"/>
                    </a:lnTo>
                    <a:lnTo>
                      <a:pt x="9181" y="3489"/>
                    </a:lnTo>
                    <a:lnTo>
                      <a:pt x="9411" y="3592"/>
                    </a:lnTo>
                    <a:lnTo>
                      <a:pt x="9422" y="3573"/>
                    </a:lnTo>
                    <a:lnTo>
                      <a:pt x="9437" y="3542"/>
                    </a:lnTo>
                    <a:lnTo>
                      <a:pt x="9445" y="3523"/>
                    </a:lnTo>
                    <a:lnTo>
                      <a:pt x="9454" y="3502"/>
                    </a:lnTo>
                    <a:lnTo>
                      <a:pt x="9463" y="3478"/>
                    </a:lnTo>
                    <a:lnTo>
                      <a:pt x="9471" y="3452"/>
                    </a:lnTo>
                    <a:lnTo>
                      <a:pt x="9481" y="3421"/>
                    </a:lnTo>
                    <a:lnTo>
                      <a:pt x="9491" y="3388"/>
                    </a:lnTo>
                    <a:lnTo>
                      <a:pt x="9499" y="3353"/>
                    </a:lnTo>
                    <a:lnTo>
                      <a:pt x="9507" y="3315"/>
                    </a:lnTo>
                    <a:lnTo>
                      <a:pt x="9514" y="3276"/>
                    </a:lnTo>
                    <a:lnTo>
                      <a:pt x="9520" y="3234"/>
                    </a:lnTo>
                    <a:lnTo>
                      <a:pt x="9524" y="3190"/>
                    </a:lnTo>
                    <a:lnTo>
                      <a:pt x="9527" y="3144"/>
                    </a:lnTo>
                    <a:lnTo>
                      <a:pt x="9528" y="3096"/>
                    </a:lnTo>
                    <a:lnTo>
                      <a:pt x="9528" y="3046"/>
                    </a:lnTo>
                    <a:lnTo>
                      <a:pt x="9525" y="2994"/>
                    </a:lnTo>
                    <a:lnTo>
                      <a:pt x="9521" y="2940"/>
                    </a:lnTo>
                    <a:lnTo>
                      <a:pt x="9518" y="2913"/>
                    </a:lnTo>
                    <a:lnTo>
                      <a:pt x="9513" y="2885"/>
                    </a:lnTo>
                    <a:lnTo>
                      <a:pt x="9509" y="2856"/>
                    </a:lnTo>
                    <a:lnTo>
                      <a:pt x="9504" y="2827"/>
                    </a:lnTo>
                    <a:lnTo>
                      <a:pt x="9497" y="2798"/>
                    </a:lnTo>
                    <a:lnTo>
                      <a:pt x="9491" y="2769"/>
                    </a:lnTo>
                    <a:lnTo>
                      <a:pt x="9483" y="2738"/>
                    </a:lnTo>
                    <a:lnTo>
                      <a:pt x="9476" y="2707"/>
                    </a:lnTo>
                    <a:lnTo>
                      <a:pt x="9456" y="2643"/>
                    </a:lnTo>
                    <a:lnTo>
                      <a:pt x="9437" y="2578"/>
                    </a:lnTo>
                    <a:lnTo>
                      <a:pt x="9415" y="2512"/>
                    </a:lnTo>
                    <a:lnTo>
                      <a:pt x="9391" y="2446"/>
                    </a:lnTo>
                    <a:lnTo>
                      <a:pt x="9365" y="2379"/>
                    </a:lnTo>
                    <a:lnTo>
                      <a:pt x="9340" y="2311"/>
                    </a:lnTo>
                    <a:lnTo>
                      <a:pt x="9310" y="2244"/>
                    </a:lnTo>
                    <a:lnTo>
                      <a:pt x="9280" y="2176"/>
                    </a:lnTo>
                    <a:lnTo>
                      <a:pt x="9249" y="2108"/>
                    </a:lnTo>
                    <a:lnTo>
                      <a:pt x="9215" y="2040"/>
                    </a:lnTo>
                    <a:lnTo>
                      <a:pt x="9180" y="1972"/>
                    </a:lnTo>
                    <a:lnTo>
                      <a:pt x="9143" y="1905"/>
                    </a:lnTo>
                    <a:lnTo>
                      <a:pt x="9105" y="1838"/>
                    </a:lnTo>
                    <a:lnTo>
                      <a:pt x="9065" y="1772"/>
                    </a:lnTo>
                    <a:lnTo>
                      <a:pt x="9023" y="1708"/>
                    </a:lnTo>
                    <a:lnTo>
                      <a:pt x="8980" y="1643"/>
                    </a:lnTo>
                    <a:lnTo>
                      <a:pt x="8935" y="1579"/>
                    </a:lnTo>
                    <a:lnTo>
                      <a:pt x="8888" y="1517"/>
                    </a:lnTo>
                    <a:lnTo>
                      <a:pt x="8840" y="1455"/>
                    </a:lnTo>
                    <a:lnTo>
                      <a:pt x="8790" y="1395"/>
                    </a:lnTo>
                    <a:lnTo>
                      <a:pt x="8738" y="1336"/>
                    </a:lnTo>
                    <a:lnTo>
                      <a:pt x="8684" y="1279"/>
                    </a:lnTo>
                    <a:lnTo>
                      <a:pt x="8630" y="1224"/>
                    </a:lnTo>
                    <a:lnTo>
                      <a:pt x="8573" y="1171"/>
                    </a:lnTo>
                    <a:lnTo>
                      <a:pt x="8515" y="1119"/>
                    </a:lnTo>
                    <a:lnTo>
                      <a:pt x="8454" y="1070"/>
                    </a:lnTo>
                    <a:lnTo>
                      <a:pt x="8393" y="1022"/>
                    </a:lnTo>
                    <a:lnTo>
                      <a:pt x="8330" y="978"/>
                    </a:lnTo>
                    <a:lnTo>
                      <a:pt x="8264" y="935"/>
                    </a:lnTo>
                    <a:lnTo>
                      <a:pt x="8198" y="895"/>
                    </a:lnTo>
                    <a:lnTo>
                      <a:pt x="8129" y="858"/>
                    </a:lnTo>
                    <a:lnTo>
                      <a:pt x="8060" y="823"/>
                    </a:lnTo>
                    <a:lnTo>
                      <a:pt x="7984" y="789"/>
                    </a:lnTo>
                    <a:lnTo>
                      <a:pt x="7912" y="759"/>
                    </a:lnTo>
                    <a:lnTo>
                      <a:pt x="7842" y="731"/>
                    </a:lnTo>
                    <a:lnTo>
                      <a:pt x="7774" y="706"/>
                    </a:lnTo>
                    <a:lnTo>
                      <a:pt x="7709" y="684"/>
                    </a:lnTo>
                    <a:lnTo>
                      <a:pt x="7647" y="665"/>
                    </a:lnTo>
                    <a:lnTo>
                      <a:pt x="7587" y="648"/>
                    </a:lnTo>
                    <a:lnTo>
                      <a:pt x="7530" y="634"/>
                    </a:lnTo>
                    <a:lnTo>
                      <a:pt x="7475" y="621"/>
                    </a:lnTo>
                    <a:lnTo>
                      <a:pt x="7423" y="611"/>
                    </a:lnTo>
                    <a:lnTo>
                      <a:pt x="7372" y="602"/>
                    </a:lnTo>
                    <a:lnTo>
                      <a:pt x="7325" y="596"/>
                    </a:lnTo>
                    <a:lnTo>
                      <a:pt x="7280" y="591"/>
                    </a:lnTo>
                    <a:lnTo>
                      <a:pt x="7237" y="588"/>
                    </a:lnTo>
                    <a:lnTo>
                      <a:pt x="7197" y="586"/>
                    </a:lnTo>
                    <a:lnTo>
                      <a:pt x="7159" y="586"/>
                    </a:lnTo>
                    <a:lnTo>
                      <a:pt x="7124" y="586"/>
                    </a:lnTo>
                    <a:lnTo>
                      <a:pt x="7091" y="588"/>
                    </a:lnTo>
                    <a:lnTo>
                      <a:pt x="7060" y="590"/>
                    </a:lnTo>
                    <a:lnTo>
                      <a:pt x="7032" y="594"/>
                    </a:lnTo>
                    <a:lnTo>
                      <a:pt x="7006" y="597"/>
                    </a:lnTo>
                    <a:lnTo>
                      <a:pt x="6982" y="601"/>
                    </a:lnTo>
                    <a:lnTo>
                      <a:pt x="6961" y="605"/>
                    </a:lnTo>
                    <a:lnTo>
                      <a:pt x="6941" y="610"/>
                    </a:lnTo>
                    <a:lnTo>
                      <a:pt x="6910" y="618"/>
                    </a:lnTo>
                    <a:lnTo>
                      <a:pt x="6887" y="627"/>
                    </a:lnTo>
                    <a:lnTo>
                      <a:pt x="6873" y="632"/>
                    </a:lnTo>
                    <a:lnTo>
                      <a:pt x="6868" y="635"/>
                    </a:lnTo>
                    <a:lnTo>
                      <a:pt x="6865" y="636"/>
                    </a:lnTo>
                    <a:lnTo>
                      <a:pt x="6861" y="636"/>
                    </a:lnTo>
                    <a:lnTo>
                      <a:pt x="6849" y="636"/>
                    </a:lnTo>
                    <a:lnTo>
                      <a:pt x="6817" y="632"/>
                    </a:lnTo>
                    <a:lnTo>
                      <a:pt x="6794" y="630"/>
                    </a:lnTo>
                    <a:lnTo>
                      <a:pt x="6768" y="626"/>
                    </a:lnTo>
                    <a:lnTo>
                      <a:pt x="6738" y="622"/>
                    </a:lnTo>
                    <a:lnTo>
                      <a:pt x="6705" y="615"/>
                    </a:lnTo>
                    <a:lnTo>
                      <a:pt x="6666" y="608"/>
                    </a:lnTo>
                    <a:lnTo>
                      <a:pt x="6627" y="598"/>
                    </a:lnTo>
                    <a:lnTo>
                      <a:pt x="6588" y="587"/>
                    </a:lnTo>
                    <a:lnTo>
                      <a:pt x="6550" y="576"/>
                    </a:lnTo>
                    <a:lnTo>
                      <a:pt x="6514" y="563"/>
                    </a:lnTo>
                    <a:lnTo>
                      <a:pt x="6477" y="550"/>
                    </a:lnTo>
                    <a:lnTo>
                      <a:pt x="6442" y="536"/>
                    </a:lnTo>
                    <a:lnTo>
                      <a:pt x="6407" y="520"/>
                    </a:lnTo>
                    <a:lnTo>
                      <a:pt x="6384" y="510"/>
                    </a:lnTo>
                    <a:lnTo>
                      <a:pt x="6358" y="501"/>
                    </a:lnTo>
                    <a:lnTo>
                      <a:pt x="6331" y="492"/>
                    </a:lnTo>
                    <a:lnTo>
                      <a:pt x="6302" y="483"/>
                    </a:lnTo>
                    <a:lnTo>
                      <a:pt x="6271" y="475"/>
                    </a:lnTo>
                    <a:lnTo>
                      <a:pt x="6238" y="466"/>
                    </a:lnTo>
                    <a:lnTo>
                      <a:pt x="6205" y="459"/>
                    </a:lnTo>
                    <a:lnTo>
                      <a:pt x="6168" y="451"/>
                    </a:lnTo>
                    <a:lnTo>
                      <a:pt x="6131" y="445"/>
                    </a:lnTo>
                    <a:lnTo>
                      <a:pt x="6094" y="438"/>
                    </a:lnTo>
                    <a:lnTo>
                      <a:pt x="6054" y="432"/>
                    </a:lnTo>
                    <a:lnTo>
                      <a:pt x="6014" y="426"/>
                    </a:lnTo>
                    <a:lnTo>
                      <a:pt x="5929" y="415"/>
                    </a:lnTo>
                    <a:lnTo>
                      <a:pt x="5842" y="407"/>
                    </a:lnTo>
                    <a:lnTo>
                      <a:pt x="5753" y="399"/>
                    </a:lnTo>
                    <a:lnTo>
                      <a:pt x="5663" y="394"/>
                    </a:lnTo>
                    <a:lnTo>
                      <a:pt x="5572" y="390"/>
                    </a:lnTo>
                    <a:lnTo>
                      <a:pt x="5481" y="387"/>
                    </a:lnTo>
                    <a:lnTo>
                      <a:pt x="5392" y="386"/>
                    </a:lnTo>
                    <a:lnTo>
                      <a:pt x="5304" y="387"/>
                    </a:lnTo>
                    <a:lnTo>
                      <a:pt x="5219" y="390"/>
                    </a:lnTo>
                    <a:lnTo>
                      <a:pt x="5138" y="394"/>
                    </a:lnTo>
                    <a:lnTo>
                      <a:pt x="5104" y="395"/>
                    </a:lnTo>
                    <a:lnTo>
                      <a:pt x="5071" y="396"/>
                    </a:lnTo>
                    <a:lnTo>
                      <a:pt x="5038" y="396"/>
                    </a:lnTo>
                    <a:lnTo>
                      <a:pt x="5003" y="395"/>
                    </a:lnTo>
                    <a:lnTo>
                      <a:pt x="4970" y="393"/>
                    </a:lnTo>
                    <a:lnTo>
                      <a:pt x="4936" y="390"/>
                    </a:lnTo>
                    <a:lnTo>
                      <a:pt x="4901" y="386"/>
                    </a:lnTo>
                    <a:lnTo>
                      <a:pt x="4868" y="382"/>
                    </a:lnTo>
                    <a:lnTo>
                      <a:pt x="4835" y="377"/>
                    </a:lnTo>
                    <a:lnTo>
                      <a:pt x="4801" y="371"/>
                    </a:lnTo>
                    <a:lnTo>
                      <a:pt x="4767" y="365"/>
                    </a:lnTo>
                    <a:lnTo>
                      <a:pt x="4733" y="358"/>
                    </a:lnTo>
                    <a:lnTo>
                      <a:pt x="4667" y="343"/>
                    </a:lnTo>
                    <a:lnTo>
                      <a:pt x="4601" y="326"/>
                    </a:lnTo>
                    <a:lnTo>
                      <a:pt x="4537" y="308"/>
                    </a:lnTo>
                    <a:lnTo>
                      <a:pt x="4473" y="288"/>
                    </a:lnTo>
                    <a:lnTo>
                      <a:pt x="4410" y="268"/>
                    </a:lnTo>
                    <a:lnTo>
                      <a:pt x="4349" y="246"/>
                    </a:lnTo>
                    <a:lnTo>
                      <a:pt x="4289" y="224"/>
                    </a:lnTo>
                    <a:lnTo>
                      <a:pt x="4232" y="203"/>
                    </a:lnTo>
                    <a:lnTo>
                      <a:pt x="4177" y="181"/>
                    </a:lnTo>
                    <a:lnTo>
                      <a:pt x="4124" y="161"/>
                    </a:lnTo>
                    <a:lnTo>
                      <a:pt x="4099" y="151"/>
                    </a:lnTo>
                    <a:lnTo>
                      <a:pt x="4075" y="142"/>
                    </a:lnTo>
                    <a:lnTo>
                      <a:pt x="4052" y="133"/>
                    </a:lnTo>
                    <a:lnTo>
                      <a:pt x="4028" y="124"/>
                    </a:lnTo>
                    <a:lnTo>
                      <a:pt x="4006" y="115"/>
                    </a:lnTo>
                    <a:lnTo>
                      <a:pt x="3984" y="108"/>
                    </a:lnTo>
                    <a:lnTo>
                      <a:pt x="3963" y="100"/>
                    </a:lnTo>
                    <a:lnTo>
                      <a:pt x="3943" y="93"/>
                    </a:lnTo>
                    <a:lnTo>
                      <a:pt x="3916" y="84"/>
                    </a:lnTo>
                    <a:lnTo>
                      <a:pt x="3884" y="76"/>
                    </a:lnTo>
                    <a:lnTo>
                      <a:pt x="3848" y="68"/>
                    </a:lnTo>
                    <a:lnTo>
                      <a:pt x="3807" y="60"/>
                    </a:lnTo>
                    <a:lnTo>
                      <a:pt x="3761" y="53"/>
                    </a:lnTo>
                    <a:lnTo>
                      <a:pt x="3712" y="46"/>
                    </a:lnTo>
                    <a:lnTo>
                      <a:pt x="3659" y="40"/>
                    </a:lnTo>
                    <a:lnTo>
                      <a:pt x="3602" y="34"/>
                    </a:lnTo>
                    <a:lnTo>
                      <a:pt x="3543" y="31"/>
                    </a:lnTo>
                    <a:lnTo>
                      <a:pt x="3480" y="28"/>
                    </a:lnTo>
                    <a:lnTo>
                      <a:pt x="3416" y="27"/>
                    </a:lnTo>
                    <a:lnTo>
                      <a:pt x="3348" y="27"/>
                    </a:lnTo>
                    <a:lnTo>
                      <a:pt x="3279" y="28"/>
                    </a:lnTo>
                    <a:lnTo>
                      <a:pt x="3207" y="31"/>
                    </a:lnTo>
                    <a:lnTo>
                      <a:pt x="3135" y="37"/>
                    </a:lnTo>
                    <a:lnTo>
                      <a:pt x="3060" y="44"/>
                    </a:lnTo>
                    <a:lnTo>
                      <a:pt x="2986" y="54"/>
                    </a:lnTo>
                    <a:lnTo>
                      <a:pt x="2910" y="66"/>
                    </a:lnTo>
                    <a:lnTo>
                      <a:pt x="2834" y="81"/>
                    </a:lnTo>
                    <a:lnTo>
                      <a:pt x="2758" y="98"/>
                    </a:lnTo>
                    <a:lnTo>
                      <a:pt x="2681" y="119"/>
                    </a:lnTo>
                    <a:lnTo>
                      <a:pt x="2606" y="141"/>
                    </a:lnTo>
                    <a:lnTo>
                      <a:pt x="2530" y="167"/>
                    </a:lnTo>
                    <a:lnTo>
                      <a:pt x="2456" y="196"/>
                    </a:lnTo>
                    <a:lnTo>
                      <a:pt x="2383" y="230"/>
                    </a:lnTo>
                    <a:lnTo>
                      <a:pt x="2311" y="265"/>
                    </a:lnTo>
                    <a:lnTo>
                      <a:pt x="2241" y="305"/>
                    </a:lnTo>
                    <a:lnTo>
                      <a:pt x="2173" y="350"/>
                    </a:lnTo>
                    <a:lnTo>
                      <a:pt x="2108" y="397"/>
                    </a:lnTo>
                    <a:lnTo>
                      <a:pt x="2044" y="450"/>
                    </a:lnTo>
                    <a:lnTo>
                      <a:pt x="1984" y="506"/>
                    </a:lnTo>
                    <a:lnTo>
                      <a:pt x="1927" y="567"/>
                    </a:lnTo>
                    <a:lnTo>
                      <a:pt x="1917" y="577"/>
                    </a:lnTo>
                    <a:lnTo>
                      <a:pt x="1897" y="601"/>
                    </a:lnTo>
                    <a:lnTo>
                      <a:pt x="1869" y="638"/>
                    </a:lnTo>
                    <a:lnTo>
                      <a:pt x="1833" y="687"/>
                    </a:lnTo>
                    <a:lnTo>
                      <a:pt x="1811" y="717"/>
                    </a:lnTo>
                    <a:lnTo>
                      <a:pt x="1789" y="749"/>
                    </a:lnTo>
                    <a:lnTo>
                      <a:pt x="1766" y="785"/>
                    </a:lnTo>
                    <a:lnTo>
                      <a:pt x="1741" y="823"/>
                    </a:lnTo>
                    <a:lnTo>
                      <a:pt x="1715" y="865"/>
                    </a:lnTo>
                    <a:lnTo>
                      <a:pt x="1688" y="909"/>
                    </a:lnTo>
                    <a:lnTo>
                      <a:pt x="1660" y="956"/>
                    </a:lnTo>
                    <a:lnTo>
                      <a:pt x="1631" y="1007"/>
                    </a:lnTo>
                    <a:lnTo>
                      <a:pt x="1602" y="1061"/>
                    </a:lnTo>
                    <a:lnTo>
                      <a:pt x="1572" y="1117"/>
                    </a:lnTo>
                    <a:lnTo>
                      <a:pt x="1543" y="1176"/>
                    </a:lnTo>
                    <a:lnTo>
                      <a:pt x="1513" y="1239"/>
                    </a:lnTo>
                    <a:lnTo>
                      <a:pt x="1484" y="1304"/>
                    </a:lnTo>
                    <a:lnTo>
                      <a:pt x="1455" y="1373"/>
                    </a:lnTo>
                    <a:lnTo>
                      <a:pt x="1426" y="1443"/>
                    </a:lnTo>
                    <a:lnTo>
                      <a:pt x="1396" y="1518"/>
                    </a:lnTo>
                    <a:lnTo>
                      <a:pt x="1368" y="1594"/>
                    </a:lnTo>
                    <a:lnTo>
                      <a:pt x="1341" y="1673"/>
                    </a:lnTo>
                    <a:lnTo>
                      <a:pt x="1315" y="1755"/>
                    </a:lnTo>
                    <a:lnTo>
                      <a:pt x="1291" y="1840"/>
                    </a:lnTo>
                    <a:lnTo>
                      <a:pt x="1266" y="1928"/>
                    </a:lnTo>
                    <a:lnTo>
                      <a:pt x="1243" y="2018"/>
                    </a:lnTo>
                    <a:lnTo>
                      <a:pt x="1223" y="2111"/>
                    </a:lnTo>
                    <a:lnTo>
                      <a:pt x="1203" y="2207"/>
                    </a:lnTo>
                    <a:lnTo>
                      <a:pt x="1190" y="2241"/>
                    </a:lnTo>
                    <a:lnTo>
                      <a:pt x="1177" y="2274"/>
                    </a:lnTo>
                    <a:lnTo>
                      <a:pt x="1162" y="2309"/>
                    </a:lnTo>
                    <a:lnTo>
                      <a:pt x="1146" y="2343"/>
                    </a:lnTo>
                    <a:lnTo>
                      <a:pt x="1130" y="2379"/>
                    </a:lnTo>
                    <a:lnTo>
                      <a:pt x="1112" y="2415"/>
                    </a:lnTo>
                    <a:lnTo>
                      <a:pt x="1093" y="2451"/>
                    </a:lnTo>
                    <a:lnTo>
                      <a:pt x="1075" y="2488"/>
                    </a:lnTo>
                    <a:lnTo>
                      <a:pt x="1034" y="2564"/>
                    </a:lnTo>
                    <a:lnTo>
                      <a:pt x="989" y="2640"/>
                    </a:lnTo>
                    <a:lnTo>
                      <a:pt x="943" y="2717"/>
                    </a:lnTo>
                    <a:lnTo>
                      <a:pt x="895" y="2796"/>
                    </a:lnTo>
                    <a:lnTo>
                      <a:pt x="846" y="2873"/>
                    </a:lnTo>
                    <a:lnTo>
                      <a:pt x="795" y="2952"/>
                    </a:lnTo>
                    <a:lnTo>
                      <a:pt x="743" y="3031"/>
                    </a:lnTo>
                    <a:lnTo>
                      <a:pt x="691" y="3108"/>
                    </a:lnTo>
                    <a:lnTo>
                      <a:pt x="639" y="3185"/>
                    </a:lnTo>
                    <a:lnTo>
                      <a:pt x="588" y="3261"/>
                    </a:lnTo>
                    <a:lnTo>
                      <a:pt x="536" y="3334"/>
                    </a:lnTo>
                    <a:lnTo>
                      <a:pt x="486" y="3407"/>
                    </a:lnTo>
                    <a:lnTo>
                      <a:pt x="424" y="3496"/>
                    </a:lnTo>
                    <a:lnTo>
                      <a:pt x="364" y="3583"/>
                    </a:lnTo>
                    <a:lnTo>
                      <a:pt x="308" y="3666"/>
                    </a:lnTo>
                    <a:lnTo>
                      <a:pt x="256" y="3743"/>
                    </a:lnTo>
                    <a:lnTo>
                      <a:pt x="210" y="3816"/>
                    </a:lnTo>
                    <a:lnTo>
                      <a:pt x="168" y="3884"/>
                    </a:lnTo>
                    <a:lnTo>
                      <a:pt x="149" y="3915"/>
                    </a:lnTo>
                    <a:lnTo>
                      <a:pt x="132" y="3945"/>
                    </a:lnTo>
                    <a:lnTo>
                      <a:pt x="117" y="3973"/>
                    </a:lnTo>
                    <a:lnTo>
                      <a:pt x="103" y="3999"/>
                    </a:lnTo>
                    <a:lnTo>
                      <a:pt x="91" y="4025"/>
                    </a:lnTo>
                    <a:lnTo>
                      <a:pt x="79" y="4049"/>
                    </a:lnTo>
                    <a:lnTo>
                      <a:pt x="68" y="4073"/>
                    </a:lnTo>
                    <a:lnTo>
                      <a:pt x="59" y="4095"/>
                    </a:lnTo>
                    <a:lnTo>
                      <a:pt x="51" y="4112"/>
                    </a:lnTo>
                    <a:lnTo>
                      <a:pt x="44" y="4127"/>
                    </a:lnTo>
                    <a:lnTo>
                      <a:pt x="37" y="4143"/>
                    </a:lnTo>
                    <a:lnTo>
                      <a:pt x="30" y="4158"/>
                    </a:lnTo>
                    <a:lnTo>
                      <a:pt x="0" y="4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29"/>
              <p:cNvSpPr>
                <a:spLocks noEditPoints="1"/>
              </p:cNvSpPr>
              <p:nvPr userDrawn="1"/>
            </p:nvSpPr>
            <p:spPr bwMode="auto">
              <a:xfrm>
                <a:off x="2413" y="3120"/>
                <a:ext cx="953" cy="1022"/>
              </a:xfrm>
              <a:custGeom>
                <a:avLst/>
                <a:gdLst>
                  <a:gd name="T0" fmla="*/ 2436 w 2861"/>
                  <a:gd name="T1" fmla="*/ 2936 h 3066"/>
                  <a:gd name="T2" fmla="*/ 2211 w 2861"/>
                  <a:gd name="T3" fmla="*/ 2781 h 3066"/>
                  <a:gd name="T4" fmla="*/ 1905 w 2861"/>
                  <a:gd name="T5" fmla="*/ 2542 h 3066"/>
                  <a:gd name="T6" fmla="*/ 1689 w 2861"/>
                  <a:gd name="T7" fmla="*/ 2403 h 3066"/>
                  <a:gd name="T8" fmla="*/ 1540 w 2861"/>
                  <a:gd name="T9" fmla="*/ 2337 h 3066"/>
                  <a:gd name="T10" fmla="*/ 1491 w 2861"/>
                  <a:gd name="T11" fmla="*/ 2227 h 3066"/>
                  <a:gd name="T12" fmla="*/ 1332 w 2861"/>
                  <a:gd name="T13" fmla="*/ 1761 h 3066"/>
                  <a:gd name="T14" fmla="*/ 1152 w 2861"/>
                  <a:gd name="T15" fmla="*/ 1318 h 3066"/>
                  <a:gd name="T16" fmla="*/ 904 w 2861"/>
                  <a:gd name="T17" fmla="*/ 856 h 3066"/>
                  <a:gd name="T18" fmla="*/ 579 w 2861"/>
                  <a:gd name="T19" fmla="*/ 437 h 3066"/>
                  <a:gd name="T20" fmla="*/ 167 w 2861"/>
                  <a:gd name="T21" fmla="*/ 126 h 3066"/>
                  <a:gd name="T22" fmla="*/ 1 w 2861"/>
                  <a:gd name="T23" fmla="*/ 41 h 3066"/>
                  <a:gd name="T24" fmla="*/ 114 w 2861"/>
                  <a:gd name="T25" fmla="*/ 46 h 3066"/>
                  <a:gd name="T26" fmla="*/ 254 w 2861"/>
                  <a:gd name="T27" fmla="*/ 22 h 3066"/>
                  <a:gd name="T28" fmla="*/ 401 w 2861"/>
                  <a:gd name="T29" fmla="*/ 1 h 3066"/>
                  <a:gd name="T30" fmla="*/ 669 w 2861"/>
                  <a:gd name="T31" fmla="*/ 15 h 3066"/>
                  <a:gd name="T32" fmla="*/ 1006 w 2861"/>
                  <a:gd name="T33" fmla="*/ 94 h 3066"/>
                  <a:gd name="T34" fmla="*/ 1377 w 2861"/>
                  <a:gd name="T35" fmla="*/ 241 h 3066"/>
                  <a:gd name="T36" fmla="*/ 1776 w 2861"/>
                  <a:gd name="T37" fmla="*/ 490 h 3066"/>
                  <a:gd name="T38" fmla="*/ 2115 w 2861"/>
                  <a:gd name="T39" fmla="*/ 818 h 3066"/>
                  <a:gd name="T40" fmla="*/ 2393 w 2861"/>
                  <a:gd name="T41" fmla="*/ 1199 h 3066"/>
                  <a:gd name="T42" fmla="*/ 2611 w 2861"/>
                  <a:gd name="T43" fmla="*/ 1606 h 3066"/>
                  <a:gd name="T44" fmla="*/ 2769 w 2861"/>
                  <a:gd name="T45" fmla="*/ 2012 h 3066"/>
                  <a:gd name="T46" fmla="*/ 2837 w 2861"/>
                  <a:gd name="T47" fmla="*/ 2265 h 3066"/>
                  <a:gd name="T48" fmla="*/ 2861 w 2861"/>
                  <a:gd name="T49" fmla="*/ 2488 h 3066"/>
                  <a:gd name="T50" fmla="*/ 2840 w 2861"/>
                  <a:gd name="T51" fmla="*/ 2762 h 3066"/>
                  <a:gd name="T52" fmla="*/ 2778 w 2861"/>
                  <a:gd name="T53" fmla="*/ 2969 h 3066"/>
                  <a:gd name="T54" fmla="*/ 2729 w 2861"/>
                  <a:gd name="T55" fmla="*/ 3063 h 3066"/>
                  <a:gd name="T56" fmla="*/ 271 w 2861"/>
                  <a:gd name="T57" fmla="*/ 153 h 3066"/>
                  <a:gd name="T58" fmla="*/ 655 w 2861"/>
                  <a:gd name="T59" fmla="*/ 479 h 3066"/>
                  <a:gd name="T60" fmla="*/ 960 w 2861"/>
                  <a:gd name="T61" fmla="*/ 894 h 3066"/>
                  <a:gd name="T62" fmla="*/ 1192 w 2861"/>
                  <a:gd name="T63" fmla="*/ 1342 h 3066"/>
                  <a:gd name="T64" fmla="*/ 1364 w 2861"/>
                  <a:gd name="T65" fmla="*/ 1766 h 3066"/>
                  <a:gd name="T66" fmla="*/ 1505 w 2861"/>
                  <a:gd name="T67" fmla="*/ 2185 h 3066"/>
                  <a:gd name="T68" fmla="*/ 1557 w 2861"/>
                  <a:gd name="T69" fmla="*/ 2317 h 3066"/>
                  <a:gd name="T70" fmla="*/ 1774 w 2861"/>
                  <a:gd name="T71" fmla="*/ 2421 h 3066"/>
                  <a:gd name="T72" fmla="*/ 1991 w 2861"/>
                  <a:gd name="T73" fmla="*/ 2573 h 3066"/>
                  <a:gd name="T74" fmla="*/ 2321 w 2861"/>
                  <a:gd name="T75" fmla="*/ 2829 h 3066"/>
                  <a:gd name="T76" fmla="*/ 2487 w 2861"/>
                  <a:gd name="T77" fmla="*/ 2931 h 3066"/>
                  <a:gd name="T78" fmla="*/ 2769 w 2861"/>
                  <a:gd name="T79" fmla="*/ 2920 h 3066"/>
                  <a:gd name="T80" fmla="*/ 2820 w 2861"/>
                  <a:gd name="T81" fmla="*/ 2718 h 3066"/>
                  <a:gd name="T82" fmla="*/ 2831 w 2861"/>
                  <a:gd name="T83" fmla="*/ 2436 h 3066"/>
                  <a:gd name="T84" fmla="*/ 2803 w 2861"/>
                  <a:gd name="T85" fmla="*/ 2240 h 3066"/>
                  <a:gd name="T86" fmla="*/ 2721 w 2861"/>
                  <a:gd name="T87" fmla="*/ 1954 h 3066"/>
                  <a:gd name="T88" fmla="*/ 2555 w 2861"/>
                  <a:gd name="T89" fmla="*/ 1550 h 3066"/>
                  <a:gd name="T90" fmla="*/ 2329 w 2861"/>
                  <a:gd name="T91" fmla="*/ 1150 h 3066"/>
                  <a:gd name="T92" fmla="*/ 2044 w 2861"/>
                  <a:gd name="T93" fmla="*/ 778 h 3066"/>
                  <a:gd name="T94" fmla="*/ 1699 w 2861"/>
                  <a:gd name="T95" fmla="*/ 464 h 3066"/>
                  <a:gd name="T96" fmla="*/ 1287 w 2861"/>
                  <a:gd name="T97" fmla="*/ 230 h 3066"/>
                  <a:gd name="T98" fmla="*/ 881 w 2861"/>
                  <a:gd name="T99" fmla="*/ 86 h 3066"/>
                  <a:gd name="T100" fmla="*/ 578 w 2861"/>
                  <a:gd name="T101" fmla="*/ 32 h 3066"/>
                  <a:gd name="T102" fmla="*/ 366 w 2861"/>
                  <a:gd name="T103" fmla="*/ 31 h 3066"/>
                  <a:gd name="T104" fmla="*/ 215 w 2861"/>
                  <a:gd name="T105" fmla="*/ 60 h 3066"/>
                  <a:gd name="T106" fmla="*/ 164 w 2861"/>
                  <a:gd name="T107" fmla="*/ 78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1" h="3066">
                    <a:moveTo>
                      <a:pt x="2722" y="3066"/>
                    </a:moveTo>
                    <a:lnTo>
                      <a:pt x="2720" y="3065"/>
                    </a:lnTo>
                    <a:lnTo>
                      <a:pt x="2717" y="3065"/>
                    </a:lnTo>
                    <a:lnTo>
                      <a:pt x="2476" y="2956"/>
                    </a:lnTo>
                    <a:lnTo>
                      <a:pt x="2457" y="2946"/>
                    </a:lnTo>
                    <a:lnTo>
                      <a:pt x="2436" y="2936"/>
                    </a:lnTo>
                    <a:lnTo>
                      <a:pt x="2416" y="2924"/>
                    </a:lnTo>
                    <a:lnTo>
                      <a:pt x="2394" y="2911"/>
                    </a:lnTo>
                    <a:lnTo>
                      <a:pt x="2351" y="2883"/>
                    </a:lnTo>
                    <a:lnTo>
                      <a:pt x="2306" y="2852"/>
                    </a:lnTo>
                    <a:lnTo>
                      <a:pt x="2260" y="2817"/>
                    </a:lnTo>
                    <a:lnTo>
                      <a:pt x="2211" y="2781"/>
                    </a:lnTo>
                    <a:lnTo>
                      <a:pt x="2163" y="2743"/>
                    </a:lnTo>
                    <a:lnTo>
                      <a:pt x="2114" y="2703"/>
                    </a:lnTo>
                    <a:lnTo>
                      <a:pt x="2046" y="2650"/>
                    </a:lnTo>
                    <a:lnTo>
                      <a:pt x="1976" y="2595"/>
                    </a:lnTo>
                    <a:lnTo>
                      <a:pt x="1940" y="2569"/>
                    </a:lnTo>
                    <a:lnTo>
                      <a:pt x="1905" y="2542"/>
                    </a:lnTo>
                    <a:lnTo>
                      <a:pt x="1869" y="2516"/>
                    </a:lnTo>
                    <a:lnTo>
                      <a:pt x="1834" y="2491"/>
                    </a:lnTo>
                    <a:lnTo>
                      <a:pt x="1798" y="2468"/>
                    </a:lnTo>
                    <a:lnTo>
                      <a:pt x="1761" y="2445"/>
                    </a:lnTo>
                    <a:lnTo>
                      <a:pt x="1726" y="2423"/>
                    </a:lnTo>
                    <a:lnTo>
                      <a:pt x="1689" y="2403"/>
                    </a:lnTo>
                    <a:lnTo>
                      <a:pt x="1653" y="2385"/>
                    </a:lnTo>
                    <a:lnTo>
                      <a:pt x="1618" y="2368"/>
                    </a:lnTo>
                    <a:lnTo>
                      <a:pt x="1582" y="2353"/>
                    </a:lnTo>
                    <a:lnTo>
                      <a:pt x="1547" y="2341"/>
                    </a:lnTo>
                    <a:lnTo>
                      <a:pt x="1543" y="2340"/>
                    </a:lnTo>
                    <a:lnTo>
                      <a:pt x="1540" y="2337"/>
                    </a:lnTo>
                    <a:lnTo>
                      <a:pt x="1537" y="2334"/>
                    </a:lnTo>
                    <a:lnTo>
                      <a:pt x="1533" y="2328"/>
                    </a:lnTo>
                    <a:lnTo>
                      <a:pt x="1525" y="2315"/>
                    </a:lnTo>
                    <a:lnTo>
                      <a:pt x="1516" y="2294"/>
                    </a:lnTo>
                    <a:lnTo>
                      <a:pt x="1505" y="2266"/>
                    </a:lnTo>
                    <a:lnTo>
                      <a:pt x="1491" y="2227"/>
                    </a:lnTo>
                    <a:lnTo>
                      <a:pt x="1475" y="2178"/>
                    </a:lnTo>
                    <a:lnTo>
                      <a:pt x="1454" y="2118"/>
                    </a:lnTo>
                    <a:lnTo>
                      <a:pt x="1420" y="2012"/>
                    </a:lnTo>
                    <a:lnTo>
                      <a:pt x="1379" y="1891"/>
                    </a:lnTo>
                    <a:lnTo>
                      <a:pt x="1356" y="1827"/>
                    </a:lnTo>
                    <a:lnTo>
                      <a:pt x="1332" y="1761"/>
                    </a:lnTo>
                    <a:lnTo>
                      <a:pt x="1307" y="1690"/>
                    </a:lnTo>
                    <a:lnTo>
                      <a:pt x="1280" y="1619"/>
                    </a:lnTo>
                    <a:lnTo>
                      <a:pt x="1250" y="1546"/>
                    </a:lnTo>
                    <a:lnTo>
                      <a:pt x="1219" y="1471"/>
                    </a:lnTo>
                    <a:lnTo>
                      <a:pt x="1187" y="1396"/>
                    </a:lnTo>
                    <a:lnTo>
                      <a:pt x="1152" y="1318"/>
                    </a:lnTo>
                    <a:lnTo>
                      <a:pt x="1115" y="1241"/>
                    </a:lnTo>
                    <a:lnTo>
                      <a:pt x="1078" y="1164"/>
                    </a:lnTo>
                    <a:lnTo>
                      <a:pt x="1038" y="1086"/>
                    </a:lnTo>
                    <a:lnTo>
                      <a:pt x="994" y="1009"/>
                    </a:lnTo>
                    <a:lnTo>
                      <a:pt x="950" y="933"/>
                    </a:lnTo>
                    <a:lnTo>
                      <a:pt x="904" y="856"/>
                    </a:lnTo>
                    <a:lnTo>
                      <a:pt x="855" y="781"/>
                    </a:lnTo>
                    <a:lnTo>
                      <a:pt x="804" y="709"/>
                    </a:lnTo>
                    <a:lnTo>
                      <a:pt x="752" y="638"/>
                    </a:lnTo>
                    <a:lnTo>
                      <a:pt x="696" y="569"/>
                    </a:lnTo>
                    <a:lnTo>
                      <a:pt x="639" y="502"/>
                    </a:lnTo>
                    <a:lnTo>
                      <a:pt x="579" y="437"/>
                    </a:lnTo>
                    <a:lnTo>
                      <a:pt x="517" y="377"/>
                    </a:lnTo>
                    <a:lnTo>
                      <a:pt x="452" y="318"/>
                    </a:lnTo>
                    <a:lnTo>
                      <a:pt x="384" y="264"/>
                    </a:lnTo>
                    <a:lnTo>
                      <a:pt x="315" y="214"/>
                    </a:lnTo>
                    <a:lnTo>
                      <a:pt x="243" y="167"/>
                    </a:lnTo>
                    <a:lnTo>
                      <a:pt x="167" y="126"/>
                    </a:lnTo>
                    <a:lnTo>
                      <a:pt x="90" y="88"/>
                    </a:lnTo>
                    <a:lnTo>
                      <a:pt x="10" y="57"/>
                    </a:lnTo>
                    <a:lnTo>
                      <a:pt x="5" y="54"/>
                    </a:lnTo>
                    <a:lnTo>
                      <a:pt x="2" y="51"/>
                    </a:lnTo>
                    <a:lnTo>
                      <a:pt x="0" y="45"/>
                    </a:lnTo>
                    <a:lnTo>
                      <a:pt x="1" y="41"/>
                    </a:lnTo>
                    <a:lnTo>
                      <a:pt x="3" y="36"/>
                    </a:lnTo>
                    <a:lnTo>
                      <a:pt x="6" y="32"/>
                    </a:lnTo>
                    <a:lnTo>
                      <a:pt x="12" y="31"/>
                    </a:lnTo>
                    <a:lnTo>
                      <a:pt x="16" y="31"/>
                    </a:lnTo>
                    <a:lnTo>
                      <a:pt x="71" y="41"/>
                    </a:lnTo>
                    <a:lnTo>
                      <a:pt x="114" y="46"/>
                    </a:lnTo>
                    <a:lnTo>
                      <a:pt x="147" y="50"/>
                    </a:lnTo>
                    <a:lnTo>
                      <a:pt x="165" y="51"/>
                    </a:lnTo>
                    <a:lnTo>
                      <a:pt x="176" y="46"/>
                    </a:lnTo>
                    <a:lnTo>
                      <a:pt x="194" y="39"/>
                    </a:lnTo>
                    <a:lnTo>
                      <a:pt x="220" y="30"/>
                    </a:lnTo>
                    <a:lnTo>
                      <a:pt x="254" y="22"/>
                    </a:lnTo>
                    <a:lnTo>
                      <a:pt x="273" y="17"/>
                    </a:lnTo>
                    <a:lnTo>
                      <a:pt x="295" y="14"/>
                    </a:lnTo>
                    <a:lnTo>
                      <a:pt x="319" y="10"/>
                    </a:lnTo>
                    <a:lnTo>
                      <a:pt x="343" y="6"/>
                    </a:lnTo>
                    <a:lnTo>
                      <a:pt x="371" y="3"/>
                    </a:lnTo>
                    <a:lnTo>
                      <a:pt x="401" y="1"/>
                    </a:lnTo>
                    <a:lnTo>
                      <a:pt x="432" y="0"/>
                    </a:lnTo>
                    <a:lnTo>
                      <a:pt x="465" y="0"/>
                    </a:lnTo>
                    <a:lnTo>
                      <a:pt x="515" y="1"/>
                    </a:lnTo>
                    <a:lnTo>
                      <a:pt x="566" y="3"/>
                    </a:lnTo>
                    <a:lnTo>
                      <a:pt x="618" y="9"/>
                    </a:lnTo>
                    <a:lnTo>
                      <a:pt x="669" y="15"/>
                    </a:lnTo>
                    <a:lnTo>
                      <a:pt x="723" y="24"/>
                    </a:lnTo>
                    <a:lnTo>
                      <a:pt x="779" y="33"/>
                    </a:lnTo>
                    <a:lnTo>
                      <a:pt x="834" y="46"/>
                    </a:lnTo>
                    <a:lnTo>
                      <a:pt x="891" y="60"/>
                    </a:lnTo>
                    <a:lnTo>
                      <a:pt x="948" y="77"/>
                    </a:lnTo>
                    <a:lnTo>
                      <a:pt x="1006" y="94"/>
                    </a:lnTo>
                    <a:lnTo>
                      <a:pt x="1066" y="114"/>
                    </a:lnTo>
                    <a:lnTo>
                      <a:pt x="1126" y="136"/>
                    </a:lnTo>
                    <a:lnTo>
                      <a:pt x="1188" y="160"/>
                    </a:lnTo>
                    <a:lnTo>
                      <a:pt x="1250" y="185"/>
                    </a:lnTo>
                    <a:lnTo>
                      <a:pt x="1313" y="212"/>
                    </a:lnTo>
                    <a:lnTo>
                      <a:pt x="1377" y="241"/>
                    </a:lnTo>
                    <a:lnTo>
                      <a:pt x="1448" y="276"/>
                    </a:lnTo>
                    <a:lnTo>
                      <a:pt x="1517" y="313"/>
                    </a:lnTo>
                    <a:lnTo>
                      <a:pt x="1584" y="354"/>
                    </a:lnTo>
                    <a:lnTo>
                      <a:pt x="1650" y="397"/>
                    </a:lnTo>
                    <a:lnTo>
                      <a:pt x="1714" y="443"/>
                    </a:lnTo>
                    <a:lnTo>
                      <a:pt x="1776" y="490"/>
                    </a:lnTo>
                    <a:lnTo>
                      <a:pt x="1837" y="540"/>
                    </a:lnTo>
                    <a:lnTo>
                      <a:pt x="1896" y="591"/>
                    </a:lnTo>
                    <a:lnTo>
                      <a:pt x="1953" y="645"/>
                    </a:lnTo>
                    <a:lnTo>
                      <a:pt x="2008" y="702"/>
                    </a:lnTo>
                    <a:lnTo>
                      <a:pt x="2062" y="759"/>
                    </a:lnTo>
                    <a:lnTo>
                      <a:pt x="2115" y="818"/>
                    </a:lnTo>
                    <a:lnTo>
                      <a:pt x="2165" y="879"/>
                    </a:lnTo>
                    <a:lnTo>
                      <a:pt x="2215" y="940"/>
                    </a:lnTo>
                    <a:lnTo>
                      <a:pt x="2261" y="1004"/>
                    </a:lnTo>
                    <a:lnTo>
                      <a:pt x="2308" y="1068"/>
                    </a:lnTo>
                    <a:lnTo>
                      <a:pt x="2351" y="1133"/>
                    </a:lnTo>
                    <a:lnTo>
                      <a:pt x="2393" y="1199"/>
                    </a:lnTo>
                    <a:lnTo>
                      <a:pt x="2434" y="1266"/>
                    </a:lnTo>
                    <a:lnTo>
                      <a:pt x="2473" y="1333"/>
                    </a:lnTo>
                    <a:lnTo>
                      <a:pt x="2509" y="1401"/>
                    </a:lnTo>
                    <a:lnTo>
                      <a:pt x="2545" y="1469"/>
                    </a:lnTo>
                    <a:lnTo>
                      <a:pt x="2579" y="1537"/>
                    </a:lnTo>
                    <a:lnTo>
                      <a:pt x="2611" y="1606"/>
                    </a:lnTo>
                    <a:lnTo>
                      <a:pt x="2641" y="1674"/>
                    </a:lnTo>
                    <a:lnTo>
                      <a:pt x="2670" y="1742"/>
                    </a:lnTo>
                    <a:lnTo>
                      <a:pt x="2697" y="1810"/>
                    </a:lnTo>
                    <a:lnTo>
                      <a:pt x="2722" y="1878"/>
                    </a:lnTo>
                    <a:lnTo>
                      <a:pt x="2746" y="1945"/>
                    </a:lnTo>
                    <a:lnTo>
                      <a:pt x="2769" y="2012"/>
                    </a:lnTo>
                    <a:lnTo>
                      <a:pt x="2788" y="2077"/>
                    </a:lnTo>
                    <a:lnTo>
                      <a:pt x="2807" y="2143"/>
                    </a:lnTo>
                    <a:lnTo>
                      <a:pt x="2816" y="2173"/>
                    </a:lnTo>
                    <a:lnTo>
                      <a:pt x="2824" y="2204"/>
                    </a:lnTo>
                    <a:lnTo>
                      <a:pt x="2830" y="2234"/>
                    </a:lnTo>
                    <a:lnTo>
                      <a:pt x="2837" y="2265"/>
                    </a:lnTo>
                    <a:lnTo>
                      <a:pt x="2842" y="2294"/>
                    </a:lnTo>
                    <a:lnTo>
                      <a:pt x="2846" y="2323"/>
                    </a:lnTo>
                    <a:lnTo>
                      <a:pt x="2851" y="2352"/>
                    </a:lnTo>
                    <a:lnTo>
                      <a:pt x="2854" y="2380"/>
                    </a:lnTo>
                    <a:lnTo>
                      <a:pt x="2858" y="2435"/>
                    </a:lnTo>
                    <a:lnTo>
                      <a:pt x="2861" y="2488"/>
                    </a:lnTo>
                    <a:lnTo>
                      <a:pt x="2861" y="2539"/>
                    </a:lnTo>
                    <a:lnTo>
                      <a:pt x="2860" y="2587"/>
                    </a:lnTo>
                    <a:lnTo>
                      <a:pt x="2857" y="2635"/>
                    </a:lnTo>
                    <a:lnTo>
                      <a:pt x="2853" y="2679"/>
                    </a:lnTo>
                    <a:lnTo>
                      <a:pt x="2846" y="2722"/>
                    </a:lnTo>
                    <a:lnTo>
                      <a:pt x="2840" y="2762"/>
                    </a:lnTo>
                    <a:lnTo>
                      <a:pt x="2831" y="2801"/>
                    </a:lnTo>
                    <a:lnTo>
                      <a:pt x="2823" y="2837"/>
                    </a:lnTo>
                    <a:lnTo>
                      <a:pt x="2813" y="2871"/>
                    </a:lnTo>
                    <a:lnTo>
                      <a:pt x="2803" y="2903"/>
                    </a:lnTo>
                    <a:lnTo>
                      <a:pt x="2791" y="2938"/>
                    </a:lnTo>
                    <a:lnTo>
                      <a:pt x="2778" y="2969"/>
                    </a:lnTo>
                    <a:lnTo>
                      <a:pt x="2768" y="2995"/>
                    </a:lnTo>
                    <a:lnTo>
                      <a:pt x="2757" y="3017"/>
                    </a:lnTo>
                    <a:lnTo>
                      <a:pt x="2741" y="3047"/>
                    </a:lnTo>
                    <a:lnTo>
                      <a:pt x="2734" y="3059"/>
                    </a:lnTo>
                    <a:lnTo>
                      <a:pt x="2732" y="3061"/>
                    </a:lnTo>
                    <a:lnTo>
                      <a:pt x="2729" y="3063"/>
                    </a:lnTo>
                    <a:lnTo>
                      <a:pt x="2727" y="3065"/>
                    </a:lnTo>
                    <a:lnTo>
                      <a:pt x="2722" y="3066"/>
                    </a:lnTo>
                    <a:close/>
                    <a:moveTo>
                      <a:pt x="124" y="74"/>
                    </a:moveTo>
                    <a:lnTo>
                      <a:pt x="124" y="74"/>
                    </a:lnTo>
                    <a:lnTo>
                      <a:pt x="199" y="112"/>
                    </a:lnTo>
                    <a:lnTo>
                      <a:pt x="271" y="153"/>
                    </a:lnTo>
                    <a:lnTo>
                      <a:pt x="341" y="200"/>
                    </a:lnTo>
                    <a:lnTo>
                      <a:pt x="408" y="248"/>
                    </a:lnTo>
                    <a:lnTo>
                      <a:pt x="474" y="302"/>
                    </a:lnTo>
                    <a:lnTo>
                      <a:pt x="537" y="358"/>
                    </a:lnTo>
                    <a:lnTo>
                      <a:pt x="597" y="418"/>
                    </a:lnTo>
                    <a:lnTo>
                      <a:pt x="655" y="479"/>
                    </a:lnTo>
                    <a:lnTo>
                      <a:pt x="712" y="544"/>
                    </a:lnTo>
                    <a:lnTo>
                      <a:pt x="766" y="611"/>
                    </a:lnTo>
                    <a:lnTo>
                      <a:pt x="816" y="679"/>
                    </a:lnTo>
                    <a:lnTo>
                      <a:pt x="866" y="749"/>
                    </a:lnTo>
                    <a:lnTo>
                      <a:pt x="914" y="821"/>
                    </a:lnTo>
                    <a:lnTo>
                      <a:pt x="960" y="894"/>
                    </a:lnTo>
                    <a:lnTo>
                      <a:pt x="1003" y="968"/>
                    </a:lnTo>
                    <a:lnTo>
                      <a:pt x="1044" y="1043"/>
                    </a:lnTo>
                    <a:lnTo>
                      <a:pt x="1084" y="1117"/>
                    </a:lnTo>
                    <a:lnTo>
                      <a:pt x="1122" y="1193"/>
                    </a:lnTo>
                    <a:lnTo>
                      <a:pt x="1159" y="1267"/>
                    </a:lnTo>
                    <a:lnTo>
                      <a:pt x="1192" y="1342"/>
                    </a:lnTo>
                    <a:lnTo>
                      <a:pt x="1226" y="1416"/>
                    </a:lnTo>
                    <a:lnTo>
                      <a:pt x="1256" y="1489"/>
                    </a:lnTo>
                    <a:lnTo>
                      <a:pt x="1285" y="1561"/>
                    </a:lnTo>
                    <a:lnTo>
                      <a:pt x="1313" y="1631"/>
                    </a:lnTo>
                    <a:lnTo>
                      <a:pt x="1339" y="1699"/>
                    </a:lnTo>
                    <a:lnTo>
                      <a:pt x="1364" y="1766"/>
                    </a:lnTo>
                    <a:lnTo>
                      <a:pt x="1386" y="1830"/>
                    </a:lnTo>
                    <a:lnTo>
                      <a:pt x="1408" y="1892"/>
                    </a:lnTo>
                    <a:lnTo>
                      <a:pt x="1447" y="2007"/>
                    </a:lnTo>
                    <a:lnTo>
                      <a:pt x="1480" y="2109"/>
                    </a:lnTo>
                    <a:lnTo>
                      <a:pt x="1493" y="2148"/>
                    </a:lnTo>
                    <a:lnTo>
                      <a:pt x="1505" y="2185"/>
                    </a:lnTo>
                    <a:lnTo>
                      <a:pt x="1517" y="2218"/>
                    </a:lnTo>
                    <a:lnTo>
                      <a:pt x="1528" y="2248"/>
                    </a:lnTo>
                    <a:lnTo>
                      <a:pt x="1537" y="2274"/>
                    </a:lnTo>
                    <a:lnTo>
                      <a:pt x="1545" y="2295"/>
                    </a:lnTo>
                    <a:lnTo>
                      <a:pt x="1552" y="2309"/>
                    </a:lnTo>
                    <a:lnTo>
                      <a:pt x="1557" y="2317"/>
                    </a:lnTo>
                    <a:lnTo>
                      <a:pt x="1593" y="2329"/>
                    </a:lnTo>
                    <a:lnTo>
                      <a:pt x="1628" y="2343"/>
                    </a:lnTo>
                    <a:lnTo>
                      <a:pt x="1665" y="2361"/>
                    </a:lnTo>
                    <a:lnTo>
                      <a:pt x="1702" y="2379"/>
                    </a:lnTo>
                    <a:lnTo>
                      <a:pt x="1737" y="2400"/>
                    </a:lnTo>
                    <a:lnTo>
                      <a:pt x="1774" y="2421"/>
                    </a:lnTo>
                    <a:lnTo>
                      <a:pt x="1811" y="2444"/>
                    </a:lnTo>
                    <a:lnTo>
                      <a:pt x="1848" y="2469"/>
                    </a:lnTo>
                    <a:lnTo>
                      <a:pt x="1883" y="2494"/>
                    </a:lnTo>
                    <a:lnTo>
                      <a:pt x="1920" y="2519"/>
                    </a:lnTo>
                    <a:lnTo>
                      <a:pt x="1956" y="2546"/>
                    </a:lnTo>
                    <a:lnTo>
                      <a:pt x="1991" y="2573"/>
                    </a:lnTo>
                    <a:lnTo>
                      <a:pt x="2062" y="2627"/>
                    </a:lnTo>
                    <a:lnTo>
                      <a:pt x="2130" y="2682"/>
                    </a:lnTo>
                    <a:lnTo>
                      <a:pt x="2180" y="2721"/>
                    </a:lnTo>
                    <a:lnTo>
                      <a:pt x="2228" y="2759"/>
                    </a:lnTo>
                    <a:lnTo>
                      <a:pt x="2275" y="2795"/>
                    </a:lnTo>
                    <a:lnTo>
                      <a:pt x="2321" y="2829"/>
                    </a:lnTo>
                    <a:lnTo>
                      <a:pt x="2365" y="2861"/>
                    </a:lnTo>
                    <a:lnTo>
                      <a:pt x="2408" y="2888"/>
                    </a:lnTo>
                    <a:lnTo>
                      <a:pt x="2428" y="2900"/>
                    </a:lnTo>
                    <a:lnTo>
                      <a:pt x="2448" y="2911"/>
                    </a:lnTo>
                    <a:lnTo>
                      <a:pt x="2468" y="2922"/>
                    </a:lnTo>
                    <a:lnTo>
                      <a:pt x="2487" y="2931"/>
                    </a:lnTo>
                    <a:lnTo>
                      <a:pt x="2717" y="3034"/>
                    </a:lnTo>
                    <a:lnTo>
                      <a:pt x="2728" y="3015"/>
                    </a:lnTo>
                    <a:lnTo>
                      <a:pt x="2743" y="2984"/>
                    </a:lnTo>
                    <a:lnTo>
                      <a:pt x="2751" y="2965"/>
                    </a:lnTo>
                    <a:lnTo>
                      <a:pt x="2760" y="2944"/>
                    </a:lnTo>
                    <a:lnTo>
                      <a:pt x="2769" y="2920"/>
                    </a:lnTo>
                    <a:lnTo>
                      <a:pt x="2777" y="2894"/>
                    </a:lnTo>
                    <a:lnTo>
                      <a:pt x="2787" y="2863"/>
                    </a:lnTo>
                    <a:lnTo>
                      <a:pt x="2797" y="2830"/>
                    </a:lnTo>
                    <a:lnTo>
                      <a:pt x="2805" y="2795"/>
                    </a:lnTo>
                    <a:lnTo>
                      <a:pt x="2813" y="2757"/>
                    </a:lnTo>
                    <a:lnTo>
                      <a:pt x="2820" y="2718"/>
                    </a:lnTo>
                    <a:lnTo>
                      <a:pt x="2826" y="2676"/>
                    </a:lnTo>
                    <a:lnTo>
                      <a:pt x="2830" y="2632"/>
                    </a:lnTo>
                    <a:lnTo>
                      <a:pt x="2833" y="2586"/>
                    </a:lnTo>
                    <a:lnTo>
                      <a:pt x="2834" y="2538"/>
                    </a:lnTo>
                    <a:lnTo>
                      <a:pt x="2834" y="2488"/>
                    </a:lnTo>
                    <a:lnTo>
                      <a:pt x="2831" y="2436"/>
                    </a:lnTo>
                    <a:lnTo>
                      <a:pt x="2827" y="2382"/>
                    </a:lnTo>
                    <a:lnTo>
                      <a:pt x="2824" y="2355"/>
                    </a:lnTo>
                    <a:lnTo>
                      <a:pt x="2819" y="2327"/>
                    </a:lnTo>
                    <a:lnTo>
                      <a:pt x="2815" y="2298"/>
                    </a:lnTo>
                    <a:lnTo>
                      <a:pt x="2810" y="2269"/>
                    </a:lnTo>
                    <a:lnTo>
                      <a:pt x="2803" y="2240"/>
                    </a:lnTo>
                    <a:lnTo>
                      <a:pt x="2797" y="2211"/>
                    </a:lnTo>
                    <a:lnTo>
                      <a:pt x="2789" y="2180"/>
                    </a:lnTo>
                    <a:lnTo>
                      <a:pt x="2782" y="2149"/>
                    </a:lnTo>
                    <a:lnTo>
                      <a:pt x="2762" y="2085"/>
                    </a:lnTo>
                    <a:lnTo>
                      <a:pt x="2743" y="2020"/>
                    </a:lnTo>
                    <a:lnTo>
                      <a:pt x="2721" y="1954"/>
                    </a:lnTo>
                    <a:lnTo>
                      <a:pt x="2697" y="1888"/>
                    </a:lnTo>
                    <a:lnTo>
                      <a:pt x="2671" y="1821"/>
                    </a:lnTo>
                    <a:lnTo>
                      <a:pt x="2646" y="1753"/>
                    </a:lnTo>
                    <a:lnTo>
                      <a:pt x="2616" y="1686"/>
                    </a:lnTo>
                    <a:lnTo>
                      <a:pt x="2586" y="1618"/>
                    </a:lnTo>
                    <a:lnTo>
                      <a:pt x="2555" y="1550"/>
                    </a:lnTo>
                    <a:lnTo>
                      <a:pt x="2521" y="1482"/>
                    </a:lnTo>
                    <a:lnTo>
                      <a:pt x="2486" y="1414"/>
                    </a:lnTo>
                    <a:lnTo>
                      <a:pt x="2449" y="1347"/>
                    </a:lnTo>
                    <a:lnTo>
                      <a:pt x="2411" y="1280"/>
                    </a:lnTo>
                    <a:lnTo>
                      <a:pt x="2371" y="1214"/>
                    </a:lnTo>
                    <a:lnTo>
                      <a:pt x="2329" y="1150"/>
                    </a:lnTo>
                    <a:lnTo>
                      <a:pt x="2286" y="1085"/>
                    </a:lnTo>
                    <a:lnTo>
                      <a:pt x="2241" y="1021"/>
                    </a:lnTo>
                    <a:lnTo>
                      <a:pt x="2194" y="959"/>
                    </a:lnTo>
                    <a:lnTo>
                      <a:pt x="2146" y="897"/>
                    </a:lnTo>
                    <a:lnTo>
                      <a:pt x="2096" y="837"/>
                    </a:lnTo>
                    <a:lnTo>
                      <a:pt x="2044" y="778"/>
                    </a:lnTo>
                    <a:lnTo>
                      <a:pt x="1990" y="721"/>
                    </a:lnTo>
                    <a:lnTo>
                      <a:pt x="1936" y="666"/>
                    </a:lnTo>
                    <a:lnTo>
                      <a:pt x="1879" y="613"/>
                    </a:lnTo>
                    <a:lnTo>
                      <a:pt x="1821" y="561"/>
                    </a:lnTo>
                    <a:lnTo>
                      <a:pt x="1760" y="512"/>
                    </a:lnTo>
                    <a:lnTo>
                      <a:pt x="1699" y="464"/>
                    </a:lnTo>
                    <a:lnTo>
                      <a:pt x="1636" y="420"/>
                    </a:lnTo>
                    <a:lnTo>
                      <a:pt x="1570" y="377"/>
                    </a:lnTo>
                    <a:lnTo>
                      <a:pt x="1504" y="337"/>
                    </a:lnTo>
                    <a:lnTo>
                      <a:pt x="1435" y="300"/>
                    </a:lnTo>
                    <a:lnTo>
                      <a:pt x="1366" y="265"/>
                    </a:lnTo>
                    <a:lnTo>
                      <a:pt x="1287" y="230"/>
                    </a:lnTo>
                    <a:lnTo>
                      <a:pt x="1213" y="199"/>
                    </a:lnTo>
                    <a:lnTo>
                      <a:pt x="1140" y="170"/>
                    </a:lnTo>
                    <a:lnTo>
                      <a:pt x="1071" y="145"/>
                    </a:lnTo>
                    <a:lnTo>
                      <a:pt x="1005" y="123"/>
                    </a:lnTo>
                    <a:lnTo>
                      <a:pt x="942" y="104"/>
                    </a:lnTo>
                    <a:lnTo>
                      <a:pt x="881" y="86"/>
                    </a:lnTo>
                    <a:lnTo>
                      <a:pt x="823" y="72"/>
                    </a:lnTo>
                    <a:lnTo>
                      <a:pt x="769" y="60"/>
                    </a:lnTo>
                    <a:lnTo>
                      <a:pt x="717" y="51"/>
                    </a:lnTo>
                    <a:lnTo>
                      <a:pt x="667" y="42"/>
                    </a:lnTo>
                    <a:lnTo>
                      <a:pt x="621" y="37"/>
                    </a:lnTo>
                    <a:lnTo>
                      <a:pt x="578" y="32"/>
                    </a:lnTo>
                    <a:lnTo>
                      <a:pt x="538" y="29"/>
                    </a:lnTo>
                    <a:lnTo>
                      <a:pt x="500" y="27"/>
                    </a:lnTo>
                    <a:lnTo>
                      <a:pt x="465" y="27"/>
                    </a:lnTo>
                    <a:lnTo>
                      <a:pt x="430" y="27"/>
                    </a:lnTo>
                    <a:lnTo>
                      <a:pt x="397" y="29"/>
                    </a:lnTo>
                    <a:lnTo>
                      <a:pt x="366" y="31"/>
                    </a:lnTo>
                    <a:lnTo>
                      <a:pt x="338" y="34"/>
                    </a:lnTo>
                    <a:lnTo>
                      <a:pt x="311" y="38"/>
                    </a:lnTo>
                    <a:lnTo>
                      <a:pt x="287" y="42"/>
                    </a:lnTo>
                    <a:lnTo>
                      <a:pt x="266" y="46"/>
                    </a:lnTo>
                    <a:lnTo>
                      <a:pt x="247" y="52"/>
                    </a:lnTo>
                    <a:lnTo>
                      <a:pt x="215" y="60"/>
                    </a:lnTo>
                    <a:lnTo>
                      <a:pt x="192" y="69"/>
                    </a:lnTo>
                    <a:lnTo>
                      <a:pt x="179" y="74"/>
                    </a:lnTo>
                    <a:lnTo>
                      <a:pt x="174" y="77"/>
                    </a:lnTo>
                    <a:lnTo>
                      <a:pt x="171" y="78"/>
                    </a:lnTo>
                    <a:lnTo>
                      <a:pt x="167" y="78"/>
                    </a:lnTo>
                    <a:lnTo>
                      <a:pt x="164" y="78"/>
                    </a:lnTo>
                    <a:lnTo>
                      <a:pt x="155" y="78"/>
                    </a:lnTo>
                    <a:lnTo>
                      <a:pt x="141" y="77"/>
                    </a:lnTo>
                    <a:lnTo>
                      <a:pt x="12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30"/>
              <p:cNvSpPr>
                <a:spLocks/>
              </p:cNvSpPr>
              <p:nvPr userDrawn="1"/>
            </p:nvSpPr>
            <p:spPr bwMode="auto">
              <a:xfrm>
                <a:off x="760" y="3190"/>
                <a:ext cx="391" cy="723"/>
              </a:xfrm>
              <a:custGeom>
                <a:avLst/>
                <a:gdLst>
                  <a:gd name="T0" fmla="*/ 1154 w 1172"/>
                  <a:gd name="T1" fmla="*/ 2167 h 2168"/>
                  <a:gd name="T2" fmla="*/ 1146 w 1172"/>
                  <a:gd name="T3" fmla="*/ 2160 h 2168"/>
                  <a:gd name="T4" fmla="*/ 1145 w 1172"/>
                  <a:gd name="T5" fmla="*/ 2146 h 2168"/>
                  <a:gd name="T6" fmla="*/ 1144 w 1172"/>
                  <a:gd name="T7" fmla="*/ 2087 h 2168"/>
                  <a:gd name="T8" fmla="*/ 1140 w 1172"/>
                  <a:gd name="T9" fmla="*/ 1978 h 2168"/>
                  <a:gd name="T10" fmla="*/ 1130 w 1172"/>
                  <a:gd name="T11" fmla="*/ 1828 h 2168"/>
                  <a:gd name="T12" fmla="*/ 1113 w 1172"/>
                  <a:gd name="T13" fmla="*/ 1646 h 2168"/>
                  <a:gd name="T14" fmla="*/ 1093 w 1172"/>
                  <a:gd name="T15" fmla="*/ 1492 h 2168"/>
                  <a:gd name="T16" fmla="*/ 1078 w 1172"/>
                  <a:gd name="T17" fmla="*/ 1384 h 2168"/>
                  <a:gd name="T18" fmla="*/ 1059 w 1172"/>
                  <a:gd name="T19" fmla="*/ 1272 h 2168"/>
                  <a:gd name="T20" fmla="*/ 1036 w 1172"/>
                  <a:gd name="T21" fmla="*/ 1159 h 2168"/>
                  <a:gd name="T22" fmla="*/ 1011 w 1172"/>
                  <a:gd name="T23" fmla="*/ 1043 h 2168"/>
                  <a:gd name="T24" fmla="*/ 982 w 1172"/>
                  <a:gd name="T25" fmla="*/ 927 h 2168"/>
                  <a:gd name="T26" fmla="*/ 948 w 1172"/>
                  <a:gd name="T27" fmla="*/ 812 h 2168"/>
                  <a:gd name="T28" fmla="*/ 901 w 1172"/>
                  <a:gd name="T29" fmla="*/ 706 h 2168"/>
                  <a:gd name="T30" fmla="*/ 844 w 1172"/>
                  <a:gd name="T31" fmla="*/ 609 h 2168"/>
                  <a:gd name="T32" fmla="*/ 778 w 1172"/>
                  <a:gd name="T33" fmla="*/ 521 h 2168"/>
                  <a:gd name="T34" fmla="*/ 706 w 1172"/>
                  <a:gd name="T35" fmla="*/ 441 h 2168"/>
                  <a:gd name="T36" fmla="*/ 628 w 1172"/>
                  <a:gd name="T37" fmla="*/ 367 h 2168"/>
                  <a:gd name="T38" fmla="*/ 547 w 1172"/>
                  <a:gd name="T39" fmla="*/ 303 h 2168"/>
                  <a:gd name="T40" fmla="*/ 465 w 1172"/>
                  <a:gd name="T41" fmla="*/ 245 h 2168"/>
                  <a:gd name="T42" fmla="*/ 384 w 1172"/>
                  <a:gd name="T43" fmla="*/ 196 h 2168"/>
                  <a:gd name="T44" fmla="*/ 306 w 1172"/>
                  <a:gd name="T45" fmla="*/ 153 h 2168"/>
                  <a:gd name="T46" fmla="*/ 233 w 1172"/>
                  <a:gd name="T47" fmla="*/ 116 h 2168"/>
                  <a:gd name="T48" fmla="*/ 167 w 1172"/>
                  <a:gd name="T49" fmla="*/ 86 h 2168"/>
                  <a:gd name="T50" fmla="*/ 86 w 1172"/>
                  <a:gd name="T51" fmla="*/ 53 h 2168"/>
                  <a:gd name="T52" fmla="*/ 20 w 1172"/>
                  <a:gd name="T53" fmla="*/ 31 h 2168"/>
                  <a:gd name="T54" fmla="*/ 5 w 1172"/>
                  <a:gd name="T55" fmla="*/ 25 h 2168"/>
                  <a:gd name="T56" fmla="*/ 0 w 1172"/>
                  <a:gd name="T57" fmla="*/ 16 h 2168"/>
                  <a:gd name="T58" fmla="*/ 3 w 1172"/>
                  <a:gd name="T59" fmla="*/ 6 h 2168"/>
                  <a:gd name="T60" fmla="*/ 11 w 1172"/>
                  <a:gd name="T61" fmla="*/ 0 h 2168"/>
                  <a:gd name="T62" fmla="*/ 28 w 1172"/>
                  <a:gd name="T63" fmla="*/ 5 h 2168"/>
                  <a:gd name="T64" fmla="*/ 95 w 1172"/>
                  <a:gd name="T65" fmla="*/ 27 h 2168"/>
                  <a:gd name="T66" fmla="*/ 178 w 1172"/>
                  <a:gd name="T67" fmla="*/ 61 h 2168"/>
                  <a:gd name="T68" fmla="*/ 245 w 1172"/>
                  <a:gd name="T69" fmla="*/ 92 h 2168"/>
                  <a:gd name="T70" fmla="*/ 319 w 1172"/>
                  <a:gd name="T71" fmla="*/ 129 h 2168"/>
                  <a:gd name="T72" fmla="*/ 399 w 1172"/>
                  <a:gd name="T73" fmla="*/ 173 h 2168"/>
                  <a:gd name="T74" fmla="*/ 481 w 1172"/>
                  <a:gd name="T75" fmla="*/ 224 h 2168"/>
                  <a:gd name="T76" fmla="*/ 564 w 1172"/>
                  <a:gd name="T77" fmla="*/ 282 h 2168"/>
                  <a:gd name="T78" fmla="*/ 646 w 1172"/>
                  <a:gd name="T79" fmla="*/ 349 h 2168"/>
                  <a:gd name="T80" fmla="*/ 726 w 1172"/>
                  <a:gd name="T81" fmla="*/ 424 h 2168"/>
                  <a:gd name="T82" fmla="*/ 801 w 1172"/>
                  <a:gd name="T83" fmla="*/ 506 h 2168"/>
                  <a:gd name="T84" fmla="*/ 868 w 1172"/>
                  <a:gd name="T85" fmla="*/ 596 h 2168"/>
                  <a:gd name="T86" fmla="*/ 926 w 1172"/>
                  <a:gd name="T87" fmla="*/ 696 h 2168"/>
                  <a:gd name="T88" fmla="*/ 972 w 1172"/>
                  <a:gd name="T89" fmla="*/ 804 h 2168"/>
                  <a:gd name="T90" fmla="*/ 1008 w 1172"/>
                  <a:gd name="T91" fmla="*/ 919 h 2168"/>
                  <a:gd name="T92" fmla="*/ 1037 w 1172"/>
                  <a:gd name="T93" fmla="*/ 1037 h 2168"/>
                  <a:gd name="T94" fmla="*/ 1063 w 1172"/>
                  <a:gd name="T95" fmla="*/ 1152 h 2168"/>
                  <a:gd name="T96" fmla="*/ 1086 w 1172"/>
                  <a:gd name="T97" fmla="*/ 1268 h 2168"/>
                  <a:gd name="T98" fmla="*/ 1104 w 1172"/>
                  <a:gd name="T99" fmla="*/ 1380 h 2168"/>
                  <a:gd name="T100" fmla="*/ 1120 w 1172"/>
                  <a:gd name="T101" fmla="*/ 1489 h 2168"/>
                  <a:gd name="T102" fmla="*/ 1140 w 1172"/>
                  <a:gd name="T103" fmla="*/ 1642 h 2168"/>
                  <a:gd name="T104" fmla="*/ 1157 w 1172"/>
                  <a:gd name="T105" fmla="*/ 1826 h 2168"/>
                  <a:gd name="T106" fmla="*/ 1167 w 1172"/>
                  <a:gd name="T107" fmla="*/ 1977 h 2168"/>
                  <a:gd name="T108" fmla="*/ 1171 w 1172"/>
                  <a:gd name="T109" fmla="*/ 2086 h 2168"/>
                  <a:gd name="T110" fmla="*/ 1172 w 1172"/>
                  <a:gd name="T111" fmla="*/ 2146 h 2168"/>
                  <a:gd name="T112" fmla="*/ 1171 w 1172"/>
                  <a:gd name="T113" fmla="*/ 2160 h 2168"/>
                  <a:gd name="T114" fmla="*/ 1165 w 1172"/>
                  <a:gd name="T115" fmla="*/ 2167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2" h="2168">
                    <a:moveTo>
                      <a:pt x="1159" y="2168"/>
                    </a:moveTo>
                    <a:lnTo>
                      <a:pt x="1154" y="2167"/>
                    </a:lnTo>
                    <a:lnTo>
                      <a:pt x="1150" y="2165"/>
                    </a:lnTo>
                    <a:lnTo>
                      <a:pt x="1146" y="2160"/>
                    </a:lnTo>
                    <a:lnTo>
                      <a:pt x="1145" y="2155"/>
                    </a:lnTo>
                    <a:lnTo>
                      <a:pt x="1145" y="2146"/>
                    </a:lnTo>
                    <a:lnTo>
                      <a:pt x="1145" y="2123"/>
                    </a:lnTo>
                    <a:lnTo>
                      <a:pt x="1144" y="2087"/>
                    </a:lnTo>
                    <a:lnTo>
                      <a:pt x="1142" y="2037"/>
                    </a:lnTo>
                    <a:lnTo>
                      <a:pt x="1140" y="1978"/>
                    </a:lnTo>
                    <a:lnTo>
                      <a:pt x="1136" y="1908"/>
                    </a:lnTo>
                    <a:lnTo>
                      <a:pt x="1130" y="1828"/>
                    </a:lnTo>
                    <a:lnTo>
                      <a:pt x="1123" y="1741"/>
                    </a:lnTo>
                    <a:lnTo>
                      <a:pt x="1113" y="1646"/>
                    </a:lnTo>
                    <a:lnTo>
                      <a:pt x="1101" y="1545"/>
                    </a:lnTo>
                    <a:lnTo>
                      <a:pt x="1093" y="1492"/>
                    </a:lnTo>
                    <a:lnTo>
                      <a:pt x="1086" y="1438"/>
                    </a:lnTo>
                    <a:lnTo>
                      <a:pt x="1078" y="1384"/>
                    </a:lnTo>
                    <a:lnTo>
                      <a:pt x="1069" y="1329"/>
                    </a:lnTo>
                    <a:lnTo>
                      <a:pt x="1059" y="1272"/>
                    </a:lnTo>
                    <a:lnTo>
                      <a:pt x="1048" y="1216"/>
                    </a:lnTo>
                    <a:lnTo>
                      <a:pt x="1036" y="1159"/>
                    </a:lnTo>
                    <a:lnTo>
                      <a:pt x="1024" y="1100"/>
                    </a:lnTo>
                    <a:lnTo>
                      <a:pt x="1011" y="1043"/>
                    </a:lnTo>
                    <a:lnTo>
                      <a:pt x="997" y="985"/>
                    </a:lnTo>
                    <a:lnTo>
                      <a:pt x="982" y="927"/>
                    </a:lnTo>
                    <a:lnTo>
                      <a:pt x="966" y="868"/>
                    </a:lnTo>
                    <a:lnTo>
                      <a:pt x="948" y="812"/>
                    </a:lnTo>
                    <a:lnTo>
                      <a:pt x="926" y="758"/>
                    </a:lnTo>
                    <a:lnTo>
                      <a:pt x="901" y="706"/>
                    </a:lnTo>
                    <a:lnTo>
                      <a:pt x="874" y="657"/>
                    </a:lnTo>
                    <a:lnTo>
                      <a:pt x="844" y="609"/>
                    </a:lnTo>
                    <a:lnTo>
                      <a:pt x="813" y="564"/>
                    </a:lnTo>
                    <a:lnTo>
                      <a:pt x="778" y="521"/>
                    </a:lnTo>
                    <a:lnTo>
                      <a:pt x="742" y="480"/>
                    </a:lnTo>
                    <a:lnTo>
                      <a:pt x="706" y="441"/>
                    </a:lnTo>
                    <a:lnTo>
                      <a:pt x="667" y="403"/>
                    </a:lnTo>
                    <a:lnTo>
                      <a:pt x="628" y="367"/>
                    </a:lnTo>
                    <a:lnTo>
                      <a:pt x="588" y="334"/>
                    </a:lnTo>
                    <a:lnTo>
                      <a:pt x="547" y="303"/>
                    </a:lnTo>
                    <a:lnTo>
                      <a:pt x="506" y="274"/>
                    </a:lnTo>
                    <a:lnTo>
                      <a:pt x="465" y="245"/>
                    </a:lnTo>
                    <a:lnTo>
                      <a:pt x="424" y="220"/>
                    </a:lnTo>
                    <a:lnTo>
                      <a:pt x="384" y="196"/>
                    </a:lnTo>
                    <a:lnTo>
                      <a:pt x="345" y="173"/>
                    </a:lnTo>
                    <a:lnTo>
                      <a:pt x="306" y="153"/>
                    </a:lnTo>
                    <a:lnTo>
                      <a:pt x="270" y="133"/>
                    </a:lnTo>
                    <a:lnTo>
                      <a:pt x="233" y="116"/>
                    </a:lnTo>
                    <a:lnTo>
                      <a:pt x="199" y="100"/>
                    </a:lnTo>
                    <a:lnTo>
                      <a:pt x="167" y="86"/>
                    </a:lnTo>
                    <a:lnTo>
                      <a:pt x="138" y="74"/>
                    </a:lnTo>
                    <a:lnTo>
                      <a:pt x="86" y="53"/>
                    </a:lnTo>
                    <a:lnTo>
                      <a:pt x="46" y="39"/>
                    </a:lnTo>
                    <a:lnTo>
                      <a:pt x="20" y="31"/>
                    </a:lnTo>
                    <a:lnTo>
                      <a:pt x="9" y="27"/>
                    </a:lnTo>
                    <a:lnTo>
                      <a:pt x="5" y="25"/>
                    </a:lnTo>
                    <a:lnTo>
                      <a:pt x="2" y="21"/>
                    </a:lnTo>
                    <a:lnTo>
                      <a:pt x="0" y="16"/>
                    </a:lnTo>
                    <a:lnTo>
                      <a:pt x="1" y="10"/>
                    </a:lnTo>
                    <a:lnTo>
                      <a:pt x="3" y="6"/>
                    </a:lnTo>
                    <a:lnTo>
                      <a:pt x="7" y="3"/>
                    </a:lnTo>
                    <a:lnTo>
                      <a:pt x="11" y="0"/>
                    </a:lnTo>
                    <a:lnTo>
                      <a:pt x="17" y="2"/>
                    </a:lnTo>
                    <a:lnTo>
                      <a:pt x="28" y="5"/>
                    </a:lnTo>
                    <a:lnTo>
                      <a:pt x="54" y="13"/>
                    </a:lnTo>
                    <a:lnTo>
                      <a:pt x="95" y="27"/>
                    </a:lnTo>
                    <a:lnTo>
                      <a:pt x="147" y="49"/>
                    </a:lnTo>
                    <a:lnTo>
                      <a:pt x="178" y="61"/>
                    </a:lnTo>
                    <a:lnTo>
                      <a:pt x="210" y="76"/>
                    </a:lnTo>
                    <a:lnTo>
                      <a:pt x="245" y="92"/>
                    </a:lnTo>
                    <a:lnTo>
                      <a:pt x="281" y="109"/>
                    </a:lnTo>
                    <a:lnTo>
                      <a:pt x="319" y="129"/>
                    </a:lnTo>
                    <a:lnTo>
                      <a:pt x="358" y="150"/>
                    </a:lnTo>
                    <a:lnTo>
                      <a:pt x="399" y="173"/>
                    </a:lnTo>
                    <a:lnTo>
                      <a:pt x="439" y="198"/>
                    </a:lnTo>
                    <a:lnTo>
                      <a:pt x="481" y="224"/>
                    </a:lnTo>
                    <a:lnTo>
                      <a:pt x="523" y="252"/>
                    </a:lnTo>
                    <a:lnTo>
                      <a:pt x="564" y="282"/>
                    </a:lnTo>
                    <a:lnTo>
                      <a:pt x="606" y="315"/>
                    </a:lnTo>
                    <a:lnTo>
                      <a:pt x="646" y="349"/>
                    </a:lnTo>
                    <a:lnTo>
                      <a:pt x="687" y="385"/>
                    </a:lnTo>
                    <a:lnTo>
                      <a:pt x="726" y="424"/>
                    </a:lnTo>
                    <a:lnTo>
                      <a:pt x="764" y="464"/>
                    </a:lnTo>
                    <a:lnTo>
                      <a:pt x="801" y="506"/>
                    </a:lnTo>
                    <a:lnTo>
                      <a:pt x="835" y="550"/>
                    </a:lnTo>
                    <a:lnTo>
                      <a:pt x="868" y="596"/>
                    </a:lnTo>
                    <a:lnTo>
                      <a:pt x="898" y="645"/>
                    </a:lnTo>
                    <a:lnTo>
                      <a:pt x="926" y="696"/>
                    </a:lnTo>
                    <a:lnTo>
                      <a:pt x="951" y="749"/>
                    </a:lnTo>
                    <a:lnTo>
                      <a:pt x="972" y="804"/>
                    </a:lnTo>
                    <a:lnTo>
                      <a:pt x="992" y="861"/>
                    </a:lnTo>
                    <a:lnTo>
                      <a:pt x="1008" y="919"/>
                    </a:lnTo>
                    <a:lnTo>
                      <a:pt x="1023" y="977"/>
                    </a:lnTo>
                    <a:lnTo>
                      <a:pt x="1037" y="1037"/>
                    </a:lnTo>
                    <a:lnTo>
                      <a:pt x="1050" y="1095"/>
                    </a:lnTo>
                    <a:lnTo>
                      <a:pt x="1063" y="1152"/>
                    </a:lnTo>
                    <a:lnTo>
                      <a:pt x="1075" y="1211"/>
                    </a:lnTo>
                    <a:lnTo>
                      <a:pt x="1086" y="1268"/>
                    </a:lnTo>
                    <a:lnTo>
                      <a:pt x="1096" y="1324"/>
                    </a:lnTo>
                    <a:lnTo>
                      <a:pt x="1104" y="1380"/>
                    </a:lnTo>
                    <a:lnTo>
                      <a:pt x="1113" y="1435"/>
                    </a:lnTo>
                    <a:lnTo>
                      <a:pt x="1120" y="1489"/>
                    </a:lnTo>
                    <a:lnTo>
                      <a:pt x="1128" y="1541"/>
                    </a:lnTo>
                    <a:lnTo>
                      <a:pt x="1140" y="1642"/>
                    </a:lnTo>
                    <a:lnTo>
                      <a:pt x="1150" y="1738"/>
                    </a:lnTo>
                    <a:lnTo>
                      <a:pt x="1157" y="1826"/>
                    </a:lnTo>
                    <a:lnTo>
                      <a:pt x="1163" y="1906"/>
                    </a:lnTo>
                    <a:lnTo>
                      <a:pt x="1167" y="1977"/>
                    </a:lnTo>
                    <a:lnTo>
                      <a:pt x="1169" y="2037"/>
                    </a:lnTo>
                    <a:lnTo>
                      <a:pt x="1171" y="2086"/>
                    </a:lnTo>
                    <a:lnTo>
                      <a:pt x="1172" y="2123"/>
                    </a:lnTo>
                    <a:lnTo>
                      <a:pt x="1172" y="2146"/>
                    </a:lnTo>
                    <a:lnTo>
                      <a:pt x="1172" y="2155"/>
                    </a:lnTo>
                    <a:lnTo>
                      <a:pt x="1171" y="2160"/>
                    </a:lnTo>
                    <a:lnTo>
                      <a:pt x="1169" y="2165"/>
                    </a:lnTo>
                    <a:lnTo>
                      <a:pt x="1165" y="2167"/>
                    </a:lnTo>
                    <a:lnTo>
                      <a:pt x="1159" y="2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31"/>
              <p:cNvSpPr>
                <a:spLocks/>
              </p:cNvSpPr>
              <p:nvPr userDrawn="1"/>
            </p:nvSpPr>
            <p:spPr bwMode="auto">
              <a:xfrm>
                <a:off x="892" y="3028"/>
                <a:ext cx="339" cy="779"/>
              </a:xfrm>
              <a:custGeom>
                <a:avLst/>
                <a:gdLst>
                  <a:gd name="T0" fmla="*/ 935 w 1018"/>
                  <a:gd name="T1" fmla="*/ 2336 h 2338"/>
                  <a:gd name="T2" fmla="*/ 896 w 1018"/>
                  <a:gd name="T3" fmla="*/ 2286 h 2338"/>
                  <a:gd name="T4" fmla="*/ 831 w 1018"/>
                  <a:gd name="T5" fmla="*/ 2179 h 2338"/>
                  <a:gd name="T6" fmla="*/ 776 w 1018"/>
                  <a:gd name="T7" fmla="*/ 2055 h 2338"/>
                  <a:gd name="T8" fmla="*/ 733 w 1018"/>
                  <a:gd name="T9" fmla="*/ 1899 h 2338"/>
                  <a:gd name="T10" fmla="*/ 713 w 1018"/>
                  <a:gd name="T11" fmla="*/ 1714 h 2338"/>
                  <a:gd name="T12" fmla="*/ 731 w 1018"/>
                  <a:gd name="T13" fmla="*/ 1502 h 2338"/>
                  <a:gd name="T14" fmla="*/ 800 w 1018"/>
                  <a:gd name="T15" fmla="*/ 1267 h 2338"/>
                  <a:gd name="T16" fmla="*/ 884 w 1018"/>
                  <a:gd name="T17" fmla="*/ 1069 h 2338"/>
                  <a:gd name="T18" fmla="*/ 941 w 1018"/>
                  <a:gd name="T19" fmla="*/ 900 h 2338"/>
                  <a:gd name="T20" fmla="*/ 977 w 1018"/>
                  <a:gd name="T21" fmla="*/ 744 h 2338"/>
                  <a:gd name="T22" fmla="*/ 991 w 1018"/>
                  <a:gd name="T23" fmla="*/ 602 h 2338"/>
                  <a:gd name="T24" fmla="*/ 982 w 1018"/>
                  <a:gd name="T25" fmla="*/ 475 h 2338"/>
                  <a:gd name="T26" fmla="*/ 952 w 1018"/>
                  <a:gd name="T27" fmla="*/ 361 h 2338"/>
                  <a:gd name="T28" fmla="*/ 901 w 1018"/>
                  <a:gd name="T29" fmla="*/ 264 h 2338"/>
                  <a:gd name="T30" fmla="*/ 828 w 1018"/>
                  <a:gd name="T31" fmla="*/ 182 h 2338"/>
                  <a:gd name="T32" fmla="*/ 729 w 1018"/>
                  <a:gd name="T33" fmla="*/ 114 h 2338"/>
                  <a:gd name="T34" fmla="*/ 613 w 1018"/>
                  <a:gd name="T35" fmla="*/ 68 h 2338"/>
                  <a:gd name="T36" fmla="*/ 492 w 1018"/>
                  <a:gd name="T37" fmla="*/ 40 h 2338"/>
                  <a:gd name="T38" fmla="*/ 372 w 1018"/>
                  <a:gd name="T39" fmla="*/ 28 h 2338"/>
                  <a:gd name="T40" fmla="*/ 258 w 1018"/>
                  <a:gd name="T41" fmla="*/ 29 h 2338"/>
                  <a:gd name="T42" fmla="*/ 158 w 1018"/>
                  <a:gd name="T43" fmla="*/ 40 h 2338"/>
                  <a:gd name="T44" fmla="*/ 80 w 1018"/>
                  <a:gd name="T45" fmla="*/ 57 h 2338"/>
                  <a:gd name="T46" fmla="*/ 29 w 1018"/>
                  <a:gd name="T47" fmla="*/ 77 h 2338"/>
                  <a:gd name="T48" fmla="*/ 6 w 1018"/>
                  <a:gd name="T49" fmla="*/ 84 h 2338"/>
                  <a:gd name="T50" fmla="*/ 1 w 1018"/>
                  <a:gd name="T51" fmla="*/ 65 h 2338"/>
                  <a:gd name="T52" fmla="*/ 37 w 1018"/>
                  <a:gd name="T53" fmla="*/ 44 h 2338"/>
                  <a:gd name="T54" fmla="*/ 108 w 1018"/>
                  <a:gd name="T55" fmla="*/ 22 h 2338"/>
                  <a:gd name="T56" fmla="*/ 202 w 1018"/>
                  <a:gd name="T57" fmla="*/ 6 h 2338"/>
                  <a:gd name="T58" fmla="*/ 314 w 1018"/>
                  <a:gd name="T59" fmla="*/ 0 h 2338"/>
                  <a:gd name="T60" fmla="*/ 436 w 1018"/>
                  <a:gd name="T61" fmla="*/ 5 h 2338"/>
                  <a:gd name="T62" fmla="*/ 561 w 1018"/>
                  <a:gd name="T63" fmla="*/ 26 h 2338"/>
                  <a:gd name="T64" fmla="*/ 684 w 1018"/>
                  <a:gd name="T65" fmla="*/ 64 h 2338"/>
                  <a:gd name="T66" fmla="*/ 797 w 1018"/>
                  <a:gd name="T67" fmla="*/ 124 h 2338"/>
                  <a:gd name="T68" fmla="*/ 870 w 1018"/>
                  <a:gd name="T69" fmla="*/ 185 h 2338"/>
                  <a:gd name="T70" fmla="*/ 928 w 1018"/>
                  <a:gd name="T71" fmla="*/ 257 h 2338"/>
                  <a:gd name="T72" fmla="*/ 976 w 1018"/>
                  <a:gd name="T73" fmla="*/ 347 h 2338"/>
                  <a:gd name="T74" fmla="*/ 1007 w 1018"/>
                  <a:gd name="T75" fmla="*/ 458 h 2338"/>
                  <a:gd name="T76" fmla="*/ 1018 w 1018"/>
                  <a:gd name="T77" fmla="*/ 593 h 2338"/>
                  <a:gd name="T78" fmla="*/ 1003 w 1018"/>
                  <a:gd name="T79" fmla="*/ 753 h 2338"/>
                  <a:gd name="T80" fmla="*/ 957 w 1018"/>
                  <a:gd name="T81" fmla="*/ 940 h 2338"/>
                  <a:gd name="T82" fmla="*/ 878 w 1018"/>
                  <a:gd name="T83" fmla="*/ 1157 h 2338"/>
                  <a:gd name="T84" fmla="*/ 785 w 1018"/>
                  <a:gd name="T85" fmla="*/ 1394 h 2338"/>
                  <a:gd name="T86" fmla="*/ 744 w 1018"/>
                  <a:gd name="T87" fmla="*/ 1612 h 2338"/>
                  <a:gd name="T88" fmla="*/ 746 w 1018"/>
                  <a:gd name="T89" fmla="*/ 1806 h 2338"/>
                  <a:gd name="T90" fmla="*/ 777 w 1018"/>
                  <a:gd name="T91" fmla="*/ 1972 h 2338"/>
                  <a:gd name="T92" fmla="*/ 827 w 1018"/>
                  <a:gd name="T93" fmla="*/ 2109 h 2338"/>
                  <a:gd name="T94" fmla="*/ 881 w 1018"/>
                  <a:gd name="T95" fmla="*/ 2214 h 2338"/>
                  <a:gd name="T96" fmla="*/ 948 w 1018"/>
                  <a:gd name="T97" fmla="*/ 2310 h 2338"/>
                  <a:gd name="T98" fmla="*/ 955 w 1018"/>
                  <a:gd name="T99" fmla="*/ 2330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8" h="2338">
                    <a:moveTo>
                      <a:pt x="943" y="2338"/>
                    </a:moveTo>
                    <a:lnTo>
                      <a:pt x="940" y="2338"/>
                    </a:lnTo>
                    <a:lnTo>
                      <a:pt x="938" y="2337"/>
                    </a:lnTo>
                    <a:lnTo>
                      <a:pt x="935" y="2336"/>
                    </a:lnTo>
                    <a:lnTo>
                      <a:pt x="933" y="2333"/>
                    </a:lnTo>
                    <a:lnTo>
                      <a:pt x="928" y="2328"/>
                    </a:lnTo>
                    <a:lnTo>
                      <a:pt x="914" y="2312"/>
                    </a:lnTo>
                    <a:lnTo>
                      <a:pt x="896" y="2286"/>
                    </a:lnTo>
                    <a:lnTo>
                      <a:pt x="872" y="2250"/>
                    </a:lnTo>
                    <a:lnTo>
                      <a:pt x="858" y="2229"/>
                    </a:lnTo>
                    <a:lnTo>
                      <a:pt x="845" y="2205"/>
                    </a:lnTo>
                    <a:lnTo>
                      <a:pt x="831" y="2179"/>
                    </a:lnTo>
                    <a:lnTo>
                      <a:pt x="817" y="2151"/>
                    </a:lnTo>
                    <a:lnTo>
                      <a:pt x="803" y="2122"/>
                    </a:lnTo>
                    <a:lnTo>
                      <a:pt x="789" y="2089"/>
                    </a:lnTo>
                    <a:lnTo>
                      <a:pt x="776" y="2055"/>
                    </a:lnTo>
                    <a:lnTo>
                      <a:pt x="763" y="2019"/>
                    </a:lnTo>
                    <a:lnTo>
                      <a:pt x="752" y="1982"/>
                    </a:lnTo>
                    <a:lnTo>
                      <a:pt x="742" y="1942"/>
                    </a:lnTo>
                    <a:lnTo>
                      <a:pt x="733" y="1899"/>
                    </a:lnTo>
                    <a:lnTo>
                      <a:pt x="724" y="1855"/>
                    </a:lnTo>
                    <a:lnTo>
                      <a:pt x="719" y="1810"/>
                    </a:lnTo>
                    <a:lnTo>
                      <a:pt x="715" y="1763"/>
                    </a:lnTo>
                    <a:lnTo>
                      <a:pt x="713" y="1714"/>
                    </a:lnTo>
                    <a:lnTo>
                      <a:pt x="713" y="1663"/>
                    </a:lnTo>
                    <a:lnTo>
                      <a:pt x="717" y="1611"/>
                    </a:lnTo>
                    <a:lnTo>
                      <a:pt x="722" y="1557"/>
                    </a:lnTo>
                    <a:lnTo>
                      <a:pt x="731" y="1502"/>
                    </a:lnTo>
                    <a:lnTo>
                      <a:pt x="743" y="1446"/>
                    </a:lnTo>
                    <a:lnTo>
                      <a:pt x="759" y="1388"/>
                    </a:lnTo>
                    <a:lnTo>
                      <a:pt x="777" y="1328"/>
                    </a:lnTo>
                    <a:lnTo>
                      <a:pt x="800" y="1267"/>
                    </a:lnTo>
                    <a:lnTo>
                      <a:pt x="827" y="1205"/>
                    </a:lnTo>
                    <a:lnTo>
                      <a:pt x="847" y="1159"/>
                    </a:lnTo>
                    <a:lnTo>
                      <a:pt x="866" y="1114"/>
                    </a:lnTo>
                    <a:lnTo>
                      <a:pt x="884" y="1069"/>
                    </a:lnTo>
                    <a:lnTo>
                      <a:pt x="900" y="1026"/>
                    </a:lnTo>
                    <a:lnTo>
                      <a:pt x="915" y="983"/>
                    </a:lnTo>
                    <a:lnTo>
                      <a:pt x="929" y="941"/>
                    </a:lnTo>
                    <a:lnTo>
                      <a:pt x="941" y="900"/>
                    </a:lnTo>
                    <a:lnTo>
                      <a:pt x="952" y="860"/>
                    </a:lnTo>
                    <a:lnTo>
                      <a:pt x="962" y="820"/>
                    </a:lnTo>
                    <a:lnTo>
                      <a:pt x="970" y="781"/>
                    </a:lnTo>
                    <a:lnTo>
                      <a:pt x="977" y="744"/>
                    </a:lnTo>
                    <a:lnTo>
                      <a:pt x="982" y="707"/>
                    </a:lnTo>
                    <a:lnTo>
                      <a:pt x="987" y="671"/>
                    </a:lnTo>
                    <a:lnTo>
                      <a:pt x="989" y="636"/>
                    </a:lnTo>
                    <a:lnTo>
                      <a:pt x="991" y="602"/>
                    </a:lnTo>
                    <a:lnTo>
                      <a:pt x="991" y="568"/>
                    </a:lnTo>
                    <a:lnTo>
                      <a:pt x="989" y="536"/>
                    </a:lnTo>
                    <a:lnTo>
                      <a:pt x="987" y="505"/>
                    </a:lnTo>
                    <a:lnTo>
                      <a:pt x="982" y="475"/>
                    </a:lnTo>
                    <a:lnTo>
                      <a:pt x="977" y="444"/>
                    </a:lnTo>
                    <a:lnTo>
                      <a:pt x="970" y="416"/>
                    </a:lnTo>
                    <a:lnTo>
                      <a:pt x="962" y="388"/>
                    </a:lnTo>
                    <a:lnTo>
                      <a:pt x="952" y="361"/>
                    </a:lnTo>
                    <a:lnTo>
                      <a:pt x="941" y="335"/>
                    </a:lnTo>
                    <a:lnTo>
                      <a:pt x="929" y="310"/>
                    </a:lnTo>
                    <a:lnTo>
                      <a:pt x="915" y="287"/>
                    </a:lnTo>
                    <a:lnTo>
                      <a:pt x="901" y="264"/>
                    </a:lnTo>
                    <a:lnTo>
                      <a:pt x="884" y="242"/>
                    </a:lnTo>
                    <a:lnTo>
                      <a:pt x="867" y="221"/>
                    </a:lnTo>
                    <a:lnTo>
                      <a:pt x="847" y="201"/>
                    </a:lnTo>
                    <a:lnTo>
                      <a:pt x="828" y="182"/>
                    </a:lnTo>
                    <a:lnTo>
                      <a:pt x="805" y="165"/>
                    </a:lnTo>
                    <a:lnTo>
                      <a:pt x="780" y="146"/>
                    </a:lnTo>
                    <a:lnTo>
                      <a:pt x="754" y="130"/>
                    </a:lnTo>
                    <a:lnTo>
                      <a:pt x="729" y="114"/>
                    </a:lnTo>
                    <a:lnTo>
                      <a:pt x="700" y="101"/>
                    </a:lnTo>
                    <a:lnTo>
                      <a:pt x="672" y="88"/>
                    </a:lnTo>
                    <a:lnTo>
                      <a:pt x="643" y="77"/>
                    </a:lnTo>
                    <a:lnTo>
                      <a:pt x="613" y="68"/>
                    </a:lnTo>
                    <a:lnTo>
                      <a:pt x="584" y="59"/>
                    </a:lnTo>
                    <a:lnTo>
                      <a:pt x="554" y="51"/>
                    </a:lnTo>
                    <a:lnTo>
                      <a:pt x="523" y="45"/>
                    </a:lnTo>
                    <a:lnTo>
                      <a:pt x="492" y="40"/>
                    </a:lnTo>
                    <a:lnTo>
                      <a:pt x="462" y="35"/>
                    </a:lnTo>
                    <a:lnTo>
                      <a:pt x="432" y="32"/>
                    </a:lnTo>
                    <a:lnTo>
                      <a:pt x="401" y="30"/>
                    </a:lnTo>
                    <a:lnTo>
                      <a:pt x="372" y="28"/>
                    </a:lnTo>
                    <a:lnTo>
                      <a:pt x="342" y="27"/>
                    </a:lnTo>
                    <a:lnTo>
                      <a:pt x="314" y="27"/>
                    </a:lnTo>
                    <a:lnTo>
                      <a:pt x="286" y="28"/>
                    </a:lnTo>
                    <a:lnTo>
                      <a:pt x="258" y="29"/>
                    </a:lnTo>
                    <a:lnTo>
                      <a:pt x="232" y="31"/>
                    </a:lnTo>
                    <a:lnTo>
                      <a:pt x="206" y="33"/>
                    </a:lnTo>
                    <a:lnTo>
                      <a:pt x="182" y="36"/>
                    </a:lnTo>
                    <a:lnTo>
                      <a:pt x="158" y="40"/>
                    </a:lnTo>
                    <a:lnTo>
                      <a:pt x="137" y="44"/>
                    </a:lnTo>
                    <a:lnTo>
                      <a:pt x="116" y="48"/>
                    </a:lnTo>
                    <a:lnTo>
                      <a:pt x="97" y="52"/>
                    </a:lnTo>
                    <a:lnTo>
                      <a:pt x="80" y="57"/>
                    </a:lnTo>
                    <a:lnTo>
                      <a:pt x="64" y="62"/>
                    </a:lnTo>
                    <a:lnTo>
                      <a:pt x="50" y="67"/>
                    </a:lnTo>
                    <a:lnTo>
                      <a:pt x="39" y="72"/>
                    </a:lnTo>
                    <a:lnTo>
                      <a:pt x="29" y="77"/>
                    </a:lnTo>
                    <a:lnTo>
                      <a:pt x="21" y="83"/>
                    </a:lnTo>
                    <a:lnTo>
                      <a:pt x="17" y="85"/>
                    </a:lnTo>
                    <a:lnTo>
                      <a:pt x="12" y="86"/>
                    </a:lnTo>
                    <a:lnTo>
                      <a:pt x="6" y="84"/>
                    </a:lnTo>
                    <a:lnTo>
                      <a:pt x="2" y="81"/>
                    </a:lnTo>
                    <a:lnTo>
                      <a:pt x="0" y="76"/>
                    </a:lnTo>
                    <a:lnTo>
                      <a:pt x="0" y="71"/>
                    </a:lnTo>
                    <a:lnTo>
                      <a:pt x="1" y="65"/>
                    </a:lnTo>
                    <a:lnTo>
                      <a:pt x="4" y="61"/>
                    </a:lnTo>
                    <a:lnTo>
                      <a:pt x="13" y="56"/>
                    </a:lnTo>
                    <a:lnTo>
                      <a:pt x="25" y="49"/>
                    </a:lnTo>
                    <a:lnTo>
                      <a:pt x="37" y="44"/>
                    </a:lnTo>
                    <a:lnTo>
                      <a:pt x="52" y="37"/>
                    </a:lnTo>
                    <a:lnTo>
                      <a:pt x="69" y="32"/>
                    </a:lnTo>
                    <a:lnTo>
                      <a:pt x="87" y="27"/>
                    </a:lnTo>
                    <a:lnTo>
                      <a:pt x="108" y="22"/>
                    </a:lnTo>
                    <a:lnTo>
                      <a:pt x="129" y="17"/>
                    </a:lnTo>
                    <a:lnTo>
                      <a:pt x="152" y="13"/>
                    </a:lnTo>
                    <a:lnTo>
                      <a:pt x="176" y="9"/>
                    </a:lnTo>
                    <a:lnTo>
                      <a:pt x="202" y="6"/>
                    </a:lnTo>
                    <a:lnTo>
                      <a:pt x="229" y="4"/>
                    </a:lnTo>
                    <a:lnTo>
                      <a:pt x="256" y="2"/>
                    </a:lnTo>
                    <a:lnTo>
                      <a:pt x="285" y="0"/>
                    </a:lnTo>
                    <a:lnTo>
                      <a:pt x="314" y="0"/>
                    </a:lnTo>
                    <a:lnTo>
                      <a:pt x="343" y="0"/>
                    </a:lnTo>
                    <a:lnTo>
                      <a:pt x="373" y="1"/>
                    </a:lnTo>
                    <a:lnTo>
                      <a:pt x="405" y="2"/>
                    </a:lnTo>
                    <a:lnTo>
                      <a:pt x="436" y="5"/>
                    </a:lnTo>
                    <a:lnTo>
                      <a:pt x="467" y="8"/>
                    </a:lnTo>
                    <a:lnTo>
                      <a:pt x="499" y="13"/>
                    </a:lnTo>
                    <a:lnTo>
                      <a:pt x="530" y="18"/>
                    </a:lnTo>
                    <a:lnTo>
                      <a:pt x="561" y="26"/>
                    </a:lnTo>
                    <a:lnTo>
                      <a:pt x="593" y="33"/>
                    </a:lnTo>
                    <a:lnTo>
                      <a:pt x="624" y="42"/>
                    </a:lnTo>
                    <a:lnTo>
                      <a:pt x="654" y="52"/>
                    </a:lnTo>
                    <a:lnTo>
                      <a:pt x="684" y="64"/>
                    </a:lnTo>
                    <a:lnTo>
                      <a:pt x="713" y="77"/>
                    </a:lnTo>
                    <a:lnTo>
                      <a:pt x="742" y="91"/>
                    </a:lnTo>
                    <a:lnTo>
                      <a:pt x="770" y="108"/>
                    </a:lnTo>
                    <a:lnTo>
                      <a:pt x="797" y="124"/>
                    </a:lnTo>
                    <a:lnTo>
                      <a:pt x="823" y="143"/>
                    </a:lnTo>
                    <a:lnTo>
                      <a:pt x="839" y="156"/>
                    </a:lnTo>
                    <a:lnTo>
                      <a:pt x="855" y="170"/>
                    </a:lnTo>
                    <a:lnTo>
                      <a:pt x="870" y="185"/>
                    </a:lnTo>
                    <a:lnTo>
                      <a:pt x="885" y="201"/>
                    </a:lnTo>
                    <a:lnTo>
                      <a:pt x="900" y="219"/>
                    </a:lnTo>
                    <a:lnTo>
                      <a:pt x="915" y="237"/>
                    </a:lnTo>
                    <a:lnTo>
                      <a:pt x="928" y="257"/>
                    </a:lnTo>
                    <a:lnTo>
                      <a:pt x="941" y="278"/>
                    </a:lnTo>
                    <a:lnTo>
                      <a:pt x="954" y="300"/>
                    </a:lnTo>
                    <a:lnTo>
                      <a:pt x="965" y="322"/>
                    </a:lnTo>
                    <a:lnTo>
                      <a:pt x="976" y="347"/>
                    </a:lnTo>
                    <a:lnTo>
                      <a:pt x="986" y="373"/>
                    </a:lnTo>
                    <a:lnTo>
                      <a:pt x="994" y="400"/>
                    </a:lnTo>
                    <a:lnTo>
                      <a:pt x="1001" y="428"/>
                    </a:lnTo>
                    <a:lnTo>
                      <a:pt x="1007" y="458"/>
                    </a:lnTo>
                    <a:lnTo>
                      <a:pt x="1011" y="490"/>
                    </a:lnTo>
                    <a:lnTo>
                      <a:pt x="1016" y="523"/>
                    </a:lnTo>
                    <a:lnTo>
                      <a:pt x="1017" y="557"/>
                    </a:lnTo>
                    <a:lnTo>
                      <a:pt x="1018" y="593"/>
                    </a:lnTo>
                    <a:lnTo>
                      <a:pt x="1017" y="630"/>
                    </a:lnTo>
                    <a:lnTo>
                      <a:pt x="1014" y="670"/>
                    </a:lnTo>
                    <a:lnTo>
                      <a:pt x="1009" y="710"/>
                    </a:lnTo>
                    <a:lnTo>
                      <a:pt x="1003" y="753"/>
                    </a:lnTo>
                    <a:lnTo>
                      <a:pt x="994" y="797"/>
                    </a:lnTo>
                    <a:lnTo>
                      <a:pt x="984" y="843"/>
                    </a:lnTo>
                    <a:lnTo>
                      <a:pt x="972" y="890"/>
                    </a:lnTo>
                    <a:lnTo>
                      <a:pt x="957" y="940"/>
                    </a:lnTo>
                    <a:lnTo>
                      <a:pt x="941" y="992"/>
                    </a:lnTo>
                    <a:lnTo>
                      <a:pt x="922" y="1045"/>
                    </a:lnTo>
                    <a:lnTo>
                      <a:pt x="901" y="1100"/>
                    </a:lnTo>
                    <a:lnTo>
                      <a:pt x="878" y="1157"/>
                    </a:lnTo>
                    <a:lnTo>
                      <a:pt x="851" y="1216"/>
                    </a:lnTo>
                    <a:lnTo>
                      <a:pt x="825" y="1277"/>
                    </a:lnTo>
                    <a:lnTo>
                      <a:pt x="803" y="1336"/>
                    </a:lnTo>
                    <a:lnTo>
                      <a:pt x="785" y="1394"/>
                    </a:lnTo>
                    <a:lnTo>
                      <a:pt x="770" y="1450"/>
                    </a:lnTo>
                    <a:lnTo>
                      <a:pt x="758" y="1507"/>
                    </a:lnTo>
                    <a:lnTo>
                      <a:pt x="749" y="1559"/>
                    </a:lnTo>
                    <a:lnTo>
                      <a:pt x="744" y="1612"/>
                    </a:lnTo>
                    <a:lnTo>
                      <a:pt x="740" y="1663"/>
                    </a:lnTo>
                    <a:lnTo>
                      <a:pt x="740" y="1713"/>
                    </a:lnTo>
                    <a:lnTo>
                      <a:pt x="742" y="1760"/>
                    </a:lnTo>
                    <a:lnTo>
                      <a:pt x="746" y="1806"/>
                    </a:lnTo>
                    <a:lnTo>
                      <a:pt x="751" y="1850"/>
                    </a:lnTo>
                    <a:lnTo>
                      <a:pt x="759" y="1893"/>
                    </a:lnTo>
                    <a:lnTo>
                      <a:pt x="767" y="1933"/>
                    </a:lnTo>
                    <a:lnTo>
                      <a:pt x="777" y="1972"/>
                    </a:lnTo>
                    <a:lnTo>
                      <a:pt x="789" y="2010"/>
                    </a:lnTo>
                    <a:lnTo>
                      <a:pt x="801" y="2044"/>
                    </a:lnTo>
                    <a:lnTo>
                      <a:pt x="814" y="2078"/>
                    </a:lnTo>
                    <a:lnTo>
                      <a:pt x="827" y="2109"/>
                    </a:lnTo>
                    <a:lnTo>
                      <a:pt x="841" y="2138"/>
                    </a:lnTo>
                    <a:lnTo>
                      <a:pt x="854" y="2165"/>
                    </a:lnTo>
                    <a:lnTo>
                      <a:pt x="868" y="2190"/>
                    </a:lnTo>
                    <a:lnTo>
                      <a:pt x="881" y="2214"/>
                    </a:lnTo>
                    <a:lnTo>
                      <a:pt x="894" y="2234"/>
                    </a:lnTo>
                    <a:lnTo>
                      <a:pt x="916" y="2269"/>
                    </a:lnTo>
                    <a:lnTo>
                      <a:pt x="935" y="2293"/>
                    </a:lnTo>
                    <a:lnTo>
                      <a:pt x="948" y="2310"/>
                    </a:lnTo>
                    <a:lnTo>
                      <a:pt x="953" y="2315"/>
                    </a:lnTo>
                    <a:lnTo>
                      <a:pt x="955" y="2320"/>
                    </a:lnTo>
                    <a:lnTo>
                      <a:pt x="956" y="2325"/>
                    </a:lnTo>
                    <a:lnTo>
                      <a:pt x="955" y="2330"/>
                    </a:lnTo>
                    <a:lnTo>
                      <a:pt x="952" y="2335"/>
                    </a:lnTo>
                    <a:lnTo>
                      <a:pt x="948" y="2338"/>
                    </a:lnTo>
                    <a:lnTo>
                      <a:pt x="943" y="2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32"/>
              <p:cNvSpPr>
                <a:spLocks/>
              </p:cNvSpPr>
              <p:nvPr userDrawn="1"/>
            </p:nvSpPr>
            <p:spPr bwMode="auto">
              <a:xfrm>
                <a:off x="1044" y="2979"/>
                <a:ext cx="1628" cy="416"/>
              </a:xfrm>
              <a:custGeom>
                <a:avLst/>
                <a:gdLst>
                  <a:gd name="T0" fmla="*/ 4864 w 4884"/>
                  <a:gd name="T1" fmla="*/ 1245 h 1249"/>
                  <a:gd name="T2" fmla="*/ 4842 w 4884"/>
                  <a:gd name="T3" fmla="*/ 1214 h 1249"/>
                  <a:gd name="T4" fmla="*/ 4711 w 4884"/>
                  <a:gd name="T5" fmla="*/ 1147 h 1249"/>
                  <a:gd name="T6" fmla="*/ 4472 w 4884"/>
                  <a:gd name="T7" fmla="*/ 1091 h 1249"/>
                  <a:gd name="T8" fmla="*/ 4150 w 4884"/>
                  <a:gd name="T9" fmla="*/ 1044 h 1249"/>
                  <a:gd name="T10" fmla="*/ 3766 w 4884"/>
                  <a:gd name="T11" fmla="*/ 1005 h 1249"/>
                  <a:gd name="T12" fmla="*/ 3340 w 4884"/>
                  <a:gd name="T13" fmla="*/ 973 h 1249"/>
                  <a:gd name="T14" fmla="*/ 2898 w 4884"/>
                  <a:gd name="T15" fmla="*/ 951 h 1249"/>
                  <a:gd name="T16" fmla="*/ 2457 w 4884"/>
                  <a:gd name="T17" fmla="*/ 935 h 1249"/>
                  <a:gd name="T18" fmla="*/ 1915 w 4884"/>
                  <a:gd name="T19" fmla="*/ 923 h 1249"/>
                  <a:gd name="T20" fmla="*/ 1469 w 4884"/>
                  <a:gd name="T21" fmla="*/ 922 h 1249"/>
                  <a:gd name="T22" fmla="*/ 1290 w 4884"/>
                  <a:gd name="T23" fmla="*/ 924 h 1249"/>
                  <a:gd name="T24" fmla="*/ 1164 w 4884"/>
                  <a:gd name="T25" fmla="*/ 916 h 1249"/>
                  <a:gd name="T26" fmla="*/ 993 w 4884"/>
                  <a:gd name="T27" fmla="*/ 878 h 1249"/>
                  <a:gd name="T28" fmla="*/ 827 w 4884"/>
                  <a:gd name="T29" fmla="*/ 814 h 1249"/>
                  <a:gd name="T30" fmla="*/ 668 w 4884"/>
                  <a:gd name="T31" fmla="*/ 728 h 1249"/>
                  <a:gd name="T32" fmla="*/ 520 w 4884"/>
                  <a:gd name="T33" fmla="*/ 627 h 1249"/>
                  <a:gd name="T34" fmla="*/ 385 w 4884"/>
                  <a:gd name="T35" fmla="*/ 517 h 1249"/>
                  <a:gd name="T36" fmla="*/ 266 w 4884"/>
                  <a:gd name="T37" fmla="*/ 401 h 1249"/>
                  <a:gd name="T38" fmla="*/ 166 w 4884"/>
                  <a:gd name="T39" fmla="*/ 289 h 1249"/>
                  <a:gd name="T40" fmla="*/ 86 w 4884"/>
                  <a:gd name="T41" fmla="*/ 183 h 1249"/>
                  <a:gd name="T42" fmla="*/ 30 w 4884"/>
                  <a:gd name="T43" fmla="*/ 90 h 1249"/>
                  <a:gd name="T44" fmla="*/ 0 w 4884"/>
                  <a:gd name="T45" fmla="*/ 17 h 1249"/>
                  <a:gd name="T46" fmla="*/ 6 w 4884"/>
                  <a:gd name="T47" fmla="*/ 3 h 1249"/>
                  <a:gd name="T48" fmla="*/ 21 w 4884"/>
                  <a:gd name="T49" fmla="*/ 2 h 1249"/>
                  <a:gd name="T50" fmla="*/ 33 w 4884"/>
                  <a:gd name="T51" fmla="*/ 31 h 1249"/>
                  <a:gd name="T52" fmla="*/ 72 w 4884"/>
                  <a:gd name="T53" fmla="*/ 109 h 1249"/>
                  <a:gd name="T54" fmla="*/ 134 w 4884"/>
                  <a:gd name="T55" fmla="*/ 204 h 1249"/>
                  <a:gd name="T56" fmla="*/ 221 w 4884"/>
                  <a:gd name="T57" fmla="*/ 310 h 1249"/>
                  <a:gd name="T58" fmla="*/ 327 w 4884"/>
                  <a:gd name="T59" fmla="*/ 421 h 1249"/>
                  <a:gd name="T60" fmla="*/ 450 w 4884"/>
                  <a:gd name="T61" fmla="*/ 533 h 1249"/>
                  <a:gd name="T62" fmla="*/ 587 w 4884"/>
                  <a:gd name="T63" fmla="*/ 639 h 1249"/>
                  <a:gd name="T64" fmla="*/ 737 w 4884"/>
                  <a:gd name="T65" fmla="*/ 734 h 1249"/>
                  <a:gd name="T66" fmla="*/ 895 w 4884"/>
                  <a:gd name="T67" fmla="*/ 811 h 1249"/>
                  <a:gd name="T68" fmla="*/ 1058 w 4884"/>
                  <a:gd name="T69" fmla="*/ 868 h 1249"/>
                  <a:gd name="T70" fmla="*/ 1225 w 4884"/>
                  <a:gd name="T71" fmla="*/ 895 h 1249"/>
                  <a:gd name="T72" fmla="*/ 1298 w 4884"/>
                  <a:gd name="T73" fmla="*/ 897 h 1249"/>
                  <a:gd name="T74" fmla="*/ 1770 w 4884"/>
                  <a:gd name="T75" fmla="*/ 897 h 1249"/>
                  <a:gd name="T76" fmla="*/ 2287 w 4884"/>
                  <a:gd name="T77" fmla="*/ 905 h 1249"/>
                  <a:gd name="T78" fmla="*/ 2733 w 4884"/>
                  <a:gd name="T79" fmla="*/ 918 h 1249"/>
                  <a:gd name="T80" fmla="*/ 3200 w 4884"/>
                  <a:gd name="T81" fmla="*/ 939 h 1249"/>
                  <a:gd name="T82" fmla="*/ 3659 w 4884"/>
                  <a:gd name="T83" fmla="*/ 968 h 1249"/>
                  <a:gd name="T84" fmla="*/ 4083 w 4884"/>
                  <a:gd name="T85" fmla="*/ 1008 h 1249"/>
                  <a:gd name="T86" fmla="*/ 4444 w 4884"/>
                  <a:gd name="T87" fmla="*/ 1059 h 1249"/>
                  <a:gd name="T88" fmla="*/ 4713 w 4884"/>
                  <a:gd name="T89" fmla="*/ 1122 h 1249"/>
                  <a:gd name="T90" fmla="*/ 4865 w 4884"/>
                  <a:gd name="T91" fmla="*/ 1201 h 1249"/>
                  <a:gd name="T92" fmla="*/ 4883 w 4884"/>
                  <a:gd name="T93" fmla="*/ 1240 h 1249"/>
                  <a:gd name="T94" fmla="*/ 4874 w 4884"/>
                  <a:gd name="T95" fmla="*/ 1248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84" h="1249">
                    <a:moveTo>
                      <a:pt x="4871" y="1249"/>
                    </a:moveTo>
                    <a:lnTo>
                      <a:pt x="4867" y="1248"/>
                    </a:lnTo>
                    <a:lnTo>
                      <a:pt x="4864" y="1245"/>
                    </a:lnTo>
                    <a:lnTo>
                      <a:pt x="4861" y="1243"/>
                    </a:lnTo>
                    <a:lnTo>
                      <a:pt x="4859" y="1239"/>
                    </a:lnTo>
                    <a:lnTo>
                      <a:pt x="4842" y="1214"/>
                    </a:lnTo>
                    <a:lnTo>
                      <a:pt x="4811" y="1191"/>
                    </a:lnTo>
                    <a:lnTo>
                      <a:pt x="4767" y="1169"/>
                    </a:lnTo>
                    <a:lnTo>
                      <a:pt x="4711" y="1147"/>
                    </a:lnTo>
                    <a:lnTo>
                      <a:pt x="4641" y="1128"/>
                    </a:lnTo>
                    <a:lnTo>
                      <a:pt x="4563" y="1108"/>
                    </a:lnTo>
                    <a:lnTo>
                      <a:pt x="4472" y="1091"/>
                    </a:lnTo>
                    <a:lnTo>
                      <a:pt x="4374" y="1074"/>
                    </a:lnTo>
                    <a:lnTo>
                      <a:pt x="4266" y="1058"/>
                    </a:lnTo>
                    <a:lnTo>
                      <a:pt x="4150" y="1044"/>
                    </a:lnTo>
                    <a:lnTo>
                      <a:pt x="4028" y="1030"/>
                    </a:lnTo>
                    <a:lnTo>
                      <a:pt x="3900" y="1017"/>
                    </a:lnTo>
                    <a:lnTo>
                      <a:pt x="3766" y="1005"/>
                    </a:lnTo>
                    <a:lnTo>
                      <a:pt x="3628" y="994"/>
                    </a:lnTo>
                    <a:lnTo>
                      <a:pt x="3485" y="983"/>
                    </a:lnTo>
                    <a:lnTo>
                      <a:pt x="3340" y="973"/>
                    </a:lnTo>
                    <a:lnTo>
                      <a:pt x="3193" y="966"/>
                    </a:lnTo>
                    <a:lnTo>
                      <a:pt x="3046" y="957"/>
                    </a:lnTo>
                    <a:lnTo>
                      <a:pt x="2898" y="951"/>
                    </a:lnTo>
                    <a:lnTo>
                      <a:pt x="2750" y="944"/>
                    </a:lnTo>
                    <a:lnTo>
                      <a:pt x="2603" y="940"/>
                    </a:lnTo>
                    <a:lnTo>
                      <a:pt x="2457" y="935"/>
                    </a:lnTo>
                    <a:lnTo>
                      <a:pt x="2316" y="931"/>
                    </a:lnTo>
                    <a:lnTo>
                      <a:pt x="2177" y="928"/>
                    </a:lnTo>
                    <a:lnTo>
                      <a:pt x="1915" y="923"/>
                    </a:lnTo>
                    <a:lnTo>
                      <a:pt x="1676" y="922"/>
                    </a:lnTo>
                    <a:lnTo>
                      <a:pt x="1568" y="920"/>
                    </a:lnTo>
                    <a:lnTo>
                      <a:pt x="1469" y="922"/>
                    </a:lnTo>
                    <a:lnTo>
                      <a:pt x="1379" y="923"/>
                    </a:lnTo>
                    <a:lnTo>
                      <a:pt x="1298" y="924"/>
                    </a:lnTo>
                    <a:lnTo>
                      <a:pt x="1290" y="924"/>
                    </a:lnTo>
                    <a:lnTo>
                      <a:pt x="1280" y="924"/>
                    </a:lnTo>
                    <a:lnTo>
                      <a:pt x="1223" y="922"/>
                    </a:lnTo>
                    <a:lnTo>
                      <a:pt x="1164" y="916"/>
                    </a:lnTo>
                    <a:lnTo>
                      <a:pt x="1107" y="906"/>
                    </a:lnTo>
                    <a:lnTo>
                      <a:pt x="1050" y="894"/>
                    </a:lnTo>
                    <a:lnTo>
                      <a:pt x="993" y="878"/>
                    </a:lnTo>
                    <a:lnTo>
                      <a:pt x="937" y="859"/>
                    </a:lnTo>
                    <a:lnTo>
                      <a:pt x="882" y="837"/>
                    </a:lnTo>
                    <a:lnTo>
                      <a:pt x="827" y="814"/>
                    </a:lnTo>
                    <a:lnTo>
                      <a:pt x="773" y="787"/>
                    </a:lnTo>
                    <a:lnTo>
                      <a:pt x="720" y="759"/>
                    </a:lnTo>
                    <a:lnTo>
                      <a:pt x="668" y="728"/>
                    </a:lnTo>
                    <a:lnTo>
                      <a:pt x="617" y="696"/>
                    </a:lnTo>
                    <a:lnTo>
                      <a:pt x="568" y="661"/>
                    </a:lnTo>
                    <a:lnTo>
                      <a:pt x="520" y="627"/>
                    </a:lnTo>
                    <a:lnTo>
                      <a:pt x="473" y="591"/>
                    </a:lnTo>
                    <a:lnTo>
                      <a:pt x="428" y="553"/>
                    </a:lnTo>
                    <a:lnTo>
                      <a:pt x="385" y="517"/>
                    </a:lnTo>
                    <a:lnTo>
                      <a:pt x="344" y="478"/>
                    </a:lnTo>
                    <a:lnTo>
                      <a:pt x="304" y="440"/>
                    </a:lnTo>
                    <a:lnTo>
                      <a:pt x="266" y="401"/>
                    </a:lnTo>
                    <a:lnTo>
                      <a:pt x="230" y="363"/>
                    </a:lnTo>
                    <a:lnTo>
                      <a:pt x="197" y="326"/>
                    </a:lnTo>
                    <a:lnTo>
                      <a:pt x="166" y="289"/>
                    </a:lnTo>
                    <a:lnTo>
                      <a:pt x="137" y="252"/>
                    </a:lnTo>
                    <a:lnTo>
                      <a:pt x="110" y="217"/>
                    </a:lnTo>
                    <a:lnTo>
                      <a:pt x="86" y="183"/>
                    </a:lnTo>
                    <a:lnTo>
                      <a:pt x="64" y="151"/>
                    </a:lnTo>
                    <a:lnTo>
                      <a:pt x="46" y="120"/>
                    </a:lnTo>
                    <a:lnTo>
                      <a:pt x="30" y="90"/>
                    </a:lnTo>
                    <a:lnTo>
                      <a:pt x="18" y="63"/>
                    </a:lnTo>
                    <a:lnTo>
                      <a:pt x="7" y="39"/>
                    </a:lnTo>
                    <a:lnTo>
                      <a:pt x="0" y="17"/>
                    </a:lnTo>
                    <a:lnTo>
                      <a:pt x="0" y="12"/>
                    </a:lnTo>
                    <a:lnTo>
                      <a:pt x="3" y="6"/>
                    </a:lnTo>
                    <a:lnTo>
                      <a:pt x="6" y="3"/>
                    </a:lnTo>
                    <a:lnTo>
                      <a:pt x="10" y="1"/>
                    </a:lnTo>
                    <a:lnTo>
                      <a:pt x="16" y="0"/>
                    </a:lnTo>
                    <a:lnTo>
                      <a:pt x="21" y="2"/>
                    </a:lnTo>
                    <a:lnTo>
                      <a:pt x="24" y="5"/>
                    </a:lnTo>
                    <a:lnTo>
                      <a:pt x="27" y="10"/>
                    </a:lnTo>
                    <a:lnTo>
                      <a:pt x="33" y="31"/>
                    </a:lnTo>
                    <a:lnTo>
                      <a:pt x="43" y="55"/>
                    </a:lnTo>
                    <a:lnTo>
                      <a:pt x="56" y="81"/>
                    </a:lnTo>
                    <a:lnTo>
                      <a:pt x="72" y="109"/>
                    </a:lnTo>
                    <a:lnTo>
                      <a:pt x="90" y="139"/>
                    </a:lnTo>
                    <a:lnTo>
                      <a:pt x="111" y="170"/>
                    </a:lnTo>
                    <a:lnTo>
                      <a:pt x="134" y="204"/>
                    </a:lnTo>
                    <a:lnTo>
                      <a:pt x="161" y="238"/>
                    </a:lnTo>
                    <a:lnTo>
                      <a:pt x="189" y="273"/>
                    </a:lnTo>
                    <a:lnTo>
                      <a:pt x="221" y="310"/>
                    </a:lnTo>
                    <a:lnTo>
                      <a:pt x="254" y="346"/>
                    </a:lnTo>
                    <a:lnTo>
                      <a:pt x="289" y="384"/>
                    </a:lnTo>
                    <a:lnTo>
                      <a:pt x="327" y="421"/>
                    </a:lnTo>
                    <a:lnTo>
                      <a:pt x="365" y="458"/>
                    </a:lnTo>
                    <a:lnTo>
                      <a:pt x="406" y="496"/>
                    </a:lnTo>
                    <a:lnTo>
                      <a:pt x="450" y="533"/>
                    </a:lnTo>
                    <a:lnTo>
                      <a:pt x="494" y="569"/>
                    </a:lnTo>
                    <a:lnTo>
                      <a:pt x="540" y="604"/>
                    </a:lnTo>
                    <a:lnTo>
                      <a:pt x="587" y="639"/>
                    </a:lnTo>
                    <a:lnTo>
                      <a:pt x="635" y="672"/>
                    </a:lnTo>
                    <a:lnTo>
                      <a:pt x="686" y="704"/>
                    </a:lnTo>
                    <a:lnTo>
                      <a:pt x="737" y="734"/>
                    </a:lnTo>
                    <a:lnTo>
                      <a:pt x="789" y="762"/>
                    </a:lnTo>
                    <a:lnTo>
                      <a:pt x="841" y="788"/>
                    </a:lnTo>
                    <a:lnTo>
                      <a:pt x="895" y="811"/>
                    </a:lnTo>
                    <a:lnTo>
                      <a:pt x="949" y="833"/>
                    </a:lnTo>
                    <a:lnTo>
                      <a:pt x="1003" y="851"/>
                    </a:lnTo>
                    <a:lnTo>
                      <a:pt x="1058" y="868"/>
                    </a:lnTo>
                    <a:lnTo>
                      <a:pt x="1114" y="879"/>
                    </a:lnTo>
                    <a:lnTo>
                      <a:pt x="1169" y="889"/>
                    </a:lnTo>
                    <a:lnTo>
                      <a:pt x="1225" y="895"/>
                    </a:lnTo>
                    <a:lnTo>
                      <a:pt x="1281" y="897"/>
                    </a:lnTo>
                    <a:lnTo>
                      <a:pt x="1290" y="897"/>
                    </a:lnTo>
                    <a:lnTo>
                      <a:pt x="1298" y="897"/>
                    </a:lnTo>
                    <a:lnTo>
                      <a:pt x="1404" y="896"/>
                    </a:lnTo>
                    <a:lnTo>
                      <a:pt x="1565" y="895"/>
                    </a:lnTo>
                    <a:lnTo>
                      <a:pt x="1770" y="897"/>
                    </a:lnTo>
                    <a:lnTo>
                      <a:pt x="2014" y="900"/>
                    </a:lnTo>
                    <a:lnTo>
                      <a:pt x="2148" y="902"/>
                    </a:lnTo>
                    <a:lnTo>
                      <a:pt x="2287" y="905"/>
                    </a:lnTo>
                    <a:lnTo>
                      <a:pt x="2432" y="909"/>
                    </a:lnTo>
                    <a:lnTo>
                      <a:pt x="2581" y="913"/>
                    </a:lnTo>
                    <a:lnTo>
                      <a:pt x="2733" y="918"/>
                    </a:lnTo>
                    <a:lnTo>
                      <a:pt x="2889" y="924"/>
                    </a:lnTo>
                    <a:lnTo>
                      <a:pt x="3044" y="931"/>
                    </a:lnTo>
                    <a:lnTo>
                      <a:pt x="3200" y="939"/>
                    </a:lnTo>
                    <a:lnTo>
                      <a:pt x="3355" y="947"/>
                    </a:lnTo>
                    <a:lnTo>
                      <a:pt x="3509" y="957"/>
                    </a:lnTo>
                    <a:lnTo>
                      <a:pt x="3659" y="968"/>
                    </a:lnTo>
                    <a:lnTo>
                      <a:pt x="3806" y="980"/>
                    </a:lnTo>
                    <a:lnTo>
                      <a:pt x="3947" y="994"/>
                    </a:lnTo>
                    <a:lnTo>
                      <a:pt x="4083" y="1008"/>
                    </a:lnTo>
                    <a:lnTo>
                      <a:pt x="4212" y="1023"/>
                    </a:lnTo>
                    <a:lnTo>
                      <a:pt x="4332" y="1040"/>
                    </a:lnTo>
                    <a:lnTo>
                      <a:pt x="4444" y="1059"/>
                    </a:lnTo>
                    <a:lnTo>
                      <a:pt x="4544" y="1079"/>
                    </a:lnTo>
                    <a:lnTo>
                      <a:pt x="4635" y="1100"/>
                    </a:lnTo>
                    <a:lnTo>
                      <a:pt x="4713" y="1122"/>
                    </a:lnTo>
                    <a:lnTo>
                      <a:pt x="4779" y="1147"/>
                    </a:lnTo>
                    <a:lnTo>
                      <a:pt x="4829" y="1173"/>
                    </a:lnTo>
                    <a:lnTo>
                      <a:pt x="4865" y="1201"/>
                    </a:lnTo>
                    <a:lnTo>
                      <a:pt x="4884" y="1230"/>
                    </a:lnTo>
                    <a:lnTo>
                      <a:pt x="4884" y="1236"/>
                    </a:lnTo>
                    <a:lnTo>
                      <a:pt x="4883" y="1240"/>
                    </a:lnTo>
                    <a:lnTo>
                      <a:pt x="4880" y="1244"/>
                    </a:lnTo>
                    <a:lnTo>
                      <a:pt x="4876" y="1248"/>
                    </a:lnTo>
                    <a:lnTo>
                      <a:pt x="4874" y="1248"/>
                    </a:lnTo>
                    <a:lnTo>
                      <a:pt x="4871" y="1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33"/>
              <p:cNvSpPr>
                <a:spLocks/>
              </p:cNvSpPr>
              <p:nvPr userDrawn="1"/>
            </p:nvSpPr>
            <p:spPr bwMode="auto">
              <a:xfrm>
                <a:off x="654" y="3389"/>
                <a:ext cx="484" cy="596"/>
              </a:xfrm>
              <a:custGeom>
                <a:avLst/>
                <a:gdLst>
                  <a:gd name="T0" fmla="*/ 1435 w 1453"/>
                  <a:gd name="T1" fmla="*/ 1789 h 1790"/>
                  <a:gd name="T2" fmla="*/ 1429 w 1453"/>
                  <a:gd name="T3" fmla="*/ 1783 h 1790"/>
                  <a:gd name="T4" fmla="*/ 1426 w 1453"/>
                  <a:gd name="T5" fmla="*/ 1772 h 1790"/>
                  <a:gd name="T6" fmla="*/ 1419 w 1453"/>
                  <a:gd name="T7" fmla="*/ 1724 h 1790"/>
                  <a:gd name="T8" fmla="*/ 1404 w 1453"/>
                  <a:gd name="T9" fmla="*/ 1640 h 1790"/>
                  <a:gd name="T10" fmla="*/ 1380 w 1453"/>
                  <a:gd name="T11" fmla="*/ 1525 h 1790"/>
                  <a:gd name="T12" fmla="*/ 1345 w 1453"/>
                  <a:gd name="T13" fmla="*/ 1386 h 1790"/>
                  <a:gd name="T14" fmla="*/ 1313 w 1453"/>
                  <a:gd name="T15" fmla="*/ 1272 h 1790"/>
                  <a:gd name="T16" fmla="*/ 1288 w 1453"/>
                  <a:gd name="T17" fmla="*/ 1192 h 1790"/>
                  <a:gd name="T18" fmla="*/ 1259 w 1453"/>
                  <a:gd name="T19" fmla="*/ 1111 h 1790"/>
                  <a:gd name="T20" fmla="*/ 1228 w 1453"/>
                  <a:gd name="T21" fmla="*/ 1028 h 1790"/>
                  <a:gd name="T22" fmla="*/ 1193 w 1453"/>
                  <a:gd name="T23" fmla="*/ 946 h 1790"/>
                  <a:gd name="T24" fmla="*/ 1155 w 1453"/>
                  <a:gd name="T25" fmla="*/ 865 h 1790"/>
                  <a:gd name="T26" fmla="*/ 1086 w 1453"/>
                  <a:gd name="T27" fmla="*/ 737 h 1790"/>
                  <a:gd name="T28" fmla="*/ 989 w 1453"/>
                  <a:gd name="T29" fmla="*/ 579 h 1790"/>
                  <a:gd name="T30" fmla="*/ 891 w 1453"/>
                  <a:gd name="T31" fmla="*/ 447 h 1790"/>
                  <a:gd name="T32" fmla="*/ 793 w 1453"/>
                  <a:gd name="T33" fmla="*/ 337 h 1790"/>
                  <a:gd name="T34" fmla="*/ 696 w 1453"/>
                  <a:gd name="T35" fmla="*/ 248 h 1790"/>
                  <a:gd name="T36" fmla="*/ 602 w 1453"/>
                  <a:gd name="T37" fmla="*/ 176 h 1790"/>
                  <a:gd name="T38" fmla="*/ 513 w 1453"/>
                  <a:gd name="T39" fmla="*/ 121 h 1790"/>
                  <a:gd name="T40" fmla="*/ 426 w 1453"/>
                  <a:gd name="T41" fmla="*/ 81 h 1790"/>
                  <a:gd name="T42" fmla="*/ 347 w 1453"/>
                  <a:gd name="T43" fmla="*/ 54 h 1790"/>
                  <a:gd name="T44" fmla="*/ 272 w 1453"/>
                  <a:gd name="T45" fmla="*/ 37 h 1790"/>
                  <a:gd name="T46" fmla="*/ 206 w 1453"/>
                  <a:gd name="T47" fmla="*/ 28 h 1790"/>
                  <a:gd name="T48" fmla="*/ 148 w 1453"/>
                  <a:gd name="T49" fmla="*/ 26 h 1790"/>
                  <a:gd name="T50" fmla="*/ 99 w 1453"/>
                  <a:gd name="T51" fmla="*/ 29 h 1790"/>
                  <a:gd name="T52" fmla="*/ 61 w 1453"/>
                  <a:gd name="T53" fmla="*/ 34 h 1790"/>
                  <a:gd name="T54" fmla="*/ 26 w 1453"/>
                  <a:gd name="T55" fmla="*/ 41 h 1790"/>
                  <a:gd name="T56" fmla="*/ 12 w 1453"/>
                  <a:gd name="T57" fmla="*/ 45 h 1790"/>
                  <a:gd name="T58" fmla="*/ 3 w 1453"/>
                  <a:gd name="T59" fmla="*/ 40 h 1790"/>
                  <a:gd name="T60" fmla="*/ 0 w 1453"/>
                  <a:gd name="T61" fmla="*/ 31 h 1790"/>
                  <a:gd name="T62" fmla="*/ 4 w 1453"/>
                  <a:gd name="T63" fmla="*/ 21 h 1790"/>
                  <a:gd name="T64" fmla="*/ 17 w 1453"/>
                  <a:gd name="T65" fmla="*/ 17 h 1790"/>
                  <a:gd name="T66" fmla="*/ 54 w 1453"/>
                  <a:gd name="T67" fmla="*/ 8 h 1790"/>
                  <a:gd name="T68" fmla="*/ 94 w 1453"/>
                  <a:gd name="T69" fmla="*/ 2 h 1790"/>
                  <a:gd name="T70" fmla="*/ 144 w 1453"/>
                  <a:gd name="T71" fmla="*/ 0 h 1790"/>
                  <a:gd name="T72" fmla="*/ 204 w 1453"/>
                  <a:gd name="T73" fmla="*/ 1 h 1790"/>
                  <a:gd name="T74" fmla="*/ 272 w 1453"/>
                  <a:gd name="T75" fmla="*/ 10 h 1790"/>
                  <a:gd name="T76" fmla="*/ 349 w 1453"/>
                  <a:gd name="T77" fmla="*/ 27 h 1790"/>
                  <a:gd name="T78" fmla="*/ 432 w 1453"/>
                  <a:gd name="T79" fmla="*/ 55 h 1790"/>
                  <a:gd name="T80" fmla="*/ 520 w 1453"/>
                  <a:gd name="T81" fmla="*/ 95 h 1790"/>
                  <a:gd name="T82" fmla="*/ 613 w 1453"/>
                  <a:gd name="T83" fmla="*/ 150 h 1790"/>
                  <a:gd name="T84" fmla="*/ 709 w 1453"/>
                  <a:gd name="T85" fmla="*/ 223 h 1790"/>
                  <a:gd name="T86" fmla="*/ 809 w 1453"/>
                  <a:gd name="T87" fmla="*/ 314 h 1790"/>
                  <a:gd name="T88" fmla="*/ 909 w 1453"/>
                  <a:gd name="T89" fmla="*/ 427 h 1790"/>
                  <a:gd name="T90" fmla="*/ 1010 w 1453"/>
                  <a:gd name="T91" fmla="*/ 562 h 1790"/>
                  <a:gd name="T92" fmla="*/ 1109 w 1453"/>
                  <a:gd name="T93" fmla="*/ 722 h 1790"/>
                  <a:gd name="T94" fmla="*/ 1179 w 1453"/>
                  <a:gd name="T95" fmla="*/ 853 h 1790"/>
                  <a:gd name="T96" fmla="*/ 1218 w 1453"/>
                  <a:gd name="T97" fmla="*/ 935 h 1790"/>
                  <a:gd name="T98" fmla="*/ 1253 w 1453"/>
                  <a:gd name="T99" fmla="*/ 1018 h 1790"/>
                  <a:gd name="T100" fmla="*/ 1285 w 1453"/>
                  <a:gd name="T101" fmla="*/ 1101 h 1790"/>
                  <a:gd name="T102" fmla="*/ 1313 w 1453"/>
                  <a:gd name="T103" fmla="*/ 1183 h 1790"/>
                  <a:gd name="T104" fmla="*/ 1339 w 1453"/>
                  <a:gd name="T105" fmla="*/ 1264 h 1790"/>
                  <a:gd name="T106" fmla="*/ 1371 w 1453"/>
                  <a:gd name="T107" fmla="*/ 1380 h 1790"/>
                  <a:gd name="T108" fmla="*/ 1406 w 1453"/>
                  <a:gd name="T109" fmla="*/ 1519 h 1790"/>
                  <a:gd name="T110" fmla="*/ 1431 w 1453"/>
                  <a:gd name="T111" fmla="*/ 1636 h 1790"/>
                  <a:gd name="T112" fmla="*/ 1446 w 1453"/>
                  <a:gd name="T113" fmla="*/ 1721 h 1790"/>
                  <a:gd name="T114" fmla="*/ 1452 w 1453"/>
                  <a:gd name="T115" fmla="*/ 1767 h 1790"/>
                  <a:gd name="T116" fmla="*/ 1453 w 1453"/>
                  <a:gd name="T117" fmla="*/ 1780 h 1790"/>
                  <a:gd name="T118" fmla="*/ 1447 w 1453"/>
                  <a:gd name="T119" fmla="*/ 1788 h 1790"/>
                  <a:gd name="T120" fmla="*/ 1441 w 1453"/>
                  <a:gd name="T121" fmla="*/ 179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3" h="1790">
                    <a:moveTo>
                      <a:pt x="1440" y="1790"/>
                    </a:moveTo>
                    <a:lnTo>
                      <a:pt x="1435" y="1789"/>
                    </a:lnTo>
                    <a:lnTo>
                      <a:pt x="1432" y="1787"/>
                    </a:lnTo>
                    <a:lnTo>
                      <a:pt x="1429" y="1783"/>
                    </a:lnTo>
                    <a:lnTo>
                      <a:pt x="1427" y="1778"/>
                    </a:lnTo>
                    <a:lnTo>
                      <a:pt x="1426" y="1772"/>
                    </a:lnTo>
                    <a:lnTo>
                      <a:pt x="1423" y="1753"/>
                    </a:lnTo>
                    <a:lnTo>
                      <a:pt x="1419" y="1724"/>
                    </a:lnTo>
                    <a:lnTo>
                      <a:pt x="1412" y="1686"/>
                    </a:lnTo>
                    <a:lnTo>
                      <a:pt x="1404" y="1640"/>
                    </a:lnTo>
                    <a:lnTo>
                      <a:pt x="1393" y="1586"/>
                    </a:lnTo>
                    <a:lnTo>
                      <a:pt x="1380" y="1525"/>
                    </a:lnTo>
                    <a:lnTo>
                      <a:pt x="1364" y="1459"/>
                    </a:lnTo>
                    <a:lnTo>
                      <a:pt x="1345" y="1386"/>
                    </a:lnTo>
                    <a:lnTo>
                      <a:pt x="1325" y="1311"/>
                    </a:lnTo>
                    <a:lnTo>
                      <a:pt x="1313" y="1272"/>
                    </a:lnTo>
                    <a:lnTo>
                      <a:pt x="1301" y="1232"/>
                    </a:lnTo>
                    <a:lnTo>
                      <a:pt x="1288" y="1192"/>
                    </a:lnTo>
                    <a:lnTo>
                      <a:pt x="1274" y="1151"/>
                    </a:lnTo>
                    <a:lnTo>
                      <a:pt x="1259" y="1111"/>
                    </a:lnTo>
                    <a:lnTo>
                      <a:pt x="1244" y="1069"/>
                    </a:lnTo>
                    <a:lnTo>
                      <a:pt x="1228" y="1028"/>
                    </a:lnTo>
                    <a:lnTo>
                      <a:pt x="1211" y="987"/>
                    </a:lnTo>
                    <a:lnTo>
                      <a:pt x="1193" y="946"/>
                    </a:lnTo>
                    <a:lnTo>
                      <a:pt x="1175" y="905"/>
                    </a:lnTo>
                    <a:lnTo>
                      <a:pt x="1155" y="865"/>
                    </a:lnTo>
                    <a:lnTo>
                      <a:pt x="1135" y="825"/>
                    </a:lnTo>
                    <a:lnTo>
                      <a:pt x="1086" y="737"/>
                    </a:lnTo>
                    <a:lnTo>
                      <a:pt x="1038" y="654"/>
                    </a:lnTo>
                    <a:lnTo>
                      <a:pt x="989" y="579"/>
                    </a:lnTo>
                    <a:lnTo>
                      <a:pt x="939" y="510"/>
                    </a:lnTo>
                    <a:lnTo>
                      <a:pt x="891" y="447"/>
                    </a:lnTo>
                    <a:lnTo>
                      <a:pt x="841" y="389"/>
                    </a:lnTo>
                    <a:lnTo>
                      <a:pt x="793" y="337"/>
                    </a:lnTo>
                    <a:lnTo>
                      <a:pt x="744" y="290"/>
                    </a:lnTo>
                    <a:lnTo>
                      <a:pt x="696" y="248"/>
                    </a:lnTo>
                    <a:lnTo>
                      <a:pt x="649" y="210"/>
                    </a:lnTo>
                    <a:lnTo>
                      <a:pt x="602" y="176"/>
                    </a:lnTo>
                    <a:lnTo>
                      <a:pt x="557" y="147"/>
                    </a:lnTo>
                    <a:lnTo>
                      <a:pt x="513" y="121"/>
                    </a:lnTo>
                    <a:lnTo>
                      <a:pt x="469" y="100"/>
                    </a:lnTo>
                    <a:lnTo>
                      <a:pt x="426" y="81"/>
                    </a:lnTo>
                    <a:lnTo>
                      <a:pt x="385" y="66"/>
                    </a:lnTo>
                    <a:lnTo>
                      <a:pt x="347" y="54"/>
                    </a:lnTo>
                    <a:lnTo>
                      <a:pt x="309" y="45"/>
                    </a:lnTo>
                    <a:lnTo>
                      <a:pt x="272" y="37"/>
                    </a:lnTo>
                    <a:lnTo>
                      <a:pt x="239" y="32"/>
                    </a:lnTo>
                    <a:lnTo>
                      <a:pt x="206" y="28"/>
                    </a:lnTo>
                    <a:lnTo>
                      <a:pt x="176" y="27"/>
                    </a:lnTo>
                    <a:lnTo>
                      <a:pt x="148" y="26"/>
                    </a:lnTo>
                    <a:lnTo>
                      <a:pt x="122" y="27"/>
                    </a:lnTo>
                    <a:lnTo>
                      <a:pt x="99" y="29"/>
                    </a:lnTo>
                    <a:lnTo>
                      <a:pt x="79" y="32"/>
                    </a:lnTo>
                    <a:lnTo>
                      <a:pt x="61" y="34"/>
                    </a:lnTo>
                    <a:lnTo>
                      <a:pt x="46" y="37"/>
                    </a:lnTo>
                    <a:lnTo>
                      <a:pt x="26" y="41"/>
                    </a:lnTo>
                    <a:lnTo>
                      <a:pt x="17" y="45"/>
                    </a:lnTo>
                    <a:lnTo>
                      <a:pt x="12" y="45"/>
                    </a:lnTo>
                    <a:lnTo>
                      <a:pt x="7" y="43"/>
                    </a:lnTo>
                    <a:lnTo>
                      <a:pt x="3" y="40"/>
                    </a:lnTo>
                    <a:lnTo>
                      <a:pt x="0" y="36"/>
                    </a:lnTo>
                    <a:lnTo>
                      <a:pt x="0" y="31"/>
                    </a:lnTo>
                    <a:lnTo>
                      <a:pt x="1" y="25"/>
                    </a:lnTo>
                    <a:lnTo>
                      <a:pt x="4" y="21"/>
                    </a:lnTo>
                    <a:lnTo>
                      <a:pt x="9" y="19"/>
                    </a:lnTo>
                    <a:lnTo>
                      <a:pt x="17" y="17"/>
                    </a:lnTo>
                    <a:lnTo>
                      <a:pt x="39" y="11"/>
                    </a:lnTo>
                    <a:lnTo>
                      <a:pt x="54" y="8"/>
                    </a:lnTo>
                    <a:lnTo>
                      <a:pt x="72" y="6"/>
                    </a:lnTo>
                    <a:lnTo>
                      <a:pt x="94" y="2"/>
                    </a:lnTo>
                    <a:lnTo>
                      <a:pt x="118" y="1"/>
                    </a:lnTo>
                    <a:lnTo>
                      <a:pt x="144" y="0"/>
                    </a:lnTo>
                    <a:lnTo>
                      <a:pt x="173" y="0"/>
                    </a:lnTo>
                    <a:lnTo>
                      <a:pt x="204" y="1"/>
                    </a:lnTo>
                    <a:lnTo>
                      <a:pt x="237" y="5"/>
                    </a:lnTo>
                    <a:lnTo>
                      <a:pt x="272" y="10"/>
                    </a:lnTo>
                    <a:lnTo>
                      <a:pt x="310" y="18"/>
                    </a:lnTo>
                    <a:lnTo>
                      <a:pt x="349" y="27"/>
                    </a:lnTo>
                    <a:lnTo>
                      <a:pt x="390" y="39"/>
                    </a:lnTo>
                    <a:lnTo>
                      <a:pt x="432" y="55"/>
                    </a:lnTo>
                    <a:lnTo>
                      <a:pt x="475" y="74"/>
                    </a:lnTo>
                    <a:lnTo>
                      <a:pt x="520" y="95"/>
                    </a:lnTo>
                    <a:lnTo>
                      <a:pt x="566" y="121"/>
                    </a:lnTo>
                    <a:lnTo>
                      <a:pt x="613" y="150"/>
                    </a:lnTo>
                    <a:lnTo>
                      <a:pt x="661" y="185"/>
                    </a:lnTo>
                    <a:lnTo>
                      <a:pt x="709" y="223"/>
                    </a:lnTo>
                    <a:lnTo>
                      <a:pt x="759" y="266"/>
                    </a:lnTo>
                    <a:lnTo>
                      <a:pt x="809" y="314"/>
                    </a:lnTo>
                    <a:lnTo>
                      <a:pt x="858" y="367"/>
                    </a:lnTo>
                    <a:lnTo>
                      <a:pt x="909" y="427"/>
                    </a:lnTo>
                    <a:lnTo>
                      <a:pt x="959" y="491"/>
                    </a:lnTo>
                    <a:lnTo>
                      <a:pt x="1010" y="562"/>
                    </a:lnTo>
                    <a:lnTo>
                      <a:pt x="1059" y="638"/>
                    </a:lnTo>
                    <a:lnTo>
                      <a:pt x="1109" y="722"/>
                    </a:lnTo>
                    <a:lnTo>
                      <a:pt x="1159" y="812"/>
                    </a:lnTo>
                    <a:lnTo>
                      <a:pt x="1179" y="853"/>
                    </a:lnTo>
                    <a:lnTo>
                      <a:pt x="1199" y="894"/>
                    </a:lnTo>
                    <a:lnTo>
                      <a:pt x="1218" y="935"/>
                    </a:lnTo>
                    <a:lnTo>
                      <a:pt x="1236" y="976"/>
                    </a:lnTo>
                    <a:lnTo>
                      <a:pt x="1253" y="1018"/>
                    </a:lnTo>
                    <a:lnTo>
                      <a:pt x="1269" y="1059"/>
                    </a:lnTo>
                    <a:lnTo>
                      <a:pt x="1285" y="1101"/>
                    </a:lnTo>
                    <a:lnTo>
                      <a:pt x="1299" y="1142"/>
                    </a:lnTo>
                    <a:lnTo>
                      <a:pt x="1313" y="1183"/>
                    </a:lnTo>
                    <a:lnTo>
                      <a:pt x="1326" y="1223"/>
                    </a:lnTo>
                    <a:lnTo>
                      <a:pt x="1339" y="1264"/>
                    </a:lnTo>
                    <a:lnTo>
                      <a:pt x="1351" y="1303"/>
                    </a:lnTo>
                    <a:lnTo>
                      <a:pt x="1371" y="1380"/>
                    </a:lnTo>
                    <a:lnTo>
                      <a:pt x="1390" y="1452"/>
                    </a:lnTo>
                    <a:lnTo>
                      <a:pt x="1406" y="1519"/>
                    </a:lnTo>
                    <a:lnTo>
                      <a:pt x="1419" y="1581"/>
                    </a:lnTo>
                    <a:lnTo>
                      <a:pt x="1431" y="1636"/>
                    </a:lnTo>
                    <a:lnTo>
                      <a:pt x="1439" y="1682"/>
                    </a:lnTo>
                    <a:lnTo>
                      <a:pt x="1446" y="1721"/>
                    </a:lnTo>
                    <a:lnTo>
                      <a:pt x="1450" y="1749"/>
                    </a:lnTo>
                    <a:lnTo>
                      <a:pt x="1452" y="1767"/>
                    </a:lnTo>
                    <a:lnTo>
                      <a:pt x="1453" y="1775"/>
                    </a:lnTo>
                    <a:lnTo>
                      <a:pt x="1453" y="1780"/>
                    </a:lnTo>
                    <a:lnTo>
                      <a:pt x="1451" y="1785"/>
                    </a:lnTo>
                    <a:lnTo>
                      <a:pt x="1447" y="1788"/>
                    </a:lnTo>
                    <a:lnTo>
                      <a:pt x="1443" y="1790"/>
                    </a:lnTo>
                    <a:lnTo>
                      <a:pt x="1441" y="1790"/>
                    </a:lnTo>
                    <a:lnTo>
                      <a:pt x="1440" y="1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34"/>
              <p:cNvSpPr>
                <a:spLocks/>
              </p:cNvSpPr>
              <p:nvPr userDrawn="1"/>
            </p:nvSpPr>
            <p:spPr bwMode="auto">
              <a:xfrm>
                <a:off x="285" y="3049"/>
                <a:ext cx="1555" cy="1271"/>
              </a:xfrm>
              <a:custGeom>
                <a:avLst/>
                <a:gdLst>
                  <a:gd name="T0" fmla="*/ 121 w 4664"/>
                  <a:gd name="T1" fmla="*/ 3659 h 3812"/>
                  <a:gd name="T2" fmla="*/ 400 w 4664"/>
                  <a:gd name="T3" fmla="*/ 3297 h 3812"/>
                  <a:gd name="T4" fmla="*/ 746 w 4664"/>
                  <a:gd name="T5" fmla="*/ 2825 h 3812"/>
                  <a:gd name="T6" fmla="*/ 929 w 4664"/>
                  <a:gd name="T7" fmla="*/ 2566 h 3812"/>
                  <a:gd name="T8" fmla="*/ 1108 w 4664"/>
                  <a:gd name="T9" fmla="*/ 2301 h 3812"/>
                  <a:gd name="T10" fmla="*/ 1278 w 4664"/>
                  <a:gd name="T11" fmla="*/ 2036 h 3812"/>
                  <a:gd name="T12" fmla="*/ 1431 w 4664"/>
                  <a:gd name="T13" fmla="*/ 1778 h 3812"/>
                  <a:gd name="T14" fmla="*/ 1561 w 4664"/>
                  <a:gd name="T15" fmla="*/ 1534 h 3812"/>
                  <a:gd name="T16" fmla="*/ 1700 w 4664"/>
                  <a:gd name="T17" fmla="*/ 1253 h 3812"/>
                  <a:gd name="T18" fmla="*/ 1859 w 4664"/>
                  <a:gd name="T19" fmla="*/ 988 h 3812"/>
                  <a:gd name="T20" fmla="*/ 2021 w 4664"/>
                  <a:gd name="T21" fmla="*/ 771 h 3812"/>
                  <a:gd name="T22" fmla="*/ 2181 w 4664"/>
                  <a:gd name="T23" fmla="*/ 595 h 3812"/>
                  <a:gd name="T24" fmla="*/ 2340 w 4664"/>
                  <a:gd name="T25" fmla="*/ 457 h 3812"/>
                  <a:gd name="T26" fmla="*/ 2491 w 4664"/>
                  <a:gd name="T27" fmla="*/ 352 h 3812"/>
                  <a:gd name="T28" fmla="*/ 2633 w 4664"/>
                  <a:gd name="T29" fmla="*/ 276 h 3812"/>
                  <a:gd name="T30" fmla="*/ 2760 w 4664"/>
                  <a:gd name="T31" fmla="*/ 223 h 3812"/>
                  <a:gd name="T32" fmla="*/ 2873 w 4664"/>
                  <a:gd name="T33" fmla="*/ 190 h 3812"/>
                  <a:gd name="T34" fmla="*/ 2964 w 4664"/>
                  <a:gd name="T35" fmla="*/ 173 h 3812"/>
                  <a:gd name="T36" fmla="*/ 3033 w 4664"/>
                  <a:gd name="T37" fmla="*/ 166 h 3812"/>
                  <a:gd name="T38" fmla="*/ 3329 w 4664"/>
                  <a:gd name="T39" fmla="*/ 142 h 3812"/>
                  <a:gd name="T40" fmla="*/ 3716 w 4664"/>
                  <a:gd name="T41" fmla="*/ 104 h 3812"/>
                  <a:gd name="T42" fmla="*/ 4115 w 4664"/>
                  <a:gd name="T43" fmla="*/ 61 h 3812"/>
                  <a:gd name="T44" fmla="*/ 4447 w 4664"/>
                  <a:gd name="T45" fmla="*/ 24 h 3812"/>
                  <a:gd name="T46" fmla="*/ 4634 w 4664"/>
                  <a:gd name="T47" fmla="*/ 3 h 3812"/>
                  <a:gd name="T48" fmla="*/ 4660 w 4664"/>
                  <a:gd name="T49" fmla="*/ 4 h 3812"/>
                  <a:gd name="T50" fmla="*/ 4664 w 4664"/>
                  <a:gd name="T51" fmla="*/ 18 h 3812"/>
                  <a:gd name="T52" fmla="*/ 4652 w 4664"/>
                  <a:gd name="T53" fmla="*/ 27 h 3812"/>
                  <a:gd name="T54" fmla="*/ 4532 w 4664"/>
                  <a:gd name="T55" fmla="*/ 41 h 3812"/>
                  <a:gd name="T56" fmla="*/ 4241 w 4664"/>
                  <a:gd name="T57" fmla="*/ 74 h 3812"/>
                  <a:gd name="T58" fmla="*/ 3854 w 4664"/>
                  <a:gd name="T59" fmla="*/ 116 h 3812"/>
                  <a:gd name="T60" fmla="*/ 3453 w 4664"/>
                  <a:gd name="T61" fmla="*/ 157 h 3812"/>
                  <a:gd name="T62" fmla="*/ 3119 w 4664"/>
                  <a:gd name="T63" fmla="*/ 187 h 3812"/>
                  <a:gd name="T64" fmla="*/ 2957 w 4664"/>
                  <a:gd name="T65" fmla="*/ 201 h 3812"/>
                  <a:gd name="T66" fmla="*/ 2833 w 4664"/>
                  <a:gd name="T67" fmla="*/ 228 h 3812"/>
                  <a:gd name="T68" fmla="*/ 2702 w 4664"/>
                  <a:gd name="T69" fmla="*/ 275 h 3812"/>
                  <a:gd name="T70" fmla="*/ 2567 w 4664"/>
                  <a:gd name="T71" fmla="*/ 341 h 3812"/>
                  <a:gd name="T72" fmla="*/ 2428 w 4664"/>
                  <a:gd name="T73" fmla="*/ 429 h 3812"/>
                  <a:gd name="T74" fmla="*/ 2287 w 4664"/>
                  <a:gd name="T75" fmla="*/ 539 h 3812"/>
                  <a:gd name="T76" fmla="*/ 2147 w 4664"/>
                  <a:gd name="T77" fmla="*/ 673 h 3812"/>
                  <a:gd name="T78" fmla="*/ 2009 w 4664"/>
                  <a:gd name="T79" fmla="*/ 832 h 3812"/>
                  <a:gd name="T80" fmla="*/ 1875 w 4664"/>
                  <a:gd name="T81" fmla="*/ 1017 h 3812"/>
                  <a:gd name="T82" fmla="*/ 1745 w 4664"/>
                  <a:gd name="T83" fmla="*/ 1229 h 3812"/>
                  <a:gd name="T84" fmla="*/ 1622 w 4664"/>
                  <a:gd name="T85" fmla="*/ 1468 h 3812"/>
                  <a:gd name="T86" fmla="*/ 1503 w 4664"/>
                  <a:gd name="T87" fmla="*/ 1703 h 3812"/>
                  <a:gd name="T88" fmla="*/ 1360 w 4664"/>
                  <a:gd name="T89" fmla="*/ 1952 h 3812"/>
                  <a:gd name="T90" fmla="*/ 1199 w 4664"/>
                  <a:gd name="T91" fmla="*/ 2211 h 3812"/>
                  <a:gd name="T92" fmla="*/ 1025 w 4664"/>
                  <a:gd name="T93" fmla="*/ 2473 h 3812"/>
                  <a:gd name="T94" fmla="*/ 847 w 4664"/>
                  <a:gd name="T95" fmla="*/ 2733 h 3812"/>
                  <a:gd name="T96" fmla="*/ 553 w 4664"/>
                  <a:gd name="T97" fmla="*/ 3137 h 3812"/>
                  <a:gd name="T98" fmla="*/ 245 w 4664"/>
                  <a:gd name="T99" fmla="*/ 3543 h 3812"/>
                  <a:gd name="T100" fmla="*/ 35 w 4664"/>
                  <a:gd name="T101" fmla="*/ 3812 h 3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64" h="3812">
                    <a:moveTo>
                      <a:pt x="0" y="3812"/>
                    </a:moveTo>
                    <a:lnTo>
                      <a:pt x="53" y="3745"/>
                    </a:lnTo>
                    <a:lnTo>
                      <a:pt x="121" y="3659"/>
                    </a:lnTo>
                    <a:lnTo>
                      <a:pt x="203" y="3553"/>
                    </a:lnTo>
                    <a:lnTo>
                      <a:pt x="297" y="3432"/>
                    </a:lnTo>
                    <a:lnTo>
                      <a:pt x="400" y="3297"/>
                    </a:lnTo>
                    <a:lnTo>
                      <a:pt x="511" y="3149"/>
                    </a:lnTo>
                    <a:lnTo>
                      <a:pt x="627" y="2992"/>
                    </a:lnTo>
                    <a:lnTo>
                      <a:pt x="746" y="2825"/>
                    </a:lnTo>
                    <a:lnTo>
                      <a:pt x="807" y="2740"/>
                    </a:lnTo>
                    <a:lnTo>
                      <a:pt x="868" y="2654"/>
                    </a:lnTo>
                    <a:lnTo>
                      <a:pt x="929" y="2566"/>
                    </a:lnTo>
                    <a:lnTo>
                      <a:pt x="989" y="2479"/>
                    </a:lnTo>
                    <a:lnTo>
                      <a:pt x="1049" y="2390"/>
                    </a:lnTo>
                    <a:lnTo>
                      <a:pt x="1108" y="2301"/>
                    </a:lnTo>
                    <a:lnTo>
                      <a:pt x="1166" y="2212"/>
                    </a:lnTo>
                    <a:lnTo>
                      <a:pt x="1223" y="2124"/>
                    </a:lnTo>
                    <a:lnTo>
                      <a:pt x="1278" y="2036"/>
                    </a:lnTo>
                    <a:lnTo>
                      <a:pt x="1331" y="1949"/>
                    </a:lnTo>
                    <a:lnTo>
                      <a:pt x="1381" y="1862"/>
                    </a:lnTo>
                    <a:lnTo>
                      <a:pt x="1431" y="1778"/>
                    </a:lnTo>
                    <a:lnTo>
                      <a:pt x="1476" y="1695"/>
                    </a:lnTo>
                    <a:lnTo>
                      <a:pt x="1521" y="1613"/>
                    </a:lnTo>
                    <a:lnTo>
                      <a:pt x="1561" y="1534"/>
                    </a:lnTo>
                    <a:lnTo>
                      <a:pt x="1597" y="1457"/>
                    </a:lnTo>
                    <a:lnTo>
                      <a:pt x="1648" y="1352"/>
                    </a:lnTo>
                    <a:lnTo>
                      <a:pt x="1700" y="1253"/>
                    </a:lnTo>
                    <a:lnTo>
                      <a:pt x="1753" y="1160"/>
                    </a:lnTo>
                    <a:lnTo>
                      <a:pt x="1806" y="1071"/>
                    </a:lnTo>
                    <a:lnTo>
                      <a:pt x="1859" y="988"/>
                    </a:lnTo>
                    <a:lnTo>
                      <a:pt x="1913" y="911"/>
                    </a:lnTo>
                    <a:lnTo>
                      <a:pt x="1967" y="838"/>
                    </a:lnTo>
                    <a:lnTo>
                      <a:pt x="2021" y="771"/>
                    </a:lnTo>
                    <a:lnTo>
                      <a:pt x="2075" y="707"/>
                    </a:lnTo>
                    <a:lnTo>
                      <a:pt x="2129" y="649"/>
                    </a:lnTo>
                    <a:lnTo>
                      <a:pt x="2181" y="595"/>
                    </a:lnTo>
                    <a:lnTo>
                      <a:pt x="2235" y="545"/>
                    </a:lnTo>
                    <a:lnTo>
                      <a:pt x="2287" y="499"/>
                    </a:lnTo>
                    <a:lnTo>
                      <a:pt x="2340" y="457"/>
                    </a:lnTo>
                    <a:lnTo>
                      <a:pt x="2391" y="418"/>
                    </a:lnTo>
                    <a:lnTo>
                      <a:pt x="2442" y="384"/>
                    </a:lnTo>
                    <a:lnTo>
                      <a:pt x="2491" y="352"/>
                    </a:lnTo>
                    <a:lnTo>
                      <a:pt x="2539" y="323"/>
                    </a:lnTo>
                    <a:lnTo>
                      <a:pt x="2586" y="298"/>
                    </a:lnTo>
                    <a:lnTo>
                      <a:pt x="2633" y="276"/>
                    </a:lnTo>
                    <a:lnTo>
                      <a:pt x="2677" y="256"/>
                    </a:lnTo>
                    <a:lnTo>
                      <a:pt x="2719" y="238"/>
                    </a:lnTo>
                    <a:lnTo>
                      <a:pt x="2760" y="223"/>
                    </a:lnTo>
                    <a:lnTo>
                      <a:pt x="2800" y="211"/>
                    </a:lnTo>
                    <a:lnTo>
                      <a:pt x="2837" y="199"/>
                    </a:lnTo>
                    <a:lnTo>
                      <a:pt x="2873" y="190"/>
                    </a:lnTo>
                    <a:lnTo>
                      <a:pt x="2905" y="183"/>
                    </a:lnTo>
                    <a:lnTo>
                      <a:pt x="2936" y="177"/>
                    </a:lnTo>
                    <a:lnTo>
                      <a:pt x="2964" y="173"/>
                    </a:lnTo>
                    <a:lnTo>
                      <a:pt x="2990" y="170"/>
                    </a:lnTo>
                    <a:lnTo>
                      <a:pt x="3013" y="168"/>
                    </a:lnTo>
                    <a:lnTo>
                      <a:pt x="3033" y="166"/>
                    </a:lnTo>
                    <a:lnTo>
                      <a:pt x="3117" y="160"/>
                    </a:lnTo>
                    <a:lnTo>
                      <a:pt x="3216" y="153"/>
                    </a:lnTo>
                    <a:lnTo>
                      <a:pt x="3329" y="142"/>
                    </a:lnTo>
                    <a:lnTo>
                      <a:pt x="3451" y="131"/>
                    </a:lnTo>
                    <a:lnTo>
                      <a:pt x="3582" y="118"/>
                    </a:lnTo>
                    <a:lnTo>
                      <a:pt x="3716" y="104"/>
                    </a:lnTo>
                    <a:lnTo>
                      <a:pt x="3852" y="90"/>
                    </a:lnTo>
                    <a:lnTo>
                      <a:pt x="3986" y="75"/>
                    </a:lnTo>
                    <a:lnTo>
                      <a:pt x="4115" y="61"/>
                    </a:lnTo>
                    <a:lnTo>
                      <a:pt x="4237" y="47"/>
                    </a:lnTo>
                    <a:lnTo>
                      <a:pt x="4349" y="35"/>
                    </a:lnTo>
                    <a:lnTo>
                      <a:pt x="4447" y="24"/>
                    </a:lnTo>
                    <a:lnTo>
                      <a:pt x="4530" y="14"/>
                    </a:lnTo>
                    <a:lnTo>
                      <a:pt x="4593" y="7"/>
                    </a:lnTo>
                    <a:lnTo>
                      <a:pt x="4634" y="3"/>
                    </a:lnTo>
                    <a:lnTo>
                      <a:pt x="4649" y="0"/>
                    </a:lnTo>
                    <a:lnTo>
                      <a:pt x="4654" y="0"/>
                    </a:lnTo>
                    <a:lnTo>
                      <a:pt x="4660" y="4"/>
                    </a:lnTo>
                    <a:lnTo>
                      <a:pt x="4663" y="7"/>
                    </a:lnTo>
                    <a:lnTo>
                      <a:pt x="4664" y="12"/>
                    </a:lnTo>
                    <a:lnTo>
                      <a:pt x="4664" y="18"/>
                    </a:lnTo>
                    <a:lnTo>
                      <a:pt x="4662" y="22"/>
                    </a:lnTo>
                    <a:lnTo>
                      <a:pt x="4657" y="25"/>
                    </a:lnTo>
                    <a:lnTo>
                      <a:pt x="4652" y="27"/>
                    </a:lnTo>
                    <a:lnTo>
                      <a:pt x="4637" y="30"/>
                    </a:lnTo>
                    <a:lnTo>
                      <a:pt x="4596" y="34"/>
                    </a:lnTo>
                    <a:lnTo>
                      <a:pt x="4532" y="41"/>
                    </a:lnTo>
                    <a:lnTo>
                      <a:pt x="4450" y="50"/>
                    </a:lnTo>
                    <a:lnTo>
                      <a:pt x="4352" y="62"/>
                    </a:lnTo>
                    <a:lnTo>
                      <a:pt x="4241" y="74"/>
                    </a:lnTo>
                    <a:lnTo>
                      <a:pt x="4118" y="88"/>
                    </a:lnTo>
                    <a:lnTo>
                      <a:pt x="3988" y="102"/>
                    </a:lnTo>
                    <a:lnTo>
                      <a:pt x="3854" y="116"/>
                    </a:lnTo>
                    <a:lnTo>
                      <a:pt x="3718" y="131"/>
                    </a:lnTo>
                    <a:lnTo>
                      <a:pt x="3584" y="144"/>
                    </a:lnTo>
                    <a:lnTo>
                      <a:pt x="3453" y="157"/>
                    </a:lnTo>
                    <a:lnTo>
                      <a:pt x="3330" y="169"/>
                    </a:lnTo>
                    <a:lnTo>
                      <a:pt x="3218" y="180"/>
                    </a:lnTo>
                    <a:lnTo>
                      <a:pt x="3119" y="187"/>
                    </a:lnTo>
                    <a:lnTo>
                      <a:pt x="3034" y="193"/>
                    </a:lnTo>
                    <a:lnTo>
                      <a:pt x="2997" y="196"/>
                    </a:lnTo>
                    <a:lnTo>
                      <a:pt x="2957" y="201"/>
                    </a:lnTo>
                    <a:lnTo>
                      <a:pt x="2916" y="208"/>
                    </a:lnTo>
                    <a:lnTo>
                      <a:pt x="2875" y="217"/>
                    </a:lnTo>
                    <a:lnTo>
                      <a:pt x="2833" y="228"/>
                    </a:lnTo>
                    <a:lnTo>
                      <a:pt x="2789" y="241"/>
                    </a:lnTo>
                    <a:lnTo>
                      <a:pt x="2746" y="257"/>
                    </a:lnTo>
                    <a:lnTo>
                      <a:pt x="2702" y="275"/>
                    </a:lnTo>
                    <a:lnTo>
                      <a:pt x="2658" y="295"/>
                    </a:lnTo>
                    <a:lnTo>
                      <a:pt x="2612" y="317"/>
                    </a:lnTo>
                    <a:lnTo>
                      <a:pt x="2567" y="341"/>
                    </a:lnTo>
                    <a:lnTo>
                      <a:pt x="2520" y="368"/>
                    </a:lnTo>
                    <a:lnTo>
                      <a:pt x="2474" y="398"/>
                    </a:lnTo>
                    <a:lnTo>
                      <a:pt x="2428" y="429"/>
                    </a:lnTo>
                    <a:lnTo>
                      <a:pt x="2381" y="463"/>
                    </a:lnTo>
                    <a:lnTo>
                      <a:pt x="2335" y="500"/>
                    </a:lnTo>
                    <a:lnTo>
                      <a:pt x="2287" y="539"/>
                    </a:lnTo>
                    <a:lnTo>
                      <a:pt x="2241" y="581"/>
                    </a:lnTo>
                    <a:lnTo>
                      <a:pt x="2194" y="626"/>
                    </a:lnTo>
                    <a:lnTo>
                      <a:pt x="2147" y="673"/>
                    </a:lnTo>
                    <a:lnTo>
                      <a:pt x="2100" y="724"/>
                    </a:lnTo>
                    <a:lnTo>
                      <a:pt x="2055" y="777"/>
                    </a:lnTo>
                    <a:lnTo>
                      <a:pt x="2009" y="832"/>
                    </a:lnTo>
                    <a:lnTo>
                      <a:pt x="1963" y="891"/>
                    </a:lnTo>
                    <a:lnTo>
                      <a:pt x="1919" y="952"/>
                    </a:lnTo>
                    <a:lnTo>
                      <a:pt x="1875" y="1017"/>
                    </a:lnTo>
                    <a:lnTo>
                      <a:pt x="1830" y="1084"/>
                    </a:lnTo>
                    <a:lnTo>
                      <a:pt x="1787" y="1154"/>
                    </a:lnTo>
                    <a:lnTo>
                      <a:pt x="1745" y="1229"/>
                    </a:lnTo>
                    <a:lnTo>
                      <a:pt x="1703" y="1305"/>
                    </a:lnTo>
                    <a:lnTo>
                      <a:pt x="1662" y="1385"/>
                    </a:lnTo>
                    <a:lnTo>
                      <a:pt x="1622" y="1468"/>
                    </a:lnTo>
                    <a:lnTo>
                      <a:pt x="1585" y="1544"/>
                    </a:lnTo>
                    <a:lnTo>
                      <a:pt x="1545" y="1623"/>
                    </a:lnTo>
                    <a:lnTo>
                      <a:pt x="1503" y="1703"/>
                    </a:lnTo>
                    <a:lnTo>
                      <a:pt x="1458" y="1785"/>
                    </a:lnTo>
                    <a:lnTo>
                      <a:pt x="1410" y="1868"/>
                    </a:lnTo>
                    <a:lnTo>
                      <a:pt x="1360" y="1952"/>
                    </a:lnTo>
                    <a:lnTo>
                      <a:pt x="1308" y="2038"/>
                    </a:lnTo>
                    <a:lnTo>
                      <a:pt x="1254" y="2125"/>
                    </a:lnTo>
                    <a:lnTo>
                      <a:pt x="1199" y="2211"/>
                    </a:lnTo>
                    <a:lnTo>
                      <a:pt x="1142" y="2299"/>
                    </a:lnTo>
                    <a:lnTo>
                      <a:pt x="1084" y="2386"/>
                    </a:lnTo>
                    <a:lnTo>
                      <a:pt x="1025" y="2473"/>
                    </a:lnTo>
                    <a:lnTo>
                      <a:pt x="966" y="2561"/>
                    </a:lnTo>
                    <a:lnTo>
                      <a:pt x="906" y="2647"/>
                    </a:lnTo>
                    <a:lnTo>
                      <a:pt x="847" y="2733"/>
                    </a:lnTo>
                    <a:lnTo>
                      <a:pt x="786" y="2817"/>
                    </a:lnTo>
                    <a:lnTo>
                      <a:pt x="669" y="2981"/>
                    </a:lnTo>
                    <a:lnTo>
                      <a:pt x="553" y="3137"/>
                    </a:lnTo>
                    <a:lnTo>
                      <a:pt x="443" y="3284"/>
                    </a:lnTo>
                    <a:lnTo>
                      <a:pt x="340" y="3420"/>
                    </a:lnTo>
                    <a:lnTo>
                      <a:pt x="245" y="3543"/>
                    </a:lnTo>
                    <a:lnTo>
                      <a:pt x="162" y="3650"/>
                    </a:lnTo>
                    <a:lnTo>
                      <a:pt x="91" y="3741"/>
                    </a:lnTo>
                    <a:lnTo>
                      <a:pt x="35" y="3812"/>
                    </a:lnTo>
                    <a:lnTo>
                      <a:pt x="0" y="38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35"/>
              <p:cNvSpPr>
                <a:spLocks/>
              </p:cNvSpPr>
              <p:nvPr userDrawn="1"/>
            </p:nvSpPr>
            <p:spPr bwMode="auto">
              <a:xfrm>
                <a:off x="421" y="3474"/>
                <a:ext cx="670" cy="846"/>
              </a:xfrm>
              <a:custGeom>
                <a:avLst/>
                <a:gdLst>
                  <a:gd name="T0" fmla="*/ 78 w 2010"/>
                  <a:gd name="T1" fmla="*/ 2453 h 2538"/>
                  <a:gd name="T2" fmla="*/ 301 w 2010"/>
                  <a:gd name="T3" fmla="*/ 2203 h 2538"/>
                  <a:gd name="T4" fmla="*/ 590 w 2010"/>
                  <a:gd name="T5" fmla="*/ 1873 h 2538"/>
                  <a:gd name="T6" fmla="*/ 915 w 2010"/>
                  <a:gd name="T7" fmla="*/ 1494 h 2538"/>
                  <a:gd name="T8" fmla="*/ 1163 w 2010"/>
                  <a:gd name="T9" fmla="*/ 1197 h 2538"/>
                  <a:gd name="T10" fmla="*/ 1323 w 2010"/>
                  <a:gd name="T11" fmla="*/ 999 h 2538"/>
                  <a:gd name="T12" fmla="*/ 1475 w 2010"/>
                  <a:gd name="T13" fmla="*/ 807 h 2538"/>
                  <a:gd name="T14" fmla="*/ 1614 w 2010"/>
                  <a:gd name="T15" fmla="*/ 623 h 2538"/>
                  <a:gd name="T16" fmla="*/ 1737 w 2010"/>
                  <a:gd name="T17" fmla="*/ 451 h 2538"/>
                  <a:gd name="T18" fmla="*/ 1839 w 2010"/>
                  <a:gd name="T19" fmla="*/ 297 h 2538"/>
                  <a:gd name="T20" fmla="*/ 1918 w 2010"/>
                  <a:gd name="T21" fmla="*/ 163 h 2538"/>
                  <a:gd name="T22" fmla="*/ 1970 w 2010"/>
                  <a:gd name="T23" fmla="*/ 54 h 2538"/>
                  <a:gd name="T24" fmla="*/ 1985 w 2010"/>
                  <a:gd name="T25" fmla="*/ 4 h 2538"/>
                  <a:gd name="T26" fmla="*/ 1995 w 2010"/>
                  <a:gd name="T27" fmla="*/ 0 h 2538"/>
                  <a:gd name="T28" fmla="*/ 2005 w 2010"/>
                  <a:gd name="T29" fmla="*/ 2 h 2538"/>
                  <a:gd name="T30" fmla="*/ 2010 w 2010"/>
                  <a:gd name="T31" fmla="*/ 11 h 2538"/>
                  <a:gd name="T32" fmla="*/ 2002 w 2010"/>
                  <a:gd name="T33" fmla="*/ 41 h 2538"/>
                  <a:gd name="T34" fmla="*/ 1980 w 2010"/>
                  <a:gd name="T35" fmla="*/ 98 h 2538"/>
                  <a:gd name="T36" fmla="*/ 1947 w 2010"/>
                  <a:gd name="T37" fmla="*/ 165 h 2538"/>
                  <a:gd name="T38" fmla="*/ 1905 w 2010"/>
                  <a:gd name="T39" fmla="*/ 240 h 2538"/>
                  <a:gd name="T40" fmla="*/ 1854 w 2010"/>
                  <a:gd name="T41" fmla="*/ 322 h 2538"/>
                  <a:gd name="T42" fmla="*/ 1796 w 2010"/>
                  <a:gd name="T43" fmla="*/ 410 h 2538"/>
                  <a:gd name="T44" fmla="*/ 1697 w 2010"/>
                  <a:gd name="T45" fmla="*/ 553 h 2538"/>
                  <a:gd name="T46" fmla="*/ 1545 w 2010"/>
                  <a:gd name="T47" fmla="*/ 758 h 2538"/>
                  <a:gd name="T48" fmla="*/ 1378 w 2010"/>
                  <a:gd name="T49" fmla="*/ 973 h 2538"/>
                  <a:gd name="T50" fmla="*/ 1203 w 2010"/>
                  <a:gd name="T51" fmla="*/ 1190 h 2538"/>
                  <a:gd name="T52" fmla="*/ 1027 w 2010"/>
                  <a:gd name="T53" fmla="*/ 1403 h 2538"/>
                  <a:gd name="T54" fmla="*/ 879 w 2010"/>
                  <a:gd name="T55" fmla="*/ 1578 h 2538"/>
                  <a:gd name="T56" fmla="*/ 753 w 2010"/>
                  <a:gd name="T57" fmla="*/ 1727 h 2538"/>
                  <a:gd name="T58" fmla="*/ 625 w 2010"/>
                  <a:gd name="T59" fmla="*/ 1876 h 2538"/>
                  <a:gd name="T60" fmla="*/ 497 w 2010"/>
                  <a:gd name="T61" fmla="*/ 2023 h 2538"/>
                  <a:gd name="T62" fmla="*/ 375 w 2010"/>
                  <a:gd name="T63" fmla="*/ 2162 h 2538"/>
                  <a:gd name="T64" fmla="*/ 262 w 2010"/>
                  <a:gd name="T65" fmla="*/ 2290 h 2538"/>
                  <a:gd name="T66" fmla="*/ 160 w 2010"/>
                  <a:gd name="T67" fmla="*/ 2403 h 2538"/>
                  <a:gd name="T68" fmla="*/ 74 w 2010"/>
                  <a:gd name="T69" fmla="*/ 2499 h 2538"/>
                  <a:gd name="T70" fmla="*/ 0 w 2010"/>
                  <a:gd name="T71" fmla="*/ 2538 h 2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10" h="2538">
                    <a:moveTo>
                      <a:pt x="0" y="2538"/>
                    </a:moveTo>
                    <a:lnTo>
                      <a:pt x="78" y="2453"/>
                    </a:lnTo>
                    <a:lnTo>
                      <a:pt x="180" y="2339"/>
                    </a:lnTo>
                    <a:lnTo>
                      <a:pt x="301" y="2203"/>
                    </a:lnTo>
                    <a:lnTo>
                      <a:pt x="440" y="2047"/>
                    </a:lnTo>
                    <a:lnTo>
                      <a:pt x="590" y="1873"/>
                    </a:lnTo>
                    <a:lnTo>
                      <a:pt x="750" y="1688"/>
                    </a:lnTo>
                    <a:lnTo>
                      <a:pt x="915" y="1494"/>
                    </a:lnTo>
                    <a:lnTo>
                      <a:pt x="1081" y="1297"/>
                    </a:lnTo>
                    <a:lnTo>
                      <a:pt x="1163" y="1197"/>
                    </a:lnTo>
                    <a:lnTo>
                      <a:pt x="1244" y="1098"/>
                    </a:lnTo>
                    <a:lnTo>
                      <a:pt x="1323" y="999"/>
                    </a:lnTo>
                    <a:lnTo>
                      <a:pt x="1401" y="902"/>
                    </a:lnTo>
                    <a:lnTo>
                      <a:pt x="1475" y="807"/>
                    </a:lnTo>
                    <a:lnTo>
                      <a:pt x="1547" y="714"/>
                    </a:lnTo>
                    <a:lnTo>
                      <a:pt x="1614" y="623"/>
                    </a:lnTo>
                    <a:lnTo>
                      <a:pt x="1677" y="536"/>
                    </a:lnTo>
                    <a:lnTo>
                      <a:pt x="1737" y="451"/>
                    </a:lnTo>
                    <a:lnTo>
                      <a:pt x="1791" y="373"/>
                    </a:lnTo>
                    <a:lnTo>
                      <a:pt x="1839" y="297"/>
                    </a:lnTo>
                    <a:lnTo>
                      <a:pt x="1882" y="228"/>
                    </a:lnTo>
                    <a:lnTo>
                      <a:pt x="1918" y="163"/>
                    </a:lnTo>
                    <a:lnTo>
                      <a:pt x="1947" y="106"/>
                    </a:lnTo>
                    <a:lnTo>
                      <a:pt x="1970" y="54"/>
                    </a:lnTo>
                    <a:lnTo>
                      <a:pt x="1983" y="10"/>
                    </a:lnTo>
                    <a:lnTo>
                      <a:pt x="1985" y="4"/>
                    </a:lnTo>
                    <a:lnTo>
                      <a:pt x="1989" y="1"/>
                    </a:lnTo>
                    <a:lnTo>
                      <a:pt x="1995" y="0"/>
                    </a:lnTo>
                    <a:lnTo>
                      <a:pt x="1999" y="0"/>
                    </a:lnTo>
                    <a:lnTo>
                      <a:pt x="2005" y="2"/>
                    </a:lnTo>
                    <a:lnTo>
                      <a:pt x="2008" y="6"/>
                    </a:lnTo>
                    <a:lnTo>
                      <a:pt x="2010" y="11"/>
                    </a:lnTo>
                    <a:lnTo>
                      <a:pt x="2010" y="16"/>
                    </a:lnTo>
                    <a:lnTo>
                      <a:pt x="2002" y="41"/>
                    </a:lnTo>
                    <a:lnTo>
                      <a:pt x="1993" y="69"/>
                    </a:lnTo>
                    <a:lnTo>
                      <a:pt x="1980" y="98"/>
                    </a:lnTo>
                    <a:lnTo>
                      <a:pt x="1965" y="131"/>
                    </a:lnTo>
                    <a:lnTo>
                      <a:pt x="1947" y="165"/>
                    </a:lnTo>
                    <a:lnTo>
                      <a:pt x="1928" y="202"/>
                    </a:lnTo>
                    <a:lnTo>
                      <a:pt x="1905" y="240"/>
                    </a:lnTo>
                    <a:lnTo>
                      <a:pt x="1881" y="280"/>
                    </a:lnTo>
                    <a:lnTo>
                      <a:pt x="1854" y="322"/>
                    </a:lnTo>
                    <a:lnTo>
                      <a:pt x="1826" y="365"/>
                    </a:lnTo>
                    <a:lnTo>
                      <a:pt x="1796" y="410"/>
                    </a:lnTo>
                    <a:lnTo>
                      <a:pt x="1765" y="457"/>
                    </a:lnTo>
                    <a:lnTo>
                      <a:pt x="1697" y="553"/>
                    </a:lnTo>
                    <a:lnTo>
                      <a:pt x="1623" y="654"/>
                    </a:lnTo>
                    <a:lnTo>
                      <a:pt x="1545" y="758"/>
                    </a:lnTo>
                    <a:lnTo>
                      <a:pt x="1462" y="865"/>
                    </a:lnTo>
                    <a:lnTo>
                      <a:pt x="1378" y="973"/>
                    </a:lnTo>
                    <a:lnTo>
                      <a:pt x="1291" y="1081"/>
                    </a:lnTo>
                    <a:lnTo>
                      <a:pt x="1203" y="1190"/>
                    </a:lnTo>
                    <a:lnTo>
                      <a:pt x="1115" y="1298"/>
                    </a:lnTo>
                    <a:lnTo>
                      <a:pt x="1027" y="1403"/>
                    </a:lnTo>
                    <a:lnTo>
                      <a:pt x="941" y="1506"/>
                    </a:lnTo>
                    <a:lnTo>
                      <a:pt x="879" y="1578"/>
                    </a:lnTo>
                    <a:lnTo>
                      <a:pt x="817" y="1653"/>
                    </a:lnTo>
                    <a:lnTo>
                      <a:pt x="753" y="1727"/>
                    </a:lnTo>
                    <a:lnTo>
                      <a:pt x="688" y="1802"/>
                    </a:lnTo>
                    <a:lnTo>
                      <a:pt x="625" y="1876"/>
                    </a:lnTo>
                    <a:lnTo>
                      <a:pt x="561" y="1951"/>
                    </a:lnTo>
                    <a:lnTo>
                      <a:pt x="497" y="2023"/>
                    </a:lnTo>
                    <a:lnTo>
                      <a:pt x="436" y="2093"/>
                    </a:lnTo>
                    <a:lnTo>
                      <a:pt x="375" y="2162"/>
                    </a:lnTo>
                    <a:lnTo>
                      <a:pt x="317" y="2227"/>
                    </a:lnTo>
                    <a:lnTo>
                      <a:pt x="262" y="2290"/>
                    </a:lnTo>
                    <a:lnTo>
                      <a:pt x="209" y="2349"/>
                    </a:lnTo>
                    <a:lnTo>
                      <a:pt x="160" y="2403"/>
                    </a:lnTo>
                    <a:lnTo>
                      <a:pt x="115" y="2454"/>
                    </a:lnTo>
                    <a:lnTo>
                      <a:pt x="74" y="2499"/>
                    </a:lnTo>
                    <a:lnTo>
                      <a:pt x="38" y="2538"/>
                    </a:lnTo>
                    <a:lnTo>
                      <a:pt x="0" y="2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36"/>
              <p:cNvSpPr>
                <a:spLocks/>
              </p:cNvSpPr>
              <p:nvPr userDrawn="1"/>
            </p:nvSpPr>
            <p:spPr bwMode="auto">
              <a:xfrm>
                <a:off x="319" y="3021"/>
                <a:ext cx="1116" cy="1262"/>
              </a:xfrm>
              <a:custGeom>
                <a:avLst/>
                <a:gdLst>
                  <a:gd name="T0" fmla="*/ 11 w 3349"/>
                  <a:gd name="T1" fmla="*/ 3786 h 3786"/>
                  <a:gd name="T2" fmla="*/ 4 w 3349"/>
                  <a:gd name="T3" fmla="*/ 3781 h 3786"/>
                  <a:gd name="T4" fmla="*/ 0 w 3349"/>
                  <a:gd name="T5" fmla="*/ 3772 h 3786"/>
                  <a:gd name="T6" fmla="*/ 15 w 3349"/>
                  <a:gd name="T7" fmla="*/ 3739 h 3786"/>
                  <a:gd name="T8" fmla="*/ 99 w 3349"/>
                  <a:gd name="T9" fmla="*/ 3558 h 3786"/>
                  <a:gd name="T10" fmla="*/ 246 w 3349"/>
                  <a:gd name="T11" fmla="*/ 3245 h 3786"/>
                  <a:gd name="T12" fmla="*/ 436 w 3349"/>
                  <a:gd name="T13" fmla="*/ 2840 h 3786"/>
                  <a:gd name="T14" fmla="*/ 649 w 3349"/>
                  <a:gd name="T15" fmla="*/ 2387 h 3786"/>
                  <a:gd name="T16" fmla="*/ 867 w 3349"/>
                  <a:gd name="T17" fmla="*/ 1927 h 3786"/>
                  <a:gd name="T18" fmla="*/ 1070 w 3349"/>
                  <a:gd name="T19" fmla="*/ 1503 h 3786"/>
                  <a:gd name="T20" fmla="*/ 1237 w 3349"/>
                  <a:gd name="T21" fmla="*/ 1156 h 3786"/>
                  <a:gd name="T22" fmla="*/ 1337 w 3349"/>
                  <a:gd name="T23" fmla="*/ 965 h 3786"/>
                  <a:gd name="T24" fmla="*/ 1426 w 3349"/>
                  <a:gd name="T25" fmla="*/ 851 h 3786"/>
                  <a:gd name="T26" fmla="*/ 1542 w 3349"/>
                  <a:gd name="T27" fmla="*/ 743 h 3786"/>
                  <a:gd name="T28" fmla="*/ 1678 w 3349"/>
                  <a:gd name="T29" fmla="*/ 642 h 3786"/>
                  <a:gd name="T30" fmla="*/ 1831 w 3349"/>
                  <a:gd name="T31" fmla="*/ 547 h 3786"/>
                  <a:gd name="T32" fmla="*/ 1996 w 3349"/>
                  <a:gd name="T33" fmla="*/ 460 h 3786"/>
                  <a:gd name="T34" fmla="*/ 2169 w 3349"/>
                  <a:gd name="T35" fmla="*/ 379 h 3786"/>
                  <a:gd name="T36" fmla="*/ 2345 w 3349"/>
                  <a:gd name="T37" fmla="*/ 306 h 3786"/>
                  <a:gd name="T38" fmla="*/ 2520 w 3349"/>
                  <a:gd name="T39" fmla="*/ 240 h 3786"/>
                  <a:gd name="T40" fmla="*/ 2688 w 3349"/>
                  <a:gd name="T41" fmla="*/ 181 h 3786"/>
                  <a:gd name="T42" fmla="*/ 2847 w 3349"/>
                  <a:gd name="T43" fmla="*/ 131 h 3786"/>
                  <a:gd name="T44" fmla="*/ 2991 w 3349"/>
                  <a:gd name="T45" fmla="*/ 89 h 3786"/>
                  <a:gd name="T46" fmla="*/ 3169 w 3349"/>
                  <a:gd name="T47" fmla="*/ 40 h 3786"/>
                  <a:gd name="T48" fmla="*/ 3314 w 3349"/>
                  <a:gd name="T49" fmla="*/ 4 h 3786"/>
                  <a:gd name="T50" fmla="*/ 3341 w 3349"/>
                  <a:gd name="T51" fmla="*/ 1 h 3786"/>
                  <a:gd name="T52" fmla="*/ 3348 w 3349"/>
                  <a:gd name="T53" fmla="*/ 9 h 3786"/>
                  <a:gd name="T54" fmla="*/ 3348 w 3349"/>
                  <a:gd name="T55" fmla="*/ 20 h 3786"/>
                  <a:gd name="T56" fmla="*/ 3341 w 3349"/>
                  <a:gd name="T57" fmla="*/ 26 h 3786"/>
                  <a:gd name="T58" fmla="*/ 3323 w 3349"/>
                  <a:gd name="T59" fmla="*/ 29 h 3786"/>
                  <a:gd name="T60" fmla="*/ 3274 w 3349"/>
                  <a:gd name="T61" fmla="*/ 39 h 3786"/>
                  <a:gd name="T62" fmla="*/ 3145 w 3349"/>
                  <a:gd name="T63" fmla="*/ 71 h 3786"/>
                  <a:gd name="T64" fmla="*/ 2964 w 3349"/>
                  <a:gd name="T65" fmla="*/ 122 h 3786"/>
                  <a:gd name="T66" fmla="*/ 2820 w 3349"/>
                  <a:gd name="T67" fmla="*/ 166 h 3786"/>
                  <a:gd name="T68" fmla="*/ 2663 w 3349"/>
                  <a:gd name="T69" fmla="*/ 219 h 3786"/>
                  <a:gd name="T70" fmla="*/ 2497 w 3349"/>
                  <a:gd name="T71" fmla="*/ 279 h 3786"/>
                  <a:gd name="T72" fmla="*/ 2327 w 3349"/>
                  <a:gd name="T73" fmla="*/ 344 h 3786"/>
                  <a:gd name="T74" fmla="*/ 2156 w 3349"/>
                  <a:gd name="T75" fmla="*/ 418 h 3786"/>
                  <a:gd name="T76" fmla="*/ 1989 w 3349"/>
                  <a:gd name="T77" fmla="*/ 498 h 3786"/>
                  <a:gd name="T78" fmla="*/ 1830 w 3349"/>
                  <a:gd name="T79" fmla="*/ 583 h 3786"/>
                  <a:gd name="T80" fmla="*/ 1683 w 3349"/>
                  <a:gd name="T81" fmla="*/ 675 h 3786"/>
                  <a:gd name="T82" fmla="*/ 1552 w 3349"/>
                  <a:gd name="T83" fmla="*/ 772 h 3786"/>
                  <a:gd name="T84" fmla="*/ 1443 w 3349"/>
                  <a:gd name="T85" fmla="*/ 874 h 3786"/>
                  <a:gd name="T86" fmla="*/ 1358 w 3349"/>
                  <a:gd name="T87" fmla="*/ 981 h 3786"/>
                  <a:gd name="T88" fmla="*/ 1261 w 3349"/>
                  <a:gd name="T89" fmla="*/ 1168 h 3786"/>
                  <a:gd name="T90" fmla="*/ 1094 w 3349"/>
                  <a:gd name="T91" fmla="*/ 1515 h 3786"/>
                  <a:gd name="T92" fmla="*/ 892 w 3349"/>
                  <a:gd name="T93" fmla="*/ 1939 h 3786"/>
                  <a:gd name="T94" fmla="*/ 674 w 3349"/>
                  <a:gd name="T95" fmla="*/ 2399 h 3786"/>
                  <a:gd name="T96" fmla="*/ 460 w 3349"/>
                  <a:gd name="T97" fmla="*/ 2852 h 3786"/>
                  <a:gd name="T98" fmla="*/ 271 w 3349"/>
                  <a:gd name="T99" fmla="*/ 3256 h 3786"/>
                  <a:gd name="T100" fmla="*/ 124 w 3349"/>
                  <a:gd name="T101" fmla="*/ 3570 h 3786"/>
                  <a:gd name="T102" fmla="*/ 39 w 3349"/>
                  <a:gd name="T103" fmla="*/ 3751 h 3786"/>
                  <a:gd name="T104" fmla="*/ 23 w 3349"/>
                  <a:gd name="T105" fmla="*/ 3781 h 3786"/>
                  <a:gd name="T106" fmla="*/ 17 w 3349"/>
                  <a:gd name="T107" fmla="*/ 3786 h 3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49" h="3786">
                    <a:moveTo>
                      <a:pt x="14" y="3786"/>
                    </a:moveTo>
                    <a:lnTo>
                      <a:pt x="11" y="3786"/>
                    </a:lnTo>
                    <a:lnTo>
                      <a:pt x="8" y="3785"/>
                    </a:lnTo>
                    <a:lnTo>
                      <a:pt x="4" y="3781"/>
                    </a:lnTo>
                    <a:lnTo>
                      <a:pt x="1" y="3777"/>
                    </a:lnTo>
                    <a:lnTo>
                      <a:pt x="0" y="3772"/>
                    </a:lnTo>
                    <a:lnTo>
                      <a:pt x="2" y="3767"/>
                    </a:lnTo>
                    <a:lnTo>
                      <a:pt x="15" y="3739"/>
                    </a:lnTo>
                    <a:lnTo>
                      <a:pt x="47" y="3668"/>
                    </a:lnTo>
                    <a:lnTo>
                      <a:pt x="99" y="3558"/>
                    </a:lnTo>
                    <a:lnTo>
                      <a:pt x="166" y="3416"/>
                    </a:lnTo>
                    <a:lnTo>
                      <a:pt x="246" y="3245"/>
                    </a:lnTo>
                    <a:lnTo>
                      <a:pt x="337" y="3052"/>
                    </a:lnTo>
                    <a:lnTo>
                      <a:pt x="436" y="2840"/>
                    </a:lnTo>
                    <a:lnTo>
                      <a:pt x="541" y="2617"/>
                    </a:lnTo>
                    <a:lnTo>
                      <a:pt x="649" y="2387"/>
                    </a:lnTo>
                    <a:lnTo>
                      <a:pt x="759" y="2156"/>
                    </a:lnTo>
                    <a:lnTo>
                      <a:pt x="867" y="1927"/>
                    </a:lnTo>
                    <a:lnTo>
                      <a:pt x="972" y="1708"/>
                    </a:lnTo>
                    <a:lnTo>
                      <a:pt x="1070" y="1503"/>
                    </a:lnTo>
                    <a:lnTo>
                      <a:pt x="1158" y="1317"/>
                    </a:lnTo>
                    <a:lnTo>
                      <a:pt x="1237" y="1156"/>
                    </a:lnTo>
                    <a:lnTo>
                      <a:pt x="1302" y="1025"/>
                    </a:lnTo>
                    <a:lnTo>
                      <a:pt x="1337" y="965"/>
                    </a:lnTo>
                    <a:lnTo>
                      <a:pt x="1378" y="907"/>
                    </a:lnTo>
                    <a:lnTo>
                      <a:pt x="1426" y="851"/>
                    </a:lnTo>
                    <a:lnTo>
                      <a:pt x="1481" y="797"/>
                    </a:lnTo>
                    <a:lnTo>
                      <a:pt x="1542" y="743"/>
                    </a:lnTo>
                    <a:lnTo>
                      <a:pt x="1608" y="692"/>
                    </a:lnTo>
                    <a:lnTo>
                      <a:pt x="1678" y="642"/>
                    </a:lnTo>
                    <a:lnTo>
                      <a:pt x="1753" y="594"/>
                    </a:lnTo>
                    <a:lnTo>
                      <a:pt x="1831" y="547"/>
                    </a:lnTo>
                    <a:lnTo>
                      <a:pt x="1913" y="503"/>
                    </a:lnTo>
                    <a:lnTo>
                      <a:pt x="1996" y="460"/>
                    </a:lnTo>
                    <a:lnTo>
                      <a:pt x="2083" y="419"/>
                    </a:lnTo>
                    <a:lnTo>
                      <a:pt x="2169" y="379"/>
                    </a:lnTo>
                    <a:lnTo>
                      <a:pt x="2258" y="341"/>
                    </a:lnTo>
                    <a:lnTo>
                      <a:pt x="2345" y="306"/>
                    </a:lnTo>
                    <a:lnTo>
                      <a:pt x="2434" y="272"/>
                    </a:lnTo>
                    <a:lnTo>
                      <a:pt x="2520" y="240"/>
                    </a:lnTo>
                    <a:lnTo>
                      <a:pt x="2605" y="210"/>
                    </a:lnTo>
                    <a:lnTo>
                      <a:pt x="2688" y="181"/>
                    </a:lnTo>
                    <a:lnTo>
                      <a:pt x="2769" y="156"/>
                    </a:lnTo>
                    <a:lnTo>
                      <a:pt x="2847" y="131"/>
                    </a:lnTo>
                    <a:lnTo>
                      <a:pt x="2922" y="109"/>
                    </a:lnTo>
                    <a:lnTo>
                      <a:pt x="2991" y="89"/>
                    </a:lnTo>
                    <a:lnTo>
                      <a:pt x="3057" y="70"/>
                    </a:lnTo>
                    <a:lnTo>
                      <a:pt x="3169" y="40"/>
                    </a:lnTo>
                    <a:lnTo>
                      <a:pt x="3256" y="18"/>
                    </a:lnTo>
                    <a:lnTo>
                      <a:pt x="3314" y="4"/>
                    </a:lnTo>
                    <a:lnTo>
                      <a:pt x="3335" y="0"/>
                    </a:lnTo>
                    <a:lnTo>
                      <a:pt x="3341" y="1"/>
                    </a:lnTo>
                    <a:lnTo>
                      <a:pt x="3345" y="4"/>
                    </a:lnTo>
                    <a:lnTo>
                      <a:pt x="3348" y="9"/>
                    </a:lnTo>
                    <a:lnTo>
                      <a:pt x="3349" y="14"/>
                    </a:lnTo>
                    <a:lnTo>
                      <a:pt x="3348" y="20"/>
                    </a:lnTo>
                    <a:lnTo>
                      <a:pt x="3345" y="23"/>
                    </a:lnTo>
                    <a:lnTo>
                      <a:pt x="3341" y="26"/>
                    </a:lnTo>
                    <a:lnTo>
                      <a:pt x="3335" y="27"/>
                    </a:lnTo>
                    <a:lnTo>
                      <a:pt x="3323" y="29"/>
                    </a:lnTo>
                    <a:lnTo>
                      <a:pt x="3303" y="32"/>
                    </a:lnTo>
                    <a:lnTo>
                      <a:pt x="3274" y="39"/>
                    </a:lnTo>
                    <a:lnTo>
                      <a:pt x="3238" y="48"/>
                    </a:lnTo>
                    <a:lnTo>
                      <a:pt x="3145" y="71"/>
                    </a:lnTo>
                    <a:lnTo>
                      <a:pt x="3030" y="104"/>
                    </a:lnTo>
                    <a:lnTo>
                      <a:pt x="2964" y="122"/>
                    </a:lnTo>
                    <a:lnTo>
                      <a:pt x="2894" y="144"/>
                    </a:lnTo>
                    <a:lnTo>
                      <a:pt x="2820" y="166"/>
                    </a:lnTo>
                    <a:lnTo>
                      <a:pt x="2742" y="192"/>
                    </a:lnTo>
                    <a:lnTo>
                      <a:pt x="2663" y="219"/>
                    </a:lnTo>
                    <a:lnTo>
                      <a:pt x="2580" y="247"/>
                    </a:lnTo>
                    <a:lnTo>
                      <a:pt x="2497" y="279"/>
                    </a:lnTo>
                    <a:lnTo>
                      <a:pt x="2412" y="310"/>
                    </a:lnTo>
                    <a:lnTo>
                      <a:pt x="2327" y="344"/>
                    </a:lnTo>
                    <a:lnTo>
                      <a:pt x="2241" y="380"/>
                    </a:lnTo>
                    <a:lnTo>
                      <a:pt x="2156" y="418"/>
                    </a:lnTo>
                    <a:lnTo>
                      <a:pt x="2072" y="457"/>
                    </a:lnTo>
                    <a:lnTo>
                      <a:pt x="1989" y="498"/>
                    </a:lnTo>
                    <a:lnTo>
                      <a:pt x="1908" y="540"/>
                    </a:lnTo>
                    <a:lnTo>
                      <a:pt x="1830" y="583"/>
                    </a:lnTo>
                    <a:lnTo>
                      <a:pt x="1754" y="628"/>
                    </a:lnTo>
                    <a:lnTo>
                      <a:pt x="1683" y="675"/>
                    </a:lnTo>
                    <a:lnTo>
                      <a:pt x="1615" y="722"/>
                    </a:lnTo>
                    <a:lnTo>
                      <a:pt x="1552" y="772"/>
                    </a:lnTo>
                    <a:lnTo>
                      <a:pt x="1495" y="823"/>
                    </a:lnTo>
                    <a:lnTo>
                      <a:pt x="1443" y="874"/>
                    </a:lnTo>
                    <a:lnTo>
                      <a:pt x="1397" y="927"/>
                    </a:lnTo>
                    <a:lnTo>
                      <a:pt x="1358" y="981"/>
                    </a:lnTo>
                    <a:lnTo>
                      <a:pt x="1327" y="1036"/>
                    </a:lnTo>
                    <a:lnTo>
                      <a:pt x="1261" y="1168"/>
                    </a:lnTo>
                    <a:lnTo>
                      <a:pt x="1183" y="1329"/>
                    </a:lnTo>
                    <a:lnTo>
                      <a:pt x="1094" y="1515"/>
                    </a:lnTo>
                    <a:lnTo>
                      <a:pt x="995" y="1720"/>
                    </a:lnTo>
                    <a:lnTo>
                      <a:pt x="892" y="1939"/>
                    </a:lnTo>
                    <a:lnTo>
                      <a:pt x="783" y="2168"/>
                    </a:lnTo>
                    <a:lnTo>
                      <a:pt x="674" y="2399"/>
                    </a:lnTo>
                    <a:lnTo>
                      <a:pt x="566" y="2629"/>
                    </a:lnTo>
                    <a:lnTo>
                      <a:pt x="460" y="2852"/>
                    </a:lnTo>
                    <a:lnTo>
                      <a:pt x="361" y="3063"/>
                    </a:lnTo>
                    <a:lnTo>
                      <a:pt x="271" y="3256"/>
                    </a:lnTo>
                    <a:lnTo>
                      <a:pt x="190" y="3427"/>
                    </a:lnTo>
                    <a:lnTo>
                      <a:pt x="124" y="3570"/>
                    </a:lnTo>
                    <a:lnTo>
                      <a:pt x="72" y="3680"/>
                    </a:lnTo>
                    <a:lnTo>
                      <a:pt x="39" y="3751"/>
                    </a:lnTo>
                    <a:lnTo>
                      <a:pt x="26" y="3778"/>
                    </a:lnTo>
                    <a:lnTo>
                      <a:pt x="23" y="3781"/>
                    </a:lnTo>
                    <a:lnTo>
                      <a:pt x="21" y="3785"/>
                    </a:lnTo>
                    <a:lnTo>
                      <a:pt x="17" y="3786"/>
                    </a:lnTo>
                    <a:lnTo>
                      <a:pt x="14" y="3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37"/>
              <p:cNvSpPr>
                <a:spLocks/>
              </p:cNvSpPr>
              <p:nvPr userDrawn="1"/>
            </p:nvSpPr>
            <p:spPr bwMode="auto">
              <a:xfrm>
                <a:off x="1189" y="3525"/>
                <a:ext cx="1705" cy="408"/>
              </a:xfrm>
              <a:custGeom>
                <a:avLst/>
                <a:gdLst>
                  <a:gd name="T0" fmla="*/ 2861 w 5115"/>
                  <a:gd name="T1" fmla="*/ 1217 h 1223"/>
                  <a:gd name="T2" fmla="*/ 2645 w 5115"/>
                  <a:gd name="T3" fmla="*/ 1188 h 1223"/>
                  <a:gd name="T4" fmla="*/ 2422 w 5115"/>
                  <a:gd name="T5" fmla="*/ 1132 h 1223"/>
                  <a:gd name="T6" fmla="*/ 2190 w 5115"/>
                  <a:gd name="T7" fmla="*/ 1044 h 1223"/>
                  <a:gd name="T8" fmla="*/ 1889 w 5115"/>
                  <a:gd name="T9" fmla="*/ 896 h 1223"/>
                  <a:gd name="T10" fmla="*/ 1615 w 5115"/>
                  <a:gd name="T11" fmla="*/ 742 h 1223"/>
                  <a:gd name="T12" fmla="*/ 1386 w 5115"/>
                  <a:gd name="T13" fmla="*/ 597 h 1223"/>
                  <a:gd name="T14" fmla="*/ 1192 w 5115"/>
                  <a:gd name="T15" fmla="*/ 466 h 1223"/>
                  <a:gd name="T16" fmla="*/ 951 w 5115"/>
                  <a:gd name="T17" fmla="*/ 301 h 1223"/>
                  <a:gd name="T18" fmla="*/ 798 w 5115"/>
                  <a:gd name="T19" fmla="*/ 207 h 1223"/>
                  <a:gd name="T20" fmla="*/ 675 w 5115"/>
                  <a:gd name="T21" fmla="*/ 145 h 1223"/>
                  <a:gd name="T22" fmla="*/ 545 w 5115"/>
                  <a:gd name="T23" fmla="*/ 95 h 1223"/>
                  <a:gd name="T24" fmla="*/ 404 w 5115"/>
                  <a:gd name="T25" fmla="*/ 59 h 1223"/>
                  <a:gd name="T26" fmla="*/ 244 w 5115"/>
                  <a:gd name="T27" fmla="*/ 36 h 1223"/>
                  <a:gd name="T28" fmla="*/ 62 w 5115"/>
                  <a:gd name="T29" fmla="*/ 27 h 1223"/>
                  <a:gd name="T30" fmla="*/ 1 w 5115"/>
                  <a:gd name="T31" fmla="*/ 20 h 1223"/>
                  <a:gd name="T32" fmla="*/ 7 w 5115"/>
                  <a:gd name="T33" fmla="*/ 2 h 1223"/>
                  <a:gd name="T34" fmla="*/ 158 w 5115"/>
                  <a:gd name="T35" fmla="*/ 3 h 1223"/>
                  <a:gd name="T36" fmla="*/ 332 w 5115"/>
                  <a:gd name="T37" fmla="*/ 20 h 1223"/>
                  <a:gd name="T38" fmla="*/ 486 w 5115"/>
                  <a:gd name="T39" fmla="*/ 51 h 1223"/>
                  <a:gd name="T40" fmla="*/ 624 w 5115"/>
                  <a:gd name="T41" fmla="*/ 95 h 1223"/>
                  <a:gd name="T42" fmla="*/ 752 w 5115"/>
                  <a:gd name="T43" fmla="*/ 153 h 1223"/>
                  <a:gd name="T44" fmla="*/ 877 w 5115"/>
                  <a:gd name="T45" fmla="*/ 222 h 1223"/>
                  <a:gd name="T46" fmla="*/ 1096 w 5115"/>
                  <a:gd name="T47" fmla="*/ 366 h 1223"/>
                  <a:gd name="T48" fmla="*/ 1301 w 5115"/>
                  <a:gd name="T49" fmla="*/ 507 h 1223"/>
                  <a:gd name="T50" fmla="*/ 1510 w 5115"/>
                  <a:gd name="T51" fmla="*/ 645 h 1223"/>
                  <a:gd name="T52" fmla="*/ 1759 w 5115"/>
                  <a:gd name="T53" fmla="*/ 794 h 1223"/>
                  <a:gd name="T54" fmla="*/ 2059 w 5115"/>
                  <a:gd name="T55" fmla="*/ 953 h 1223"/>
                  <a:gd name="T56" fmla="*/ 2344 w 5115"/>
                  <a:gd name="T57" fmla="*/ 1077 h 1223"/>
                  <a:gd name="T58" fmla="*/ 2603 w 5115"/>
                  <a:gd name="T59" fmla="*/ 1152 h 1223"/>
                  <a:gd name="T60" fmla="*/ 2851 w 5115"/>
                  <a:gd name="T61" fmla="*/ 1189 h 1223"/>
                  <a:gd name="T62" fmla="*/ 3091 w 5115"/>
                  <a:gd name="T63" fmla="*/ 1194 h 1223"/>
                  <a:gd name="T64" fmla="*/ 3323 w 5115"/>
                  <a:gd name="T65" fmla="*/ 1175 h 1223"/>
                  <a:gd name="T66" fmla="*/ 3550 w 5115"/>
                  <a:gd name="T67" fmla="*/ 1135 h 1223"/>
                  <a:gd name="T68" fmla="*/ 3770 w 5115"/>
                  <a:gd name="T69" fmla="*/ 1083 h 1223"/>
                  <a:gd name="T70" fmla="*/ 4108 w 5115"/>
                  <a:gd name="T71" fmla="*/ 989 h 1223"/>
                  <a:gd name="T72" fmla="*/ 4372 w 5115"/>
                  <a:gd name="T73" fmla="*/ 918 h 1223"/>
                  <a:gd name="T74" fmla="*/ 4633 w 5115"/>
                  <a:gd name="T75" fmla="*/ 862 h 1223"/>
                  <a:gd name="T76" fmla="*/ 4864 w 5115"/>
                  <a:gd name="T77" fmla="*/ 833 h 1223"/>
                  <a:gd name="T78" fmla="*/ 4999 w 5115"/>
                  <a:gd name="T79" fmla="*/ 827 h 1223"/>
                  <a:gd name="T80" fmla="*/ 5107 w 5115"/>
                  <a:gd name="T81" fmla="*/ 829 h 1223"/>
                  <a:gd name="T82" fmla="*/ 5114 w 5115"/>
                  <a:gd name="T83" fmla="*/ 848 h 1223"/>
                  <a:gd name="T84" fmla="*/ 5104 w 5115"/>
                  <a:gd name="T85" fmla="*/ 855 h 1223"/>
                  <a:gd name="T86" fmla="*/ 4999 w 5115"/>
                  <a:gd name="T87" fmla="*/ 854 h 1223"/>
                  <a:gd name="T88" fmla="*/ 4866 w 5115"/>
                  <a:gd name="T89" fmla="*/ 860 h 1223"/>
                  <a:gd name="T90" fmla="*/ 4636 w 5115"/>
                  <a:gd name="T91" fmla="*/ 889 h 1223"/>
                  <a:gd name="T92" fmla="*/ 4377 w 5115"/>
                  <a:gd name="T93" fmla="*/ 945 h 1223"/>
                  <a:gd name="T94" fmla="*/ 4116 w 5115"/>
                  <a:gd name="T95" fmla="*/ 1015 h 1223"/>
                  <a:gd name="T96" fmla="*/ 3863 w 5115"/>
                  <a:gd name="T97" fmla="*/ 1086 h 1223"/>
                  <a:gd name="T98" fmla="*/ 3611 w 5115"/>
                  <a:gd name="T99" fmla="*/ 1150 h 1223"/>
                  <a:gd name="T100" fmla="*/ 3353 w 5115"/>
                  <a:gd name="T101" fmla="*/ 1199 h 1223"/>
                  <a:gd name="T102" fmla="*/ 3086 w 5115"/>
                  <a:gd name="T103" fmla="*/ 1222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15" h="1223">
                    <a:moveTo>
                      <a:pt x="3018" y="1223"/>
                    </a:moveTo>
                    <a:lnTo>
                      <a:pt x="2966" y="1222"/>
                    </a:lnTo>
                    <a:lnTo>
                      <a:pt x="2913" y="1220"/>
                    </a:lnTo>
                    <a:lnTo>
                      <a:pt x="2861" y="1217"/>
                    </a:lnTo>
                    <a:lnTo>
                      <a:pt x="2807" y="1213"/>
                    </a:lnTo>
                    <a:lnTo>
                      <a:pt x="2754" y="1206"/>
                    </a:lnTo>
                    <a:lnTo>
                      <a:pt x="2699" y="1198"/>
                    </a:lnTo>
                    <a:lnTo>
                      <a:pt x="2645" y="1188"/>
                    </a:lnTo>
                    <a:lnTo>
                      <a:pt x="2590" y="1177"/>
                    </a:lnTo>
                    <a:lnTo>
                      <a:pt x="2535" y="1164"/>
                    </a:lnTo>
                    <a:lnTo>
                      <a:pt x="2479" y="1149"/>
                    </a:lnTo>
                    <a:lnTo>
                      <a:pt x="2422" y="1132"/>
                    </a:lnTo>
                    <a:lnTo>
                      <a:pt x="2364" y="1113"/>
                    </a:lnTo>
                    <a:lnTo>
                      <a:pt x="2307" y="1093"/>
                    </a:lnTo>
                    <a:lnTo>
                      <a:pt x="2249" y="1069"/>
                    </a:lnTo>
                    <a:lnTo>
                      <a:pt x="2190" y="1044"/>
                    </a:lnTo>
                    <a:lnTo>
                      <a:pt x="2130" y="1017"/>
                    </a:lnTo>
                    <a:lnTo>
                      <a:pt x="2046" y="976"/>
                    </a:lnTo>
                    <a:lnTo>
                      <a:pt x="1966" y="936"/>
                    </a:lnTo>
                    <a:lnTo>
                      <a:pt x="1889" y="896"/>
                    </a:lnTo>
                    <a:lnTo>
                      <a:pt x="1816" y="856"/>
                    </a:lnTo>
                    <a:lnTo>
                      <a:pt x="1746" y="818"/>
                    </a:lnTo>
                    <a:lnTo>
                      <a:pt x="1679" y="780"/>
                    </a:lnTo>
                    <a:lnTo>
                      <a:pt x="1615" y="742"/>
                    </a:lnTo>
                    <a:lnTo>
                      <a:pt x="1555" y="704"/>
                    </a:lnTo>
                    <a:lnTo>
                      <a:pt x="1496" y="669"/>
                    </a:lnTo>
                    <a:lnTo>
                      <a:pt x="1440" y="633"/>
                    </a:lnTo>
                    <a:lnTo>
                      <a:pt x="1386" y="597"/>
                    </a:lnTo>
                    <a:lnTo>
                      <a:pt x="1334" y="563"/>
                    </a:lnTo>
                    <a:lnTo>
                      <a:pt x="1286" y="529"/>
                    </a:lnTo>
                    <a:lnTo>
                      <a:pt x="1238" y="497"/>
                    </a:lnTo>
                    <a:lnTo>
                      <a:pt x="1192" y="466"/>
                    </a:lnTo>
                    <a:lnTo>
                      <a:pt x="1148" y="434"/>
                    </a:lnTo>
                    <a:lnTo>
                      <a:pt x="1080" y="387"/>
                    </a:lnTo>
                    <a:lnTo>
                      <a:pt x="1014" y="343"/>
                    </a:lnTo>
                    <a:lnTo>
                      <a:pt x="951" y="301"/>
                    </a:lnTo>
                    <a:lnTo>
                      <a:pt x="889" y="261"/>
                    </a:lnTo>
                    <a:lnTo>
                      <a:pt x="858" y="242"/>
                    </a:lnTo>
                    <a:lnTo>
                      <a:pt x="828" y="224"/>
                    </a:lnTo>
                    <a:lnTo>
                      <a:pt x="798" y="207"/>
                    </a:lnTo>
                    <a:lnTo>
                      <a:pt x="767" y="190"/>
                    </a:lnTo>
                    <a:lnTo>
                      <a:pt x="736" y="174"/>
                    </a:lnTo>
                    <a:lnTo>
                      <a:pt x="706" y="159"/>
                    </a:lnTo>
                    <a:lnTo>
                      <a:pt x="675" y="145"/>
                    </a:lnTo>
                    <a:lnTo>
                      <a:pt x="643" y="131"/>
                    </a:lnTo>
                    <a:lnTo>
                      <a:pt x="611" y="118"/>
                    </a:lnTo>
                    <a:lnTo>
                      <a:pt x="578" y="106"/>
                    </a:lnTo>
                    <a:lnTo>
                      <a:pt x="545" y="95"/>
                    </a:lnTo>
                    <a:lnTo>
                      <a:pt x="510" y="85"/>
                    </a:lnTo>
                    <a:lnTo>
                      <a:pt x="476" y="75"/>
                    </a:lnTo>
                    <a:lnTo>
                      <a:pt x="440" y="66"/>
                    </a:lnTo>
                    <a:lnTo>
                      <a:pt x="404" y="59"/>
                    </a:lnTo>
                    <a:lnTo>
                      <a:pt x="366" y="51"/>
                    </a:lnTo>
                    <a:lnTo>
                      <a:pt x="326" y="46"/>
                    </a:lnTo>
                    <a:lnTo>
                      <a:pt x="286" y="40"/>
                    </a:lnTo>
                    <a:lnTo>
                      <a:pt x="244" y="36"/>
                    </a:lnTo>
                    <a:lnTo>
                      <a:pt x="202" y="33"/>
                    </a:lnTo>
                    <a:lnTo>
                      <a:pt x="156" y="30"/>
                    </a:lnTo>
                    <a:lnTo>
                      <a:pt x="111" y="28"/>
                    </a:lnTo>
                    <a:lnTo>
                      <a:pt x="62" y="27"/>
                    </a:lnTo>
                    <a:lnTo>
                      <a:pt x="13" y="27"/>
                    </a:lnTo>
                    <a:lnTo>
                      <a:pt x="7" y="26"/>
                    </a:lnTo>
                    <a:lnTo>
                      <a:pt x="3" y="24"/>
                    </a:lnTo>
                    <a:lnTo>
                      <a:pt x="1" y="20"/>
                    </a:lnTo>
                    <a:lnTo>
                      <a:pt x="0" y="14"/>
                    </a:lnTo>
                    <a:lnTo>
                      <a:pt x="1" y="9"/>
                    </a:lnTo>
                    <a:lnTo>
                      <a:pt x="3" y="5"/>
                    </a:lnTo>
                    <a:lnTo>
                      <a:pt x="7" y="2"/>
                    </a:lnTo>
                    <a:lnTo>
                      <a:pt x="13" y="0"/>
                    </a:lnTo>
                    <a:lnTo>
                      <a:pt x="63" y="0"/>
                    </a:lnTo>
                    <a:lnTo>
                      <a:pt x="112" y="2"/>
                    </a:lnTo>
                    <a:lnTo>
                      <a:pt x="158" y="3"/>
                    </a:lnTo>
                    <a:lnTo>
                      <a:pt x="204" y="6"/>
                    </a:lnTo>
                    <a:lnTo>
                      <a:pt x="248" y="9"/>
                    </a:lnTo>
                    <a:lnTo>
                      <a:pt x="290" y="14"/>
                    </a:lnTo>
                    <a:lnTo>
                      <a:pt x="332" y="20"/>
                    </a:lnTo>
                    <a:lnTo>
                      <a:pt x="372" y="26"/>
                    </a:lnTo>
                    <a:lnTo>
                      <a:pt x="411" y="34"/>
                    </a:lnTo>
                    <a:lnTo>
                      <a:pt x="449" y="41"/>
                    </a:lnTo>
                    <a:lnTo>
                      <a:pt x="486" y="51"/>
                    </a:lnTo>
                    <a:lnTo>
                      <a:pt x="521" y="61"/>
                    </a:lnTo>
                    <a:lnTo>
                      <a:pt x="556" y="72"/>
                    </a:lnTo>
                    <a:lnTo>
                      <a:pt x="590" y="84"/>
                    </a:lnTo>
                    <a:lnTo>
                      <a:pt x="624" y="95"/>
                    </a:lnTo>
                    <a:lnTo>
                      <a:pt x="656" y="108"/>
                    </a:lnTo>
                    <a:lnTo>
                      <a:pt x="689" y="122"/>
                    </a:lnTo>
                    <a:lnTo>
                      <a:pt x="721" y="138"/>
                    </a:lnTo>
                    <a:lnTo>
                      <a:pt x="752" y="153"/>
                    </a:lnTo>
                    <a:lnTo>
                      <a:pt x="784" y="169"/>
                    </a:lnTo>
                    <a:lnTo>
                      <a:pt x="815" y="186"/>
                    </a:lnTo>
                    <a:lnTo>
                      <a:pt x="845" y="203"/>
                    </a:lnTo>
                    <a:lnTo>
                      <a:pt x="877" y="222"/>
                    </a:lnTo>
                    <a:lnTo>
                      <a:pt x="907" y="240"/>
                    </a:lnTo>
                    <a:lnTo>
                      <a:pt x="968" y="280"/>
                    </a:lnTo>
                    <a:lnTo>
                      <a:pt x="1032" y="322"/>
                    </a:lnTo>
                    <a:lnTo>
                      <a:pt x="1096" y="366"/>
                    </a:lnTo>
                    <a:lnTo>
                      <a:pt x="1163" y="413"/>
                    </a:lnTo>
                    <a:lnTo>
                      <a:pt x="1207" y="443"/>
                    </a:lnTo>
                    <a:lnTo>
                      <a:pt x="1253" y="474"/>
                    </a:lnTo>
                    <a:lnTo>
                      <a:pt x="1301" y="507"/>
                    </a:lnTo>
                    <a:lnTo>
                      <a:pt x="1349" y="540"/>
                    </a:lnTo>
                    <a:lnTo>
                      <a:pt x="1401" y="575"/>
                    </a:lnTo>
                    <a:lnTo>
                      <a:pt x="1454" y="609"/>
                    </a:lnTo>
                    <a:lnTo>
                      <a:pt x="1510" y="645"/>
                    </a:lnTo>
                    <a:lnTo>
                      <a:pt x="1569" y="682"/>
                    </a:lnTo>
                    <a:lnTo>
                      <a:pt x="1629" y="718"/>
                    </a:lnTo>
                    <a:lnTo>
                      <a:pt x="1693" y="756"/>
                    </a:lnTo>
                    <a:lnTo>
                      <a:pt x="1759" y="794"/>
                    </a:lnTo>
                    <a:lnTo>
                      <a:pt x="1829" y="833"/>
                    </a:lnTo>
                    <a:lnTo>
                      <a:pt x="1902" y="873"/>
                    </a:lnTo>
                    <a:lnTo>
                      <a:pt x="1978" y="912"/>
                    </a:lnTo>
                    <a:lnTo>
                      <a:pt x="2059" y="953"/>
                    </a:lnTo>
                    <a:lnTo>
                      <a:pt x="2142" y="992"/>
                    </a:lnTo>
                    <a:lnTo>
                      <a:pt x="2210" y="1024"/>
                    </a:lnTo>
                    <a:lnTo>
                      <a:pt x="2278" y="1052"/>
                    </a:lnTo>
                    <a:lnTo>
                      <a:pt x="2344" y="1077"/>
                    </a:lnTo>
                    <a:lnTo>
                      <a:pt x="2410" y="1099"/>
                    </a:lnTo>
                    <a:lnTo>
                      <a:pt x="2475" y="1120"/>
                    </a:lnTo>
                    <a:lnTo>
                      <a:pt x="2539" y="1137"/>
                    </a:lnTo>
                    <a:lnTo>
                      <a:pt x="2603" y="1152"/>
                    </a:lnTo>
                    <a:lnTo>
                      <a:pt x="2666" y="1164"/>
                    </a:lnTo>
                    <a:lnTo>
                      <a:pt x="2728" y="1175"/>
                    </a:lnTo>
                    <a:lnTo>
                      <a:pt x="2791" y="1182"/>
                    </a:lnTo>
                    <a:lnTo>
                      <a:pt x="2851" y="1189"/>
                    </a:lnTo>
                    <a:lnTo>
                      <a:pt x="2913" y="1193"/>
                    </a:lnTo>
                    <a:lnTo>
                      <a:pt x="2972" y="1195"/>
                    </a:lnTo>
                    <a:lnTo>
                      <a:pt x="3033" y="1195"/>
                    </a:lnTo>
                    <a:lnTo>
                      <a:pt x="3091" y="1194"/>
                    </a:lnTo>
                    <a:lnTo>
                      <a:pt x="3151" y="1192"/>
                    </a:lnTo>
                    <a:lnTo>
                      <a:pt x="3209" y="1188"/>
                    </a:lnTo>
                    <a:lnTo>
                      <a:pt x="3266" y="1181"/>
                    </a:lnTo>
                    <a:lnTo>
                      <a:pt x="3323" y="1175"/>
                    </a:lnTo>
                    <a:lnTo>
                      <a:pt x="3381" y="1166"/>
                    </a:lnTo>
                    <a:lnTo>
                      <a:pt x="3438" y="1158"/>
                    </a:lnTo>
                    <a:lnTo>
                      <a:pt x="3494" y="1147"/>
                    </a:lnTo>
                    <a:lnTo>
                      <a:pt x="3550" y="1135"/>
                    </a:lnTo>
                    <a:lnTo>
                      <a:pt x="3605" y="1123"/>
                    </a:lnTo>
                    <a:lnTo>
                      <a:pt x="3660" y="1110"/>
                    </a:lnTo>
                    <a:lnTo>
                      <a:pt x="3715" y="1097"/>
                    </a:lnTo>
                    <a:lnTo>
                      <a:pt x="3770" y="1083"/>
                    </a:lnTo>
                    <a:lnTo>
                      <a:pt x="3825" y="1068"/>
                    </a:lnTo>
                    <a:lnTo>
                      <a:pt x="3935" y="1039"/>
                    </a:lnTo>
                    <a:lnTo>
                      <a:pt x="4043" y="1009"/>
                    </a:lnTo>
                    <a:lnTo>
                      <a:pt x="4108" y="989"/>
                    </a:lnTo>
                    <a:lnTo>
                      <a:pt x="4175" y="971"/>
                    </a:lnTo>
                    <a:lnTo>
                      <a:pt x="4241" y="953"/>
                    </a:lnTo>
                    <a:lnTo>
                      <a:pt x="4306" y="935"/>
                    </a:lnTo>
                    <a:lnTo>
                      <a:pt x="4372" y="918"/>
                    </a:lnTo>
                    <a:lnTo>
                      <a:pt x="4437" y="903"/>
                    </a:lnTo>
                    <a:lnTo>
                      <a:pt x="4503" y="888"/>
                    </a:lnTo>
                    <a:lnTo>
                      <a:pt x="4567" y="874"/>
                    </a:lnTo>
                    <a:lnTo>
                      <a:pt x="4633" y="862"/>
                    </a:lnTo>
                    <a:lnTo>
                      <a:pt x="4699" y="851"/>
                    </a:lnTo>
                    <a:lnTo>
                      <a:pt x="4765" y="842"/>
                    </a:lnTo>
                    <a:lnTo>
                      <a:pt x="4831" y="835"/>
                    </a:lnTo>
                    <a:lnTo>
                      <a:pt x="4864" y="833"/>
                    </a:lnTo>
                    <a:lnTo>
                      <a:pt x="4898" y="831"/>
                    </a:lnTo>
                    <a:lnTo>
                      <a:pt x="4931" y="828"/>
                    </a:lnTo>
                    <a:lnTo>
                      <a:pt x="4966" y="827"/>
                    </a:lnTo>
                    <a:lnTo>
                      <a:pt x="4999" y="827"/>
                    </a:lnTo>
                    <a:lnTo>
                      <a:pt x="5033" y="827"/>
                    </a:lnTo>
                    <a:lnTo>
                      <a:pt x="5067" y="827"/>
                    </a:lnTo>
                    <a:lnTo>
                      <a:pt x="5102" y="828"/>
                    </a:lnTo>
                    <a:lnTo>
                      <a:pt x="5107" y="829"/>
                    </a:lnTo>
                    <a:lnTo>
                      <a:pt x="5112" y="833"/>
                    </a:lnTo>
                    <a:lnTo>
                      <a:pt x="5114" y="837"/>
                    </a:lnTo>
                    <a:lnTo>
                      <a:pt x="5115" y="842"/>
                    </a:lnTo>
                    <a:lnTo>
                      <a:pt x="5114" y="848"/>
                    </a:lnTo>
                    <a:lnTo>
                      <a:pt x="5110" y="852"/>
                    </a:lnTo>
                    <a:lnTo>
                      <a:pt x="5108" y="854"/>
                    </a:lnTo>
                    <a:lnTo>
                      <a:pt x="5106" y="855"/>
                    </a:lnTo>
                    <a:lnTo>
                      <a:pt x="5104" y="855"/>
                    </a:lnTo>
                    <a:lnTo>
                      <a:pt x="5101" y="855"/>
                    </a:lnTo>
                    <a:lnTo>
                      <a:pt x="5066" y="854"/>
                    </a:lnTo>
                    <a:lnTo>
                      <a:pt x="5033" y="854"/>
                    </a:lnTo>
                    <a:lnTo>
                      <a:pt x="4999" y="854"/>
                    </a:lnTo>
                    <a:lnTo>
                      <a:pt x="4966" y="854"/>
                    </a:lnTo>
                    <a:lnTo>
                      <a:pt x="4932" y="855"/>
                    </a:lnTo>
                    <a:lnTo>
                      <a:pt x="4899" y="858"/>
                    </a:lnTo>
                    <a:lnTo>
                      <a:pt x="4866" y="860"/>
                    </a:lnTo>
                    <a:lnTo>
                      <a:pt x="4833" y="863"/>
                    </a:lnTo>
                    <a:lnTo>
                      <a:pt x="4767" y="869"/>
                    </a:lnTo>
                    <a:lnTo>
                      <a:pt x="4702" y="878"/>
                    </a:lnTo>
                    <a:lnTo>
                      <a:pt x="4636" y="889"/>
                    </a:lnTo>
                    <a:lnTo>
                      <a:pt x="4572" y="901"/>
                    </a:lnTo>
                    <a:lnTo>
                      <a:pt x="4507" y="915"/>
                    </a:lnTo>
                    <a:lnTo>
                      <a:pt x="4442" y="929"/>
                    </a:lnTo>
                    <a:lnTo>
                      <a:pt x="4377" y="945"/>
                    </a:lnTo>
                    <a:lnTo>
                      <a:pt x="4312" y="961"/>
                    </a:lnTo>
                    <a:lnTo>
                      <a:pt x="4247" y="980"/>
                    </a:lnTo>
                    <a:lnTo>
                      <a:pt x="4182" y="997"/>
                    </a:lnTo>
                    <a:lnTo>
                      <a:pt x="4116" y="1015"/>
                    </a:lnTo>
                    <a:lnTo>
                      <a:pt x="4049" y="1035"/>
                    </a:lnTo>
                    <a:lnTo>
                      <a:pt x="3987" y="1052"/>
                    </a:lnTo>
                    <a:lnTo>
                      <a:pt x="3925" y="1069"/>
                    </a:lnTo>
                    <a:lnTo>
                      <a:pt x="3863" y="1086"/>
                    </a:lnTo>
                    <a:lnTo>
                      <a:pt x="3801" y="1104"/>
                    </a:lnTo>
                    <a:lnTo>
                      <a:pt x="3737" y="1120"/>
                    </a:lnTo>
                    <a:lnTo>
                      <a:pt x="3674" y="1135"/>
                    </a:lnTo>
                    <a:lnTo>
                      <a:pt x="3611" y="1150"/>
                    </a:lnTo>
                    <a:lnTo>
                      <a:pt x="3547" y="1164"/>
                    </a:lnTo>
                    <a:lnTo>
                      <a:pt x="3482" y="1176"/>
                    </a:lnTo>
                    <a:lnTo>
                      <a:pt x="3417" y="1188"/>
                    </a:lnTo>
                    <a:lnTo>
                      <a:pt x="3353" y="1199"/>
                    </a:lnTo>
                    <a:lnTo>
                      <a:pt x="3287" y="1207"/>
                    </a:lnTo>
                    <a:lnTo>
                      <a:pt x="3221" y="1214"/>
                    </a:lnTo>
                    <a:lnTo>
                      <a:pt x="3154" y="1219"/>
                    </a:lnTo>
                    <a:lnTo>
                      <a:pt x="3086" y="1222"/>
                    </a:lnTo>
                    <a:lnTo>
                      <a:pt x="3018" y="1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38"/>
              <p:cNvSpPr>
                <a:spLocks/>
              </p:cNvSpPr>
              <p:nvPr userDrawn="1"/>
            </p:nvSpPr>
            <p:spPr bwMode="auto">
              <a:xfrm>
                <a:off x="1201" y="3493"/>
                <a:ext cx="1646" cy="276"/>
              </a:xfrm>
              <a:custGeom>
                <a:avLst/>
                <a:gdLst>
                  <a:gd name="T0" fmla="*/ 2382 w 4940"/>
                  <a:gd name="T1" fmla="*/ 820 h 826"/>
                  <a:gd name="T2" fmla="*/ 2179 w 4940"/>
                  <a:gd name="T3" fmla="*/ 794 h 826"/>
                  <a:gd name="T4" fmla="*/ 1987 w 4940"/>
                  <a:gd name="T5" fmla="*/ 750 h 826"/>
                  <a:gd name="T6" fmla="*/ 1805 w 4940"/>
                  <a:gd name="T7" fmla="*/ 692 h 826"/>
                  <a:gd name="T8" fmla="*/ 1631 w 4940"/>
                  <a:gd name="T9" fmla="*/ 623 h 826"/>
                  <a:gd name="T10" fmla="*/ 1346 w 4940"/>
                  <a:gd name="T11" fmla="*/ 485 h 826"/>
                  <a:gd name="T12" fmla="*/ 1043 w 4940"/>
                  <a:gd name="T13" fmla="*/ 322 h 826"/>
                  <a:gd name="T14" fmla="*/ 764 w 4940"/>
                  <a:gd name="T15" fmla="*/ 176 h 826"/>
                  <a:gd name="T16" fmla="*/ 593 w 4940"/>
                  <a:gd name="T17" fmla="*/ 105 h 826"/>
                  <a:gd name="T18" fmla="*/ 459 w 4940"/>
                  <a:gd name="T19" fmla="*/ 62 h 826"/>
                  <a:gd name="T20" fmla="*/ 324 w 4940"/>
                  <a:gd name="T21" fmla="*/ 35 h 826"/>
                  <a:gd name="T22" fmla="*/ 189 w 4940"/>
                  <a:gd name="T23" fmla="*/ 27 h 826"/>
                  <a:gd name="T24" fmla="*/ 52 w 4940"/>
                  <a:gd name="T25" fmla="*/ 41 h 826"/>
                  <a:gd name="T26" fmla="*/ 2 w 4940"/>
                  <a:gd name="T27" fmla="*/ 44 h 826"/>
                  <a:gd name="T28" fmla="*/ 6 w 4940"/>
                  <a:gd name="T29" fmla="*/ 25 h 826"/>
                  <a:gd name="T30" fmla="*/ 117 w 4940"/>
                  <a:gd name="T31" fmla="*/ 5 h 826"/>
                  <a:gd name="T32" fmla="*/ 256 w 4940"/>
                  <a:gd name="T33" fmla="*/ 2 h 826"/>
                  <a:gd name="T34" fmla="*/ 394 w 4940"/>
                  <a:gd name="T35" fmla="*/ 19 h 826"/>
                  <a:gd name="T36" fmla="*/ 532 w 4940"/>
                  <a:gd name="T37" fmla="*/ 54 h 826"/>
                  <a:gd name="T38" fmla="*/ 669 w 4940"/>
                  <a:gd name="T39" fmla="*/ 105 h 826"/>
                  <a:gd name="T40" fmla="*/ 913 w 4940"/>
                  <a:gd name="T41" fmla="*/ 221 h 826"/>
                  <a:gd name="T42" fmla="*/ 1206 w 4940"/>
                  <a:gd name="T43" fmla="*/ 380 h 826"/>
                  <a:gd name="T44" fmla="*/ 1488 w 4940"/>
                  <a:gd name="T45" fmla="*/ 527 h 826"/>
                  <a:gd name="T46" fmla="*/ 1659 w 4940"/>
                  <a:gd name="T47" fmla="*/ 606 h 826"/>
                  <a:gd name="T48" fmla="*/ 1838 w 4940"/>
                  <a:gd name="T49" fmla="*/ 675 h 826"/>
                  <a:gd name="T50" fmla="*/ 2026 w 4940"/>
                  <a:gd name="T51" fmla="*/ 732 h 826"/>
                  <a:gd name="T52" fmla="*/ 2226 w 4940"/>
                  <a:gd name="T53" fmla="*/ 774 h 826"/>
                  <a:gd name="T54" fmla="*/ 2435 w 4940"/>
                  <a:gd name="T55" fmla="*/ 796 h 826"/>
                  <a:gd name="T56" fmla="*/ 2633 w 4940"/>
                  <a:gd name="T57" fmla="*/ 797 h 826"/>
                  <a:gd name="T58" fmla="*/ 2786 w 4940"/>
                  <a:gd name="T59" fmla="*/ 783 h 826"/>
                  <a:gd name="T60" fmla="*/ 3027 w 4940"/>
                  <a:gd name="T61" fmla="*/ 737 h 826"/>
                  <a:gd name="T62" fmla="*/ 3262 w 4940"/>
                  <a:gd name="T63" fmla="*/ 671 h 826"/>
                  <a:gd name="T64" fmla="*/ 3493 w 4940"/>
                  <a:gd name="T65" fmla="*/ 593 h 826"/>
                  <a:gd name="T66" fmla="*/ 3825 w 4940"/>
                  <a:gd name="T67" fmla="*/ 482 h 826"/>
                  <a:gd name="T68" fmla="*/ 4048 w 4940"/>
                  <a:gd name="T69" fmla="*/ 420 h 826"/>
                  <a:gd name="T70" fmla="*/ 4224 w 4940"/>
                  <a:gd name="T71" fmla="*/ 389 h 826"/>
                  <a:gd name="T72" fmla="*/ 4397 w 4940"/>
                  <a:gd name="T73" fmla="*/ 379 h 826"/>
                  <a:gd name="T74" fmla="*/ 4567 w 4940"/>
                  <a:gd name="T75" fmla="*/ 398 h 826"/>
                  <a:gd name="T76" fmla="*/ 4733 w 4940"/>
                  <a:gd name="T77" fmla="*/ 450 h 826"/>
                  <a:gd name="T78" fmla="*/ 4895 w 4940"/>
                  <a:gd name="T79" fmla="*/ 540 h 826"/>
                  <a:gd name="T80" fmla="*/ 4940 w 4940"/>
                  <a:gd name="T81" fmla="*/ 583 h 826"/>
                  <a:gd name="T82" fmla="*/ 4923 w 4940"/>
                  <a:gd name="T83" fmla="*/ 593 h 826"/>
                  <a:gd name="T84" fmla="*/ 4801 w 4940"/>
                  <a:gd name="T85" fmla="*/ 513 h 826"/>
                  <a:gd name="T86" fmla="*/ 4640 w 4940"/>
                  <a:gd name="T87" fmla="*/ 445 h 826"/>
                  <a:gd name="T88" fmla="*/ 4476 w 4940"/>
                  <a:gd name="T89" fmla="*/ 412 h 826"/>
                  <a:gd name="T90" fmla="*/ 4308 w 4940"/>
                  <a:gd name="T91" fmla="*/ 408 h 826"/>
                  <a:gd name="T92" fmla="*/ 4137 w 4940"/>
                  <a:gd name="T93" fmla="*/ 430 h 826"/>
                  <a:gd name="T94" fmla="*/ 3962 w 4940"/>
                  <a:gd name="T95" fmla="*/ 470 h 826"/>
                  <a:gd name="T96" fmla="*/ 3650 w 4940"/>
                  <a:gd name="T97" fmla="*/ 568 h 826"/>
                  <a:gd name="T98" fmla="*/ 3387 w 4940"/>
                  <a:gd name="T99" fmla="*/ 659 h 826"/>
                  <a:gd name="T100" fmla="*/ 3151 w 4940"/>
                  <a:gd name="T101" fmla="*/ 732 h 826"/>
                  <a:gd name="T102" fmla="*/ 2911 w 4940"/>
                  <a:gd name="T103" fmla="*/ 790 h 826"/>
                  <a:gd name="T104" fmla="*/ 2695 w 4940"/>
                  <a:gd name="T105" fmla="*/ 820 h 826"/>
                  <a:gd name="T106" fmla="*/ 2586 w 4940"/>
                  <a:gd name="T107"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40" h="826">
                    <a:moveTo>
                      <a:pt x="2542" y="826"/>
                    </a:moveTo>
                    <a:lnTo>
                      <a:pt x="2488" y="825"/>
                    </a:lnTo>
                    <a:lnTo>
                      <a:pt x="2434" y="823"/>
                    </a:lnTo>
                    <a:lnTo>
                      <a:pt x="2382" y="820"/>
                    </a:lnTo>
                    <a:lnTo>
                      <a:pt x="2330" y="815"/>
                    </a:lnTo>
                    <a:lnTo>
                      <a:pt x="2279" y="809"/>
                    </a:lnTo>
                    <a:lnTo>
                      <a:pt x="2229" y="801"/>
                    </a:lnTo>
                    <a:lnTo>
                      <a:pt x="2179" y="794"/>
                    </a:lnTo>
                    <a:lnTo>
                      <a:pt x="2130" y="784"/>
                    </a:lnTo>
                    <a:lnTo>
                      <a:pt x="2082" y="773"/>
                    </a:lnTo>
                    <a:lnTo>
                      <a:pt x="2034" y="763"/>
                    </a:lnTo>
                    <a:lnTo>
                      <a:pt x="1987" y="750"/>
                    </a:lnTo>
                    <a:lnTo>
                      <a:pt x="1941" y="737"/>
                    </a:lnTo>
                    <a:lnTo>
                      <a:pt x="1894" y="723"/>
                    </a:lnTo>
                    <a:lnTo>
                      <a:pt x="1849" y="707"/>
                    </a:lnTo>
                    <a:lnTo>
                      <a:pt x="1805" y="692"/>
                    </a:lnTo>
                    <a:lnTo>
                      <a:pt x="1760" y="676"/>
                    </a:lnTo>
                    <a:lnTo>
                      <a:pt x="1717" y="659"/>
                    </a:lnTo>
                    <a:lnTo>
                      <a:pt x="1674" y="642"/>
                    </a:lnTo>
                    <a:lnTo>
                      <a:pt x="1631" y="623"/>
                    </a:lnTo>
                    <a:lnTo>
                      <a:pt x="1589" y="605"/>
                    </a:lnTo>
                    <a:lnTo>
                      <a:pt x="1507" y="566"/>
                    </a:lnTo>
                    <a:lnTo>
                      <a:pt x="1425" y="526"/>
                    </a:lnTo>
                    <a:lnTo>
                      <a:pt x="1346" y="485"/>
                    </a:lnTo>
                    <a:lnTo>
                      <a:pt x="1268" y="444"/>
                    </a:lnTo>
                    <a:lnTo>
                      <a:pt x="1191" y="403"/>
                    </a:lnTo>
                    <a:lnTo>
                      <a:pt x="1117" y="362"/>
                    </a:lnTo>
                    <a:lnTo>
                      <a:pt x="1043" y="322"/>
                    </a:lnTo>
                    <a:lnTo>
                      <a:pt x="972" y="283"/>
                    </a:lnTo>
                    <a:lnTo>
                      <a:pt x="902" y="245"/>
                    </a:lnTo>
                    <a:lnTo>
                      <a:pt x="833" y="210"/>
                    </a:lnTo>
                    <a:lnTo>
                      <a:pt x="764" y="176"/>
                    </a:lnTo>
                    <a:lnTo>
                      <a:pt x="696" y="146"/>
                    </a:lnTo>
                    <a:lnTo>
                      <a:pt x="661" y="131"/>
                    </a:lnTo>
                    <a:lnTo>
                      <a:pt x="628" y="118"/>
                    </a:lnTo>
                    <a:lnTo>
                      <a:pt x="593" y="105"/>
                    </a:lnTo>
                    <a:lnTo>
                      <a:pt x="560" y="92"/>
                    </a:lnTo>
                    <a:lnTo>
                      <a:pt x="526" y="81"/>
                    </a:lnTo>
                    <a:lnTo>
                      <a:pt x="493" y="71"/>
                    </a:lnTo>
                    <a:lnTo>
                      <a:pt x="459" y="62"/>
                    </a:lnTo>
                    <a:lnTo>
                      <a:pt x="426" y="53"/>
                    </a:lnTo>
                    <a:lnTo>
                      <a:pt x="392" y="46"/>
                    </a:lnTo>
                    <a:lnTo>
                      <a:pt x="358" y="40"/>
                    </a:lnTo>
                    <a:lnTo>
                      <a:pt x="324" y="35"/>
                    </a:lnTo>
                    <a:lnTo>
                      <a:pt x="291" y="32"/>
                    </a:lnTo>
                    <a:lnTo>
                      <a:pt x="257" y="29"/>
                    </a:lnTo>
                    <a:lnTo>
                      <a:pt x="223" y="27"/>
                    </a:lnTo>
                    <a:lnTo>
                      <a:pt x="189" y="27"/>
                    </a:lnTo>
                    <a:lnTo>
                      <a:pt x="155" y="29"/>
                    </a:lnTo>
                    <a:lnTo>
                      <a:pt x="120" y="32"/>
                    </a:lnTo>
                    <a:lnTo>
                      <a:pt x="87" y="36"/>
                    </a:lnTo>
                    <a:lnTo>
                      <a:pt x="52" y="41"/>
                    </a:lnTo>
                    <a:lnTo>
                      <a:pt x="16" y="49"/>
                    </a:lnTo>
                    <a:lnTo>
                      <a:pt x="11" y="49"/>
                    </a:lnTo>
                    <a:lnTo>
                      <a:pt x="7" y="48"/>
                    </a:lnTo>
                    <a:lnTo>
                      <a:pt x="2" y="44"/>
                    </a:lnTo>
                    <a:lnTo>
                      <a:pt x="0" y="39"/>
                    </a:lnTo>
                    <a:lnTo>
                      <a:pt x="0" y="34"/>
                    </a:lnTo>
                    <a:lnTo>
                      <a:pt x="2" y="29"/>
                    </a:lnTo>
                    <a:lnTo>
                      <a:pt x="6" y="25"/>
                    </a:lnTo>
                    <a:lnTo>
                      <a:pt x="11" y="23"/>
                    </a:lnTo>
                    <a:lnTo>
                      <a:pt x="47" y="16"/>
                    </a:lnTo>
                    <a:lnTo>
                      <a:pt x="82" y="9"/>
                    </a:lnTo>
                    <a:lnTo>
                      <a:pt x="117" y="5"/>
                    </a:lnTo>
                    <a:lnTo>
                      <a:pt x="153" y="2"/>
                    </a:lnTo>
                    <a:lnTo>
                      <a:pt x="187" y="0"/>
                    </a:lnTo>
                    <a:lnTo>
                      <a:pt x="222" y="0"/>
                    </a:lnTo>
                    <a:lnTo>
                      <a:pt x="256" y="2"/>
                    </a:lnTo>
                    <a:lnTo>
                      <a:pt x="291" y="4"/>
                    </a:lnTo>
                    <a:lnTo>
                      <a:pt x="325" y="8"/>
                    </a:lnTo>
                    <a:lnTo>
                      <a:pt x="360" y="12"/>
                    </a:lnTo>
                    <a:lnTo>
                      <a:pt x="394" y="19"/>
                    </a:lnTo>
                    <a:lnTo>
                      <a:pt x="429" y="26"/>
                    </a:lnTo>
                    <a:lnTo>
                      <a:pt x="462" y="35"/>
                    </a:lnTo>
                    <a:lnTo>
                      <a:pt x="497" y="44"/>
                    </a:lnTo>
                    <a:lnTo>
                      <a:pt x="532" y="54"/>
                    </a:lnTo>
                    <a:lnTo>
                      <a:pt x="565" y="65"/>
                    </a:lnTo>
                    <a:lnTo>
                      <a:pt x="600" y="78"/>
                    </a:lnTo>
                    <a:lnTo>
                      <a:pt x="634" y="91"/>
                    </a:lnTo>
                    <a:lnTo>
                      <a:pt x="669" y="105"/>
                    </a:lnTo>
                    <a:lnTo>
                      <a:pt x="702" y="119"/>
                    </a:lnTo>
                    <a:lnTo>
                      <a:pt x="772" y="150"/>
                    </a:lnTo>
                    <a:lnTo>
                      <a:pt x="841" y="185"/>
                    </a:lnTo>
                    <a:lnTo>
                      <a:pt x="913" y="221"/>
                    </a:lnTo>
                    <a:lnTo>
                      <a:pt x="984" y="258"/>
                    </a:lnTo>
                    <a:lnTo>
                      <a:pt x="1056" y="298"/>
                    </a:lnTo>
                    <a:lnTo>
                      <a:pt x="1130" y="338"/>
                    </a:lnTo>
                    <a:lnTo>
                      <a:pt x="1206" y="380"/>
                    </a:lnTo>
                    <a:lnTo>
                      <a:pt x="1285" y="423"/>
                    </a:lnTo>
                    <a:lnTo>
                      <a:pt x="1365" y="466"/>
                    </a:lnTo>
                    <a:lnTo>
                      <a:pt x="1447" y="507"/>
                    </a:lnTo>
                    <a:lnTo>
                      <a:pt x="1488" y="527"/>
                    </a:lnTo>
                    <a:lnTo>
                      <a:pt x="1530" y="548"/>
                    </a:lnTo>
                    <a:lnTo>
                      <a:pt x="1572" y="567"/>
                    </a:lnTo>
                    <a:lnTo>
                      <a:pt x="1616" y="587"/>
                    </a:lnTo>
                    <a:lnTo>
                      <a:pt x="1659" y="606"/>
                    </a:lnTo>
                    <a:lnTo>
                      <a:pt x="1703" y="624"/>
                    </a:lnTo>
                    <a:lnTo>
                      <a:pt x="1747" y="642"/>
                    </a:lnTo>
                    <a:lnTo>
                      <a:pt x="1793" y="659"/>
                    </a:lnTo>
                    <a:lnTo>
                      <a:pt x="1838" y="675"/>
                    </a:lnTo>
                    <a:lnTo>
                      <a:pt x="1885" y="690"/>
                    </a:lnTo>
                    <a:lnTo>
                      <a:pt x="1931" y="705"/>
                    </a:lnTo>
                    <a:lnTo>
                      <a:pt x="1978" y="719"/>
                    </a:lnTo>
                    <a:lnTo>
                      <a:pt x="2026" y="732"/>
                    </a:lnTo>
                    <a:lnTo>
                      <a:pt x="2076" y="744"/>
                    </a:lnTo>
                    <a:lnTo>
                      <a:pt x="2124" y="755"/>
                    </a:lnTo>
                    <a:lnTo>
                      <a:pt x="2175" y="765"/>
                    </a:lnTo>
                    <a:lnTo>
                      <a:pt x="2226" y="774"/>
                    </a:lnTo>
                    <a:lnTo>
                      <a:pt x="2276" y="781"/>
                    </a:lnTo>
                    <a:lnTo>
                      <a:pt x="2329" y="787"/>
                    </a:lnTo>
                    <a:lnTo>
                      <a:pt x="2382" y="793"/>
                    </a:lnTo>
                    <a:lnTo>
                      <a:pt x="2435" y="796"/>
                    </a:lnTo>
                    <a:lnTo>
                      <a:pt x="2490" y="798"/>
                    </a:lnTo>
                    <a:lnTo>
                      <a:pt x="2545" y="799"/>
                    </a:lnTo>
                    <a:lnTo>
                      <a:pt x="2602" y="798"/>
                    </a:lnTo>
                    <a:lnTo>
                      <a:pt x="2633" y="797"/>
                    </a:lnTo>
                    <a:lnTo>
                      <a:pt x="2663" y="795"/>
                    </a:lnTo>
                    <a:lnTo>
                      <a:pt x="2694" y="793"/>
                    </a:lnTo>
                    <a:lnTo>
                      <a:pt x="2725" y="790"/>
                    </a:lnTo>
                    <a:lnTo>
                      <a:pt x="2786" y="783"/>
                    </a:lnTo>
                    <a:lnTo>
                      <a:pt x="2847" y="773"/>
                    </a:lnTo>
                    <a:lnTo>
                      <a:pt x="2907" y="763"/>
                    </a:lnTo>
                    <a:lnTo>
                      <a:pt x="2968" y="751"/>
                    </a:lnTo>
                    <a:lnTo>
                      <a:pt x="3027" y="737"/>
                    </a:lnTo>
                    <a:lnTo>
                      <a:pt x="3086" y="722"/>
                    </a:lnTo>
                    <a:lnTo>
                      <a:pt x="3146" y="705"/>
                    </a:lnTo>
                    <a:lnTo>
                      <a:pt x="3204" y="688"/>
                    </a:lnTo>
                    <a:lnTo>
                      <a:pt x="3262" y="671"/>
                    </a:lnTo>
                    <a:lnTo>
                      <a:pt x="3321" y="652"/>
                    </a:lnTo>
                    <a:lnTo>
                      <a:pt x="3378" y="633"/>
                    </a:lnTo>
                    <a:lnTo>
                      <a:pt x="3436" y="614"/>
                    </a:lnTo>
                    <a:lnTo>
                      <a:pt x="3493" y="593"/>
                    </a:lnTo>
                    <a:lnTo>
                      <a:pt x="3551" y="574"/>
                    </a:lnTo>
                    <a:lnTo>
                      <a:pt x="3642" y="542"/>
                    </a:lnTo>
                    <a:lnTo>
                      <a:pt x="3734" y="511"/>
                    </a:lnTo>
                    <a:lnTo>
                      <a:pt x="3825" y="482"/>
                    </a:lnTo>
                    <a:lnTo>
                      <a:pt x="3915" y="455"/>
                    </a:lnTo>
                    <a:lnTo>
                      <a:pt x="3960" y="442"/>
                    </a:lnTo>
                    <a:lnTo>
                      <a:pt x="4004" y="431"/>
                    </a:lnTo>
                    <a:lnTo>
                      <a:pt x="4048" y="420"/>
                    </a:lnTo>
                    <a:lnTo>
                      <a:pt x="4093" y="411"/>
                    </a:lnTo>
                    <a:lnTo>
                      <a:pt x="4137" y="402"/>
                    </a:lnTo>
                    <a:lnTo>
                      <a:pt x="4180" y="394"/>
                    </a:lnTo>
                    <a:lnTo>
                      <a:pt x="4224" y="389"/>
                    </a:lnTo>
                    <a:lnTo>
                      <a:pt x="4268" y="384"/>
                    </a:lnTo>
                    <a:lnTo>
                      <a:pt x="4311" y="380"/>
                    </a:lnTo>
                    <a:lnTo>
                      <a:pt x="4354" y="379"/>
                    </a:lnTo>
                    <a:lnTo>
                      <a:pt x="4397" y="379"/>
                    </a:lnTo>
                    <a:lnTo>
                      <a:pt x="4439" y="381"/>
                    </a:lnTo>
                    <a:lnTo>
                      <a:pt x="4483" y="385"/>
                    </a:lnTo>
                    <a:lnTo>
                      <a:pt x="4525" y="390"/>
                    </a:lnTo>
                    <a:lnTo>
                      <a:pt x="4567" y="398"/>
                    </a:lnTo>
                    <a:lnTo>
                      <a:pt x="4608" y="407"/>
                    </a:lnTo>
                    <a:lnTo>
                      <a:pt x="4650" y="419"/>
                    </a:lnTo>
                    <a:lnTo>
                      <a:pt x="4691" y="433"/>
                    </a:lnTo>
                    <a:lnTo>
                      <a:pt x="4733" y="450"/>
                    </a:lnTo>
                    <a:lnTo>
                      <a:pt x="4773" y="468"/>
                    </a:lnTo>
                    <a:lnTo>
                      <a:pt x="4814" y="489"/>
                    </a:lnTo>
                    <a:lnTo>
                      <a:pt x="4855" y="513"/>
                    </a:lnTo>
                    <a:lnTo>
                      <a:pt x="4895" y="540"/>
                    </a:lnTo>
                    <a:lnTo>
                      <a:pt x="4935" y="569"/>
                    </a:lnTo>
                    <a:lnTo>
                      <a:pt x="4938" y="574"/>
                    </a:lnTo>
                    <a:lnTo>
                      <a:pt x="4940" y="579"/>
                    </a:lnTo>
                    <a:lnTo>
                      <a:pt x="4940" y="583"/>
                    </a:lnTo>
                    <a:lnTo>
                      <a:pt x="4937" y="589"/>
                    </a:lnTo>
                    <a:lnTo>
                      <a:pt x="4934" y="592"/>
                    </a:lnTo>
                    <a:lnTo>
                      <a:pt x="4929" y="594"/>
                    </a:lnTo>
                    <a:lnTo>
                      <a:pt x="4923" y="593"/>
                    </a:lnTo>
                    <a:lnTo>
                      <a:pt x="4919" y="591"/>
                    </a:lnTo>
                    <a:lnTo>
                      <a:pt x="4880" y="563"/>
                    </a:lnTo>
                    <a:lnTo>
                      <a:pt x="4840" y="537"/>
                    </a:lnTo>
                    <a:lnTo>
                      <a:pt x="4801" y="513"/>
                    </a:lnTo>
                    <a:lnTo>
                      <a:pt x="4761" y="493"/>
                    </a:lnTo>
                    <a:lnTo>
                      <a:pt x="4721" y="474"/>
                    </a:lnTo>
                    <a:lnTo>
                      <a:pt x="4681" y="458"/>
                    </a:lnTo>
                    <a:lnTo>
                      <a:pt x="4640" y="445"/>
                    </a:lnTo>
                    <a:lnTo>
                      <a:pt x="4599" y="433"/>
                    </a:lnTo>
                    <a:lnTo>
                      <a:pt x="4558" y="425"/>
                    </a:lnTo>
                    <a:lnTo>
                      <a:pt x="4517" y="417"/>
                    </a:lnTo>
                    <a:lnTo>
                      <a:pt x="4476" y="412"/>
                    </a:lnTo>
                    <a:lnTo>
                      <a:pt x="4434" y="408"/>
                    </a:lnTo>
                    <a:lnTo>
                      <a:pt x="4393" y="406"/>
                    </a:lnTo>
                    <a:lnTo>
                      <a:pt x="4351" y="407"/>
                    </a:lnTo>
                    <a:lnTo>
                      <a:pt x="4308" y="408"/>
                    </a:lnTo>
                    <a:lnTo>
                      <a:pt x="4266" y="412"/>
                    </a:lnTo>
                    <a:lnTo>
                      <a:pt x="4222" y="416"/>
                    </a:lnTo>
                    <a:lnTo>
                      <a:pt x="4180" y="423"/>
                    </a:lnTo>
                    <a:lnTo>
                      <a:pt x="4137" y="430"/>
                    </a:lnTo>
                    <a:lnTo>
                      <a:pt x="4094" y="438"/>
                    </a:lnTo>
                    <a:lnTo>
                      <a:pt x="4050" y="447"/>
                    </a:lnTo>
                    <a:lnTo>
                      <a:pt x="4006" y="458"/>
                    </a:lnTo>
                    <a:lnTo>
                      <a:pt x="3962" y="470"/>
                    </a:lnTo>
                    <a:lnTo>
                      <a:pt x="3918" y="482"/>
                    </a:lnTo>
                    <a:lnTo>
                      <a:pt x="3829" y="509"/>
                    </a:lnTo>
                    <a:lnTo>
                      <a:pt x="3740" y="537"/>
                    </a:lnTo>
                    <a:lnTo>
                      <a:pt x="3650" y="568"/>
                    </a:lnTo>
                    <a:lnTo>
                      <a:pt x="3559" y="600"/>
                    </a:lnTo>
                    <a:lnTo>
                      <a:pt x="3502" y="619"/>
                    </a:lnTo>
                    <a:lnTo>
                      <a:pt x="3444" y="639"/>
                    </a:lnTo>
                    <a:lnTo>
                      <a:pt x="3387" y="659"/>
                    </a:lnTo>
                    <a:lnTo>
                      <a:pt x="3328" y="678"/>
                    </a:lnTo>
                    <a:lnTo>
                      <a:pt x="3270" y="697"/>
                    </a:lnTo>
                    <a:lnTo>
                      <a:pt x="3211" y="715"/>
                    </a:lnTo>
                    <a:lnTo>
                      <a:pt x="3151" y="732"/>
                    </a:lnTo>
                    <a:lnTo>
                      <a:pt x="3092" y="749"/>
                    </a:lnTo>
                    <a:lnTo>
                      <a:pt x="3032" y="764"/>
                    </a:lnTo>
                    <a:lnTo>
                      <a:pt x="2972" y="778"/>
                    </a:lnTo>
                    <a:lnTo>
                      <a:pt x="2911" y="790"/>
                    </a:lnTo>
                    <a:lnTo>
                      <a:pt x="2850" y="800"/>
                    </a:lnTo>
                    <a:lnTo>
                      <a:pt x="2789" y="810"/>
                    </a:lnTo>
                    <a:lnTo>
                      <a:pt x="2727" y="817"/>
                    </a:lnTo>
                    <a:lnTo>
                      <a:pt x="2695" y="820"/>
                    </a:lnTo>
                    <a:lnTo>
                      <a:pt x="2665" y="822"/>
                    </a:lnTo>
                    <a:lnTo>
                      <a:pt x="2634" y="824"/>
                    </a:lnTo>
                    <a:lnTo>
                      <a:pt x="2602" y="825"/>
                    </a:lnTo>
                    <a:lnTo>
                      <a:pt x="2586" y="825"/>
                    </a:lnTo>
                    <a:lnTo>
                      <a:pt x="2571" y="826"/>
                    </a:lnTo>
                    <a:lnTo>
                      <a:pt x="2556" y="826"/>
                    </a:lnTo>
                    <a:lnTo>
                      <a:pt x="2542" y="8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39"/>
              <p:cNvSpPr>
                <a:spLocks/>
              </p:cNvSpPr>
              <p:nvPr userDrawn="1"/>
            </p:nvSpPr>
            <p:spPr bwMode="auto">
              <a:xfrm>
                <a:off x="1167" y="3420"/>
                <a:ext cx="1625" cy="219"/>
              </a:xfrm>
              <a:custGeom>
                <a:avLst/>
                <a:gdLst>
                  <a:gd name="T0" fmla="*/ 2300 w 4876"/>
                  <a:gd name="T1" fmla="*/ 652 h 657"/>
                  <a:gd name="T2" fmla="*/ 2156 w 4876"/>
                  <a:gd name="T3" fmla="*/ 635 h 657"/>
                  <a:gd name="T4" fmla="*/ 2016 w 4876"/>
                  <a:gd name="T5" fmla="*/ 606 h 657"/>
                  <a:gd name="T6" fmla="*/ 1775 w 4876"/>
                  <a:gd name="T7" fmla="*/ 532 h 657"/>
                  <a:gd name="T8" fmla="*/ 1505 w 4876"/>
                  <a:gd name="T9" fmla="*/ 426 h 657"/>
                  <a:gd name="T10" fmla="*/ 1230 w 4876"/>
                  <a:gd name="T11" fmla="*/ 304 h 657"/>
                  <a:gd name="T12" fmla="*/ 918 w 4876"/>
                  <a:gd name="T13" fmla="*/ 173 h 657"/>
                  <a:gd name="T14" fmla="*/ 718 w 4876"/>
                  <a:gd name="T15" fmla="*/ 105 h 657"/>
                  <a:gd name="T16" fmla="*/ 557 w 4876"/>
                  <a:gd name="T17" fmla="*/ 63 h 657"/>
                  <a:gd name="T18" fmla="*/ 393 w 4876"/>
                  <a:gd name="T19" fmla="*/ 36 h 657"/>
                  <a:gd name="T20" fmla="*/ 227 w 4876"/>
                  <a:gd name="T21" fmla="*/ 27 h 657"/>
                  <a:gd name="T22" fmla="*/ 58 w 4876"/>
                  <a:gd name="T23" fmla="*/ 40 h 657"/>
                  <a:gd name="T24" fmla="*/ 2 w 4876"/>
                  <a:gd name="T25" fmla="*/ 41 h 657"/>
                  <a:gd name="T26" fmla="*/ 5 w 4876"/>
                  <a:gd name="T27" fmla="*/ 22 h 657"/>
                  <a:gd name="T28" fmla="*/ 140 w 4876"/>
                  <a:gd name="T29" fmla="*/ 4 h 657"/>
                  <a:gd name="T30" fmla="*/ 311 w 4876"/>
                  <a:gd name="T31" fmla="*/ 2 h 657"/>
                  <a:gd name="T32" fmla="*/ 478 w 4876"/>
                  <a:gd name="T33" fmla="*/ 21 h 657"/>
                  <a:gd name="T34" fmla="*/ 642 w 4876"/>
                  <a:gd name="T35" fmla="*/ 55 h 657"/>
                  <a:gd name="T36" fmla="*/ 804 w 4876"/>
                  <a:gd name="T37" fmla="*/ 104 h 657"/>
                  <a:gd name="T38" fmla="*/ 1083 w 4876"/>
                  <a:gd name="T39" fmla="*/ 211 h 657"/>
                  <a:gd name="T40" fmla="*/ 1406 w 4876"/>
                  <a:gd name="T41" fmla="*/ 352 h 657"/>
                  <a:gd name="T42" fmla="*/ 1716 w 4876"/>
                  <a:gd name="T43" fmla="*/ 482 h 657"/>
                  <a:gd name="T44" fmla="*/ 1896 w 4876"/>
                  <a:gd name="T45" fmla="*/ 544 h 657"/>
                  <a:gd name="T46" fmla="*/ 2079 w 4876"/>
                  <a:gd name="T47" fmla="*/ 593 h 657"/>
                  <a:gd name="T48" fmla="*/ 2267 w 4876"/>
                  <a:gd name="T49" fmla="*/ 622 h 657"/>
                  <a:gd name="T50" fmla="*/ 2458 w 4876"/>
                  <a:gd name="T51" fmla="*/ 629 h 657"/>
                  <a:gd name="T52" fmla="*/ 2655 w 4876"/>
                  <a:gd name="T53" fmla="*/ 607 h 657"/>
                  <a:gd name="T54" fmla="*/ 2904 w 4876"/>
                  <a:gd name="T55" fmla="*/ 539 h 657"/>
                  <a:gd name="T56" fmla="*/ 3287 w 4876"/>
                  <a:gd name="T57" fmla="*/ 441 h 657"/>
                  <a:gd name="T58" fmla="*/ 3642 w 4876"/>
                  <a:gd name="T59" fmla="*/ 375 h 657"/>
                  <a:gd name="T60" fmla="*/ 3963 w 4876"/>
                  <a:gd name="T61" fmla="*/ 336 h 657"/>
                  <a:gd name="T62" fmla="*/ 4244 w 4876"/>
                  <a:gd name="T63" fmla="*/ 321 h 657"/>
                  <a:gd name="T64" fmla="*/ 4482 w 4876"/>
                  <a:gd name="T65" fmla="*/ 326 h 657"/>
                  <a:gd name="T66" fmla="*/ 4668 w 4876"/>
                  <a:gd name="T67" fmla="*/ 349 h 657"/>
                  <a:gd name="T68" fmla="*/ 4797 w 4876"/>
                  <a:gd name="T69" fmla="*/ 384 h 657"/>
                  <a:gd name="T70" fmla="*/ 4861 w 4876"/>
                  <a:gd name="T71" fmla="*/ 423 h 657"/>
                  <a:gd name="T72" fmla="*/ 4875 w 4876"/>
                  <a:gd name="T73" fmla="*/ 450 h 657"/>
                  <a:gd name="T74" fmla="*/ 4873 w 4876"/>
                  <a:gd name="T75" fmla="*/ 473 h 657"/>
                  <a:gd name="T76" fmla="*/ 4855 w 4876"/>
                  <a:gd name="T77" fmla="*/ 476 h 657"/>
                  <a:gd name="T78" fmla="*/ 4849 w 4876"/>
                  <a:gd name="T79" fmla="*/ 459 h 657"/>
                  <a:gd name="T80" fmla="*/ 4841 w 4876"/>
                  <a:gd name="T81" fmla="*/ 441 h 657"/>
                  <a:gd name="T82" fmla="*/ 4784 w 4876"/>
                  <a:gd name="T83" fmla="*/ 407 h 657"/>
                  <a:gd name="T84" fmla="*/ 4662 w 4876"/>
                  <a:gd name="T85" fmla="*/ 376 h 657"/>
                  <a:gd name="T86" fmla="*/ 4482 w 4876"/>
                  <a:gd name="T87" fmla="*/ 355 h 657"/>
                  <a:gd name="T88" fmla="*/ 4250 w 4876"/>
                  <a:gd name="T89" fmla="*/ 349 h 657"/>
                  <a:gd name="T90" fmla="*/ 3972 w 4876"/>
                  <a:gd name="T91" fmla="*/ 363 h 657"/>
                  <a:gd name="T92" fmla="*/ 3653 w 4876"/>
                  <a:gd name="T93" fmla="*/ 401 h 657"/>
                  <a:gd name="T94" fmla="*/ 3299 w 4876"/>
                  <a:gd name="T95" fmla="*/ 467 h 657"/>
                  <a:gd name="T96" fmla="*/ 2913 w 4876"/>
                  <a:gd name="T97" fmla="*/ 565 h 657"/>
                  <a:gd name="T98" fmla="*/ 2658 w 4876"/>
                  <a:gd name="T99" fmla="*/ 633 h 657"/>
                  <a:gd name="T100" fmla="*/ 2457 w 4876"/>
                  <a:gd name="T101"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76" h="657">
                    <a:moveTo>
                      <a:pt x="2408" y="657"/>
                    </a:moveTo>
                    <a:lnTo>
                      <a:pt x="2371" y="656"/>
                    </a:lnTo>
                    <a:lnTo>
                      <a:pt x="2335" y="654"/>
                    </a:lnTo>
                    <a:lnTo>
                      <a:pt x="2300" y="652"/>
                    </a:lnTo>
                    <a:lnTo>
                      <a:pt x="2263" y="649"/>
                    </a:lnTo>
                    <a:lnTo>
                      <a:pt x="2227" y="645"/>
                    </a:lnTo>
                    <a:lnTo>
                      <a:pt x="2192" y="640"/>
                    </a:lnTo>
                    <a:lnTo>
                      <a:pt x="2156" y="635"/>
                    </a:lnTo>
                    <a:lnTo>
                      <a:pt x="2122" y="629"/>
                    </a:lnTo>
                    <a:lnTo>
                      <a:pt x="2086" y="622"/>
                    </a:lnTo>
                    <a:lnTo>
                      <a:pt x="2051" y="615"/>
                    </a:lnTo>
                    <a:lnTo>
                      <a:pt x="2016" y="606"/>
                    </a:lnTo>
                    <a:lnTo>
                      <a:pt x="1981" y="597"/>
                    </a:lnTo>
                    <a:lnTo>
                      <a:pt x="1912" y="578"/>
                    </a:lnTo>
                    <a:lnTo>
                      <a:pt x="1843" y="556"/>
                    </a:lnTo>
                    <a:lnTo>
                      <a:pt x="1775" y="532"/>
                    </a:lnTo>
                    <a:lnTo>
                      <a:pt x="1707" y="508"/>
                    </a:lnTo>
                    <a:lnTo>
                      <a:pt x="1640" y="482"/>
                    </a:lnTo>
                    <a:lnTo>
                      <a:pt x="1572" y="455"/>
                    </a:lnTo>
                    <a:lnTo>
                      <a:pt x="1505" y="426"/>
                    </a:lnTo>
                    <a:lnTo>
                      <a:pt x="1439" y="398"/>
                    </a:lnTo>
                    <a:lnTo>
                      <a:pt x="1373" y="367"/>
                    </a:lnTo>
                    <a:lnTo>
                      <a:pt x="1306" y="338"/>
                    </a:lnTo>
                    <a:lnTo>
                      <a:pt x="1230" y="304"/>
                    </a:lnTo>
                    <a:lnTo>
                      <a:pt x="1152" y="270"/>
                    </a:lnTo>
                    <a:lnTo>
                      <a:pt x="1074" y="237"/>
                    </a:lnTo>
                    <a:lnTo>
                      <a:pt x="995" y="204"/>
                    </a:lnTo>
                    <a:lnTo>
                      <a:pt x="918" y="173"/>
                    </a:lnTo>
                    <a:lnTo>
                      <a:pt x="838" y="144"/>
                    </a:lnTo>
                    <a:lnTo>
                      <a:pt x="798" y="130"/>
                    </a:lnTo>
                    <a:lnTo>
                      <a:pt x="758" y="117"/>
                    </a:lnTo>
                    <a:lnTo>
                      <a:pt x="718" y="105"/>
                    </a:lnTo>
                    <a:lnTo>
                      <a:pt x="678" y="93"/>
                    </a:lnTo>
                    <a:lnTo>
                      <a:pt x="638" y="82"/>
                    </a:lnTo>
                    <a:lnTo>
                      <a:pt x="597" y="73"/>
                    </a:lnTo>
                    <a:lnTo>
                      <a:pt x="557" y="63"/>
                    </a:lnTo>
                    <a:lnTo>
                      <a:pt x="516" y="55"/>
                    </a:lnTo>
                    <a:lnTo>
                      <a:pt x="475" y="48"/>
                    </a:lnTo>
                    <a:lnTo>
                      <a:pt x="434" y="41"/>
                    </a:lnTo>
                    <a:lnTo>
                      <a:pt x="393" y="36"/>
                    </a:lnTo>
                    <a:lnTo>
                      <a:pt x="352" y="33"/>
                    </a:lnTo>
                    <a:lnTo>
                      <a:pt x="311" y="29"/>
                    </a:lnTo>
                    <a:lnTo>
                      <a:pt x="269" y="27"/>
                    </a:lnTo>
                    <a:lnTo>
                      <a:pt x="227" y="27"/>
                    </a:lnTo>
                    <a:lnTo>
                      <a:pt x="184" y="28"/>
                    </a:lnTo>
                    <a:lnTo>
                      <a:pt x="142" y="31"/>
                    </a:lnTo>
                    <a:lnTo>
                      <a:pt x="100" y="35"/>
                    </a:lnTo>
                    <a:lnTo>
                      <a:pt x="58" y="40"/>
                    </a:lnTo>
                    <a:lnTo>
                      <a:pt x="15" y="47"/>
                    </a:lnTo>
                    <a:lnTo>
                      <a:pt x="9" y="47"/>
                    </a:lnTo>
                    <a:lnTo>
                      <a:pt x="5" y="45"/>
                    </a:lnTo>
                    <a:lnTo>
                      <a:pt x="2" y="41"/>
                    </a:lnTo>
                    <a:lnTo>
                      <a:pt x="0" y="36"/>
                    </a:lnTo>
                    <a:lnTo>
                      <a:pt x="0" y="31"/>
                    </a:lnTo>
                    <a:lnTo>
                      <a:pt x="2" y="26"/>
                    </a:lnTo>
                    <a:lnTo>
                      <a:pt x="5" y="22"/>
                    </a:lnTo>
                    <a:lnTo>
                      <a:pt x="11" y="20"/>
                    </a:lnTo>
                    <a:lnTo>
                      <a:pt x="54" y="13"/>
                    </a:lnTo>
                    <a:lnTo>
                      <a:pt x="97" y="8"/>
                    </a:lnTo>
                    <a:lnTo>
                      <a:pt x="140" y="4"/>
                    </a:lnTo>
                    <a:lnTo>
                      <a:pt x="183" y="1"/>
                    </a:lnTo>
                    <a:lnTo>
                      <a:pt x="225" y="0"/>
                    </a:lnTo>
                    <a:lnTo>
                      <a:pt x="268" y="0"/>
                    </a:lnTo>
                    <a:lnTo>
                      <a:pt x="311" y="2"/>
                    </a:lnTo>
                    <a:lnTo>
                      <a:pt x="353" y="5"/>
                    </a:lnTo>
                    <a:lnTo>
                      <a:pt x="394" y="9"/>
                    </a:lnTo>
                    <a:lnTo>
                      <a:pt x="436" y="14"/>
                    </a:lnTo>
                    <a:lnTo>
                      <a:pt x="478" y="21"/>
                    </a:lnTo>
                    <a:lnTo>
                      <a:pt x="519" y="27"/>
                    </a:lnTo>
                    <a:lnTo>
                      <a:pt x="560" y="36"/>
                    </a:lnTo>
                    <a:lnTo>
                      <a:pt x="601" y="46"/>
                    </a:lnTo>
                    <a:lnTo>
                      <a:pt x="642" y="55"/>
                    </a:lnTo>
                    <a:lnTo>
                      <a:pt x="683" y="66"/>
                    </a:lnTo>
                    <a:lnTo>
                      <a:pt x="723" y="78"/>
                    </a:lnTo>
                    <a:lnTo>
                      <a:pt x="764" y="91"/>
                    </a:lnTo>
                    <a:lnTo>
                      <a:pt x="804" y="104"/>
                    </a:lnTo>
                    <a:lnTo>
                      <a:pt x="844" y="118"/>
                    </a:lnTo>
                    <a:lnTo>
                      <a:pt x="924" y="147"/>
                    </a:lnTo>
                    <a:lnTo>
                      <a:pt x="1004" y="178"/>
                    </a:lnTo>
                    <a:lnTo>
                      <a:pt x="1083" y="211"/>
                    </a:lnTo>
                    <a:lnTo>
                      <a:pt x="1162" y="244"/>
                    </a:lnTo>
                    <a:lnTo>
                      <a:pt x="1239" y="279"/>
                    </a:lnTo>
                    <a:lnTo>
                      <a:pt x="1318" y="313"/>
                    </a:lnTo>
                    <a:lnTo>
                      <a:pt x="1406" y="352"/>
                    </a:lnTo>
                    <a:lnTo>
                      <a:pt x="1493" y="391"/>
                    </a:lnTo>
                    <a:lnTo>
                      <a:pt x="1582" y="429"/>
                    </a:lnTo>
                    <a:lnTo>
                      <a:pt x="1670" y="464"/>
                    </a:lnTo>
                    <a:lnTo>
                      <a:pt x="1716" y="482"/>
                    </a:lnTo>
                    <a:lnTo>
                      <a:pt x="1760" y="499"/>
                    </a:lnTo>
                    <a:lnTo>
                      <a:pt x="1805" y="515"/>
                    </a:lnTo>
                    <a:lnTo>
                      <a:pt x="1851" y="530"/>
                    </a:lnTo>
                    <a:lnTo>
                      <a:pt x="1896" y="544"/>
                    </a:lnTo>
                    <a:lnTo>
                      <a:pt x="1941" y="558"/>
                    </a:lnTo>
                    <a:lnTo>
                      <a:pt x="1988" y="570"/>
                    </a:lnTo>
                    <a:lnTo>
                      <a:pt x="2033" y="582"/>
                    </a:lnTo>
                    <a:lnTo>
                      <a:pt x="2079" y="593"/>
                    </a:lnTo>
                    <a:lnTo>
                      <a:pt x="2126" y="602"/>
                    </a:lnTo>
                    <a:lnTo>
                      <a:pt x="2173" y="610"/>
                    </a:lnTo>
                    <a:lnTo>
                      <a:pt x="2220" y="617"/>
                    </a:lnTo>
                    <a:lnTo>
                      <a:pt x="2267" y="622"/>
                    </a:lnTo>
                    <a:lnTo>
                      <a:pt x="2315" y="626"/>
                    </a:lnTo>
                    <a:lnTo>
                      <a:pt x="2362" y="629"/>
                    </a:lnTo>
                    <a:lnTo>
                      <a:pt x="2410" y="630"/>
                    </a:lnTo>
                    <a:lnTo>
                      <a:pt x="2458" y="629"/>
                    </a:lnTo>
                    <a:lnTo>
                      <a:pt x="2507" y="625"/>
                    </a:lnTo>
                    <a:lnTo>
                      <a:pt x="2556" y="621"/>
                    </a:lnTo>
                    <a:lnTo>
                      <a:pt x="2605" y="615"/>
                    </a:lnTo>
                    <a:lnTo>
                      <a:pt x="2655" y="607"/>
                    </a:lnTo>
                    <a:lnTo>
                      <a:pt x="2705" y="596"/>
                    </a:lnTo>
                    <a:lnTo>
                      <a:pt x="2754" y="583"/>
                    </a:lnTo>
                    <a:lnTo>
                      <a:pt x="2805" y="569"/>
                    </a:lnTo>
                    <a:lnTo>
                      <a:pt x="2904" y="539"/>
                    </a:lnTo>
                    <a:lnTo>
                      <a:pt x="3003" y="512"/>
                    </a:lnTo>
                    <a:lnTo>
                      <a:pt x="3099" y="486"/>
                    </a:lnTo>
                    <a:lnTo>
                      <a:pt x="3194" y="462"/>
                    </a:lnTo>
                    <a:lnTo>
                      <a:pt x="3287" y="441"/>
                    </a:lnTo>
                    <a:lnTo>
                      <a:pt x="3378" y="421"/>
                    </a:lnTo>
                    <a:lnTo>
                      <a:pt x="3468" y="404"/>
                    </a:lnTo>
                    <a:lnTo>
                      <a:pt x="3556" y="388"/>
                    </a:lnTo>
                    <a:lnTo>
                      <a:pt x="3642" y="375"/>
                    </a:lnTo>
                    <a:lnTo>
                      <a:pt x="3725" y="362"/>
                    </a:lnTo>
                    <a:lnTo>
                      <a:pt x="3807" y="352"/>
                    </a:lnTo>
                    <a:lnTo>
                      <a:pt x="3886" y="342"/>
                    </a:lnTo>
                    <a:lnTo>
                      <a:pt x="3963" y="336"/>
                    </a:lnTo>
                    <a:lnTo>
                      <a:pt x="4037" y="330"/>
                    </a:lnTo>
                    <a:lnTo>
                      <a:pt x="4110" y="325"/>
                    </a:lnTo>
                    <a:lnTo>
                      <a:pt x="4179" y="323"/>
                    </a:lnTo>
                    <a:lnTo>
                      <a:pt x="4244" y="321"/>
                    </a:lnTo>
                    <a:lnTo>
                      <a:pt x="4308" y="321"/>
                    </a:lnTo>
                    <a:lnTo>
                      <a:pt x="4369" y="321"/>
                    </a:lnTo>
                    <a:lnTo>
                      <a:pt x="4427" y="323"/>
                    </a:lnTo>
                    <a:lnTo>
                      <a:pt x="4482" y="326"/>
                    </a:lnTo>
                    <a:lnTo>
                      <a:pt x="4533" y="331"/>
                    </a:lnTo>
                    <a:lnTo>
                      <a:pt x="4581" y="336"/>
                    </a:lnTo>
                    <a:lnTo>
                      <a:pt x="4626" y="341"/>
                    </a:lnTo>
                    <a:lnTo>
                      <a:pt x="4668" y="349"/>
                    </a:lnTo>
                    <a:lnTo>
                      <a:pt x="4706" y="357"/>
                    </a:lnTo>
                    <a:lnTo>
                      <a:pt x="4740" y="364"/>
                    </a:lnTo>
                    <a:lnTo>
                      <a:pt x="4770" y="374"/>
                    </a:lnTo>
                    <a:lnTo>
                      <a:pt x="4797" y="384"/>
                    </a:lnTo>
                    <a:lnTo>
                      <a:pt x="4820" y="393"/>
                    </a:lnTo>
                    <a:lnTo>
                      <a:pt x="4838" y="404"/>
                    </a:lnTo>
                    <a:lnTo>
                      <a:pt x="4854" y="416"/>
                    </a:lnTo>
                    <a:lnTo>
                      <a:pt x="4861" y="423"/>
                    </a:lnTo>
                    <a:lnTo>
                      <a:pt x="4866" y="430"/>
                    </a:lnTo>
                    <a:lnTo>
                      <a:pt x="4871" y="437"/>
                    </a:lnTo>
                    <a:lnTo>
                      <a:pt x="4874" y="444"/>
                    </a:lnTo>
                    <a:lnTo>
                      <a:pt x="4875" y="450"/>
                    </a:lnTo>
                    <a:lnTo>
                      <a:pt x="4876" y="457"/>
                    </a:lnTo>
                    <a:lnTo>
                      <a:pt x="4876" y="462"/>
                    </a:lnTo>
                    <a:lnTo>
                      <a:pt x="4875" y="468"/>
                    </a:lnTo>
                    <a:lnTo>
                      <a:pt x="4873" y="473"/>
                    </a:lnTo>
                    <a:lnTo>
                      <a:pt x="4870" y="476"/>
                    </a:lnTo>
                    <a:lnTo>
                      <a:pt x="4864" y="479"/>
                    </a:lnTo>
                    <a:lnTo>
                      <a:pt x="4860" y="479"/>
                    </a:lnTo>
                    <a:lnTo>
                      <a:pt x="4855" y="476"/>
                    </a:lnTo>
                    <a:lnTo>
                      <a:pt x="4851" y="473"/>
                    </a:lnTo>
                    <a:lnTo>
                      <a:pt x="4849" y="468"/>
                    </a:lnTo>
                    <a:lnTo>
                      <a:pt x="4849" y="462"/>
                    </a:lnTo>
                    <a:lnTo>
                      <a:pt x="4849" y="459"/>
                    </a:lnTo>
                    <a:lnTo>
                      <a:pt x="4848" y="454"/>
                    </a:lnTo>
                    <a:lnTo>
                      <a:pt x="4847" y="449"/>
                    </a:lnTo>
                    <a:lnTo>
                      <a:pt x="4845" y="445"/>
                    </a:lnTo>
                    <a:lnTo>
                      <a:pt x="4841" y="441"/>
                    </a:lnTo>
                    <a:lnTo>
                      <a:pt x="4835" y="435"/>
                    </a:lnTo>
                    <a:lnTo>
                      <a:pt x="4822" y="426"/>
                    </a:lnTo>
                    <a:lnTo>
                      <a:pt x="4806" y="417"/>
                    </a:lnTo>
                    <a:lnTo>
                      <a:pt x="4784" y="407"/>
                    </a:lnTo>
                    <a:lnTo>
                      <a:pt x="4760" y="399"/>
                    </a:lnTo>
                    <a:lnTo>
                      <a:pt x="4730" y="391"/>
                    </a:lnTo>
                    <a:lnTo>
                      <a:pt x="4698" y="384"/>
                    </a:lnTo>
                    <a:lnTo>
                      <a:pt x="4662" y="376"/>
                    </a:lnTo>
                    <a:lnTo>
                      <a:pt x="4622" y="369"/>
                    </a:lnTo>
                    <a:lnTo>
                      <a:pt x="4579" y="364"/>
                    </a:lnTo>
                    <a:lnTo>
                      <a:pt x="4532" y="359"/>
                    </a:lnTo>
                    <a:lnTo>
                      <a:pt x="4482" y="355"/>
                    </a:lnTo>
                    <a:lnTo>
                      <a:pt x="4429" y="352"/>
                    </a:lnTo>
                    <a:lnTo>
                      <a:pt x="4372" y="350"/>
                    </a:lnTo>
                    <a:lnTo>
                      <a:pt x="4313" y="349"/>
                    </a:lnTo>
                    <a:lnTo>
                      <a:pt x="4250" y="349"/>
                    </a:lnTo>
                    <a:lnTo>
                      <a:pt x="4185" y="351"/>
                    </a:lnTo>
                    <a:lnTo>
                      <a:pt x="4117" y="353"/>
                    </a:lnTo>
                    <a:lnTo>
                      <a:pt x="4046" y="358"/>
                    </a:lnTo>
                    <a:lnTo>
                      <a:pt x="3972" y="363"/>
                    </a:lnTo>
                    <a:lnTo>
                      <a:pt x="3896" y="371"/>
                    </a:lnTo>
                    <a:lnTo>
                      <a:pt x="3817" y="378"/>
                    </a:lnTo>
                    <a:lnTo>
                      <a:pt x="3736" y="389"/>
                    </a:lnTo>
                    <a:lnTo>
                      <a:pt x="3653" y="401"/>
                    </a:lnTo>
                    <a:lnTo>
                      <a:pt x="3567" y="414"/>
                    </a:lnTo>
                    <a:lnTo>
                      <a:pt x="3480" y="430"/>
                    </a:lnTo>
                    <a:lnTo>
                      <a:pt x="3390" y="447"/>
                    </a:lnTo>
                    <a:lnTo>
                      <a:pt x="3299" y="467"/>
                    </a:lnTo>
                    <a:lnTo>
                      <a:pt x="3205" y="488"/>
                    </a:lnTo>
                    <a:lnTo>
                      <a:pt x="3110" y="511"/>
                    </a:lnTo>
                    <a:lnTo>
                      <a:pt x="3012" y="537"/>
                    </a:lnTo>
                    <a:lnTo>
                      <a:pt x="2913" y="565"/>
                    </a:lnTo>
                    <a:lnTo>
                      <a:pt x="2813" y="595"/>
                    </a:lnTo>
                    <a:lnTo>
                      <a:pt x="2761" y="610"/>
                    </a:lnTo>
                    <a:lnTo>
                      <a:pt x="2710" y="623"/>
                    </a:lnTo>
                    <a:lnTo>
                      <a:pt x="2658" y="633"/>
                    </a:lnTo>
                    <a:lnTo>
                      <a:pt x="2607" y="642"/>
                    </a:lnTo>
                    <a:lnTo>
                      <a:pt x="2557" y="648"/>
                    </a:lnTo>
                    <a:lnTo>
                      <a:pt x="2507" y="652"/>
                    </a:lnTo>
                    <a:lnTo>
                      <a:pt x="2457" y="656"/>
                    </a:lnTo>
                    <a:lnTo>
                      <a:pt x="2408" y="6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40"/>
              <p:cNvSpPr>
                <a:spLocks/>
              </p:cNvSpPr>
              <p:nvPr userDrawn="1"/>
            </p:nvSpPr>
            <p:spPr bwMode="auto">
              <a:xfrm>
                <a:off x="1184" y="3394"/>
                <a:ext cx="2013" cy="139"/>
              </a:xfrm>
              <a:custGeom>
                <a:avLst/>
                <a:gdLst>
                  <a:gd name="T0" fmla="*/ 6024 w 6038"/>
                  <a:gd name="T1" fmla="*/ 416 h 416"/>
                  <a:gd name="T2" fmla="*/ 4683 w 6038"/>
                  <a:gd name="T3" fmla="*/ 349 h 416"/>
                  <a:gd name="T4" fmla="*/ 4677 w 6038"/>
                  <a:gd name="T5" fmla="*/ 323 h 416"/>
                  <a:gd name="T6" fmla="*/ 4660 w 6038"/>
                  <a:gd name="T7" fmla="*/ 275 h 416"/>
                  <a:gd name="T8" fmla="*/ 4624 w 6038"/>
                  <a:gd name="T9" fmla="*/ 231 h 416"/>
                  <a:gd name="T10" fmla="*/ 4545 w 6038"/>
                  <a:gd name="T11" fmla="*/ 174 h 416"/>
                  <a:gd name="T12" fmla="*/ 4415 w 6038"/>
                  <a:gd name="T13" fmla="*/ 121 h 416"/>
                  <a:gd name="T14" fmla="*/ 4251 w 6038"/>
                  <a:gd name="T15" fmla="*/ 82 h 416"/>
                  <a:gd name="T16" fmla="*/ 4058 w 6038"/>
                  <a:gd name="T17" fmla="*/ 52 h 416"/>
                  <a:gd name="T18" fmla="*/ 3840 w 6038"/>
                  <a:gd name="T19" fmla="*/ 34 h 416"/>
                  <a:gd name="T20" fmla="*/ 3605 w 6038"/>
                  <a:gd name="T21" fmla="*/ 25 h 416"/>
                  <a:gd name="T22" fmla="*/ 3356 w 6038"/>
                  <a:gd name="T23" fmla="*/ 28 h 416"/>
                  <a:gd name="T24" fmla="*/ 3099 w 6038"/>
                  <a:gd name="T25" fmla="*/ 38 h 416"/>
                  <a:gd name="T26" fmla="*/ 2838 w 6038"/>
                  <a:gd name="T27" fmla="*/ 59 h 416"/>
                  <a:gd name="T28" fmla="*/ 2580 w 6038"/>
                  <a:gd name="T29" fmla="*/ 87 h 416"/>
                  <a:gd name="T30" fmla="*/ 2331 w 6038"/>
                  <a:gd name="T31" fmla="*/ 123 h 416"/>
                  <a:gd name="T32" fmla="*/ 2183 w 6038"/>
                  <a:gd name="T33" fmla="*/ 143 h 416"/>
                  <a:gd name="T34" fmla="*/ 2037 w 6038"/>
                  <a:gd name="T35" fmla="*/ 157 h 416"/>
                  <a:gd name="T36" fmla="*/ 1896 w 6038"/>
                  <a:gd name="T37" fmla="*/ 165 h 416"/>
                  <a:gd name="T38" fmla="*/ 1758 w 6038"/>
                  <a:gd name="T39" fmla="*/ 167 h 416"/>
                  <a:gd name="T40" fmla="*/ 1491 w 6038"/>
                  <a:gd name="T41" fmla="*/ 159 h 416"/>
                  <a:gd name="T42" fmla="*/ 1236 w 6038"/>
                  <a:gd name="T43" fmla="*/ 140 h 416"/>
                  <a:gd name="T44" fmla="*/ 993 w 6038"/>
                  <a:gd name="T45" fmla="*/ 113 h 416"/>
                  <a:gd name="T46" fmla="*/ 787 w 6038"/>
                  <a:gd name="T47" fmla="*/ 89 h 416"/>
                  <a:gd name="T48" fmla="*/ 603 w 6038"/>
                  <a:gd name="T49" fmla="*/ 70 h 416"/>
                  <a:gd name="T50" fmla="*/ 429 w 6038"/>
                  <a:gd name="T51" fmla="*/ 58 h 416"/>
                  <a:gd name="T52" fmla="*/ 265 w 6038"/>
                  <a:gd name="T53" fmla="*/ 57 h 416"/>
                  <a:gd name="T54" fmla="*/ 113 w 6038"/>
                  <a:gd name="T55" fmla="*/ 71 h 416"/>
                  <a:gd name="T56" fmla="*/ 40 w 6038"/>
                  <a:gd name="T57" fmla="*/ 84 h 416"/>
                  <a:gd name="T58" fmla="*/ 6 w 6038"/>
                  <a:gd name="T59" fmla="*/ 88 h 416"/>
                  <a:gd name="T60" fmla="*/ 0 w 6038"/>
                  <a:gd name="T61" fmla="*/ 74 h 416"/>
                  <a:gd name="T62" fmla="*/ 10 w 6038"/>
                  <a:gd name="T63" fmla="*/ 63 h 416"/>
                  <a:gd name="T64" fmla="*/ 83 w 6038"/>
                  <a:gd name="T65" fmla="*/ 48 h 416"/>
                  <a:gd name="T66" fmla="*/ 210 w 6038"/>
                  <a:gd name="T67" fmla="*/ 33 h 416"/>
                  <a:gd name="T68" fmla="*/ 372 w 6038"/>
                  <a:gd name="T69" fmla="*/ 29 h 416"/>
                  <a:gd name="T70" fmla="*/ 544 w 6038"/>
                  <a:gd name="T71" fmla="*/ 37 h 416"/>
                  <a:gd name="T72" fmla="*/ 726 w 6038"/>
                  <a:gd name="T73" fmla="*/ 55 h 416"/>
                  <a:gd name="T74" fmla="*/ 919 w 6038"/>
                  <a:gd name="T75" fmla="*/ 77 h 416"/>
                  <a:gd name="T76" fmla="*/ 1156 w 6038"/>
                  <a:gd name="T77" fmla="*/ 104 h 416"/>
                  <a:gd name="T78" fmla="*/ 1405 w 6038"/>
                  <a:gd name="T79" fmla="*/ 127 h 416"/>
                  <a:gd name="T80" fmla="*/ 1667 w 6038"/>
                  <a:gd name="T81" fmla="*/ 140 h 416"/>
                  <a:gd name="T82" fmla="*/ 1848 w 6038"/>
                  <a:gd name="T83" fmla="*/ 139 h 416"/>
                  <a:gd name="T84" fmla="*/ 1988 w 6038"/>
                  <a:gd name="T85" fmla="*/ 133 h 416"/>
                  <a:gd name="T86" fmla="*/ 2131 w 6038"/>
                  <a:gd name="T87" fmla="*/ 121 h 416"/>
                  <a:gd name="T88" fmla="*/ 2277 w 6038"/>
                  <a:gd name="T89" fmla="*/ 103 h 416"/>
                  <a:gd name="T90" fmla="*/ 2493 w 6038"/>
                  <a:gd name="T91" fmla="*/ 71 h 416"/>
                  <a:gd name="T92" fmla="*/ 2751 w 6038"/>
                  <a:gd name="T93" fmla="*/ 41 h 416"/>
                  <a:gd name="T94" fmla="*/ 3012 w 6038"/>
                  <a:gd name="T95" fmla="*/ 18 h 416"/>
                  <a:gd name="T96" fmla="*/ 3274 w 6038"/>
                  <a:gd name="T97" fmla="*/ 4 h 416"/>
                  <a:gd name="T98" fmla="*/ 3528 w 6038"/>
                  <a:gd name="T99" fmla="*/ 0 h 416"/>
                  <a:gd name="T100" fmla="*/ 3771 w 6038"/>
                  <a:gd name="T101" fmla="*/ 4 h 416"/>
                  <a:gd name="T102" fmla="*/ 3997 w 6038"/>
                  <a:gd name="T103" fmla="*/ 20 h 416"/>
                  <a:gd name="T104" fmla="*/ 4201 w 6038"/>
                  <a:gd name="T105" fmla="*/ 46 h 416"/>
                  <a:gd name="T106" fmla="*/ 4377 w 6038"/>
                  <a:gd name="T107" fmla="*/ 84 h 416"/>
                  <a:gd name="T108" fmla="*/ 4521 w 6038"/>
                  <a:gd name="T109" fmla="*/ 133 h 416"/>
                  <a:gd name="T110" fmla="*/ 4625 w 6038"/>
                  <a:gd name="T111" fmla="*/ 195 h 416"/>
                  <a:gd name="T112" fmla="*/ 4670 w 6038"/>
                  <a:gd name="T113" fmla="*/ 241 h 416"/>
                  <a:gd name="T114" fmla="*/ 4697 w 6038"/>
                  <a:gd name="T115" fmla="*/ 291 h 416"/>
                  <a:gd name="T116" fmla="*/ 6025 w 6038"/>
                  <a:gd name="T117" fmla="*/ 389 h 416"/>
                  <a:gd name="T118" fmla="*/ 6037 w 6038"/>
                  <a:gd name="T119" fmla="*/ 398 h 416"/>
                  <a:gd name="T120" fmla="*/ 6034 w 6038"/>
                  <a:gd name="T121" fmla="*/ 41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38" h="416">
                    <a:moveTo>
                      <a:pt x="6024" y="416"/>
                    </a:moveTo>
                    <a:lnTo>
                      <a:pt x="6024" y="416"/>
                    </a:lnTo>
                    <a:lnTo>
                      <a:pt x="6024" y="416"/>
                    </a:lnTo>
                    <a:lnTo>
                      <a:pt x="4691" y="354"/>
                    </a:lnTo>
                    <a:lnTo>
                      <a:pt x="4687" y="352"/>
                    </a:lnTo>
                    <a:lnTo>
                      <a:pt x="4683" y="349"/>
                    </a:lnTo>
                    <a:lnTo>
                      <a:pt x="4679" y="345"/>
                    </a:lnTo>
                    <a:lnTo>
                      <a:pt x="4678" y="341"/>
                    </a:lnTo>
                    <a:lnTo>
                      <a:pt x="4677" y="323"/>
                    </a:lnTo>
                    <a:lnTo>
                      <a:pt x="4673" y="307"/>
                    </a:lnTo>
                    <a:lnTo>
                      <a:pt x="4668" y="291"/>
                    </a:lnTo>
                    <a:lnTo>
                      <a:pt x="4660" y="275"/>
                    </a:lnTo>
                    <a:lnTo>
                      <a:pt x="4649" y="260"/>
                    </a:lnTo>
                    <a:lnTo>
                      <a:pt x="4637" y="245"/>
                    </a:lnTo>
                    <a:lnTo>
                      <a:pt x="4624" y="231"/>
                    </a:lnTo>
                    <a:lnTo>
                      <a:pt x="4608" y="216"/>
                    </a:lnTo>
                    <a:lnTo>
                      <a:pt x="4578" y="195"/>
                    </a:lnTo>
                    <a:lnTo>
                      <a:pt x="4545" y="174"/>
                    </a:lnTo>
                    <a:lnTo>
                      <a:pt x="4506" y="156"/>
                    </a:lnTo>
                    <a:lnTo>
                      <a:pt x="4462" y="138"/>
                    </a:lnTo>
                    <a:lnTo>
                      <a:pt x="4415" y="121"/>
                    </a:lnTo>
                    <a:lnTo>
                      <a:pt x="4364" y="107"/>
                    </a:lnTo>
                    <a:lnTo>
                      <a:pt x="4309" y="93"/>
                    </a:lnTo>
                    <a:lnTo>
                      <a:pt x="4251" y="82"/>
                    </a:lnTo>
                    <a:lnTo>
                      <a:pt x="4189" y="71"/>
                    </a:lnTo>
                    <a:lnTo>
                      <a:pt x="4126" y="61"/>
                    </a:lnTo>
                    <a:lnTo>
                      <a:pt x="4058" y="52"/>
                    </a:lnTo>
                    <a:lnTo>
                      <a:pt x="3988" y="45"/>
                    </a:lnTo>
                    <a:lnTo>
                      <a:pt x="3916" y="38"/>
                    </a:lnTo>
                    <a:lnTo>
                      <a:pt x="3840" y="34"/>
                    </a:lnTo>
                    <a:lnTo>
                      <a:pt x="3764" y="30"/>
                    </a:lnTo>
                    <a:lnTo>
                      <a:pt x="3685" y="28"/>
                    </a:lnTo>
                    <a:lnTo>
                      <a:pt x="3605" y="25"/>
                    </a:lnTo>
                    <a:lnTo>
                      <a:pt x="3523" y="25"/>
                    </a:lnTo>
                    <a:lnTo>
                      <a:pt x="3440" y="25"/>
                    </a:lnTo>
                    <a:lnTo>
                      <a:pt x="3356" y="28"/>
                    </a:lnTo>
                    <a:lnTo>
                      <a:pt x="3270" y="31"/>
                    </a:lnTo>
                    <a:lnTo>
                      <a:pt x="3185" y="34"/>
                    </a:lnTo>
                    <a:lnTo>
                      <a:pt x="3099" y="38"/>
                    </a:lnTo>
                    <a:lnTo>
                      <a:pt x="3011" y="45"/>
                    </a:lnTo>
                    <a:lnTo>
                      <a:pt x="2925" y="51"/>
                    </a:lnTo>
                    <a:lnTo>
                      <a:pt x="2838" y="59"/>
                    </a:lnTo>
                    <a:lnTo>
                      <a:pt x="2752" y="66"/>
                    </a:lnTo>
                    <a:lnTo>
                      <a:pt x="2666" y="76"/>
                    </a:lnTo>
                    <a:lnTo>
                      <a:pt x="2580" y="87"/>
                    </a:lnTo>
                    <a:lnTo>
                      <a:pt x="2496" y="98"/>
                    </a:lnTo>
                    <a:lnTo>
                      <a:pt x="2413" y="110"/>
                    </a:lnTo>
                    <a:lnTo>
                      <a:pt x="2331" y="123"/>
                    </a:lnTo>
                    <a:lnTo>
                      <a:pt x="2281" y="130"/>
                    </a:lnTo>
                    <a:lnTo>
                      <a:pt x="2232" y="137"/>
                    </a:lnTo>
                    <a:lnTo>
                      <a:pt x="2183" y="143"/>
                    </a:lnTo>
                    <a:lnTo>
                      <a:pt x="2134" y="148"/>
                    </a:lnTo>
                    <a:lnTo>
                      <a:pt x="2086" y="153"/>
                    </a:lnTo>
                    <a:lnTo>
                      <a:pt x="2037" y="157"/>
                    </a:lnTo>
                    <a:lnTo>
                      <a:pt x="1990" y="160"/>
                    </a:lnTo>
                    <a:lnTo>
                      <a:pt x="1943" y="163"/>
                    </a:lnTo>
                    <a:lnTo>
                      <a:pt x="1896" y="165"/>
                    </a:lnTo>
                    <a:lnTo>
                      <a:pt x="1849" y="166"/>
                    </a:lnTo>
                    <a:lnTo>
                      <a:pt x="1804" y="167"/>
                    </a:lnTo>
                    <a:lnTo>
                      <a:pt x="1758" y="167"/>
                    </a:lnTo>
                    <a:lnTo>
                      <a:pt x="1667" y="167"/>
                    </a:lnTo>
                    <a:lnTo>
                      <a:pt x="1578" y="164"/>
                    </a:lnTo>
                    <a:lnTo>
                      <a:pt x="1491" y="159"/>
                    </a:lnTo>
                    <a:lnTo>
                      <a:pt x="1404" y="154"/>
                    </a:lnTo>
                    <a:lnTo>
                      <a:pt x="1319" y="147"/>
                    </a:lnTo>
                    <a:lnTo>
                      <a:pt x="1236" y="140"/>
                    </a:lnTo>
                    <a:lnTo>
                      <a:pt x="1154" y="131"/>
                    </a:lnTo>
                    <a:lnTo>
                      <a:pt x="1073" y="123"/>
                    </a:lnTo>
                    <a:lnTo>
                      <a:pt x="993" y="113"/>
                    </a:lnTo>
                    <a:lnTo>
                      <a:pt x="915" y="104"/>
                    </a:lnTo>
                    <a:lnTo>
                      <a:pt x="850" y="97"/>
                    </a:lnTo>
                    <a:lnTo>
                      <a:pt x="787" y="89"/>
                    </a:lnTo>
                    <a:lnTo>
                      <a:pt x="724" y="82"/>
                    </a:lnTo>
                    <a:lnTo>
                      <a:pt x="663" y="75"/>
                    </a:lnTo>
                    <a:lnTo>
                      <a:pt x="603" y="70"/>
                    </a:lnTo>
                    <a:lnTo>
                      <a:pt x="544" y="64"/>
                    </a:lnTo>
                    <a:lnTo>
                      <a:pt x="485" y="61"/>
                    </a:lnTo>
                    <a:lnTo>
                      <a:pt x="429" y="58"/>
                    </a:lnTo>
                    <a:lnTo>
                      <a:pt x="373" y="56"/>
                    </a:lnTo>
                    <a:lnTo>
                      <a:pt x="319" y="56"/>
                    </a:lnTo>
                    <a:lnTo>
                      <a:pt x="265" y="57"/>
                    </a:lnTo>
                    <a:lnTo>
                      <a:pt x="213" y="60"/>
                    </a:lnTo>
                    <a:lnTo>
                      <a:pt x="163" y="64"/>
                    </a:lnTo>
                    <a:lnTo>
                      <a:pt x="113" y="71"/>
                    </a:lnTo>
                    <a:lnTo>
                      <a:pt x="88" y="74"/>
                    </a:lnTo>
                    <a:lnTo>
                      <a:pt x="64" y="78"/>
                    </a:lnTo>
                    <a:lnTo>
                      <a:pt x="40" y="84"/>
                    </a:lnTo>
                    <a:lnTo>
                      <a:pt x="17" y="89"/>
                    </a:lnTo>
                    <a:lnTo>
                      <a:pt x="11" y="89"/>
                    </a:lnTo>
                    <a:lnTo>
                      <a:pt x="6" y="88"/>
                    </a:lnTo>
                    <a:lnTo>
                      <a:pt x="3" y="85"/>
                    </a:lnTo>
                    <a:lnTo>
                      <a:pt x="0" y="79"/>
                    </a:lnTo>
                    <a:lnTo>
                      <a:pt x="0" y="74"/>
                    </a:lnTo>
                    <a:lnTo>
                      <a:pt x="2" y="70"/>
                    </a:lnTo>
                    <a:lnTo>
                      <a:pt x="5" y="65"/>
                    </a:lnTo>
                    <a:lnTo>
                      <a:pt x="10" y="63"/>
                    </a:lnTo>
                    <a:lnTo>
                      <a:pt x="34" y="58"/>
                    </a:lnTo>
                    <a:lnTo>
                      <a:pt x="58" y="52"/>
                    </a:lnTo>
                    <a:lnTo>
                      <a:pt x="83" y="48"/>
                    </a:lnTo>
                    <a:lnTo>
                      <a:pt x="108" y="44"/>
                    </a:lnTo>
                    <a:lnTo>
                      <a:pt x="158" y="37"/>
                    </a:lnTo>
                    <a:lnTo>
                      <a:pt x="210" y="33"/>
                    </a:lnTo>
                    <a:lnTo>
                      <a:pt x="263" y="30"/>
                    </a:lnTo>
                    <a:lnTo>
                      <a:pt x="317" y="29"/>
                    </a:lnTo>
                    <a:lnTo>
                      <a:pt x="372" y="29"/>
                    </a:lnTo>
                    <a:lnTo>
                      <a:pt x="428" y="31"/>
                    </a:lnTo>
                    <a:lnTo>
                      <a:pt x="485" y="34"/>
                    </a:lnTo>
                    <a:lnTo>
                      <a:pt x="544" y="37"/>
                    </a:lnTo>
                    <a:lnTo>
                      <a:pt x="603" y="43"/>
                    </a:lnTo>
                    <a:lnTo>
                      <a:pt x="665" y="48"/>
                    </a:lnTo>
                    <a:lnTo>
                      <a:pt x="726" y="55"/>
                    </a:lnTo>
                    <a:lnTo>
                      <a:pt x="789" y="62"/>
                    </a:lnTo>
                    <a:lnTo>
                      <a:pt x="854" y="70"/>
                    </a:lnTo>
                    <a:lnTo>
                      <a:pt x="919" y="77"/>
                    </a:lnTo>
                    <a:lnTo>
                      <a:pt x="996" y="86"/>
                    </a:lnTo>
                    <a:lnTo>
                      <a:pt x="1075" y="96"/>
                    </a:lnTo>
                    <a:lnTo>
                      <a:pt x="1156" y="104"/>
                    </a:lnTo>
                    <a:lnTo>
                      <a:pt x="1238" y="113"/>
                    </a:lnTo>
                    <a:lnTo>
                      <a:pt x="1321" y="120"/>
                    </a:lnTo>
                    <a:lnTo>
                      <a:pt x="1405" y="127"/>
                    </a:lnTo>
                    <a:lnTo>
                      <a:pt x="1491" y="132"/>
                    </a:lnTo>
                    <a:lnTo>
                      <a:pt x="1578" y="137"/>
                    </a:lnTo>
                    <a:lnTo>
                      <a:pt x="1667" y="140"/>
                    </a:lnTo>
                    <a:lnTo>
                      <a:pt x="1758" y="140"/>
                    </a:lnTo>
                    <a:lnTo>
                      <a:pt x="1803" y="140"/>
                    </a:lnTo>
                    <a:lnTo>
                      <a:pt x="1848" y="139"/>
                    </a:lnTo>
                    <a:lnTo>
                      <a:pt x="1895" y="138"/>
                    </a:lnTo>
                    <a:lnTo>
                      <a:pt x="1941" y="136"/>
                    </a:lnTo>
                    <a:lnTo>
                      <a:pt x="1988" y="133"/>
                    </a:lnTo>
                    <a:lnTo>
                      <a:pt x="2035" y="130"/>
                    </a:lnTo>
                    <a:lnTo>
                      <a:pt x="2083" y="126"/>
                    </a:lnTo>
                    <a:lnTo>
                      <a:pt x="2131" y="121"/>
                    </a:lnTo>
                    <a:lnTo>
                      <a:pt x="2180" y="116"/>
                    </a:lnTo>
                    <a:lnTo>
                      <a:pt x="2228" y="110"/>
                    </a:lnTo>
                    <a:lnTo>
                      <a:pt x="2277" y="103"/>
                    </a:lnTo>
                    <a:lnTo>
                      <a:pt x="2327" y="96"/>
                    </a:lnTo>
                    <a:lnTo>
                      <a:pt x="2409" y="83"/>
                    </a:lnTo>
                    <a:lnTo>
                      <a:pt x="2493" y="71"/>
                    </a:lnTo>
                    <a:lnTo>
                      <a:pt x="2578" y="60"/>
                    </a:lnTo>
                    <a:lnTo>
                      <a:pt x="2663" y="49"/>
                    </a:lnTo>
                    <a:lnTo>
                      <a:pt x="2751" y="41"/>
                    </a:lnTo>
                    <a:lnTo>
                      <a:pt x="2837" y="32"/>
                    </a:lnTo>
                    <a:lnTo>
                      <a:pt x="2925" y="24"/>
                    </a:lnTo>
                    <a:lnTo>
                      <a:pt x="3012" y="18"/>
                    </a:lnTo>
                    <a:lnTo>
                      <a:pt x="3100" y="11"/>
                    </a:lnTo>
                    <a:lnTo>
                      <a:pt x="3187" y="7"/>
                    </a:lnTo>
                    <a:lnTo>
                      <a:pt x="3274" y="4"/>
                    </a:lnTo>
                    <a:lnTo>
                      <a:pt x="3359" y="1"/>
                    </a:lnTo>
                    <a:lnTo>
                      <a:pt x="3444" y="0"/>
                    </a:lnTo>
                    <a:lnTo>
                      <a:pt x="3528" y="0"/>
                    </a:lnTo>
                    <a:lnTo>
                      <a:pt x="3610" y="0"/>
                    </a:lnTo>
                    <a:lnTo>
                      <a:pt x="3691" y="2"/>
                    </a:lnTo>
                    <a:lnTo>
                      <a:pt x="3771" y="4"/>
                    </a:lnTo>
                    <a:lnTo>
                      <a:pt x="3849" y="8"/>
                    </a:lnTo>
                    <a:lnTo>
                      <a:pt x="3924" y="14"/>
                    </a:lnTo>
                    <a:lnTo>
                      <a:pt x="3997" y="20"/>
                    </a:lnTo>
                    <a:lnTo>
                      <a:pt x="4068" y="28"/>
                    </a:lnTo>
                    <a:lnTo>
                      <a:pt x="4136" y="36"/>
                    </a:lnTo>
                    <a:lnTo>
                      <a:pt x="4201" y="46"/>
                    </a:lnTo>
                    <a:lnTo>
                      <a:pt x="4264" y="58"/>
                    </a:lnTo>
                    <a:lnTo>
                      <a:pt x="4322" y="70"/>
                    </a:lnTo>
                    <a:lnTo>
                      <a:pt x="4377" y="84"/>
                    </a:lnTo>
                    <a:lnTo>
                      <a:pt x="4429" y="99"/>
                    </a:lnTo>
                    <a:lnTo>
                      <a:pt x="4476" y="115"/>
                    </a:lnTo>
                    <a:lnTo>
                      <a:pt x="4521" y="133"/>
                    </a:lnTo>
                    <a:lnTo>
                      <a:pt x="4560" y="153"/>
                    </a:lnTo>
                    <a:lnTo>
                      <a:pt x="4595" y="173"/>
                    </a:lnTo>
                    <a:lnTo>
                      <a:pt x="4625" y="195"/>
                    </a:lnTo>
                    <a:lnTo>
                      <a:pt x="4642" y="210"/>
                    </a:lnTo>
                    <a:lnTo>
                      <a:pt x="4657" y="225"/>
                    </a:lnTo>
                    <a:lnTo>
                      <a:pt x="4670" y="241"/>
                    </a:lnTo>
                    <a:lnTo>
                      <a:pt x="4681" y="257"/>
                    </a:lnTo>
                    <a:lnTo>
                      <a:pt x="4689" y="274"/>
                    </a:lnTo>
                    <a:lnTo>
                      <a:pt x="4697" y="291"/>
                    </a:lnTo>
                    <a:lnTo>
                      <a:pt x="4702" y="309"/>
                    </a:lnTo>
                    <a:lnTo>
                      <a:pt x="4705" y="327"/>
                    </a:lnTo>
                    <a:lnTo>
                      <a:pt x="6025" y="389"/>
                    </a:lnTo>
                    <a:lnTo>
                      <a:pt x="6030" y="390"/>
                    </a:lnTo>
                    <a:lnTo>
                      <a:pt x="6035" y="394"/>
                    </a:lnTo>
                    <a:lnTo>
                      <a:pt x="6037" y="398"/>
                    </a:lnTo>
                    <a:lnTo>
                      <a:pt x="6038" y="403"/>
                    </a:lnTo>
                    <a:lnTo>
                      <a:pt x="6037" y="408"/>
                    </a:lnTo>
                    <a:lnTo>
                      <a:pt x="6034" y="412"/>
                    </a:lnTo>
                    <a:lnTo>
                      <a:pt x="6029" y="415"/>
                    </a:lnTo>
                    <a:lnTo>
                      <a:pt x="6024" y="4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41"/>
              <p:cNvSpPr>
                <a:spLocks/>
              </p:cNvSpPr>
              <p:nvPr userDrawn="1"/>
            </p:nvSpPr>
            <p:spPr bwMode="auto">
              <a:xfrm>
                <a:off x="1420" y="1496"/>
                <a:ext cx="1222" cy="1836"/>
              </a:xfrm>
              <a:custGeom>
                <a:avLst/>
                <a:gdLst>
                  <a:gd name="T0" fmla="*/ 3399 w 3665"/>
                  <a:gd name="T1" fmla="*/ 5381 h 5510"/>
                  <a:gd name="T2" fmla="*/ 2643 w 3665"/>
                  <a:gd name="T3" fmla="*/ 5233 h 5510"/>
                  <a:gd name="T4" fmla="*/ 1703 w 3665"/>
                  <a:gd name="T5" fmla="*/ 5161 h 5510"/>
                  <a:gd name="T6" fmla="*/ 852 w 3665"/>
                  <a:gd name="T7" fmla="*/ 5143 h 5510"/>
                  <a:gd name="T8" fmla="*/ 366 w 3665"/>
                  <a:gd name="T9" fmla="*/ 5157 h 5510"/>
                  <a:gd name="T10" fmla="*/ 207 w 3665"/>
                  <a:gd name="T11" fmla="*/ 5122 h 5510"/>
                  <a:gd name="T12" fmla="*/ 106 w 3665"/>
                  <a:gd name="T13" fmla="*/ 4999 h 5510"/>
                  <a:gd name="T14" fmla="*/ 45 w 3665"/>
                  <a:gd name="T15" fmla="*/ 4824 h 5510"/>
                  <a:gd name="T16" fmla="*/ 0 w 3665"/>
                  <a:gd name="T17" fmla="*/ 4529 h 5510"/>
                  <a:gd name="T18" fmla="*/ 20 w 3665"/>
                  <a:gd name="T19" fmla="*/ 4485 h 5510"/>
                  <a:gd name="T20" fmla="*/ 121 w 3665"/>
                  <a:gd name="T21" fmla="*/ 4445 h 5510"/>
                  <a:gd name="T22" fmla="*/ 324 w 3665"/>
                  <a:gd name="T23" fmla="*/ 4388 h 5510"/>
                  <a:gd name="T24" fmla="*/ 679 w 3665"/>
                  <a:gd name="T25" fmla="*/ 4282 h 5510"/>
                  <a:gd name="T26" fmla="*/ 961 w 3665"/>
                  <a:gd name="T27" fmla="*/ 4146 h 5510"/>
                  <a:gd name="T28" fmla="*/ 1106 w 3665"/>
                  <a:gd name="T29" fmla="*/ 4026 h 5510"/>
                  <a:gd name="T30" fmla="*/ 1206 w 3665"/>
                  <a:gd name="T31" fmla="*/ 3801 h 5510"/>
                  <a:gd name="T32" fmla="*/ 1221 w 3665"/>
                  <a:gd name="T33" fmla="*/ 3515 h 5510"/>
                  <a:gd name="T34" fmla="*/ 1159 w 3665"/>
                  <a:gd name="T35" fmla="*/ 3348 h 5510"/>
                  <a:gd name="T36" fmla="*/ 927 w 3665"/>
                  <a:gd name="T37" fmla="*/ 3044 h 5510"/>
                  <a:gd name="T38" fmla="*/ 682 w 3665"/>
                  <a:gd name="T39" fmla="*/ 2714 h 5510"/>
                  <a:gd name="T40" fmla="*/ 552 w 3665"/>
                  <a:gd name="T41" fmla="*/ 2476 h 5510"/>
                  <a:gd name="T42" fmla="*/ 487 w 3665"/>
                  <a:gd name="T43" fmla="*/ 2282 h 5510"/>
                  <a:gd name="T44" fmla="*/ 408 w 3665"/>
                  <a:gd name="T45" fmla="*/ 1946 h 5510"/>
                  <a:gd name="T46" fmla="*/ 334 w 3665"/>
                  <a:gd name="T47" fmla="*/ 1532 h 5510"/>
                  <a:gd name="T48" fmla="*/ 330 w 3665"/>
                  <a:gd name="T49" fmla="*/ 1121 h 5510"/>
                  <a:gd name="T50" fmla="*/ 424 w 3665"/>
                  <a:gd name="T51" fmla="*/ 786 h 5510"/>
                  <a:gd name="T52" fmla="*/ 602 w 3665"/>
                  <a:gd name="T53" fmla="*/ 487 h 5510"/>
                  <a:gd name="T54" fmla="*/ 850 w 3665"/>
                  <a:gd name="T55" fmla="*/ 238 h 5510"/>
                  <a:gd name="T56" fmla="*/ 1156 w 3665"/>
                  <a:gd name="T57" fmla="*/ 55 h 5510"/>
                  <a:gd name="T58" fmla="*/ 1318 w 3665"/>
                  <a:gd name="T59" fmla="*/ 10 h 5510"/>
                  <a:gd name="T60" fmla="*/ 1167 w 3665"/>
                  <a:gd name="T61" fmla="*/ 80 h 5510"/>
                  <a:gd name="T62" fmla="*/ 867 w 3665"/>
                  <a:gd name="T63" fmla="*/ 259 h 5510"/>
                  <a:gd name="T64" fmla="*/ 624 w 3665"/>
                  <a:gd name="T65" fmla="*/ 503 h 5510"/>
                  <a:gd name="T66" fmla="*/ 449 w 3665"/>
                  <a:gd name="T67" fmla="*/ 796 h 5510"/>
                  <a:gd name="T68" fmla="*/ 357 w 3665"/>
                  <a:gd name="T69" fmla="*/ 1124 h 5510"/>
                  <a:gd name="T70" fmla="*/ 361 w 3665"/>
                  <a:gd name="T71" fmla="*/ 1531 h 5510"/>
                  <a:gd name="T72" fmla="*/ 434 w 3665"/>
                  <a:gd name="T73" fmla="*/ 1942 h 5510"/>
                  <a:gd name="T74" fmla="*/ 513 w 3665"/>
                  <a:gd name="T75" fmla="*/ 2277 h 5510"/>
                  <a:gd name="T76" fmla="*/ 578 w 3665"/>
                  <a:gd name="T77" fmla="*/ 2467 h 5510"/>
                  <a:gd name="T78" fmla="*/ 706 w 3665"/>
                  <a:gd name="T79" fmla="*/ 2701 h 5510"/>
                  <a:gd name="T80" fmla="*/ 949 w 3665"/>
                  <a:gd name="T81" fmla="*/ 3027 h 5510"/>
                  <a:gd name="T82" fmla="*/ 1183 w 3665"/>
                  <a:gd name="T83" fmla="*/ 3336 h 5510"/>
                  <a:gd name="T84" fmla="*/ 1247 w 3665"/>
                  <a:gd name="T85" fmla="*/ 3513 h 5510"/>
                  <a:gd name="T86" fmla="*/ 1232 w 3665"/>
                  <a:gd name="T87" fmla="*/ 3809 h 5510"/>
                  <a:gd name="T88" fmla="*/ 1156 w 3665"/>
                  <a:gd name="T89" fmla="*/ 3997 h 5510"/>
                  <a:gd name="T90" fmla="*/ 1064 w 3665"/>
                  <a:gd name="T91" fmla="*/ 4107 h 5510"/>
                  <a:gd name="T92" fmla="*/ 909 w 3665"/>
                  <a:gd name="T93" fmla="*/ 4209 h 5510"/>
                  <a:gd name="T94" fmla="*/ 640 w 3665"/>
                  <a:gd name="T95" fmla="*/ 4325 h 5510"/>
                  <a:gd name="T96" fmla="*/ 302 w 3665"/>
                  <a:gd name="T97" fmla="*/ 4423 h 5510"/>
                  <a:gd name="T98" fmla="*/ 98 w 3665"/>
                  <a:gd name="T99" fmla="*/ 4481 h 5510"/>
                  <a:gd name="T100" fmla="*/ 42 w 3665"/>
                  <a:gd name="T101" fmla="*/ 4502 h 5510"/>
                  <a:gd name="T102" fmla="*/ 32 w 3665"/>
                  <a:gd name="T103" fmla="*/ 4574 h 5510"/>
                  <a:gd name="T104" fmla="*/ 90 w 3665"/>
                  <a:gd name="T105" fmla="*/ 4885 h 5510"/>
                  <a:gd name="T106" fmla="*/ 160 w 3665"/>
                  <a:gd name="T107" fmla="*/ 5036 h 5510"/>
                  <a:gd name="T108" fmla="*/ 273 w 3665"/>
                  <a:gd name="T109" fmla="*/ 5122 h 5510"/>
                  <a:gd name="T110" fmla="*/ 510 w 3665"/>
                  <a:gd name="T111" fmla="*/ 5121 h 5510"/>
                  <a:gd name="T112" fmla="*/ 1190 w 3665"/>
                  <a:gd name="T113" fmla="*/ 5119 h 5510"/>
                  <a:gd name="T114" fmla="*/ 2119 w 3665"/>
                  <a:gd name="T115" fmla="*/ 5160 h 5510"/>
                  <a:gd name="T116" fmla="*/ 3019 w 3665"/>
                  <a:gd name="T117" fmla="*/ 5264 h 5510"/>
                  <a:gd name="T118" fmla="*/ 3616 w 3665"/>
                  <a:gd name="T119" fmla="*/ 5452 h 5510"/>
                  <a:gd name="T120" fmla="*/ 3657 w 3665"/>
                  <a:gd name="T121" fmla="*/ 5509 h 5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5" h="5510">
                    <a:moveTo>
                      <a:pt x="3652" y="5510"/>
                    </a:moveTo>
                    <a:lnTo>
                      <a:pt x="3646" y="5509"/>
                    </a:lnTo>
                    <a:lnTo>
                      <a:pt x="3642" y="5507"/>
                    </a:lnTo>
                    <a:lnTo>
                      <a:pt x="3598" y="5472"/>
                    </a:lnTo>
                    <a:lnTo>
                      <a:pt x="3543" y="5440"/>
                    </a:lnTo>
                    <a:lnTo>
                      <a:pt x="3476" y="5409"/>
                    </a:lnTo>
                    <a:lnTo>
                      <a:pt x="3399" y="5381"/>
                    </a:lnTo>
                    <a:lnTo>
                      <a:pt x="3313" y="5354"/>
                    </a:lnTo>
                    <a:lnTo>
                      <a:pt x="3219" y="5330"/>
                    </a:lnTo>
                    <a:lnTo>
                      <a:pt x="3116" y="5308"/>
                    </a:lnTo>
                    <a:lnTo>
                      <a:pt x="3006" y="5286"/>
                    </a:lnTo>
                    <a:lnTo>
                      <a:pt x="2891" y="5267"/>
                    </a:lnTo>
                    <a:lnTo>
                      <a:pt x="2770" y="5250"/>
                    </a:lnTo>
                    <a:lnTo>
                      <a:pt x="2643" y="5233"/>
                    </a:lnTo>
                    <a:lnTo>
                      <a:pt x="2515" y="5219"/>
                    </a:lnTo>
                    <a:lnTo>
                      <a:pt x="2382" y="5206"/>
                    </a:lnTo>
                    <a:lnTo>
                      <a:pt x="2247" y="5195"/>
                    </a:lnTo>
                    <a:lnTo>
                      <a:pt x="2111" y="5185"/>
                    </a:lnTo>
                    <a:lnTo>
                      <a:pt x="1975" y="5176"/>
                    </a:lnTo>
                    <a:lnTo>
                      <a:pt x="1839" y="5168"/>
                    </a:lnTo>
                    <a:lnTo>
                      <a:pt x="1703" y="5161"/>
                    </a:lnTo>
                    <a:lnTo>
                      <a:pt x="1570" y="5156"/>
                    </a:lnTo>
                    <a:lnTo>
                      <a:pt x="1439" y="5151"/>
                    </a:lnTo>
                    <a:lnTo>
                      <a:pt x="1312" y="5148"/>
                    </a:lnTo>
                    <a:lnTo>
                      <a:pt x="1189" y="5145"/>
                    </a:lnTo>
                    <a:lnTo>
                      <a:pt x="1070" y="5144"/>
                    </a:lnTo>
                    <a:lnTo>
                      <a:pt x="958" y="5143"/>
                    </a:lnTo>
                    <a:lnTo>
                      <a:pt x="852" y="5143"/>
                    </a:lnTo>
                    <a:lnTo>
                      <a:pt x="754" y="5143"/>
                    </a:lnTo>
                    <a:lnTo>
                      <a:pt x="664" y="5144"/>
                    </a:lnTo>
                    <a:lnTo>
                      <a:pt x="583" y="5146"/>
                    </a:lnTo>
                    <a:lnTo>
                      <a:pt x="512" y="5148"/>
                    </a:lnTo>
                    <a:lnTo>
                      <a:pt x="451" y="5150"/>
                    </a:lnTo>
                    <a:lnTo>
                      <a:pt x="403" y="5154"/>
                    </a:lnTo>
                    <a:lnTo>
                      <a:pt x="366" y="5157"/>
                    </a:lnTo>
                    <a:lnTo>
                      <a:pt x="339" y="5158"/>
                    </a:lnTo>
                    <a:lnTo>
                      <a:pt x="314" y="5158"/>
                    </a:lnTo>
                    <a:lnTo>
                      <a:pt x="290" y="5155"/>
                    </a:lnTo>
                    <a:lnTo>
                      <a:pt x="268" y="5149"/>
                    </a:lnTo>
                    <a:lnTo>
                      <a:pt x="246" y="5142"/>
                    </a:lnTo>
                    <a:lnTo>
                      <a:pt x="227" y="5133"/>
                    </a:lnTo>
                    <a:lnTo>
                      <a:pt x="207" y="5122"/>
                    </a:lnTo>
                    <a:lnTo>
                      <a:pt x="190" y="5109"/>
                    </a:lnTo>
                    <a:lnTo>
                      <a:pt x="173" y="5094"/>
                    </a:lnTo>
                    <a:lnTo>
                      <a:pt x="158" y="5078"/>
                    </a:lnTo>
                    <a:lnTo>
                      <a:pt x="144" y="5060"/>
                    </a:lnTo>
                    <a:lnTo>
                      <a:pt x="130" y="5041"/>
                    </a:lnTo>
                    <a:lnTo>
                      <a:pt x="117" y="5021"/>
                    </a:lnTo>
                    <a:lnTo>
                      <a:pt x="106" y="4999"/>
                    </a:lnTo>
                    <a:lnTo>
                      <a:pt x="95" y="4977"/>
                    </a:lnTo>
                    <a:lnTo>
                      <a:pt x="84" y="4953"/>
                    </a:lnTo>
                    <a:lnTo>
                      <a:pt x="76" y="4928"/>
                    </a:lnTo>
                    <a:lnTo>
                      <a:pt x="67" y="4903"/>
                    </a:lnTo>
                    <a:lnTo>
                      <a:pt x="59" y="4877"/>
                    </a:lnTo>
                    <a:lnTo>
                      <a:pt x="52" y="4851"/>
                    </a:lnTo>
                    <a:lnTo>
                      <a:pt x="45" y="4824"/>
                    </a:lnTo>
                    <a:lnTo>
                      <a:pt x="39" y="4797"/>
                    </a:lnTo>
                    <a:lnTo>
                      <a:pt x="33" y="4769"/>
                    </a:lnTo>
                    <a:lnTo>
                      <a:pt x="29" y="4742"/>
                    </a:lnTo>
                    <a:lnTo>
                      <a:pt x="19" y="4686"/>
                    </a:lnTo>
                    <a:lnTo>
                      <a:pt x="13" y="4632"/>
                    </a:lnTo>
                    <a:lnTo>
                      <a:pt x="6" y="4579"/>
                    </a:lnTo>
                    <a:lnTo>
                      <a:pt x="0" y="4529"/>
                    </a:lnTo>
                    <a:lnTo>
                      <a:pt x="0" y="4523"/>
                    </a:lnTo>
                    <a:lnTo>
                      <a:pt x="0" y="4517"/>
                    </a:lnTo>
                    <a:lnTo>
                      <a:pt x="2" y="4509"/>
                    </a:lnTo>
                    <a:lnTo>
                      <a:pt x="5" y="4503"/>
                    </a:lnTo>
                    <a:lnTo>
                      <a:pt x="10" y="4497"/>
                    </a:lnTo>
                    <a:lnTo>
                      <a:pt x="15" y="4491"/>
                    </a:lnTo>
                    <a:lnTo>
                      <a:pt x="20" y="4485"/>
                    </a:lnTo>
                    <a:lnTo>
                      <a:pt x="27" y="4480"/>
                    </a:lnTo>
                    <a:lnTo>
                      <a:pt x="33" y="4475"/>
                    </a:lnTo>
                    <a:lnTo>
                      <a:pt x="49" y="4467"/>
                    </a:lnTo>
                    <a:lnTo>
                      <a:pt x="64" y="4461"/>
                    </a:lnTo>
                    <a:lnTo>
                      <a:pt x="79" y="4456"/>
                    </a:lnTo>
                    <a:lnTo>
                      <a:pt x="92" y="4454"/>
                    </a:lnTo>
                    <a:lnTo>
                      <a:pt x="121" y="4445"/>
                    </a:lnTo>
                    <a:lnTo>
                      <a:pt x="150" y="4437"/>
                    </a:lnTo>
                    <a:lnTo>
                      <a:pt x="179" y="4428"/>
                    </a:lnTo>
                    <a:lnTo>
                      <a:pt x="208" y="4421"/>
                    </a:lnTo>
                    <a:lnTo>
                      <a:pt x="237" y="4412"/>
                    </a:lnTo>
                    <a:lnTo>
                      <a:pt x="267" y="4404"/>
                    </a:lnTo>
                    <a:lnTo>
                      <a:pt x="296" y="4397"/>
                    </a:lnTo>
                    <a:lnTo>
                      <a:pt x="324" y="4388"/>
                    </a:lnTo>
                    <a:lnTo>
                      <a:pt x="376" y="4375"/>
                    </a:lnTo>
                    <a:lnTo>
                      <a:pt x="426" y="4361"/>
                    </a:lnTo>
                    <a:lnTo>
                      <a:pt x="477" y="4346"/>
                    </a:lnTo>
                    <a:lnTo>
                      <a:pt x="528" y="4332"/>
                    </a:lnTo>
                    <a:lnTo>
                      <a:pt x="579" y="4316"/>
                    </a:lnTo>
                    <a:lnTo>
                      <a:pt x="629" y="4300"/>
                    </a:lnTo>
                    <a:lnTo>
                      <a:pt x="679" y="4282"/>
                    </a:lnTo>
                    <a:lnTo>
                      <a:pt x="729" y="4263"/>
                    </a:lnTo>
                    <a:lnTo>
                      <a:pt x="776" y="4244"/>
                    </a:lnTo>
                    <a:lnTo>
                      <a:pt x="824" y="4222"/>
                    </a:lnTo>
                    <a:lnTo>
                      <a:pt x="871" y="4199"/>
                    </a:lnTo>
                    <a:lnTo>
                      <a:pt x="917" y="4173"/>
                    </a:lnTo>
                    <a:lnTo>
                      <a:pt x="938" y="4160"/>
                    </a:lnTo>
                    <a:lnTo>
                      <a:pt x="961" y="4146"/>
                    </a:lnTo>
                    <a:lnTo>
                      <a:pt x="983" y="4132"/>
                    </a:lnTo>
                    <a:lnTo>
                      <a:pt x="1004" y="4117"/>
                    </a:lnTo>
                    <a:lnTo>
                      <a:pt x="1025" y="4102"/>
                    </a:lnTo>
                    <a:lnTo>
                      <a:pt x="1045" y="4086"/>
                    </a:lnTo>
                    <a:lnTo>
                      <a:pt x="1066" y="4070"/>
                    </a:lnTo>
                    <a:lnTo>
                      <a:pt x="1085" y="4053"/>
                    </a:lnTo>
                    <a:lnTo>
                      <a:pt x="1106" y="4026"/>
                    </a:lnTo>
                    <a:lnTo>
                      <a:pt x="1125" y="3997"/>
                    </a:lnTo>
                    <a:lnTo>
                      <a:pt x="1143" y="3967"/>
                    </a:lnTo>
                    <a:lnTo>
                      <a:pt x="1160" y="3937"/>
                    </a:lnTo>
                    <a:lnTo>
                      <a:pt x="1174" y="3905"/>
                    </a:lnTo>
                    <a:lnTo>
                      <a:pt x="1186" y="3871"/>
                    </a:lnTo>
                    <a:lnTo>
                      <a:pt x="1196" y="3837"/>
                    </a:lnTo>
                    <a:lnTo>
                      <a:pt x="1206" y="3801"/>
                    </a:lnTo>
                    <a:lnTo>
                      <a:pt x="1214" y="3763"/>
                    </a:lnTo>
                    <a:lnTo>
                      <a:pt x="1219" y="3725"/>
                    </a:lnTo>
                    <a:lnTo>
                      <a:pt x="1222" y="3686"/>
                    </a:lnTo>
                    <a:lnTo>
                      <a:pt x="1224" y="3644"/>
                    </a:lnTo>
                    <a:lnTo>
                      <a:pt x="1226" y="3602"/>
                    </a:lnTo>
                    <a:lnTo>
                      <a:pt x="1223" y="3559"/>
                    </a:lnTo>
                    <a:lnTo>
                      <a:pt x="1221" y="3515"/>
                    </a:lnTo>
                    <a:lnTo>
                      <a:pt x="1216" y="3470"/>
                    </a:lnTo>
                    <a:lnTo>
                      <a:pt x="1210" y="3451"/>
                    </a:lnTo>
                    <a:lnTo>
                      <a:pt x="1204" y="3432"/>
                    </a:lnTo>
                    <a:lnTo>
                      <a:pt x="1195" y="3412"/>
                    </a:lnTo>
                    <a:lnTo>
                      <a:pt x="1184" y="3392"/>
                    </a:lnTo>
                    <a:lnTo>
                      <a:pt x="1173" y="3369"/>
                    </a:lnTo>
                    <a:lnTo>
                      <a:pt x="1159" y="3348"/>
                    </a:lnTo>
                    <a:lnTo>
                      <a:pt x="1145" y="3324"/>
                    </a:lnTo>
                    <a:lnTo>
                      <a:pt x="1127" y="3300"/>
                    </a:lnTo>
                    <a:lnTo>
                      <a:pt x="1092" y="3250"/>
                    </a:lnTo>
                    <a:lnTo>
                      <a:pt x="1052" y="3199"/>
                    </a:lnTo>
                    <a:lnTo>
                      <a:pt x="1008" y="3144"/>
                    </a:lnTo>
                    <a:lnTo>
                      <a:pt x="962" y="3086"/>
                    </a:lnTo>
                    <a:lnTo>
                      <a:pt x="927" y="3044"/>
                    </a:lnTo>
                    <a:lnTo>
                      <a:pt x="893" y="3000"/>
                    </a:lnTo>
                    <a:lnTo>
                      <a:pt x="857" y="2955"/>
                    </a:lnTo>
                    <a:lnTo>
                      <a:pt x="822" y="2909"/>
                    </a:lnTo>
                    <a:lnTo>
                      <a:pt x="786" y="2862"/>
                    </a:lnTo>
                    <a:lnTo>
                      <a:pt x="750" y="2813"/>
                    </a:lnTo>
                    <a:lnTo>
                      <a:pt x="716" y="2764"/>
                    </a:lnTo>
                    <a:lnTo>
                      <a:pt x="682" y="2714"/>
                    </a:lnTo>
                    <a:lnTo>
                      <a:pt x="650" y="2662"/>
                    </a:lnTo>
                    <a:lnTo>
                      <a:pt x="620" y="2610"/>
                    </a:lnTo>
                    <a:lnTo>
                      <a:pt x="605" y="2584"/>
                    </a:lnTo>
                    <a:lnTo>
                      <a:pt x="591" y="2557"/>
                    </a:lnTo>
                    <a:lnTo>
                      <a:pt x="578" y="2530"/>
                    </a:lnTo>
                    <a:lnTo>
                      <a:pt x="565" y="2503"/>
                    </a:lnTo>
                    <a:lnTo>
                      <a:pt x="552" y="2476"/>
                    </a:lnTo>
                    <a:lnTo>
                      <a:pt x="541" y="2450"/>
                    </a:lnTo>
                    <a:lnTo>
                      <a:pt x="530" y="2423"/>
                    </a:lnTo>
                    <a:lnTo>
                      <a:pt x="519" y="2394"/>
                    </a:lnTo>
                    <a:lnTo>
                      <a:pt x="510" y="2366"/>
                    </a:lnTo>
                    <a:lnTo>
                      <a:pt x="501" y="2338"/>
                    </a:lnTo>
                    <a:lnTo>
                      <a:pt x="493" y="2310"/>
                    </a:lnTo>
                    <a:lnTo>
                      <a:pt x="487" y="2282"/>
                    </a:lnTo>
                    <a:lnTo>
                      <a:pt x="477" y="2243"/>
                    </a:lnTo>
                    <a:lnTo>
                      <a:pt x="469" y="2204"/>
                    </a:lnTo>
                    <a:lnTo>
                      <a:pt x="459" y="2166"/>
                    </a:lnTo>
                    <a:lnTo>
                      <a:pt x="450" y="2127"/>
                    </a:lnTo>
                    <a:lnTo>
                      <a:pt x="435" y="2066"/>
                    </a:lnTo>
                    <a:lnTo>
                      <a:pt x="421" y="2007"/>
                    </a:lnTo>
                    <a:lnTo>
                      <a:pt x="408" y="1946"/>
                    </a:lnTo>
                    <a:lnTo>
                      <a:pt x="394" y="1887"/>
                    </a:lnTo>
                    <a:lnTo>
                      <a:pt x="382" y="1828"/>
                    </a:lnTo>
                    <a:lnTo>
                      <a:pt x="370" y="1769"/>
                    </a:lnTo>
                    <a:lnTo>
                      <a:pt x="360" y="1710"/>
                    </a:lnTo>
                    <a:lnTo>
                      <a:pt x="350" y="1651"/>
                    </a:lnTo>
                    <a:lnTo>
                      <a:pt x="341" y="1591"/>
                    </a:lnTo>
                    <a:lnTo>
                      <a:pt x="334" y="1532"/>
                    </a:lnTo>
                    <a:lnTo>
                      <a:pt x="327" y="1473"/>
                    </a:lnTo>
                    <a:lnTo>
                      <a:pt x="323" y="1413"/>
                    </a:lnTo>
                    <a:lnTo>
                      <a:pt x="321" y="1353"/>
                    </a:lnTo>
                    <a:lnTo>
                      <a:pt x="320" y="1293"/>
                    </a:lnTo>
                    <a:lnTo>
                      <a:pt x="321" y="1232"/>
                    </a:lnTo>
                    <a:lnTo>
                      <a:pt x="324" y="1171"/>
                    </a:lnTo>
                    <a:lnTo>
                      <a:pt x="330" y="1121"/>
                    </a:lnTo>
                    <a:lnTo>
                      <a:pt x="338" y="1072"/>
                    </a:lnTo>
                    <a:lnTo>
                      <a:pt x="348" y="1022"/>
                    </a:lnTo>
                    <a:lnTo>
                      <a:pt x="360" y="974"/>
                    </a:lnTo>
                    <a:lnTo>
                      <a:pt x="374" y="926"/>
                    </a:lnTo>
                    <a:lnTo>
                      <a:pt x="389" y="879"/>
                    </a:lnTo>
                    <a:lnTo>
                      <a:pt x="406" y="832"/>
                    </a:lnTo>
                    <a:lnTo>
                      <a:pt x="424" y="786"/>
                    </a:lnTo>
                    <a:lnTo>
                      <a:pt x="445" y="741"/>
                    </a:lnTo>
                    <a:lnTo>
                      <a:pt x="467" y="696"/>
                    </a:lnTo>
                    <a:lnTo>
                      <a:pt x="491" y="652"/>
                    </a:lnTo>
                    <a:lnTo>
                      <a:pt x="517" y="610"/>
                    </a:lnTo>
                    <a:lnTo>
                      <a:pt x="544" y="568"/>
                    </a:lnTo>
                    <a:lnTo>
                      <a:pt x="572" y="527"/>
                    </a:lnTo>
                    <a:lnTo>
                      <a:pt x="602" y="487"/>
                    </a:lnTo>
                    <a:lnTo>
                      <a:pt x="634" y="448"/>
                    </a:lnTo>
                    <a:lnTo>
                      <a:pt x="666" y="409"/>
                    </a:lnTo>
                    <a:lnTo>
                      <a:pt x="701" y="373"/>
                    </a:lnTo>
                    <a:lnTo>
                      <a:pt x="736" y="337"/>
                    </a:lnTo>
                    <a:lnTo>
                      <a:pt x="773" y="304"/>
                    </a:lnTo>
                    <a:lnTo>
                      <a:pt x="811" y="270"/>
                    </a:lnTo>
                    <a:lnTo>
                      <a:pt x="850" y="238"/>
                    </a:lnTo>
                    <a:lnTo>
                      <a:pt x="891" y="207"/>
                    </a:lnTo>
                    <a:lnTo>
                      <a:pt x="932" y="178"/>
                    </a:lnTo>
                    <a:lnTo>
                      <a:pt x="975" y="151"/>
                    </a:lnTo>
                    <a:lnTo>
                      <a:pt x="1018" y="124"/>
                    </a:lnTo>
                    <a:lnTo>
                      <a:pt x="1064" y="99"/>
                    </a:lnTo>
                    <a:lnTo>
                      <a:pt x="1109" y="77"/>
                    </a:lnTo>
                    <a:lnTo>
                      <a:pt x="1156" y="55"/>
                    </a:lnTo>
                    <a:lnTo>
                      <a:pt x="1204" y="36"/>
                    </a:lnTo>
                    <a:lnTo>
                      <a:pt x="1253" y="17"/>
                    </a:lnTo>
                    <a:lnTo>
                      <a:pt x="1301" y="1"/>
                    </a:lnTo>
                    <a:lnTo>
                      <a:pt x="1307" y="0"/>
                    </a:lnTo>
                    <a:lnTo>
                      <a:pt x="1312" y="1"/>
                    </a:lnTo>
                    <a:lnTo>
                      <a:pt x="1316" y="4"/>
                    </a:lnTo>
                    <a:lnTo>
                      <a:pt x="1318" y="10"/>
                    </a:lnTo>
                    <a:lnTo>
                      <a:pt x="1319" y="15"/>
                    </a:lnTo>
                    <a:lnTo>
                      <a:pt x="1317" y="20"/>
                    </a:lnTo>
                    <a:lnTo>
                      <a:pt x="1314" y="24"/>
                    </a:lnTo>
                    <a:lnTo>
                      <a:pt x="1310" y="27"/>
                    </a:lnTo>
                    <a:lnTo>
                      <a:pt x="1261" y="42"/>
                    </a:lnTo>
                    <a:lnTo>
                      <a:pt x="1214" y="61"/>
                    </a:lnTo>
                    <a:lnTo>
                      <a:pt x="1167" y="80"/>
                    </a:lnTo>
                    <a:lnTo>
                      <a:pt x="1121" y="102"/>
                    </a:lnTo>
                    <a:lnTo>
                      <a:pt x="1077" y="123"/>
                    </a:lnTo>
                    <a:lnTo>
                      <a:pt x="1032" y="148"/>
                    </a:lnTo>
                    <a:lnTo>
                      <a:pt x="989" y="174"/>
                    </a:lnTo>
                    <a:lnTo>
                      <a:pt x="947" y="201"/>
                    </a:lnTo>
                    <a:lnTo>
                      <a:pt x="907" y="229"/>
                    </a:lnTo>
                    <a:lnTo>
                      <a:pt x="867" y="259"/>
                    </a:lnTo>
                    <a:lnTo>
                      <a:pt x="828" y="291"/>
                    </a:lnTo>
                    <a:lnTo>
                      <a:pt x="791" y="323"/>
                    </a:lnTo>
                    <a:lnTo>
                      <a:pt x="755" y="356"/>
                    </a:lnTo>
                    <a:lnTo>
                      <a:pt x="720" y="392"/>
                    </a:lnTo>
                    <a:lnTo>
                      <a:pt x="687" y="428"/>
                    </a:lnTo>
                    <a:lnTo>
                      <a:pt x="654" y="464"/>
                    </a:lnTo>
                    <a:lnTo>
                      <a:pt x="624" y="503"/>
                    </a:lnTo>
                    <a:lnTo>
                      <a:pt x="594" y="542"/>
                    </a:lnTo>
                    <a:lnTo>
                      <a:pt x="567" y="582"/>
                    </a:lnTo>
                    <a:lnTo>
                      <a:pt x="540" y="623"/>
                    </a:lnTo>
                    <a:lnTo>
                      <a:pt x="515" y="665"/>
                    </a:lnTo>
                    <a:lnTo>
                      <a:pt x="491" y="708"/>
                    </a:lnTo>
                    <a:lnTo>
                      <a:pt x="470" y="751"/>
                    </a:lnTo>
                    <a:lnTo>
                      <a:pt x="449" y="796"/>
                    </a:lnTo>
                    <a:lnTo>
                      <a:pt x="431" y="841"/>
                    </a:lnTo>
                    <a:lnTo>
                      <a:pt x="415" y="888"/>
                    </a:lnTo>
                    <a:lnTo>
                      <a:pt x="399" y="934"/>
                    </a:lnTo>
                    <a:lnTo>
                      <a:pt x="385" y="980"/>
                    </a:lnTo>
                    <a:lnTo>
                      <a:pt x="375" y="1028"/>
                    </a:lnTo>
                    <a:lnTo>
                      <a:pt x="365" y="1076"/>
                    </a:lnTo>
                    <a:lnTo>
                      <a:pt x="357" y="1124"/>
                    </a:lnTo>
                    <a:lnTo>
                      <a:pt x="351" y="1174"/>
                    </a:lnTo>
                    <a:lnTo>
                      <a:pt x="348" y="1234"/>
                    </a:lnTo>
                    <a:lnTo>
                      <a:pt x="347" y="1293"/>
                    </a:lnTo>
                    <a:lnTo>
                      <a:pt x="348" y="1353"/>
                    </a:lnTo>
                    <a:lnTo>
                      <a:pt x="350" y="1412"/>
                    </a:lnTo>
                    <a:lnTo>
                      <a:pt x="354" y="1472"/>
                    </a:lnTo>
                    <a:lnTo>
                      <a:pt x="361" y="1531"/>
                    </a:lnTo>
                    <a:lnTo>
                      <a:pt x="368" y="1589"/>
                    </a:lnTo>
                    <a:lnTo>
                      <a:pt x="377" y="1647"/>
                    </a:lnTo>
                    <a:lnTo>
                      <a:pt x="387" y="1707"/>
                    </a:lnTo>
                    <a:lnTo>
                      <a:pt x="397" y="1765"/>
                    </a:lnTo>
                    <a:lnTo>
                      <a:pt x="409" y="1823"/>
                    </a:lnTo>
                    <a:lnTo>
                      <a:pt x="421" y="1883"/>
                    </a:lnTo>
                    <a:lnTo>
                      <a:pt x="434" y="1942"/>
                    </a:lnTo>
                    <a:lnTo>
                      <a:pt x="448" y="2002"/>
                    </a:lnTo>
                    <a:lnTo>
                      <a:pt x="462" y="2061"/>
                    </a:lnTo>
                    <a:lnTo>
                      <a:pt x="476" y="2121"/>
                    </a:lnTo>
                    <a:lnTo>
                      <a:pt x="486" y="2159"/>
                    </a:lnTo>
                    <a:lnTo>
                      <a:pt x="494" y="2198"/>
                    </a:lnTo>
                    <a:lnTo>
                      <a:pt x="504" y="2237"/>
                    </a:lnTo>
                    <a:lnTo>
                      <a:pt x="513" y="2277"/>
                    </a:lnTo>
                    <a:lnTo>
                      <a:pt x="519" y="2304"/>
                    </a:lnTo>
                    <a:lnTo>
                      <a:pt x="527" y="2332"/>
                    </a:lnTo>
                    <a:lnTo>
                      <a:pt x="536" y="2359"/>
                    </a:lnTo>
                    <a:lnTo>
                      <a:pt x="545" y="2386"/>
                    </a:lnTo>
                    <a:lnTo>
                      <a:pt x="555" y="2414"/>
                    </a:lnTo>
                    <a:lnTo>
                      <a:pt x="566" y="2441"/>
                    </a:lnTo>
                    <a:lnTo>
                      <a:pt x="578" y="2467"/>
                    </a:lnTo>
                    <a:lnTo>
                      <a:pt x="590" y="2494"/>
                    </a:lnTo>
                    <a:lnTo>
                      <a:pt x="602" y="2521"/>
                    </a:lnTo>
                    <a:lnTo>
                      <a:pt x="615" y="2547"/>
                    </a:lnTo>
                    <a:lnTo>
                      <a:pt x="629" y="2573"/>
                    </a:lnTo>
                    <a:lnTo>
                      <a:pt x="645" y="2598"/>
                    </a:lnTo>
                    <a:lnTo>
                      <a:pt x="675" y="2650"/>
                    </a:lnTo>
                    <a:lnTo>
                      <a:pt x="706" y="2701"/>
                    </a:lnTo>
                    <a:lnTo>
                      <a:pt x="740" y="2751"/>
                    </a:lnTo>
                    <a:lnTo>
                      <a:pt x="773" y="2799"/>
                    </a:lnTo>
                    <a:lnTo>
                      <a:pt x="809" y="2847"/>
                    </a:lnTo>
                    <a:lnTo>
                      <a:pt x="843" y="2894"/>
                    </a:lnTo>
                    <a:lnTo>
                      <a:pt x="879" y="2940"/>
                    </a:lnTo>
                    <a:lnTo>
                      <a:pt x="915" y="2984"/>
                    </a:lnTo>
                    <a:lnTo>
                      <a:pt x="949" y="3027"/>
                    </a:lnTo>
                    <a:lnTo>
                      <a:pt x="984" y="3070"/>
                    </a:lnTo>
                    <a:lnTo>
                      <a:pt x="1030" y="3127"/>
                    </a:lnTo>
                    <a:lnTo>
                      <a:pt x="1074" y="3184"/>
                    </a:lnTo>
                    <a:lnTo>
                      <a:pt x="1115" y="3236"/>
                    </a:lnTo>
                    <a:lnTo>
                      <a:pt x="1152" y="3287"/>
                    </a:lnTo>
                    <a:lnTo>
                      <a:pt x="1168" y="3312"/>
                    </a:lnTo>
                    <a:lnTo>
                      <a:pt x="1183" y="3336"/>
                    </a:lnTo>
                    <a:lnTo>
                      <a:pt x="1197" y="3360"/>
                    </a:lnTo>
                    <a:lnTo>
                      <a:pt x="1210" y="3382"/>
                    </a:lnTo>
                    <a:lnTo>
                      <a:pt x="1221" y="3404"/>
                    </a:lnTo>
                    <a:lnTo>
                      <a:pt x="1230" y="3425"/>
                    </a:lnTo>
                    <a:lnTo>
                      <a:pt x="1237" y="3446"/>
                    </a:lnTo>
                    <a:lnTo>
                      <a:pt x="1243" y="3465"/>
                    </a:lnTo>
                    <a:lnTo>
                      <a:pt x="1247" y="3513"/>
                    </a:lnTo>
                    <a:lnTo>
                      <a:pt x="1250" y="3558"/>
                    </a:lnTo>
                    <a:lnTo>
                      <a:pt x="1253" y="3603"/>
                    </a:lnTo>
                    <a:lnTo>
                      <a:pt x="1251" y="3647"/>
                    </a:lnTo>
                    <a:lnTo>
                      <a:pt x="1249" y="3689"/>
                    </a:lnTo>
                    <a:lnTo>
                      <a:pt x="1245" y="3730"/>
                    </a:lnTo>
                    <a:lnTo>
                      <a:pt x="1240" y="3770"/>
                    </a:lnTo>
                    <a:lnTo>
                      <a:pt x="1232" y="3809"/>
                    </a:lnTo>
                    <a:lnTo>
                      <a:pt x="1222" y="3845"/>
                    </a:lnTo>
                    <a:lnTo>
                      <a:pt x="1210" y="3882"/>
                    </a:lnTo>
                    <a:lnTo>
                      <a:pt x="1197" y="3917"/>
                    </a:lnTo>
                    <a:lnTo>
                      <a:pt x="1182" y="3950"/>
                    </a:lnTo>
                    <a:lnTo>
                      <a:pt x="1175" y="3966"/>
                    </a:lnTo>
                    <a:lnTo>
                      <a:pt x="1166" y="3982"/>
                    </a:lnTo>
                    <a:lnTo>
                      <a:pt x="1156" y="3997"/>
                    </a:lnTo>
                    <a:lnTo>
                      <a:pt x="1147" y="4013"/>
                    </a:lnTo>
                    <a:lnTo>
                      <a:pt x="1137" y="4028"/>
                    </a:lnTo>
                    <a:lnTo>
                      <a:pt x="1127" y="4043"/>
                    </a:lnTo>
                    <a:lnTo>
                      <a:pt x="1115" y="4057"/>
                    </a:lnTo>
                    <a:lnTo>
                      <a:pt x="1105" y="4071"/>
                    </a:lnTo>
                    <a:lnTo>
                      <a:pt x="1084" y="4089"/>
                    </a:lnTo>
                    <a:lnTo>
                      <a:pt x="1064" y="4107"/>
                    </a:lnTo>
                    <a:lnTo>
                      <a:pt x="1042" y="4123"/>
                    </a:lnTo>
                    <a:lnTo>
                      <a:pt x="1021" y="4139"/>
                    </a:lnTo>
                    <a:lnTo>
                      <a:pt x="999" y="4154"/>
                    </a:lnTo>
                    <a:lnTo>
                      <a:pt x="977" y="4168"/>
                    </a:lnTo>
                    <a:lnTo>
                      <a:pt x="954" y="4182"/>
                    </a:lnTo>
                    <a:lnTo>
                      <a:pt x="932" y="4196"/>
                    </a:lnTo>
                    <a:lnTo>
                      <a:pt x="909" y="4209"/>
                    </a:lnTo>
                    <a:lnTo>
                      <a:pt x="885" y="4222"/>
                    </a:lnTo>
                    <a:lnTo>
                      <a:pt x="862" y="4234"/>
                    </a:lnTo>
                    <a:lnTo>
                      <a:pt x="838" y="4246"/>
                    </a:lnTo>
                    <a:lnTo>
                      <a:pt x="789" y="4267"/>
                    </a:lnTo>
                    <a:lnTo>
                      <a:pt x="741" y="4288"/>
                    </a:lnTo>
                    <a:lnTo>
                      <a:pt x="691" y="4307"/>
                    </a:lnTo>
                    <a:lnTo>
                      <a:pt x="640" y="4325"/>
                    </a:lnTo>
                    <a:lnTo>
                      <a:pt x="590" y="4342"/>
                    </a:lnTo>
                    <a:lnTo>
                      <a:pt x="538" y="4357"/>
                    </a:lnTo>
                    <a:lnTo>
                      <a:pt x="486" y="4372"/>
                    </a:lnTo>
                    <a:lnTo>
                      <a:pt x="435" y="4387"/>
                    </a:lnTo>
                    <a:lnTo>
                      <a:pt x="383" y="4401"/>
                    </a:lnTo>
                    <a:lnTo>
                      <a:pt x="331" y="4415"/>
                    </a:lnTo>
                    <a:lnTo>
                      <a:pt x="302" y="4423"/>
                    </a:lnTo>
                    <a:lnTo>
                      <a:pt x="273" y="4430"/>
                    </a:lnTo>
                    <a:lnTo>
                      <a:pt x="244" y="4439"/>
                    </a:lnTo>
                    <a:lnTo>
                      <a:pt x="215" y="4447"/>
                    </a:lnTo>
                    <a:lnTo>
                      <a:pt x="186" y="4455"/>
                    </a:lnTo>
                    <a:lnTo>
                      <a:pt x="157" y="4463"/>
                    </a:lnTo>
                    <a:lnTo>
                      <a:pt x="127" y="4471"/>
                    </a:lnTo>
                    <a:lnTo>
                      <a:pt x="98" y="4481"/>
                    </a:lnTo>
                    <a:lnTo>
                      <a:pt x="96" y="4481"/>
                    </a:lnTo>
                    <a:lnTo>
                      <a:pt x="94" y="4481"/>
                    </a:lnTo>
                    <a:lnTo>
                      <a:pt x="85" y="4482"/>
                    </a:lnTo>
                    <a:lnTo>
                      <a:pt x="74" y="4485"/>
                    </a:lnTo>
                    <a:lnTo>
                      <a:pt x="63" y="4490"/>
                    </a:lnTo>
                    <a:lnTo>
                      <a:pt x="52" y="4495"/>
                    </a:lnTo>
                    <a:lnTo>
                      <a:pt x="42" y="4502"/>
                    </a:lnTo>
                    <a:lnTo>
                      <a:pt x="34" y="4508"/>
                    </a:lnTo>
                    <a:lnTo>
                      <a:pt x="31" y="4512"/>
                    </a:lnTo>
                    <a:lnTo>
                      <a:pt x="29" y="4516"/>
                    </a:lnTo>
                    <a:lnTo>
                      <a:pt x="27" y="4519"/>
                    </a:lnTo>
                    <a:lnTo>
                      <a:pt x="27" y="4522"/>
                    </a:lnTo>
                    <a:lnTo>
                      <a:pt x="27" y="4525"/>
                    </a:lnTo>
                    <a:lnTo>
                      <a:pt x="32" y="4574"/>
                    </a:lnTo>
                    <a:lnTo>
                      <a:pt x="39" y="4625"/>
                    </a:lnTo>
                    <a:lnTo>
                      <a:pt x="46" y="4678"/>
                    </a:lnTo>
                    <a:lnTo>
                      <a:pt x="54" y="4730"/>
                    </a:lnTo>
                    <a:lnTo>
                      <a:pt x="64" y="4783"/>
                    </a:lnTo>
                    <a:lnTo>
                      <a:pt x="76" y="4835"/>
                    </a:lnTo>
                    <a:lnTo>
                      <a:pt x="82" y="4860"/>
                    </a:lnTo>
                    <a:lnTo>
                      <a:pt x="90" y="4885"/>
                    </a:lnTo>
                    <a:lnTo>
                      <a:pt x="97" y="4910"/>
                    </a:lnTo>
                    <a:lnTo>
                      <a:pt x="106" y="4933"/>
                    </a:lnTo>
                    <a:lnTo>
                      <a:pt x="115" y="4956"/>
                    </a:lnTo>
                    <a:lnTo>
                      <a:pt x="125" y="4978"/>
                    </a:lnTo>
                    <a:lnTo>
                      <a:pt x="136" y="4998"/>
                    </a:lnTo>
                    <a:lnTo>
                      <a:pt x="148" y="5018"/>
                    </a:lnTo>
                    <a:lnTo>
                      <a:pt x="160" y="5036"/>
                    </a:lnTo>
                    <a:lnTo>
                      <a:pt x="173" y="5053"/>
                    </a:lnTo>
                    <a:lnTo>
                      <a:pt x="187" y="5069"/>
                    </a:lnTo>
                    <a:lnTo>
                      <a:pt x="203" y="5083"/>
                    </a:lnTo>
                    <a:lnTo>
                      <a:pt x="218" y="5095"/>
                    </a:lnTo>
                    <a:lnTo>
                      <a:pt x="235" y="5106"/>
                    </a:lnTo>
                    <a:lnTo>
                      <a:pt x="254" y="5116"/>
                    </a:lnTo>
                    <a:lnTo>
                      <a:pt x="273" y="5122"/>
                    </a:lnTo>
                    <a:lnTo>
                      <a:pt x="294" y="5128"/>
                    </a:lnTo>
                    <a:lnTo>
                      <a:pt x="316" y="5131"/>
                    </a:lnTo>
                    <a:lnTo>
                      <a:pt x="339" y="5131"/>
                    </a:lnTo>
                    <a:lnTo>
                      <a:pt x="363" y="5130"/>
                    </a:lnTo>
                    <a:lnTo>
                      <a:pt x="399" y="5127"/>
                    </a:lnTo>
                    <a:lnTo>
                      <a:pt x="449" y="5123"/>
                    </a:lnTo>
                    <a:lnTo>
                      <a:pt x="510" y="5121"/>
                    </a:lnTo>
                    <a:lnTo>
                      <a:pt x="582" y="5119"/>
                    </a:lnTo>
                    <a:lnTo>
                      <a:pt x="663" y="5117"/>
                    </a:lnTo>
                    <a:lnTo>
                      <a:pt x="754" y="5116"/>
                    </a:lnTo>
                    <a:lnTo>
                      <a:pt x="852" y="5116"/>
                    </a:lnTo>
                    <a:lnTo>
                      <a:pt x="959" y="5116"/>
                    </a:lnTo>
                    <a:lnTo>
                      <a:pt x="1071" y="5117"/>
                    </a:lnTo>
                    <a:lnTo>
                      <a:pt x="1190" y="5119"/>
                    </a:lnTo>
                    <a:lnTo>
                      <a:pt x="1314" y="5122"/>
                    </a:lnTo>
                    <a:lnTo>
                      <a:pt x="1443" y="5126"/>
                    </a:lnTo>
                    <a:lnTo>
                      <a:pt x="1573" y="5130"/>
                    </a:lnTo>
                    <a:lnTo>
                      <a:pt x="1708" y="5136"/>
                    </a:lnTo>
                    <a:lnTo>
                      <a:pt x="1844" y="5143"/>
                    </a:lnTo>
                    <a:lnTo>
                      <a:pt x="1981" y="5150"/>
                    </a:lnTo>
                    <a:lnTo>
                      <a:pt x="2119" y="5160"/>
                    </a:lnTo>
                    <a:lnTo>
                      <a:pt x="2256" y="5170"/>
                    </a:lnTo>
                    <a:lnTo>
                      <a:pt x="2391" y="5182"/>
                    </a:lnTo>
                    <a:lnTo>
                      <a:pt x="2525" y="5196"/>
                    </a:lnTo>
                    <a:lnTo>
                      <a:pt x="2654" y="5210"/>
                    </a:lnTo>
                    <a:lnTo>
                      <a:pt x="2780" y="5226"/>
                    </a:lnTo>
                    <a:lnTo>
                      <a:pt x="2902" y="5244"/>
                    </a:lnTo>
                    <a:lnTo>
                      <a:pt x="3019" y="5264"/>
                    </a:lnTo>
                    <a:lnTo>
                      <a:pt x="3129" y="5285"/>
                    </a:lnTo>
                    <a:lnTo>
                      <a:pt x="3233" y="5308"/>
                    </a:lnTo>
                    <a:lnTo>
                      <a:pt x="3329" y="5333"/>
                    </a:lnTo>
                    <a:lnTo>
                      <a:pt x="3415" y="5360"/>
                    </a:lnTo>
                    <a:lnTo>
                      <a:pt x="3493" y="5388"/>
                    </a:lnTo>
                    <a:lnTo>
                      <a:pt x="3560" y="5419"/>
                    </a:lnTo>
                    <a:lnTo>
                      <a:pt x="3616" y="5452"/>
                    </a:lnTo>
                    <a:lnTo>
                      <a:pt x="3661" y="5486"/>
                    </a:lnTo>
                    <a:lnTo>
                      <a:pt x="3664" y="5490"/>
                    </a:lnTo>
                    <a:lnTo>
                      <a:pt x="3665" y="5496"/>
                    </a:lnTo>
                    <a:lnTo>
                      <a:pt x="3664" y="5501"/>
                    </a:lnTo>
                    <a:lnTo>
                      <a:pt x="3662" y="5506"/>
                    </a:lnTo>
                    <a:lnTo>
                      <a:pt x="3659" y="5508"/>
                    </a:lnTo>
                    <a:lnTo>
                      <a:pt x="3657" y="5509"/>
                    </a:lnTo>
                    <a:lnTo>
                      <a:pt x="3654" y="5510"/>
                    </a:lnTo>
                    <a:lnTo>
                      <a:pt x="3652" y="5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42"/>
              <p:cNvSpPr>
                <a:spLocks/>
              </p:cNvSpPr>
              <p:nvPr userDrawn="1"/>
            </p:nvSpPr>
            <p:spPr bwMode="auto">
              <a:xfrm>
                <a:off x="2541" y="1718"/>
                <a:ext cx="167" cy="1344"/>
              </a:xfrm>
              <a:custGeom>
                <a:avLst/>
                <a:gdLst>
                  <a:gd name="T0" fmla="*/ 216 w 503"/>
                  <a:gd name="T1" fmla="*/ 4002 h 4031"/>
                  <a:gd name="T2" fmla="*/ 158 w 503"/>
                  <a:gd name="T3" fmla="*/ 3922 h 4031"/>
                  <a:gd name="T4" fmla="*/ 127 w 503"/>
                  <a:gd name="T5" fmla="*/ 3834 h 4031"/>
                  <a:gd name="T6" fmla="*/ 102 w 503"/>
                  <a:gd name="T7" fmla="*/ 3712 h 4031"/>
                  <a:gd name="T8" fmla="*/ 70 w 503"/>
                  <a:gd name="T9" fmla="*/ 3470 h 4031"/>
                  <a:gd name="T10" fmla="*/ 54 w 503"/>
                  <a:gd name="T11" fmla="*/ 3192 h 4031"/>
                  <a:gd name="T12" fmla="*/ 34 w 503"/>
                  <a:gd name="T13" fmla="*/ 2915 h 4031"/>
                  <a:gd name="T14" fmla="*/ 4 w 503"/>
                  <a:gd name="T15" fmla="*/ 2696 h 4031"/>
                  <a:gd name="T16" fmla="*/ 6 w 503"/>
                  <a:gd name="T17" fmla="*/ 2538 h 4031"/>
                  <a:gd name="T18" fmla="*/ 38 w 503"/>
                  <a:gd name="T19" fmla="*/ 2405 h 4031"/>
                  <a:gd name="T20" fmla="*/ 95 w 503"/>
                  <a:gd name="T21" fmla="*/ 2302 h 4031"/>
                  <a:gd name="T22" fmla="*/ 213 w 503"/>
                  <a:gd name="T23" fmla="*/ 2134 h 4031"/>
                  <a:gd name="T24" fmla="*/ 352 w 503"/>
                  <a:gd name="T25" fmla="*/ 1906 h 4031"/>
                  <a:gd name="T26" fmla="*/ 426 w 503"/>
                  <a:gd name="T27" fmla="*/ 1738 h 4031"/>
                  <a:gd name="T28" fmla="*/ 460 w 503"/>
                  <a:gd name="T29" fmla="*/ 1611 h 4031"/>
                  <a:gd name="T30" fmla="*/ 476 w 503"/>
                  <a:gd name="T31" fmla="*/ 1464 h 4031"/>
                  <a:gd name="T32" fmla="*/ 458 w 503"/>
                  <a:gd name="T33" fmla="*/ 1271 h 4031"/>
                  <a:gd name="T34" fmla="*/ 420 w 503"/>
                  <a:gd name="T35" fmla="*/ 1083 h 4031"/>
                  <a:gd name="T36" fmla="*/ 366 w 503"/>
                  <a:gd name="T37" fmla="*/ 903 h 4031"/>
                  <a:gd name="T38" fmla="*/ 223 w 503"/>
                  <a:gd name="T39" fmla="*/ 564 h 4031"/>
                  <a:gd name="T40" fmla="*/ 125 w 503"/>
                  <a:gd name="T41" fmla="*/ 368 h 4031"/>
                  <a:gd name="T42" fmla="*/ 152 w 503"/>
                  <a:gd name="T43" fmla="*/ 333 h 4031"/>
                  <a:gd name="T44" fmla="*/ 173 w 503"/>
                  <a:gd name="T45" fmla="*/ 284 h 4031"/>
                  <a:gd name="T46" fmla="*/ 176 w 503"/>
                  <a:gd name="T47" fmla="*/ 233 h 4031"/>
                  <a:gd name="T48" fmla="*/ 157 w 503"/>
                  <a:gd name="T49" fmla="*/ 158 h 4031"/>
                  <a:gd name="T50" fmla="*/ 95 w 503"/>
                  <a:gd name="T51" fmla="*/ 45 h 4031"/>
                  <a:gd name="T52" fmla="*/ 86 w 503"/>
                  <a:gd name="T53" fmla="*/ 2 h 4031"/>
                  <a:gd name="T54" fmla="*/ 129 w 503"/>
                  <a:gd name="T55" fmla="*/ 46 h 4031"/>
                  <a:gd name="T56" fmla="*/ 194 w 503"/>
                  <a:gd name="T57" fmla="*/ 182 h 4031"/>
                  <a:gd name="T58" fmla="*/ 203 w 503"/>
                  <a:gd name="T59" fmla="*/ 243 h 4031"/>
                  <a:gd name="T60" fmla="*/ 196 w 503"/>
                  <a:gd name="T61" fmla="*/ 303 h 4031"/>
                  <a:gd name="T62" fmla="*/ 165 w 503"/>
                  <a:gd name="T63" fmla="*/ 361 h 4031"/>
                  <a:gd name="T64" fmla="*/ 282 w 503"/>
                  <a:gd name="T65" fmla="*/ 625 h 4031"/>
                  <a:gd name="T66" fmla="*/ 405 w 503"/>
                  <a:gd name="T67" fmla="*/ 936 h 4031"/>
                  <a:gd name="T68" fmla="*/ 457 w 503"/>
                  <a:gd name="T69" fmla="*/ 1119 h 4031"/>
                  <a:gd name="T70" fmla="*/ 491 w 503"/>
                  <a:gd name="T71" fmla="*/ 1309 h 4031"/>
                  <a:gd name="T72" fmla="*/ 503 w 503"/>
                  <a:gd name="T73" fmla="*/ 1504 h 4031"/>
                  <a:gd name="T74" fmla="*/ 482 w 503"/>
                  <a:gd name="T75" fmla="*/ 1641 h 4031"/>
                  <a:gd name="T76" fmla="*/ 443 w 503"/>
                  <a:gd name="T77" fmla="*/ 1771 h 4031"/>
                  <a:gd name="T78" fmla="*/ 351 w 503"/>
                  <a:gd name="T79" fmla="*/ 1964 h 4031"/>
                  <a:gd name="T80" fmla="*/ 204 w 503"/>
                  <a:gd name="T81" fmla="*/ 2194 h 4031"/>
                  <a:gd name="T82" fmla="*/ 106 w 503"/>
                  <a:gd name="T83" fmla="*/ 2333 h 4031"/>
                  <a:gd name="T84" fmla="*/ 54 w 503"/>
                  <a:gd name="T85" fmla="*/ 2440 h 4031"/>
                  <a:gd name="T86" fmla="*/ 30 w 503"/>
                  <a:gd name="T87" fmla="*/ 2572 h 4031"/>
                  <a:gd name="T88" fmla="*/ 34 w 503"/>
                  <a:gd name="T89" fmla="*/ 2728 h 4031"/>
                  <a:gd name="T90" fmla="*/ 66 w 503"/>
                  <a:gd name="T91" fmla="*/ 2968 h 4031"/>
                  <a:gd name="T92" fmla="*/ 85 w 503"/>
                  <a:gd name="T93" fmla="*/ 3246 h 4031"/>
                  <a:gd name="T94" fmla="*/ 102 w 503"/>
                  <a:gd name="T95" fmla="*/ 3524 h 4031"/>
                  <a:gd name="T96" fmla="*/ 132 w 503"/>
                  <a:gd name="T97" fmla="*/ 3722 h 4031"/>
                  <a:gd name="T98" fmla="*/ 157 w 503"/>
                  <a:gd name="T99" fmla="*/ 3843 h 4031"/>
                  <a:gd name="T100" fmla="*/ 189 w 503"/>
                  <a:gd name="T101" fmla="*/ 3924 h 4031"/>
                  <a:gd name="T102" fmla="*/ 249 w 503"/>
                  <a:gd name="T103" fmla="*/ 3994 h 4031"/>
                  <a:gd name="T104" fmla="*/ 269 w 503"/>
                  <a:gd name="T105" fmla="*/ 4026 h 4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3" h="4031">
                    <a:moveTo>
                      <a:pt x="257" y="4031"/>
                    </a:moveTo>
                    <a:lnTo>
                      <a:pt x="254" y="4031"/>
                    </a:lnTo>
                    <a:lnTo>
                      <a:pt x="250" y="4029"/>
                    </a:lnTo>
                    <a:lnTo>
                      <a:pt x="233" y="4016"/>
                    </a:lnTo>
                    <a:lnTo>
                      <a:pt x="216" y="4002"/>
                    </a:lnTo>
                    <a:lnTo>
                      <a:pt x="201" y="3987"/>
                    </a:lnTo>
                    <a:lnTo>
                      <a:pt x="188" y="3972"/>
                    </a:lnTo>
                    <a:lnTo>
                      <a:pt x="177" y="3956"/>
                    </a:lnTo>
                    <a:lnTo>
                      <a:pt x="167" y="3938"/>
                    </a:lnTo>
                    <a:lnTo>
                      <a:pt x="158" y="3922"/>
                    </a:lnTo>
                    <a:lnTo>
                      <a:pt x="150" y="3905"/>
                    </a:lnTo>
                    <a:lnTo>
                      <a:pt x="143" y="3887"/>
                    </a:lnTo>
                    <a:lnTo>
                      <a:pt x="136" y="3869"/>
                    </a:lnTo>
                    <a:lnTo>
                      <a:pt x="132" y="3851"/>
                    </a:lnTo>
                    <a:lnTo>
                      <a:pt x="127" y="3834"/>
                    </a:lnTo>
                    <a:lnTo>
                      <a:pt x="119" y="3798"/>
                    </a:lnTo>
                    <a:lnTo>
                      <a:pt x="112" y="3762"/>
                    </a:lnTo>
                    <a:lnTo>
                      <a:pt x="108" y="3745"/>
                    </a:lnTo>
                    <a:lnTo>
                      <a:pt x="105" y="3728"/>
                    </a:lnTo>
                    <a:lnTo>
                      <a:pt x="102" y="3712"/>
                    </a:lnTo>
                    <a:lnTo>
                      <a:pt x="98" y="3696"/>
                    </a:lnTo>
                    <a:lnTo>
                      <a:pt x="89" y="3639"/>
                    </a:lnTo>
                    <a:lnTo>
                      <a:pt x="81" y="3583"/>
                    </a:lnTo>
                    <a:lnTo>
                      <a:pt x="75" y="3527"/>
                    </a:lnTo>
                    <a:lnTo>
                      <a:pt x="70" y="3470"/>
                    </a:lnTo>
                    <a:lnTo>
                      <a:pt x="66" y="3414"/>
                    </a:lnTo>
                    <a:lnTo>
                      <a:pt x="62" y="3359"/>
                    </a:lnTo>
                    <a:lnTo>
                      <a:pt x="60" y="3302"/>
                    </a:lnTo>
                    <a:lnTo>
                      <a:pt x="58" y="3247"/>
                    </a:lnTo>
                    <a:lnTo>
                      <a:pt x="54" y="3192"/>
                    </a:lnTo>
                    <a:lnTo>
                      <a:pt x="52" y="3137"/>
                    </a:lnTo>
                    <a:lnTo>
                      <a:pt x="49" y="3082"/>
                    </a:lnTo>
                    <a:lnTo>
                      <a:pt x="45" y="3026"/>
                    </a:lnTo>
                    <a:lnTo>
                      <a:pt x="39" y="2971"/>
                    </a:lnTo>
                    <a:lnTo>
                      <a:pt x="34" y="2915"/>
                    </a:lnTo>
                    <a:lnTo>
                      <a:pt x="26" y="2859"/>
                    </a:lnTo>
                    <a:lnTo>
                      <a:pt x="17" y="2804"/>
                    </a:lnTo>
                    <a:lnTo>
                      <a:pt x="11" y="2767"/>
                    </a:lnTo>
                    <a:lnTo>
                      <a:pt x="7" y="2730"/>
                    </a:lnTo>
                    <a:lnTo>
                      <a:pt x="4" y="2696"/>
                    </a:lnTo>
                    <a:lnTo>
                      <a:pt x="1" y="2662"/>
                    </a:lnTo>
                    <a:lnTo>
                      <a:pt x="0" y="2630"/>
                    </a:lnTo>
                    <a:lnTo>
                      <a:pt x="0" y="2599"/>
                    </a:lnTo>
                    <a:lnTo>
                      <a:pt x="3" y="2568"/>
                    </a:lnTo>
                    <a:lnTo>
                      <a:pt x="6" y="2538"/>
                    </a:lnTo>
                    <a:lnTo>
                      <a:pt x="9" y="2510"/>
                    </a:lnTo>
                    <a:lnTo>
                      <a:pt x="14" y="2483"/>
                    </a:lnTo>
                    <a:lnTo>
                      <a:pt x="21" y="2456"/>
                    </a:lnTo>
                    <a:lnTo>
                      <a:pt x="28" y="2430"/>
                    </a:lnTo>
                    <a:lnTo>
                      <a:pt x="38" y="2405"/>
                    </a:lnTo>
                    <a:lnTo>
                      <a:pt x="48" y="2381"/>
                    </a:lnTo>
                    <a:lnTo>
                      <a:pt x="60" y="2358"/>
                    </a:lnTo>
                    <a:lnTo>
                      <a:pt x="73" y="2335"/>
                    </a:lnTo>
                    <a:lnTo>
                      <a:pt x="85" y="2318"/>
                    </a:lnTo>
                    <a:lnTo>
                      <a:pt x="95" y="2302"/>
                    </a:lnTo>
                    <a:lnTo>
                      <a:pt x="107" y="2286"/>
                    </a:lnTo>
                    <a:lnTo>
                      <a:pt x="118" y="2269"/>
                    </a:lnTo>
                    <a:lnTo>
                      <a:pt x="150" y="2224"/>
                    </a:lnTo>
                    <a:lnTo>
                      <a:pt x="182" y="2180"/>
                    </a:lnTo>
                    <a:lnTo>
                      <a:pt x="213" y="2134"/>
                    </a:lnTo>
                    <a:lnTo>
                      <a:pt x="243" y="2089"/>
                    </a:lnTo>
                    <a:lnTo>
                      <a:pt x="273" y="2044"/>
                    </a:lnTo>
                    <a:lnTo>
                      <a:pt x="301" y="1998"/>
                    </a:lnTo>
                    <a:lnTo>
                      <a:pt x="326" y="1952"/>
                    </a:lnTo>
                    <a:lnTo>
                      <a:pt x="352" y="1906"/>
                    </a:lnTo>
                    <a:lnTo>
                      <a:pt x="376" y="1859"/>
                    </a:lnTo>
                    <a:lnTo>
                      <a:pt x="397" y="1812"/>
                    </a:lnTo>
                    <a:lnTo>
                      <a:pt x="407" y="1787"/>
                    </a:lnTo>
                    <a:lnTo>
                      <a:pt x="417" y="1763"/>
                    </a:lnTo>
                    <a:lnTo>
                      <a:pt x="426" y="1738"/>
                    </a:lnTo>
                    <a:lnTo>
                      <a:pt x="433" y="1713"/>
                    </a:lnTo>
                    <a:lnTo>
                      <a:pt x="442" y="1689"/>
                    </a:lnTo>
                    <a:lnTo>
                      <a:pt x="449" y="1663"/>
                    </a:lnTo>
                    <a:lnTo>
                      <a:pt x="455" y="1637"/>
                    </a:lnTo>
                    <a:lnTo>
                      <a:pt x="460" y="1611"/>
                    </a:lnTo>
                    <a:lnTo>
                      <a:pt x="466" y="1585"/>
                    </a:lnTo>
                    <a:lnTo>
                      <a:pt x="470" y="1558"/>
                    </a:lnTo>
                    <a:lnTo>
                      <a:pt x="473" y="1531"/>
                    </a:lnTo>
                    <a:lnTo>
                      <a:pt x="476" y="1503"/>
                    </a:lnTo>
                    <a:lnTo>
                      <a:pt x="476" y="1464"/>
                    </a:lnTo>
                    <a:lnTo>
                      <a:pt x="474" y="1425"/>
                    </a:lnTo>
                    <a:lnTo>
                      <a:pt x="471" y="1386"/>
                    </a:lnTo>
                    <a:lnTo>
                      <a:pt x="468" y="1347"/>
                    </a:lnTo>
                    <a:lnTo>
                      <a:pt x="464" y="1309"/>
                    </a:lnTo>
                    <a:lnTo>
                      <a:pt x="458" y="1271"/>
                    </a:lnTo>
                    <a:lnTo>
                      <a:pt x="453" y="1233"/>
                    </a:lnTo>
                    <a:lnTo>
                      <a:pt x="445" y="1195"/>
                    </a:lnTo>
                    <a:lnTo>
                      <a:pt x="438" y="1157"/>
                    </a:lnTo>
                    <a:lnTo>
                      <a:pt x="430" y="1120"/>
                    </a:lnTo>
                    <a:lnTo>
                      <a:pt x="420" y="1083"/>
                    </a:lnTo>
                    <a:lnTo>
                      <a:pt x="411" y="1046"/>
                    </a:lnTo>
                    <a:lnTo>
                      <a:pt x="401" y="1010"/>
                    </a:lnTo>
                    <a:lnTo>
                      <a:pt x="389" y="974"/>
                    </a:lnTo>
                    <a:lnTo>
                      <a:pt x="378" y="938"/>
                    </a:lnTo>
                    <a:lnTo>
                      <a:pt x="366" y="903"/>
                    </a:lnTo>
                    <a:lnTo>
                      <a:pt x="341" y="833"/>
                    </a:lnTo>
                    <a:lnTo>
                      <a:pt x="312" y="763"/>
                    </a:lnTo>
                    <a:lnTo>
                      <a:pt x="284" y="695"/>
                    </a:lnTo>
                    <a:lnTo>
                      <a:pt x="254" y="629"/>
                    </a:lnTo>
                    <a:lnTo>
                      <a:pt x="223" y="564"/>
                    </a:lnTo>
                    <a:lnTo>
                      <a:pt x="190" y="500"/>
                    </a:lnTo>
                    <a:lnTo>
                      <a:pt x="159" y="437"/>
                    </a:lnTo>
                    <a:lnTo>
                      <a:pt x="127" y="376"/>
                    </a:lnTo>
                    <a:lnTo>
                      <a:pt x="125" y="372"/>
                    </a:lnTo>
                    <a:lnTo>
                      <a:pt x="125" y="368"/>
                    </a:lnTo>
                    <a:lnTo>
                      <a:pt x="126" y="364"/>
                    </a:lnTo>
                    <a:lnTo>
                      <a:pt x="129" y="361"/>
                    </a:lnTo>
                    <a:lnTo>
                      <a:pt x="138" y="351"/>
                    </a:lnTo>
                    <a:lnTo>
                      <a:pt x="145" y="342"/>
                    </a:lnTo>
                    <a:lnTo>
                      <a:pt x="152" y="333"/>
                    </a:lnTo>
                    <a:lnTo>
                      <a:pt x="157" y="323"/>
                    </a:lnTo>
                    <a:lnTo>
                      <a:pt x="162" y="313"/>
                    </a:lnTo>
                    <a:lnTo>
                      <a:pt x="167" y="304"/>
                    </a:lnTo>
                    <a:lnTo>
                      <a:pt x="170" y="294"/>
                    </a:lnTo>
                    <a:lnTo>
                      <a:pt x="173" y="284"/>
                    </a:lnTo>
                    <a:lnTo>
                      <a:pt x="175" y="274"/>
                    </a:lnTo>
                    <a:lnTo>
                      <a:pt x="176" y="264"/>
                    </a:lnTo>
                    <a:lnTo>
                      <a:pt x="176" y="254"/>
                    </a:lnTo>
                    <a:lnTo>
                      <a:pt x="176" y="243"/>
                    </a:lnTo>
                    <a:lnTo>
                      <a:pt x="176" y="233"/>
                    </a:lnTo>
                    <a:lnTo>
                      <a:pt x="175" y="223"/>
                    </a:lnTo>
                    <a:lnTo>
                      <a:pt x="173" y="212"/>
                    </a:lnTo>
                    <a:lnTo>
                      <a:pt x="171" y="201"/>
                    </a:lnTo>
                    <a:lnTo>
                      <a:pt x="165" y="179"/>
                    </a:lnTo>
                    <a:lnTo>
                      <a:pt x="157" y="158"/>
                    </a:lnTo>
                    <a:lnTo>
                      <a:pt x="147" y="135"/>
                    </a:lnTo>
                    <a:lnTo>
                      <a:pt x="135" y="113"/>
                    </a:lnTo>
                    <a:lnTo>
                      <a:pt x="123" y="90"/>
                    </a:lnTo>
                    <a:lnTo>
                      <a:pt x="111" y="67"/>
                    </a:lnTo>
                    <a:lnTo>
                      <a:pt x="95" y="45"/>
                    </a:lnTo>
                    <a:lnTo>
                      <a:pt x="81" y="21"/>
                    </a:lnTo>
                    <a:lnTo>
                      <a:pt x="79" y="15"/>
                    </a:lnTo>
                    <a:lnTo>
                      <a:pt x="79" y="11"/>
                    </a:lnTo>
                    <a:lnTo>
                      <a:pt x="81" y="6"/>
                    </a:lnTo>
                    <a:lnTo>
                      <a:pt x="86" y="2"/>
                    </a:lnTo>
                    <a:lnTo>
                      <a:pt x="90" y="0"/>
                    </a:lnTo>
                    <a:lnTo>
                      <a:pt x="95" y="0"/>
                    </a:lnTo>
                    <a:lnTo>
                      <a:pt x="100" y="2"/>
                    </a:lnTo>
                    <a:lnTo>
                      <a:pt x="104" y="7"/>
                    </a:lnTo>
                    <a:lnTo>
                      <a:pt x="129" y="46"/>
                    </a:lnTo>
                    <a:lnTo>
                      <a:pt x="154" y="89"/>
                    </a:lnTo>
                    <a:lnTo>
                      <a:pt x="166" y="111"/>
                    </a:lnTo>
                    <a:lnTo>
                      <a:pt x="176" y="134"/>
                    </a:lnTo>
                    <a:lnTo>
                      <a:pt x="186" y="158"/>
                    </a:lnTo>
                    <a:lnTo>
                      <a:pt x="194" y="182"/>
                    </a:lnTo>
                    <a:lnTo>
                      <a:pt x="197" y="195"/>
                    </a:lnTo>
                    <a:lnTo>
                      <a:pt x="199" y="206"/>
                    </a:lnTo>
                    <a:lnTo>
                      <a:pt x="201" y="218"/>
                    </a:lnTo>
                    <a:lnTo>
                      <a:pt x="203" y="230"/>
                    </a:lnTo>
                    <a:lnTo>
                      <a:pt x="203" y="243"/>
                    </a:lnTo>
                    <a:lnTo>
                      <a:pt x="203" y="255"/>
                    </a:lnTo>
                    <a:lnTo>
                      <a:pt x="203" y="267"/>
                    </a:lnTo>
                    <a:lnTo>
                      <a:pt x="201" y="279"/>
                    </a:lnTo>
                    <a:lnTo>
                      <a:pt x="199" y="291"/>
                    </a:lnTo>
                    <a:lnTo>
                      <a:pt x="196" y="303"/>
                    </a:lnTo>
                    <a:lnTo>
                      <a:pt x="192" y="314"/>
                    </a:lnTo>
                    <a:lnTo>
                      <a:pt x="186" y="326"/>
                    </a:lnTo>
                    <a:lnTo>
                      <a:pt x="180" y="338"/>
                    </a:lnTo>
                    <a:lnTo>
                      <a:pt x="173" y="350"/>
                    </a:lnTo>
                    <a:lnTo>
                      <a:pt x="165" y="361"/>
                    </a:lnTo>
                    <a:lnTo>
                      <a:pt x="155" y="372"/>
                    </a:lnTo>
                    <a:lnTo>
                      <a:pt x="187" y="433"/>
                    </a:lnTo>
                    <a:lnTo>
                      <a:pt x="220" y="496"/>
                    </a:lnTo>
                    <a:lnTo>
                      <a:pt x="251" y="559"/>
                    </a:lnTo>
                    <a:lnTo>
                      <a:pt x="282" y="625"/>
                    </a:lnTo>
                    <a:lnTo>
                      <a:pt x="312" y="692"/>
                    </a:lnTo>
                    <a:lnTo>
                      <a:pt x="341" y="760"/>
                    </a:lnTo>
                    <a:lnTo>
                      <a:pt x="369" y="829"/>
                    </a:lnTo>
                    <a:lnTo>
                      <a:pt x="393" y="899"/>
                    </a:lnTo>
                    <a:lnTo>
                      <a:pt x="405" y="936"/>
                    </a:lnTo>
                    <a:lnTo>
                      <a:pt x="417" y="972"/>
                    </a:lnTo>
                    <a:lnTo>
                      <a:pt x="428" y="1009"/>
                    </a:lnTo>
                    <a:lnTo>
                      <a:pt x="439" y="1045"/>
                    </a:lnTo>
                    <a:lnTo>
                      <a:pt x="449" y="1082"/>
                    </a:lnTo>
                    <a:lnTo>
                      <a:pt x="457" y="1119"/>
                    </a:lnTo>
                    <a:lnTo>
                      <a:pt x="466" y="1156"/>
                    </a:lnTo>
                    <a:lnTo>
                      <a:pt x="473" y="1194"/>
                    </a:lnTo>
                    <a:lnTo>
                      <a:pt x="480" y="1232"/>
                    </a:lnTo>
                    <a:lnTo>
                      <a:pt x="485" y="1270"/>
                    </a:lnTo>
                    <a:lnTo>
                      <a:pt x="491" y="1309"/>
                    </a:lnTo>
                    <a:lnTo>
                      <a:pt x="495" y="1347"/>
                    </a:lnTo>
                    <a:lnTo>
                      <a:pt x="498" y="1386"/>
                    </a:lnTo>
                    <a:lnTo>
                      <a:pt x="501" y="1425"/>
                    </a:lnTo>
                    <a:lnTo>
                      <a:pt x="503" y="1465"/>
                    </a:lnTo>
                    <a:lnTo>
                      <a:pt x="503" y="1504"/>
                    </a:lnTo>
                    <a:lnTo>
                      <a:pt x="500" y="1533"/>
                    </a:lnTo>
                    <a:lnTo>
                      <a:pt x="497" y="1560"/>
                    </a:lnTo>
                    <a:lnTo>
                      <a:pt x="493" y="1588"/>
                    </a:lnTo>
                    <a:lnTo>
                      <a:pt x="487" y="1615"/>
                    </a:lnTo>
                    <a:lnTo>
                      <a:pt x="482" y="1641"/>
                    </a:lnTo>
                    <a:lnTo>
                      <a:pt x="476" y="1668"/>
                    </a:lnTo>
                    <a:lnTo>
                      <a:pt x="468" y="1694"/>
                    </a:lnTo>
                    <a:lnTo>
                      <a:pt x="460" y="1720"/>
                    </a:lnTo>
                    <a:lnTo>
                      <a:pt x="452" y="1745"/>
                    </a:lnTo>
                    <a:lnTo>
                      <a:pt x="443" y="1771"/>
                    </a:lnTo>
                    <a:lnTo>
                      <a:pt x="433" y="1795"/>
                    </a:lnTo>
                    <a:lnTo>
                      <a:pt x="423" y="1820"/>
                    </a:lnTo>
                    <a:lnTo>
                      <a:pt x="401" y="1869"/>
                    </a:lnTo>
                    <a:lnTo>
                      <a:pt x="377" y="1916"/>
                    </a:lnTo>
                    <a:lnTo>
                      <a:pt x="351" y="1964"/>
                    </a:lnTo>
                    <a:lnTo>
                      <a:pt x="324" y="2010"/>
                    </a:lnTo>
                    <a:lnTo>
                      <a:pt x="296" y="2057"/>
                    </a:lnTo>
                    <a:lnTo>
                      <a:pt x="267" y="2102"/>
                    </a:lnTo>
                    <a:lnTo>
                      <a:pt x="236" y="2148"/>
                    </a:lnTo>
                    <a:lnTo>
                      <a:pt x="204" y="2194"/>
                    </a:lnTo>
                    <a:lnTo>
                      <a:pt x="173" y="2239"/>
                    </a:lnTo>
                    <a:lnTo>
                      <a:pt x="141" y="2286"/>
                    </a:lnTo>
                    <a:lnTo>
                      <a:pt x="129" y="2302"/>
                    </a:lnTo>
                    <a:lnTo>
                      <a:pt x="118" y="2317"/>
                    </a:lnTo>
                    <a:lnTo>
                      <a:pt x="106" y="2333"/>
                    </a:lnTo>
                    <a:lnTo>
                      <a:pt x="95" y="2349"/>
                    </a:lnTo>
                    <a:lnTo>
                      <a:pt x="84" y="2371"/>
                    </a:lnTo>
                    <a:lnTo>
                      <a:pt x="73" y="2393"/>
                    </a:lnTo>
                    <a:lnTo>
                      <a:pt x="63" y="2416"/>
                    </a:lnTo>
                    <a:lnTo>
                      <a:pt x="54" y="2440"/>
                    </a:lnTo>
                    <a:lnTo>
                      <a:pt x="47" y="2465"/>
                    </a:lnTo>
                    <a:lnTo>
                      <a:pt x="40" y="2491"/>
                    </a:lnTo>
                    <a:lnTo>
                      <a:pt x="36" y="2517"/>
                    </a:lnTo>
                    <a:lnTo>
                      <a:pt x="32" y="2544"/>
                    </a:lnTo>
                    <a:lnTo>
                      <a:pt x="30" y="2572"/>
                    </a:lnTo>
                    <a:lnTo>
                      <a:pt x="27" y="2601"/>
                    </a:lnTo>
                    <a:lnTo>
                      <a:pt x="27" y="2632"/>
                    </a:lnTo>
                    <a:lnTo>
                      <a:pt x="28" y="2662"/>
                    </a:lnTo>
                    <a:lnTo>
                      <a:pt x="31" y="2695"/>
                    </a:lnTo>
                    <a:lnTo>
                      <a:pt x="34" y="2728"/>
                    </a:lnTo>
                    <a:lnTo>
                      <a:pt x="38" y="2763"/>
                    </a:lnTo>
                    <a:lnTo>
                      <a:pt x="44" y="2799"/>
                    </a:lnTo>
                    <a:lnTo>
                      <a:pt x="52" y="2856"/>
                    </a:lnTo>
                    <a:lnTo>
                      <a:pt x="60" y="2912"/>
                    </a:lnTo>
                    <a:lnTo>
                      <a:pt x="66" y="2968"/>
                    </a:lnTo>
                    <a:lnTo>
                      <a:pt x="72" y="3024"/>
                    </a:lnTo>
                    <a:lnTo>
                      <a:pt x="76" y="3080"/>
                    </a:lnTo>
                    <a:lnTo>
                      <a:pt x="79" y="3135"/>
                    </a:lnTo>
                    <a:lnTo>
                      <a:pt x="81" y="3191"/>
                    </a:lnTo>
                    <a:lnTo>
                      <a:pt x="85" y="3246"/>
                    </a:lnTo>
                    <a:lnTo>
                      <a:pt x="87" y="3301"/>
                    </a:lnTo>
                    <a:lnTo>
                      <a:pt x="89" y="3356"/>
                    </a:lnTo>
                    <a:lnTo>
                      <a:pt x="92" y="3411"/>
                    </a:lnTo>
                    <a:lnTo>
                      <a:pt x="96" y="3468"/>
                    </a:lnTo>
                    <a:lnTo>
                      <a:pt x="102" y="3524"/>
                    </a:lnTo>
                    <a:lnTo>
                      <a:pt x="107" y="3579"/>
                    </a:lnTo>
                    <a:lnTo>
                      <a:pt x="115" y="3635"/>
                    </a:lnTo>
                    <a:lnTo>
                      <a:pt x="125" y="3690"/>
                    </a:lnTo>
                    <a:lnTo>
                      <a:pt x="128" y="3706"/>
                    </a:lnTo>
                    <a:lnTo>
                      <a:pt x="132" y="3722"/>
                    </a:lnTo>
                    <a:lnTo>
                      <a:pt x="135" y="3740"/>
                    </a:lnTo>
                    <a:lnTo>
                      <a:pt x="139" y="3757"/>
                    </a:lnTo>
                    <a:lnTo>
                      <a:pt x="145" y="3791"/>
                    </a:lnTo>
                    <a:lnTo>
                      <a:pt x="153" y="3826"/>
                    </a:lnTo>
                    <a:lnTo>
                      <a:pt x="157" y="3843"/>
                    </a:lnTo>
                    <a:lnTo>
                      <a:pt x="162" y="3861"/>
                    </a:lnTo>
                    <a:lnTo>
                      <a:pt x="168" y="3877"/>
                    </a:lnTo>
                    <a:lnTo>
                      <a:pt x="174" y="3893"/>
                    </a:lnTo>
                    <a:lnTo>
                      <a:pt x="182" y="3909"/>
                    </a:lnTo>
                    <a:lnTo>
                      <a:pt x="189" y="3924"/>
                    </a:lnTo>
                    <a:lnTo>
                      <a:pt x="199" y="3939"/>
                    </a:lnTo>
                    <a:lnTo>
                      <a:pt x="210" y="3954"/>
                    </a:lnTo>
                    <a:lnTo>
                      <a:pt x="222" y="3968"/>
                    </a:lnTo>
                    <a:lnTo>
                      <a:pt x="235" y="3981"/>
                    </a:lnTo>
                    <a:lnTo>
                      <a:pt x="249" y="3994"/>
                    </a:lnTo>
                    <a:lnTo>
                      <a:pt x="265" y="4006"/>
                    </a:lnTo>
                    <a:lnTo>
                      <a:pt x="269" y="4011"/>
                    </a:lnTo>
                    <a:lnTo>
                      <a:pt x="271" y="4015"/>
                    </a:lnTo>
                    <a:lnTo>
                      <a:pt x="270" y="4020"/>
                    </a:lnTo>
                    <a:lnTo>
                      <a:pt x="269" y="4026"/>
                    </a:lnTo>
                    <a:lnTo>
                      <a:pt x="266" y="4028"/>
                    </a:lnTo>
                    <a:lnTo>
                      <a:pt x="264" y="4030"/>
                    </a:lnTo>
                    <a:lnTo>
                      <a:pt x="261" y="4031"/>
                    </a:lnTo>
                    <a:lnTo>
                      <a:pt x="257" y="40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43"/>
              <p:cNvSpPr>
                <a:spLocks noEditPoints="1"/>
              </p:cNvSpPr>
              <p:nvPr userDrawn="1"/>
            </p:nvSpPr>
            <p:spPr bwMode="auto">
              <a:xfrm>
                <a:off x="2438" y="2509"/>
                <a:ext cx="216" cy="648"/>
              </a:xfrm>
              <a:custGeom>
                <a:avLst/>
                <a:gdLst>
                  <a:gd name="T0" fmla="*/ 30 w 649"/>
                  <a:gd name="T1" fmla="*/ 1944 h 1946"/>
                  <a:gd name="T2" fmla="*/ 18 w 649"/>
                  <a:gd name="T3" fmla="*/ 1874 h 1946"/>
                  <a:gd name="T4" fmla="*/ 2 w 649"/>
                  <a:gd name="T5" fmla="*/ 1631 h 1946"/>
                  <a:gd name="T6" fmla="*/ 3 w 649"/>
                  <a:gd name="T7" fmla="*/ 1394 h 1946"/>
                  <a:gd name="T8" fmla="*/ 28 w 649"/>
                  <a:gd name="T9" fmla="*/ 1154 h 1946"/>
                  <a:gd name="T10" fmla="*/ 74 w 649"/>
                  <a:gd name="T11" fmla="*/ 909 h 1946"/>
                  <a:gd name="T12" fmla="*/ 133 w 649"/>
                  <a:gd name="T13" fmla="*/ 671 h 1946"/>
                  <a:gd name="T14" fmla="*/ 214 w 649"/>
                  <a:gd name="T15" fmla="*/ 401 h 1946"/>
                  <a:gd name="T16" fmla="*/ 324 w 649"/>
                  <a:gd name="T17" fmla="*/ 92 h 1946"/>
                  <a:gd name="T18" fmla="*/ 359 w 649"/>
                  <a:gd name="T19" fmla="*/ 3 h 1946"/>
                  <a:gd name="T20" fmla="*/ 378 w 649"/>
                  <a:gd name="T21" fmla="*/ 2 h 1946"/>
                  <a:gd name="T22" fmla="*/ 381 w 649"/>
                  <a:gd name="T23" fmla="*/ 30 h 1946"/>
                  <a:gd name="T24" fmla="*/ 363 w 649"/>
                  <a:gd name="T25" fmla="*/ 177 h 1946"/>
                  <a:gd name="T26" fmla="*/ 357 w 649"/>
                  <a:gd name="T27" fmla="*/ 327 h 1946"/>
                  <a:gd name="T28" fmla="*/ 363 w 649"/>
                  <a:gd name="T29" fmla="*/ 517 h 1946"/>
                  <a:gd name="T30" fmla="*/ 394 w 649"/>
                  <a:gd name="T31" fmla="*/ 817 h 1946"/>
                  <a:gd name="T32" fmla="*/ 410 w 649"/>
                  <a:gd name="T33" fmla="*/ 978 h 1946"/>
                  <a:gd name="T34" fmla="*/ 428 w 649"/>
                  <a:gd name="T35" fmla="*/ 1179 h 1946"/>
                  <a:gd name="T36" fmla="*/ 470 w 649"/>
                  <a:gd name="T37" fmla="*/ 1400 h 1946"/>
                  <a:gd name="T38" fmla="*/ 529 w 649"/>
                  <a:gd name="T39" fmla="*/ 1568 h 1946"/>
                  <a:gd name="T40" fmla="*/ 595 w 649"/>
                  <a:gd name="T41" fmla="*/ 1685 h 1946"/>
                  <a:gd name="T42" fmla="*/ 646 w 649"/>
                  <a:gd name="T43" fmla="*/ 1740 h 1946"/>
                  <a:gd name="T44" fmla="*/ 647 w 649"/>
                  <a:gd name="T45" fmla="*/ 1754 h 1946"/>
                  <a:gd name="T46" fmla="*/ 617 w 649"/>
                  <a:gd name="T47" fmla="*/ 1767 h 1946"/>
                  <a:gd name="T48" fmla="*/ 527 w 649"/>
                  <a:gd name="T49" fmla="*/ 1788 h 1946"/>
                  <a:gd name="T50" fmla="*/ 402 w 649"/>
                  <a:gd name="T51" fmla="*/ 1812 h 1946"/>
                  <a:gd name="T52" fmla="*/ 214 w 649"/>
                  <a:gd name="T53" fmla="*/ 1860 h 1946"/>
                  <a:gd name="T54" fmla="*/ 114 w 649"/>
                  <a:gd name="T55" fmla="*/ 1902 h 1946"/>
                  <a:gd name="T56" fmla="*/ 43 w 649"/>
                  <a:gd name="T57" fmla="*/ 1946 h 1946"/>
                  <a:gd name="T58" fmla="*/ 325 w 649"/>
                  <a:gd name="T59" fmla="*/ 166 h 1946"/>
                  <a:gd name="T60" fmla="*/ 232 w 649"/>
                  <a:gd name="T61" fmla="*/ 436 h 1946"/>
                  <a:gd name="T62" fmla="*/ 131 w 649"/>
                  <a:gd name="T63" fmla="*/ 787 h 1946"/>
                  <a:gd name="T64" fmla="*/ 77 w 649"/>
                  <a:gd name="T65" fmla="*/ 1026 h 1946"/>
                  <a:gd name="T66" fmla="*/ 46 w 649"/>
                  <a:gd name="T67" fmla="*/ 1219 h 1946"/>
                  <a:gd name="T68" fmla="*/ 29 w 649"/>
                  <a:gd name="T69" fmla="*/ 1406 h 1946"/>
                  <a:gd name="T70" fmla="*/ 29 w 649"/>
                  <a:gd name="T71" fmla="*/ 1621 h 1946"/>
                  <a:gd name="T72" fmla="*/ 43 w 649"/>
                  <a:gd name="T73" fmla="*/ 1851 h 1946"/>
                  <a:gd name="T74" fmla="*/ 117 w 649"/>
                  <a:gd name="T75" fmla="*/ 1870 h 1946"/>
                  <a:gd name="T76" fmla="*/ 216 w 649"/>
                  <a:gd name="T77" fmla="*/ 1831 h 1946"/>
                  <a:gd name="T78" fmla="*/ 399 w 649"/>
                  <a:gd name="T79" fmla="*/ 1785 h 1946"/>
                  <a:gd name="T80" fmla="*/ 570 w 649"/>
                  <a:gd name="T81" fmla="*/ 1751 h 1946"/>
                  <a:gd name="T82" fmla="*/ 558 w 649"/>
                  <a:gd name="T83" fmla="*/ 1680 h 1946"/>
                  <a:gd name="T84" fmla="*/ 494 w 649"/>
                  <a:gd name="T85" fmla="*/ 1559 h 1946"/>
                  <a:gd name="T86" fmla="*/ 439 w 649"/>
                  <a:gd name="T87" fmla="*/ 1391 h 1946"/>
                  <a:gd name="T88" fmla="*/ 401 w 649"/>
                  <a:gd name="T89" fmla="*/ 1178 h 1946"/>
                  <a:gd name="T90" fmla="*/ 383 w 649"/>
                  <a:gd name="T91" fmla="*/ 981 h 1946"/>
                  <a:gd name="T92" fmla="*/ 367 w 649"/>
                  <a:gd name="T93" fmla="*/ 820 h 1946"/>
                  <a:gd name="T94" fmla="*/ 338 w 649"/>
                  <a:gd name="T95" fmla="*/ 522 h 1946"/>
                  <a:gd name="T96" fmla="*/ 330 w 649"/>
                  <a:gd name="T97" fmla="*/ 328 h 1946"/>
                  <a:gd name="T98" fmla="*/ 336 w 649"/>
                  <a:gd name="T99" fmla="*/ 175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9" h="1946">
                    <a:moveTo>
                      <a:pt x="38" y="1946"/>
                    </a:moveTo>
                    <a:lnTo>
                      <a:pt x="35" y="1946"/>
                    </a:lnTo>
                    <a:lnTo>
                      <a:pt x="33" y="1945"/>
                    </a:lnTo>
                    <a:lnTo>
                      <a:pt x="30" y="1944"/>
                    </a:lnTo>
                    <a:lnTo>
                      <a:pt x="28" y="1941"/>
                    </a:lnTo>
                    <a:lnTo>
                      <a:pt x="25" y="1938"/>
                    </a:lnTo>
                    <a:lnTo>
                      <a:pt x="25" y="1934"/>
                    </a:lnTo>
                    <a:lnTo>
                      <a:pt x="18" y="1874"/>
                    </a:lnTo>
                    <a:lnTo>
                      <a:pt x="13" y="1812"/>
                    </a:lnTo>
                    <a:lnTo>
                      <a:pt x="8" y="1752"/>
                    </a:lnTo>
                    <a:lnTo>
                      <a:pt x="4" y="1691"/>
                    </a:lnTo>
                    <a:lnTo>
                      <a:pt x="2" y="1631"/>
                    </a:lnTo>
                    <a:lnTo>
                      <a:pt x="0" y="1571"/>
                    </a:lnTo>
                    <a:lnTo>
                      <a:pt x="0" y="1511"/>
                    </a:lnTo>
                    <a:lnTo>
                      <a:pt x="1" y="1451"/>
                    </a:lnTo>
                    <a:lnTo>
                      <a:pt x="3" y="1394"/>
                    </a:lnTo>
                    <a:lnTo>
                      <a:pt x="6" y="1335"/>
                    </a:lnTo>
                    <a:lnTo>
                      <a:pt x="13" y="1275"/>
                    </a:lnTo>
                    <a:lnTo>
                      <a:pt x="19" y="1214"/>
                    </a:lnTo>
                    <a:lnTo>
                      <a:pt x="28" y="1154"/>
                    </a:lnTo>
                    <a:lnTo>
                      <a:pt x="37" y="1092"/>
                    </a:lnTo>
                    <a:lnTo>
                      <a:pt x="49" y="1032"/>
                    </a:lnTo>
                    <a:lnTo>
                      <a:pt x="61" y="970"/>
                    </a:lnTo>
                    <a:lnTo>
                      <a:pt x="74" y="909"/>
                    </a:lnTo>
                    <a:lnTo>
                      <a:pt x="88" y="848"/>
                    </a:lnTo>
                    <a:lnTo>
                      <a:pt x="103" y="788"/>
                    </a:lnTo>
                    <a:lnTo>
                      <a:pt x="118" y="730"/>
                    </a:lnTo>
                    <a:lnTo>
                      <a:pt x="133" y="671"/>
                    </a:lnTo>
                    <a:lnTo>
                      <a:pt x="150" y="614"/>
                    </a:lnTo>
                    <a:lnTo>
                      <a:pt x="166" y="558"/>
                    </a:lnTo>
                    <a:lnTo>
                      <a:pt x="182" y="504"/>
                    </a:lnTo>
                    <a:lnTo>
                      <a:pt x="214" y="401"/>
                    </a:lnTo>
                    <a:lnTo>
                      <a:pt x="246" y="308"/>
                    </a:lnTo>
                    <a:lnTo>
                      <a:pt x="275" y="223"/>
                    </a:lnTo>
                    <a:lnTo>
                      <a:pt x="302" y="151"/>
                    </a:lnTo>
                    <a:lnTo>
                      <a:pt x="324" y="92"/>
                    </a:lnTo>
                    <a:lnTo>
                      <a:pt x="341" y="47"/>
                    </a:lnTo>
                    <a:lnTo>
                      <a:pt x="353" y="18"/>
                    </a:lnTo>
                    <a:lnTo>
                      <a:pt x="357" y="7"/>
                    </a:lnTo>
                    <a:lnTo>
                      <a:pt x="359" y="3"/>
                    </a:lnTo>
                    <a:lnTo>
                      <a:pt x="363" y="1"/>
                    </a:lnTo>
                    <a:lnTo>
                      <a:pt x="368" y="0"/>
                    </a:lnTo>
                    <a:lnTo>
                      <a:pt x="373" y="0"/>
                    </a:lnTo>
                    <a:lnTo>
                      <a:pt x="378" y="2"/>
                    </a:lnTo>
                    <a:lnTo>
                      <a:pt x="381" y="5"/>
                    </a:lnTo>
                    <a:lnTo>
                      <a:pt x="383" y="10"/>
                    </a:lnTo>
                    <a:lnTo>
                      <a:pt x="383" y="15"/>
                    </a:lnTo>
                    <a:lnTo>
                      <a:pt x="381" y="30"/>
                    </a:lnTo>
                    <a:lnTo>
                      <a:pt x="376" y="66"/>
                    </a:lnTo>
                    <a:lnTo>
                      <a:pt x="371" y="107"/>
                    </a:lnTo>
                    <a:lnTo>
                      <a:pt x="368" y="139"/>
                    </a:lnTo>
                    <a:lnTo>
                      <a:pt x="363" y="177"/>
                    </a:lnTo>
                    <a:lnTo>
                      <a:pt x="360" y="216"/>
                    </a:lnTo>
                    <a:lnTo>
                      <a:pt x="358" y="253"/>
                    </a:lnTo>
                    <a:lnTo>
                      <a:pt x="357" y="290"/>
                    </a:lnTo>
                    <a:lnTo>
                      <a:pt x="357" y="327"/>
                    </a:lnTo>
                    <a:lnTo>
                      <a:pt x="357" y="365"/>
                    </a:lnTo>
                    <a:lnTo>
                      <a:pt x="358" y="401"/>
                    </a:lnTo>
                    <a:lnTo>
                      <a:pt x="359" y="439"/>
                    </a:lnTo>
                    <a:lnTo>
                      <a:pt x="363" y="517"/>
                    </a:lnTo>
                    <a:lnTo>
                      <a:pt x="371" y="599"/>
                    </a:lnTo>
                    <a:lnTo>
                      <a:pt x="380" y="686"/>
                    </a:lnTo>
                    <a:lnTo>
                      <a:pt x="389" y="780"/>
                    </a:lnTo>
                    <a:lnTo>
                      <a:pt x="394" y="817"/>
                    </a:lnTo>
                    <a:lnTo>
                      <a:pt x="397" y="856"/>
                    </a:lnTo>
                    <a:lnTo>
                      <a:pt x="401" y="895"/>
                    </a:lnTo>
                    <a:lnTo>
                      <a:pt x="406" y="936"/>
                    </a:lnTo>
                    <a:lnTo>
                      <a:pt x="410" y="978"/>
                    </a:lnTo>
                    <a:lnTo>
                      <a:pt x="414" y="1022"/>
                    </a:lnTo>
                    <a:lnTo>
                      <a:pt x="417" y="1068"/>
                    </a:lnTo>
                    <a:lnTo>
                      <a:pt x="422" y="1114"/>
                    </a:lnTo>
                    <a:lnTo>
                      <a:pt x="428" y="1179"/>
                    </a:lnTo>
                    <a:lnTo>
                      <a:pt x="437" y="1239"/>
                    </a:lnTo>
                    <a:lnTo>
                      <a:pt x="447" y="1296"/>
                    </a:lnTo>
                    <a:lnTo>
                      <a:pt x="457" y="1349"/>
                    </a:lnTo>
                    <a:lnTo>
                      <a:pt x="470" y="1400"/>
                    </a:lnTo>
                    <a:lnTo>
                      <a:pt x="483" y="1447"/>
                    </a:lnTo>
                    <a:lnTo>
                      <a:pt x="497" y="1491"/>
                    </a:lnTo>
                    <a:lnTo>
                      <a:pt x="512" y="1532"/>
                    </a:lnTo>
                    <a:lnTo>
                      <a:pt x="529" y="1568"/>
                    </a:lnTo>
                    <a:lnTo>
                      <a:pt x="545" y="1603"/>
                    </a:lnTo>
                    <a:lnTo>
                      <a:pt x="561" y="1633"/>
                    </a:lnTo>
                    <a:lnTo>
                      <a:pt x="578" y="1660"/>
                    </a:lnTo>
                    <a:lnTo>
                      <a:pt x="595" y="1685"/>
                    </a:lnTo>
                    <a:lnTo>
                      <a:pt x="612" y="1705"/>
                    </a:lnTo>
                    <a:lnTo>
                      <a:pt x="628" y="1723"/>
                    </a:lnTo>
                    <a:lnTo>
                      <a:pt x="644" y="1738"/>
                    </a:lnTo>
                    <a:lnTo>
                      <a:pt x="646" y="1740"/>
                    </a:lnTo>
                    <a:lnTo>
                      <a:pt x="649" y="1743"/>
                    </a:lnTo>
                    <a:lnTo>
                      <a:pt x="649" y="1747"/>
                    </a:lnTo>
                    <a:lnTo>
                      <a:pt x="649" y="1751"/>
                    </a:lnTo>
                    <a:lnTo>
                      <a:pt x="647" y="1754"/>
                    </a:lnTo>
                    <a:lnTo>
                      <a:pt x="645" y="1757"/>
                    </a:lnTo>
                    <a:lnTo>
                      <a:pt x="642" y="1759"/>
                    </a:lnTo>
                    <a:lnTo>
                      <a:pt x="639" y="1761"/>
                    </a:lnTo>
                    <a:lnTo>
                      <a:pt x="617" y="1767"/>
                    </a:lnTo>
                    <a:lnTo>
                      <a:pt x="595" y="1772"/>
                    </a:lnTo>
                    <a:lnTo>
                      <a:pt x="572" y="1778"/>
                    </a:lnTo>
                    <a:lnTo>
                      <a:pt x="549" y="1782"/>
                    </a:lnTo>
                    <a:lnTo>
                      <a:pt x="527" y="1788"/>
                    </a:lnTo>
                    <a:lnTo>
                      <a:pt x="503" y="1792"/>
                    </a:lnTo>
                    <a:lnTo>
                      <a:pt x="480" y="1796"/>
                    </a:lnTo>
                    <a:lnTo>
                      <a:pt x="457" y="1802"/>
                    </a:lnTo>
                    <a:lnTo>
                      <a:pt x="402" y="1812"/>
                    </a:lnTo>
                    <a:lnTo>
                      <a:pt x="348" y="1824"/>
                    </a:lnTo>
                    <a:lnTo>
                      <a:pt x="293" y="1837"/>
                    </a:lnTo>
                    <a:lnTo>
                      <a:pt x="240" y="1852"/>
                    </a:lnTo>
                    <a:lnTo>
                      <a:pt x="214" y="1860"/>
                    </a:lnTo>
                    <a:lnTo>
                      <a:pt x="189" y="1870"/>
                    </a:lnTo>
                    <a:lnTo>
                      <a:pt x="163" y="1879"/>
                    </a:lnTo>
                    <a:lnTo>
                      <a:pt x="139" y="1890"/>
                    </a:lnTo>
                    <a:lnTo>
                      <a:pt x="114" y="1902"/>
                    </a:lnTo>
                    <a:lnTo>
                      <a:pt x="91" y="1915"/>
                    </a:lnTo>
                    <a:lnTo>
                      <a:pt x="69" y="1929"/>
                    </a:lnTo>
                    <a:lnTo>
                      <a:pt x="46" y="1944"/>
                    </a:lnTo>
                    <a:lnTo>
                      <a:pt x="43" y="1946"/>
                    </a:lnTo>
                    <a:lnTo>
                      <a:pt x="38" y="1946"/>
                    </a:lnTo>
                    <a:close/>
                    <a:moveTo>
                      <a:pt x="343" y="118"/>
                    </a:moveTo>
                    <a:lnTo>
                      <a:pt x="343" y="118"/>
                    </a:lnTo>
                    <a:lnTo>
                      <a:pt x="325" y="166"/>
                    </a:lnTo>
                    <a:lnTo>
                      <a:pt x="304" y="223"/>
                    </a:lnTo>
                    <a:lnTo>
                      <a:pt x="281" y="288"/>
                    </a:lnTo>
                    <a:lnTo>
                      <a:pt x="258" y="359"/>
                    </a:lnTo>
                    <a:lnTo>
                      <a:pt x="232" y="436"/>
                    </a:lnTo>
                    <a:lnTo>
                      <a:pt x="206" y="518"/>
                    </a:lnTo>
                    <a:lnTo>
                      <a:pt x="181" y="604"/>
                    </a:lnTo>
                    <a:lnTo>
                      <a:pt x="155" y="694"/>
                    </a:lnTo>
                    <a:lnTo>
                      <a:pt x="131" y="787"/>
                    </a:lnTo>
                    <a:lnTo>
                      <a:pt x="108" y="882"/>
                    </a:lnTo>
                    <a:lnTo>
                      <a:pt x="97" y="929"/>
                    </a:lnTo>
                    <a:lnTo>
                      <a:pt x="87" y="978"/>
                    </a:lnTo>
                    <a:lnTo>
                      <a:pt x="77" y="1026"/>
                    </a:lnTo>
                    <a:lnTo>
                      <a:pt x="69" y="1075"/>
                    </a:lnTo>
                    <a:lnTo>
                      <a:pt x="60" y="1123"/>
                    </a:lnTo>
                    <a:lnTo>
                      <a:pt x="52" y="1171"/>
                    </a:lnTo>
                    <a:lnTo>
                      <a:pt x="46" y="1219"/>
                    </a:lnTo>
                    <a:lnTo>
                      <a:pt x="41" y="1266"/>
                    </a:lnTo>
                    <a:lnTo>
                      <a:pt x="35" y="1314"/>
                    </a:lnTo>
                    <a:lnTo>
                      <a:pt x="32" y="1360"/>
                    </a:lnTo>
                    <a:lnTo>
                      <a:pt x="29" y="1406"/>
                    </a:lnTo>
                    <a:lnTo>
                      <a:pt x="28" y="1452"/>
                    </a:lnTo>
                    <a:lnTo>
                      <a:pt x="27" y="1508"/>
                    </a:lnTo>
                    <a:lnTo>
                      <a:pt x="27" y="1564"/>
                    </a:lnTo>
                    <a:lnTo>
                      <a:pt x="29" y="1621"/>
                    </a:lnTo>
                    <a:lnTo>
                      <a:pt x="31" y="1678"/>
                    </a:lnTo>
                    <a:lnTo>
                      <a:pt x="34" y="1736"/>
                    </a:lnTo>
                    <a:lnTo>
                      <a:pt x="38" y="1794"/>
                    </a:lnTo>
                    <a:lnTo>
                      <a:pt x="43" y="1851"/>
                    </a:lnTo>
                    <a:lnTo>
                      <a:pt x="49" y="1908"/>
                    </a:lnTo>
                    <a:lnTo>
                      <a:pt x="71" y="1894"/>
                    </a:lnTo>
                    <a:lnTo>
                      <a:pt x="95" y="1883"/>
                    </a:lnTo>
                    <a:lnTo>
                      <a:pt x="117" y="1870"/>
                    </a:lnTo>
                    <a:lnTo>
                      <a:pt x="141" y="1859"/>
                    </a:lnTo>
                    <a:lnTo>
                      <a:pt x="166" y="1849"/>
                    </a:lnTo>
                    <a:lnTo>
                      <a:pt x="191" y="1839"/>
                    </a:lnTo>
                    <a:lnTo>
                      <a:pt x="216" y="1831"/>
                    </a:lnTo>
                    <a:lnTo>
                      <a:pt x="241" y="1823"/>
                    </a:lnTo>
                    <a:lnTo>
                      <a:pt x="293" y="1809"/>
                    </a:lnTo>
                    <a:lnTo>
                      <a:pt x="346" y="1796"/>
                    </a:lnTo>
                    <a:lnTo>
                      <a:pt x="399" y="1785"/>
                    </a:lnTo>
                    <a:lnTo>
                      <a:pt x="452" y="1775"/>
                    </a:lnTo>
                    <a:lnTo>
                      <a:pt x="491" y="1767"/>
                    </a:lnTo>
                    <a:lnTo>
                      <a:pt x="531" y="1758"/>
                    </a:lnTo>
                    <a:lnTo>
                      <a:pt x="570" y="1751"/>
                    </a:lnTo>
                    <a:lnTo>
                      <a:pt x="608" y="1741"/>
                    </a:lnTo>
                    <a:lnTo>
                      <a:pt x="591" y="1724"/>
                    </a:lnTo>
                    <a:lnTo>
                      <a:pt x="575" y="1703"/>
                    </a:lnTo>
                    <a:lnTo>
                      <a:pt x="558" y="1680"/>
                    </a:lnTo>
                    <a:lnTo>
                      <a:pt x="542" y="1654"/>
                    </a:lnTo>
                    <a:lnTo>
                      <a:pt x="525" y="1625"/>
                    </a:lnTo>
                    <a:lnTo>
                      <a:pt x="509" y="1593"/>
                    </a:lnTo>
                    <a:lnTo>
                      <a:pt x="494" y="1559"/>
                    </a:lnTo>
                    <a:lnTo>
                      <a:pt x="479" y="1521"/>
                    </a:lnTo>
                    <a:lnTo>
                      <a:pt x="465" y="1481"/>
                    </a:lnTo>
                    <a:lnTo>
                      <a:pt x="452" y="1438"/>
                    </a:lnTo>
                    <a:lnTo>
                      <a:pt x="439" y="1391"/>
                    </a:lnTo>
                    <a:lnTo>
                      <a:pt x="428" y="1343"/>
                    </a:lnTo>
                    <a:lnTo>
                      <a:pt x="417" y="1291"/>
                    </a:lnTo>
                    <a:lnTo>
                      <a:pt x="409" y="1236"/>
                    </a:lnTo>
                    <a:lnTo>
                      <a:pt x="401" y="1178"/>
                    </a:lnTo>
                    <a:lnTo>
                      <a:pt x="395" y="1117"/>
                    </a:lnTo>
                    <a:lnTo>
                      <a:pt x="392" y="1070"/>
                    </a:lnTo>
                    <a:lnTo>
                      <a:pt x="387" y="1024"/>
                    </a:lnTo>
                    <a:lnTo>
                      <a:pt x="383" y="981"/>
                    </a:lnTo>
                    <a:lnTo>
                      <a:pt x="379" y="939"/>
                    </a:lnTo>
                    <a:lnTo>
                      <a:pt x="374" y="898"/>
                    </a:lnTo>
                    <a:lnTo>
                      <a:pt x="370" y="858"/>
                    </a:lnTo>
                    <a:lnTo>
                      <a:pt x="367" y="820"/>
                    </a:lnTo>
                    <a:lnTo>
                      <a:pt x="362" y="783"/>
                    </a:lnTo>
                    <a:lnTo>
                      <a:pt x="353" y="691"/>
                    </a:lnTo>
                    <a:lnTo>
                      <a:pt x="344" y="604"/>
                    </a:lnTo>
                    <a:lnTo>
                      <a:pt x="338" y="522"/>
                    </a:lnTo>
                    <a:lnTo>
                      <a:pt x="332" y="444"/>
                    </a:lnTo>
                    <a:lnTo>
                      <a:pt x="331" y="405"/>
                    </a:lnTo>
                    <a:lnTo>
                      <a:pt x="330" y="366"/>
                    </a:lnTo>
                    <a:lnTo>
                      <a:pt x="330" y="328"/>
                    </a:lnTo>
                    <a:lnTo>
                      <a:pt x="330" y="290"/>
                    </a:lnTo>
                    <a:lnTo>
                      <a:pt x="331" y="253"/>
                    </a:lnTo>
                    <a:lnTo>
                      <a:pt x="333" y="214"/>
                    </a:lnTo>
                    <a:lnTo>
                      <a:pt x="336" y="175"/>
                    </a:lnTo>
                    <a:lnTo>
                      <a:pt x="341" y="136"/>
                    </a:lnTo>
                    <a:lnTo>
                      <a:pt x="342" y="127"/>
                    </a:lnTo>
                    <a:lnTo>
                      <a:pt x="343"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44"/>
              <p:cNvSpPr>
                <a:spLocks/>
              </p:cNvSpPr>
              <p:nvPr userDrawn="1"/>
            </p:nvSpPr>
            <p:spPr bwMode="auto">
              <a:xfrm>
                <a:off x="2470" y="2597"/>
                <a:ext cx="82" cy="520"/>
              </a:xfrm>
              <a:custGeom>
                <a:avLst/>
                <a:gdLst>
                  <a:gd name="T0" fmla="*/ 42 w 247"/>
                  <a:gd name="T1" fmla="*/ 1560 h 1560"/>
                  <a:gd name="T2" fmla="*/ 34 w 247"/>
                  <a:gd name="T3" fmla="*/ 1554 h 1560"/>
                  <a:gd name="T4" fmla="*/ 26 w 247"/>
                  <a:gd name="T5" fmla="*/ 1501 h 1560"/>
                  <a:gd name="T6" fmla="*/ 15 w 247"/>
                  <a:gd name="T7" fmla="*/ 1406 h 1560"/>
                  <a:gd name="T8" fmla="*/ 6 w 247"/>
                  <a:gd name="T9" fmla="*/ 1311 h 1560"/>
                  <a:gd name="T10" fmla="*/ 2 w 247"/>
                  <a:gd name="T11" fmla="*/ 1215 h 1560"/>
                  <a:gd name="T12" fmla="*/ 0 w 247"/>
                  <a:gd name="T13" fmla="*/ 1120 h 1560"/>
                  <a:gd name="T14" fmla="*/ 2 w 247"/>
                  <a:gd name="T15" fmla="*/ 1025 h 1560"/>
                  <a:gd name="T16" fmla="*/ 7 w 247"/>
                  <a:gd name="T17" fmla="*/ 929 h 1560"/>
                  <a:gd name="T18" fmla="*/ 16 w 247"/>
                  <a:gd name="T19" fmla="*/ 834 h 1560"/>
                  <a:gd name="T20" fmla="*/ 27 w 247"/>
                  <a:gd name="T21" fmla="*/ 738 h 1560"/>
                  <a:gd name="T22" fmla="*/ 42 w 247"/>
                  <a:gd name="T23" fmla="*/ 642 h 1560"/>
                  <a:gd name="T24" fmla="*/ 60 w 247"/>
                  <a:gd name="T25" fmla="*/ 546 h 1560"/>
                  <a:gd name="T26" fmla="*/ 82 w 247"/>
                  <a:gd name="T27" fmla="*/ 448 h 1560"/>
                  <a:gd name="T28" fmla="*/ 108 w 247"/>
                  <a:gd name="T29" fmla="*/ 352 h 1560"/>
                  <a:gd name="T30" fmla="*/ 136 w 247"/>
                  <a:gd name="T31" fmla="*/ 254 h 1560"/>
                  <a:gd name="T32" fmla="*/ 167 w 247"/>
                  <a:gd name="T33" fmla="*/ 157 h 1560"/>
                  <a:gd name="T34" fmla="*/ 203 w 247"/>
                  <a:gd name="T35" fmla="*/ 59 h 1560"/>
                  <a:gd name="T36" fmla="*/ 224 w 247"/>
                  <a:gd name="T37" fmla="*/ 5 h 1560"/>
                  <a:gd name="T38" fmla="*/ 233 w 247"/>
                  <a:gd name="T39" fmla="*/ 0 h 1560"/>
                  <a:gd name="T40" fmla="*/ 243 w 247"/>
                  <a:gd name="T41" fmla="*/ 5 h 1560"/>
                  <a:gd name="T42" fmla="*/ 247 w 247"/>
                  <a:gd name="T43" fmla="*/ 14 h 1560"/>
                  <a:gd name="T44" fmla="*/ 227 w 247"/>
                  <a:gd name="T45" fmla="*/ 68 h 1560"/>
                  <a:gd name="T46" fmla="*/ 193 w 247"/>
                  <a:gd name="T47" fmla="*/ 166 h 1560"/>
                  <a:gd name="T48" fmla="*/ 162 w 247"/>
                  <a:gd name="T49" fmla="*/ 263 h 1560"/>
                  <a:gd name="T50" fmla="*/ 133 w 247"/>
                  <a:gd name="T51" fmla="*/ 359 h 1560"/>
                  <a:gd name="T52" fmla="*/ 109 w 247"/>
                  <a:gd name="T53" fmla="*/ 455 h 1560"/>
                  <a:gd name="T54" fmla="*/ 87 w 247"/>
                  <a:gd name="T55" fmla="*/ 550 h 1560"/>
                  <a:gd name="T56" fmla="*/ 69 w 247"/>
                  <a:gd name="T57" fmla="*/ 646 h 1560"/>
                  <a:gd name="T58" fmla="*/ 54 w 247"/>
                  <a:gd name="T59" fmla="*/ 741 h 1560"/>
                  <a:gd name="T60" fmla="*/ 42 w 247"/>
                  <a:gd name="T61" fmla="*/ 836 h 1560"/>
                  <a:gd name="T62" fmla="*/ 34 w 247"/>
                  <a:gd name="T63" fmla="*/ 931 h 1560"/>
                  <a:gd name="T64" fmla="*/ 29 w 247"/>
                  <a:gd name="T65" fmla="*/ 1025 h 1560"/>
                  <a:gd name="T66" fmla="*/ 27 w 247"/>
                  <a:gd name="T67" fmla="*/ 1120 h 1560"/>
                  <a:gd name="T68" fmla="*/ 29 w 247"/>
                  <a:gd name="T69" fmla="*/ 1214 h 1560"/>
                  <a:gd name="T70" fmla="*/ 33 w 247"/>
                  <a:gd name="T71" fmla="*/ 1309 h 1560"/>
                  <a:gd name="T72" fmla="*/ 42 w 247"/>
                  <a:gd name="T73" fmla="*/ 1404 h 1560"/>
                  <a:gd name="T74" fmla="*/ 53 w 247"/>
                  <a:gd name="T75" fmla="*/ 1498 h 1560"/>
                  <a:gd name="T76" fmla="*/ 59 w 247"/>
                  <a:gd name="T77" fmla="*/ 1551 h 1560"/>
                  <a:gd name="T78" fmla="*/ 54 w 247"/>
                  <a:gd name="T79" fmla="*/ 1559 h 1560"/>
                  <a:gd name="T80" fmla="*/ 47 w 247"/>
                  <a:gd name="T81"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7" h="1560">
                    <a:moveTo>
                      <a:pt x="46" y="1560"/>
                    </a:moveTo>
                    <a:lnTo>
                      <a:pt x="42" y="1560"/>
                    </a:lnTo>
                    <a:lnTo>
                      <a:pt x="37" y="1557"/>
                    </a:lnTo>
                    <a:lnTo>
                      <a:pt x="34" y="1554"/>
                    </a:lnTo>
                    <a:lnTo>
                      <a:pt x="33" y="1549"/>
                    </a:lnTo>
                    <a:lnTo>
                      <a:pt x="26" y="1501"/>
                    </a:lnTo>
                    <a:lnTo>
                      <a:pt x="20" y="1453"/>
                    </a:lnTo>
                    <a:lnTo>
                      <a:pt x="15" y="1406"/>
                    </a:lnTo>
                    <a:lnTo>
                      <a:pt x="10" y="1358"/>
                    </a:lnTo>
                    <a:lnTo>
                      <a:pt x="6" y="1311"/>
                    </a:lnTo>
                    <a:lnTo>
                      <a:pt x="4" y="1262"/>
                    </a:lnTo>
                    <a:lnTo>
                      <a:pt x="2" y="1215"/>
                    </a:lnTo>
                    <a:lnTo>
                      <a:pt x="1" y="1167"/>
                    </a:lnTo>
                    <a:lnTo>
                      <a:pt x="0" y="1120"/>
                    </a:lnTo>
                    <a:lnTo>
                      <a:pt x="1" y="1072"/>
                    </a:lnTo>
                    <a:lnTo>
                      <a:pt x="2" y="1025"/>
                    </a:lnTo>
                    <a:lnTo>
                      <a:pt x="4" y="976"/>
                    </a:lnTo>
                    <a:lnTo>
                      <a:pt x="7" y="929"/>
                    </a:lnTo>
                    <a:lnTo>
                      <a:pt x="10" y="881"/>
                    </a:lnTo>
                    <a:lnTo>
                      <a:pt x="16" y="834"/>
                    </a:lnTo>
                    <a:lnTo>
                      <a:pt x="21" y="785"/>
                    </a:lnTo>
                    <a:lnTo>
                      <a:pt x="27" y="738"/>
                    </a:lnTo>
                    <a:lnTo>
                      <a:pt x="34" y="689"/>
                    </a:lnTo>
                    <a:lnTo>
                      <a:pt x="42" y="642"/>
                    </a:lnTo>
                    <a:lnTo>
                      <a:pt x="50" y="593"/>
                    </a:lnTo>
                    <a:lnTo>
                      <a:pt x="60" y="546"/>
                    </a:lnTo>
                    <a:lnTo>
                      <a:pt x="71" y="497"/>
                    </a:lnTo>
                    <a:lnTo>
                      <a:pt x="82" y="448"/>
                    </a:lnTo>
                    <a:lnTo>
                      <a:pt x="95" y="400"/>
                    </a:lnTo>
                    <a:lnTo>
                      <a:pt x="108" y="352"/>
                    </a:lnTo>
                    <a:lnTo>
                      <a:pt x="121" y="304"/>
                    </a:lnTo>
                    <a:lnTo>
                      <a:pt x="136" y="254"/>
                    </a:lnTo>
                    <a:lnTo>
                      <a:pt x="151" y="205"/>
                    </a:lnTo>
                    <a:lnTo>
                      <a:pt x="167" y="157"/>
                    </a:lnTo>
                    <a:lnTo>
                      <a:pt x="184" y="108"/>
                    </a:lnTo>
                    <a:lnTo>
                      <a:pt x="203" y="59"/>
                    </a:lnTo>
                    <a:lnTo>
                      <a:pt x="221" y="9"/>
                    </a:lnTo>
                    <a:lnTo>
                      <a:pt x="224" y="5"/>
                    </a:lnTo>
                    <a:lnTo>
                      <a:pt x="229" y="1"/>
                    </a:lnTo>
                    <a:lnTo>
                      <a:pt x="233" y="0"/>
                    </a:lnTo>
                    <a:lnTo>
                      <a:pt x="238" y="1"/>
                    </a:lnTo>
                    <a:lnTo>
                      <a:pt x="243" y="5"/>
                    </a:lnTo>
                    <a:lnTo>
                      <a:pt x="246" y="9"/>
                    </a:lnTo>
                    <a:lnTo>
                      <a:pt x="247" y="14"/>
                    </a:lnTo>
                    <a:lnTo>
                      <a:pt x="246" y="19"/>
                    </a:lnTo>
                    <a:lnTo>
                      <a:pt x="227" y="68"/>
                    </a:lnTo>
                    <a:lnTo>
                      <a:pt x="210" y="117"/>
                    </a:lnTo>
                    <a:lnTo>
                      <a:pt x="193" y="166"/>
                    </a:lnTo>
                    <a:lnTo>
                      <a:pt x="177" y="214"/>
                    </a:lnTo>
                    <a:lnTo>
                      <a:pt x="162" y="263"/>
                    </a:lnTo>
                    <a:lnTo>
                      <a:pt x="146" y="310"/>
                    </a:lnTo>
                    <a:lnTo>
                      <a:pt x="133" y="359"/>
                    </a:lnTo>
                    <a:lnTo>
                      <a:pt x="121" y="406"/>
                    </a:lnTo>
                    <a:lnTo>
                      <a:pt x="109" y="455"/>
                    </a:lnTo>
                    <a:lnTo>
                      <a:pt x="97" y="502"/>
                    </a:lnTo>
                    <a:lnTo>
                      <a:pt x="87" y="550"/>
                    </a:lnTo>
                    <a:lnTo>
                      <a:pt x="77" y="598"/>
                    </a:lnTo>
                    <a:lnTo>
                      <a:pt x="69" y="646"/>
                    </a:lnTo>
                    <a:lnTo>
                      <a:pt x="61" y="693"/>
                    </a:lnTo>
                    <a:lnTo>
                      <a:pt x="54" y="741"/>
                    </a:lnTo>
                    <a:lnTo>
                      <a:pt x="47" y="788"/>
                    </a:lnTo>
                    <a:lnTo>
                      <a:pt x="42" y="836"/>
                    </a:lnTo>
                    <a:lnTo>
                      <a:pt x="37" y="883"/>
                    </a:lnTo>
                    <a:lnTo>
                      <a:pt x="34" y="931"/>
                    </a:lnTo>
                    <a:lnTo>
                      <a:pt x="31" y="978"/>
                    </a:lnTo>
                    <a:lnTo>
                      <a:pt x="29" y="1025"/>
                    </a:lnTo>
                    <a:lnTo>
                      <a:pt x="28" y="1072"/>
                    </a:lnTo>
                    <a:lnTo>
                      <a:pt x="27" y="1120"/>
                    </a:lnTo>
                    <a:lnTo>
                      <a:pt x="28" y="1167"/>
                    </a:lnTo>
                    <a:lnTo>
                      <a:pt x="29" y="1214"/>
                    </a:lnTo>
                    <a:lnTo>
                      <a:pt x="31" y="1261"/>
                    </a:lnTo>
                    <a:lnTo>
                      <a:pt x="33" y="1309"/>
                    </a:lnTo>
                    <a:lnTo>
                      <a:pt x="37" y="1356"/>
                    </a:lnTo>
                    <a:lnTo>
                      <a:pt x="42" y="1404"/>
                    </a:lnTo>
                    <a:lnTo>
                      <a:pt x="46" y="1450"/>
                    </a:lnTo>
                    <a:lnTo>
                      <a:pt x="53" y="1498"/>
                    </a:lnTo>
                    <a:lnTo>
                      <a:pt x="59" y="1545"/>
                    </a:lnTo>
                    <a:lnTo>
                      <a:pt x="59" y="1551"/>
                    </a:lnTo>
                    <a:lnTo>
                      <a:pt x="57" y="1555"/>
                    </a:lnTo>
                    <a:lnTo>
                      <a:pt x="54" y="1559"/>
                    </a:lnTo>
                    <a:lnTo>
                      <a:pt x="48" y="1560"/>
                    </a:lnTo>
                    <a:lnTo>
                      <a:pt x="47" y="1560"/>
                    </a:lnTo>
                    <a:lnTo>
                      <a:pt x="46" y="15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45"/>
              <p:cNvSpPr>
                <a:spLocks/>
              </p:cNvSpPr>
              <p:nvPr userDrawn="1"/>
            </p:nvSpPr>
            <p:spPr bwMode="auto">
              <a:xfrm>
                <a:off x="2509" y="2635"/>
                <a:ext cx="44" cy="462"/>
              </a:xfrm>
              <a:custGeom>
                <a:avLst/>
                <a:gdLst>
                  <a:gd name="T0" fmla="*/ 86 w 134"/>
                  <a:gd name="T1" fmla="*/ 1387 h 1388"/>
                  <a:gd name="T2" fmla="*/ 79 w 134"/>
                  <a:gd name="T3" fmla="*/ 1381 h 1388"/>
                  <a:gd name="T4" fmla="*/ 67 w 134"/>
                  <a:gd name="T5" fmla="*/ 1335 h 1388"/>
                  <a:gd name="T6" fmla="*/ 49 w 134"/>
                  <a:gd name="T7" fmla="*/ 1251 h 1388"/>
                  <a:gd name="T8" fmla="*/ 34 w 134"/>
                  <a:gd name="T9" fmla="*/ 1166 h 1388"/>
                  <a:gd name="T10" fmla="*/ 21 w 134"/>
                  <a:gd name="T11" fmla="*/ 1081 h 1388"/>
                  <a:gd name="T12" fmla="*/ 11 w 134"/>
                  <a:gd name="T13" fmla="*/ 997 h 1388"/>
                  <a:gd name="T14" fmla="*/ 5 w 134"/>
                  <a:gd name="T15" fmla="*/ 912 h 1388"/>
                  <a:gd name="T16" fmla="*/ 1 w 134"/>
                  <a:gd name="T17" fmla="*/ 828 h 1388"/>
                  <a:gd name="T18" fmla="*/ 0 w 134"/>
                  <a:gd name="T19" fmla="*/ 742 h 1388"/>
                  <a:gd name="T20" fmla="*/ 2 w 134"/>
                  <a:gd name="T21" fmla="*/ 657 h 1388"/>
                  <a:gd name="T22" fmla="*/ 7 w 134"/>
                  <a:gd name="T23" fmla="*/ 572 h 1388"/>
                  <a:gd name="T24" fmla="*/ 14 w 134"/>
                  <a:gd name="T25" fmla="*/ 487 h 1388"/>
                  <a:gd name="T26" fmla="*/ 25 w 134"/>
                  <a:gd name="T27" fmla="*/ 400 h 1388"/>
                  <a:gd name="T28" fmla="*/ 38 w 134"/>
                  <a:gd name="T29" fmla="*/ 315 h 1388"/>
                  <a:gd name="T30" fmla="*/ 54 w 134"/>
                  <a:gd name="T31" fmla="*/ 227 h 1388"/>
                  <a:gd name="T32" fmla="*/ 74 w 134"/>
                  <a:gd name="T33" fmla="*/ 141 h 1388"/>
                  <a:gd name="T34" fmla="*/ 95 w 134"/>
                  <a:gd name="T35" fmla="*/ 54 h 1388"/>
                  <a:gd name="T36" fmla="*/ 109 w 134"/>
                  <a:gd name="T37" fmla="*/ 5 h 1388"/>
                  <a:gd name="T38" fmla="*/ 119 w 134"/>
                  <a:gd name="T39" fmla="*/ 0 h 1388"/>
                  <a:gd name="T40" fmla="*/ 129 w 134"/>
                  <a:gd name="T41" fmla="*/ 3 h 1388"/>
                  <a:gd name="T42" fmla="*/ 134 w 134"/>
                  <a:gd name="T43" fmla="*/ 12 h 1388"/>
                  <a:gd name="T44" fmla="*/ 121 w 134"/>
                  <a:gd name="T45" fmla="*/ 60 h 1388"/>
                  <a:gd name="T46" fmla="*/ 100 w 134"/>
                  <a:gd name="T47" fmla="*/ 147 h 1388"/>
                  <a:gd name="T48" fmla="*/ 81 w 134"/>
                  <a:gd name="T49" fmla="*/ 233 h 1388"/>
                  <a:gd name="T50" fmla="*/ 65 w 134"/>
                  <a:gd name="T51" fmla="*/ 319 h 1388"/>
                  <a:gd name="T52" fmla="*/ 52 w 134"/>
                  <a:gd name="T53" fmla="*/ 405 h 1388"/>
                  <a:gd name="T54" fmla="*/ 41 w 134"/>
                  <a:gd name="T55" fmla="*/ 489 h 1388"/>
                  <a:gd name="T56" fmla="*/ 34 w 134"/>
                  <a:gd name="T57" fmla="*/ 574 h 1388"/>
                  <a:gd name="T58" fmla="*/ 29 w 134"/>
                  <a:gd name="T59" fmla="*/ 658 h 1388"/>
                  <a:gd name="T60" fmla="*/ 27 w 134"/>
                  <a:gd name="T61" fmla="*/ 742 h 1388"/>
                  <a:gd name="T62" fmla="*/ 28 w 134"/>
                  <a:gd name="T63" fmla="*/ 827 h 1388"/>
                  <a:gd name="T64" fmla="*/ 32 w 134"/>
                  <a:gd name="T65" fmla="*/ 911 h 1388"/>
                  <a:gd name="T66" fmla="*/ 38 w 134"/>
                  <a:gd name="T67" fmla="*/ 994 h 1388"/>
                  <a:gd name="T68" fmla="*/ 48 w 134"/>
                  <a:gd name="T69" fmla="*/ 1078 h 1388"/>
                  <a:gd name="T70" fmla="*/ 61 w 134"/>
                  <a:gd name="T71" fmla="*/ 1161 h 1388"/>
                  <a:gd name="T72" fmla="*/ 76 w 134"/>
                  <a:gd name="T73" fmla="*/ 1245 h 1388"/>
                  <a:gd name="T74" fmla="*/ 93 w 134"/>
                  <a:gd name="T75" fmla="*/ 1329 h 1388"/>
                  <a:gd name="T76" fmla="*/ 104 w 134"/>
                  <a:gd name="T77" fmla="*/ 1376 h 1388"/>
                  <a:gd name="T78" fmla="*/ 99 w 134"/>
                  <a:gd name="T79" fmla="*/ 1385 h 1388"/>
                  <a:gd name="T80" fmla="*/ 92 w 134"/>
                  <a:gd name="T81" fmla="*/ 1388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388">
                    <a:moveTo>
                      <a:pt x="90" y="1388"/>
                    </a:moveTo>
                    <a:lnTo>
                      <a:pt x="86" y="1387"/>
                    </a:lnTo>
                    <a:lnTo>
                      <a:pt x="82" y="1385"/>
                    </a:lnTo>
                    <a:lnTo>
                      <a:pt x="79" y="1381"/>
                    </a:lnTo>
                    <a:lnTo>
                      <a:pt x="77" y="1377"/>
                    </a:lnTo>
                    <a:lnTo>
                      <a:pt x="67" y="1335"/>
                    </a:lnTo>
                    <a:lnTo>
                      <a:pt x="58" y="1293"/>
                    </a:lnTo>
                    <a:lnTo>
                      <a:pt x="49" y="1251"/>
                    </a:lnTo>
                    <a:lnTo>
                      <a:pt x="41" y="1208"/>
                    </a:lnTo>
                    <a:lnTo>
                      <a:pt x="34" y="1166"/>
                    </a:lnTo>
                    <a:lnTo>
                      <a:pt x="27" y="1123"/>
                    </a:lnTo>
                    <a:lnTo>
                      <a:pt x="21" y="1081"/>
                    </a:lnTo>
                    <a:lnTo>
                      <a:pt x="16" y="1039"/>
                    </a:lnTo>
                    <a:lnTo>
                      <a:pt x="11" y="997"/>
                    </a:lnTo>
                    <a:lnTo>
                      <a:pt x="8" y="954"/>
                    </a:lnTo>
                    <a:lnTo>
                      <a:pt x="5" y="912"/>
                    </a:lnTo>
                    <a:lnTo>
                      <a:pt x="2" y="870"/>
                    </a:lnTo>
                    <a:lnTo>
                      <a:pt x="1" y="828"/>
                    </a:lnTo>
                    <a:lnTo>
                      <a:pt x="0" y="785"/>
                    </a:lnTo>
                    <a:lnTo>
                      <a:pt x="0" y="742"/>
                    </a:lnTo>
                    <a:lnTo>
                      <a:pt x="0" y="700"/>
                    </a:lnTo>
                    <a:lnTo>
                      <a:pt x="2" y="657"/>
                    </a:lnTo>
                    <a:lnTo>
                      <a:pt x="4" y="615"/>
                    </a:lnTo>
                    <a:lnTo>
                      <a:pt x="7" y="572"/>
                    </a:lnTo>
                    <a:lnTo>
                      <a:pt x="10" y="530"/>
                    </a:lnTo>
                    <a:lnTo>
                      <a:pt x="14" y="487"/>
                    </a:lnTo>
                    <a:lnTo>
                      <a:pt x="20" y="443"/>
                    </a:lnTo>
                    <a:lnTo>
                      <a:pt x="25" y="400"/>
                    </a:lnTo>
                    <a:lnTo>
                      <a:pt x="32" y="357"/>
                    </a:lnTo>
                    <a:lnTo>
                      <a:pt x="38" y="315"/>
                    </a:lnTo>
                    <a:lnTo>
                      <a:pt x="46" y="271"/>
                    </a:lnTo>
                    <a:lnTo>
                      <a:pt x="54" y="227"/>
                    </a:lnTo>
                    <a:lnTo>
                      <a:pt x="64" y="184"/>
                    </a:lnTo>
                    <a:lnTo>
                      <a:pt x="74" y="141"/>
                    </a:lnTo>
                    <a:lnTo>
                      <a:pt x="83" y="97"/>
                    </a:lnTo>
                    <a:lnTo>
                      <a:pt x="95" y="54"/>
                    </a:lnTo>
                    <a:lnTo>
                      <a:pt x="107" y="9"/>
                    </a:lnTo>
                    <a:lnTo>
                      <a:pt x="109" y="5"/>
                    </a:lnTo>
                    <a:lnTo>
                      <a:pt x="114" y="2"/>
                    </a:lnTo>
                    <a:lnTo>
                      <a:pt x="119" y="0"/>
                    </a:lnTo>
                    <a:lnTo>
                      <a:pt x="124" y="1"/>
                    </a:lnTo>
                    <a:lnTo>
                      <a:pt x="129" y="3"/>
                    </a:lnTo>
                    <a:lnTo>
                      <a:pt x="132" y="7"/>
                    </a:lnTo>
                    <a:lnTo>
                      <a:pt x="134" y="12"/>
                    </a:lnTo>
                    <a:lnTo>
                      <a:pt x="133" y="17"/>
                    </a:lnTo>
                    <a:lnTo>
                      <a:pt x="121" y="60"/>
                    </a:lnTo>
                    <a:lnTo>
                      <a:pt x="110" y="103"/>
                    </a:lnTo>
                    <a:lnTo>
                      <a:pt x="100" y="147"/>
                    </a:lnTo>
                    <a:lnTo>
                      <a:pt x="90" y="190"/>
                    </a:lnTo>
                    <a:lnTo>
                      <a:pt x="81" y="233"/>
                    </a:lnTo>
                    <a:lnTo>
                      <a:pt x="73" y="276"/>
                    </a:lnTo>
                    <a:lnTo>
                      <a:pt x="65" y="319"/>
                    </a:lnTo>
                    <a:lnTo>
                      <a:pt x="58" y="361"/>
                    </a:lnTo>
                    <a:lnTo>
                      <a:pt x="52" y="405"/>
                    </a:lnTo>
                    <a:lnTo>
                      <a:pt x="46" y="447"/>
                    </a:lnTo>
                    <a:lnTo>
                      <a:pt x="41" y="489"/>
                    </a:lnTo>
                    <a:lnTo>
                      <a:pt x="37" y="532"/>
                    </a:lnTo>
                    <a:lnTo>
                      <a:pt x="34" y="574"/>
                    </a:lnTo>
                    <a:lnTo>
                      <a:pt x="31" y="616"/>
                    </a:lnTo>
                    <a:lnTo>
                      <a:pt x="29" y="658"/>
                    </a:lnTo>
                    <a:lnTo>
                      <a:pt x="27" y="700"/>
                    </a:lnTo>
                    <a:lnTo>
                      <a:pt x="27" y="742"/>
                    </a:lnTo>
                    <a:lnTo>
                      <a:pt x="27" y="785"/>
                    </a:lnTo>
                    <a:lnTo>
                      <a:pt x="28" y="827"/>
                    </a:lnTo>
                    <a:lnTo>
                      <a:pt x="29" y="869"/>
                    </a:lnTo>
                    <a:lnTo>
                      <a:pt x="32" y="911"/>
                    </a:lnTo>
                    <a:lnTo>
                      <a:pt x="35" y="952"/>
                    </a:lnTo>
                    <a:lnTo>
                      <a:pt x="38" y="994"/>
                    </a:lnTo>
                    <a:lnTo>
                      <a:pt x="42" y="1036"/>
                    </a:lnTo>
                    <a:lnTo>
                      <a:pt x="48" y="1078"/>
                    </a:lnTo>
                    <a:lnTo>
                      <a:pt x="54" y="1120"/>
                    </a:lnTo>
                    <a:lnTo>
                      <a:pt x="61" y="1161"/>
                    </a:lnTo>
                    <a:lnTo>
                      <a:pt x="67" y="1203"/>
                    </a:lnTo>
                    <a:lnTo>
                      <a:pt x="76" y="1245"/>
                    </a:lnTo>
                    <a:lnTo>
                      <a:pt x="83" y="1288"/>
                    </a:lnTo>
                    <a:lnTo>
                      <a:pt x="93" y="1329"/>
                    </a:lnTo>
                    <a:lnTo>
                      <a:pt x="103" y="1371"/>
                    </a:lnTo>
                    <a:lnTo>
                      <a:pt x="104" y="1376"/>
                    </a:lnTo>
                    <a:lnTo>
                      <a:pt x="102" y="1381"/>
                    </a:lnTo>
                    <a:lnTo>
                      <a:pt x="99" y="1385"/>
                    </a:lnTo>
                    <a:lnTo>
                      <a:pt x="93" y="1387"/>
                    </a:lnTo>
                    <a:lnTo>
                      <a:pt x="92" y="1388"/>
                    </a:lnTo>
                    <a:lnTo>
                      <a:pt x="9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46"/>
              <p:cNvSpPr>
                <a:spLocks/>
              </p:cNvSpPr>
              <p:nvPr userDrawn="1"/>
            </p:nvSpPr>
            <p:spPr bwMode="auto">
              <a:xfrm>
                <a:off x="2543" y="2681"/>
                <a:ext cx="55" cy="411"/>
              </a:xfrm>
              <a:custGeom>
                <a:avLst/>
                <a:gdLst>
                  <a:gd name="T0" fmla="*/ 150 w 164"/>
                  <a:gd name="T1" fmla="*/ 1233 h 1233"/>
                  <a:gd name="T2" fmla="*/ 146 w 164"/>
                  <a:gd name="T3" fmla="*/ 1232 h 1233"/>
                  <a:gd name="T4" fmla="*/ 142 w 164"/>
                  <a:gd name="T5" fmla="*/ 1230 h 1233"/>
                  <a:gd name="T6" fmla="*/ 139 w 164"/>
                  <a:gd name="T7" fmla="*/ 1226 h 1233"/>
                  <a:gd name="T8" fmla="*/ 137 w 164"/>
                  <a:gd name="T9" fmla="*/ 1222 h 1233"/>
                  <a:gd name="T10" fmla="*/ 114 w 164"/>
                  <a:gd name="T11" fmla="*/ 1138 h 1233"/>
                  <a:gd name="T12" fmla="*/ 93 w 164"/>
                  <a:gd name="T13" fmla="*/ 1055 h 1233"/>
                  <a:gd name="T14" fmla="*/ 74 w 164"/>
                  <a:gd name="T15" fmla="*/ 972 h 1233"/>
                  <a:gd name="T16" fmla="*/ 57 w 164"/>
                  <a:gd name="T17" fmla="*/ 891 h 1233"/>
                  <a:gd name="T18" fmla="*/ 43 w 164"/>
                  <a:gd name="T19" fmla="*/ 811 h 1233"/>
                  <a:gd name="T20" fmla="*/ 30 w 164"/>
                  <a:gd name="T21" fmla="*/ 732 h 1233"/>
                  <a:gd name="T22" fmla="*/ 20 w 164"/>
                  <a:gd name="T23" fmla="*/ 654 h 1233"/>
                  <a:gd name="T24" fmla="*/ 12 w 164"/>
                  <a:gd name="T25" fmla="*/ 578 h 1233"/>
                  <a:gd name="T26" fmla="*/ 5 w 164"/>
                  <a:gd name="T27" fmla="*/ 502 h 1233"/>
                  <a:gd name="T28" fmla="*/ 2 w 164"/>
                  <a:gd name="T29" fmla="*/ 429 h 1233"/>
                  <a:gd name="T30" fmla="*/ 0 w 164"/>
                  <a:gd name="T31" fmla="*/ 355 h 1233"/>
                  <a:gd name="T32" fmla="*/ 0 w 164"/>
                  <a:gd name="T33" fmla="*/ 284 h 1233"/>
                  <a:gd name="T34" fmla="*/ 1 w 164"/>
                  <a:gd name="T35" fmla="*/ 248 h 1233"/>
                  <a:gd name="T36" fmla="*/ 3 w 164"/>
                  <a:gd name="T37" fmla="*/ 214 h 1233"/>
                  <a:gd name="T38" fmla="*/ 5 w 164"/>
                  <a:gd name="T39" fmla="*/ 179 h 1233"/>
                  <a:gd name="T40" fmla="*/ 7 w 164"/>
                  <a:gd name="T41" fmla="*/ 145 h 1233"/>
                  <a:gd name="T42" fmla="*/ 11 w 164"/>
                  <a:gd name="T43" fmla="*/ 111 h 1233"/>
                  <a:gd name="T44" fmla="*/ 14 w 164"/>
                  <a:gd name="T45" fmla="*/ 78 h 1233"/>
                  <a:gd name="T46" fmla="*/ 18 w 164"/>
                  <a:gd name="T47" fmla="*/ 44 h 1233"/>
                  <a:gd name="T48" fmla="*/ 24 w 164"/>
                  <a:gd name="T49" fmla="*/ 11 h 1233"/>
                  <a:gd name="T50" fmla="*/ 25 w 164"/>
                  <a:gd name="T51" fmla="*/ 7 h 1233"/>
                  <a:gd name="T52" fmla="*/ 29 w 164"/>
                  <a:gd name="T53" fmla="*/ 2 h 1233"/>
                  <a:gd name="T54" fmla="*/ 33 w 164"/>
                  <a:gd name="T55" fmla="*/ 0 h 1233"/>
                  <a:gd name="T56" fmla="*/ 39 w 164"/>
                  <a:gd name="T57" fmla="*/ 0 h 1233"/>
                  <a:gd name="T58" fmla="*/ 44 w 164"/>
                  <a:gd name="T59" fmla="*/ 2 h 1233"/>
                  <a:gd name="T60" fmla="*/ 47 w 164"/>
                  <a:gd name="T61" fmla="*/ 5 h 1233"/>
                  <a:gd name="T62" fmla="*/ 50 w 164"/>
                  <a:gd name="T63" fmla="*/ 10 h 1233"/>
                  <a:gd name="T64" fmla="*/ 50 w 164"/>
                  <a:gd name="T65" fmla="*/ 15 h 1233"/>
                  <a:gd name="T66" fmla="*/ 45 w 164"/>
                  <a:gd name="T67" fmla="*/ 48 h 1233"/>
                  <a:gd name="T68" fmla="*/ 41 w 164"/>
                  <a:gd name="T69" fmla="*/ 81 h 1233"/>
                  <a:gd name="T70" fmla="*/ 38 w 164"/>
                  <a:gd name="T71" fmla="*/ 114 h 1233"/>
                  <a:gd name="T72" fmla="*/ 34 w 164"/>
                  <a:gd name="T73" fmla="*/ 148 h 1233"/>
                  <a:gd name="T74" fmla="*/ 32 w 164"/>
                  <a:gd name="T75" fmla="*/ 181 h 1233"/>
                  <a:gd name="T76" fmla="*/ 30 w 164"/>
                  <a:gd name="T77" fmla="*/ 216 h 1233"/>
                  <a:gd name="T78" fmla="*/ 28 w 164"/>
                  <a:gd name="T79" fmla="*/ 250 h 1233"/>
                  <a:gd name="T80" fmla="*/ 27 w 164"/>
                  <a:gd name="T81" fmla="*/ 285 h 1233"/>
                  <a:gd name="T82" fmla="*/ 27 w 164"/>
                  <a:gd name="T83" fmla="*/ 356 h 1233"/>
                  <a:gd name="T84" fmla="*/ 29 w 164"/>
                  <a:gd name="T85" fmla="*/ 428 h 1233"/>
                  <a:gd name="T86" fmla="*/ 32 w 164"/>
                  <a:gd name="T87" fmla="*/ 501 h 1233"/>
                  <a:gd name="T88" fmla="*/ 39 w 164"/>
                  <a:gd name="T89" fmla="*/ 575 h 1233"/>
                  <a:gd name="T90" fmla="*/ 47 w 164"/>
                  <a:gd name="T91" fmla="*/ 652 h 1233"/>
                  <a:gd name="T92" fmla="*/ 57 w 164"/>
                  <a:gd name="T93" fmla="*/ 729 h 1233"/>
                  <a:gd name="T94" fmla="*/ 70 w 164"/>
                  <a:gd name="T95" fmla="*/ 806 h 1233"/>
                  <a:gd name="T96" fmla="*/ 84 w 164"/>
                  <a:gd name="T97" fmla="*/ 886 h 1233"/>
                  <a:gd name="T98" fmla="*/ 100 w 164"/>
                  <a:gd name="T99" fmla="*/ 967 h 1233"/>
                  <a:gd name="T100" fmla="*/ 120 w 164"/>
                  <a:gd name="T101" fmla="*/ 1048 h 1233"/>
                  <a:gd name="T102" fmla="*/ 140 w 164"/>
                  <a:gd name="T103" fmla="*/ 1131 h 1233"/>
                  <a:gd name="T104" fmla="*/ 163 w 164"/>
                  <a:gd name="T105" fmla="*/ 1216 h 1233"/>
                  <a:gd name="T106" fmla="*/ 164 w 164"/>
                  <a:gd name="T107" fmla="*/ 1221 h 1233"/>
                  <a:gd name="T108" fmla="*/ 162 w 164"/>
                  <a:gd name="T109" fmla="*/ 1225 h 1233"/>
                  <a:gd name="T110" fmla="*/ 159 w 164"/>
                  <a:gd name="T111" fmla="*/ 1230 h 1233"/>
                  <a:gd name="T112" fmla="*/ 154 w 164"/>
                  <a:gd name="T113" fmla="*/ 1232 h 1233"/>
                  <a:gd name="T114" fmla="*/ 152 w 164"/>
                  <a:gd name="T115" fmla="*/ 1232 h 1233"/>
                  <a:gd name="T116" fmla="*/ 150 w 164"/>
                  <a:gd name="T117" fmla="*/ 1233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233">
                    <a:moveTo>
                      <a:pt x="150" y="1233"/>
                    </a:moveTo>
                    <a:lnTo>
                      <a:pt x="146" y="1232"/>
                    </a:lnTo>
                    <a:lnTo>
                      <a:pt x="142" y="1230"/>
                    </a:lnTo>
                    <a:lnTo>
                      <a:pt x="139" y="1226"/>
                    </a:lnTo>
                    <a:lnTo>
                      <a:pt x="137" y="1222"/>
                    </a:lnTo>
                    <a:lnTo>
                      <a:pt x="114" y="1138"/>
                    </a:lnTo>
                    <a:lnTo>
                      <a:pt x="93" y="1055"/>
                    </a:lnTo>
                    <a:lnTo>
                      <a:pt x="74" y="972"/>
                    </a:lnTo>
                    <a:lnTo>
                      <a:pt x="57" y="891"/>
                    </a:lnTo>
                    <a:lnTo>
                      <a:pt x="43" y="811"/>
                    </a:lnTo>
                    <a:lnTo>
                      <a:pt x="30" y="732"/>
                    </a:lnTo>
                    <a:lnTo>
                      <a:pt x="20" y="654"/>
                    </a:lnTo>
                    <a:lnTo>
                      <a:pt x="12" y="578"/>
                    </a:lnTo>
                    <a:lnTo>
                      <a:pt x="5" y="502"/>
                    </a:lnTo>
                    <a:lnTo>
                      <a:pt x="2" y="429"/>
                    </a:lnTo>
                    <a:lnTo>
                      <a:pt x="0" y="355"/>
                    </a:lnTo>
                    <a:lnTo>
                      <a:pt x="0" y="284"/>
                    </a:lnTo>
                    <a:lnTo>
                      <a:pt x="1" y="248"/>
                    </a:lnTo>
                    <a:lnTo>
                      <a:pt x="3" y="214"/>
                    </a:lnTo>
                    <a:lnTo>
                      <a:pt x="5" y="179"/>
                    </a:lnTo>
                    <a:lnTo>
                      <a:pt x="7" y="145"/>
                    </a:lnTo>
                    <a:lnTo>
                      <a:pt x="11" y="111"/>
                    </a:lnTo>
                    <a:lnTo>
                      <a:pt x="14" y="78"/>
                    </a:lnTo>
                    <a:lnTo>
                      <a:pt x="18" y="44"/>
                    </a:lnTo>
                    <a:lnTo>
                      <a:pt x="24" y="11"/>
                    </a:lnTo>
                    <a:lnTo>
                      <a:pt x="25" y="7"/>
                    </a:lnTo>
                    <a:lnTo>
                      <a:pt x="29" y="2"/>
                    </a:lnTo>
                    <a:lnTo>
                      <a:pt x="33" y="0"/>
                    </a:lnTo>
                    <a:lnTo>
                      <a:pt x="39" y="0"/>
                    </a:lnTo>
                    <a:lnTo>
                      <a:pt x="44" y="2"/>
                    </a:lnTo>
                    <a:lnTo>
                      <a:pt x="47" y="5"/>
                    </a:lnTo>
                    <a:lnTo>
                      <a:pt x="50" y="10"/>
                    </a:lnTo>
                    <a:lnTo>
                      <a:pt x="50" y="15"/>
                    </a:lnTo>
                    <a:lnTo>
                      <a:pt x="45" y="48"/>
                    </a:lnTo>
                    <a:lnTo>
                      <a:pt x="41" y="81"/>
                    </a:lnTo>
                    <a:lnTo>
                      <a:pt x="38" y="114"/>
                    </a:lnTo>
                    <a:lnTo>
                      <a:pt x="34" y="148"/>
                    </a:lnTo>
                    <a:lnTo>
                      <a:pt x="32" y="181"/>
                    </a:lnTo>
                    <a:lnTo>
                      <a:pt x="30" y="216"/>
                    </a:lnTo>
                    <a:lnTo>
                      <a:pt x="28" y="250"/>
                    </a:lnTo>
                    <a:lnTo>
                      <a:pt x="27" y="285"/>
                    </a:lnTo>
                    <a:lnTo>
                      <a:pt x="27" y="356"/>
                    </a:lnTo>
                    <a:lnTo>
                      <a:pt x="29" y="428"/>
                    </a:lnTo>
                    <a:lnTo>
                      <a:pt x="32" y="501"/>
                    </a:lnTo>
                    <a:lnTo>
                      <a:pt x="39" y="575"/>
                    </a:lnTo>
                    <a:lnTo>
                      <a:pt x="47" y="652"/>
                    </a:lnTo>
                    <a:lnTo>
                      <a:pt x="57" y="729"/>
                    </a:lnTo>
                    <a:lnTo>
                      <a:pt x="70" y="806"/>
                    </a:lnTo>
                    <a:lnTo>
                      <a:pt x="84" y="886"/>
                    </a:lnTo>
                    <a:lnTo>
                      <a:pt x="100" y="967"/>
                    </a:lnTo>
                    <a:lnTo>
                      <a:pt x="120" y="1048"/>
                    </a:lnTo>
                    <a:lnTo>
                      <a:pt x="140" y="1131"/>
                    </a:lnTo>
                    <a:lnTo>
                      <a:pt x="163" y="1216"/>
                    </a:lnTo>
                    <a:lnTo>
                      <a:pt x="164" y="1221"/>
                    </a:lnTo>
                    <a:lnTo>
                      <a:pt x="162" y="1225"/>
                    </a:lnTo>
                    <a:lnTo>
                      <a:pt x="159" y="1230"/>
                    </a:lnTo>
                    <a:lnTo>
                      <a:pt x="154" y="1232"/>
                    </a:lnTo>
                    <a:lnTo>
                      <a:pt x="152" y="1232"/>
                    </a:lnTo>
                    <a:lnTo>
                      <a:pt x="150" y="1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47"/>
              <p:cNvSpPr>
                <a:spLocks noEditPoints="1"/>
              </p:cNvSpPr>
              <p:nvPr userDrawn="1"/>
            </p:nvSpPr>
            <p:spPr bwMode="auto">
              <a:xfrm>
                <a:off x="2394" y="1869"/>
                <a:ext cx="221" cy="84"/>
              </a:xfrm>
              <a:custGeom>
                <a:avLst/>
                <a:gdLst>
                  <a:gd name="T0" fmla="*/ 10 w 663"/>
                  <a:gd name="T1" fmla="*/ 250 h 253"/>
                  <a:gd name="T2" fmla="*/ 0 w 663"/>
                  <a:gd name="T3" fmla="*/ 233 h 253"/>
                  <a:gd name="T4" fmla="*/ 6 w 663"/>
                  <a:gd name="T5" fmla="*/ 214 h 253"/>
                  <a:gd name="T6" fmla="*/ 63 w 663"/>
                  <a:gd name="T7" fmla="*/ 163 h 253"/>
                  <a:gd name="T8" fmla="*/ 138 w 663"/>
                  <a:gd name="T9" fmla="*/ 101 h 253"/>
                  <a:gd name="T10" fmla="*/ 208 w 663"/>
                  <a:gd name="T11" fmla="*/ 53 h 253"/>
                  <a:gd name="T12" fmla="*/ 253 w 663"/>
                  <a:gd name="T13" fmla="*/ 33 h 253"/>
                  <a:gd name="T14" fmla="*/ 301 w 663"/>
                  <a:gd name="T15" fmla="*/ 18 h 253"/>
                  <a:gd name="T16" fmla="*/ 380 w 663"/>
                  <a:gd name="T17" fmla="*/ 3 h 253"/>
                  <a:gd name="T18" fmla="*/ 455 w 663"/>
                  <a:gd name="T19" fmla="*/ 1 h 253"/>
                  <a:gd name="T20" fmla="*/ 501 w 663"/>
                  <a:gd name="T21" fmla="*/ 7 h 253"/>
                  <a:gd name="T22" fmla="*/ 542 w 663"/>
                  <a:gd name="T23" fmla="*/ 22 h 253"/>
                  <a:gd name="T24" fmla="*/ 577 w 663"/>
                  <a:gd name="T25" fmla="*/ 47 h 253"/>
                  <a:gd name="T26" fmla="*/ 608 w 663"/>
                  <a:gd name="T27" fmla="*/ 79 h 253"/>
                  <a:gd name="T28" fmla="*/ 633 w 663"/>
                  <a:gd name="T29" fmla="*/ 120 h 253"/>
                  <a:gd name="T30" fmla="*/ 654 w 663"/>
                  <a:gd name="T31" fmla="*/ 171 h 253"/>
                  <a:gd name="T32" fmla="*/ 663 w 663"/>
                  <a:gd name="T33" fmla="*/ 197 h 253"/>
                  <a:gd name="T34" fmla="*/ 655 w 663"/>
                  <a:gd name="T35" fmla="*/ 209 h 253"/>
                  <a:gd name="T36" fmla="*/ 649 w 663"/>
                  <a:gd name="T37" fmla="*/ 210 h 253"/>
                  <a:gd name="T38" fmla="*/ 626 w 663"/>
                  <a:gd name="T39" fmla="*/ 205 h 253"/>
                  <a:gd name="T40" fmla="*/ 577 w 663"/>
                  <a:gd name="T41" fmla="*/ 186 h 253"/>
                  <a:gd name="T42" fmla="*/ 526 w 663"/>
                  <a:gd name="T43" fmla="*/ 168 h 253"/>
                  <a:gd name="T44" fmla="*/ 460 w 663"/>
                  <a:gd name="T45" fmla="*/ 154 h 253"/>
                  <a:gd name="T46" fmla="*/ 401 w 663"/>
                  <a:gd name="T47" fmla="*/ 151 h 253"/>
                  <a:gd name="T48" fmla="*/ 356 w 663"/>
                  <a:gd name="T49" fmla="*/ 154 h 253"/>
                  <a:gd name="T50" fmla="*/ 282 w 663"/>
                  <a:gd name="T51" fmla="*/ 168 h 253"/>
                  <a:gd name="T52" fmla="*/ 204 w 663"/>
                  <a:gd name="T53" fmla="*/ 190 h 253"/>
                  <a:gd name="T54" fmla="*/ 64 w 663"/>
                  <a:gd name="T55" fmla="*/ 238 h 253"/>
                  <a:gd name="T56" fmla="*/ 22 w 663"/>
                  <a:gd name="T57" fmla="*/ 253 h 253"/>
                  <a:gd name="T58" fmla="*/ 409 w 663"/>
                  <a:gd name="T59" fmla="*/ 28 h 253"/>
                  <a:gd name="T60" fmla="*/ 321 w 663"/>
                  <a:gd name="T61" fmla="*/ 41 h 253"/>
                  <a:gd name="T62" fmla="*/ 247 w 663"/>
                  <a:gd name="T63" fmla="*/ 64 h 253"/>
                  <a:gd name="T64" fmla="*/ 208 w 663"/>
                  <a:gd name="T65" fmla="*/ 85 h 253"/>
                  <a:gd name="T66" fmla="*/ 138 w 663"/>
                  <a:gd name="T67" fmla="*/ 134 h 253"/>
                  <a:gd name="T68" fmla="*/ 75 w 663"/>
                  <a:gd name="T69" fmla="*/ 187 h 253"/>
                  <a:gd name="T70" fmla="*/ 81 w 663"/>
                  <a:gd name="T71" fmla="*/ 204 h 253"/>
                  <a:gd name="T72" fmla="*/ 220 w 663"/>
                  <a:gd name="T73" fmla="*/ 156 h 253"/>
                  <a:gd name="T74" fmla="*/ 291 w 663"/>
                  <a:gd name="T75" fmla="*/ 138 h 253"/>
                  <a:gd name="T76" fmla="*/ 358 w 663"/>
                  <a:gd name="T77" fmla="*/ 126 h 253"/>
                  <a:gd name="T78" fmla="*/ 432 w 663"/>
                  <a:gd name="T79" fmla="*/ 125 h 253"/>
                  <a:gd name="T80" fmla="*/ 512 w 663"/>
                  <a:gd name="T81" fmla="*/ 137 h 253"/>
                  <a:gd name="T82" fmla="*/ 569 w 663"/>
                  <a:gd name="T83" fmla="*/ 155 h 253"/>
                  <a:gd name="T84" fmla="*/ 607 w 663"/>
                  <a:gd name="T85" fmla="*/ 169 h 253"/>
                  <a:gd name="T86" fmla="*/ 623 w 663"/>
                  <a:gd name="T87" fmla="*/ 163 h 253"/>
                  <a:gd name="T88" fmla="*/ 604 w 663"/>
                  <a:gd name="T89" fmla="*/ 123 h 253"/>
                  <a:gd name="T90" fmla="*/ 582 w 663"/>
                  <a:gd name="T91" fmla="*/ 90 h 253"/>
                  <a:gd name="T92" fmla="*/ 556 w 663"/>
                  <a:gd name="T93" fmla="*/ 64 h 253"/>
                  <a:gd name="T94" fmla="*/ 527 w 663"/>
                  <a:gd name="T95" fmla="*/ 46 h 253"/>
                  <a:gd name="T96" fmla="*/ 493 w 663"/>
                  <a:gd name="T97" fmla="*/ 33 h 253"/>
                  <a:gd name="T98" fmla="*/ 453 w 663"/>
                  <a:gd name="T99" fmla="*/ 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3" h="253">
                    <a:moveTo>
                      <a:pt x="22" y="253"/>
                    </a:moveTo>
                    <a:lnTo>
                      <a:pt x="15" y="252"/>
                    </a:lnTo>
                    <a:lnTo>
                      <a:pt x="10" y="250"/>
                    </a:lnTo>
                    <a:lnTo>
                      <a:pt x="4" y="245"/>
                    </a:lnTo>
                    <a:lnTo>
                      <a:pt x="1" y="239"/>
                    </a:lnTo>
                    <a:lnTo>
                      <a:pt x="0" y="233"/>
                    </a:lnTo>
                    <a:lnTo>
                      <a:pt x="0" y="226"/>
                    </a:lnTo>
                    <a:lnTo>
                      <a:pt x="2" y="220"/>
                    </a:lnTo>
                    <a:lnTo>
                      <a:pt x="6" y="214"/>
                    </a:lnTo>
                    <a:lnTo>
                      <a:pt x="23" y="199"/>
                    </a:lnTo>
                    <a:lnTo>
                      <a:pt x="41" y="182"/>
                    </a:lnTo>
                    <a:lnTo>
                      <a:pt x="63" y="163"/>
                    </a:lnTo>
                    <a:lnTo>
                      <a:pt x="86" y="142"/>
                    </a:lnTo>
                    <a:lnTo>
                      <a:pt x="111" y="121"/>
                    </a:lnTo>
                    <a:lnTo>
                      <a:pt x="138" y="101"/>
                    </a:lnTo>
                    <a:lnTo>
                      <a:pt x="166" y="80"/>
                    </a:lnTo>
                    <a:lnTo>
                      <a:pt x="194" y="61"/>
                    </a:lnTo>
                    <a:lnTo>
                      <a:pt x="208" y="53"/>
                    </a:lnTo>
                    <a:lnTo>
                      <a:pt x="222" y="46"/>
                    </a:lnTo>
                    <a:lnTo>
                      <a:pt x="237" y="39"/>
                    </a:lnTo>
                    <a:lnTo>
                      <a:pt x="253" y="33"/>
                    </a:lnTo>
                    <a:lnTo>
                      <a:pt x="269" y="28"/>
                    </a:lnTo>
                    <a:lnTo>
                      <a:pt x="285" y="22"/>
                    </a:lnTo>
                    <a:lnTo>
                      <a:pt x="301" y="18"/>
                    </a:lnTo>
                    <a:lnTo>
                      <a:pt x="317" y="14"/>
                    </a:lnTo>
                    <a:lnTo>
                      <a:pt x="349" y="7"/>
                    </a:lnTo>
                    <a:lnTo>
                      <a:pt x="380" y="3"/>
                    </a:lnTo>
                    <a:lnTo>
                      <a:pt x="409" y="1"/>
                    </a:lnTo>
                    <a:lnTo>
                      <a:pt x="436" y="0"/>
                    </a:lnTo>
                    <a:lnTo>
                      <a:pt x="455" y="1"/>
                    </a:lnTo>
                    <a:lnTo>
                      <a:pt x="472" y="2"/>
                    </a:lnTo>
                    <a:lnTo>
                      <a:pt x="488" y="4"/>
                    </a:lnTo>
                    <a:lnTo>
                      <a:pt x="501" y="7"/>
                    </a:lnTo>
                    <a:lnTo>
                      <a:pt x="515" y="11"/>
                    </a:lnTo>
                    <a:lnTo>
                      <a:pt x="529" y="17"/>
                    </a:lnTo>
                    <a:lnTo>
                      <a:pt x="542" y="22"/>
                    </a:lnTo>
                    <a:lnTo>
                      <a:pt x="554" y="30"/>
                    </a:lnTo>
                    <a:lnTo>
                      <a:pt x="566" y="37"/>
                    </a:lnTo>
                    <a:lnTo>
                      <a:pt x="577" y="47"/>
                    </a:lnTo>
                    <a:lnTo>
                      <a:pt x="587" y="57"/>
                    </a:lnTo>
                    <a:lnTo>
                      <a:pt x="598" y="68"/>
                    </a:lnTo>
                    <a:lnTo>
                      <a:pt x="608" y="79"/>
                    </a:lnTo>
                    <a:lnTo>
                      <a:pt x="616" y="92"/>
                    </a:lnTo>
                    <a:lnTo>
                      <a:pt x="625" y="105"/>
                    </a:lnTo>
                    <a:lnTo>
                      <a:pt x="633" y="120"/>
                    </a:lnTo>
                    <a:lnTo>
                      <a:pt x="641" y="137"/>
                    </a:lnTo>
                    <a:lnTo>
                      <a:pt x="648" y="153"/>
                    </a:lnTo>
                    <a:lnTo>
                      <a:pt x="654" y="171"/>
                    </a:lnTo>
                    <a:lnTo>
                      <a:pt x="661" y="190"/>
                    </a:lnTo>
                    <a:lnTo>
                      <a:pt x="663" y="193"/>
                    </a:lnTo>
                    <a:lnTo>
                      <a:pt x="663" y="197"/>
                    </a:lnTo>
                    <a:lnTo>
                      <a:pt x="662" y="202"/>
                    </a:lnTo>
                    <a:lnTo>
                      <a:pt x="660" y="207"/>
                    </a:lnTo>
                    <a:lnTo>
                      <a:pt x="655" y="209"/>
                    </a:lnTo>
                    <a:lnTo>
                      <a:pt x="650" y="210"/>
                    </a:lnTo>
                    <a:lnTo>
                      <a:pt x="649" y="210"/>
                    </a:lnTo>
                    <a:lnTo>
                      <a:pt x="649" y="210"/>
                    </a:lnTo>
                    <a:lnTo>
                      <a:pt x="648" y="210"/>
                    </a:lnTo>
                    <a:lnTo>
                      <a:pt x="646" y="210"/>
                    </a:lnTo>
                    <a:lnTo>
                      <a:pt x="626" y="205"/>
                    </a:lnTo>
                    <a:lnTo>
                      <a:pt x="609" y="199"/>
                    </a:lnTo>
                    <a:lnTo>
                      <a:pt x="592" y="193"/>
                    </a:lnTo>
                    <a:lnTo>
                      <a:pt x="577" y="186"/>
                    </a:lnTo>
                    <a:lnTo>
                      <a:pt x="560" y="180"/>
                    </a:lnTo>
                    <a:lnTo>
                      <a:pt x="544" y="173"/>
                    </a:lnTo>
                    <a:lnTo>
                      <a:pt x="526" y="168"/>
                    </a:lnTo>
                    <a:lnTo>
                      <a:pt x="506" y="163"/>
                    </a:lnTo>
                    <a:lnTo>
                      <a:pt x="485" y="158"/>
                    </a:lnTo>
                    <a:lnTo>
                      <a:pt x="460" y="154"/>
                    </a:lnTo>
                    <a:lnTo>
                      <a:pt x="432" y="152"/>
                    </a:lnTo>
                    <a:lnTo>
                      <a:pt x="401" y="151"/>
                    </a:lnTo>
                    <a:lnTo>
                      <a:pt x="401" y="151"/>
                    </a:lnTo>
                    <a:lnTo>
                      <a:pt x="401" y="151"/>
                    </a:lnTo>
                    <a:lnTo>
                      <a:pt x="379" y="152"/>
                    </a:lnTo>
                    <a:lnTo>
                      <a:pt x="356" y="154"/>
                    </a:lnTo>
                    <a:lnTo>
                      <a:pt x="332" y="157"/>
                    </a:lnTo>
                    <a:lnTo>
                      <a:pt x="308" y="163"/>
                    </a:lnTo>
                    <a:lnTo>
                      <a:pt x="282" y="168"/>
                    </a:lnTo>
                    <a:lnTo>
                      <a:pt x="256" y="174"/>
                    </a:lnTo>
                    <a:lnTo>
                      <a:pt x="230" y="182"/>
                    </a:lnTo>
                    <a:lnTo>
                      <a:pt x="204" y="190"/>
                    </a:lnTo>
                    <a:lnTo>
                      <a:pt x="152" y="207"/>
                    </a:lnTo>
                    <a:lnTo>
                      <a:pt x="105" y="223"/>
                    </a:lnTo>
                    <a:lnTo>
                      <a:pt x="64" y="238"/>
                    </a:lnTo>
                    <a:lnTo>
                      <a:pt x="30" y="252"/>
                    </a:lnTo>
                    <a:lnTo>
                      <a:pt x="26" y="253"/>
                    </a:lnTo>
                    <a:lnTo>
                      <a:pt x="22" y="253"/>
                    </a:lnTo>
                    <a:close/>
                    <a:moveTo>
                      <a:pt x="436" y="27"/>
                    </a:moveTo>
                    <a:lnTo>
                      <a:pt x="436" y="27"/>
                    </a:lnTo>
                    <a:lnTo>
                      <a:pt x="409" y="28"/>
                    </a:lnTo>
                    <a:lnTo>
                      <a:pt x="380" y="31"/>
                    </a:lnTo>
                    <a:lnTo>
                      <a:pt x="351" y="35"/>
                    </a:lnTo>
                    <a:lnTo>
                      <a:pt x="321" y="41"/>
                    </a:lnTo>
                    <a:lnTo>
                      <a:pt x="290" y="49"/>
                    </a:lnTo>
                    <a:lnTo>
                      <a:pt x="261" y="59"/>
                    </a:lnTo>
                    <a:lnTo>
                      <a:pt x="247" y="64"/>
                    </a:lnTo>
                    <a:lnTo>
                      <a:pt x="233" y="71"/>
                    </a:lnTo>
                    <a:lnTo>
                      <a:pt x="221" y="77"/>
                    </a:lnTo>
                    <a:lnTo>
                      <a:pt x="208" y="85"/>
                    </a:lnTo>
                    <a:lnTo>
                      <a:pt x="185" y="100"/>
                    </a:lnTo>
                    <a:lnTo>
                      <a:pt x="161" y="117"/>
                    </a:lnTo>
                    <a:lnTo>
                      <a:pt x="138" y="134"/>
                    </a:lnTo>
                    <a:lnTo>
                      <a:pt x="115" y="153"/>
                    </a:lnTo>
                    <a:lnTo>
                      <a:pt x="95" y="170"/>
                    </a:lnTo>
                    <a:lnTo>
                      <a:pt x="75" y="187"/>
                    </a:lnTo>
                    <a:lnTo>
                      <a:pt x="57" y="204"/>
                    </a:lnTo>
                    <a:lnTo>
                      <a:pt x="42" y="219"/>
                    </a:lnTo>
                    <a:lnTo>
                      <a:pt x="81" y="204"/>
                    </a:lnTo>
                    <a:lnTo>
                      <a:pt x="125" y="187"/>
                    </a:lnTo>
                    <a:lnTo>
                      <a:pt x="172" y="171"/>
                    </a:lnTo>
                    <a:lnTo>
                      <a:pt x="220" y="156"/>
                    </a:lnTo>
                    <a:lnTo>
                      <a:pt x="244" y="150"/>
                    </a:lnTo>
                    <a:lnTo>
                      <a:pt x="268" y="143"/>
                    </a:lnTo>
                    <a:lnTo>
                      <a:pt x="291" y="138"/>
                    </a:lnTo>
                    <a:lnTo>
                      <a:pt x="315" y="133"/>
                    </a:lnTo>
                    <a:lnTo>
                      <a:pt x="337" y="129"/>
                    </a:lnTo>
                    <a:lnTo>
                      <a:pt x="358" y="126"/>
                    </a:lnTo>
                    <a:lnTo>
                      <a:pt x="379" y="125"/>
                    </a:lnTo>
                    <a:lnTo>
                      <a:pt x="397" y="124"/>
                    </a:lnTo>
                    <a:lnTo>
                      <a:pt x="432" y="125"/>
                    </a:lnTo>
                    <a:lnTo>
                      <a:pt x="462" y="128"/>
                    </a:lnTo>
                    <a:lnTo>
                      <a:pt x="489" y="131"/>
                    </a:lnTo>
                    <a:lnTo>
                      <a:pt x="512" y="137"/>
                    </a:lnTo>
                    <a:lnTo>
                      <a:pt x="533" y="142"/>
                    </a:lnTo>
                    <a:lnTo>
                      <a:pt x="552" y="148"/>
                    </a:lnTo>
                    <a:lnTo>
                      <a:pt x="569" y="155"/>
                    </a:lnTo>
                    <a:lnTo>
                      <a:pt x="586" y="161"/>
                    </a:lnTo>
                    <a:lnTo>
                      <a:pt x="597" y="166"/>
                    </a:lnTo>
                    <a:lnTo>
                      <a:pt x="607" y="169"/>
                    </a:lnTo>
                    <a:lnTo>
                      <a:pt x="618" y="173"/>
                    </a:lnTo>
                    <a:lnTo>
                      <a:pt x="628" y="177"/>
                    </a:lnTo>
                    <a:lnTo>
                      <a:pt x="623" y="163"/>
                    </a:lnTo>
                    <a:lnTo>
                      <a:pt x="616" y="148"/>
                    </a:lnTo>
                    <a:lnTo>
                      <a:pt x="610" y="136"/>
                    </a:lnTo>
                    <a:lnTo>
                      <a:pt x="604" y="123"/>
                    </a:lnTo>
                    <a:lnTo>
                      <a:pt x="597" y="111"/>
                    </a:lnTo>
                    <a:lnTo>
                      <a:pt x="589" y="100"/>
                    </a:lnTo>
                    <a:lnTo>
                      <a:pt x="582" y="90"/>
                    </a:lnTo>
                    <a:lnTo>
                      <a:pt x="573" y="80"/>
                    </a:lnTo>
                    <a:lnTo>
                      <a:pt x="565" y="73"/>
                    </a:lnTo>
                    <a:lnTo>
                      <a:pt x="556" y="64"/>
                    </a:lnTo>
                    <a:lnTo>
                      <a:pt x="546" y="58"/>
                    </a:lnTo>
                    <a:lnTo>
                      <a:pt x="537" y="51"/>
                    </a:lnTo>
                    <a:lnTo>
                      <a:pt x="527" y="46"/>
                    </a:lnTo>
                    <a:lnTo>
                      <a:pt x="516" y="41"/>
                    </a:lnTo>
                    <a:lnTo>
                      <a:pt x="505" y="36"/>
                    </a:lnTo>
                    <a:lnTo>
                      <a:pt x="493" y="33"/>
                    </a:lnTo>
                    <a:lnTo>
                      <a:pt x="483" y="31"/>
                    </a:lnTo>
                    <a:lnTo>
                      <a:pt x="469" y="29"/>
                    </a:lnTo>
                    <a:lnTo>
                      <a:pt x="453" y="28"/>
                    </a:lnTo>
                    <a:lnTo>
                      <a:pt x="43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48"/>
              <p:cNvSpPr>
                <a:spLocks noEditPoints="1"/>
              </p:cNvSpPr>
              <p:nvPr userDrawn="1"/>
            </p:nvSpPr>
            <p:spPr bwMode="auto">
              <a:xfrm>
                <a:off x="1534" y="1914"/>
                <a:ext cx="307" cy="386"/>
              </a:xfrm>
              <a:custGeom>
                <a:avLst/>
                <a:gdLst>
                  <a:gd name="T0" fmla="*/ 374 w 922"/>
                  <a:gd name="T1" fmla="*/ 1156 h 1158"/>
                  <a:gd name="T2" fmla="*/ 271 w 922"/>
                  <a:gd name="T3" fmla="*/ 1129 h 1158"/>
                  <a:gd name="T4" fmla="*/ 175 w 922"/>
                  <a:gd name="T5" fmla="*/ 1068 h 1158"/>
                  <a:gd name="T6" fmla="*/ 96 w 922"/>
                  <a:gd name="T7" fmla="*/ 979 h 1158"/>
                  <a:gd name="T8" fmla="*/ 38 w 922"/>
                  <a:gd name="T9" fmla="*/ 863 h 1158"/>
                  <a:gd name="T10" fmla="*/ 7 w 922"/>
                  <a:gd name="T11" fmla="*/ 734 h 1158"/>
                  <a:gd name="T12" fmla="*/ 1 w 922"/>
                  <a:gd name="T13" fmla="*/ 595 h 1158"/>
                  <a:gd name="T14" fmla="*/ 24 w 922"/>
                  <a:gd name="T15" fmla="*/ 455 h 1158"/>
                  <a:gd name="T16" fmla="*/ 67 w 922"/>
                  <a:gd name="T17" fmla="*/ 333 h 1158"/>
                  <a:gd name="T18" fmla="*/ 127 w 922"/>
                  <a:gd name="T19" fmla="*/ 226 h 1158"/>
                  <a:gd name="T20" fmla="*/ 203 w 922"/>
                  <a:gd name="T21" fmla="*/ 136 h 1158"/>
                  <a:gd name="T22" fmla="*/ 289 w 922"/>
                  <a:gd name="T23" fmla="*/ 66 h 1158"/>
                  <a:gd name="T24" fmla="*/ 387 w 922"/>
                  <a:gd name="T25" fmla="*/ 20 h 1158"/>
                  <a:gd name="T26" fmla="*/ 488 w 922"/>
                  <a:gd name="T27" fmla="*/ 1 h 1158"/>
                  <a:gd name="T28" fmla="*/ 586 w 922"/>
                  <a:gd name="T29" fmla="*/ 8 h 1158"/>
                  <a:gd name="T30" fmla="*/ 693 w 922"/>
                  <a:gd name="T31" fmla="*/ 50 h 1158"/>
                  <a:gd name="T32" fmla="*/ 783 w 922"/>
                  <a:gd name="T33" fmla="*/ 124 h 1158"/>
                  <a:gd name="T34" fmla="*/ 852 w 922"/>
                  <a:gd name="T35" fmla="*/ 222 h 1158"/>
                  <a:gd name="T36" fmla="*/ 898 w 922"/>
                  <a:gd name="T37" fmla="*/ 341 h 1158"/>
                  <a:gd name="T38" fmla="*/ 921 w 922"/>
                  <a:gd name="T39" fmla="*/ 474 h 1158"/>
                  <a:gd name="T40" fmla="*/ 916 w 922"/>
                  <a:gd name="T41" fmla="*/ 617 h 1158"/>
                  <a:gd name="T42" fmla="*/ 883 w 922"/>
                  <a:gd name="T43" fmla="*/ 753 h 1158"/>
                  <a:gd name="T44" fmla="*/ 834 w 922"/>
                  <a:gd name="T45" fmla="*/ 870 h 1158"/>
                  <a:gd name="T46" fmla="*/ 767 w 922"/>
                  <a:gd name="T47" fmla="*/ 970 h 1158"/>
                  <a:gd name="T48" fmla="*/ 686 w 922"/>
                  <a:gd name="T49" fmla="*/ 1052 h 1158"/>
                  <a:gd name="T50" fmla="*/ 595 w 922"/>
                  <a:gd name="T51" fmla="*/ 1112 h 1158"/>
                  <a:gd name="T52" fmla="*/ 496 w 922"/>
                  <a:gd name="T53" fmla="*/ 1149 h 1158"/>
                  <a:gd name="T54" fmla="*/ 510 w 922"/>
                  <a:gd name="T55" fmla="*/ 27 h 1158"/>
                  <a:gd name="T56" fmla="*/ 431 w 922"/>
                  <a:gd name="T57" fmla="*/ 35 h 1158"/>
                  <a:gd name="T58" fmla="*/ 338 w 922"/>
                  <a:gd name="T59" fmla="*/ 70 h 1158"/>
                  <a:gd name="T60" fmla="*/ 252 w 922"/>
                  <a:gd name="T61" fmla="*/ 128 h 1158"/>
                  <a:gd name="T62" fmla="*/ 175 w 922"/>
                  <a:gd name="T63" fmla="*/ 207 h 1158"/>
                  <a:gd name="T64" fmla="*/ 111 w 922"/>
                  <a:gd name="T65" fmla="*/ 303 h 1158"/>
                  <a:gd name="T66" fmla="*/ 64 w 922"/>
                  <a:gd name="T67" fmla="*/ 414 h 1158"/>
                  <a:gd name="T68" fmla="*/ 34 w 922"/>
                  <a:gd name="T69" fmla="*/ 543 h 1158"/>
                  <a:gd name="T70" fmla="*/ 28 w 922"/>
                  <a:gd name="T71" fmla="*/ 677 h 1158"/>
                  <a:gd name="T72" fmla="*/ 48 w 922"/>
                  <a:gd name="T73" fmla="*/ 806 h 1158"/>
                  <a:gd name="T74" fmla="*/ 93 w 922"/>
                  <a:gd name="T75" fmla="*/ 922 h 1158"/>
                  <a:gd name="T76" fmla="*/ 160 w 922"/>
                  <a:gd name="T77" fmla="*/ 1017 h 1158"/>
                  <a:gd name="T78" fmla="*/ 244 w 922"/>
                  <a:gd name="T79" fmla="*/ 1084 h 1158"/>
                  <a:gd name="T80" fmla="*/ 341 w 922"/>
                  <a:gd name="T81" fmla="*/ 1123 h 1158"/>
                  <a:gd name="T82" fmla="*/ 433 w 922"/>
                  <a:gd name="T83" fmla="*/ 1131 h 1158"/>
                  <a:gd name="T84" fmla="*/ 529 w 922"/>
                  <a:gd name="T85" fmla="*/ 1111 h 1158"/>
                  <a:gd name="T86" fmla="*/ 620 w 922"/>
                  <a:gd name="T87" fmla="*/ 1067 h 1158"/>
                  <a:gd name="T88" fmla="*/ 703 w 922"/>
                  <a:gd name="T89" fmla="*/ 1000 h 1158"/>
                  <a:gd name="T90" fmla="*/ 774 w 922"/>
                  <a:gd name="T91" fmla="*/ 915 h 1158"/>
                  <a:gd name="T92" fmla="*/ 832 w 922"/>
                  <a:gd name="T93" fmla="*/ 812 h 1158"/>
                  <a:gd name="T94" fmla="*/ 873 w 922"/>
                  <a:gd name="T95" fmla="*/ 695 h 1158"/>
                  <a:gd name="T96" fmla="*/ 894 w 922"/>
                  <a:gd name="T97" fmla="*/ 559 h 1158"/>
                  <a:gd name="T98" fmla="*/ 889 w 922"/>
                  <a:gd name="T99" fmla="*/ 426 h 1158"/>
                  <a:gd name="T100" fmla="*/ 859 w 922"/>
                  <a:gd name="T101" fmla="*/ 304 h 1158"/>
                  <a:gd name="T102" fmla="*/ 807 w 922"/>
                  <a:gd name="T103" fmla="*/ 197 h 1158"/>
                  <a:gd name="T104" fmla="*/ 733 w 922"/>
                  <a:gd name="T105" fmla="*/ 113 h 1158"/>
                  <a:gd name="T106" fmla="*/ 643 w 922"/>
                  <a:gd name="T107" fmla="*/ 55 h 1158"/>
                  <a:gd name="T108" fmla="*/ 545 w 922"/>
                  <a:gd name="T109" fmla="*/ 2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2" h="1158">
                    <a:moveTo>
                      <a:pt x="413" y="1158"/>
                    </a:moveTo>
                    <a:lnTo>
                      <a:pt x="413" y="1158"/>
                    </a:lnTo>
                    <a:lnTo>
                      <a:pt x="413" y="1158"/>
                    </a:lnTo>
                    <a:lnTo>
                      <a:pt x="393" y="1158"/>
                    </a:lnTo>
                    <a:lnTo>
                      <a:pt x="374" y="1156"/>
                    </a:lnTo>
                    <a:lnTo>
                      <a:pt x="355" y="1153"/>
                    </a:lnTo>
                    <a:lnTo>
                      <a:pt x="336" y="1149"/>
                    </a:lnTo>
                    <a:lnTo>
                      <a:pt x="314" y="1144"/>
                    </a:lnTo>
                    <a:lnTo>
                      <a:pt x="293" y="1137"/>
                    </a:lnTo>
                    <a:lnTo>
                      <a:pt x="271" y="1129"/>
                    </a:lnTo>
                    <a:lnTo>
                      <a:pt x="251" y="1119"/>
                    </a:lnTo>
                    <a:lnTo>
                      <a:pt x="231" y="1108"/>
                    </a:lnTo>
                    <a:lnTo>
                      <a:pt x="212" y="1096"/>
                    </a:lnTo>
                    <a:lnTo>
                      <a:pt x="192" y="1083"/>
                    </a:lnTo>
                    <a:lnTo>
                      <a:pt x="175" y="1068"/>
                    </a:lnTo>
                    <a:lnTo>
                      <a:pt x="158" y="1053"/>
                    </a:lnTo>
                    <a:lnTo>
                      <a:pt x="140" y="1036"/>
                    </a:lnTo>
                    <a:lnTo>
                      <a:pt x="125" y="1019"/>
                    </a:lnTo>
                    <a:lnTo>
                      <a:pt x="110" y="999"/>
                    </a:lnTo>
                    <a:lnTo>
                      <a:pt x="96" y="979"/>
                    </a:lnTo>
                    <a:lnTo>
                      <a:pt x="82" y="958"/>
                    </a:lnTo>
                    <a:lnTo>
                      <a:pt x="70" y="935"/>
                    </a:lnTo>
                    <a:lnTo>
                      <a:pt x="58" y="912"/>
                    </a:lnTo>
                    <a:lnTo>
                      <a:pt x="48" y="888"/>
                    </a:lnTo>
                    <a:lnTo>
                      <a:pt x="38" y="863"/>
                    </a:lnTo>
                    <a:lnTo>
                      <a:pt x="29" y="838"/>
                    </a:lnTo>
                    <a:lnTo>
                      <a:pt x="22" y="813"/>
                    </a:lnTo>
                    <a:lnTo>
                      <a:pt x="15" y="786"/>
                    </a:lnTo>
                    <a:lnTo>
                      <a:pt x="11" y="761"/>
                    </a:lnTo>
                    <a:lnTo>
                      <a:pt x="7" y="734"/>
                    </a:lnTo>
                    <a:lnTo>
                      <a:pt x="3" y="707"/>
                    </a:lnTo>
                    <a:lnTo>
                      <a:pt x="1" y="679"/>
                    </a:lnTo>
                    <a:lnTo>
                      <a:pt x="0" y="652"/>
                    </a:lnTo>
                    <a:lnTo>
                      <a:pt x="0" y="623"/>
                    </a:lnTo>
                    <a:lnTo>
                      <a:pt x="1" y="595"/>
                    </a:lnTo>
                    <a:lnTo>
                      <a:pt x="3" y="567"/>
                    </a:lnTo>
                    <a:lnTo>
                      <a:pt x="8" y="538"/>
                    </a:lnTo>
                    <a:lnTo>
                      <a:pt x="12" y="510"/>
                    </a:lnTo>
                    <a:lnTo>
                      <a:pt x="17" y="481"/>
                    </a:lnTo>
                    <a:lnTo>
                      <a:pt x="24" y="455"/>
                    </a:lnTo>
                    <a:lnTo>
                      <a:pt x="30" y="430"/>
                    </a:lnTo>
                    <a:lnTo>
                      <a:pt x="39" y="405"/>
                    </a:lnTo>
                    <a:lnTo>
                      <a:pt x="48" y="381"/>
                    </a:lnTo>
                    <a:lnTo>
                      <a:pt x="56" y="357"/>
                    </a:lnTo>
                    <a:lnTo>
                      <a:pt x="67" y="333"/>
                    </a:lnTo>
                    <a:lnTo>
                      <a:pt x="78" y="310"/>
                    </a:lnTo>
                    <a:lnTo>
                      <a:pt x="89" y="289"/>
                    </a:lnTo>
                    <a:lnTo>
                      <a:pt x="101" y="267"/>
                    </a:lnTo>
                    <a:lnTo>
                      <a:pt x="113" y="246"/>
                    </a:lnTo>
                    <a:lnTo>
                      <a:pt x="127" y="226"/>
                    </a:lnTo>
                    <a:lnTo>
                      <a:pt x="142" y="207"/>
                    </a:lnTo>
                    <a:lnTo>
                      <a:pt x="156" y="187"/>
                    </a:lnTo>
                    <a:lnTo>
                      <a:pt x="171" y="170"/>
                    </a:lnTo>
                    <a:lnTo>
                      <a:pt x="187" y="153"/>
                    </a:lnTo>
                    <a:lnTo>
                      <a:pt x="203" y="136"/>
                    </a:lnTo>
                    <a:lnTo>
                      <a:pt x="219" y="120"/>
                    </a:lnTo>
                    <a:lnTo>
                      <a:pt x="237" y="105"/>
                    </a:lnTo>
                    <a:lnTo>
                      <a:pt x="254" y="91"/>
                    </a:lnTo>
                    <a:lnTo>
                      <a:pt x="272" y="78"/>
                    </a:lnTo>
                    <a:lnTo>
                      <a:pt x="289" y="66"/>
                    </a:lnTo>
                    <a:lnTo>
                      <a:pt x="309" y="56"/>
                    </a:lnTo>
                    <a:lnTo>
                      <a:pt x="327" y="45"/>
                    </a:lnTo>
                    <a:lnTo>
                      <a:pt x="347" y="36"/>
                    </a:lnTo>
                    <a:lnTo>
                      <a:pt x="366" y="28"/>
                    </a:lnTo>
                    <a:lnTo>
                      <a:pt x="387" y="20"/>
                    </a:lnTo>
                    <a:lnTo>
                      <a:pt x="406" y="15"/>
                    </a:lnTo>
                    <a:lnTo>
                      <a:pt x="427" y="9"/>
                    </a:lnTo>
                    <a:lnTo>
                      <a:pt x="447" y="5"/>
                    </a:lnTo>
                    <a:lnTo>
                      <a:pt x="468" y="2"/>
                    </a:lnTo>
                    <a:lnTo>
                      <a:pt x="488" y="1"/>
                    </a:lnTo>
                    <a:lnTo>
                      <a:pt x="510" y="0"/>
                    </a:lnTo>
                    <a:lnTo>
                      <a:pt x="529" y="1"/>
                    </a:lnTo>
                    <a:lnTo>
                      <a:pt x="549" y="2"/>
                    </a:lnTo>
                    <a:lnTo>
                      <a:pt x="567" y="5"/>
                    </a:lnTo>
                    <a:lnTo>
                      <a:pt x="586" y="8"/>
                    </a:lnTo>
                    <a:lnTo>
                      <a:pt x="609" y="14"/>
                    </a:lnTo>
                    <a:lnTo>
                      <a:pt x="631" y="21"/>
                    </a:lnTo>
                    <a:lnTo>
                      <a:pt x="652" y="30"/>
                    </a:lnTo>
                    <a:lnTo>
                      <a:pt x="673" y="39"/>
                    </a:lnTo>
                    <a:lnTo>
                      <a:pt x="693" y="50"/>
                    </a:lnTo>
                    <a:lnTo>
                      <a:pt x="713" y="63"/>
                    </a:lnTo>
                    <a:lnTo>
                      <a:pt x="731" y="76"/>
                    </a:lnTo>
                    <a:lnTo>
                      <a:pt x="749" y="91"/>
                    </a:lnTo>
                    <a:lnTo>
                      <a:pt x="767" y="106"/>
                    </a:lnTo>
                    <a:lnTo>
                      <a:pt x="783" y="124"/>
                    </a:lnTo>
                    <a:lnTo>
                      <a:pt x="798" y="141"/>
                    </a:lnTo>
                    <a:lnTo>
                      <a:pt x="813" y="160"/>
                    </a:lnTo>
                    <a:lnTo>
                      <a:pt x="827" y="180"/>
                    </a:lnTo>
                    <a:lnTo>
                      <a:pt x="840" y="200"/>
                    </a:lnTo>
                    <a:lnTo>
                      <a:pt x="852" y="222"/>
                    </a:lnTo>
                    <a:lnTo>
                      <a:pt x="863" y="245"/>
                    </a:lnTo>
                    <a:lnTo>
                      <a:pt x="874" y="267"/>
                    </a:lnTo>
                    <a:lnTo>
                      <a:pt x="883" y="291"/>
                    </a:lnTo>
                    <a:lnTo>
                      <a:pt x="892" y="316"/>
                    </a:lnTo>
                    <a:lnTo>
                      <a:pt x="898" y="341"/>
                    </a:lnTo>
                    <a:lnTo>
                      <a:pt x="905" y="367"/>
                    </a:lnTo>
                    <a:lnTo>
                      <a:pt x="910" y="392"/>
                    </a:lnTo>
                    <a:lnTo>
                      <a:pt x="916" y="419"/>
                    </a:lnTo>
                    <a:lnTo>
                      <a:pt x="919" y="446"/>
                    </a:lnTo>
                    <a:lnTo>
                      <a:pt x="921" y="474"/>
                    </a:lnTo>
                    <a:lnTo>
                      <a:pt x="922" y="503"/>
                    </a:lnTo>
                    <a:lnTo>
                      <a:pt x="922" y="531"/>
                    </a:lnTo>
                    <a:lnTo>
                      <a:pt x="921" y="560"/>
                    </a:lnTo>
                    <a:lnTo>
                      <a:pt x="919" y="588"/>
                    </a:lnTo>
                    <a:lnTo>
                      <a:pt x="916" y="617"/>
                    </a:lnTo>
                    <a:lnTo>
                      <a:pt x="910" y="647"/>
                    </a:lnTo>
                    <a:lnTo>
                      <a:pt x="905" y="676"/>
                    </a:lnTo>
                    <a:lnTo>
                      <a:pt x="898" y="702"/>
                    </a:lnTo>
                    <a:lnTo>
                      <a:pt x="892" y="727"/>
                    </a:lnTo>
                    <a:lnTo>
                      <a:pt x="883" y="753"/>
                    </a:lnTo>
                    <a:lnTo>
                      <a:pt x="875" y="777"/>
                    </a:lnTo>
                    <a:lnTo>
                      <a:pt x="866" y="801"/>
                    </a:lnTo>
                    <a:lnTo>
                      <a:pt x="856" y="824"/>
                    </a:lnTo>
                    <a:lnTo>
                      <a:pt x="846" y="847"/>
                    </a:lnTo>
                    <a:lnTo>
                      <a:pt x="834" y="870"/>
                    </a:lnTo>
                    <a:lnTo>
                      <a:pt x="822" y="891"/>
                    </a:lnTo>
                    <a:lnTo>
                      <a:pt x="809" y="912"/>
                    </a:lnTo>
                    <a:lnTo>
                      <a:pt x="795" y="932"/>
                    </a:lnTo>
                    <a:lnTo>
                      <a:pt x="781" y="952"/>
                    </a:lnTo>
                    <a:lnTo>
                      <a:pt x="767" y="970"/>
                    </a:lnTo>
                    <a:lnTo>
                      <a:pt x="752" y="988"/>
                    </a:lnTo>
                    <a:lnTo>
                      <a:pt x="735" y="1006"/>
                    </a:lnTo>
                    <a:lnTo>
                      <a:pt x="720" y="1022"/>
                    </a:lnTo>
                    <a:lnTo>
                      <a:pt x="703" y="1037"/>
                    </a:lnTo>
                    <a:lnTo>
                      <a:pt x="686" y="1052"/>
                    </a:lnTo>
                    <a:lnTo>
                      <a:pt x="668" y="1066"/>
                    </a:lnTo>
                    <a:lnTo>
                      <a:pt x="651" y="1079"/>
                    </a:lnTo>
                    <a:lnTo>
                      <a:pt x="633" y="1091"/>
                    </a:lnTo>
                    <a:lnTo>
                      <a:pt x="613" y="1103"/>
                    </a:lnTo>
                    <a:lnTo>
                      <a:pt x="595" y="1112"/>
                    </a:lnTo>
                    <a:lnTo>
                      <a:pt x="576" y="1122"/>
                    </a:lnTo>
                    <a:lnTo>
                      <a:pt x="556" y="1130"/>
                    </a:lnTo>
                    <a:lnTo>
                      <a:pt x="536" y="1137"/>
                    </a:lnTo>
                    <a:lnTo>
                      <a:pt x="516" y="1144"/>
                    </a:lnTo>
                    <a:lnTo>
                      <a:pt x="496" y="1149"/>
                    </a:lnTo>
                    <a:lnTo>
                      <a:pt x="475" y="1152"/>
                    </a:lnTo>
                    <a:lnTo>
                      <a:pt x="455" y="1156"/>
                    </a:lnTo>
                    <a:lnTo>
                      <a:pt x="434" y="1158"/>
                    </a:lnTo>
                    <a:lnTo>
                      <a:pt x="413" y="1158"/>
                    </a:lnTo>
                    <a:close/>
                    <a:moveTo>
                      <a:pt x="510" y="27"/>
                    </a:moveTo>
                    <a:lnTo>
                      <a:pt x="510" y="27"/>
                    </a:lnTo>
                    <a:lnTo>
                      <a:pt x="489" y="28"/>
                    </a:lnTo>
                    <a:lnTo>
                      <a:pt x="470" y="29"/>
                    </a:lnTo>
                    <a:lnTo>
                      <a:pt x="450" y="32"/>
                    </a:lnTo>
                    <a:lnTo>
                      <a:pt x="431" y="35"/>
                    </a:lnTo>
                    <a:lnTo>
                      <a:pt x="413" y="41"/>
                    </a:lnTo>
                    <a:lnTo>
                      <a:pt x="393" y="46"/>
                    </a:lnTo>
                    <a:lnTo>
                      <a:pt x="375" y="54"/>
                    </a:lnTo>
                    <a:lnTo>
                      <a:pt x="356" y="61"/>
                    </a:lnTo>
                    <a:lnTo>
                      <a:pt x="338" y="70"/>
                    </a:lnTo>
                    <a:lnTo>
                      <a:pt x="320" y="79"/>
                    </a:lnTo>
                    <a:lnTo>
                      <a:pt x="302" y="90"/>
                    </a:lnTo>
                    <a:lnTo>
                      <a:pt x="285" y="102"/>
                    </a:lnTo>
                    <a:lnTo>
                      <a:pt x="268" y="115"/>
                    </a:lnTo>
                    <a:lnTo>
                      <a:pt x="252" y="128"/>
                    </a:lnTo>
                    <a:lnTo>
                      <a:pt x="235" y="142"/>
                    </a:lnTo>
                    <a:lnTo>
                      <a:pt x="219" y="157"/>
                    </a:lnTo>
                    <a:lnTo>
                      <a:pt x="204" y="172"/>
                    </a:lnTo>
                    <a:lnTo>
                      <a:pt x="189" y="190"/>
                    </a:lnTo>
                    <a:lnTo>
                      <a:pt x="175" y="207"/>
                    </a:lnTo>
                    <a:lnTo>
                      <a:pt x="161" y="224"/>
                    </a:lnTo>
                    <a:lnTo>
                      <a:pt x="148" y="243"/>
                    </a:lnTo>
                    <a:lnTo>
                      <a:pt x="135" y="262"/>
                    </a:lnTo>
                    <a:lnTo>
                      <a:pt x="123" y="282"/>
                    </a:lnTo>
                    <a:lnTo>
                      <a:pt x="111" y="303"/>
                    </a:lnTo>
                    <a:lnTo>
                      <a:pt x="101" y="324"/>
                    </a:lnTo>
                    <a:lnTo>
                      <a:pt x="91" y="346"/>
                    </a:lnTo>
                    <a:lnTo>
                      <a:pt x="81" y="368"/>
                    </a:lnTo>
                    <a:lnTo>
                      <a:pt x="72" y="391"/>
                    </a:lnTo>
                    <a:lnTo>
                      <a:pt x="64" y="414"/>
                    </a:lnTo>
                    <a:lnTo>
                      <a:pt x="56" y="438"/>
                    </a:lnTo>
                    <a:lnTo>
                      <a:pt x="50" y="463"/>
                    </a:lnTo>
                    <a:lnTo>
                      <a:pt x="44" y="487"/>
                    </a:lnTo>
                    <a:lnTo>
                      <a:pt x="39" y="514"/>
                    </a:lnTo>
                    <a:lnTo>
                      <a:pt x="34" y="543"/>
                    </a:lnTo>
                    <a:lnTo>
                      <a:pt x="30" y="569"/>
                    </a:lnTo>
                    <a:lnTo>
                      <a:pt x="28" y="596"/>
                    </a:lnTo>
                    <a:lnTo>
                      <a:pt x="27" y="623"/>
                    </a:lnTo>
                    <a:lnTo>
                      <a:pt x="27" y="650"/>
                    </a:lnTo>
                    <a:lnTo>
                      <a:pt x="28" y="677"/>
                    </a:lnTo>
                    <a:lnTo>
                      <a:pt x="30" y="703"/>
                    </a:lnTo>
                    <a:lnTo>
                      <a:pt x="32" y="729"/>
                    </a:lnTo>
                    <a:lnTo>
                      <a:pt x="37" y="755"/>
                    </a:lnTo>
                    <a:lnTo>
                      <a:pt x="42" y="781"/>
                    </a:lnTo>
                    <a:lnTo>
                      <a:pt x="48" y="806"/>
                    </a:lnTo>
                    <a:lnTo>
                      <a:pt x="55" y="830"/>
                    </a:lnTo>
                    <a:lnTo>
                      <a:pt x="63" y="854"/>
                    </a:lnTo>
                    <a:lnTo>
                      <a:pt x="72" y="877"/>
                    </a:lnTo>
                    <a:lnTo>
                      <a:pt x="82" y="901"/>
                    </a:lnTo>
                    <a:lnTo>
                      <a:pt x="93" y="922"/>
                    </a:lnTo>
                    <a:lnTo>
                      <a:pt x="105" y="943"/>
                    </a:lnTo>
                    <a:lnTo>
                      <a:pt x="118" y="964"/>
                    </a:lnTo>
                    <a:lnTo>
                      <a:pt x="131" y="982"/>
                    </a:lnTo>
                    <a:lnTo>
                      <a:pt x="145" y="1000"/>
                    </a:lnTo>
                    <a:lnTo>
                      <a:pt x="160" y="1017"/>
                    </a:lnTo>
                    <a:lnTo>
                      <a:pt x="175" y="1033"/>
                    </a:lnTo>
                    <a:lnTo>
                      <a:pt x="191" y="1048"/>
                    </a:lnTo>
                    <a:lnTo>
                      <a:pt x="208" y="1061"/>
                    </a:lnTo>
                    <a:lnTo>
                      <a:pt x="226" y="1074"/>
                    </a:lnTo>
                    <a:lnTo>
                      <a:pt x="244" y="1084"/>
                    </a:lnTo>
                    <a:lnTo>
                      <a:pt x="262" y="1095"/>
                    </a:lnTo>
                    <a:lnTo>
                      <a:pt x="282" y="1104"/>
                    </a:lnTo>
                    <a:lnTo>
                      <a:pt x="301" y="1111"/>
                    </a:lnTo>
                    <a:lnTo>
                      <a:pt x="321" y="1118"/>
                    </a:lnTo>
                    <a:lnTo>
                      <a:pt x="341" y="1123"/>
                    </a:lnTo>
                    <a:lnTo>
                      <a:pt x="360" y="1127"/>
                    </a:lnTo>
                    <a:lnTo>
                      <a:pt x="377" y="1129"/>
                    </a:lnTo>
                    <a:lnTo>
                      <a:pt x="395" y="1131"/>
                    </a:lnTo>
                    <a:lnTo>
                      <a:pt x="413" y="1131"/>
                    </a:lnTo>
                    <a:lnTo>
                      <a:pt x="433" y="1131"/>
                    </a:lnTo>
                    <a:lnTo>
                      <a:pt x="453" y="1129"/>
                    </a:lnTo>
                    <a:lnTo>
                      <a:pt x="472" y="1125"/>
                    </a:lnTo>
                    <a:lnTo>
                      <a:pt x="491" y="1122"/>
                    </a:lnTo>
                    <a:lnTo>
                      <a:pt x="510" y="1117"/>
                    </a:lnTo>
                    <a:lnTo>
                      <a:pt x="529" y="1111"/>
                    </a:lnTo>
                    <a:lnTo>
                      <a:pt x="548" y="1104"/>
                    </a:lnTo>
                    <a:lnTo>
                      <a:pt x="567" y="1096"/>
                    </a:lnTo>
                    <a:lnTo>
                      <a:pt x="584" y="1088"/>
                    </a:lnTo>
                    <a:lnTo>
                      <a:pt x="603" y="1078"/>
                    </a:lnTo>
                    <a:lnTo>
                      <a:pt x="620" y="1067"/>
                    </a:lnTo>
                    <a:lnTo>
                      <a:pt x="637" y="1055"/>
                    </a:lnTo>
                    <a:lnTo>
                      <a:pt x="654" y="1043"/>
                    </a:lnTo>
                    <a:lnTo>
                      <a:pt x="671" y="1029"/>
                    </a:lnTo>
                    <a:lnTo>
                      <a:pt x="687" y="1015"/>
                    </a:lnTo>
                    <a:lnTo>
                      <a:pt x="703" y="1000"/>
                    </a:lnTo>
                    <a:lnTo>
                      <a:pt x="718" y="985"/>
                    </a:lnTo>
                    <a:lnTo>
                      <a:pt x="733" y="969"/>
                    </a:lnTo>
                    <a:lnTo>
                      <a:pt x="747" y="952"/>
                    </a:lnTo>
                    <a:lnTo>
                      <a:pt x="761" y="933"/>
                    </a:lnTo>
                    <a:lnTo>
                      <a:pt x="774" y="915"/>
                    </a:lnTo>
                    <a:lnTo>
                      <a:pt x="787" y="895"/>
                    </a:lnTo>
                    <a:lnTo>
                      <a:pt x="799" y="875"/>
                    </a:lnTo>
                    <a:lnTo>
                      <a:pt x="811" y="854"/>
                    </a:lnTo>
                    <a:lnTo>
                      <a:pt x="822" y="834"/>
                    </a:lnTo>
                    <a:lnTo>
                      <a:pt x="832" y="812"/>
                    </a:lnTo>
                    <a:lnTo>
                      <a:pt x="841" y="790"/>
                    </a:lnTo>
                    <a:lnTo>
                      <a:pt x="850" y="767"/>
                    </a:lnTo>
                    <a:lnTo>
                      <a:pt x="859" y="743"/>
                    </a:lnTo>
                    <a:lnTo>
                      <a:pt x="866" y="720"/>
                    </a:lnTo>
                    <a:lnTo>
                      <a:pt x="873" y="695"/>
                    </a:lnTo>
                    <a:lnTo>
                      <a:pt x="878" y="670"/>
                    </a:lnTo>
                    <a:lnTo>
                      <a:pt x="884" y="642"/>
                    </a:lnTo>
                    <a:lnTo>
                      <a:pt x="889" y="615"/>
                    </a:lnTo>
                    <a:lnTo>
                      <a:pt x="892" y="587"/>
                    </a:lnTo>
                    <a:lnTo>
                      <a:pt x="894" y="559"/>
                    </a:lnTo>
                    <a:lnTo>
                      <a:pt x="895" y="532"/>
                    </a:lnTo>
                    <a:lnTo>
                      <a:pt x="895" y="505"/>
                    </a:lnTo>
                    <a:lnTo>
                      <a:pt x="894" y="478"/>
                    </a:lnTo>
                    <a:lnTo>
                      <a:pt x="892" y="452"/>
                    </a:lnTo>
                    <a:lnTo>
                      <a:pt x="889" y="426"/>
                    </a:lnTo>
                    <a:lnTo>
                      <a:pt x="884" y="400"/>
                    </a:lnTo>
                    <a:lnTo>
                      <a:pt x="880" y="375"/>
                    </a:lnTo>
                    <a:lnTo>
                      <a:pt x="874" y="350"/>
                    </a:lnTo>
                    <a:lnTo>
                      <a:pt x="867" y="327"/>
                    </a:lnTo>
                    <a:lnTo>
                      <a:pt x="859" y="304"/>
                    </a:lnTo>
                    <a:lnTo>
                      <a:pt x="850" y="281"/>
                    </a:lnTo>
                    <a:lnTo>
                      <a:pt x="840" y="259"/>
                    </a:lnTo>
                    <a:lnTo>
                      <a:pt x="830" y="238"/>
                    </a:lnTo>
                    <a:lnTo>
                      <a:pt x="819" y="218"/>
                    </a:lnTo>
                    <a:lnTo>
                      <a:pt x="807" y="197"/>
                    </a:lnTo>
                    <a:lnTo>
                      <a:pt x="794" y="179"/>
                    </a:lnTo>
                    <a:lnTo>
                      <a:pt x="780" y="160"/>
                    </a:lnTo>
                    <a:lnTo>
                      <a:pt x="765" y="144"/>
                    </a:lnTo>
                    <a:lnTo>
                      <a:pt x="749" y="128"/>
                    </a:lnTo>
                    <a:lnTo>
                      <a:pt x="733" y="113"/>
                    </a:lnTo>
                    <a:lnTo>
                      <a:pt x="717" y="99"/>
                    </a:lnTo>
                    <a:lnTo>
                      <a:pt x="700" y="86"/>
                    </a:lnTo>
                    <a:lnTo>
                      <a:pt x="681" y="75"/>
                    </a:lnTo>
                    <a:lnTo>
                      <a:pt x="662" y="64"/>
                    </a:lnTo>
                    <a:lnTo>
                      <a:pt x="643" y="55"/>
                    </a:lnTo>
                    <a:lnTo>
                      <a:pt x="623" y="47"/>
                    </a:lnTo>
                    <a:lnTo>
                      <a:pt x="602" y="39"/>
                    </a:lnTo>
                    <a:lnTo>
                      <a:pt x="581" y="34"/>
                    </a:lnTo>
                    <a:lnTo>
                      <a:pt x="563" y="31"/>
                    </a:lnTo>
                    <a:lnTo>
                      <a:pt x="545" y="29"/>
                    </a:lnTo>
                    <a:lnTo>
                      <a:pt x="527" y="28"/>
                    </a:lnTo>
                    <a:lnTo>
                      <a:pt x="51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49"/>
              <p:cNvSpPr>
                <a:spLocks/>
              </p:cNvSpPr>
              <p:nvPr userDrawn="1"/>
            </p:nvSpPr>
            <p:spPr bwMode="auto">
              <a:xfrm>
                <a:off x="2732" y="3401"/>
                <a:ext cx="433" cy="60"/>
              </a:xfrm>
              <a:custGeom>
                <a:avLst/>
                <a:gdLst>
                  <a:gd name="T0" fmla="*/ 11 w 1299"/>
                  <a:gd name="T1" fmla="*/ 181 h 181"/>
                  <a:gd name="T2" fmla="*/ 4 w 1299"/>
                  <a:gd name="T3" fmla="*/ 178 h 181"/>
                  <a:gd name="T4" fmla="*/ 0 w 1299"/>
                  <a:gd name="T5" fmla="*/ 171 h 181"/>
                  <a:gd name="T6" fmla="*/ 2 w 1299"/>
                  <a:gd name="T7" fmla="*/ 161 h 181"/>
                  <a:gd name="T8" fmla="*/ 11 w 1299"/>
                  <a:gd name="T9" fmla="*/ 153 h 181"/>
                  <a:gd name="T10" fmla="*/ 52 w 1299"/>
                  <a:gd name="T11" fmla="*/ 130 h 181"/>
                  <a:gd name="T12" fmla="*/ 108 w 1299"/>
                  <a:gd name="T13" fmla="*/ 104 h 181"/>
                  <a:gd name="T14" fmla="*/ 159 w 1299"/>
                  <a:gd name="T15" fmla="*/ 83 h 181"/>
                  <a:gd name="T16" fmla="*/ 218 w 1299"/>
                  <a:gd name="T17" fmla="*/ 63 h 181"/>
                  <a:gd name="T18" fmla="*/ 288 w 1299"/>
                  <a:gd name="T19" fmla="*/ 44 h 181"/>
                  <a:gd name="T20" fmla="*/ 368 w 1299"/>
                  <a:gd name="T21" fmla="*/ 27 h 181"/>
                  <a:gd name="T22" fmla="*/ 458 w 1299"/>
                  <a:gd name="T23" fmla="*/ 13 h 181"/>
                  <a:gd name="T24" fmla="*/ 558 w 1299"/>
                  <a:gd name="T25" fmla="*/ 4 h 181"/>
                  <a:gd name="T26" fmla="*/ 668 w 1299"/>
                  <a:gd name="T27" fmla="*/ 0 h 181"/>
                  <a:gd name="T28" fmla="*/ 788 w 1299"/>
                  <a:gd name="T29" fmla="*/ 4 h 181"/>
                  <a:gd name="T30" fmla="*/ 919 w 1299"/>
                  <a:gd name="T31" fmla="*/ 15 h 181"/>
                  <a:gd name="T32" fmla="*/ 1059 w 1299"/>
                  <a:gd name="T33" fmla="*/ 37 h 181"/>
                  <a:gd name="T34" fmla="*/ 1209 w 1299"/>
                  <a:gd name="T35" fmla="*/ 68 h 181"/>
                  <a:gd name="T36" fmla="*/ 1293 w 1299"/>
                  <a:gd name="T37" fmla="*/ 91 h 181"/>
                  <a:gd name="T38" fmla="*/ 1299 w 1299"/>
                  <a:gd name="T39" fmla="*/ 99 h 181"/>
                  <a:gd name="T40" fmla="*/ 1296 w 1299"/>
                  <a:gd name="T41" fmla="*/ 110 h 181"/>
                  <a:gd name="T42" fmla="*/ 1287 w 1299"/>
                  <a:gd name="T43" fmla="*/ 114 h 181"/>
                  <a:gd name="T44" fmla="*/ 1204 w 1299"/>
                  <a:gd name="T45" fmla="*/ 95 h 181"/>
                  <a:gd name="T46" fmla="*/ 1056 w 1299"/>
                  <a:gd name="T47" fmla="*/ 64 h 181"/>
                  <a:gd name="T48" fmla="*/ 918 w 1299"/>
                  <a:gd name="T49" fmla="*/ 42 h 181"/>
                  <a:gd name="T50" fmla="*/ 789 w 1299"/>
                  <a:gd name="T51" fmla="*/ 31 h 181"/>
                  <a:gd name="T52" fmla="*/ 672 w 1299"/>
                  <a:gd name="T53" fmla="*/ 27 h 181"/>
                  <a:gd name="T54" fmla="*/ 564 w 1299"/>
                  <a:gd name="T55" fmla="*/ 30 h 181"/>
                  <a:gd name="T56" fmla="*/ 465 w 1299"/>
                  <a:gd name="T57" fmla="*/ 39 h 181"/>
                  <a:gd name="T58" fmla="*/ 377 w 1299"/>
                  <a:gd name="T59" fmla="*/ 53 h 181"/>
                  <a:gd name="T60" fmla="*/ 298 w 1299"/>
                  <a:gd name="T61" fmla="*/ 69 h 181"/>
                  <a:gd name="T62" fmla="*/ 230 w 1299"/>
                  <a:gd name="T63" fmla="*/ 87 h 181"/>
                  <a:gd name="T64" fmla="*/ 170 w 1299"/>
                  <a:gd name="T65" fmla="*/ 107 h 181"/>
                  <a:gd name="T66" fmla="*/ 122 w 1299"/>
                  <a:gd name="T67" fmla="*/ 126 h 181"/>
                  <a:gd name="T68" fmla="*/ 67 w 1299"/>
                  <a:gd name="T69" fmla="*/ 152 h 181"/>
                  <a:gd name="T70" fmla="*/ 27 w 1299"/>
                  <a:gd name="T71" fmla="*/ 175 h 181"/>
                  <a:gd name="T72" fmla="*/ 17 w 1299"/>
                  <a:gd name="T7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9" h="181">
                    <a:moveTo>
                      <a:pt x="13" y="181"/>
                    </a:moveTo>
                    <a:lnTo>
                      <a:pt x="11" y="181"/>
                    </a:lnTo>
                    <a:lnTo>
                      <a:pt x="7" y="180"/>
                    </a:lnTo>
                    <a:lnTo>
                      <a:pt x="4" y="178"/>
                    </a:lnTo>
                    <a:lnTo>
                      <a:pt x="2" y="176"/>
                    </a:lnTo>
                    <a:lnTo>
                      <a:pt x="0" y="171"/>
                    </a:lnTo>
                    <a:lnTo>
                      <a:pt x="0" y="166"/>
                    </a:lnTo>
                    <a:lnTo>
                      <a:pt x="2" y="161"/>
                    </a:lnTo>
                    <a:lnTo>
                      <a:pt x="5" y="158"/>
                    </a:lnTo>
                    <a:lnTo>
                      <a:pt x="11" y="153"/>
                    </a:lnTo>
                    <a:lnTo>
                      <a:pt x="27" y="144"/>
                    </a:lnTo>
                    <a:lnTo>
                      <a:pt x="52" y="130"/>
                    </a:lnTo>
                    <a:lnTo>
                      <a:pt x="87" y="112"/>
                    </a:lnTo>
                    <a:lnTo>
                      <a:pt x="108" y="104"/>
                    </a:lnTo>
                    <a:lnTo>
                      <a:pt x="132" y="93"/>
                    </a:lnTo>
                    <a:lnTo>
                      <a:pt x="159" y="83"/>
                    </a:lnTo>
                    <a:lnTo>
                      <a:pt x="187" y="73"/>
                    </a:lnTo>
                    <a:lnTo>
                      <a:pt x="218" y="63"/>
                    </a:lnTo>
                    <a:lnTo>
                      <a:pt x="251" y="53"/>
                    </a:lnTo>
                    <a:lnTo>
                      <a:pt x="288" y="44"/>
                    </a:lnTo>
                    <a:lnTo>
                      <a:pt x="327" y="35"/>
                    </a:lnTo>
                    <a:lnTo>
                      <a:pt x="368" y="27"/>
                    </a:lnTo>
                    <a:lnTo>
                      <a:pt x="411" y="19"/>
                    </a:lnTo>
                    <a:lnTo>
                      <a:pt x="458" y="13"/>
                    </a:lnTo>
                    <a:lnTo>
                      <a:pt x="506" y="8"/>
                    </a:lnTo>
                    <a:lnTo>
                      <a:pt x="558" y="4"/>
                    </a:lnTo>
                    <a:lnTo>
                      <a:pt x="612" y="1"/>
                    </a:lnTo>
                    <a:lnTo>
                      <a:pt x="668" y="0"/>
                    </a:lnTo>
                    <a:lnTo>
                      <a:pt x="727" y="1"/>
                    </a:lnTo>
                    <a:lnTo>
                      <a:pt x="788" y="4"/>
                    </a:lnTo>
                    <a:lnTo>
                      <a:pt x="852" y="9"/>
                    </a:lnTo>
                    <a:lnTo>
                      <a:pt x="919" y="15"/>
                    </a:lnTo>
                    <a:lnTo>
                      <a:pt x="987" y="25"/>
                    </a:lnTo>
                    <a:lnTo>
                      <a:pt x="1059" y="37"/>
                    </a:lnTo>
                    <a:lnTo>
                      <a:pt x="1133" y="51"/>
                    </a:lnTo>
                    <a:lnTo>
                      <a:pt x="1209" y="68"/>
                    </a:lnTo>
                    <a:lnTo>
                      <a:pt x="1288" y="89"/>
                    </a:lnTo>
                    <a:lnTo>
                      <a:pt x="1293" y="91"/>
                    </a:lnTo>
                    <a:lnTo>
                      <a:pt x="1297" y="95"/>
                    </a:lnTo>
                    <a:lnTo>
                      <a:pt x="1299" y="99"/>
                    </a:lnTo>
                    <a:lnTo>
                      <a:pt x="1298" y="105"/>
                    </a:lnTo>
                    <a:lnTo>
                      <a:pt x="1296" y="110"/>
                    </a:lnTo>
                    <a:lnTo>
                      <a:pt x="1291" y="113"/>
                    </a:lnTo>
                    <a:lnTo>
                      <a:pt x="1287" y="114"/>
                    </a:lnTo>
                    <a:lnTo>
                      <a:pt x="1282" y="114"/>
                    </a:lnTo>
                    <a:lnTo>
                      <a:pt x="1204" y="95"/>
                    </a:lnTo>
                    <a:lnTo>
                      <a:pt x="1128" y="78"/>
                    </a:lnTo>
                    <a:lnTo>
                      <a:pt x="1056" y="64"/>
                    </a:lnTo>
                    <a:lnTo>
                      <a:pt x="985" y="52"/>
                    </a:lnTo>
                    <a:lnTo>
                      <a:pt x="918" y="42"/>
                    </a:lnTo>
                    <a:lnTo>
                      <a:pt x="852" y="36"/>
                    </a:lnTo>
                    <a:lnTo>
                      <a:pt x="789" y="31"/>
                    </a:lnTo>
                    <a:lnTo>
                      <a:pt x="729" y="28"/>
                    </a:lnTo>
                    <a:lnTo>
                      <a:pt x="672" y="27"/>
                    </a:lnTo>
                    <a:lnTo>
                      <a:pt x="616" y="28"/>
                    </a:lnTo>
                    <a:lnTo>
                      <a:pt x="564" y="30"/>
                    </a:lnTo>
                    <a:lnTo>
                      <a:pt x="513" y="35"/>
                    </a:lnTo>
                    <a:lnTo>
                      <a:pt x="465" y="39"/>
                    </a:lnTo>
                    <a:lnTo>
                      <a:pt x="420" y="45"/>
                    </a:lnTo>
                    <a:lnTo>
                      <a:pt x="377" y="53"/>
                    </a:lnTo>
                    <a:lnTo>
                      <a:pt x="337" y="60"/>
                    </a:lnTo>
                    <a:lnTo>
                      <a:pt x="298" y="69"/>
                    </a:lnTo>
                    <a:lnTo>
                      <a:pt x="263" y="78"/>
                    </a:lnTo>
                    <a:lnTo>
                      <a:pt x="230" y="87"/>
                    </a:lnTo>
                    <a:lnTo>
                      <a:pt x="200" y="97"/>
                    </a:lnTo>
                    <a:lnTo>
                      <a:pt x="170" y="107"/>
                    </a:lnTo>
                    <a:lnTo>
                      <a:pt x="146" y="117"/>
                    </a:lnTo>
                    <a:lnTo>
                      <a:pt x="122" y="126"/>
                    </a:lnTo>
                    <a:lnTo>
                      <a:pt x="101" y="136"/>
                    </a:lnTo>
                    <a:lnTo>
                      <a:pt x="67" y="152"/>
                    </a:lnTo>
                    <a:lnTo>
                      <a:pt x="42" y="166"/>
                    </a:lnTo>
                    <a:lnTo>
                      <a:pt x="27" y="175"/>
                    </a:lnTo>
                    <a:lnTo>
                      <a:pt x="21" y="179"/>
                    </a:lnTo>
                    <a:lnTo>
                      <a:pt x="17" y="181"/>
                    </a:lnTo>
                    <a:lnTo>
                      <a:pt x="1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50"/>
              <p:cNvSpPr>
                <a:spLocks/>
              </p:cNvSpPr>
              <p:nvPr userDrawn="1"/>
            </p:nvSpPr>
            <p:spPr bwMode="auto">
              <a:xfrm>
                <a:off x="2781" y="3468"/>
                <a:ext cx="471" cy="87"/>
              </a:xfrm>
              <a:custGeom>
                <a:avLst/>
                <a:gdLst>
                  <a:gd name="T0" fmla="*/ 1399 w 1415"/>
                  <a:gd name="T1" fmla="*/ 261 h 261"/>
                  <a:gd name="T2" fmla="*/ 1390 w 1415"/>
                  <a:gd name="T3" fmla="*/ 258 h 261"/>
                  <a:gd name="T4" fmla="*/ 1351 w 1415"/>
                  <a:gd name="T5" fmla="*/ 241 h 261"/>
                  <a:gd name="T6" fmla="*/ 1280 w 1415"/>
                  <a:gd name="T7" fmla="*/ 211 h 261"/>
                  <a:gd name="T8" fmla="*/ 1181 w 1415"/>
                  <a:gd name="T9" fmla="*/ 175 h 261"/>
                  <a:gd name="T10" fmla="*/ 1059 w 1415"/>
                  <a:gd name="T11" fmla="*/ 135 h 261"/>
                  <a:gd name="T12" fmla="*/ 918 w 1415"/>
                  <a:gd name="T13" fmla="*/ 96 h 261"/>
                  <a:gd name="T14" fmla="*/ 805 w 1415"/>
                  <a:gd name="T15" fmla="*/ 69 h 261"/>
                  <a:gd name="T16" fmla="*/ 726 w 1415"/>
                  <a:gd name="T17" fmla="*/ 54 h 261"/>
                  <a:gd name="T18" fmla="*/ 645 w 1415"/>
                  <a:gd name="T19" fmla="*/ 42 h 261"/>
                  <a:gd name="T20" fmla="*/ 563 w 1415"/>
                  <a:gd name="T21" fmla="*/ 32 h 261"/>
                  <a:gd name="T22" fmla="*/ 494 w 1415"/>
                  <a:gd name="T23" fmla="*/ 27 h 261"/>
                  <a:gd name="T24" fmla="*/ 442 w 1415"/>
                  <a:gd name="T25" fmla="*/ 27 h 261"/>
                  <a:gd name="T26" fmla="*/ 392 w 1415"/>
                  <a:gd name="T27" fmla="*/ 29 h 261"/>
                  <a:gd name="T28" fmla="*/ 344 w 1415"/>
                  <a:gd name="T29" fmla="*/ 33 h 261"/>
                  <a:gd name="T30" fmla="*/ 277 w 1415"/>
                  <a:gd name="T31" fmla="*/ 44 h 261"/>
                  <a:gd name="T32" fmla="*/ 198 w 1415"/>
                  <a:gd name="T33" fmla="*/ 62 h 261"/>
                  <a:gd name="T34" fmla="*/ 131 w 1415"/>
                  <a:gd name="T35" fmla="*/ 84 h 261"/>
                  <a:gd name="T36" fmla="*/ 78 w 1415"/>
                  <a:gd name="T37" fmla="*/ 105 h 261"/>
                  <a:gd name="T38" fmla="*/ 30 w 1415"/>
                  <a:gd name="T39" fmla="*/ 128 h 261"/>
                  <a:gd name="T40" fmla="*/ 15 w 1415"/>
                  <a:gd name="T41" fmla="*/ 136 h 261"/>
                  <a:gd name="T42" fmla="*/ 5 w 1415"/>
                  <a:gd name="T43" fmla="*/ 134 h 261"/>
                  <a:gd name="T44" fmla="*/ 0 w 1415"/>
                  <a:gd name="T45" fmla="*/ 124 h 261"/>
                  <a:gd name="T46" fmla="*/ 2 w 1415"/>
                  <a:gd name="T47" fmla="*/ 114 h 261"/>
                  <a:gd name="T48" fmla="*/ 18 w 1415"/>
                  <a:gd name="T49" fmla="*/ 104 h 261"/>
                  <a:gd name="T50" fmla="*/ 70 w 1415"/>
                  <a:gd name="T51" fmla="*/ 79 h 261"/>
                  <a:gd name="T52" fmla="*/ 124 w 1415"/>
                  <a:gd name="T53" fmla="*/ 57 h 261"/>
                  <a:gd name="T54" fmla="*/ 192 w 1415"/>
                  <a:gd name="T55" fmla="*/ 35 h 261"/>
                  <a:gd name="T56" fmla="*/ 273 w 1415"/>
                  <a:gd name="T57" fmla="*/ 17 h 261"/>
                  <a:gd name="T58" fmla="*/ 342 w 1415"/>
                  <a:gd name="T59" fmla="*/ 6 h 261"/>
                  <a:gd name="T60" fmla="*/ 390 w 1415"/>
                  <a:gd name="T61" fmla="*/ 2 h 261"/>
                  <a:gd name="T62" fmla="*/ 442 w 1415"/>
                  <a:gd name="T63" fmla="*/ 0 h 261"/>
                  <a:gd name="T64" fmla="*/ 495 w 1415"/>
                  <a:gd name="T65" fmla="*/ 0 h 261"/>
                  <a:gd name="T66" fmla="*/ 565 w 1415"/>
                  <a:gd name="T67" fmla="*/ 5 h 261"/>
                  <a:gd name="T68" fmla="*/ 649 w 1415"/>
                  <a:gd name="T69" fmla="*/ 15 h 261"/>
                  <a:gd name="T70" fmla="*/ 731 w 1415"/>
                  <a:gd name="T71" fmla="*/ 28 h 261"/>
                  <a:gd name="T72" fmla="*/ 810 w 1415"/>
                  <a:gd name="T73" fmla="*/ 43 h 261"/>
                  <a:gd name="T74" fmla="*/ 925 w 1415"/>
                  <a:gd name="T75" fmla="*/ 70 h 261"/>
                  <a:gd name="T76" fmla="*/ 1066 w 1415"/>
                  <a:gd name="T77" fmla="*/ 109 h 261"/>
                  <a:gd name="T78" fmla="*/ 1191 w 1415"/>
                  <a:gd name="T79" fmla="*/ 150 h 261"/>
                  <a:gd name="T80" fmla="*/ 1290 w 1415"/>
                  <a:gd name="T81" fmla="*/ 187 h 261"/>
                  <a:gd name="T82" fmla="*/ 1362 w 1415"/>
                  <a:gd name="T83" fmla="*/ 216 h 261"/>
                  <a:gd name="T84" fmla="*/ 1401 w 1415"/>
                  <a:gd name="T85" fmla="*/ 233 h 261"/>
                  <a:gd name="T86" fmla="*/ 1412 w 1415"/>
                  <a:gd name="T87" fmla="*/ 238 h 261"/>
                  <a:gd name="T88" fmla="*/ 1415 w 1415"/>
                  <a:gd name="T89" fmla="*/ 248 h 261"/>
                  <a:gd name="T90" fmla="*/ 1412 w 1415"/>
                  <a:gd name="T91" fmla="*/ 257 h 261"/>
                  <a:gd name="T92" fmla="*/ 1405 w 1415"/>
                  <a:gd name="T9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15" h="261">
                    <a:moveTo>
                      <a:pt x="1401" y="261"/>
                    </a:moveTo>
                    <a:lnTo>
                      <a:pt x="1399" y="261"/>
                    </a:lnTo>
                    <a:lnTo>
                      <a:pt x="1396" y="260"/>
                    </a:lnTo>
                    <a:lnTo>
                      <a:pt x="1390" y="258"/>
                    </a:lnTo>
                    <a:lnTo>
                      <a:pt x="1375" y="250"/>
                    </a:lnTo>
                    <a:lnTo>
                      <a:pt x="1351" y="241"/>
                    </a:lnTo>
                    <a:lnTo>
                      <a:pt x="1319" y="228"/>
                    </a:lnTo>
                    <a:lnTo>
                      <a:pt x="1280" y="211"/>
                    </a:lnTo>
                    <a:lnTo>
                      <a:pt x="1234" y="194"/>
                    </a:lnTo>
                    <a:lnTo>
                      <a:pt x="1181" y="175"/>
                    </a:lnTo>
                    <a:lnTo>
                      <a:pt x="1123" y="155"/>
                    </a:lnTo>
                    <a:lnTo>
                      <a:pt x="1059" y="135"/>
                    </a:lnTo>
                    <a:lnTo>
                      <a:pt x="991" y="115"/>
                    </a:lnTo>
                    <a:lnTo>
                      <a:pt x="918" y="96"/>
                    </a:lnTo>
                    <a:lnTo>
                      <a:pt x="844" y="78"/>
                    </a:lnTo>
                    <a:lnTo>
                      <a:pt x="805" y="69"/>
                    </a:lnTo>
                    <a:lnTo>
                      <a:pt x="765" y="61"/>
                    </a:lnTo>
                    <a:lnTo>
                      <a:pt x="726" y="54"/>
                    </a:lnTo>
                    <a:lnTo>
                      <a:pt x="685" y="47"/>
                    </a:lnTo>
                    <a:lnTo>
                      <a:pt x="645" y="42"/>
                    </a:lnTo>
                    <a:lnTo>
                      <a:pt x="604" y="37"/>
                    </a:lnTo>
                    <a:lnTo>
                      <a:pt x="563" y="32"/>
                    </a:lnTo>
                    <a:lnTo>
                      <a:pt x="521" y="29"/>
                    </a:lnTo>
                    <a:lnTo>
                      <a:pt x="494" y="27"/>
                    </a:lnTo>
                    <a:lnTo>
                      <a:pt x="468" y="27"/>
                    </a:lnTo>
                    <a:lnTo>
                      <a:pt x="442" y="27"/>
                    </a:lnTo>
                    <a:lnTo>
                      <a:pt x="416" y="27"/>
                    </a:lnTo>
                    <a:lnTo>
                      <a:pt x="392" y="29"/>
                    </a:lnTo>
                    <a:lnTo>
                      <a:pt x="368" y="31"/>
                    </a:lnTo>
                    <a:lnTo>
                      <a:pt x="344" y="33"/>
                    </a:lnTo>
                    <a:lnTo>
                      <a:pt x="321" y="37"/>
                    </a:lnTo>
                    <a:lnTo>
                      <a:pt x="277" y="44"/>
                    </a:lnTo>
                    <a:lnTo>
                      <a:pt x="236" y="53"/>
                    </a:lnTo>
                    <a:lnTo>
                      <a:pt x="198" y="62"/>
                    </a:lnTo>
                    <a:lnTo>
                      <a:pt x="163" y="73"/>
                    </a:lnTo>
                    <a:lnTo>
                      <a:pt x="131" y="84"/>
                    </a:lnTo>
                    <a:lnTo>
                      <a:pt x="103" y="95"/>
                    </a:lnTo>
                    <a:lnTo>
                      <a:pt x="78" y="105"/>
                    </a:lnTo>
                    <a:lnTo>
                      <a:pt x="58" y="114"/>
                    </a:lnTo>
                    <a:lnTo>
                      <a:pt x="30" y="128"/>
                    </a:lnTo>
                    <a:lnTo>
                      <a:pt x="20" y="134"/>
                    </a:lnTo>
                    <a:lnTo>
                      <a:pt x="15" y="136"/>
                    </a:lnTo>
                    <a:lnTo>
                      <a:pt x="9" y="136"/>
                    </a:lnTo>
                    <a:lnTo>
                      <a:pt x="5" y="134"/>
                    </a:lnTo>
                    <a:lnTo>
                      <a:pt x="2" y="129"/>
                    </a:lnTo>
                    <a:lnTo>
                      <a:pt x="0" y="124"/>
                    </a:lnTo>
                    <a:lnTo>
                      <a:pt x="0" y="120"/>
                    </a:lnTo>
                    <a:lnTo>
                      <a:pt x="2" y="114"/>
                    </a:lnTo>
                    <a:lnTo>
                      <a:pt x="6" y="111"/>
                    </a:lnTo>
                    <a:lnTo>
                      <a:pt x="18" y="104"/>
                    </a:lnTo>
                    <a:lnTo>
                      <a:pt x="48" y="88"/>
                    </a:lnTo>
                    <a:lnTo>
                      <a:pt x="70" y="79"/>
                    </a:lnTo>
                    <a:lnTo>
                      <a:pt x="95" y="69"/>
                    </a:lnTo>
                    <a:lnTo>
                      <a:pt x="124" y="57"/>
                    </a:lnTo>
                    <a:lnTo>
                      <a:pt x="156" y="46"/>
                    </a:lnTo>
                    <a:lnTo>
                      <a:pt x="192" y="35"/>
                    </a:lnTo>
                    <a:lnTo>
                      <a:pt x="231" y="26"/>
                    </a:lnTo>
                    <a:lnTo>
                      <a:pt x="273" y="17"/>
                    </a:lnTo>
                    <a:lnTo>
                      <a:pt x="318" y="10"/>
                    </a:lnTo>
                    <a:lnTo>
                      <a:pt x="342" y="6"/>
                    </a:lnTo>
                    <a:lnTo>
                      <a:pt x="366" y="3"/>
                    </a:lnTo>
                    <a:lnTo>
                      <a:pt x="390" y="2"/>
                    </a:lnTo>
                    <a:lnTo>
                      <a:pt x="415" y="0"/>
                    </a:lnTo>
                    <a:lnTo>
                      <a:pt x="442" y="0"/>
                    </a:lnTo>
                    <a:lnTo>
                      <a:pt x="468" y="0"/>
                    </a:lnTo>
                    <a:lnTo>
                      <a:pt x="495" y="0"/>
                    </a:lnTo>
                    <a:lnTo>
                      <a:pt x="523" y="2"/>
                    </a:lnTo>
                    <a:lnTo>
                      <a:pt x="565" y="5"/>
                    </a:lnTo>
                    <a:lnTo>
                      <a:pt x="606" y="10"/>
                    </a:lnTo>
                    <a:lnTo>
                      <a:pt x="649" y="15"/>
                    </a:lnTo>
                    <a:lnTo>
                      <a:pt x="690" y="20"/>
                    </a:lnTo>
                    <a:lnTo>
                      <a:pt x="731" y="28"/>
                    </a:lnTo>
                    <a:lnTo>
                      <a:pt x="771" y="34"/>
                    </a:lnTo>
                    <a:lnTo>
                      <a:pt x="810" y="43"/>
                    </a:lnTo>
                    <a:lnTo>
                      <a:pt x="849" y="52"/>
                    </a:lnTo>
                    <a:lnTo>
                      <a:pt x="925" y="70"/>
                    </a:lnTo>
                    <a:lnTo>
                      <a:pt x="998" y="89"/>
                    </a:lnTo>
                    <a:lnTo>
                      <a:pt x="1066" y="109"/>
                    </a:lnTo>
                    <a:lnTo>
                      <a:pt x="1131" y="129"/>
                    </a:lnTo>
                    <a:lnTo>
                      <a:pt x="1191" y="150"/>
                    </a:lnTo>
                    <a:lnTo>
                      <a:pt x="1243" y="169"/>
                    </a:lnTo>
                    <a:lnTo>
                      <a:pt x="1290" y="187"/>
                    </a:lnTo>
                    <a:lnTo>
                      <a:pt x="1330" y="203"/>
                    </a:lnTo>
                    <a:lnTo>
                      <a:pt x="1362" y="216"/>
                    </a:lnTo>
                    <a:lnTo>
                      <a:pt x="1386" y="227"/>
                    </a:lnTo>
                    <a:lnTo>
                      <a:pt x="1401" y="233"/>
                    </a:lnTo>
                    <a:lnTo>
                      <a:pt x="1408" y="235"/>
                    </a:lnTo>
                    <a:lnTo>
                      <a:pt x="1412" y="238"/>
                    </a:lnTo>
                    <a:lnTo>
                      <a:pt x="1414" y="243"/>
                    </a:lnTo>
                    <a:lnTo>
                      <a:pt x="1415" y="248"/>
                    </a:lnTo>
                    <a:lnTo>
                      <a:pt x="1414" y="254"/>
                    </a:lnTo>
                    <a:lnTo>
                      <a:pt x="1412" y="257"/>
                    </a:lnTo>
                    <a:lnTo>
                      <a:pt x="1409" y="259"/>
                    </a:lnTo>
                    <a:lnTo>
                      <a:pt x="1405" y="261"/>
                    </a:lnTo>
                    <a:lnTo>
                      <a:pt x="1401"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51"/>
              <p:cNvSpPr>
                <a:spLocks/>
              </p:cNvSpPr>
              <p:nvPr userDrawn="1"/>
            </p:nvSpPr>
            <p:spPr bwMode="auto">
              <a:xfrm>
                <a:off x="2822" y="3524"/>
                <a:ext cx="462" cy="103"/>
              </a:xfrm>
              <a:custGeom>
                <a:avLst/>
                <a:gdLst>
                  <a:gd name="T0" fmla="*/ 1371 w 1387"/>
                  <a:gd name="T1" fmla="*/ 310 h 310"/>
                  <a:gd name="T2" fmla="*/ 1336 w 1387"/>
                  <a:gd name="T3" fmla="*/ 296 h 310"/>
                  <a:gd name="T4" fmla="*/ 1264 w 1387"/>
                  <a:gd name="T5" fmla="*/ 260 h 310"/>
                  <a:gd name="T6" fmla="*/ 1146 w 1387"/>
                  <a:gd name="T7" fmla="*/ 200 h 310"/>
                  <a:gd name="T8" fmla="*/ 1021 w 1387"/>
                  <a:gd name="T9" fmla="*/ 140 h 310"/>
                  <a:gd name="T10" fmla="*/ 932 w 1387"/>
                  <a:gd name="T11" fmla="*/ 104 h 310"/>
                  <a:gd name="T12" fmla="*/ 838 w 1387"/>
                  <a:gd name="T13" fmla="*/ 71 h 310"/>
                  <a:gd name="T14" fmla="*/ 764 w 1387"/>
                  <a:gd name="T15" fmla="*/ 52 h 310"/>
                  <a:gd name="T16" fmla="*/ 714 w 1387"/>
                  <a:gd name="T17" fmla="*/ 42 h 310"/>
                  <a:gd name="T18" fmla="*/ 664 w 1387"/>
                  <a:gd name="T19" fmla="*/ 35 h 310"/>
                  <a:gd name="T20" fmla="*/ 613 w 1387"/>
                  <a:gd name="T21" fmla="*/ 29 h 310"/>
                  <a:gd name="T22" fmla="*/ 561 w 1387"/>
                  <a:gd name="T23" fmla="*/ 28 h 310"/>
                  <a:gd name="T24" fmla="*/ 509 w 1387"/>
                  <a:gd name="T25" fmla="*/ 29 h 310"/>
                  <a:gd name="T26" fmla="*/ 434 w 1387"/>
                  <a:gd name="T27" fmla="*/ 37 h 310"/>
                  <a:gd name="T28" fmla="*/ 340 w 1387"/>
                  <a:gd name="T29" fmla="*/ 51 h 310"/>
                  <a:gd name="T30" fmla="*/ 256 w 1387"/>
                  <a:gd name="T31" fmla="*/ 67 h 310"/>
                  <a:gd name="T32" fmla="*/ 182 w 1387"/>
                  <a:gd name="T33" fmla="*/ 84 h 310"/>
                  <a:gd name="T34" fmla="*/ 95 w 1387"/>
                  <a:gd name="T35" fmla="*/ 108 h 310"/>
                  <a:gd name="T36" fmla="*/ 28 w 1387"/>
                  <a:gd name="T37" fmla="*/ 130 h 310"/>
                  <a:gd name="T38" fmla="*/ 13 w 1387"/>
                  <a:gd name="T39" fmla="*/ 134 h 310"/>
                  <a:gd name="T40" fmla="*/ 4 w 1387"/>
                  <a:gd name="T41" fmla="*/ 131 h 310"/>
                  <a:gd name="T42" fmla="*/ 0 w 1387"/>
                  <a:gd name="T43" fmla="*/ 121 h 310"/>
                  <a:gd name="T44" fmla="*/ 4 w 1387"/>
                  <a:gd name="T45" fmla="*/ 111 h 310"/>
                  <a:gd name="T46" fmla="*/ 18 w 1387"/>
                  <a:gd name="T47" fmla="*/ 105 h 310"/>
                  <a:gd name="T48" fmla="*/ 86 w 1387"/>
                  <a:gd name="T49" fmla="*/ 82 h 310"/>
                  <a:gd name="T50" fmla="*/ 175 w 1387"/>
                  <a:gd name="T51" fmla="*/ 58 h 310"/>
                  <a:gd name="T52" fmla="*/ 249 w 1387"/>
                  <a:gd name="T53" fmla="*/ 41 h 310"/>
                  <a:gd name="T54" fmla="*/ 334 w 1387"/>
                  <a:gd name="T55" fmla="*/ 25 h 310"/>
                  <a:gd name="T56" fmla="*/ 429 w 1387"/>
                  <a:gd name="T57" fmla="*/ 11 h 310"/>
                  <a:gd name="T58" fmla="*/ 507 w 1387"/>
                  <a:gd name="T59" fmla="*/ 2 h 310"/>
                  <a:gd name="T60" fmla="*/ 561 w 1387"/>
                  <a:gd name="T61" fmla="*/ 0 h 310"/>
                  <a:gd name="T62" fmla="*/ 614 w 1387"/>
                  <a:gd name="T63" fmla="*/ 2 h 310"/>
                  <a:gd name="T64" fmla="*/ 666 w 1387"/>
                  <a:gd name="T65" fmla="*/ 8 h 310"/>
                  <a:gd name="T66" fmla="*/ 718 w 1387"/>
                  <a:gd name="T67" fmla="*/ 15 h 310"/>
                  <a:gd name="T68" fmla="*/ 768 w 1387"/>
                  <a:gd name="T69" fmla="*/ 25 h 310"/>
                  <a:gd name="T70" fmla="*/ 843 w 1387"/>
                  <a:gd name="T71" fmla="*/ 45 h 310"/>
                  <a:gd name="T72" fmla="*/ 939 w 1387"/>
                  <a:gd name="T73" fmla="*/ 78 h 310"/>
                  <a:gd name="T74" fmla="*/ 1031 w 1387"/>
                  <a:gd name="T75" fmla="*/ 116 h 310"/>
                  <a:gd name="T76" fmla="*/ 1157 w 1387"/>
                  <a:gd name="T77" fmla="*/ 176 h 310"/>
                  <a:gd name="T78" fmla="*/ 1276 w 1387"/>
                  <a:gd name="T79" fmla="*/ 235 h 310"/>
                  <a:gd name="T80" fmla="*/ 1347 w 1387"/>
                  <a:gd name="T81" fmla="*/ 271 h 310"/>
                  <a:gd name="T82" fmla="*/ 1384 w 1387"/>
                  <a:gd name="T83" fmla="*/ 287 h 310"/>
                  <a:gd name="T84" fmla="*/ 1387 w 1387"/>
                  <a:gd name="T85" fmla="*/ 297 h 310"/>
                  <a:gd name="T86" fmla="*/ 1384 w 1387"/>
                  <a:gd name="T87" fmla="*/ 306 h 310"/>
                  <a:gd name="T88" fmla="*/ 1377 w 1387"/>
                  <a:gd name="T8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87" h="310">
                    <a:moveTo>
                      <a:pt x="1374" y="310"/>
                    </a:moveTo>
                    <a:lnTo>
                      <a:pt x="1371" y="310"/>
                    </a:lnTo>
                    <a:lnTo>
                      <a:pt x="1369" y="310"/>
                    </a:lnTo>
                    <a:lnTo>
                      <a:pt x="1336" y="296"/>
                    </a:lnTo>
                    <a:lnTo>
                      <a:pt x="1302" y="279"/>
                    </a:lnTo>
                    <a:lnTo>
                      <a:pt x="1264" y="260"/>
                    </a:lnTo>
                    <a:lnTo>
                      <a:pt x="1223" y="239"/>
                    </a:lnTo>
                    <a:lnTo>
                      <a:pt x="1146" y="200"/>
                    </a:lnTo>
                    <a:lnTo>
                      <a:pt x="1064" y="161"/>
                    </a:lnTo>
                    <a:lnTo>
                      <a:pt x="1021" y="140"/>
                    </a:lnTo>
                    <a:lnTo>
                      <a:pt x="977" y="122"/>
                    </a:lnTo>
                    <a:lnTo>
                      <a:pt x="932" y="104"/>
                    </a:lnTo>
                    <a:lnTo>
                      <a:pt x="885" y="88"/>
                    </a:lnTo>
                    <a:lnTo>
                      <a:pt x="838" y="71"/>
                    </a:lnTo>
                    <a:lnTo>
                      <a:pt x="789" y="58"/>
                    </a:lnTo>
                    <a:lnTo>
                      <a:pt x="764" y="52"/>
                    </a:lnTo>
                    <a:lnTo>
                      <a:pt x="739" y="47"/>
                    </a:lnTo>
                    <a:lnTo>
                      <a:pt x="714" y="42"/>
                    </a:lnTo>
                    <a:lnTo>
                      <a:pt x="690" y="38"/>
                    </a:lnTo>
                    <a:lnTo>
                      <a:pt x="664" y="35"/>
                    </a:lnTo>
                    <a:lnTo>
                      <a:pt x="639" y="31"/>
                    </a:lnTo>
                    <a:lnTo>
                      <a:pt x="613" y="29"/>
                    </a:lnTo>
                    <a:lnTo>
                      <a:pt x="587" y="28"/>
                    </a:lnTo>
                    <a:lnTo>
                      <a:pt x="561" y="28"/>
                    </a:lnTo>
                    <a:lnTo>
                      <a:pt x="535" y="28"/>
                    </a:lnTo>
                    <a:lnTo>
                      <a:pt x="509" y="29"/>
                    </a:lnTo>
                    <a:lnTo>
                      <a:pt x="483" y="31"/>
                    </a:lnTo>
                    <a:lnTo>
                      <a:pt x="434" y="37"/>
                    </a:lnTo>
                    <a:lnTo>
                      <a:pt x="385" y="44"/>
                    </a:lnTo>
                    <a:lnTo>
                      <a:pt x="340" y="51"/>
                    </a:lnTo>
                    <a:lnTo>
                      <a:pt x="296" y="59"/>
                    </a:lnTo>
                    <a:lnTo>
                      <a:pt x="256" y="67"/>
                    </a:lnTo>
                    <a:lnTo>
                      <a:pt x="217" y="76"/>
                    </a:lnTo>
                    <a:lnTo>
                      <a:pt x="182" y="84"/>
                    </a:lnTo>
                    <a:lnTo>
                      <a:pt x="150" y="93"/>
                    </a:lnTo>
                    <a:lnTo>
                      <a:pt x="95" y="108"/>
                    </a:lnTo>
                    <a:lnTo>
                      <a:pt x="54" y="121"/>
                    </a:lnTo>
                    <a:lnTo>
                      <a:pt x="28" y="130"/>
                    </a:lnTo>
                    <a:lnTo>
                      <a:pt x="18" y="134"/>
                    </a:lnTo>
                    <a:lnTo>
                      <a:pt x="13" y="134"/>
                    </a:lnTo>
                    <a:lnTo>
                      <a:pt x="8" y="133"/>
                    </a:lnTo>
                    <a:lnTo>
                      <a:pt x="4" y="131"/>
                    </a:lnTo>
                    <a:lnTo>
                      <a:pt x="1" y="125"/>
                    </a:lnTo>
                    <a:lnTo>
                      <a:pt x="0" y="121"/>
                    </a:lnTo>
                    <a:lnTo>
                      <a:pt x="1" y="116"/>
                    </a:lnTo>
                    <a:lnTo>
                      <a:pt x="4" y="111"/>
                    </a:lnTo>
                    <a:lnTo>
                      <a:pt x="8" y="108"/>
                    </a:lnTo>
                    <a:lnTo>
                      <a:pt x="18" y="105"/>
                    </a:lnTo>
                    <a:lnTo>
                      <a:pt x="44" y="96"/>
                    </a:lnTo>
                    <a:lnTo>
                      <a:pt x="86" y="82"/>
                    </a:lnTo>
                    <a:lnTo>
                      <a:pt x="142" y="67"/>
                    </a:lnTo>
                    <a:lnTo>
                      <a:pt x="175" y="58"/>
                    </a:lnTo>
                    <a:lnTo>
                      <a:pt x="210" y="50"/>
                    </a:lnTo>
                    <a:lnTo>
                      <a:pt x="249" y="41"/>
                    </a:lnTo>
                    <a:lnTo>
                      <a:pt x="291" y="32"/>
                    </a:lnTo>
                    <a:lnTo>
                      <a:pt x="334" y="25"/>
                    </a:lnTo>
                    <a:lnTo>
                      <a:pt x="381" y="17"/>
                    </a:lnTo>
                    <a:lnTo>
                      <a:pt x="429" y="11"/>
                    </a:lnTo>
                    <a:lnTo>
                      <a:pt x="480" y="4"/>
                    </a:lnTo>
                    <a:lnTo>
                      <a:pt x="507" y="2"/>
                    </a:lnTo>
                    <a:lnTo>
                      <a:pt x="534" y="1"/>
                    </a:lnTo>
                    <a:lnTo>
                      <a:pt x="561" y="0"/>
                    </a:lnTo>
                    <a:lnTo>
                      <a:pt x="587" y="1"/>
                    </a:lnTo>
                    <a:lnTo>
                      <a:pt x="614" y="2"/>
                    </a:lnTo>
                    <a:lnTo>
                      <a:pt x="640" y="4"/>
                    </a:lnTo>
                    <a:lnTo>
                      <a:pt x="666" y="8"/>
                    </a:lnTo>
                    <a:lnTo>
                      <a:pt x="692" y="11"/>
                    </a:lnTo>
                    <a:lnTo>
                      <a:pt x="718" y="15"/>
                    </a:lnTo>
                    <a:lnTo>
                      <a:pt x="743" y="20"/>
                    </a:lnTo>
                    <a:lnTo>
                      <a:pt x="768" y="25"/>
                    </a:lnTo>
                    <a:lnTo>
                      <a:pt x="793" y="31"/>
                    </a:lnTo>
                    <a:lnTo>
                      <a:pt x="843" y="45"/>
                    </a:lnTo>
                    <a:lnTo>
                      <a:pt x="892" y="61"/>
                    </a:lnTo>
                    <a:lnTo>
                      <a:pt x="939" y="78"/>
                    </a:lnTo>
                    <a:lnTo>
                      <a:pt x="986" y="96"/>
                    </a:lnTo>
                    <a:lnTo>
                      <a:pt x="1031" y="116"/>
                    </a:lnTo>
                    <a:lnTo>
                      <a:pt x="1074" y="135"/>
                    </a:lnTo>
                    <a:lnTo>
                      <a:pt x="1157" y="176"/>
                    </a:lnTo>
                    <a:lnTo>
                      <a:pt x="1235" y="215"/>
                    </a:lnTo>
                    <a:lnTo>
                      <a:pt x="1276" y="235"/>
                    </a:lnTo>
                    <a:lnTo>
                      <a:pt x="1313" y="255"/>
                    </a:lnTo>
                    <a:lnTo>
                      <a:pt x="1347" y="271"/>
                    </a:lnTo>
                    <a:lnTo>
                      <a:pt x="1379" y="284"/>
                    </a:lnTo>
                    <a:lnTo>
                      <a:pt x="1384" y="287"/>
                    </a:lnTo>
                    <a:lnTo>
                      <a:pt x="1386" y="292"/>
                    </a:lnTo>
                    <a:lnTo>
                      <a:pt x="1387" y="297"/>
                    </a:lnTo>
                    <a:lnTo>
                      <a:pt x="1386" y="302"/>
                    </a:lnTo>
                    <a:lnTo>
                      <a:pt x="1384" y="306"/>
                    </a:lnTo>
                    <a:lnTo>
                      <a:pt x="1382" y="308"/>
                    </a:lnTo>
                    <a:lnTo>
                      <a:pt x="1377" y="310"/>
                    </a:lnTo>
                    <a:lnTo>
                      <a:pt x="1374" y="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52"/>
              <p:cNvSpPr>
                <a:spLocks/>
              </p:cNvSpPr>
              <p:nvPr userDrawn="1"/>
            </p:nvSpPr>
            <p:spPr bwMode="auto">
              <a:xfrm>
                <a:off x="3260" y="3882"/>
                <a:ext cx="479" cy="438"/>
              </a:xfrm>
              <a:custGeom>
                <a:avLst/>
                <a:gdLst>
                  <a:gd name="T0" fmla="*/ 1372 w 1438"/>
                  <a:gd name="T1" fmla="*/ 1260 h 1313"/>
                  <a:gd name="T2" fmla="*/ 1300 w 1438"/>
                  <a:gd name="T3" fmla="*/ 1154 h 1313"/>
                  <a:gd name="T4" fmla="*/ 1223 w 1438"/>
                  <a:gd name="T5" fmla="*/ 1049 h 1313"/>
                  <a:gd name="T6" fmla="*/ 1143 w 1438"/>
                  <a:gd name="T7" fmla="*/ 943 h 1313"/>
                  <a:gd name="T8" fmla="*/ 1061 w 1438"/>
                  <a:gd name="T9" fmla="*/ 839 h 1313"/>
                  <a:gd name="T10" fmla="*/ 977 w 1438"/>
                  <a:gd name="T11" fmla="*/ 738 h 1313"/>
                  <a:gd name="T12" fmla="*/ 853 w 1438"/>
                  <a:gd name="T13" fmla="*/ 593 h 1313"/>
                  <a:gd name="T14" fmla="*/ 693 w 1438"/>
                  <a:gd name="T15" fmla="*/ 416 h 1313"/>
                  <a:gd name="T16" fmla="*/ 550 w 1438"/>
                  <a:gd name="T17" fmla="*/ 264 h 1313"/>
                  <a:gd name="T18" fmla="*/ 433 w 1438"/>
                  <a:gd name="T19" fmla="*/ 143 h 1313"/>
                  <a:gd name="T20" fmla="*/ 352 w 1438"/>
                  <a:gd name="T21" fmla="*/ 62 h 1313"/>
                  <a:gd name="T22" fmla="*/ 28 w 1438"/>
                  <a:gd name="T23" fmla="*/ 705 h 1313"/>
                  <a:gd name="T24" fmla="*/ 34 w 1438"/>
                  <a:gd name="T25" fmla="*/ 770 h 1313"/>
                  <a:gd name="T26" fmla="*/ 49 w 1438"/>
                  <a:gd name="T27" fmla="*/ 903 h 1313"/>
                  <a:gd name="T28" fmla="*/ 73 w 1438"/>
                  <a:gd name="T29" fmla="*/ 1090 h 1313"/>
                  <a:gd name="T30" fmla="*/ 105 w 1438"/>
                  <a:gd name="T31" fmla="*/ 1313 h 1313"/>
                  <a:gd name="T32" fmla="*/ 59 w 1438"/>
                  <a:gd name="T33" fmla="*/ 1190 h 1313"/>
                  <a:gd name="T34" fmla="*/ 31 w 1438"/>
                  <a:gd name="T35" fmla="*/ 974 h 1313"/>
                  <a:gd name="T36" fmla="*/ 12 w 1438"/>
                  <a:gd name="T37" fmla="*/ 810 h 1313"/>
                  <a:gd name="T38" fmla="*/ 2 w 1438"/>
                  <a:gd name="T39" fmla="*/ 717 h 1313"/>
                  <a:gd name="T40" fmla="*/ 0 w 1438"/>
                  <a:gd name="T41" fmla="*/ 701 h 1313"/>
                  <a:gd name="T42" fmla="*/ 310 w 1438"/>
                  <a:gd name="T43" fmla="*/ 9 h 1313"/>
                  <a:gd name="T44" fmla="*/ 314 w 1438"/>
                  <a:gd name="T45" fmla="*/ 4 h 1313"/>
                  <a:gd name="T46" fmla="*/ 319 w 1438"/>
                  <a:gd name="T47" fmla="*/ 0 h 1313"/>
                  <a:gd name="T48" fmla="*/ 326 w 1438"/>
                  <a:gd name="T49" fmla="*/ 1 h 1313"/>
                  <a:gd name="T50" fmla="*/ 331 w 1438"/>
                  <a:gd name="T51" fmla="*/ 5 h 1313"/>
                  <a:gd name="T52" fmla="*/ 366 w 1438"/>
                  <a:gd name="T53" fmla="*/ 37 h 1313"/>
                  <a:gd name="T54" fmla="*/ 454 w 1438"/>
                  <a:gd name="T55" fmla="*/ 126 h 1313"/>
                  <a:gd name="T56" fmla="*/ 584 w 1438"/>
                  <a:gd name="T57" fmla="*/ 259 h 1313"/>
                  <a:gd name="T58" fmla="*/ 744 w 1438"/>
                  <a:gd name="T59" fmla="*/ 431 h 1313"/>
                  <a:gd name="T60" fmla="*/ 922 w 1438"/>
                  <a:gd name="T61" fmla="*/ 631 h 1313"/>
                  <a:gd name="T62" fmla="*/ 1013 w 1438"/>
                  <a:gd name="T63" fmla="*/ 739 h 1313"/>
                  <a:gd name="T64" fmla="*/ 1104 w 1438"/>
                  <a:gd name="T65" fmla="*/ 850 h 1313"/>
                  <a:gd name="T66" fmla="*/ 1194 w 1438"/>
                  <a:gd name="T67" fmla="*/ 964 h 1313"/>
                  <a:gd name="T68" fmla="*/ 1280 w 1438"/>
                  <a:gd name="T69" fmla="*/ 1081 h 1313"/>
                  <a:gd name="T70" fmla="*/ 1363 w 1438"/>
                  <a:gd name="T71" fmla="*/ 1197 h 1313"/>
                  <a:gd name="T72" fmla="*/ 1438 w 1438"/>
                  <a:gd name="T73" fmla="*/ 1313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38" h="1313">
                    <a:moveTo>
                      <a:pt x="1407" y="1313"/>
                    </a:moveTo>
                    <a:lnTo>
                      <a:pt x="1372" y="1260"/>
                    </a:lnTo>
                    <a:lnTo>
                      <a:pt x="1337" y="1207"/>
                    </a:lnTo>
                    <a:lnTo>
                      <a:pt x="1300" y="1154"/>
                    </a:lnTo>
                    <a:lnTo>
                      <a:pt x="1262" y="1101"/>
                    </a:lnTo>
                    <a:lnTo>
                      <a:pt x="1223" y="1049"/>
                    </a:lnTo>
                    <a:lnTo>
                      <a:pt x="1183" y="996"/>
                    </a:lnTo>
                    <a:lnTo>
                      <a:pt x="1143" y="943"/>
                    </a:lnTo>
                    <a:lnTo>
                      <a:pt x="1102" y="891"/>
                    </a:lnTo>
                    <a:lnTo>
                      <a:pt x="1061" y="839"/>
                    </a:lnTo>
                    <a:lnTo>
                      <a:pt x="1019" y="788"/>
                    </a:lnTo>
                    <a:lnTo>
                      <a:pt x="977" y="738"/>
                    </a:lnTo>
                    <a:lnTo>
                      <a:pt x="936" y="689"/>
                    </a:lnTo>
                    <a:lnTo>
                      <a:pt x="853" y="593"/>
                    </a:lnTo>
                    <a:lnTo>
                      <a:pt x="772" y="501"/>
                    </a:lnTo>
                    <a:lnTo>
                      <a:pt x="693" y="416"/>
                    </a:lnTo>
                    <a:lnTo>
                      <a:pt x="620" y="336"/>
                    </a:lnTo>
                    <a:lnTo>
                      <a:pt x="550" y="264"/>
                    </a:lnTo>
                    <a:lnTo>
                      <a:pt x="488" y="199"/>
                    </a:lnTo>
                    <a:lnTo>
                      <a:pt x="433" y="143"/>
                    </a:lnTo>
                    <a:lnTo>
                      <a:pt x="387" y="98"/>
                    </a:lnTo>
                    <a:lnTo>
                      <a:pt x="352" y="62"/>
                    </a:lnTo>
                    <a:lnTo>
                      <a:pt x="327" y="37"/>
                    </a:lnTo>
                    <a:lnTo>
                      <a:pt x="28" y="705"/>
                    </a:lnTo>
                    <a:lnTo>
                      <a:pt x="30" y="728"/>
                    </a:lnTo>
                    <a:lnTo>
                      <a:pt x="34" y="770"/>
                    </a:lnTo>
                    <a:lnTo>
                      <a:pt x="41" y="828"/>
                    </a:lnTo>
                    <a:lnTo>
                      <a:pt x="49" y="903"/>
                    </a:lnTo>
                    <a:lnTo>
                      <a:pt x="60" y="990"/>
                    </a:lnTo>
                    <a:lnTo>
                      <a:pt x="73" y="1090"/>
                    </a:lnTo>
                    <a:lnTo>
                      <a:pt x="87" y="1197"/>
                    </a:lnTo>
                    <a:lnTo>
                      <a:pt x="105" y="1313"/>
                    </a:lnTo>
                    <a:lnTo>
                      <a:pt x="78" y="1313"/>
                    </a:lnTo>
                    <a:lnTo>
                      <a:pt x="59" y="1190"/>
                    </a:lnTo>
                    <a:lnTo>
                      <a:pt x="44" y="1077"/>
                    </a:lnTo>
                    <a:lnTo>
                      <a:pt x="31" y="974"/>
                    </a:lnTo>
                    <a:lnTo>
                      <a:pt x="20" y="883"/>
                    </a:lnTo>
                    <a:lnTo>
                      <a:pt x="12" y="810"/>
                    </a:lnTo>
                    <a:lnTo>
                      <a:pt x="5" y="754"/>
                    </a:lnTo>
                    <a:lnTo>
                      <a:pt x="2" y="717"/>
                    </a:lnTo>
                    <a:lnTo>
                      <a:pt x="0" y="704"/>
                    </a:lnTo>
                    <a:lnTo>
                      <a:pt x="0" y="701"/>
                    </a:lnTo>
                    <a:lnTo>
                      <a:pt x="1" y="698"/>
                    </a:lnTo>
                    <a:lnTo>
                      <a:pt x="310" y="9"/>
                    </a:lnTo>
                    <a:lnTo>
                      <a:pt x="312" y="6"/>
                    </a:lnTo>
                    <a:lnTo>
                      <a:pt x="314" y="4"/>
                    </a:lnTo>
                    <a:lnTo>
                      <a:pt x="316" y="1"/>
                    </a:lnTo>
                    <a:lnTo>
                      <a:pt x="319" y="0"/>
                    </a:lnTo>
                    <a:lnTo>
                      <a:pt x="323" y="0"/>
                    </a:lnTo>
                    <a:lnTo>
                      <a:pt x="326" y="1"/>
                    </a:lnTo>
                    <a:lnTo>
                      <a:pt x="329" y="3"/>
                    </a:lnTo>
                    <a:lnTo>
                      <a:pt x="331" y="5"/>
                    </a:lnTo>
                    <a:lnTo>
                      <a:pt x="341" y="13"/>
                    </a:lnTo>
                    <a:lnTo>
                      <a:pt x="366" y="37"/>
                    </a:lnTo>
                    <a:lnTo>
                      <a:pt x="404" y="75"/>
                    </a:lnTo>
                    <a:lnTo>
                      <a:pt x="454" y="126"/>
                    </a:lnTo>
                    <a:lnTo>
                      <a:pt x="515" y="187"/>
                    </a:lnTo>
                    <a:lnTo>
                      <a:pt x="584" y="259"/>
                    </a:lnTo>
                    <a:lnTo>
                      <a:pt x="661" y="341"/>
                    </a:lnTo>
                    <a:lnTo>
                      <a:pt x="744" y="431"/>
                    </a:lnTo>
                    <a:lnTo>
                      <a:pt x="831" y="528"/>
                    </a:lnTo>
                    <a:lnTo>
                      <a:pt x="922" y="631"/>
                    </a:lnTo>
                    <a:lnTo>
                      <a:pt x="967" y="684"/>
                    </a:lnTo>
                    <a:lnTo>
                      <a:pt x="1013" y="739"/>
                    </a:lnTo>
                    <a:lnTo>
                      <a:pt x="1059" y="794"/>
                    </a:lnTo>
                    <a:lnTo>
                      <a:pt x="1104" y="850"/>
                    </a:lnTo>
                    <a:lnTo>
                      <a:pt x="1150" y="907"/>
                    </a:lnTo>
                    <a:lnTo>
                      <a:pt x="1194" y="964"/>
                    </a:lnTo>
                    <a:lnTo>
                      <a:pt x="1238" y="1023"/>
                    </a:lnTo>
                    <a:lnTo>
                      <a:pt x="1280" y="1081"/>
                    </a:lnTo>
                    <a:lnTo>
                      <a:pt x="1323" y="1139"/>
                    </a:lnTo>
                    <a:lnTo>
                      <a:pt x="1363" y="1197"/>
                    </a:lnTo>
                    <a:lnTo>
                      <a:pt x="1401" y="1255"/>
                    </a:lnTo>
                    <a:lnTo>
                      <a:pt x="1438" y="1313"/>
                    </a:lnTo>
                    <a:lnTo>
                      <a:pt x="1407" y="1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53"/>
              <p:cNvSpPr>
                <a:spLocks/>
              </p:cNvSpPr>
              <p:nvPr userDrawn="1"/>
            </p:nvSpPr>
            <p:spPr bwMode="auto">
              <a:xfrm>
                <a:off x="1383" y="1496"/>
                <a:ext cx="1254" cy="1824"/>
              </a:xfrm>
              <a:custGeom>
                <a:avLst/>
                <a:gdLst>
                  <a:gd name="T0" fmla="*/ 3672 w 3761"/>
                  <a:gd name="T1" fmla="*/ 5422 h 5474"/>
                  <a:gd name="T2" fmla="*/ 3199 w 3761"/>
                  <a:gd name="T3" fmla="*/ 5291 h 5474"/>
                  <a:gd name="T4" fmla="*/ 2480 w 3761"/>
                  <a:gd name="T5" fmla="*/ 5217 h 5474"/>
                  <a:gd name="T6" fmla="*/ 1696 w 3761"/>
                  <a:gd name="T7" fmla="*/ 5206 h 5474"/>
                  <a:gd name="T8" fmla="*/ 1029 w 3761"/>
                  <a:gd name="T9" fmla="*/ 5263 h 5474"/>
                  <a:gd name="T10" fmla="*/ 807 w 3761"/>
                  <a:gd name="T11" fmla="*/ 5301 h 5474"/>
                  <a:gd name="T12" fmla="*/ 641 w 3761"/>
                  <a:gd name="T13" fmla="*/ 5278 h 5474"/>
                  <a:gd name="T14" fmla="*/ 394 w 3761"/>
                  <a:gd name="T15" fmla="*/ 5171 h 5474"/>
                  <a:gd name="T16" fmla="*/ 250 w 3761"/>
                  <a:gd name="T17" fmla="*/ 5060 h 5474"/>
                  <a:gd name="T18" fmla="*/ 126 w 3761"/>
                  <a:gd name="T19" fmla="*/ 4909 h 5474"/>
                  <a:gd name="T20" fmla="*/ 38 w 3761"/>
                  <a:gd name="T21" fmla="*/ 4740 h 5474"/>
                  <a:gd name="T22" fmla="*/ 0 w 3761"/>
                  <a:gd name="T23" fmla="*/ 4580 h 5474"/>
                  <a:gd name="T24" fmla="*/ 25 w 3761"/>
                  <a:gd name="T25" fmla="*/ 4476 h 5474"/>
                  <a:gd name="T26" fmla="*/ 108 w 3761"/>
                  <a:gd name="T27" fmla="*/ 4439 h 5474"/>
                  <a:gd name="T28" fmla="*/ 402 w 3761"/>
                  <a:gd name="T29" fmla="*/ 4360 h 5474"/>
                  <a:gd name="T30" fmla="*/ 726 w 3761"/>
                  <a:gd name="T31" fmla="*/ 4270 h 5474"/>
                  <a:gd name="T32" fmla="*/ 935 w 3761"/>
                  <a:gd name="T33" fmla="*/ 4158 h 5474"/>
                  <a:gd name="T34" fmla="*/ 1115 w 3761"/>
                  <a:gd name="T35" fmla="*/ 3980 h 5474"/>
                  <a:gd name="T36" fmla="*/ 1210 w 3761"/>
                  <a:gd name="T37" fmla="*/ 3782 h 5474"/>
                  <a:gd name="T38" fmla="*/ 1231 w 3761"/>
                  <a:gd name="T39" fmla="*/ 3579 h 5474"/>
                  <a:gd name="T40" fmla="*/ 1188 w 3761"/>
                  <a:gd name="T41" fmla="*/ 3389 h 5474"/>
                  <a:gd name="T42" fmla="*/ 1014 w 3761"/>
                  <a:gd name="T43" fmla="*/ 3132 h 5474"/>
                  <a:gd name="T44" fmla="*/ 773 w 3761"/>
                  <a:gd name="T45" fmla="*/ 2835 h 5474"/>
                  <a:gd name="T46" fmla="*/ 623 w 3761"/>
                  <a:gd name="T47" fmla="*/ 2608 h 5474"/>
                  <a:gd name="T48" fmla="*/ 465 w 3761"/>
                  <a:gd name="T49" fmla="*/ 2193 h 5474"/>
                  <a:gd name="T50" fmla="*/ 351 w 3761"/>
                  <a:gd name="T51" fmla="*/ 1636 h 5474"/>
                  <a:gd name="T52" fmla="*/ 337 w 3761"/>
                  <a:gd name="T53" fmla="*/ 1127 h 5474"/>
                  <a:gd name="T54" fmla="*/ 434 w 3761"/>
                  <a:gd name="T55" fmla="*/ 790 h 5474"/>
                  <a:gd name="T56" fmla="*/ 620 w 3761"/>
                  <a:gd name="T57" fmla="*/ 486 h 5474"/>
                  <a:gd name="T58" fmla="*/ 881 w 3761"/>
                  <a:gd name="T59" fmla="*/ 229 h 5474"/>
                  <a:gd name="T60" fmla="*/ 1203 w 3761"/>
                  <a:gd name="T61" fmla="*/ 40 h 5474"/>
                  <a:gd name="T62" fmla="*/ 1321 w 3761"/>
                  <a:gd name="T63" fmla="*/ 14 h 5474"/>
                  <a:gd name="T64" fmla="*/ 1118 w 3761"/>
                  <a:gd name="T65" fmla="*/ 110 h 5474"/>
                  <a:gd name="T66" fmla="*/ 817 w 3761"/>
                  <a:gd name="T67" fmla="*/ 316 h 5474"/>
                  <a:gd name="T68" fmla="*/ 581 w 3761"/>
                  <a:gd name="T69" fmla="*/ 583 h 5474"/>
                  <a:gd name="T70" fmla="*/ 422 w 3761"/>
                  <a:gd name="T71" fmla="*/ 892 h 5474"/>
                  <a:gd name="T72" fmla="*/ 354 w 3761"/>
                  <a:gd name="T73" fmla="*/ 1226 h 5474"/>
                  <a:gd name="T74" fmla="*/ 400 w 3761"/>
                  <a:gd name="T75" fmla="*/ 1792 h 5474"/>
                  <a:gd name="T76" fmla="*/ 540 w 3761"/>
                  <a:gd name="T77" fmla="*/ 2339 h 5474"/>
                  <a:gd name="T78" fmla="*/ 684 w 3761"/>
                  <a:gd name="T79" fmla="*/ 2661 h 5474"/>
                  <a:gd name="T80" fmla="*/ 839 w 3761"/>
                  <a:gd name="T81" fmla="*/ 2877 h 5474"/>
                  <a:gd name="T82" fmla="*/ 1099 w 3761"/>
                  <a:gd name="T83" fmla="*/ 3197 h 5474"/>
                  <a:gd name="T84" fmla="*/ 1232 w 3761"/>
                  <a:gd name="T85" fmla="*/ 3432 h 5474"/>
                  <a:gd name="T86" fmla="*/ 1259 w 3761"/>
                  <a:gd name="T87" fmla="*/ 3636 h 5474"/>
                  <a:gd name="T88" fmla="*/ 1217 w 3761"/>
                  <a:gd name="T89" fmla="*/ 3849 h 5474"/>
                  <a:gd name="T90" fmla="*/ 1095 w 3761"/>
                  <a:gd name="T91" fmla="*/ 4050 h 5474"/>
                  <a:gd name="T92" fmla="*/ 880 w 3761"/>
                  <a:gd name="T93" fmla="*/ 4226 h 5474"/>
                  <a:gd name="T94" fmla="*/ 679 w 3761"/>
                  <a:gd name="T95" fmla="*/ 4315 h 5474"/>
                  <a:gd name="T96" fmla="*/ 324 w 3761"/>
                  <a:gd name="T97" fmla="*/ 4406 h 5474"/>
                  <a:gd name="T98" fmla="*/ 73 w 3761"/>
                  <a:gd name="T99" fmla="*/ 4481 h 5474"/>
                  <a:gd name="T100" fmla="*/ 34 w 3761"/>
                  <a:gd name="T101" fmla="*/ 4509 h 5474"/>
                  <a:gd name="T102" fmla="*/ 32 w 3761"/>
                  <a:gd name="T103" fmla="*/ 4623 h 5474"/>
                  <a:gd name="T104" fmla="*/ 85 w 3761"/>
                  <a:gd name="T105" fmla="*/ 4780 h 5474"/>
                  <a:gd name="T106" fmla="*/ 182 w 3761"/>
                  <a:gd name="T107" fmla="*/ 4939 h 5474"/>
                  <a:gd name="T108" fmla="*/ 307 w 3761"/>
                  <a:gd name="T109" fmla="*/ 5076 h 5474"/>
                  <a:gd name="T110" fmla="*/ 480 w 3761"/>
                  <a:gd name="T111" fmla="*/ 5184 h 5474"/>
                  <a:gd name="T112" fmla="*/ 703 w 3761"/>
                  <a:gd name="T113" fmla="*/ 5266 h 5474"/>
                  <a:gd name="T114" fmla="*/ 864 w 3761"/>
                  <a:gd name="T115" fmla="*/ 5268 h 5474"/>
                  <a:gd name="T116" fmla="*/ 1358 w 3761"/>
                  <a:gd name="T117" fmla="*/ 5200 h 5474"/>
                  <a:gd name="T118" fmla="*/ 2114 w 3761"/>
                  <a:gd name="T119" fmla="*/ 5181 h 5474"/>
                  <a:gd name="T120" fmla="*/ 2897 w 3761"/>
                  <a:gd name="T121" fmla="*/ 5225 h 5474"/>
                  <a:gd name="T122" fmla="*/ 3519 w 3761"/>
                  <a:gd name="T123" fmla="*/ 5334 h 5474"/>
                  <a:gd name="T124" fmla="*/ 3761 w 3761"/>
                  <a:gd name="T125" fmla="*/ 5461 h 5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61" h="5474">
                    <a:moveTo>
                      <a:pt x="3748" y="5474"/>
                    </a:moveTo>
                    <a:lnTo>
                      <a:pt x="3745" y="5474"/>
                    </a:lnTo>
                    <a:lnTo>
                      <a:pt x="3742" y="5473"/>
                    </a:lnTo>
                    <a:lnTo>
                      <a:pt x="3740" y="5472"/>
                    </a:lnTo>
                    <a:lnTo>
                      <a:pt x="3738" y="5470"/>
                    </a:lnTo>
                    <a:lnTo>
                      <a:pt x="3710" y="5445"/>
                    </a:lnTo>
                    <a:lnTo>
                      <a:pt x="3672" y="5422"/>
                    </a:lnTo>
                    <a:lnTo>
                      <a:pt x="3627" y="5400"/>
                    </a:lnTo>
                    <a:lnTo>
                      <a:pt x="3573" y="5379"/>
                    </a:lnTo>
                    <a:lnTo>
                      <a:pt x="3511" y="5359"/>
                    </a:lnTo>
                    <a:lnTo>
                      <a:pt x="3442" y="5340"/>
                    </a:lnTo>
                    <a:lnTo>
                      <a:pt x="3368" y="5323"/>
                    </a:lnTo>
                    <a:lnTo>
                      <a:pt x="3286" y="5307"/>
                    </a:lnTo>
                    <a:lnTo>
                      <a:pt x="3199" y="5291"/>
                    </a:lnTo>
                    <a:lnTo>
                      <a:pt x="3107" y="5277"/>
                    </a:lnTo>
                    <a:lnTo>
                      <a:pt x="3010" y="5264"/>
                    </a:lnTo>
                    <a:lnTo>
                      <a:pt x="2910" y="5252"/>
                    </a:lnTo>
                    <a:lnTo>
                      <a:pt x="2806" y="5242"/>
                    </a:lnTo>
                    <a:lnTo>
                      <a:pt x="2700" y="5232"/>
                    </a:lnTo>
                    <a:lnTo>
                      <a:pt x="2591" y="5225"/>
                    </a:lnTo>
                    <a:lnTo>
                      <a:pt x="2480" y="5217"/>
                    </a:lnTo>
                    <a:lnTo>
                      <a:pt x="2368" y="5212"/>
                    </a:lnTo>
                    <a:lnTo>
                      <a:pt x="2254" y="5208"/>
                    </a:lnTo>
                    <a:lnTo>
                      <a:pt x="2141" y="5205"/>
                    </a:lnTo>
                    <a:lnTo>
                      <a:pt x="2029" y="5203"/>
                    </a:lnTo>
                    <a:lnTo>
                      <a:pt x="1916" y="5203"/>
                    </a:lnTo>
                    <a:lnTo>
                      <a:pt x="1805" y="5204"/>
                    </a:lnTo>
                    <a:lnTo>
                      <a:pt x="1696" y="5206"/>
                    </a:lnTo>
                    <a:lnTo>
                      <a:pt x="1589" y="5211"/>
                    </a:lnTo>
                    <a:lnTo>
                      <a:pt x="1486" y="5215"/>
                    </a:lnTo>
                    <a:lnTo>
                      <a:pt x="1385" y="5222"/>
                    </a:lnTo>
                    <a:lnTo>
                      <a:pt x="1289" y="5230"/>
                    </a:lnTo>
                    <a:lnTo>
                      <a:pt x="1197" y="5239"/>
                    </a:lnTo>
                    <a:lnTo>
                      <a:pt x="1110" y="5250"/>
                    </a:lnTo>
                    <a:lnTo>
                      <a:pt x="1029" y="5263"/>
                    </a:lnTo>
                    <a:lnTo>
                      <a:pt x="953" y="5276"/>
                    </a:lnTo>
                    <a:lnTo>
                      <a:pt x="884" y="5292"/>
                    </a:lnTo>
                    <a:lnTo>
                      <a:pt x="869" y="5295"/>
                    </a:lnTo>
                    <a:lnTo>
                      <a:pt x="853" y="5297"/>
                    </a:lnTo>
                    <a:lnTo>
                      <a:pt x="838" y="5299"/>
                    </a:lnTo>
                    <a:lnTo>
                      <a:pt x="823" y="5300"/>
                    </a:lnTo>
                    <a:lnTo>
                      <a:pt x="807" y="5301"/>
                    </a:lnTo>
                    <a:lnTo>
                      <a:pt x="791" y="5303"/>
                    </a:lnTo>
                    <a:lnTo>
                      <a:pt x="776" y="5301"/>
                    </a:lnTo>
                    <a:lnTo>
                      <a:pt x="761" y="5301"/>
                    </a:lnTo>
                    <a:lnTo>
                      <a:pt x="731" y="5298"/>
                    </a:lnTo>
                    <a:lnTo>
                      <a:pt x="701" y="5293"/>
                    </a:lnTo>
                    <a:lnTo>
                      <a:pt x="670" y="5286"/>
                    </a:lnTo>
                    <a:lnTo>
                      <a:pt x="641" y="5278"/>
                    </a:lnTo>
                    <a:lnTo>
                      <a:pt x="612" y="5268"/>
                    </a:lnTo>
                    <a:lnTo>
                      <a:pt x="583" y="5258"/>
                    </a:lnTo>
                    <a:lnTo>
                      <a:pt x="554" y="5246"/>
                    </a:lnTo>
                    <a:lnTo>
                      <a:pt x="526" y="5235"/>
                    </a:lnTo>
                    <a:lnTo>
                      <a:pt x="469" y="5209"/>
                    </a:lnTo>
                    <a:lnTo>
                      <a:pt x="415" y="5182"/>
                    </a:lnTo>
                    <a:lnTo>
                      <a:pt x="394" y="5171"/>
                    </a:lnTo>
                    <a:lnTo>
                      <a:pt x="372" y="5158"/>
                    </a:lnTo>
                    <a:lnTo>
                      <a:pt x="352" y="5145"/>
                    </a:lnTo>
                    <a:lnTo>
                      <a:pt x="330" y="5130"/>
                    </a:lnTo>
                    <a:lnTo>
                      <a:pt x="310" y="5114"/>
                    </a:lnTo>
                    <a:lnTo>
                      <a:pt x="289" y="5096"/>
                    </a:lnTo>
                    <a:lnTo>
                      <a:pt x="270" y="5078"/>
                    </a:lnTo>
                    <a:lnTo>
                      <a:pt x="250" y="5060"/>
                    </a:lnTo>
                    <a:lnTo>
                      <a:pt x="231" y="5040"/>
                    </a:lnTo>
                    <a:lnTo>
                      <a:pt x="211" y="5020"/>
                    </a:lnTo>
                    <a:lnTo>
                      <a:pt x="193" y="4998"/>
                    </a:lnTo>
                    <a:lnTo>
                      <a:pt x="176" y="4977"/>
                    </a:lnTo>
                    <a:lnTo>
                      <a:pt x="158" y="4954"/>
                    </a:lnTo>
                    <a:lnTo>
                      <a:pt x="142" y="4931"/>
                    </a:lnTo>
                    <a:lnTo>
                      <a:pt x="126" y="4909"/>
                    </a:lnTo>
                    <a:lnTo>
                      <a:pt x="111" y="4885"/>
                    </a:lnTo>
                    <a:lnTo>
                      <a:pt x="97" y="4861"/>
                    </a:lnTo>
                    <a:lnTo>
                      <a:pt x="83" y="4837"/>
                    </a:lnTo>
                    <a:lnTo>
                      <a:pt x="71" y="4812"/>
                    </a:lnTo>
                    <a:lnTo>
                      <a:pt x="59" y="4789"/>
                    </a:lnTo>
                    <a:lnTo>
                      <a:pt x="48" y="4765"/>
                    </a:lnTo>
                    <a:lnTo>
                      <a:pt x="38" y="4740"/>
                    </a:lnTo>
                    <a:lnTo>
                      <a:pt x="29" y="4716"/>
                    </a:lnTo>
                    <a:lnTo>
                      <a:pt x="21" y="4693"/>
                    </a:lnTo>
                    <a:lnTo>
                      <a:pt x="15" y="4669"/>
                    </a:lnTo>
                    <a:lnTo>
                      <a:pt x="9" y="4646"/>
                    </a:lnTo>
                    <a:lnTo>
                      <a:pt x="5" y="4624"/>
                    </a:lnTo>
                    <a:lnTo>
                      <a:pt x="2" y="4602"/>
                    </a:lnTo>
                    <a:lnTo>
                      <a:pt x="0" y="4580"/>
                    </a:lnTo>
                    <a:lnTo>
                      <a:pt x="0" y="4559"/>
                    </a:lnTo>
                    <a:lnTo>
                      <a:pt x="1" y="4539"/>
                    </a:lnTo>
                    <a:lnTo>
                      <a:pt x="3" y="4520"/>
                    </a:lnTo>
                    <a:lnTo>
                      <a:pt x="5" y="4508"/>
                    </a:lnTo>
                    <a:lnTo>
                      <a:pt x="11" y="4496"/>
                    </a:lnTo>
                    <a:lnTo>
                      <a:pt x="17" y="4485"/>
                    </a:lnTo>
                    <a:lnTo>
                      <a:pt x="25" y="4476"/>
                    </a:lnTo>
                    <a:lnTo>
                      <a:pt x="33" y="4467"/>
                    </a:lnTo>
                    <a:lnTo>
                      <a:pt x="44" y="4461"/>
                    </a:lnTo>
                    <a:lnTo>
                      <a:pt x="49" y="4458"/>
                    </a:lnTo>
                    <a:lnTo>
                      <a:pt x="55" y="4456"/>
                    </a:lnTo>
                    <a:lnTo>
                      <a:pt x="61" y="4455"/>
                    </a:lnTo>
                    <a:lnTo>
                      <a:pt x="68" y="4454"/>
                    </a:lnTo>
                    <a:lnTo>
                      <a:pt x="108" y="4439"/>
                    </a:lnTo>
                    <a:lnTo>
                      <a:pt x="150" y="4425"/>
                    </a:lnTo>
                    <a:lnTo>
                      <a:pt x="191" y="4412"/>
                    </a:lnTo>
                    <a:lnTo>
                      <a:pt x="233" y="4400"/>
                    </a:lnTo>
                    <a:lnTo>
                      <a:pt x="275" y="4389"/>
                    </a:lnTo>
                    <a:lnTo>
                      <a:pt x="318" y="4380"/>
                    </a:lnTo>
                    <a:lnTo>
                      <a:pt x="360" y="4370"/>
                    </a:lnTo>
                    <a:lnTo>
                      <a:pt x="402" y="4360"/>
                    </a:lnTo>
                    <a:lnTo>
                      <a:pt x="462" y="4346"/>
                    </a:lnTo>
                    <a:lnTo>
                      <a:pt x="521" y="4332"/>
                    </a:lnTo>
                    <a:lnTo>
                      <a:pt x="581" y="4317"/>
                    </a:lnTo>
                    <a:lnTo>
                      <a:pt x="640" y="4300"/>
                    </a:lnTo>
                    <a:lnTo>
                      <a:pt x="669" y="4290"/>
                    </a:lnTo>
                    <a:lnTo>
                      <a:pt x="698" y="4280"/>
                    </a:lnTo>
                    <a:lnTo>
                      <a:pt x="726" y="4270"/>
                    </a:lnTo>
                    <a:lnTo>
                      <a:pt x="756" y="4258"/>
                    </a:lnTo>
                    <a:lnTo>
                      <a:pt x="784" y="4246"/>
                    </a:lnTo>
                    <a:lnTo>
                      <a:pt x="812" y="4232"/>
                    </a:lnTo>
                    <a:lnTo>
                      <a:pt x="839" y="4218"/>
                    </a:lnTo>
                    <a:lnTo>
                      <a:pt x="867" y="4203"/>
                    </a:lnTo>
                    <a:lnTo>
                      <a:pt x="901" y="4181"/>
                    </a:lnTo>
                    <a:lnTo>
                      <a:pt x="935" y="4158"/>
                    </a:lnTo>
                    <a:lnTo>
                      <a:pt x="966" y="4135"/>
                    </a:lnTo>
                    <a:lnTo>
                      <a:pt x="996" y="4111"/>
                    </a:lnTo>
                    <a:lnTo>
                      <a:pt x="1023" y="4086"/>
                    </a:lnTo>
                    <a:lnTo>
                      <a:pt x="1049" y="4060"/>
                    </a:lnTo>
                    <a:lnTo>
                      <a:pt x="1073" y="4034"/>
                    </a:lnTo>
                    <a:lnTo>
                      <a:pt x="1095" y="4007"/>
                    </a:lnTo>
                    <a:lnTo>
                      <a:pt x="1115" y="3980"/>
                    </a:lnTo>
                    <a:lnTo>
                      <a:pt x="1134" y="3953"/>
                    </a:lnTo>
                    <a:lnTo>
                      <a:pt x="1151" y="3925"/>
                    </a:lnTo>
                    <a:lnTo>
                      <a:pt x="1166" y="3897"/>
                    </a:lnTo>
                    <a:lnTo>
                      <a:pt x="1179" y="3868"/>
                    </a:lnTo>
                    <a:lnTo>
                      <a:pt x="1191" y="3839"/>
                    </a:lnTo>
                    <a:lnTo>
                      <a:pt x="1202" y="3811"/>
                    </a:lnTo>
                    <a:lnTo>
                      <a:pt x="1210" y="3782"/>
                    </a:lnTo>
                    <a:lnTo>
                      <a:pt x="1217" y="3752"/>
                    </a:lnTo>
                    <a:lnTo>
                      <a:pt x="1223" y="3723"/>
                    </a:lnTo>
                    <a:lnTo>
                      <a:pt x="1227" y="3694"/>
                    </a:lnTo>
                    <a:lnTo>
                      <a:pt x="1230" y="3665"/>
                    </a:lnTo>
                    <a:lnTo>
                      <a:pt x="1232" y="3636"/>
                    </a:lnTo>
                    <a:lnTo>
                      <a:pt x="1232" y="3607"/>
                    </a:lnTo>
                    <a:lnTo>
                      <a:pt x="1231" y="3579"/>
                    </a:lnTo>
                    <a:lnTo>
                      <a:pt x="1227" y="3549"/>
                    </a:lnTo>
                    <a:lnTo>
                      <a:pt x="1224" y="3521"/>
                    </a:lnTo>
                    <a:lnTo>
                      <a:pt x="1219" y="3494"/>
                    </a:lnTo>
                    <a:lnTo>
                      <a:pt x="1213" y="3467"/>
                    </a:lnTo>
                    <a:lnTo>
                      <a:pt x="1206" y="3440"/>
                    </a:lnTo>
                    <a:lnTo>
                      <a:pt x="1197" y="3415"/>
                    </a:lnTo>
                    <a:lnTo>
                      <a:pt x="1188" y="3389"/>
                    </a:lnTo>
                    <a:lnTo>
                      <a:pt x="1178" y="3364"/>
                    </a:lnTo>
                    <a:lnTo>
                      <a:pt x="1166" y="3339"/>
                    </a:lnTo>
                    <a:lnTo>
                      <a:pt x="1138" y="3296"/>
                    </a:lnTo>
                    <a:lnTo>
                      <a:pt x="1108" y="3254"/>
                    </a:lnTo>
                    <a:lnTo>
                      <a:pt x="1077" y="3213"/>
                    </a:lnTo>
                    <a:lnTo>
                      <a:pt x="1046" y="3172"/>
                    </a:lnTo>
                    <a:lnTo>
                      <a:pt x="1014" y="3132"/>
                    </a:lnTo>
                    <a:lnTo>
                      <a:pt x="982" y="3092"/>
                    </a:lnTo>
                    <a:lnTo>
                      <a:pt x="950" y="3053"/>
                    </a:lnTo>
                    <a:lnTo>
                      <a:pt x="918" y="3014"/>
                    </a:lnTo>
                    <a:lnTo>
                      <a:pt x="869" y="2956"/>
                    </a:lnTo>
                    <a:lnTo>
                      <a:pt x="820" y="2896"/>
                    </a:lnTo>
                    <a:lnTo>
                      <a:pt x="796" y="2866"/>
                    </a:lnTo>
                    <a:lnTo>
                      <a:pt x="773" y="2835"/>
                    </a:lnTo>
                    <a:lnTo>
                      <a:pt x="749" y="2805"/>
                    </a:lnTo>
                    <a:lnTo>
                      <a:pt x="726" y="2773"/>
                    </a:lnTo>
                    <a:lnTo>
                      <a:pt x="704" y="2741"/>
                    </a:lnTo>
                    <a:lnTo>
                      <a:pt x="682" y="2709"/>
                    </a:lnTo>
                    <a:lnTo>
                      <a:pt x="662" y="2676"/>
                    </a:lnTo>
                    <a:lnTo>
                      <a:pt x="641" y="2643"/>
                    </a:lnTo>
                    <a:lnTo>
                      <a:pt x="623" y="2608"/>
                    </a:lnTo>
                    <a:lnTo>
                      <a:pt x="604" y="2574"/>
                    </a:lnTo>
                    <a:lnTo>
                      <a:pt x="587" y="2537"/>
                    </a:lnTo>
                    <a:lnTo>
                      <a:pt x="571" y="2501"/>
                    </a:lnTo>
                    <a:lnTo>
                      <a:pt x="542" y="2425"/>
                    </a:lnTo>
                    <a:lnTo>
                      <a:pt x="514" y="2348"/>
                    </a:lnTo>
                    <a:lnTo>
                      <a:pt x="489" y="2270"/>
                    </a:lnTo>
                    <a:lnTo>
                      <a:pt x="465" y="2193"/>
                    </a:lnTo>
                    <a:lnTo>
                      <a:pt x="442" y="2115"/>
                    </a:lnTo>
                    <a:lnTo>
                      <a:pt x="423" y="2036"/>
                    </a:lnTo>
                    <a:lnTo>
                      <a:pt x="405" y="1956"/>
                    </a:lnTo>
                    <a:lnTo>
                      <a:pt x="388" y="1876"/>
                    </a:lnTo>
                    <a:lnTo>
                      <a:pt x="374" y="1796"/>
                    </a:lnTo>
                    <a:lnTo>
                      <a:pt x="361" y="1717"/>
                    </a:lnTo>
                    <a:lnTo>
                      <a:pt x="351" y="1636"/>
                    </a:lnTo>
                    <a:lnTo>
                      <a:pt x="342" y="1555"/>
                    </a:lnTo>
                    <a:lnTo>
                      <a:pt x="336" y="1473"/>
                    </a:lnTo>
                    <a:lnTo>
                      <a:pt x="331" y="1391"/>
                    </a:lnTo>
                    <a:lnTo>
                      <a:pt x="328" y="1309"/>
                    </a:lnTo>
                    <a:lnTo>
                      <a:pt x="327" y="1226"/>
                    </a:lnTo>
                    <a:lnTo>
                      <a:pt x="330" y="1176"/>
                    </a:lnTo>
                    <a:lnTo>
                      <a:pt x="337" y="1127"/>
                    </a:lnTo>
                    <a:lnTo>
                      <a:pt x="344" y="1077"/>
                    </a:lnTo>
                    <a:lnTo>
                      <a:pt x="354" y="1029"/>
                    </a:lnTo>
                    <a:lnTo>
                      <a:pt x="366" y="980"/>
                    </a:lnTo>
                    <a:lnTo>
                      <a:pt x="380" y="932"/>
                    </a:lnTo>
                    <a:lnTo>
                      <a:pt x="396" y="884"/>
                    </a:lnTo>
                    <a:lnTo>
                      <a:pt x="413" y="837"/>
                    </a:lnTo>
                    <a:lnTo>
                      <a:pt x="434" y="790"/>
                    </a:lnTo>
                    <a:lnTo>
                      <a:pt x="454" y="745"/>
                    </a:lnTo>
                    <a:lnTo>
                      <a:pt x="478" y="700"/>
                    </a:lnTo>
                    <a:lnTo>
                      <a:pt x="503" y="655"/>
                    </a:lnTo>
                    <a:lnTo>
                      <a:pt x="530" y="611"/>
                    </a:lnTo>
                    <a:lnTo>
                      <a:pt x="558" y="568"/>
                    </a:lnTo>
                    <a:lnTo>
                      <a:pt x="588" y="527"/>
                    </a:lnTo>
                    <a:lnTo>
                      <a:pt x="620" y="486"/>
                    </a:lnTo>
                    <a:lnTo>
                      <a:pt x="653" y="446"/>
                    </a:lnTo>
                    <a:lnTo>
                      <a:pt x="688" y="407"/>
                    </a:lnTo>
                    <a:lnTo>
                      <a:pt x="723" y="368"/>
                    </a:lnTo>
                    <a:lnTo>
                      <a:pt x="761" y="332"/>
                    </a:lnTo>
                    <a:lnTo>
                      <a:pt x="800" y="297"/>
                    </a:lnTo>
                    <a:lnTo>
                      <a:pt x="840" y="262"/>
                    </a:lnTo>
                    <a:lnTo>
                      <a:pt x="881" y="229"/>
                    </a:lnTo>
                    <a:lnTo>
                      <a:pt x="924" y="198"/>
                    </a:lnTo>
                    <a:lnTo>
                      <a:pt x="967" y="167"/>
                    </a:lnTo>
                    <a:lnTo>
                      <a:pt x="1013" y="139"/>
                    </a:lnTo>
                    <a:lnTo>
                      <a:pt x="1058" y="112"/>
                    </a:lnTo>
                    <a:lnTo>
                      <a:pt x="1105" y="87"/>
                    </a:lnTo>
                    <a:lnTo>
                      <a:pt x="1154" y="63"/>
                    </a:lnTo>
                    <a:lnTo>
                      <a:pt x="1203" y="40"/>
                    </a:lnTo>
                    <a:lnTo>
                      <a:pt x="1253" y="20"/>
                    </a:lnTo>
                    <a:lnTo>
                      <a:pt x="1304" y="1"/>
                    </a:lnTo>
                    <a:lnTo>
                      <a:pt x="1310" y="0"/>
                    </a:lnTo>
                    <a:lnTo>
                      <a:pt x="1314" y="1"/>
                    </a:lnTo>
                    <a:lnTo>
                      <a:pt x="1318" y="4"/>
                    </a:lnTo>
                    <a:lnTo>
                      <a:pt x="1321" y="9"/>
                    </a:lnTo>
                    <a:lnTo>
                      <a:pt x="1321" y="14"/>
                    </a:lnTo>
                    <a:lnTo>
                      <a:pt x="1320" y="20"/>
                    </a:lnTo>
                    <a:lnTo>
                      <a:pt x="1317" y="24"/>
                    </a:lnTo>
                    <a:lnTo>
                      <a:pt x="1313" y="26"/>
                    </a:lnTo>
                    <a:lnTo>
                      <a:pt x="1263" y="44"/>
                    </a:lnTo>
                    <a:lnTo>
                      <a:pt x="1213" y="65"/>
                    </a:lnTo>
                    <a:lnTo>
                      <a:pt x="1165" y="87"/>
                    </a:lnTo>
                    <a:lnTo>
                      <a:pt x="1118" y="110"/>
                    </a:lnTo>
                    <a:lnTo>
                      <a:pt x="1072" y="135"/>
                    </a:lnTo>
                    <a:lnTo>
                      <a:pt x="1027" y="162"/>
                    </a:lnTo>
                    <a:lnTo>
                      <a:pt x="982" y="190"/>
                    </a:lnTo>
                    <a:lnTo>
                      <a:pt x="939" y="219"/>
                    </a:lnTo>
                    <a:lnTo>
                      <a:pt x="898" y="251"/>
                    </a:lnTo>
                    <a:lnTo>
                      <a:pt x="857" y="283"/>
                    </a:lnTo>
                    <a:lnTo>
                      <a:pt x="817" y="316"/>
                    </a:lnTo>
                    <a:lnTo>
                      <a:pt x="779" y="351"/>
                    </a:lnTo>
                    <a:lnTo>
                      <a:pt x="743" y="387"/>
                    </a:lnTo>
                    <a:lnTo>
                      <a:pt x="708" y="424"/>
                    </a:lnTo>
                    <a:lnTo>
                      <a:pt x="674" y="462"/>
                    </a:lnTo>
                    <a:lnTo>
                      <a:pt x="641" y="502"/>
                    </a:lnTo>
                    <a:lnTo>
                      <a:pt x="610" y="542"/>
                    </a:lnTo>
                    <a:lnTo>
                      <a:pt x="581" y="583"/>
                    </a:lnTo>
                    <a:lnTo>
                      <a:pt x="553" y="625"/>
                    </a:lnTo>
                    <a:lnTo>
                      <a:pt x="527" y="667"/>
                    </a:lnTo>
                    <a:lnTo>
                      <a:pt x="502" y="712"/>
                    </a:lnTo>
                    <a:lnTo>
                      <a:pt x="479" y="756"/>
                    </a:lnTo>
                    <a:lnTo>
                      <a:pt x="459" y="800"/>
                    </a:lnTo>
                    <a:lnTo>
                      <a:pt x="439" y="846"/>
                    </a:lnTo>
                    <a:lnTo>
                      <a:pt x="422" y="892"/>
                    </a:lnTo>
                    <a:lnTo>
                      <a:pt x="406" y="939"/>
                    </a:lnTo>
                    <a:lnTo>
                      <a:pt x="392" y="986"/>
                    </a:lnTo>
                    <a:lnTo>
                      <a:pt x="381" y="1033"/>
                    </a:lnTo>
                    <a:lnTo>
                      <a:pt x="371" y="1082"/>
                    </a:lnTo>
                    <a:lnTo>
                      <a:pt x="363" y="1129"/>
                    </a:lnTo>
                    <a:lnTo>
                      <a:pt x="357" y="1178"/>
                    </a:lnTo>
                    <a:lnTo>
                      <a:pt x="354" y="1226"/>
                    </a:lnTo>
                    <a:lnTo>
                      <a:pt x="355" y="1309"/>
                    </a:lnTo>
                    <a:lnTo>
                      <a:pt x="358" y="1389"/>
                    </a:lnTo>
                    <a:lnTo>
                      <a:pt x="363" y="1472"/>
                    </a:lnTo>
                    <a:lnTo>
                      <a:pt x="369" y="1551"/>
                    </a:lnTo>
                    <a:lnTo>
                      <a:pt x="378" y="1632"/>
                    </a:lnTo>
                    <a:lnTo>
                      <a:pt x="388" y="1712"/>
                    </a:lnTo>
                    <a:lnTo>
                      <a:pt x="400" y="1792"/>
                    </a:lnTo>
                    <a:lnTo>
                      <a:pt x="414" y="1872"/>
                    </a:lnTo>
                    <a:lnTo>
                      <a:pt x="431" y="1951"/>
                    </a:lnTo>
                    <a:lnTo>
                      <a:pt x="449" y="2030"/>
                    </a:lnTo>
                    <a:lnTo>
                      <a:pt x="468" y="2107"/>
                    </a:lnTo>
                    <a:lnTo>
                      <a:pt x="491" y="2185"/>
                    </a:lnTo>
                    <a:lnTo>
                      <a:pt x="514" y="2263"/>
                    </a:lnTo>
                    <a:lnTo>
                      <a:pt x="540" y="2339"/>
                    </a:lnTo>
                    <a:lnTo>
                      <a:pt x="567" y="2415"/>
                    </a:lnTo>
                    <a:lnTo>
                      <a:pt x="596" y="2491"/>
                    </a:lnTo>
                    <a:lnTo>
                      <a:pt x="612" y="2526"/>
                    </a:lnTo>
                    <a:lnTo>
                      <a:pt x="628" y="2561"/>
                    </a:lnTo>
                    <a:lnTo>
                      <a:pt x="647" y="2595"/>
                    </a:lnTo>
                    <a:lnTo>
                      <a:pt x="665" y="2629"/>
                    </a:lnTo>
                    <a:lnTo>
                      <a:pt x="684" y="2661"/>
                    </a:lnTo>
                    <a:lnTo>
                      <a:pt x="704" y="2693"/>
                    </a:lnTo>
                    <a:lnTo>
                      <a:pt x="725" y="2725"/>
                    </a:lnTo>
                    <a:lnTo>
                      <a:pt x="747" y="2756"/>
                    </a:lnTo>
                    <a:lnTo>
                      <a:pt x="770" y="2786"/>
                    </a:lnTo>
                    <a:lnTo>
                      <a:pt x="792" y="2817"/>
                    </a:lnTo>
                    <a:lnTo>
                      <a:pt x="815" y="2847"/>
                    </a:lnTo>
                    <a:lnTo>
                      <a:pt x="839" y="2877"/>
                    </a:lnTo>
                    <a:lnTo>
                      <a:pt x="888" y="2936"/>
                    </a:lnTo>
                    <a:lnTo>
                      <a:pt x="938" y="2997"/>
                    </a:lnTo>
                    <a:lnTo>
                      <a:pt x="970" y="3036"/>
                    </a:lnTo>
                    <a:lnTo>
                      <a:pt x="1003" y="3075"/>
                    </a:lnTo>
                    <a:lnTo>
                      <a:pt x="1035" y="3114"/>
                    </a:lnTo>
                    <a:lnTo>
                      <a:pt x="1068" y="3155"/>
                    </a:lnTo>
                    <a:lnTo>
                      <a:pt x="1099" y="3197"/>
                    </a:lnTo>
                    <a:lnTo>
                      <a:pt x="1130" y="3239"/>
                    </a:lnTo>
                    <a:lnTo>
                      <a:pt x="1161" y="3282"/>
                    </a:lnTo>
                    <a:lnTo>
                      <a:pt x="1190" y="3326"/>
                    </a:lnTo>
                    <a:lnTo>
                      <a:pt x="1202" y="3351"/>
                    </a:lnTo>
                    <a:lnTo>
                      <a:pt x="1212" y="3378"/>
                    </a:lnTo>
                    <a:lnTo>
                      <a:pt x="1222" y="3405"/>
                    </a:lnTo>
                    <a:lnTo>
                      <a:pt x="1232" y="3432"/>
                    </a:lnTo>
                    <a:lnTo>
                      <a:pt x="1239" y="3460"/>
                    </a:lnTo>
                    <a:lnTo>
                      <a:pt x="1246" y="3488"/>
                    </a:lnTo>
                    <a:lnTo>
                      <a:pt x="1250" y="3517"/>
                    </a:lnTo>
                    <a:lnTo>
                      <a:pt x="1254" y="3546"/>
                    </a:lnTo>
                    <a:lnTo>
                      <a:pt x="1257" y="3575"/>
                    </a:lnTo>
                    <a:lnTo>
                      <a:pt x="1259" y="3606"/>
                    </a:lnTo>
                    <a:lnTo>
                      <a:pt x="1259" y="3636"/>
                    </a:lnTo>
                    <a:lnTo>
                      <a:pt x="1257" y="3666"/>
                    </a:lnTo>
                    <a:lnTo>
                      <a:pt x="1254" y="3696"/>
                    </a:lnTo>
                    <a:lnTo>
                      <a:pt x="1250" y="3727"/>
                    </a:lnTo>
                    <a:lnTo>
                      <a:pt x="1244" y="3757"/>
                    </a:lnTo>
                    <a:lnTo>
                      <a:pt x="1236" y="3788"/>
                    </a:lnTo>
                    <a:lnTo>
                      <a:pt x="1227" y="3818"/>
                    </a:lnTo>
                    <a:lnTo>
                      <a:pt x="1217" y="3849"/>
                    </a:lnTo>
                    <a:lnTo>
                      <a:pt x="1205" y="3878"/>
                    </a:lnTo>
                    <a:lnTo>
                      <a:pt x="1191" y="3908"/>
                    </a:lnTo>
                    <a:lnTo>
                      <a:pt x="1175" y="3937"/>
                    </a:lnTo>
                    <a:lnTo>
                      <a:pt x="1157" y="3966"/>
                    </a:lnTo>
                    <a:lnTo>
                      <a:pt x="1139" y="3995"/>
                    </a:lnTo>
                    <a:lnTo>
                      <a:pt x="1117" y="4023"/>
                    </a:lnTo>
                    <a:lnTo>
                      <a:pt x="1095" y="4050"/>
                    </a:lnTo>
                    <a:lnTo>
                      <a:pt x="1070" y="4077"/>
                    </a:lnTo>
                    <a:lnTo>
                      <a:pt x="1043" y="4104"/>
                    </a:lnTo>
                    <a:lnTo>
                      <a:pt x="1015" y="4130"/>
                    </a:lnTo>
                    <a:lnTo>
                      <a:pt x="985" y="4155"/>
                    </a:lnTo>
                    <a:lnTo>
                      <a:pt x="951" y="4180"/>
                    </a:lnTo>
                    <a:lnTo>
                      <a:pt x="916" y="4204"/>
                    </a:lnTo>
                    <a:lnTo>
                      <a:pt x="880" y="4226"/>
                    </a:lnTo>
                    <a:lnTo>
                      <a:pt x="853" y="4241"/>
                    </a:lnTo>
                    <a:lnTo>
                      <a:pt x="824" y="4257"/>
                    </a:lnTo>
                    <a:lnTo>
                      <a:pt x="796" y="4270"/>
                    </a:lnTo>
                    <a:lnTo>
                      <a:pt x="766" y="4282"/>
                    </a:lnTo>
                    <a:lnTo>
                      <a:pt x="737" y="4294"/>
                    </a:lnTo>
                    <a:lnTo>
                      <a:pt x="708" y="4305"/>
                    </a:lnTo>
                    <a:lnTo>
                      <a:pt x="679" y="4315"/>
                    </a:lnTo>
                    <a:lnTo>
                      <a:pt x="649" y="4325"/>
                    </a:lnTo>
                    <a:lnTo>
                      <a:pt x="589" y="4342"/>
                    </a:lnTo>
                    <a:lnTo>
                      <a:pt x="529" y="4358"/>
                    </a:lnTo>
                    <a:lnTo>
                      <a:pt x="468" y="4372"/>
                    </a:lnTo>
                    <a:lnTo>
                      <a:pt x="408" y="4386"/>
                    </a:lnTo>
                    <a:lnTo>
                      <a:pt x="366" y="4396"/>
                    </a:lnTo>
                    <a:lnTo>
                      <a:pt x="324" y="4406"/>
                    </a:lnTo>
                    <a:lnTo>
                      <a:pt x="282" y="4416"/>
                    </a:lnTo>
                    <a:lnTo>
                      <a:pt x="239" y="4427"/>
                    </a:lnTo>
                    <a:lnTo>
                      <a:pt x="197" y="4439"/>
                    </a:lnTo>
                    <a:lnTo>
                      <a:pt x="156" y="4451"/>
                    </a:lnTo>
                    <a:lnTo>
                      <a:pt x="115" y="4465"/>
                    </a:lnTo>
                    <a:lnTo>
                      <a:pt x="75" y="4480"/>
                    </a:lnTo>
                    <a:lnTo>
                      <a:pt x="73" y="4481"/>
                    </a:lnTo>
                    <a:lnTo>
                      <a:pt x="70" y="4481"/>
                    </a:lnTo>
                    <a:lnTo>
                      <a:pt x="62" y="4482"/>
                    </a:lnTo>
                    <a:lnTo>
                      <a:pt x="56" y="4485"/>
                    </a:lnTo>
                    <a:lnTo>
                      <a:pt x="49" y="4490"/>
                    </a:lnTo>
                    <a:lnTo>
                      <a:pt x="44" y="4495"/>
                    </a:lnTo>
                    <a:lnTo>
                      <a:pt x="39" y="4502"/>
                    </a:lnTo>
                    <a:lnTo>
                      <a:pt x="34" y="4509"/>
                    </a:lnTo>
                    <a:lnTo>
                      <a:pt x="31" y="4517"/>
                    </a:lnTo>
                    <a:lnTo>
                      <a:pt x="30" y="4524"/>
                    </a:lnTo>
                    <a:lnTo>
                      <a:pt x="28" y="4542"/>
                    </a:lnTo>
                    <a:lnTo>
                      <a:pt x="27" y="4561"/>
                    </a:lnTo>
                    <a:lnTo>
                      <a:pt x="27" y="4580"/>
                    </a:lnTo>
                    <a:lnTo>
                      <a:pt x="29" y="4601"/>
                    </a:lnTo>
                    <a:lnTo>
                      <a:pt x="32" y="4623"/>
                    </a:lnTo>
                    <a:lnTo>
                      <a:pt x="36" y="4644"/>
                    </a:lnTo>
                    <a:lnTo>
                      <a:pt x="42" y="4666"/>
                    </a:lnTo>
                    <a:lnTo>
                      <a:pt x="48" y="4688"/>
                    </a:lnTo>
                    <a:lnTo>
                      <a:pt x="56" y="4711"/>
                    </a:lnTo>
                    <a:lnTo>
                      <a:pt x="65" y="4734"/>
                    </a:lnTo>
                    <a:lnTo>
                      <a:pt x="74" y="4756"/>
                    </a:lnTo>
                    <a:lnTo>
                      <a:pt x="85" y="4780"/>
                    </a:lnTo>
                    <a:lnTo>
                      <a:pt x="97" y="4803"/>
                    </a:lnTo>
                    <a:lnTo>
                      <a:pt x="109" y="4827"/>
                    </a:lnTo>
                    <a:lnTo>
                      <a:pt x="122" y="4849"/>
                    </a:lnTo>
                    <a:lnTo>
                      <a:pt x="136" y="4872"/>
                    </a:lnTo>
                    <a:lnTo>
                      <a:pt x="151" y="4895"/>
                    </a:lnTo>
                    <a:lnTo>
                      <a:pt x="166" y="4917"/>
                    </a:lnTo>
                    <a:lnTo>
                      <a:pt x="182" y="4939"/>
                    </a:lnTo>
                    <a:lnTo>
                      <a:pt x="198" y="4960"/>
                    </a:lnTo>
                    <a:lnTo>
                      <a:pt x="216" y="4982"/>
                    </a:lnTo>
                    <a:lnTo>
                      <a:pt x="233" y="5001"/>
                    </a:lnTo>
                    <a:lnTo>
                      <a:pt x="251" y="5022"/>
                    </a:lnTo>
                    <a:lnTo>
                      <a:pt x="270" y="5040"/>
                    </a:lnTo>
                    <a:lnTo>
                      <a:pt x="289" y="5059"/>
                    </a:lnTo>
                    <a:lnTo>
                      <a:pt x="307" y="5076"/>
                    </a:lnTo>
                    <a:lnTo>
                      <a:pt x="327" y="5092"/>
                    </a:lnTo>
                    <a:lnTo>
                      <a:pt x="347" y="5108"/>
                    </a:lnTo>
                    <a:lnTo>
                      <a:pt x="367" y="5122"/>
                    </a:lnTo>
                    <a:lnTo>
                      <a:pt x="387" y="5135"/>
                    </a:lnTo>
                    <a:lnTo>
                      <a:pt x="407" y="5147"/>
                    </a:lnTo>
                    <a:lnTo>
                      <a:pt x="427" y="5158"/>
                    </a:lnTo>
                    <a:lnTo>
                      <a:pt x="480" y="5184"/>
                    </a:lnTo>
                    <a:lnTo>
                      <a:pt x="534" y="5209"/>
                    </a:lnTo>
                    <a:lnTo>
                      <a:pt x="561" y="5221"/>
                    </a:lnTo>
                    <a:lnTo>
                      <a:pt x="589" y="5231"/>
                    </a:lnTo>
                    <a:lnTo>
                      <a:pt x="617" y="5242"/>
                    </a:lnTo>
                    <a:lnTo>
                      <a:pt x="645" y="5251"/>
                    </a:lnTo>
                    <a:lnTo>
                      <a:pt x="675" y="5259"/>
                    </a:lnTo>
                    <a:lnTo>
                      <a:pt x="703" y="5266"/>
                    </a:lnTo>
                    <a:lnTo>
                      <a:pt x="732" y="5270"/>
                    </a:lnTo>
                    <a:lnTo>
                      <a:pt x="761" y="5273"/>
                    </a:lnTo>
                    <a:lnTo>
                      <a:pt x="790" y="5275"/>
                    </a:lnTo>
                    <a:lnTo>
                      <a:pt x="819" y="5275"/>
                    </a:lnTo>
                    <a:lnTo>
                      <a:pt x="833" y="5272"/>
                    </a:lnTo>
                    <a:lnTo>
                      <a:pt x="848" y="5271"/>
                    </a:lnTo>
                    <a:lnTo>
                      <a:pt x="864" y="5268"/>
                    </a:lnTo>
                    <a:lnTo>
                      <a:pt x="878" y="5265"/>
                    </a:lnTo>
                    <a:lnTo>
                      <a:pt x="941" y="5251"/>
                    </a:lnTo>
                    <a:lnTo>
                      <a:pt x="1013" y="5238"/>
                    </a:lnTo>
                    <a:lnTo>
                      <a:pt x="1090" y="5227"/>
                    </a:lnTo>
                    <a:lnTo>
                      <a:pt x="1175" y="5216"/>
                    </a:lnTo>
                    <a:lnTo>
                      <a:pt x="1263" y="5208"/>
                    </a:lnTo>
                    <a:lnTo>
                      <a:pt x="1358" y="5200"/>
                    </a:lnTo>
                    <a:lnTo>
                      <a:pt x="1457" y="5194"/>
                    </a:lnTo>
                    <a:lnTo>
                      <a:pt x="1560" y="5188"/>
                    </a:lnTo>
                    <a:lnTo>
                      <a:pt x="1666" y="5184"/>
                    </a:lnTo>
                    <a:lnTo>
                      <a:pt x="1775" y="5182"/>
                    </a:lnTo>
                    <a:lnTo>
                      <a:pt x="1886" y="5181"/>
                    </a:lnTo>
                    <a:lnTo>
                      <a:pt x="2000" y="5180"/>
                    </a:lnTo>
                    <a:lnTo>
                      <a:pt x="2114" y="5181"/>
                    </a:lnTo>
                    <a:lnTo>
                      <a:pt x="2228" y="5184"/>
                    </a:lnTo>
                    <a:lnTo>
                      <a:pt x="2343" y="5187"/>
                    </a:lnTo>
                    <a:lnTo>
                      <a:pt x="2457" y="5192"/>
                    </a:lnTo>
                    <a:lnTo>
                      <a:pt x="2570" y="5199"/>
                    </a:lnTo>
                    <a:lnTo>
                      <a:pt x="2682" y="5206"/>
                    </a:lnTo>
                    <a:lnTo>
                      <a:pt x="2791" y="5215"/>
                    </a:lnTo>
                    <a:lnTo>
                      <a:pt x="2897" y="5225"/>
                    </a:lnTo>
                    <a:lnTo>
                      <a:pt x="3001" y="5237"/>
                    </a:lnTo>
                    <a:lnTo>
                      <a:pt x="3100" y="5250"/>
                    </a:lnTo>
                    <a:lnTo>
                      <a:pt x="3195" y="5264"/>
                    </a:lnTo>
                    <a:lnTo>
                      <a:pt x="3285" y="5279"/>
                    </a:lnTo>
                    <a:lnTo>
                      <a:pt x="3369" y="5296"/>
                    </a:lnTo>
                    <a:lnTo>
                      <a:pt x="3448" y="5314"/>
                    </a:lnTo>
                    <a:lnTo>
                      <a:pt x="3519" y="5334"/>
                    </a:lnTo>
                    <a:lnTo>
                      <a:pt x="3583" y="5354"/>
                    </a:lnTo>
                    <a:lnTo>
                      <a:pt x="3640" y="5377"/>
                    </a:lnTo>
                    <a:lnTo>
                      <a:pt x="3688" y="5400"/>
                    </a:lnTo>
                    <a:lnTo>
                      <a:pt x="3727" y="5425"/>
                    </a:lnTo>
                    <a:lnTo>
                      <a:pt x="3757" y="5452"/>
                    </a:lnTo>
                    <a:lnTo>
                      <a:pt x="3761" y="5456"/>
                    </a:lnTo>
                    <a:lnTo>
                      <a:pt x="3761" y="5461"/>
                    </a:lnTo>
                    <a:lnTo>
                      <a:pt x="3760" y="5466"/>
                    </a:lnTo>
                    <a:lnTo>
                      <a:pt x="3756" y="5470"/>
                    </a:lnTo>
                    <a:lnTo>
                      <a:pt x="3752" y="5473"/>
                    </a:lnTo>
                    <a:lnTo>
                      <a:pt x="3748" y="5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54"/>
              <p:cNvSpPr>
                <a:spLocks/>
              </p:cNvSpPr>
              <p:nvPr userDrawn="1"/>
            </p:nvSpPr>
            <p:spPr bwMode="auto">
              <a:xfrm>
                <a:off x="2513" y="1822"/>
                <a:ext cx="160" cy="1249"/>
              </a:xfrm>
              <a:custGeom>
                <a:avLst/>
                <a:gdLst>
                  <a:gd name="T0" fmla="*/ 225 w 482"/>
                  <a:gd name="T1" fmla="*/ 3717 h 3747"/>
                  <a:gd name="T2" fmla="*/ 161 w 482"/>
                  <a:gd name="T3" fmla="*/ 3637 h 3747"/>
                  <a:gd name="T4" fmla="*/ 118 w 482"/>
                  <a:gd name="T5" fmla="*/ 3545 h 3747"/>
                  <a:gd name="T6" fmla="*/ 85 w 482"/>
                  <a:gd name="T7" fmla="*/ 3425 h 3747"/>
                  <a:gd name="T8" fmla="*/ 62 w 482"/>
                  <a:gd name="T9" fmla="*/ 3140 h 3747"/>
                  <a:gd name="T10" fmla="*/ 46 w 482"/>
                  <a:gd name="T11" fmla="*/ 2890 h 3747"/>
                  <a:gd name="T12" fmla="*/ 23 w 482"/>
                  <a:gd name="T13" fmla="*/ 2663 h 3747"/>
                  <a:gd name="T14" fmla="*/ 6 w 482"/>
                  <a:gd name="T15" fmla="*/ 2464 h 3747"/>
                  <a:gd name="T16" fmla="*/ 3 w 482"/>
                  <a:gd name="T17" fmla="*/ 2278 h 3747"/>
                  <a:gd name="T18" fmla="*/ 34 w 482"/>
                  <a:gd name="T19" fmla="*/ 2108 h 3747"/>
                  <a:gd name="T20" fmla="*/ 95 w 482"/>
                  <a:gd name="T21" fmla="*/ 1951 h 3747"/>
                  <a:gd name="T22" fmla="*/ 189 w 482"/>
                  <a:gd name="T23" fmla="*/ 1794 h 3747"/>
                  <a:gd name="T24" fmla="*/ 321 w 482"/>
                  <a:gd name="T25" fmla="*/ 1581 h 3747"/>
                  <a:gd name="T26" fmla="*/ 400 w 482"/>
                  <a:gd name="T27" fmla="*/ 1420 h 3747"/>
                  <a:gd name="T28" fmla="*/ 448 w 482"/>
                  <a:gd name="T29" fmla="*/ 1245 h 3747"/>
                  <a:gd name="T30" fmla="*/ 454 w 482"/>
                  <a:gd name="T31" fmla="*/ 1123 h 3747"/>
                  <a:gd name="T32" fmla="*/ 434 w 482"/>
                  <a:gd name="T33" fmla="*/ 1008 h 3747"/>
                  <a:gd name="T34" fmla="*/ 386 w 482"/>
                  <a:gd name="T35" fmla="*/ 846 h 3747"/>
                  <a:gd name="T36" fmla="*/ 347 w 482"/>
                  <a:gd name="T37" fmla="*/ 701 h 3747"/>
                  <a:gd name="T38" fmla="*/ 325 w 482"/>
                  <a:gd name="T39" fmla="*/ 578 h 3747"/>
                  <a:gd name="T40" fmla="*/ 263 w 482"/>
                  <a:gd name="T41" fmla="*/ 393 h 3747"/>
                  <a:gd name="T42" fmla="*/ 206 w 482"/>
                  <a:gd name="T43" fmla="*/ 270 h 3747"/>
                  <a:gd name="T44" fmla="*/ 145 w 482"/>
                  <a:gd name="T45" fmla="*/ 162 h 3747"/>
                  <a:gd name="T46" fmla="*/ 112 w 482"/>
                  <a:gd name="T47" fmla="*/ 83 h 3747"/>
                  <a:gd name="T48" fmla="*/ 112 w 482"/>
                  <a:gd name="T49" fmla="*/ 22 h 3747"/>
                  <a:gd name="T50" fmla="*/ 130 w 482"/>
                  <a:gd name="T51" fmla="*/ 0 h 3747"/>
                  <a:gd name="T52" fmla="*/ 145 w 482"/>
                  <a:gd name="T53" fmla="*/ 16 h 3747"/>
                  <a:gd name="T54" fmla="*/ 136 w 482"/>
                  <a:gd name="T55" fmla="*/ 39 h 3747"/>
                  <a:gd name="T56" fmla="*/ 146 w 482"/>
                  <a:gd name="T57" fmla="*/ 101 h 3747"/>
                  <a:gd name="T58" fmla="*/ 211 w 482"/>
                  <a:gd name="T59" fmla="*/ 225 h 3747"/>
                  <a:gd name="T60" fmla="*/ 252 w 482"/>
                  <a:gd name="T61" fmla="*/ 301 h 3747"/>
                  <a:gd name="T62" fmla="*/ 334 w 482"/>
                  <a:gd name="T63" fmla="*/ 506 h 3747"/>
                  <a:gd name="T64" fmla="*/ 363 w 482"/>
                  <a:gd name="T65" fmla="*/ 637 h 3747"/>
                  <a:gd name="T66" fmla="*/ 394 w 482"/>
                  <a:gd name="T67" fmla="*/ 783 h 3747"/>
                  <a:gd name="T68" fmla="*/ 448 w 482"/>
                  <a:gd name="T69" fmla="*/ 956 h 3747"/>
                  <a:gd name="T70" fmla="*/ 474 w 482"/>
                  <a:gd name="T71" fmla="*/ 1072 h 3747"/>
                  <a:gd name="T72" fmla="*/ 481 w 482"/>
                  <a:gd name="T73" fmla="*/ 1196 h 3747"/>
                  <a:gd name="T74" fmla="*/ 449 w 482"/>
                  <a:gd name="T75" fmla="*/ 1358 h 3747"/>
                  <a:gd name="T76" fmla="*/ 380 w 482"/>
                  <a:gd name="T77" fmla="*/ 1528 h 3747"/>
                  <a:gd name="T78" fmla="*/ 270 w 482"/>
                  <a:gd name="T79" fmla="*/ 1717 h 3747"/>
                  <a:gd name="T80" fmla="*/ 152 w 482"/>
                  <a:gd name="T81" fmla="*/ 1903 h 3747"/>
                  <a:gd name="T82" fmla="*/ 79 w 482"/>
                  <a:gd name="T83" fmla="*/ 2053 h 3747"/>
                  <a:gd name="T84" fmla="*/ 38 w 482"/>
                  <a:gd name="T85" fmla="*/ 2213 h 3747"/>
                  <a:gd name="T86" fmla="*/ 28 w 482"/>
                  <a:gd name="T87" fmla="*/ 2386 h 3747"/>
                  <a:gd name="T88" fmla="*/ 42 w 482"/>
                  <a:gd name="T89" fmla="*/ 2581 h 3747"/>
                  <a:gd name="T90" fmla="*/ 63 w 482"/>
                  <a:gd name="T91" fmla="*/ 2788 h 3747"/>
                  <a:gd name="T92" fmla="*/ 84 w 482"/>
                  <a:gd name="T93" fmla="*/ 3039 h 3747"/>
                  <a:gd name="T94" fmla="*/ 101 w 482"/>
                  <a:gd name="T95" fmla="*/ 3337 h 3747"/>
                  <a:gd name="T96" fmla="*/ 130 w 482"/>
                  <a:gd name="T97" fmla="*/ 3494 h 3747"/>
                  <a:gd name="T98" fmla="*/ 164 w 482"/>
                  <a:gd name="T99" fmla="*/ 3586 h 3747"/>
                  <a:gd name="T100" fmla="*/ 216 w 482"/>
                  <a:gd name="T101" fmla="*/ 3668 h 3747"/>
                  <a:gd name="T102" fmla="*/ 277 w 482"/>
                  <a:gd name="T103" fmla="*/ 3728 h 3747"/>
                  <a:gd name="T104" fmla="*/ 270 w 482"/>
                  <a:gd name="T105" fmla="*/ 3746 h 3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2" h="3747">
                    <a:moveTo>
                      <a:pt x="265" y="3747"/>
                    </a:moveTo>
                    <a:lnTo>
                      <a:pt x="260" y="3747"/>
                    </a:lnTo>
                    <a:lnTo>
                      <a:pt x="256" y="3745"/>
                    </a:lnTo>
                    <a:lnTo>
                      <a:pt x="240" y="3731"/>
                    </a:lnTo>
                    <a:lnTo>
                      <a:pt x="225" y="3717"/>
                    </a:lnTo>
                    <a:lnTo>
                      <a:pt x="210" y="3702"/>
                    </a:lnTo>
                    <a:lnTo>
                      <a:pt x="197" y="3687"/>
                    </a:lnTo>
                    <a:lnTo>
                      <a:pt x="184" y="3670"/>
                    </a:lnTo>
                    <a:lnTo>
                      <a:pt x="172" y="3653"/>
                    </a:lnTo>
                    <a:lnTo>
                      <a:pt x="161" y="3637"/>
                    </a:lnTo>
                    <a:lnTo>
                      <a:pt x="151" y="3619"/>
                    </a:lnTo>
                    <a:lnTo>
                      <a:pt x="142" y="3601"/>
                    </a:lnTo>
                    <a:lnTo>
                      <a:pt x="133" y="3583"/>
                    </a:lnTo>
                    <a:lnTo>
                      <a:pt x="125" y="3564"/>
                    </a:lnTo>
                    <a:lnTo>
                      <a:pt x="118" y="3545"/>
                    </a:lnTo>
                    <a:lnTo>
                      <a:pt x="111" y="3526"/>
                    </a:lnTo>
                    <a:lnTo>
                      <a:pt x="105" y="3506"/>
                    </a:lnTo>
                    <a:lnTo>
                      <a:pt x="100" y="3486"/>
                    </a:lnTo>
                    <a:lnTo>
                      <a:pt x="94" y="3466"/>
                    </a:lnTo>
                    <a:lnTo>
                      <a:pt x="85" y="3425"/>
                    </a:lnTo>
                    <a:lnTo>
                      <a:pt x="79" y="3384"/>
                    </a:lnTo>
                    <a:lnTo>
                      <a:pt x="74" y="3343"/>
                    </a:lnTo>
                    <a:lnTo>
                      <a:pt x="70" y="3301"/>
                    </a:lnTo>
                    <a:lnTo>
                      <a:pt x="65" y="3219"/>
                    </a:lnTo>
                    <a:lnTo>
                      <a:pt x="62" y="3140"/>
                    </a:lnTo>
                    <a:lnTo>
                      <a:pt x="60" y="3091"/>
                    </a:lnTo>
                    <a:lnTo>
                      <a:pt x="57" y="3040"/>
                    </a:lnTo>
                    <a:lnTo>
                      <a:pt x="54" y="2990"/>
                    </a:lnTo>
                    <a:lnTo>
                      <a:pt x="50" y="2940"/>
                    </a:lnTo>
                    <a:lnTo>
                      <a:pt x="46" y="2890"/>
                    </a:lnTo>
                    <a:lnTo>
                      <a:pt x="40" y="2840"/>
                    </a:lnTo>
                    <a:lnTo>
                      <a:pt x="36" y="2791"/>
                    </a:lnTo>
                    <a:lnTo>
                      <a:pt x="30" y="2742"/>
                    </a:lnTo>
                    <a:lnTo>
                      <a:pt x="26" y="2702"/>
                    </a:lnTo>
                    <a:lnTo>
                      <a:pt x="23" y="2663"/>
                    </a:lnTo>
                    <a:lnTo>
                      <a:pt x="19" y="2623"/>
                    </a:lnTo>
                    <a:lnTo>
                      <a:pt x="15" y="2583"/>
                    </a:lnTo>
                    <a:lnTo>
                      <a:pt x="11" y="2543"/>
                    </a:lnTo>
                    <a:lnTo>
                      <a:pt x="8" y="2503"/>
                    </a:lnTo>
                    <a:lnTo>
                      <a:pt x="6" y="2464"/>
                    </a:lnTo>
                    <a:lnTo>
                      <a:pt x="2" y="2424"/>
                    </a:lnTo>
                    <a:lnTo>
                      <a:pt x="1" y="2386"/>
                    </a:lnTo>
                    <a:lnTo>
                      <a:pt x="0" y="2349"/>
                    </a:lnTo>
                    <a:lnTo>
                      <a:pt x="1" y="2314"/>
                    </a:lnTo>
                    <a:lnTo>
                      <a:pt x="3" y="2278"/>
                    </a:lnTo>
                    <a:lnTo>
                      <a:pt x="7" y="2242"/>
                    </a:lnTo>
                    <a:lnTo>
                      <a:pt x="12" y="2209"/>
                    </a:lnTo>
                    <a:lnTo>
                      <a:pt x="17" y="2174"/>
                    </a:lnTo>
                    <a:lnTo>
                      <a:pt x="25" y="2141"/>
                    </a:lnTo>
                    <a:lnTo>
                      <a:pt x="34" y="2108"/>
                    </a:lnTo>
                    <a:lnTo>
                      <a:pt x="43" y="2076"/>
                    </a:lnTo>
                    <a:lnTo>
                      <a:pt x="54" y="2044"/>
                    </a:lnTo>
                    <a:lnTo>
                      <a:pt x="66" y="2012"/>
                    </a:lnTo>
                    <a:lnTo>
                      <a:pt x="80" y="1981"/>
                    </a:lnTo>
                    <a:lnTo>
                      <a:pt x="95" y="1951"/>
                    </a:lnTo>
                    <a:lnTo>
                      <a:pt x="111" y="1919"/>
                    </a:lnTo>
                    <a:lnTo>
                      <a:pt x="130" y="1889"/>
                    </a:lnTo>
                    <a:lnTo>
                      <a:pt x="149" y="1857"/>
                    </a:lnTo>
                    <a:lnTo>
                      <a:pt x="169" y="1826"/>
                    </a:lnTo>
                    <a:lnTo>
                      <a:pt x="189" y="1794"/>
                    </a:lnTo>
                    <a:lnTo>
                      <a:pt x="209" y="1763"/>
                    </a:lnTo>
                    <a:lnTo>
                      <a:pt x="247" y="1704"/>
                    </a:lnTo>
                    <a:lnTo>
                      <a:pt x="285" y="1642"/>
                    </a:lnTo>
                    <a:lnTo>
                      <a:pt x="304" y="1612"/>
                    </a:lnTo>
                    <a:lnTo>
                      <a:pt x="321" y="1581"/>
                    </a:lnTo>
                    <a:lnTo>
                      <a:pt x="338" y="1549"/>
                    </a:lnTo>
                    <a:lnTo>
                      <a:pt x="355" y="1518"/>
                    </a:lnTo>
                    <a:lnTo>
                      <a:pt x="371" y="1486"/>
                    </a:lnTo>
                    <a:lnTo>
                      <a:pt x="386" y="1452"/>
                    </a:lnTo>
                    <a:lnTo>
                      <a:pt x="400" y="1420"/>
                    </a:lnTo>
                    <a:lnTo>
                      <a:pt x="412" y="1385"/>
                    </a:lnTo>
                    <a:lnTo>
                      <a:pt x="423" y="1352"/>
                    </a:lnTo>
                    <a:lnTo>
                      <a:pt x="433" y="1317"/>
                    </a:lnTo>
                    <a:lnTo>
                      <a:pt x="442" y="1282"/>
                    </a:lnTo>
                    <a:lnTo>
                      <a:pt x="448" y="1245"/>
                    </a:lnTo>
                    <a:lnTo>
                      <a:pt x="452" y="1220"/>
                    </a:lnTo>
                    <a:lnTo>
                      <a:pt x="454" y="1195"/>
                    </a:lnTo>
                    <a:lnTo>
                      <a:pt x="455" y="1170"/>
                    </a:lnTo>
                    <a:lnTo>
                      <a:pt x="455" y="1147"/>
                    </a:lnTo>
                    <a:lnTo>
                      <a:pt x="454" y="1123"/>
                    </a:lnTo>
                    <a:lnTo>
                      <a:pt x="452" y="1099"/>
                    </a:lnTo>
                    <a:lnTo>
                      <a:pt x="448" y="1076"/>
                    </a:lnTo>
                    <a:lnTo>
                      <a:pt x="444" y="1054"/>
                    </a:lnTo>
                    <a:lnTo>
                      <a:pt x="440" y="1031"/>
                    </a:lnTo>
                    <a:lnTo>
                      <a:pt x="434" y="1008"/>
                    </a:lnTo>
                    <a:lnTo>
                      <a:pt x="429" y="986"/>
                    </a:lnTo>
                    <a:lnTo>
                      <a:pt x="422" y="964"/>
                    </a:lnTo>
                    <a:lnTo>
                      <a:pt x="409" y="919"/>
                    </a:lnTo>
                    <a:lnTo>
                      <a:pt x="395" y="875"/>
                    </a:lnTo>
                    <a:lnTo>
                      <a:pt x="386" y="846"/>
                    </a:lnTo>
                    <a:lnTo>
                      <a:pt x="377" y="818"/>
                    </a:lnTo>
                    <a:lnTo>
                      <a:pt x="368" y="789"/>
                    </a:lnTo>
                    <a:lnTo>
                      <a:pt x="361" y="760"/>
                    </a:lnTo>
                    <a:lnTo>
                      <a:pt x="353" y="731"/>
                    </a:lnTo>
                    <a:lnTo>
                      <a:pt x="347" y="701"/>
                    </a:lnTo>
                    <a:lnTo>
                      <a:pt x="341" y="671"/>
                    </a:lnTo>
                    <a:lnTo>
                      <a:pt x="337" y="640"/>
                    </a:lnTo>
                    <a:lnTo>
                      <a:pt x="334" y="619"/>
                    </a:lnTo>
                    <a:lnTo>
                      <a:pt x="330" y="598"/>
                    </a:lnTo>
                    <a:lnTo>
                      <a:pt x="325" y="578"/>
                    </a:lnTo>
                    <a:lnTo>
                      <a:pt x="321" y="556"/>
                    </a:lnTo>
                    <a:lnTo>
                      <a:pt x="309" y="515"/>
                    </a:lnTo>
                    <a:lnTo>
                      <a:pt x="295" y="474"/>
                    </a:lnTo>
                    <a:lnTo>
                      <a:pt x="279" y="433"/>
                    </a:lnTo>
                    <a:lnTo>
                      <a:pt x="263" y="393"/>
                    </a:lnTo>
                    <a:lnTo>
                      <a:pt x="245" y="353"/>
                    </a:lnTo>
                    <a:lnTo>
                      <a:pt x="228" y="313"/>
                    </a:lnTo>
                    <a:lnTo>
                      <a:pt x="220" y="296"/>
                    </a:lnTo>
                    <a:lnTo>
                      <a:pt x="214" y="284"/>
                    </a:lnTo>
                    <a:lnTo>
                      <a:pt x="206" y="270"/>
                    </a:lnTo>
                    <a:lnTo>
                      <a:pt x="198" y="255"/>
                    </a:lnTo>
                    <a:lnTo>
                      <a:pt x="188" y="239"/>
                    </a:lnTo>
                    <a:lnTo>
                      <a:pt x="171" y="210"/>
                    </a:lnTo>
                    <a:lnTo>
                      <a:pt x="152" y="178"/>
                    </a:lnTo>
                    <a:lnTo>
                      <a:pt x="145" y="162"/>
                    </a:lnTo>
                    <a:lnTo>
                      <a:pt x="136" y="146"/>
                    </a:lnTo>
                    <a:lnTo>
                      <a:pt x="129" y="131"/>
                    </a:lnTo>
                    <a:lnTo>
                      <a:pt x="122" y="115"/>
                    </a:lnTo>
                    <a:lnTo>
                      <a:pt x="117" y="99"/>
                    </a:lnTo>
                    <a:lnTo>
                      <a:pt x="112" y="83"/>
                    </a:lnTo>
                    <a:lnTo>
                      <a:pt x="110" y="69"/>
                    </a:lnTo>
                    <a:lnTo>
                      <a:pt x="108" y="55"/>
                    </a:lnTo>
                    <a:lnTo>
                      <a:pt x="108" y="41"/>
                    </a:lnTo>
                    <a:lnTo>
                      <a:pt x="110" y="28"/>
                    </a:lnTo>
                    <a:lnTo>
                      <a:pt x="112" y="22"/>
                    </a:lnTo>
                    <a:lnTo>
                      <a:pt x="115" y="16"/>
                    </a:lnTo>
                    <a:lnTo>
                      <a:pt x="118" y="11"/>
                    </a:lnTo>
                    <a:lnTo>
                      <a:pt x="121" y="6"/>
                    </a:lnTo>
                    <a:lnTo>
                      <a:pt x="125" y="1"/>
                    </a:lnTo>
                    <a:lnTo>
                      <a:pt x="130" y="0"/>
                    </a:lnTo>
                    <a:lnTo>
                      <a:pt x="135" y="0"/>
                    </a:lnTo>
                    <a:lnTo>
                      <a:pt x="139" y="2"/>
                    </a:lnTo>
                    <a:lnTo>
                      <a:pt x="144" y="7"/>
                    </a:lnTo>
                    <a:lnTo>
                      <a:pt x="146" y="11"/>
                    </a:lnTo>
                    <a:lnTo>
                      <a:pt x="145" y="16"/>
                    </a:lnTo>
                    <a:lnTo>
                      <a:pt x="143" y="21"/>
                    </a:lnTo>
                    <a:lnTo>
                      <a:pt x="141" y="25"/>
                    </a:lnTo>
                    <a:lnTo>
                      <a:pt x="138" y="29"/>
                    </a:lnTo>
                    <a:lnTo>
                      <a:pt x="137" y="34"/>
                    </a:lnTo>
                    <a:lnTo>
                      <a:pt x="136" y="39"/>
                    </a:lnTo>
                    <a:lnTo>
                      <a:pt x="135" y="50"/>
                    </a:lnTo>
                    <a:lnTo>
                      <a:pt x="136" y="61"/>
                    </a:lnTo>
                    <a:lnTo>
                      <a:pt x="138" y="74"/>
                    </a:lnTo>
                    <a:lnTo>
                      <a:pt x="142" y="87"/>
                    </a:lnTo>
                    <a:lnTo>
                      <a:pt x="146" y="101"/>
                    </a:lnTo>
                    <a:lnTo>
                      <a:pt x="151" y="114"/>
                    </a:lnTo>
                    <a:lnTo>
                      <a:pt x="164" y="143"/>
                    </a:lnTo>
                    <a:lnTo>
                      <a:pt x="179" y="171"/>
                    </a:lnTo>
                    <a:lnTo>
                      <a:pt x="196" y="199"/>
                    </a:lnTo>
                    <a:lnTo>
                      <a:pt x="211" y="225"/>
                    </a:lnTo>
                    <a:lnTo>
                      <a:pt x="222" y="242"/>
                    </a:lnTo>
                    <a:lnTo>
                      <a:pt x="230" y="258"/>
                    </a:lnTo>
                    <a:lnTo>
                      <a:pt x="239" y="272"/>
                    </a:lnTo>
                    <a:lnTo>
                      <a:pt x="244" y="285"/>
                    </a:lnTo>
                    <a:lnTo>
                      <a:pt x="252" y="301"/>
                    </a:lnTo>
                    <a:lnTo>
                      <a:pt x="269" y="341"/>
                    </a:lnTo>
                    <a:lnTo>
                      <a:pt x="287" y="381"/>
                    </a:lnTo>
                    <a:lnTo>
                      <a:pt x="304" y="422"/>
                    </a:lnTo>
                    <a:lnTo>
                      <a:pt x="320" y="464"/>
                    </a:lnTo>
                    <a:lnTo>
                      <a:pt x="334" y="506"/>
                    </a:lnTo>
                    <a:lnTo>
                      <a:pt x="347" y="550"/>
                    </a:lnTo>
                    <a:lnTo>
                      <a:pt x="352" y="571"/>
                    </a:lnTo>
                    <a:lnTo>
                      <a:pt x="357" y="593"/>
                    </a:lnTo>
                    <a:lnTo>
                      <a:pt x="361" y="615"/>
                    </a:lnTo>
                    <a:lnTo>
                      <a:pt x="363" y="637"/>
                    </a:lnTo>
                    <a:lnTo>
                      <a:pt x="367" y="666"/>
                    </a:lnTo>
                    <a:lnTo>
                      <a:pt x="373" y="696"/>
                    </a:lnTo>
                    <a:lnTo>
                      <a:pt x="379" y="726"/>
                    </a:lnTo>
                    <a:lnTo>
                      <a:pt x="387" y="755"/>
                    </a:lnTo>
                    <a:lnTo>
                      <a:pt x="394" y="783"/>
                    </a:lnTo>
                    <a:lnTo>
                      <a:pt x="403" y="811"/>
                    </a:lnTo>
                    <a:lnTo>
                      <a:pt x="412" y="839"/>
                    </a:lnTo>
                    <a:lnTo>
                      <a:pt x="420" y="866"/>
                    </a:lnTo>
                    <a:lnTo>
                      <a:pt x="435" y="910"/>
                    </a:lnTo>
                    <a:lnTo>
                      <a:pt x="448" y="956"/>
                    </a:lnTo>
                    <a:lnTo>
                      <a:pt x="455" y="978"/>
                    </a:lnTo>
                    <a:lnTo>
                      <a:pt x="460" y="1002"/>
                    </a:lnTo>
                    <a:lnTo>
                      <a:pt x="466" y="1025"/>
                    </a:lnTo>
                    <a:lnTo>
                      <a:pt x="471" y="1048"/>
                    </a:lnTo>
                    <a:lnTo>
                      <a:pt x="474" y="1072"/>
                    </a:lnTo>
                    <a:lnTo>
                      <a:pt x="477" y="1096"/>
                    </a:lnTo>
                    <a:lnTo>
                      <a:pt x="480" y="1121"/>
                    </a:lnTo>
                    <a:lnTo>
                      <a:pt x="482" y="1146"/>
                    </a:lnTo>
                    <a:lnTo>
                      <a:pt x="482" y="1171"/>
                    </a:lnTo>
                    <a:lnTo>
                      <a:pt x="481" y="1196"/>
                    </a:lnTo>
                    <a:lnTo>
                      <a:pt x="479" y="1223"/>
                    </a:lnTo>
                    <a:lnTo>
                      <a:pt x="474" y="1249"/>
                    </a:lnTo>
                    <a:lnTo>
                      <a:pt x="468" y="1287"/>
                    </a:lnTo>
                    <a:lnTo>
                      <a:pt x="459" y="1323"/>
                    </a:lnTo>
                    <a:lnTo>
                      <a:pt x="449" y="1358"/>
                    </a:lnTo>
                    <a:lnTo>
                      <a:pt x="437" y="1394"/>
                    </a:lnTo>
                    <a:lnTo>
                      <a:pt x="425" y="1428"/>
                    </a:lnTo>
                    <a:lnTo>
                      <a:pt x="412" y="1462"/>
                    </a:lnTo>
                    <a:lnTo>
                      <a:pt x="396" y="1495"/>
                    </a:lnTo>
                    <a:lnTo>
                      <a:pt x="380" y="1528"/>
                    </a:lnTo>
                    <a:lnTo>
                      <a:pt x="363" y="1560"/>
                    </a:lnTo>
                    <a:lnTo>
                      <a:pt x="346" y="1592"/>
                    </a:lnTo>
                    <a:lnTo>
                      <a:pt x="327" y="1624"/>
                    </a:lnTo>
                    <a:lnTo>
                      <a:pt x="309" y="1655"/>
                    </a:lnTo>
                    <a:lnTo>
                      <a:pt x="270" y="1717"/>
                    </a:lnTo>
                    <a:lnTo>
                      <a:pt x="231" y="1778"/>
                    </a:lnTo>
                    <a:lnTo>
                      <a:pt x="212" y="1808"/>
                    </a:lnTo>
                    <a:lnTo>
                      <a:pt x="191" y="1840"/>
                    </a:lnTo>
                    <a:lnTo>
                      <a:pt x="172" y="1872"/>
                    </a:lnTo>
                    <a:lnTo>
                      <a:pt x="152" y="1903"/>
                    </a:lnTo>
                    <a:lnTo>
                      <a:pt x="135" y="1932"/>
                    </a:lnTo>
                    <a:lnTo>
                      <a:pt x="119" y="1963"/>
                    </a:lnTo>
                    <a:lnTo>
                      <a:pt x="105" y="1993"/>
                    </a:lnTo>
                    <a:lnTo>
                      <a:pt x="92" y="2023"/>
                    </a:lnTo>
                    <a:lnTo>
                      <a:pt x="79" y="2053"/>
                    </a:lnTo>
                    <a:lnTo>
                      <a:pt x="68" y="2085"/>
                    </a:lnTo>
                    <a:lnTo>
                      <a:pt x="60" y="2116"/>
                    </a:lnTo>
                    <a:lnTo>
                      <a:pt x="51" y="2148"/>
                    </a:lnTo>
                    <a:lnTo>
                      <a:pt x="44" y="2180"/>
                    </a:lnTo>
                    <a:lnTo>
                      <a:pt x="38" y="2213"/>
                    </a:lnTo>
                    <a:lnTo>
                      <a:pt x="34" y="2247"/>
                    </a:lnTo>
                    <a:lnTo>
                      <a:pt x="30" y="2280"/>
                    </a:lnTo>
                    <a:lnTo>
                      <a:pt x="28" y="2315"/>
                    </a:lnTo>
                    <a:lnTo>
                      <a:pt x="27" y="2350"/>
                    </a:lnTo>
                    <a:lnTo>
                      <a:pt x="28" y="2386"/>
                    </a:lnTo>
                    <a:lnTo>
                      <a:pt x="29" y="2423"/>
                    </a:lnTo>
                    <a:lnTo>
                      <a:pt x="33" y="2462"/>
                    </a:lnTo>
                    <a:lnTo>
                      <a:pt x="35" y="2502"/>
                    </a:lnTo>
                    <a:lnTo>
                      <a:pt x="38" y="2541"/>
                    </a:lnTo>
                    <a:lnTo>
                      <a:pt x="42" y="2581"/>
                    </a:lnTo>
                    <a:lnTo>
                      <a:pt x="46" y="2621"/>
                    </a:lnTo>
                    <a:lnTo>
                      <a:pt x="50" y="2661"/>
                    </a:lnTo>
                    <a:lnTo>
                      <a:pt x="53" y="2700"/>
                    </a:lnTo>
                    <a:lnTo>
                      <a:pt x="57" y="2739"/>
                    </a:lnTo>
                    <a:lnTo>
                      <a:pt x="63" y="2788"/>
                    </a:lnTo>
                    <a:lnTo>
                      <a:pt x="67" y="2838"/>
                    </a:lnTo>
                    <a:lnTo>
                      <a:pt x="73" y="2888"/>
                    </a:lnTo>
                    <a:lnTo>
                      <a:pt x="77" y="2937"/>
                    </a:lnTo>
                    <a:lnTo>
                      <a:pt x="81" y="2988"/>
                    </a:lnTo>
                    <a:lnTo>
                      <a:pt x="84" y="3039"/>
                    </a:lnTo>
                    <a:lnTo>
                      <a:pt x="87" y="3090"/>
                    </a:lnTo>
                    <a:lnTo>
                      <a:pt x="89" y="3139"/>
                    </a:lnTo>
                    <a:lnTo>
                      <a:pt x="92" y="3217"/>
                    </a:lnTo>
                    <a:lnTo>
                      <a:pt x="96" y="3296"/>
                    </a:lnTo>
                    <a:lnTo>
                      <a:pt x="101" y="3337"/>
                    </a:lnTo>
                    <a:lnTo>
                      <a:pt x="105" y="3377"/>
                    </a:lnTo>
                    <a:lnTo>
                      <a:pt x="111" y="3417"/>
                    </a:lnTo>
                    <a:lnTo>
                      <a:pt x="120" y="3456"/>
                    </a:lnTo>
                    <a:lnTo>
                      <a:pt x="124" y="3475"/>
                    </a:lnTo>
                    <a:lnTo>
                      <a:pt x="130" y="3494"/>
                    </a:lnTo>
                    <a:lnTo>
                      <a:pt x="135" y="3514"/>
                    </a:lnTo>
                    <a:lnTo>
                      <a:pt x="142" y="3532"/>
                    </a:lnTo>
                    <a:lnTo>
                      <a:pt x="149" y="3551"/>
                    </a:lnTo>
                    <a:lnTo>
                      <a:pt x="157" y="3569"/>
                    </a:lnTo>
                    <a:lnTo>
                      <a:pt x="164" y="3586"/>
                    </a:lnTo>
                    <a:lnTo>
                      <a:pt x="174" y="3603"/>
                    </a:lnTo>
                    <a:lnTo>
                      <a:pt x="183" y="3621"/>
                    </a:lnTo>
                    <a:lnTo>
                      <a:pt x="193" y="3637"/>
                    </a:lnTo>
                    <a:lnTo>
                      <a:pt x="204" y="3652"/>
                    </a:lnTo>
                    <a:lnTo>
                      <a:pt x="216" y="3668"/>
                    </a:lnTo>
                    <a:lnTo>
                      <a:pt x="229" y="3682"/>
                    </a:lnTo>
                    <a:lnTo>
                      <a:pt x="243" y="3696"/>
                    </a:lnTo>
                    <a:lnTo>
                      <a:pt x="257" y="3710"/>
                    </a:lnTo>
                    <a:lnTo>
                      <a:pt x="272" y="3723"/>
                    </a:lnTo>
                    <a:lnTo>
                      <a:pt x="277" y="3728"/>
                    </a:lnTo>
                    <a:lnTo>
                      <a:pt x="278" y="3732"/>
                    </a:lnTo>
                    <a:lnTo>
                      <a:pt x="278" y="3737"/>
                    </a:lnTo>
                    <a:lnTo>
                      <a:pt x="274" y="3743"/>
                    </a:lnTo>
                    <a:lnTo>
                      <a:pt x="272" y="3745"/>
                    </a:lnTo>
                    <a:lnTo>
                      <a:pt x="270" y="3746"/>
                    </a:lnTo>
                    <a:lnTo>
                      <a:pt x="267" y="3747"/>
                    </a:lnTo>
                    <a:lnTo>
                      <a:pt x="265" y="37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55"/>
              <p:cNvSpPr>
                <a:spLocks noEditPoints="1"/>
              </p:cNvSpPr>
              <p:nvPr userDrawn="1"/>
            </p:nvSpPr>
            <p:spPr bwMode="auto">
              <a:xfrm>
                <a:off x="2402" y="2509"/>
                <a:ext cx="227" cy="639"/>
              </a:xfrm>
              <a:custGeom>
                <a:avLst/>
                <a:gdLst>
                  <a:gd name="T0" fmla="*/ 35 w 681"/>
                  <a:gd name="T1" fmla="*/ 1914 h 1917"/>
                  <a:gd name="T2" fmla="*/ 22 w 681"/>
                  <a:gd name="T3" fmla="*/ 1849 h 1917"/>
                  <a:gd name="T4" fmla="*/ 2 w 681"/>
                  <a:gd name="T5" fmla="*/ 1646 h 1917"/>
                  <a:gd name="T6" fmla="*/ 2 w 681"/>
                  <a:gd name="T7" fmla="*/ 1394 h 1917"/>
                  <a:gd name="T8" fmla="*/ 19 w 681"/>
                  <a:gd name="T9" fmla="*/ 1165 h 1917"/>
                  <a:gd name="T10" fmla="*/ 49 w 681"/>
                  <a:gd name="T11" fmla="*/ 943 h 1917"/>
                  <a:gd name="T12" fmla="*/ 90 w 681"/>
                  <a:gd name="T13" fmla="*/ 734 h 1917"/>
                  <a:gd name="T14" fmla="*/ 141 w 681"/>
                  <a:gd name="T15" fmla="*/ 539 h 1917"/>
                  <a:gd name="T16" fmla="*/ 198 w 681"/>
                  <a:gd name="T17" fmla="*/ 363 h 1917"/>
                  <a:gd name="T18" fmla="*/ 261 w 681"/>
                  <a:gd name="T19" fmla="*/ 209 h 1917"/>
                  <a:gd name="T20" fmla="*/ 325 w 681"/>
                  <a:gd name="T21" fmla="*/ 81 h 1917"/>
                  <a:gd name="T22" fmla="*/ 376 w 681"/>
                  <a:gd name="T23" fmla="*/ 2 h 1917"/>
                  <a:gd name="T24" fmla="*/ 395 w 681"/>
                  <a:gd name="T25" fmla="*/ 4 h 1917"/>
                  <a:gd name="T26" fmla="*/ 394 w 681"/>
                  <a:gd name="T27" fmla="*/ 28 h 1917"/>
                  <a:gd name="T28" fmla="*/ 379 w 681"/>
                  <a:gd name="T29" fmla="*/ 79 h 1917"/>
                  <a:gd name="T30" fmla="*/ 365 w 681"/>
                  <a:gd name="T31" fmla="*/ 167 h 1917"/>
                  <a:gd name="T32" fmla="*/ 359 w 681"/>
                  <a:gd name="T33" fmla="*/ 297 h 1917"/>
                  <a:gd name="T34" fmla="*/ 374 w 681"/>
                  <a:gd name="T35" fmla="*/ 496 h 1917"/>
                  <a:gd name="T36" fmla="*/ 399 w 681"/>
                  <a:gd name="T37" fmla="*/ 720 h 1917"/>
                  <a:gd name="T38" fmla="*/ 419 w 681"/>
                  <a:gd name="T39" fmla="*/ 1021 h 1917"/>
                  <a:gd name="T40" fmla="*/ 428 w 681"/>
                  <a:gd name="T41" fmla="*/ 1215 h 1917"/>
                  <a:gd name="T42" fmla="*/ 444 w 681"/>
                  <a:gd name="T43" fmla="*/ 1332 h 1917"/>
                  <a:gd name="T44" fmla="*/ 470 w 681"/>
                  <a:gd name="T45" fmla="*/ 1429 h 1917"/>
                  <a:gd name="T46" fmla="*/ 504 w 681"/>
                  <a:gd name="T47" fmla="*/ 1509 h 1917"/>
                  <a:gd name="T48" fmla="*/ 542 w 681"/>
                  <a:gd name="T49" fmla="*/ 1575 h 1917"/>
                  <a:gd name="T50" fmla="*/ 614 w 681"/>
                  <a:gd name="T51" fmla="*/ 1660 h 1917"/>
                  <a:gd name="T52" fmla="*/ 678 w 681"/>
                  <a:gd name="T53" fmla="*/ 1713 h 1917"/>
                  <a:gd name="T54" fmla="*/ 680 w 681"/>
                  <a:gd name="T55" fmla="*/ 1727 h 1917"/>
                  <a:gd name="T56" fmla="*/ 643 w 681"/>
                  <a:gd name="T57" fmla="*/ 1743 h 1917"/>
                  <a:gd name="T58" fmla="*/ 529 w 681"/>
                  <a:gd name="T59" fmla="*/ 1769 h 1917"/>
                  <a:gd name="T60" fmla="*/ 395 w 681"/>
                  <a:gd name="T61" fmla="*/ 1792 h 1917"/>
                  <a:gd name="T62" fmla="*/ 272 w 681"/>
                  <a:gd name="T63" fmla="*/ 1817 h 1917"/>
                  <a:gd name="T64" fmla="*/ 173 w 681"/>
                  <a:gd name="T65" fmla="*/ 1849 h 1917"/>
                  <a:gd name="T66" fmla="*/ 76 w 681"/>
                  <a:gd name="T67" fmla="*/ 1899 h 1917"/>
                  <a:gd name="T68" fmla="*/ 346 w 681"/>
                  <a:gd name="T69" fmla="*/ 98 h 1917"/>
                  <a:gd name="T70" fmla="*/ 303 w 681"/>
                  <a:gd name="T71" fmla="*/ 182 h 1917"/>
                  <a:gd name="T72" fmla="*/ 247 w 681"/>
                  <a:gd name="T73" fmla="*/ 315 h 1917"/>
                  <a:gd name="T74" fmla="*/ 193 w 681"/>
                  <a:gd name="T75" fmla="*/ 466 h 1917"/>
                  <a:gd name="T76" fmla="*/ 144 w 681"/>
                  <a:gd name="T77" fmla="*/ 634 h 1917"/>
                  <a:gd name="T78" fmla="*/ 102 w 681"/>
                  <a:gd name="T79" fmla="*/ 815 h 1917"/>
                  <a:gd name="T80" fmla="*/ 68 w 681"/>
                  <a:gd name="T81" fmla="*/ 1005 h 1917"/>
                  <a:gd name="T82" fmla="*/ 43 w 681"/>
                  <a:gd name="T83" fmla="*/ 1201 h 1917"/>
                  <a:gd name="T84" fmla="*/ 29 w 681"/>
                  <a:gd name="T85" fmla="*/ 1402 h 1917"/>
                  <a:gd name="T86" fmla="*/ 29 w 681"/>
                  <a:gd name="T87" fmla="*/ 1637 h 1917"/>
                  <a:gd name="T88" fmla="*/ 47 w 681"/>
                  <a:gd name="T89" fmla="*/ 1830 h 1917"/>
                  <a:gd name="T90" fmla="*/ 128 w 681"/>
                  <a:gd name="T91" fmla="*/ 1840 h 1917"/>
                  <a:gd name="T92" fmla="*/ 225 w 681"/>
                  <a:gd name="T93" fmla="*/ 1803 h 1917"/>
                  <a:gd name="T94" fmla="*/ 393 w 681"/>
                  <a:gd name="T95" fmla="*/ 1764 h 1917"/>
                  <a:gd name="T96" fmla="*/ 514 w 681"/>
                  <a:gd name="T97" fmla="*/ 1744 h 1917"/>
                  <a:gd name="T98" fmla="*/ 613 w 681"/>
                  <a:gd name="T99" fmla="*/ 1723 h 1917"/>
                  <a:gd name="T100" fmla="*/ 587 w 681"/>
                  <a:gd name="T101" fmla="*/ 1673 h 1917"/>
                  <a:gd name="T102" fmla="*/ 520 w 681"/>
                  <a:gd name="T103" fmla="*/ 1590 h 1917"/>
                  <a:gd name="T104" fmla="*/ 481 w 681"/>
                  <a:gd name="T105" fmla="*/ 1524 h 1917"/>
                  <a:gd name="T106" fmla="*/ 448 w 681"/>
                  <a:gd name="T107" fmla="*/ 1441 h 1917"/>
                  <a:gd name="T108" fmla="*/ 420 w 681"/>
                  <a:gd name="T109" fmla="*/ 1341 h 1917"/>
                  <a:gd name="T110" fmla="*/ 401 w 681"/>
                  <a:gd name="T111" fmla="*/ 1221 h 1917"/>
                  <a:gd name="T112" fmla="*/ 392 w 681"/>
                  <a:gd name="T113" fmla="*/ 1022 h 1917"/>
                  <a:gd name="T114" fmla="*/ 372 w 681"/>
                  <a:gd name="T115" fmla="*/ 722 h 1917"/>
                  <a:gd name="T116" fmla="*/ 347 w 681"/>
                  <a:gd name="T117" fmla="*/ 499 h 1917"/>
                  <a:gd name="T118" fmla="*/ 332 w 681"/>
                  <a:gd name="T119" fmla="*/ 296 h 1917"/>
                  <a:gd name="T120" fmla="*/ 338 w 681"/>
                  <a:gd name="T121" fmla="*/ 164 h 1917"/>
                  <a:gd name="T122" fmla="*/ 345 w 681"/>
                  <a:gd name="T123" fmla="*/ 108 h 1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1" h="1917">
                    <a:moveTo>
                      <a:pt x="44" y="1917"/>
                    </a:moveTo>
                    <a:lnTo>
                      <a:pt x="42" y="1916"/>
                    </a:lnTo>
                    <a:lnTo>
                      <a:pt x="38" y="1916"/>
                    </a:lnTo>
                    <a:lnTo>
                      <a:pt x="35" y="1914"/>
                    </a:lnTo>
                    <a:lnTo>
                      <a:pt x="33" y="1912"/>
                    </a:lnTo>
                    <a:lnTo>
                      <a:pt x="32" y="1908"/>
                    </a:lnTo>
                    <a:lnTo>
                      <a:pt x="31" y="1905"/>
                    </a:lnTo>
                    <a:lnTo>
                      <a:pt x="22" y="1849"/>
                    </a:lnTo>
                    <a:lnTo>
                      <a:pt x="16" y="1798"/>
                    </a:lnTo>
                    <a:lnTo>
                      <a:pt x="10" y="1749"/>
                    </a:lnTo>
                    <a:lnTo>
                      <a:pt x="5" y="1699"/>
                    </a:lnTo>
                    <a:lnTo>
                      <a:pt x="2" y="1646"/>
                    </a:lnTo>
                    <a:lnTo>
                      <a:pt x="0" y="1589"/>
                    </a:lnTo>
                    <a:lnTo>
                      <a:pt x="0" y="1525"/>
                    </a:lnTo>
                    <a:lnTo>
                      <a:pt x="1" y="1451"/>
                    </a:lnTo>
                    <a:lnTo>
                      <a:pt x="2" y="1394"/>
                    </a:lnTo>
                    <a:lnTo>
                      <a:pt x="5" y="1335"/>
                    </a:lnTo>
                    <a:lnTo>
                      <a:pt x="8" y="1278"/>
                    </a:lnTo>
                    <a:lnTo>
                      <a:pt x="14" y="1222"/>
                    </a:lnTo>
                    <a:lnTo>
                      <a:pt x="19" y="1165"/>
                    </a:lnTo>
                    <a:lnTo>
                      <a:pt x="26" y="1109"/>
                    </a:lnTo>
                    <a:lnTo>
                      <a:pt x="32" y="1053"/>
                    </a:lnTo>
                    <a:lnTo>
                      <a:pt x="41" y="998"/>
                    </a:lnTo>
                    <a:lnTo>
                      <a:pt x="49" y="943"/>
                    </a:lnTo>
                    <a:lnTo>
                      <a:pt x="58" y="890"/>
                    </a:lnTo>
                    <a:lnTo>
                      <a:pt x="69" y="838"/>
                    </a:lnTo>
                    <a:lnTo>
                      <a:pt x="79" y="785"/>
                    </a:lnTo>
                    <a:lnTo>
                      <a:pt x="90" y="734"/>
                    </a:lnTo>
                    <a:lnTo>
                      <a:pt x="102" y="683"/>
                    </a:lnTo>
                    <a:lnTo>
                      <a:pt x="115" y="635"/>
                    </a:lnTo>
                    <a:lnTo>
                      <a:pt x="128" y="586"/>
                    </a:lnTo>
                    <a:lnTo>
                      <a:pt x="141" y="539"/>
                    </a:lnTo>
                    <a:lnTo>
                      <a:pt x="155" y="493"/>
                    </a:lnTo>
                    <a:lnTo>
                      <a:pt x="169" y="448"/>
                    </a:lnTo>
                    <a:lnTo>
                      <a:pt x="184" y="405"/>
                    </a:lnTo>
                    <a:lnTo>
                      <a:pt x="198" y="363"/>
                    </a:lnTo>
                    <a:lnTo>
                      <a:pt x="213" y="322"/>
                    </a:lnTo>
                    <a:lnTo>
                      <a:pt x="230" y="283"/>
                    </a:lnTo>
                    <a:lnTo>
                      <a:pt x="245" y="245"/>
                    </a:lnTo>
                    <a:lnTo>
                      <a:pt x="261" y="209"/>
                    </a:lnTo>
                    <a:lnTo>
                      <a:pt x="277" y="175"/>
                    </a:lnTo>
                    <a:lnTo>
                      <a:pt x="292" y="141"/>
                    </a:lnTo>
                    <a:lnTo>
                      <a:pt x="308" y="111"/>
                    </a:lnTo>
                    <a:lnTo>
                      <a:pt x="325" y="81"/>
                    </a:lnTo>
                    <a:lnTo>
                      <a:pt x="341" y="54"/>
                    </a:lnTo>
                    <a:lnTo>
                      <a:pt x="357" y="28"/>
                    </a:lnTo>
                    <a:lnTo>
                      <a:pt x="373" y="5"/>
                    </a:lnTo>
                    <a:lnTo>
                      <a:pt x="376" y="2"/>
                    </a:lnTo>
                    <a:lnTo>
                      <a:pt x="381" y="0"/>
                    </a:lnTo>
                    <a:lnTo>
                      <a:pt x="386" y="0"/>
                    </a:lnTo>
                    <a:lnTo>
                      <a:pt x="390" y="1"/>
                    </a:lnTo>
                    <a:lnTo>
                      <a:pt x="395" y="4"/>
                    </a:lnTo>
                    <a:lnTo>
                      <a:pt x="397" y="9"/>
                    </a:lnTo>
                    <a:lnTo>
                      <a:pt x="398" y="13"/>
                    </a:lnTo>
                    <a:lnTo>
                      <a:pt x="397" y="17"/>
                    </a:lnTo>
                    <a:lnTo>
                      <a:pt x="394" y="28"/>
                    </a:lnTo>
                    <a:lnTo>
                      <a:pt x="389" y="38"/>
                    </a:lnTo>
                    <a:lnTo>
                      <a:pt x="387" y="47"/>
                    </a:lnTo>
                    <a:lnTo>
                      <a:pt x="384" y="57"/>
                    </a:lnTo>
                    <a:lnTo>
                      <a:pt x="379" y="79"/>
                    </a:lnTo>
                    <a:lnTo>
                      <a:pt x="374" y="99"/>
                    </a:lnTo>
                    <a:lnTo>
                      <a:pt x="370" y="119"/>
                    </a:lnTo>
                    <a:lnTo>
                      <a:pt x="368" y="139"/>
                    </a:lnTo>
                    <a:lnTo>
                      <a:pt x="365" y="167"/>
                    </a:lnTo>
                    <a:lnTo>
                      <a:pt x="362" y="194"/>
                    </a:lnTo>
                    <a:lnTo>
                      <a:pt x="360" y="220"/>
                    </a:lnTo>
                    <a:lnTo>
                      <a:pt x="360" y="246"/>
                    </a:lnTo>
                    <a:lnTo>
                      <a:pt x="359" y="297"/>
                    </a:lnTo>
                    <a:lnTo>
                      <a:pt x="360" y="345"/>
                    </a:lnTo>
                    <a:lnTo>
                      <a:pt x="363" y="395"/>
                    </a:lnTo>
                    <a:lnTo>
                      <a:pt x="369" y="445"/>
                    </a:lnTo>
                    <a:lnTo>
                      <a:pt x="374" y="496"/>
                    </a:lnTo>
                    <a:lnTo>
                      <a:pt x="381" y="552"/>
                    </a:lnTo>
                    <a:lnTo>
                      <a:pt x="386" y="603"/>
                    </a:lnTo>
                    <a:lnTo>
                      <a:pt x="393" y="659"/>
                    </a:lnTo>
                    <a:lnTo>
                      <a:pt x="399" y="720"/>
                    </a:lnTo>
                    <a:lnTo>
                      <a:pt x="405" y="786"/>
                    </a:lnTo>
                    <a:lnTo>
                      <a:pt x="410" y="857"/>
                    </a:lnTo>
                    <a:lnTo>
                      <a:pt x="415" y="936"/>
                    </a:lnTo>
                    <a:lnTo>
                      <a:pt x="419" y="1021"/>
                    </a:lnTo>
                    <a:lnTo>
                      <a:pt x="422" y="1115"/>
                    </a:lnTo>
                    <a:lnTo>
                      <a:pt x="423" y="1151"/>
                    </a:lnTo>
                    <a:lnTo>
                      <a:pt x="425" y="1184"/>
                    </a:lnTo>
                    <a:lnTo>
                      <a:pt x="428" y="1215"/>
                    </a:lnTo>
                    <a:lnTo>
                      <a:pt x="432" y="1247"/>
                    </a:lnTo>
                    <a:lnTo>
                      <a:pt x="435" y="1276"/>
                    </a:lnTo>
                    <a:lnTo>
                      <a:pt x="440" y="1305"/>
                    </a:lnTo>
                    <a:lnTo>
                      <a:pt x="444" y="1332"/>
                    </a:lnTo>
                    <a:lnTo>
                      <a:pt x="451" y="1358"/>
                    </a:lnTo>
                    <a:lnTo>
                      <a:pt x="456" y="1383"/>
                    </a:lnTo>
                    <a:lnTo>
                      <a:pt x="464" y="1406"/>
                    </a:lnTo>
                    <a:lnTo>
                      <a:pt x="470" y="1429"/>
                    </a:lnTo>
                    <a:lnTo>
                      <a:pt x="478" y="1451"/>
                    </a:lnTo>
                    <a:lnTo>
                      <a:pt x="487" y="1471"/>
                    </a:lnTo>
                    <a:lnTo>
                      <a:pt x="495" y="1491"/>
                    </a:lnTo>
                    <a:lnTo>
                      <a:pt x="504" y="1509"/>
                    </a:lnTo>
                    <a:lnTo>
                      <a:pt x="512" y="1527"/>
                    </a:lnTo>
                    <a:lnTo>
                      <a:pt x="522" y="1544"/>
                    </a:lnTo>
                    <a:lnTo>
                      <a:pt x="532" y="1560"/>
                    </a:lnTo>
                    <a:lnTo>
                      <a:pt x="542" y="1575"/>
                    </a:lnTo>
                    <a:lnTo>
                      <a:pt x="551" y="1590"/>
                    </a:lnTo>
                    <a:lnTo>
                      <a:pt x="572" y="1616"/>
                    </a:lnTo>
                    <a:lnTo>
                      <a:pt x="593" y="1640"/>
                    </a:lnTo>
                    <a:lnTo>
                      <a:pt x="614" y="1660"/>
                    </a:lnTo>
                    <a:lnTo>
                      <a:pt x="635" y="1680"/>
                    </a:lnTo>
                    <a:lnTo>
                      <a:pt x="655" y="1696"/>
                    </a:lnTo>
                    <a:lnTo>
                      <a:pt x="676" y="1710"/>
                    </a:lnTo>
                    <a:lnTo>
                      <a:pt x="678" y="1713"/>
                    </a:lnTo>
                    <a:lnTo>
                      <a:pt x="680" y="1716"/>
                    </a:lnTo>
                    <a:lnTo>
                      <a:pt x="681" y="1720"/>
                    </a:lnTo>
                    <a:lnTo>
                      <a:pt x="681" y="1724"/>
                    </a:lnTo>
                    <a:lnTo>
                      <a:pt x="680" y="1727"/>
                    </a:lnTo>
                    <a:lnTo>
                      <a:pt x="678" y="1730"/>
                    </a:lnTo>
                    <a:lnTo>
                      <a:pt x="676" y="1732"/>
                    </a:lnTo>
                    <a:lnTo>
                      <a:pt x="672" y="1735"/>
                    </a:lnTo>
                    <a:lnTo>
                      <a:pt x="643" y="1743"/>
                    </a:lnTo>
                    <a:lnTo>
                      <a:pt x="614" y="1751"/>
                    </a:lnTo>
                    <a:lnTo>
                      <a:pt x="586" y="1757"/>
                    </a:lnTo>
                    <a:lnTo>
                      <a:pt x="558" y="1764"/>
                    </a:lnTo>
                    <a:lnTo>
                      <a:pt x="529" y="1769"/>
                    </a:lnTo>
                    <a:lnTo>
                      <a:pt x="501" y="1773"/>
                    </a:lnTo>
                    <a:lnTo>
                      <a:pt x="473" y="1779"/>
                    </a:lnTo>
                    <a:lnTo>
                      <a:pt x="444" y="1783"/>
                    </a:lnTo>
                    <a:lnTo>
                      <a:pt x="395" y="1792"/>
                    </a:lnTo>
                    <a:lnTo>
                      <a:pt x="345" y="1800"/>
                    </a:lnTo>
                    <a:lnTo>
                      <a:pt x="320" y="1805"/>
                    </a:lnTo>
                    <a:lnTo>
                      <a:pt x="295" y="1811"/>
                    </a:lnTo>
                    <a:lnTo>
                      <a:pt x="272" y="1817"/>
                    </a:lnTo>
                    <a:lnTo>
                      <a:pt x="247" y="1823"/>
                    </a:lnTo>
                    <a:lnTo>
                      <a:pt x="222" y="1831"/>
                    </a:lnTo>
                    <a:lnTo>
                      <a:pt x="198" y="1839"/>
                    </a:lnTo>
                    <a:lnTo>
                      <a:pt x="173" y="1849"/>
                    </a:lnTo>
                    <a:lnTo>
                      <a:pt x="150" y="1860"/>
                    </a:lnTo>
                    <a:lnTo>
                      <a:pt x="125" y="1871"/>
                    </a:lnTo>
                    <a:lnTo>
                      <a:pt x="101" y="1884"/>
                    </a:lnTo>
                    <a:lnTo>
                      <a:pt x="76" y="1899"/>
                    </a:lnTo>
                    <a:lnTo>
                      <a:pt x="51" y="1915"/>
                    </a:lnTo>
                    <a:lnTo>
                      <a:pt x="48" y="1916"/>
                    </a:lnTo>
                    <a:lnTo>
                      <a:pt x="44" y="1917"/>
                    </a:lnTo>
                    <a:close/>
                    <a:moveTo>
                      <a:pt x="346" y="98"/>
                    </a:moveTo>
                    <a:lnTo>
                      <a:pt x="346" y="98"/>
                    </a:lnTo>
                    <a:lnTo>
                      <a:pt x="332" y="125"/>
                    </a:lnTo>
                    <a:lnTo>
                      <a:pt x="317" y="153"/>
                    </a:lnTo>
                    <a:lnTo>
                      <a:pt x="303" y="182"/>
                    </a:lnTo>
                    <a:lnTo>
                      <a:pt x="289" y="214"/>
                    </a:lnTo>
                    <a:lnTo>
                      <a:pt x="275" y="246"/>
                    </a:lnTo>
                    <a:lnTo>
                      <a:pt x="260" y="279"/>
                    </a:lnTo>
                    <a:lnTo>
                      <a:pt x="247" y="315"/>
                    </a:lnTo>
                    <a:lnTo>
                      <a:pt x="233" y="351"/>
                    </a:lnTo>
                    <a:lnTo>
                      <a:pt x="219" y="389"/>
                    </a:lnTo>
                    <a:lnTo>
                      <a:pt x="206" y="426"/>
                    </a:lnTo>
                    <a:lnTo>
                      <a:pt x="193" y="466"/>
                    </a:lnTo>
                    <a:lnTo>
                      <a:pt x="180" y="507"/>
                    </a:lnTo>
                    <a:lnTo>
                      <a:pt x="168" y="548"/>
                    </a:lnTo>
                    <a:lnTo>
                      <a:pt x="156" y="590"/>
                    </a:lnTo>
                    <a:lnTo>
                      <a:pt x="144" y="634"/>
                    </a:lnTo>
                    <a:lnTo>
                      <a:pt x="132" y="678"/>
                    </a:lnTo>
                    <a:lnTo>
                      <a:pt x="122" y="723"/>
                    </a:lnTo>
                    <a:lnTo>
                      <a:pt x="112" y="768"/>
                    </a:lnTo>
                    <a:lnTo>
                      <a:pt x="102" y="815"/>
                    </a:lnTo>
                    <a:lnTo>
                      <a:pt x="92" y="861"/>
                    </a:lnTo>
                    <a:lnTo>
                      <a:pt x="84" y="909"/>
                    </a:lnTo>
                    <a:lnTo>
                      <a:pt x="75" y="956"/>
                    </a:lnTo>
                    <a:lnTo>
                      <a:pt x="68" y="1005"/>
                    </a:lnTo>
                    <a:lnTo>
                      <a:pt x="60" y="1053"/>
                    </a:lnTo>
                    <a:lnTo>
                      <a:pt x="54" y="1102"/>
                    </a:lnTo>
                    <a:lnTo>
                      <a:pt x="48" y="1152"/>
                    </a:lnTo>
                    <a:lnTo>
                      <a:pt x="43" y="1201"/>
                    </a:lnTo>
                    <a:lnTo>
                      <a:pt x="38" y="1251"/>
                    </a:lnTo>
                    <a:lnTo>
                      <a:pt x="34" y="1302"/>
                    </a:lnTo>
                    <a:lnTo>
                      <a:pt x="31" y="1351"/>
                    </a:lnTo>
                    <a:lnTo>
                      <a:pt x="29" y="1402"/>
                    </a:lnTo>
                    <a:lnTo>
                      <a:pt x="28" y="1452"/>
                    </a:lnTo>
                    <a:lnTo>
                      <a:pt x="27" y="1522"/>
                    </a:lnTo>
                    <a:lnTo>
                      <a:pt x="27" y="1582"/>
                    </a:lnTo>
                    <a:lnTo>
                      <a:pt x="29" y="1637"/>
                    </a:lnTo>
                    <a:lnTo>
                      <a:pt x="32" y="1687"/>
                    </a:lnTo>
                    <a:lnTo>
                      <a:pt x="36" y="1735"/>
                    </a:lnTo>
                    <a:lnTo>
                      <a:pt x="41" y="1781"/>
                    </a:lnTo>
                    <a:lnTo>
                      <a:pt x="47" y="1830"/>
                    </a:lnTo>
                    <a:lnTo>
                      <a:pt x="55" y="1880"/>
                    </a:lnTo>
                    <a:lnTo>
                      <a:pt x="78" y="1865"/>
                    </a:lnTo>
                    <a:lnTo>
                      <a:pt x="103" y="1852"/>
                    </a:lnTo>
                    <a:lnTo>
                      <a:pt x="128" y="1840"/>
                    </a:lnTo>
                    <a:lnTo>
                      <a:pt x="152" y="1829"/>
                    </a:lnTo>
                    <a:lnTo>
                      <a:pt x="177" y="1819"/>
                    </a:lnTo>
                    <a:lnTo>
                      <a:pt x="200" y="1810"/>
                    </a:lnTo>
                    <a:lnTo>
                      <a:pt x="225" y="1803"/>
                    </a:lnTo>
                    <a:lnTo>
                      <a:pt x="249" y="1795"/>
                    </a:lnTo>
                    <a:lnTo>
                      <a:pt x="298" y="1783"/>
                    </a:lnTo>
                    <a:lnTo>
                      <a:pt x="345" y="1772"/>
                    </a:lnTo>
                    <a:lnTo>
                      <a:pt x="393" y="1764"/>
                    </a:lnTo>
                    <a:lnTo>
                      <a:pt x="440" y="1756"/>
                    </a:lnTo>
                    <a:lnTo>
                      <a:pt x="465" y="1753"/>
                    </a:lnTo>
                    <a:lnTo>
                      <a:pt x="490" y="1749"/>
                    </a:lnTo>
                    <a:lnTo>
                      <a:pt x="514" y="1744"/>
                    </a:lnTo>
                    <a:lnTo>
                      <a:pt x="538" y="1740"/>
                    </a:lnTo>
                    <a:lnTo>
                      <a:pt x="563" y="1735"/>
                    </a:lnTo>
                    <a:lnTo>
                      <a:pt x="588" y="1729"/>
                    </a:lnTo>
                    <a:lnTo>
                      <a:pt x="613" y="1723"/>
                    </a:lnTo>
                    <a:lnTo>
                      <a:pt x="638" y="1716"/>
                    </a:lnTo>
                    <a:lnTo>
                      <a:pt x="623" y="1704"/>
                    </a:lnTo>
                    <a:lnTo>
                      <a:pt x="605" y="1690"/>
                    </a:lnTo>
                    <a:lnTo>
                      <a:pt x="587" y="1673"/>
                    </a:lnTo>
                    <a:lnTo>
                      <a:pt x="569" y="1654"/>
                    </a:lnTo>
                    <a:lnTo>
                      <a:pt x="549" y="1631"/>
                    </a:lnTo>
                    <a:lnTo>
                      <a:pt x="530" y="1604"/>
                    </a:lnTo>
                    <a:lnTo>
                      <a:pt x="520" y="1590"/>
                    </a:lnTo>
                    <a:lnTo>
                      <a:pt x="510" y="1575"/>
                    </a:lnTo>
                    <a:lnTo>
                      <a:pt x="501" y="1559"/>
                    </a:lnTo>
                    <a:lnTo>
                      <a:pt x="491" y="1541"/>
                    </a:lnTo>
                    <a:lnTo>
                      <a:pt x="481" y="1524"/>
                    </a:lnTo>
                    <a:lnTo>
                      <a:pt x="473" y="1505"/>
                    </a:lnTo>
                    <a:lnTo>
                      <a:pt x="464" y="1484"/>
                    </a:lnTo>
                    <a:lnTo>
                      <a:pt x="455" y="1464"/>
                    </a:lnTo>
                    <a:lnTo>
                      <a:pt x="448" y="1441"/>
                    </a:lnTo>
                    <a:lnTo>
                      <a:pt x="440" y="1418"/>
                    </a:lnTo>
                    <a:lnTo>
                      <a:pt x="433" y="1394"/>
                    </a:lnTo>
                    <a:lnTo>
                      <a:pt x="426" y="1368"/>
                    </a:lnTo>
                    <a:lnTo>
                      <a:pt x="420" y="1341"/>
                    </a:lnTo>
                    <a:lnTo>
                      <a:pt x="414" y="1313"/>
                    </a:lnTo>
                    <a:lnTo>
                      <a:pt x="409" y="1283"/>
                    </a:lnTo>
                    <a:lnTo>
                      <a:pt x="405" y="1252"/>
                    </a:lnTo>
                    <a:lnTo>
                      <a:pt x="401" y="1221"/>
                    </a:lnTo>
                    <a:lnTo>
                      <a:pt x="398" y="1187"/>
                    </a:lnTo>
                    <a:lnTo>
                      <a:pt x="396" y="1152"/>
                    </a:lnTo>
                    <a:lnTo>
                      <a:pt x="395" y="1116"/>
                    </a:lnTo>
                    <a:lnTo>
                      <a:pt x="392" y="1022"/>
                    </a:lnTo>
                    <a:lnTo>
                      <a:pt x="388" y="937"/>
                    </a:lnTo>
                    <a:lnTo>
                      <a:pt x="383" y="859"/>
                    </a:lnTo>
                    <a:lnTo>
                      <a:pt x="378" y="788"/>
                    </a:lnTo>
                    <a:lnTo>
                      <a:pt x="372" y="722"/>
                    </a:lnTo>
                    <a:lnTo>
                      <a:pt x="366" y="663"/>
                    </a:lnTo>
                    <a:lnTo>
                      <a:pt x="359" y="607"/>
                    </a:lnTo>
                    <a:lnTo>
                      <a:pt x="354" y="555"/>
                    </a:lnTo>
                    <a:lnTo>
                      <a:pt x="347" y="499"/>
                    </a:lnTo>
                    <a:lnTo>
                      <a:pt x="342" y="447"/>
                    </a:lnTo>
                    <a:lnTo>
                      <a:pt x="336" y="396"/>
                    </a:lnTo>
                    <a:lnTo>
                      <a:pt x="333" y="346"/>
                    </a:lnTo>
                    <a:lnTo>
                      <a:pt x="332" y="296"/>
                    </a:lnTo>
                    <a:lnTo>
                      <a:pt x="332" y="245"/>
                    </a:lnTo>
                    <a:lnTo>
                      <a:pt x="333" y="219"/>
                    </a:lnTo>
                    <a:lnTo>
                      <a:pt x="335" y="192"/>
                    </a:lnTo>
                    <a:lnTo>
                      <a:pt x="338" y="164"/>
                    </a:lnTo>
                    <a:lnTo>
                      <a:pt x="341" y="136"/>
                    </a:lnTo>
                    <a:lnTo>
                      <a:pt x="342" y="126"/>
                    </a:lnTo>
                    <a:lnTo>
                      <a:pt x="343" y="118"/>
                    </a:lnTo>
                    <a:lnTo>
                      <a:pt x="345" y="108"/>
                    </a:lnTo>
                    <a:lnTo>
                      <a:pt x="346"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56"/>
              <p:cNvSpPr>
                <a:spLocks/>
              </p:cNvSpPr>
              <p:nvPr userDrawn="1"/>
            </p:nvSpPr>
            <p:spPr bwMode="auto">
              <a:xfrm>
                <a:off x="1387" y="1416"/>
                <a:ext cx="982" cy="1880"/>
              </a:xfrm>
              <a:custGeom>
                <a:avLst/>
                <a:gdLst>
                  <a:gd name="T0" fmla="*/ 1430 w 2945"/>
                  <a:gd name="T1" fmla="*/ 5582 h 5641"/>
                  <a:gd name="T2" fmla="*/ 460 w 2945"/>
                  <a:gd name="T3" fmla="*/ 5454 h 5641"/>
                  <a:gd name="T4" fmla="*/ 164 w 2945"/>
                  <a:gd name="T5" fmla="*/ 5267 h 5641"/>
                  <a:gd name="T6" fmla="*/ 23 w 2945"/>
                  <a:gd name="T7" fmla="*/ 4981 h 5641"/>
                  <a:gd name="T8" fmla="*/ 2 w 2945"/>
                  <a:gd name="T9" fmla="*/ 4723 h 5641"/>
                  <a:gd name="T10" fmla="*/ 403 w 2945"/>
                  <a:gd name="T11" fmla="*/ 4622 h 5641"/>
                  <a:gd name="T12" fmla="*/ 899 w 2945"/>
                  <a:gd name="T13" fmla="*/ 4439 h 5641"/>
                  <a:gd name="T14" fmla="*/ 1142 w 2945"/>
                  <a:gd name="T15" fmla="*/ 4209 h 5641"/>
                  <a:gd name="T16" fmla="*/ 1218 w 2945"/>
                  <a:gd name="T17" fmla="*/ 3983 h 5641"/>
                  <a:gd name="T18" fmla="*/ 1204 w 2945"/>
                  <a:gd name="T19" fmla="*/ 3719 h 5641"/>
                  <a:gd name="T20" fmla="*/ 1112 w 2945"/>
                  <a:gd name="T21" fmla="*/ 3496 h 5641"/>
                  <a:gd name="T22" fmla="*/ 922 w 2945"/>
                  <a:gd name="T23" fmla="*/ 3278 h 5641"/>
                  <a:gd name="T24" fmla="*/ 629 w 2945"/>
                  <a:gd name="T25" fmla="*/ 2872 h 5641"/>
                  <a:gd name="T26" fmla="*/ 435 w 2945"/>
                  <a:gd name="T27" fmla="*/ 2317 h 5641"/>
                  <a:gd name="T28" fmla="*/ 365 w 2945"/>
                  <a:gd name="T29" fmla="*/ 1912 h 5641"/>
                  <a:gd name="T30" fmla="*/ 317 w 2945"/>
                  <a:gd name="T31" fmla="*/ 1455 h 5641"/>
                  <a:gd name="T32" fmla="*/ 373 w 2945"/>
                  <a:gd name="T33" fmla="*/ 1146 h 5641"/>
                  <a:gd name="T34" fmla="*/ 516 w 2945"/>
                  <a:gd name="T35" fmla="*/ 850 h 5641"/>
                  <a:gd name="T36" fmla="*/ 692 w 2945"/>
                  <a:gd name="T37" fmla="*/ 621 h 5641"/>
                  <a:gd name="T38" fmla="*/ 920 w 2945"/>
                  <a:gd name="T39" fmla="*/ 428 h 5641"/>
                  <a:gd name="T40" fmla="*/ 1177 w 2945"/>
                  <a:gd name="T41" fmla="*/ 290 h 5641"/>
                  <a:gd name="T42" fmla="*/ 1626 w 2945"/>
                  <a:gd name="T43" fmla="*/ 111 h 5641"/>
                  <a:gd name="T44" fmla="*/ 2026 w 2945"/>
                  <a:gd name="T45" fmla="*/ 0 h 5641"/>
                  <a:gd name="T46" fmla="*/ 1901 w 2945"/>
                  <a:gd name="T47" fmla="*/ 56 h 5641"/>
                  <a:gd name="T48" fmla="*/ 1399 w 2945"/>
                  <a:gd name="T49" fmla="*/ 225 h 5641"/>
                  <a:gd name="T50" fmla="*/ 1089 w 2945"/>
                  <a:gd name="T51" fmla="*/ 361 h 5641"/>
                  <a:gd name="T52" fmla="*/ 840 w 2945"/>
                  <a:gd name="T53" fmla="*/ 521 h 5641"/>
                  <a:gd name="T54" fmla="*/ 638 w 2945"/>
                  <a:gd name="T55" fmla="*/ 725 h 5641"/>
                  <a:gd name="T56" fmla="*/ 480 w 2945"/>
                  <a:gd name="T57" fmla="*/ 967 h 5641"/>
                  <a:gd name="T58" fmla="*/ 365 w 2945"/>
                  <a:gd name="T59" fmla="*/ 1277 h 5641"/>
                  <a:gd name="T60" fmla="*/ 344 w 2945"/>
                  <a:gd name="T61" fmla="*/ 1569 h 5641"/>
                  <a:gd name="T62" fmla="*/ 422 w 2945"/>
                  <a:gd name="T63" fmla="*/ 2074 h 5641"/>
                  <a:gd name="T64" fmla="*/ 517 w 2945"/>
                  <a:gd name="T65" fmla="*/ 2541 h 5641"/>
                  <a:gd name="T66" fmla="*/ 781 w 2945"/>
                  <a:gd name="T67" fmla="*/ 3060 h 5641"/>
                  <a:gd name="T68" fmla="*/ 1026 w 2945"/>
                  <a:gd name="T69" fmla="*/ 3355 h 5641"/>
                  <a:gd name="T70" fmla="*/ 1186 w 2945"/>
                  <a:gd name="T71" fmla="*/ 3564 h 5641"/>
                  <a:gd name="T72" fmla="*/ 1251 w 2945"/>
                  <a:gd name="T73" fmla="*/ 3859 h 5641"/>
                  <a:gd name="T74" fmla="*/ 1225 w 2945"/>
                  <a:gd name="T75" fmla="*/ 4078 h 5641"/>
                  <a:gd name="T76" fmla="*/ 1103 w 2945"/>
                  <a:gd name="T77" fmla="*/ 4322 h 5641"/>
                  <a:gd name="T78" fmla="*/ 773 w 2945"/>
                  <a:gd name="T79" fmla="*/ 4527 h 5641"/>
                  <a:gd name="T80" fmla="*/ 154 w 2945"/>
                  <a:gd name="T81" fmla="*/ 4714 h 5641"/>
                  <a:gd name="T82" fmla="*/ 37 w 2945"/>
                  <a:gd name="T83" fmla="*/ 4914 h 5641"/>
                  <a:gd name="T84" fmla="*/ 125 w 2945"/>
                  <a:gd name="T85" fmla="*/ 5165 h 5641"/>
                  <a:gd name="T86" fmla="*/ 358 w 2945"/>
                  <a:gd name="T87" fmla="*/ 5388 h 5641"/>
                  <a:gd name="T88" fmla="*/ 817 w 2945"/>
                  <a:gd name="T89" fmla="*/ 5488 h 5641"/>
                  <a:gd name="T90" fmla="*/ 2084 w 2945"/>
                  <a:gd name="T91" fmla="*/ 5598 h 5641"/>
                  <a:gd name="T92" fmla="*/ 2918 w 2945"/>
                  <a:gd name="T93" fmla="*/ 5576 h 5641"/>
                  <a:gd name="T94" fmla="*/ 2800 w 2945"/>
                  <a:gd name="T95" fmla="*/ 5132 h 5641"/>
                  <a:gd name="T96" fmla="*/ 2492 w 2945"/>
                  <a:gd name="T97" fmla="*/ 4547 h 5641"/>
                  <a:gd name="T98" fmla="*/ 2118 w 2945"/>
                  <a:gd name="T99" fmla="*/ 3949 h 5641"/>
                  <a:gd name="T100" fmla="*/ 1873 w 2945"/>
                  <a:gd name="T101" fmla="*/ 3531 h 5641"/>
                  <a:gd name="T102" fmla="*/ 1555 w 2945"/>
                  <a:gd name="T103" fmla="*/ 3036 h 5641"/>
                  <a:gd name="T104" fmla="*/ 1204 w 2945"/>
                  <a:gd name="T105" fmla="*/ 2458 h 5641"/>
                  <a:gd name="T106" fmla="*/ 1116 w 2945"/>
                  <a:gd name="T107" fmla="*/ 2194 h 5641"/>
                  <a:gd name="T108" fmla="*/ 1286 w 2945"/>
                  <a:gd name="T109" fmla="*/ 2552 h 5641"/>
                  <a:gd name="T110" fmla="*/ 1648 w 2945"/>
                  <a:gd name="T111" fmla="*/ 3130 h 5641"/>
                  <a:gd name="T112" fmla="*/ 1958 w 2945"/>
                  <a:gd name="T113" fmla="*/ 3618 h 5641"/>
                  <a:gd name="T114" fmla="*/ 2173 w 2945"/>
                  <a:gd name="T115" fmla="*/ 3987 h 5641"/>
                  <a:gd name="T116" fmla="*/ 2621 w 2945"/>
                  <a:gd name="T117" fmla="*/ 4717 h 5641"/>
                  <a:gd name="T118" fmla="*/ 2875 w 2945"/>
                  <a:gd name="T119" fmla="*/ 5247 h 5641"/>
                  <a:gd name="T120" fmla="*/ 2940 w 2945"/>
                  <a:gd name="T121" fmla="*/ 5630 h 5641"/>
                  <a:gd name="T122" fmla="*/ 2703 w 2945"/>
                  <a:gd name="T123" fmla="*/ 5641 h 5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45" h="5641">
                    <a:moveTo>
                      <a:pt x="2670" y="5641"/>
                    </a:moveTo>
                    <a:lnTo>
                      <a:pt x="2586" y="5641"/>
                    </a:lnTo>
                    <a:lnTo>
                      <a:pt x="2499" y="5640"/>
                    </a:lnTo>
                    <a:lnTo>
                      <a:pt x="2412" y="5638"/>
                    </a:lnTo>
                    <a:lnTo>
                      <a:pt x="2323" y="5635"/>
                    </a:lnTo>
                    <a:lnTo>
                      <a:pt x="2144" y="5629"/>
                    </a:lnTo>
                    <a:lnTo>
                      <a:pt x="1963" y="5619"/>
                    </a:lnTo>
                    <a:lnTo>
                      <a:pt x="1782" y="5608"/>
                    </a:lnTo>
                    <a:lnTo>
                      <a:pt x="1604" y="5597"/>
                    </a:lnTo>
                    <a:lnTo>
                      <a:pt x="1430" y="5582"/>
                    </a:lnTo>
                    <a:lnTo>
                      <a:pt x="1262" y="5566"/>
                    </a:lnTo>
                    <a:lnTo>
                      <a:pt x="1102" y="5550"/>
                    </a:lnTo>
                    <a:lnTo>
                      <a:pt x="953" y="5533"/>
                    </a:lnTo>
                    <a:lnTo>
                      <a:pt x="816" y="5516"/>
                    </a:lnTo>
                    <a:lnTo>
                      <a:pt x="693" y="5498"/>
                    </a:lnTo>
                    <a:lnTo>
                      <a:pt x="637" y="5489"/>
                    </a:lnTo>
                    <a:lnTo>
                      <a:pt x="586" y="5480"/>
                    </a:lnTo>
                    <a:lnTo>
                      <a:pt x="540" y="5471"/>
                    </a:lnTo>
                    <a:lnTo>
                      <a:pt x="497" y="5463"/>
                    </a:lnTo>
                    <a:lnTo>
                      <a:pt x="460" y="5454"/>
                    </a:lnTo>
                    <a:lnTo>
                      <a:pt x="428" y="5445"/>
                    </a:lnTo>
                    <a:lnTo>
                      <a:pt x="402" y="5438"/>
                    </a:lnTo>
                    <a:lnTo>
                      <a:pt x="382" y="5429"/>
                    </a:lnTo>
                    <a:lnTo>
                      <a:pt x="343" y="5411"/>
                    </a:lnTo>
                    <a:lnTo>
                      <a:pt x="307" y="5390"/>
                    </a:lnTo>
                    <a:lnTo>
                      <a:pt x="274" y="5368"/>
                    </a:lnTo>
                    <a:lnTo>
                      <a:pt x="243" y="5345"/>
                    </a:lnTo>
                    <a:lnTo>
                      <a:pt x="214" y="5320"/>
                    </a:lnTo>
                    <a:lnTo>
                      <a:pt x="187" y="5294"/>
                    </a:lnTo>
                    <a:lnTo>
                      <a:pt x="164" y="5267"/>
                    </a:lnTo>
                    <a:lnTo>
                      <a:pt x="142" y="5240"/>
                    </a:lnTo>
                    <a:lnTo>
                      <a:pt x="122" y="5212"/>
                    </a:lnTo>
                    <a:lnTo>
                      <a:pt x="104" y="5183"/>
                    </a:lnTo>
                    <a:lnTo>
                      <a:pt x="88" y="5154"/>
                    </a:lnTo>
                    <a:lnTo>
                      <a:pt x="73" y="5125"/>
                    </a:lnTo>
                    <a:lnTo>
                      <a:pt x="61" y="5096"/>
                    </a:lnTo>
                    <a:lnTo>
                      <a:pt x="49" y="5067"/>
                    </a:lnTo>
                    <a:lnTo>
                      <a:pt x="40" y="5037"/>
                    </a:lnTo>
                    <a:lnTo>
                      <a:pt x="31" y="5009"/>
                    </a:lnTo>
                    <a:lnTo>
                      <a:pt x="23" y="4981"/>
                    </a:lnTo>
                    <a:lnTo>
                      <a:pt x="18" y="4953"/>
                    </a:lnTo>
                    <a:lnTo>
                      <a:pt x="13" y="4927"/>
                    </a:lnTo>
                    <a:lnTo>
                      <a:pt x="8" y="4901"/>
                    </a:lnTo>
                    <a:lnTo>
                      <a:pt x="5" y="4878"/>
                    </a:lnTo>
                    <a:lnTo>
                      <a:pt x="3" y="4854"/>
                    </a:lnTo>
                    <a:lnTo>
                      <a:pt x="2" y="4832"/>
                    </a:lnTo>
                    <a:lnTo>
                      <a:pt x="0" y="4813"/>
                    </a:lnTo>
                    <a:lnTo>
                      <a:pt x="0" y="4751"/>
                    </a:lnTo>
                    <a:lnTo>
                      <a:pt x="1" y="4728"/>
                    </a:lnTo>
                    <a:lnTo>
                      <a:pt x="2" y="4723"/>
                    </a:lnTo>
                    <a:lnTo>
                      <a:pt x="4" y="4720"/>
                    </a:lnTo>
                    <a:lnTo>
                      <a:pt x="7" y="4718"/>
                    </a:lnTo>
                    <a:lnTo>
                      <a:pt x="11" y="4716"/>
                    </a:lnTo>
                    <a:lnTo>
                      <a:pt x="23" y="4714"/>
                    </a:lnTo>
                    <a:lnTo>
                      <a:pt x="55" y="4707"/>
                    </a:lnTo>
                    <a:lnTo>
                      <a:pt x="101" y="4697"/>
                    </a:lnTo>
                    <a:lnTo>
                      <a:pt x="162" y="4683"/>
                    </a:lnTo>
                    <a:lnTo>
                      <a:pt x="234" y="4667"/>
                    </a:lnTo>
                    <a:lnTo>
                      <a:pt x="315" y="4647"/>
                    </a:lnTo>
                    <a:lnTo>
                      <a:pt x="403" y="4622"/>
                    </a:lnTo>
                    <a:lnTo>
                      <a:pt x="495" y="4595"/>
                    </a:lnTo>
                    <a:lnTo>
                      <a:pt x="543" y="4581"/>
                    </a:lnTo>
                    <a:lnTo>
                      <a:pt x="589" y="4566"/>
                    </a:lnTo>
                    <a:lnTo>
                      <a:pt x="637" y="4550"/>
                    </a:lnTo>
                    <a:lnTo>
                      <a:pt x="683" y="4532"/>
                    </a:lnTo>
                    <a:lnTo>
                      <a:pt x="730" y="4515"/>
                    </a:lnTo>
                    <a:lnTo>
                      <a:pt x="774" y="4497"/>
                    </a:lnTo>
                    <a:lnTo>
                      <a:pt x="817" y="4478"/>
                    </a:lnTo>
                    <a:lnTo>
                      <a:pt x="859" y="4459"/>
                    </a:lnTo>
                    <a:lnTo>
                      <a:pt x="899" y="4439"/>
                    </a:lnTo>
                    <a:lnTo>
                      <a:pt x="937" y="4418"/>
                    </a:lnTo>
                    <a:lnTo>
                      <a:pt x="971" y="4397"/>
                    </a:lnTo>
                    <a:lnTo>
                      <a:pt x="1004" y="4376"/>
                    </a:lnTo>
                    <a:lnTo>
                      <a:pt x="1033" y="4353"/>
                    </a:lnTo>
                    <a:lnTo>
                      <a:pt x="1059" y="4330"/>
                    </a:lnTo>
                    <a:lnTo>
                      <a:pt x="1080" y="4307"/>
                    </a:lnTo>
                    <a:lnTo>
                      <a:pt x="1099" y="4283"/>
                    </a:lnTo>
                    <a:lnTo>
                      <a:pt x="1114" y="4258"/>
                    </a:lnTo>
                    <a:lnTo>
                      <a:pt x="1129" y="4233"/>
                    </a:lnTo>
                    <a:lnTo>
                      <a:pt x="1142" y="4209"/>
                    </a:lnTo>
                    <a:lnTo>
                      <a:pt x="1154" y="4186"/>
                    </a:lnTo>
                    <a:lnTo>
                      <a:pt x="1166" y="4162"/>
                    </a:lnTo>
                    <a:lnTo>
                      <a:pt x="1176" y="4138"/>
                    </a:lnTo>
                    <a:lnTo>
                      <a:pt x="1184" y="4116"/>
                    </a:lnTo>
                    <a:lnTo>
                      <a:pt x="1192" y="4093"/>
                    </a:lnTo>
                    <a:lnTo>
                      <a:pt x="1199" y="4070"/>
                    </a:lnTo>
                    <a:lnTo>
                      <a:pt x="1205" y="4049"/>
                    </a:lnTo>
                    <a:lnTo>
                      <a:pt x="1210" y="4026"/>
                    </a:lnTo>
                    <a:lnTo>
                      <a:pt x="1214" y="4004"/>
                    </a:lnTo>
                    <a:lnTo>
                      <a:pt x="1218" y="3983"/>
                    </a:lnTo>
                    <a:lnTo>
                      <a:pt x="1221" y="3962"/>
                    </a:lnTo>
                    <a:lnTo>
                      <a:pt x="1223" y="3941"/>
                    </a:lnTo>
                    <a:lnTo>
                      <a:pt x="1224" y="3920"/>
                    </a:lnTo>
                    <a:lnTo>
                      <a:pt x="1224" y="3900"/>
                    </a:lnTo>
                    <a:lnTo>
                      <a:pt x="1224" y="3879"/>
                    </a:lnTo>
                    <a:lnTo>
                      <a:pt x="1223" y="3859"/>
                    </a:lnTo>
                    <a:lnTo>
                      <a:pt x="1222" y="3838"/>
                    </a:lnTo>
                    <a:lnTo>
                      <a:pt x="1218" y="3798"/>
                    </a:lnTo>
                    <a:lnTo>
                      <a:pt x="1211" y="3758"/>
                    </a:lnTo>
                    <a:lnTo>
                      <a:pt x="1204" y="3719"/>
                    </a:lnTo>
                    <a:lnTo>
                      <a:pt x="1195" y="3681"/>
                    </a:lnTo>
                    <a:lnTo>
                      <a:pt x="1184" y="3642"/>
                    </a:lnTo>
                    <a:lnTo>
                      <a:pt x="1173" y="3604"/>
                    </a:lnTo>
                    <a:lnTo>
                      <a:pt x="1170" y="3594"/>
                    </a:lnTo>
                    <a:lnTo>
                      <a:pt x="1166" y="3583"/>
                    </a:lnTo>
                    <a:lnTo>
                      <a:pt x="1161" y="3574"/>
                    </a:lnTo>
                    <a:lnTo>
                      <a:pt x="1156" y="3563"/>
                    </a:lnTo>
                    <a:lnTo>
                      <a:pt x="1144" y="3541"/>
                    </a:lnTo>
                    <a:lnTo>
                      <a:pt x="1129" y="3520"/>
                    </a:lnTo>
                    <a:lnTo>
                      <a:pt x="1112" y="3496"/>
                    </a:lnTo>
                    <a:lnTo>
                      <a:pt x="1092" y="3471"/>
                    </a:lnTo>
                    <a:lnTo>
                      <a:pt x="1071" y="3445"/>
                    </a:lnTo>
                    <a:lnTo>
                      <a:pt x="1047" y="3417"/>
                    </a:lnTo>
                    <a:lnTo>
                      <a:pt x="1034" y="3403"/>
                    </a:lnTo>
                    <a:lnTo>
                      <a:pt x="1020" y="3388"/>
                    </a:lnTo>
                    <a:lnTo>
                      <a:pt x="1006" y="3372"/>
                    </a:lnTo>
                    <a:lnTo>
                      <a:pt x="992" y="3357"/>
                    </a:lnTo>
                    <a:lnTo>
                      <a:pt x="969" y="3331"/>
                    </a:lnTo>
                    <a:lnTo>
                      <a:pt x="946" y="3305"/>
                    </a:lnTo>
                    <a:lnTo>
                      <a:pt x="922" y="3278"/>
                    </a:lnTo>
                    <a:lnTo>
                      <a:pt x="898" y="3250"/>
                    </a:lnTo>
                    <a:lnTo>
                      <a:pt x="872" y="3221"/>
                    </a:lnTo>
                    <a:lnTo>
                      <a:pt x="847" y="3190"/>
                    </a:lnTo>
                    <a:lnTo>
                      <a:pt x="822" y="3158"/>
                    </a:lnTo>
                    <a:lnTo>
                      <a:pt x="796" y="3126"/>
                    </a:lnTo>
                    <a:lnTo>
                      <a:pt x="759" y="3075"/>
                    </a:lnTo>
                    <a:lnTo>
                      <a:pt x="724" y="3025"/>
                    </a:lnTo>
                    <a:lnTo>
                      <a:pt x="691" y="2975"/>
                    </a:lnTo>
                    <a:lnTo>
                      <a:pt x="659" y="2924"/>
                    </a:lnTo>
                    <a:lnTo>
                      <a:pt x="629" y="2872"/>
                    </a:lnTo>
                    <a:lnTo>
                      <a:pt x="602" y="2820"/>
                    </a:lnTo>
                    <a:lnTo>
                      <a:pt x="576" y="2767"/>
                    </a:lnTo>
                    <a:lnTo>
                      <a:pt x="552" y="2713"/>
                    </a:lnTo>
                    <a:lnTo>
                      <a:pt x="530" y="2659"/>
                    </a:lnTo>
                    <a:lnTo>
                      <a:pt x="510" y="2604"/>
                    </a:lnTo>
                    <a:lnTo>
                      <a:pt x="491" y="2549"/>
                    </a:lnTo>
                    <a:lnTo>
                      <a:pt x="475" y="2493"/>
                    </a:lnTo>
                    <a:lnTo>
                      <a:pt x="460" y="2435"/>
                    </a:lnTo>
                    <a:lnTo>
                      <a:pt x="447" y="2377"/>
                    </a:lnTo>
                    <a:lnTo>
                      <a:pt x="435" y="2317"/>
                    </a:lnTo>
                    <a:lnTo>
                      <a:pt x="425" y="2257"/>
                    </a:lnTo>
                    <a:lnTo>
                      <a:pt x="419" y="2220"/>
                    </a:lnTo>
                    <a:lnTo>
                      <a:pt x="413" y="2183"/>
                    </a:lnTo>
                    <a:lnTo>
                      <a:pt x="407" y="2148"/>
                    </a:lnTo>
                    <a:lnTo>
                      <a:pt x="401" y="2113"/>
                    </a:lnTo>
                    <a:lnTo>
                      <a:pt x="395" y="2079"/>
                    </a:lnTo>
                    <a:lnTo>
                      <a:pt x="388" y="2045"/>
                    </a:lnTo>
                    <a:lnTo>
                      <a:pt x="383" y="2012"/>
                    </a:lnTo>
                    <a:lnTo>
                      <a:pt x="376" y="1978"/>
                    </a:lnTo>
                    <a:lnTo>
                      <a:pt x="365" y="1912"/>
                    </a:lnTo>
                    <a:lnTo>
                      <a:pt x="353" y="1849"/>
                    </a:lnTo>
                    <a:lnTo>
                      <a:pt x="343" y="1786"/>
                    </a:lnTo>
                    <a:lnTo>
                      <a:pt x="333" y="1725"/>
                    </a:lnTo>
                    <a:lnTo>
                      <a:pt x="326" y="1664"/>
                    </a:lnTo>
                    <a:lnTo>
                      <a:pt x="320" y="1604"/>
                    </a:lnTo>
                    <a:lnTo>
                      <a:pt x="318" y="1573"/>
                    </a:lnTo>
                    <a:lnTo>
                      <a:pt x="317" y="1544"/>
                    </a:lnTo>
                    <a:lnTo>
                      <a:pt x="316" y="1514"/>
                    </a:lnTo>
                    <a:lnTo>
                      <a:pt x="316" y="1484"/>
                    </a:lnTo>
                    <a:lnTo>
                      <a:pt x="317" y="1455"/>
                    </a:lnTo>
                    <a:lnTo>
                      <a:pt x="318" y="1424"/>
                    </a:lnTo>
                    <a:lnTo>
                      <a:pt x="320" y="1394"/>
                    </a:lnTo>
                    <a:lnTo>
                      <a:pt x="324" y="1364"/>
                    </a:lnTo>
                    <a:lnTo>
                      <a:pt x="328" y="1334"/>
                    </a:lnTo>
                    <a:lnTo>
                      <a:pt x="333" y="1304"/>
                    </a:lnTo>
                    <a:lnTo>
                      <a:pt x="339" y="1272"/>
                    </a:lnTo>
                    <a:lnTo>
                      <a:pt x="346" y="1241"/>
                    </a:lnTo>
                    <a:lnTo>
                      <a:pt x="354" y="1210"/>
                    </a:lnTo>
                    <a:lnTo>
                      <a:pt x="362" y="1178"/>
                    </a:lnTo>
                    <a:lnTo>
                      <a:pt x="373" y="1146"/>
                    </a:lnTo>
                    <a:lnTo>
                      <a:pt x="384" y="1114"/>
                    </a:lnTo>
                    <a:lnTo>
                      <a:pt x="397" y="1081"/>
                    </a:lnTo>
                    <a:lnTo>
                      <a:pt x="411" y="1048"/>
                    </a:lnTo>
                    <a:lnTo>
                      <a:pt x="426" y="1014"/>
                    </a:lnTo>
                    <a:lnTo>
                      <a:pt x="442" y="981"/>
                    </a:lnTo>
                    <a:lnTo>
                      <a:pt x="456" y="954"/>
                    </a:lnTo>
                    <a:lnTo>
                      <a:pt x="470" y="927"/>
                    </a:lnTo>
                    <a:lnTo>
                      <a:pt x="486" y="901"/>
                    </a:lnTo>
                    <a:lnTo>
                      <a:pt x="501" y="875"/>
                    </a:lnTo>
                    <a:lnTo>
                      <a:pt x="516" y="850"/>
                    </a:lnTo>
                    <a:lnTo>
                      <a:pt x="532" y="825"/>
                    </a:lnTo>
                    <a:lnTo>
                      <a:pt x="548" y="801"/>
                    </a:lnTo>
                    <a:lnTo>
                      <a:pt x="564" y="777"/>
                    </a:lnTo>
                    <a:lnTo>
                      <a:pt x="582" y="753"/>
                    </a:lnTo>
                    <a:lnTo>
                      <a:pt x="599" y="730"/>
                    </a:lnTo>
                    <a:lnTo>
                      <a:pt x="617" y="708"/>
                    </a:lnTo>
                    <a:lnTo>
                      <a:pt x="636" y="685"/>
                    </a:lnTo>
                    <a:lnTo>
                      <a:pt x="654" y="663"/>
                    </a:lnTo>
                    <a:lnTo>
                      <a:pt x="672" y="643"/>
                    </a:lnTo>
                    <a:lnTo>
                      <a:pt x="692" y="621"/>
                    </a:lnTo>
                    <a:lnTo>
                      <a:pt x="711" y="601"/>
                    </a:lnTo>
                    <a:lnTo>
                      <a:pt x="733" y="580"/>
                    </a:lnTo>
                    <a:lnTo>
                      <a:pt x="754" y="560"/>
                    </a:lnTo>
                    <a:lnTo>
                      <a:pt x="777" y="539"/>
                    </a:lnTo>
                    <a:lnTo>
                      <a:pt x="800" y="519"/>
                    </a:lnTo>
                    <a:lnTo>
                      <a:pt x="822" y="500"/>
                    </a:lnTo>
                    <a:lnTo>
                      <a:pt x="846" y="481"/>
                    </a:lnTo>
                    <a:lnTo>
                      <a:pt x="870" y="463"/>
                    </a:lnTo>
                    <a:lnTo>
                      <a:pt x="895" y="445"/>
                    </a:lnTo>
                    <a:lnTo>
                      <a:pt x="920" y="428"/>
                    </a:lnTo>
                    <a:lnTo>
                      <a:pt x="944" y="412"/>
                    </a:lnTo>
                    <a:lnTo>
                      <a:pt x="970" y="396"/>
                    </a:lnTo>
                    <a:lnTo>
                      <a:pt x="996" y="381"/>
                    </a:lnTo>
                    <a:lnTo>
                      <a:pt x="1023" y="365"/>
                    </a:lnTo>
                    <a:lnTo>
                      <a:pt x="1050" y="350"/>
                    </a:lnTo>
                    <a:lnTo>
                      <a:pt x="1077" y="336"/>
                    </a:lnTo>
                    <a:lnTo>
                      <a:pt x="1104" y="323"/>
                    </a:lnTo>
                    <a:lnTo>
                      <a:pt x="1129" y="311"/>
                    </a:lnTo>
                    <a:lnTo>
                      <a:pt x="1154" y="301"/>
                    </a:lnTo>
                    <a:lnTo>
                      <a:pt x="1177" y="290"/>
                    </a:lnTo>
                    <a:lnTo>
                      <a:pt x="1200" y="280"/>
                    </a:lnTo>
                    <a:lnTo>
                      <a:pt x="1223" y="269"/>
                    </a:lnTo>
                    <a:lnTo>
                      <a:pt x="1247" y="260"/>
                    </a:lnTo>
                    <a:lnTo>
                      <a:pt x="1268" y="250"/>
                    </a:lnTo>
                    <a:lnTo>
                      <a:pt x="1291" y="240"/>
                    </a:lnTo>
                    <a:lnTo>
                      <a:pt x="1389" y="199"/>
                    </a:lnTo>
                    <a:lnTo>
                      <a:pt x="1485" y="163"/>
                    </a:lnTo>
                    <a:lnTo>
                      <a:pt x="1532" y="144"/>
                    </a:lnTo>
                    <a:lnTo>
                      <a:pt x="1579" y="127"/>
                    </a:lnTo>
                    <a:lnTo>
                      <a:pt x="1626" y="111"/>
                    </a:lnTo>
                    <a:lnTo>
                      <a:pt x="1671" y="96"/>
                    </a:lnTo>
                    <a:lnTo>
                      <a:pt x="1718" y="80"/>
                    </a:lnTo>
                    <a:lnTo>
                      <a:pt x="1762" y="66"/>
                    </a:lnTo>
                    <a:lnTo>
                      <a:pt x="1806" y="54"/>
                    </a:lnTo>
                    <a:lnTo>
                      <a:pt x="1850" y="42"/>
                    </a:lnTo>
                    <a:lnTo>
                      <a:pt x="1894" y="30"/>
                    </a:lnTo>
                    <a:lnTo>
                      <a:pt x="1937" y="19"/>
                    </a:lnTo>
                    <a:lnTo>
                      <a:pt x="1979" y="8"/>
                    </a:lnTo>
                    <a:lnTo>
                      <a:pt x="2021" y="0"/>
                    </a:lnTo>
                    <a:lnTo>
                      <a:pt x="2026" y="0"/>
                    </a:lnTo>
                    <a:lnTo>
                      <a:pt x="2032" y="1"/>
                    </a:lnTo>
                    <a:lnTo>
                      <a:pt x="2035" y="5"/>
                    </a:lnTo>
                    <a:lnTo>
                      <a:pt x="2037" y="9"/>
                    </a:lnTo>
                    <a:lnTo>
                      <a:pt x="2037" y="15"/>
                    </a:lnTo>
                    <a:lnTo>
                      <a:pt x="2035" y="20"/>
                    </a:lnTo>
                    <a:lnTo>
                      <a:pt x="2032" y="23"/>
                    </a:lnTo>
                    <a:lnTo>
                      <a:pt x="2026" y="25"/>
                    </a:lnTo>
                    <a:lnTo>
                      <a:pt x="1985" y="35"/>
                    </a:lnTo>
                    <a:lnTo>
                      <a:pt x="1943" y="45"/>
                    </a:lnTo>
                    <a:lnTo>
                      <a:pt x="1901" y="56"/>
                    </a:lnTo>
                    <a:lnTo>
                      <a:pt x="1858" y="68"/>
                    </a:lnTo>
                    <a:lnTo>
                      <a:pt x="1814" y="79"/>
                    </a:lnTo>
                    <a:lnTo>
                      <a:pt x="1769" y="92"/>
                    </a:lnTo>
                    <a:lnTo>
                      <a:pt x="1725" y="106"/>
                    </a:lnTo>
                    <a:lnTo>
                      <a:pt x="1680" y="122"/>
                    </a:lnTo>
                    <a:lnTo>
                      <a:pt x="1634" y="137"/>
                    </a:lnTo>
                    <a:lnTo>
                      <a:pt x="1588" y="153"/>
                    </a:lnTo>
                    <a:lnTo>
                      <a:pt x="1542" y="170"/>
                    </a:lnTo>
                    <a:lnTo>
                      <a:pt x="1494" y="187"/>
                    </a:lnTo>
                    <a:lnTo>
                      <a:pt x="1399" y="225"/>
                    </a:lnTo>
                    <a:lnTo>
                      <a:pt x="1302" y="265"/>
                    </a:lnTo>
                    <a:lnTo>
                      <a:pt x="1279" y="275"/>
                    </a:lnTo>
                    <a:lnTo>
                      <a:pt x="1258" y="285"/>
                    </a:lnTo>
                    <a:lnTo>
                      <a:pt x="1235" y="294"/>
                    </a:lnTo>
                    <a:lnTo>
                      <a:pt x="1211" y="304"/>
                    </a:lnTo>
                    <a:lnTo>
                      <a:pt x="1188" y="315"/>
                    </a:lnTo>
                    <a:lnTo>
                      <a:pt x="1165" y="326"/>
                    </a:lnTo>
                    <a:lnTo>
                      <a:pt x="1141" y="336"/>
                    </a:lnTo>
                    <a:lnTo>
                      <a:pt x="1116" y="348"/>
                    </a:lnTo>
                    <a:lnTo>
                      <a:pt x="1089" y="361"/>
                    </a:lnTo>
                    <a:lnTo>
                      <a:pt x="1062" y="374"/>
                    </a:lnTo>
                    <a:lnTo>
                      <a:pt x="1036" y="389"/>
                    </a:lnTo>
                    <a:lnTo>
                      <a:pt x="1010" y="403"/>
                    </a:lnTo>
                    <a:lnTo>
                      <a:pt x="984" y="418"/>
                    </a:lnTo>
                    <a:lnTo>
                      <a:pt x="960" y="435"/>
                    </a:lnTo>
                    <a:lnTo>
                      <a:pt x="935" y="451"/>
                    </a:lnTo>
                    <a:lnTo>
                      <a:pt x="911" y="468"/>
                    </a:lnTo>
                    <a:lnTo>
                      <a:pt x="886" y="485"/>
                    </a:lnTo>
                    <a:lnTo>
                      <a:pt x="863" y="503"/>
                    </a:lnTo>
                    <a:lnTo>
                      <a:pt x="840" y="521"/>
                    </a:lnTo>
                    <a:lnTo>
                      <a:pt x="817" y="540"/>
                    </a:lnTo>
                    <a:lnTo>
                      <a:pt x="794" y="559"/>
                    </a:lnTo>
                    <a:lnTo>
                      <a:pt x="773" y="579"/>
                    </a:lnTo>
                    <a:lnTo>
                      <a:pt x="751" y="600"/>
                    </a:lnTo>
                    <a:lnTo>
                      <a:pt x="731" y="620"/>
                    </a:lnTo>
                    <a:lnTo>
                      <a:pt x="711" y="640"/>
                    </a:lnTo>
                    <a:lnTo>
                      <a:pt x="693" y="660"/>
                    </a:lnTo>
                    <a:lnTo>
                      <a:pt x="674" y="682"/>
                    </a:lnTo>
                    <a:lnTo>
                      <a:pt x="656" y="703"/>
                    </a:lnTo>
                    <a:lnTo>
                      <a:pt x="638" y="725"/>
                    </a:lnTo>
                    <a:lnTo>
                      <a:pt x="620" y="747"/>
                    </a:lnTo>
                    <a:lnTo>
                      <a:pt x="603" y="769"/>
                    </a:lnTo>
                    <a:lnTo>
                      <a:pt x="587" y="793"/>
                    </a:lnTo>
                    <a:lnTo>
                      <a:pt x="571" y="817"/>
                    </a:lnTo>
                    <a:lnTo>
                      <a:pt x="555" y="840"/>
                    </a:lnTo>
                    <a:lnTo>
                      <a:pt x="538" y="864"/>
                    </a:lnTo>
                    <a:lnTo>
                      <a:pt x="523" y="889"/>
                    </a:lnTo>
                    <a:lnTo>
                      <a:pt x="509" y="915"/>
                    </a:lnTo>
                    <a:lnTo>
                      <a:pt x="494" y="940"/>
                    </a:lnTo>
                    <a:lnTo>
                      <a:pt x="480" y="967"/>
                    </a:lnTo>
                    <a:lnTo>
                      <a:pt x="467" y="993"/>
                    </a:lnTo>
                    <a:lnTo>
                      <a:pt x="451" y="1026"/>
                    </a:lnTo>
                    <a:lnTo>
                      <a:pt x="436" y="1058"/>
                    </a:lnTo>
                    <a:lnTo>
                      <a:pt x="422" y="1091"/>
                    </a:lnTo>
                    <a:lnTo>
                      <a:pt x="410" y="1122"/>
                    </a:lnTo>
                    <a:lnTo>
                      <a:pt x="399" y="1155"/>
                    </a:lnTo>
                    <a:lnTo>
                      <a:pt x="388" y="1185"/>
                    </a:lnTo>
                    <a:lnTo>
                      <a:pt x="380" y="1216"/>
                    </a:lnTo>
                    <a:lnTo>
                      <a:pt x="372" y="1246"/>
                    </a:lnTo>
                    <a:lnTo>
                      <a:pt x="365" y="1277"/>
                    </a:lnTo>
                    <a:lnTo>
                      <a:pt x="359" y="1306"/>
                    </a:lnTo>
                    <a:lnTo>
                      <a:pt x="354" y="1336"/>
                    </a:lnTo>
                    <a:lnTo>
                      <a:pt x="351" y="1365"/>
                    </a:lnTo>
                    <a:lnTo>
                      <a:pt x="347" y="1394"/>
                    </a:lnTo>
                    <a:lnTo>
                      <a:pt x="345" y="1423"/>
                    </a:lnTo>
                    <a:lnTo>
                      <a:pt x="343" y="1453"/>
                    </a:lnTo>
                    <a:lnTo>
                      <a:pt x="343" y="1482"/>
                    </a:lnTo>
                    <a:lnTo>
                      <a:pt x="343" y="1511"/>
                    </a:lnTo>
                    <a:lnTo>
                      <a:pt x="343" y="1540"/>
                    </a:lnTo>
                    <a:lnTo>
                      <a:pt x="344" y="1569"/>
                    </a:lnTo>
                    <a:lnTo>
                      <a:pt x="346" y="1598"/>
                    </a:lnTo>
                    <a:lnTo>
                      <a:pt x="352" y="1658"/>
                    </a:lnTo>
                    <a:lnTo>
                      <a:pt x="359" y="1718"/>
                    </a:lnTo>
                    <a:lnTo>
                      <a:pt x="369" y="1780"/>
                    </a:lnTo>
                    <a:lnTo>
                      <a:pt x="380" y="1842"/>
                    </a:lnTo>
                    <a:lnTo>
                      <a:pt x="390" y="1907"/>
                    </a:lnTo>
                    <a:lnTo>
                      <a:pt x="403" y="1973"/>
                    </a:lnTo>
                    <a:lnTo>
                      <a:pt x="409" y="2006"/>
                    </a:lnTo>
                    <a:lnTo>
                      <a:pt x="415" y="2040"/>
                    </a:lnTo>
                    <a:lnTo>
                      <a:pt x="422" y="2074"/>
                    </a:lnTo>
                    <a:lnTo>
                      <a:pt x="428" y="2109"/>
                    </a:lnTo>
                    <a:lnTo>
                      <a:pt x="434" y="2143"/>
                    </a:lnTo>
                    <a:lnTo>
                      <a:pt x="440" y="2179"/>
                    </a:lnTo>
                    <a:lnTo>
                      <a:pt x="446" y="2216"/>
                    </a:lnTo>
                    <a:lnTo>
                      <a:pt x="451" y="2252"/>
                    </a:lnTo>
                    <a:lnTo>
                      <a:pt x="462" y="2313"/>
                    </a:lnTo>
                    <a:lnTo>
                      <a:pt x="473" y="2371"/>
                    </a:lnTo>
                    <a:lnTo>
                      <a:pt x="486" y="2428"/>
                    </a:lnTo>
                    <a:lnTo>
                      <a:pt x="501" y="2486"/>
                    </a:lnTo>
                    <a:lnTo>
                      <a:pt x="517" y="2541"/>
                    </a:lnTo>
                    <a:lnTo>
                      <a:pt x="535" y="2596"/>
                    </a:lnTo>
                    <a:lnTo>
                      <a:pt x="556" y="2650"/>
                    </a:lnTo>
                    <a:lnTo>
                      <a:pt x="577" y="2704"/>
                    </a:lnTo>
                    <a:lnTo>
                      <a:pt x="601" y="2755"/>
                    </a:lnTo>
                    <a:lnTo>
                      <a:pt x="626" y="2807"/>
                    </a:lnTo>
                    <a:lnTo>
                      <a:pt x="653" y="2859"/>
                    </a:lnTo>
                    <a:lnTo>
                      <a:pt x="682" y="2910"/>
                    </a:lnTo>
                    <a:lnTo>
                      <a:pt x="713" y="2961"/>
                    </a:lnTo>
                    <a:lnTo>
                      <a:pt x="746" y="3010"/>
                    </a:lnTo>
                    <a:lnTo>
                      <a:pt x="781" y="3060"/>
                    </a:lnTo>
                    <a:lnTo>
                      <a:pt x="818" y="3110"/>
                    </a:lnTo>
                    <a:lnTo>
                      <a:pt x="843" y="3142"/>
                    </a:lnTo>
                    <a:lnTo>
                      <a:pt x="869" y="3173"/>
                    </a:lnTo>
                    <a:lnTo>
                      <a:pt x="894" y="3203"/>
                    </a:lnTo>
                    <a:lnTo>
                      <a:pt x="919" y="3233"/>
                    </a:lnTo>
                    <a:lnTo>
                      <a:pt x="942" y="3261"/>
                    </a:lnTo>
                    <a:lnTo>
                      <a:pt x="966" y="3288"/>
                    </a:lnTo>
                    <a:lnTo>
                      <a:pt x="990" y="3314"/>
                    </a:lnTo>
                    <a:lnTo>
                      <a:pt x="1012" y="3338"/>
                    </a:lnTo>
                    <a:lnTo>
                      <a:pt x="1026" y="3355"/>
                    </a:lnTo>
                    <a:lnTo>
                      <a:pt x="1041" y="3370"/>
                    </a:lnTo>
                    <a:lnTo>
                      <a:pt x="1053" y="3385"/>
                    </a:lnTo>
                    <a:lnTo>
                      <a:pt x="1066" y="3400"/>
                    </a:lnTo>
                    <a:lnTo>
                      <a:pt x="1092" y="3428"/>
                    </a:lnTo>
                    <a:lnTo>
                      <a:pt x="1115" y="3456"/>
                    </a:lnTo>
                    <a:lnTo>
                      <a:pt x="1134" y="3482"/>
                    </a:lnTo>
                    <a:lnTo>
                      <a:pt x="1153" y="3506"/>
                    </a:lnTo>
                    <a:lnTo>
                      <a:pt x="1168" y="3529"/>
                    </a:lnTo>
                    <a:lnTo>
                      <a:pt x="1181" y="3552"/>
                    </a:lnTo>
                    <a:lnTo>
                      <a:pt x="1186" y="3564"/>
                    </a:lnTo>
                    <a:lnTo>
                      <a:pt x="1192" y="3575"/>
                    </a:lnTo>
                    <a:lnTo>
                      <a:pt x="1196" y="3586"/>
                    </a:lnTo>
                    <a:lnTo>
                      <a:pt x="1199" y="3596"/>
                    </a:lnTo>
                    <a:lnTo>
                      <a:pt x="1210" y="3635"/>
                    </a:lnTo>
                    <a:lnTo>
                      <a:pt x="1221" y="3675"/>
                    </a:lnTo>
                    <a:lnTo>
                      <a:pt x="1231" y="3715"/>
                    </a:lnTo>
                    <a:lnTo>
                      <a:pt x="1238" y="3756"/>
                    </a:lnTo>
                    <a:lnTo>
                      <a:pt x="1245" y="3797"/>
                    </a:lnTo>
                    <a:lnTo>
                      <a:pt x="1249" y="3838"/>
                    </a:lnTo>
                    <a:lnTo>
                      <a:pt x="1251" y="3859"/>
                    </a:lnTo>
                    <a:lnTo>
                      <a:pt x="1251" y="3880"/>
                    </a:lnTo>
                    <a:lnTo>
                      <a:pt x="1251" y="3901"/>
                    </a:lnTo>
                    <a:lnTo>
                      <a:pt x="1251" y="3922"/>
                    </a:lnTo>
                    <a:lnTo>
                      <a:pt x="1250" y="3944"/>
                    </a:lnTo>
                    <a:lnTo>
                      <a:pt x="1248" y="3966"/>
                    </a:lnTo>
                    <a:lnTo>
                      <a:pt x="1245" y="3987"/>
                    </a:lnTo>
                    <a:lnTo>
                      <a:pt x="1241" y="4010"/>
                    </a:lnTo>
                    <a:lnTo>
                      <a:pt x="1237" y="4032"/>
                    </a:lnTo>
                    <a:lnTo>
                      <a:pt x="1232" y="4055"/>
                    </a:lnTo>
                    <a:lnTo>
                      <a:pt x="1225" y="4078"/>
                    </a:lnTo>
                    <a:lnTo>
                      <a:pt x="1219" y="4100"/>
                    </a:lnTo>
                    <a:lnTo>
                      <a:pt x="1210" y="4124"/>
                    </a:lnTo>
                    <a:lnTo>
                      <a:pt x="1200" y="4148"/>
                    </a:lnTo>
                    <a:lnTo>
                      <a:pt x="1191" y="4172"/>
                    </a:lnTo>
                    <a:lnTo>
                      <a:pt x="1179" y="4197"/>
                    </a:lnTo>
                    <a:lnTo>
                      <a:pt x="1166" y="4221"/>
                    </a:lnTo>
                    <a:lnTo>
                      <a:pt x="1153" y="4246"/>
                    </a:lnTo>
                    <a:lnTo>
                      <a:pt x="1138" y="4272"/>
                    </a:lnTo>
                    <a:lnTo>
                      <a:pt x="1122" y="4298"/>
                    </a:lnTo>
                    <a:lnTo>
                      <a:pt x="1103" y="4322"/>
                    </a:lnTo>
                    <a:lnTo>
                      <a:pt x="1083" y="4344"/>
                    </a:lnTo>
                    <a:lnTo>
                      <a:pt x="1058" y="4367"/>
                    </a:lnTo>
                    <a:lnTo>
                      <a:pt x="1031" y="4389"/>
                    </a:lnTo>
                    <a:lnTo>
                      <a:pt x="1001" y="4410"/>
                    </a:lnTo>
                    <a:lnTo>
                      <a:pt x="967" y="4432"/>
                    </a:lnTo>
                    <a:lnTo>
                      <a:pt x="933" y="4451"/>
                    </a:lnTo>
                    <a:lnTo>
                      <a:pt x="895" y="4472"/>
                    </a:lnTo>
                    <a:lnTo>
                      <a:pt x="856" y="4490"/>
                    </a:lnTo>
                    <a:lnTo>
                      <a:pt x="815" y="4510"/>
                    </a:lnTo>
                    <a:lnTo>
                      <a:pt x="773" y="4527"/>
                    </a:lnTo>
                    <a:lnTo>
                      <a:pt x="730" y="4544"/>
                    </a:lnTo>
                    <a:lnTo>
                      <a:pt x="686" y="4561"/>
                    </a:lnTo>
                    <a:lnTo>
                      <a:pt x="642" y="4577"/>
                    </a:lnTo>
                    <a:lnTo>
                      <a:pt x="597" y="4593"/>
                    </a:lnTo>
                    <a:lnTo>
                      <a:pt x="551" y="4607"/>
                    </a:lnTo>
                    <a:lnTo>
                      <a:pt x="463" y="4634"/>
                    </a:lnTo>
                    <a:lnTo>
                      <a:pt x="376" y="4659"/>
                    </a:lnTo>
                    <a:lnTo>
                      <a:pt x="294" y="4680"/>
                    </a:lnTo>
                    <a:lnTo>
                      <a:pt x="220" y="4698"/>
                    </a:lnTo>
                    <a:lnTo>
                      <a:pt x="154" y="4714"/>
                    </a:lnTo>
                    <a:lnTo>
                      <a:pt x="98" y="4727"/>
                    </a:lnTo>
                    <a:lnTo>
                      <a:pt x="55" y="4735"/>
                    </a:lnTo>
                    <a:lnTo>
                      <a:pt x="27" y="4741"/>
                    </a:lnTo>
                    <a:lnTo>
                      <a:pt x="27" y="4758"/>
                    </a:lnTo>
                    <a:lnTo>
                      <a:pt x="27" y="4783"/>
                    </a:lnTo>
                    <a:lnTo>
                      <a:pt x="28" y="4814"/>
                    </a:lnTo>
                    <a:lnTo>
                      <a:pt x="30" y="4851"/>
                    </a:lnTo>
                    <a:lnTo>
                      <a:pt x="32" y="4871"/>
                    </a:lnTo>
                    <a:lnTo>
                      <a:pt x="34" y="4892"/>
                    </a:lnTo>
                    <a:lnTo>
                      <a:pt x="37" y="4914"/>
                    </a:lnTo>
                    <a:lnTo>
                      <a:pt x="42" y="4937"/>
                    </a:lnTo>
                    <a:lnTo>
                      <a:pt x="47" y="4961"/>
                    </a:lnTo>
                    <a:lnTo>
                      <a:pt x="53" y="4986"/>
                    </a:lnTo>
                    <a:lnTo>
                      <a:pt x="60" y="5010"/>
                    </a:lnTo>
                    <a:lnTo>
                      <a:pt x="68" y="5036"/>
                    </a:lnTo>
                    <a:lnTo>
                      <a:pt x="76" y="5061"/>
                    </a:lnTo>
                    <a:lnTo>
                      <a:pt x="87" y="5087"/>
                    </a:lnTo>
                    <a:lnTo>
                      <a:pt x="98" y="5113"/>
                    </a:lnTo>
                    <a:lnTo>
                      <a:pt x="111" y="5139"/>
                    </a:lnTo>
                    <a:lnTo>
                      <a:pt x="125" y="5165"/>
                    </a:lnTo>
                    <a:lnTo>
                      <a:pt x="140" y="5191"/>
                    </a:lnTo>
                    <a:lnTo>
                      <a:pt x="157" y="5216"/>
                    </a:lnTo>
                    <a:lnTo>
                      <a:pt x="177" y="5240"/>
                    </a:lnTo>
                    <a:lnTo>
                      <a:pt x="197" y="5264"/>
                    </a:lnTo>
                    <a:lnTo>
                      <a:pt x="219" y="5287"/>
                    </a:lnTo>
                    <a:lnTo>
                      <a:pt x="243" y="5309"/>
                    </a:lnTo>
                    <a:lnTo>
                      <a:pt x="268" y="5331"/>
                    </a:lnTo>
                    <a:lnTo>
                      <a:pt x="297" y="5352"/>
                    </a:lnTo>
                    <a:lnTo>
                      <a:pt x="327" y="5371"/>
                    </a:lnTo>
                    <a:lnTo>
                      <a:pt x="358" y="5388"/>
                    </a:lnTo>
                    <a:lnTo>
                      <a:pt x="393" y="5404"/>
                    </a:lnTo>
                    <a:lnTo>
                      <a:pt x="414" y="5413"/>
                    </a:lnTo>
                    <a:lnTo>
                      <a:pt x="443" y="5422"/>
                    </a:lnTo>
                    <a:lnTo>
                      <a:pt x="480" y="5431"/>
                    </a:lnTo>
                    <a:lnTo>
                      <a:pt x="522" y="5440"/>
                    </a:lnTo>
                    <a:lnTo>
                      <a:pt x="571" y="5450"/>
                    </a:lnTo>
                    <a:lnTo>
                      <a:pt x="625" y="5460"/>
                    </a:lnTo>
                    <a:lnTo>
                      <a:pt x="683" y="5469"/>
                    </a:lnTo>
                    <a:lnTo>
                      <a:pt x="748" y="5479"/>
                    </a:lnTo>
                    <a:lnTo>
                      <a:pt x="817" y="5488"/>
                    </a:lnTo>
                    <a:lnTo>
                      <a:pt x="890" y="5497"/>
                    </a:lnTo>
                    <a:lnTo>
                      <a:pt x="967" y="5507"/>
                    </a:lnTo>
                    <a:lnTo>
                      <a:pt x="1048" y="5517"/>
                    </a:lnTo>
                    <a:lnTo>
                      <a:pt x="1220" y="5534"/>
                    </a:lnTo>
                    <a:lnTo>
                      <a:pt x="1402" y="5551"/>
                    </a:lnTo>
                    <a:lnTo>
                      <a:pt x="1592" y="5567"/>
                    </a:lnTo>
                    <a:lnTo>
                      <a:pt x="1787" y="5580"/>
                    </a:lnTo>
                    <a:lnTo>
                      <a:pt x="1886" y="5587"/>
                    </a:lnTo>
                    <a:lnTo>
                      <a:pt x="1984" y="5592"/>
                    </a:lnTo>
                    <a:lnTo>
                      <a:pt x="2084" y="5598"/>
                    </a:lnTo>
                    <a:lnTo>
                      <a:pt x="2182" y="5602"/>
                    </a:lnTo>
                    <a:lnTo>
                      <a:pt x="2280" y="5606"/>
                    </a:lnTo>
                    <a:lnTo>
                      <a:pt x="2376" y="5610"/>
                    </a:lnTo>
                    <a:lnTo>
                      <a:pt x="2472" y="5612"/>
                    </a:lnTo>
                    <a:lnTo>
                      <a:pt x="2565" y="5613"/>
                    </a:lnTo>
                    <a:lnTo>
                      <a:pt x="2657" y="5614"/>
                    </a:lnTo>
                    <a:lnTo>
                      <a:pt x="2747" y="5613"/>
                    </a:lnTo>
                    <a:lnTo>
                      <a:pt x="2833" y="5612"/>
                    </a:lnTo>
                    <a:lnTo>
                      <a:pt x="2916" y="5610"/>
                    </a:lnTo>
                    <a:lnTo>
                      <a:pt x="2918" y="5576"/>
                    </a:lnTo>
                    <a:lnTo>
                      <a:pt x="2918" y="5540"/>
                    </a:lnTo>
                    <a:lnTo>
                      <a:pt x="2914" y="5503"/>
                    </a:lnTo>
                    <a:lnTo>
                      <a:pt x="2909" y="5462"/>
                    </a:lnTo>
                    <a:lnTo>
                      <a:pt x="2899" y="5420"/>
                    </a:lnTo>
                    <a:lnTo>
                      <a:pt x="2888" y="5375"/>
                    </a:lnTo>
                    <a:lnTo>
                      <a:pt x="2874" y="5330"/>
                    </a:lnTo>
                    <a:lnTo>
                      <a:pt x="2858" y="5282"/>
                    </a:lnTo>
                    <a:lnTo>
                      <a:pt x="2841" y="5233"/>
                    </a:lnTo>
                    <a:lnTo>
                      <a:pt x="2821" y="5183"/>
                    </a:lnTo>
                    <a:lnTo>
                      <a:pt x="2800" y="5132"/>
                    </a:lnTo>
                    <a:lnTo>
                      <a:pt x="2776" y="5081"/>
                    </a:lnTo>
                    <a:lnTo>
                      <a:pt x="2752" y="5028"/>
                    </a:lnTo>
                    <a:lnTo>
                      <a:pt x="2726" y="4975"/>
                    </a:lnTo>
                    <a:lnTo>
                      <a:pt x="2699" y="4921"/>
                    </a:lnTo>
                    <a:lnTo>
                      <a:pt x="2671" y="4867"/>
                    </a:lnTo>
                    <a:lnTo>
                      <a:pt x="2643" y="4813"/>
                    </a:lnTo>
                    <a:lnTo>
                      <a:pt x="2613" y="4759"/>
                    </a:lnTo>
                    <a:lnTo>
                      <a:pt x="2584" y="4706"/>
                    </a:lnTo>
                    <a:lnTo>
                      <a:pt x="2552" y="4652"/>
                    </a:lnTo>
                    <a:lnTo>
                      <a:pt x="2492" y="4547"/>
                    </a:lnTo>
                    <a:lnTo>
                      <a:pt x="2430" y="4446"/>
                    </a:lnTo>
                    <a:lnTo>
                      <a:pt x="2371" y="4349"/>
                    </a:lnTo>
                    <a:lnTo>
                      <a:pt x="2314" y="4257"/>
                    </a:lnTo>
                    <a:lnTo>
                      <a:pt x="2260" y="4173"/>
                    </a:lnTo>
                    <a:lnTo>
                      <a:pt x="2211" y="4097"/>
                    </a:lnTo>
                    <a:lnTo>
                      <a:pt x="2189" y="4063"/>
                    </a:lnTo>
                    <a:lnTo>
                      <a:pt x="2169" y="4031"/>
                    </a:lnTo>
                    <a:lnTo>
                      <a:pt x="2151" y="4001"/>
                    </a:lnTo>
                    <a:lnTo>
                      <a:pt x="2133" y="3974"/>
                    </a:lnTo>
                    <a:lnTo>
                      <a:pt x="2118" y="3949"/>
                    </a:lnTo>
                    <a:lnTo>
                      <a:pt x="2104" y="3928"/>
                    </a:lnTo>
                    <a:lnTo>
                      <a:pt x="2093" y="3908"/>
                    </a:lnTo>
                    <a:lnTo>
                      <a:pt x="2085" y="3892"/>
                    </a:lnTo>
                    <a:lnTo>
                      <a:pt x="2056" y="3840"/>
                    </a:lnTo>
                    <a:lnTo>
                      <a:pt x="2026" y="3787"/>
                    </a:lnTo>
                    <a:lnTo>
                      <a:pt x="1996" y="3736"/>
                    </a:lnTo>
                    <a:lnTo>
                      <a:pt x="1966" y="3684"/>
                    </a:lnTo>
                    <a:lnTo>
                      <a:pt x="1935" y="3632"/>
                    </a:lnTo>
                    <a:lnTo>
                      <a:pt x="1904" y="3581"/>
                    </a:lnTo>
                    <a:lnTo>
                      <a:pt x="1873" y="3531"/>
                    </a:lnTo>
                    <a:lnTo>
                      <a:pt x="1842" y="3480"/>
                    </a:lnTo>
                    <a:lnTo>
                      <a:pt x="1810" y="3430"/>
                    </a:lnTo>
                    <a:lnTo>
                      <a:pt x="1779" y="3382"/>
                    </a:lnTo>
                    <a:lnTo>
                      <a:pt x="1749" y="3333"/>
                    </a:lnTo>
                    <a:lnTo>
                      <a:pt x="1718" y="3285"/>
                    </a:lnTo>
                    <a:lnTo>
                      <a:pt x="1687" y="3238"/>
                    </a:lnTo>
                    <a:lnTo>
                      <a:pt x="1656" y="3192"/>
                    </a:lnTo>
                    <a:lnTo>
                      <a:pt x="1627" y="3145"/>
                    </a:lnTo>
                    <a:lnTo>
                      <a:pt x="1597" y="3100"/>
                    </a:lnTo>
                    <a:lnTo>
                      <a:pt x="1555" y="3036"/>
                    </a:lnTo>
                    <a:lnTo>
                      <a:pt x="1513" y="2973"/>
                    </a:lnTo>
                    <a:lnTo>
                      <a:pt x="1474" y="2912"/>
                    </a:lnTo>
                    <a:lnTo>
                      <a:pt x="1435" y="2850"/>
                    </a:lnTo>
                    <a:lnTo>
                      <a:pt x="1397" y="2791"/>
                    </a:lnTo>
                    <a:lnTo>
                      <a:pt x="1360" y="2733"/>
                    </a:lnTo>
                    <a:lnTo>
                      <a:pt x="1326" y="2676"/>
                    </a:lnTo>
                    <a:lnTo>
                      <a:pt x="1292" y="2619"/>
                    </a:lnTo>
                    <a:lnTo>
                      <a:pt x="1261" y="2564"/>
                    </a:lnTo>
                    <a:lnTo>
                      <a:pt x="1232" y="2510"/>
                    </a:lnTo>
                    <a:lnTo>
                      <a:pt x="1204" y="2458"/>
                    </a:lnTo>
                    <a:lnTo>
                      <a:pt x="1179" y="2407"/>
                    </a:lnTo>
                    <a:lnTo>
                      <a:pt x="1156" y="2356"/>
                    </a:lnTo>
                    <a:lnTo>
                      <a:pt x="1136" y="2306"/>
                    </a:lnTo>
                    <a:lnTo>
                      <a:pt x="1117" y="2259"/>
                    </a:lnTo>
                    <a:lnTo>
                      <a:pt x="1102" y="2211"/>
                    </a:lnTo>
                    <a:lnTo>
                      <a:pt x="1101" y="2206"/>
                    </a:lnTo>
                    <a:lnTo>
                      <a:pt x="1103" y="2202"/>
                    </a:lnTo>
                    <a:lnTo>
                      <a:pt x="1106" y="2197"/>
                    </a:lnTo>
                    <a:lnTo>
                      <a:pt x="1111" y="2195"/>
                    </a:lnTo>
                    <a:lnTo>
                      <a:pt x="1116" y="2194"/>
                    </a:lnTo>
                    <a:lnTo>
                      <a:pt x="1122" y="2196"/>
                    </a:lnTo>
                    <a:lnTo>
                      <a:pt x="1125" y="2200"/>
                    </a:lnTo>
                    <a:lnTo>
                      <a:pt x="1128" y="2204"/>
                    </a:lnTo>
                    <a:lnTo>
                      <a:pt x="1143" y="2250"/>
                    </a:lnTo>
                    <a:lnTo>
                      <a:pt x="1160" y="2298"/>
                    </a:lnTo>
                    <a:lnTo>
                      <a:pt x="1181" y="2346"/>
                    </a:lnTo>
                    <a:lnTo>
                      <a:pt x="1204" y="2396"/>
                    </a:lnTo>
                    <a:lnTo>
                      <a:pt x="1228" y="2448"/>
                    </a:lnTo>
                    <a:lnTo>
                      <a:pt x="1256" y="2500"/>
                    </a:lnTo>
                    <a:lnTo>
                      <a:pt x="1286" y="2552"/>
                    </a:lnTo>
                    <a:lnTo>
                      <a:pt x="1317" y="2608"/>
                    </a:lnTo>
                    <a:lnTo>
                      <a:pt x="1349" y="2664"/>
                    </a:lnTo>
                    <a:lnTo>
                      <a:pt x="1384" y="2720"/>
                    </a:lnTo>
                    <a:lnTo>
                      <a:pt x="1421" y="2778"/>
                    </a:lnTo>
                    <a:lnTo>
                      <a:pt x="1458" y="2837"/>
                    </a:lnTo>
                    <a:lnTo>
                      <a:pt x="1497" y="2898"/>
                    </a:lnTo>
                    <a:lnTo>
                      <a:pt x="1537" y="2959"/>
                    </a:lnTo>
                    <a:lnTo>
                      <a:pt x="1577" y="3022"/>
                    </a:lnTo>
                    <a:lnTo>
                      <a:pt x="1619" y="3085"/>
                    </a:lnTo>
                    <a:lnTo>
                      <a:pt x="1648" y="3130"/>
                    </a:lnTo>
                    <a:lnTo>
                      <a:pt x="1679" y="3176"/>
                    </a:lnTo>
                    <a:lnTo>
                      <a:pt x="1710" y="3223"/>
                    </a:lnTo>
                    <a:lnTo>
                      <a:pt x="1740" y="3270"/>
                    </a:lnTo>
                    <a:lnTo>
                      <a:pt x="1772" y="3319"/>
                    </a:lnTo>
                    <a:lnTo>
                      <a:pt x="1803" y="3368"/>
                    </a:lnTo>
                    <a:lnTo>
                      <a:pt x="1834" y="3416"/>
                    </a:lnTo>
                    <a:lnTo>
                      <a:pt x="1866" y="3466"/>
                    </a:lnTo>
                    <a:lnTo>
                      <a:pt x="1897" y="3516"/>
                    </a:lnTo>
                    <a:lnTo>
                      <a:pt x="1927" y="3567"/>
                    </a:lnTo>
                    <a:lnTo>
                      <a:pt x="1958" y="3618"/>
                    </a:lnTo>
                    <a:lnTo>
                      <a:pt x="1989" y="3670"/>
                    </a:lnTo>
                    <a:lnTo>
                      <a:pt x="2020" y="3722"/>
                    </a:lnTo>
                    <a:lnTo>
                      <a:pt x="2049" y="3774"/>
                    </a:lnTo>
                    <a:lnTo>
                      <a:pt x="2079" y="3826"/>
                    </a:lnTo>
                    <a:lnTo>
                      <a:pt x="2108" y="3879"/>
                    </a:lnTo>
                    <a:lnTo>
                      <a:pt x="2117" y="3895"/>
                    </a:lnTo>
                    <a:lnTo>
                      <a:pt x="2128" y="3914"/>
                    </a:lnTo>
                    <a:lnTo>
                      <a:pt x="2141" y="3936"/>
                    </a:lnTo>
                    <a:lnTo>
                      <a:pt x="2156" y="3960"/>
                    </a:lnTo>
                    <a:lnTo>
                      <a:pt x="2173" y="3987"/>
                    </a:lnTo>
                    <a:lnTo>
                      <a:pt x="2193" y="4017"/>
                    </a:lnTo>
                    <a:lnTo>
                      <a:pt x="2212" y="4049"/>
                    </a:lnTo>
                    <a:lnTo>
                      <a:pt x="2234" y="4082"/>
                    </a:lnTo>
                    <a:lnTo>
                      <a:pt x="2287" y="4165"/>
                    </a:lnTo>
                    <a:lnTo>
                      <a:pt x="2344" y="4255"/>
                    </a:lnTo>
                    <a:lnTo>
                      <a:pt x="2403" y="4350"/>
                    </a:lnTo>
                    <a:lnTo>
                      <a:pt x="2465" y="4450"/>
                    </a:lnTo>
                    <a:lnTo>
                      <a:pt x="2529" y="4555"/>
                    </a:lnTo>
                    <a:lnTo>
                      <a:pt x="2590" y="4662"/>
                    </a:lnTo>
                    <a:lnTo>
                      <a:pt x="2621" y="4717"/>
                    </a:lnTo>
                    <a:lnTo>
                      <a:pt x="2652" y="4771"/>
                    </a:lnTo>
                    <a:lnTo>
                      <a:pt x="2681" y="4826"/>
                    </a:lnTo>
                    <a:lnTo>
                      <a:pt x="2709" y="4880"/>
                    </a:lnTo>
                    <a:lnTo>
                      <a:pt x="2737" y="4934"/>
                    </a:lnTo>
                    <a:lnTo>
                      <a:pt x="2764" y="4988"/>
                    </a:lnTo>
                    <a:lnTo>
                      <a:pt x="2789" y="5042"/>
                    </a:lnTo>
                    <a:lnTo>
                      <a:pt x="2813" y="5095"/>
                    </a:lnTo>
                    <a:lnTo>
                      <a:pt x="2835" y="5146"/>
                    </a:lnTo>
                    <a:lnTo>
                      <a:pt x="2857" y="5197"/>
                    </a:lnTo>
                    <a:lnTo>
                      <a:pt x="2875" y="5247"/>
                    </a:lnTo>
                    <a:lnTo>
                      <a:pt x="2892" y="5297"/>
                    </a:lnTo>
                    <a:lnTo>
                      <a:pt x="2908" y="5344"/>
                    </a:lnTo>
                    <a:lnTo>
                      <a:pt x="2920" y="5389"/>
                    </a:lnTo>
                    <a:lnTo>
                      <a:pt x="2930" y="5434"/>
                    </a:lnTo>
                    <a:lnTo>
                      <a:pt x="2938" y="5477"/>
                    </a:lnTo>
                    <a:lnTo>
                      <a:pt x="2943" y="5517"/>
                    </a:lnTo>
                    <a:lnTo>
                      <a:pt x="2945" y="5556"/>
                    </a:lnTo>
                    <a:lnTo>
                      <a:pt x="2944" y="5591"/>
                    </a:lnTo>
                    <a:lnTo>
                      <a:pt x="2941" y="5626"/>
                    </a:lnTo>
                    <a:lnTo>
                      <a:pt x="2940" y="5630"/>
                    </a:lnTo>
                    <a:lnTo>
                      <a:pt x="2937" y="5633"/>
                    </a:lnTo>
                    <a:lnTo>
                      <a:pt x="2932" y="5635"/>
                    </a:lnTo>
                    <a:lnTo>
                      <a:pt x="2928" y="5637"/>
                    </a:lnTo>
                    <a:lnTo>
                      <a:pt x="2897" y="5638"/>
                    </a:lnTo>
                    <a:lnTo>
                      <a:pt x="2865" y="5639"/>
                    </a:lnTo>
                    <a:lnTo>
                      <a:pt x="2834" y="5639"/>
                    </a:lnTo>
                    <a:lnTo>
                      <a:pt x="2802" y="5640"/>
                    </a:lnTo>
                    <a:lnTo>
                      <a:pt x="2769" y="5640"/>
                    </a:lnTo>
                    <a:lnTo>
                      <a:pt x="2737" y="5641"/>
                    </a:lnTo>
                    <a:lnTo>
                      <a:pt x="2703" y="5641"/>
                    </a:lnTo>
                    <a:lnTo>
                      <a:pt x="2670" y="56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57"/>
              <p:cNvSpPr>
                <a:spLocks/>
              </p:cNvSpPr>
              <p:nvPr userDrawn="1"/>
            </p:nvSpPr>
            <p:spPr bwMode="auto">
              <a:xfrm>
                <a:off x="1743" y="1977"/>
                <a:ext cx="39" cy="179"/>
              </a:xfrm>
              <a:custGeom>
                <a:avLst/>
                <a:gdLst>
                  <a:gd name="T0" fmla="*/ 47 w 115"/>
                  <a:gd name="T1" fmla="*/ 537 h 537"/>
                  <a:gd name="T2" fmla="*/ 43 w 115"/>
                  <a:gd name="T3" fmla="*/ 537 h 537"/>
                  <a:gd name="T4" fmla="*/ 38 w 115"/>
                  <a:gd name="T5" fmla="*/ 535 h 537"/>
                  <a:gd name="T6" fmla="*/ 35 w 115"/>
                  <a:gd name="T7" fmla="*/ 532 h 537"/>
                  <a:gd name="T8" fmla="*/ 34 w 115"/>
                  <a:gd name="T9" fmla="*/ 527 h 537"/>
                  <a:gd name="T10" fmla="*/ 24 w 115"/>
                  <a:gd name="T11" fmla="*/ 495 h 537"/>
                  <a:gd name="T12" fmla="*/ 17 w 115"/>
                  <a:gd name="T13" fmla="*/ 460 h 537"/>
                  <a:gd name="T14" fmla="*/ 10 w 115"/>
                  <a:gd name="T15" fmla="*/ 426 h 537"/>
                  <a:gd name="T16" fmla="*/ 5 w 115"/>
                  <a:gd name="T17" fmla="*/ 390 h 537"/>
                  <a:gd name="T18" fmla="*/ 2 w 115"/>
                  <a:gd name="T19" fmla="*/ 355 h 537"/>
                  <a:gd name="T20" fmla="*/ 0 w 115"/>
                  <a:gd name="T21" fmla="*/ 318 h 537"/>
                  <a:gd name="T22" fmla="*/ 0 w 115"/>
                  <a:gd name="T23" fmla="*/ 282 h 537"/>
                  <a:gd name="T24" fmla="*/ 2 w 115"/>
                  <a:gd name="T25" fmla="*/ 247 h 537"/>
                  <a:gd name="T26" fmla="*/ 5 w 115"/>
                  <a:gd name="T27" fmla="*/ 212 h 537"/>
                  <a:gd name="T28" fmla="*/ 10 w 115"/>
                  <a:gd name="T29" fmla="*/ 178 h 537"/>
                  <a:gd name="T30" fmla="*/ 14 w 115"/>
                  <a:gd name="T31" fmla="*/ 161 h 537"/>
                  <a:gd name="T32" fmla="*/ 18 w 115"/>
                  <a:gd name="T33" fmla="*/ 144 h 537"/>
                  <a:gd name="T34" fmla="*/ 23 w 115"/>
                  <a:gd name="T35" fmla="*/ 128 h 537"/>
                  <a:gd name="T36" fmla="*/ 29 w 115"/>
                  <a:gd name="T37" fmla="*/ 113 h 537"/>
                  <a:gd name="T38" fmla="*/ 34 w 115"/>
                  <a:gd name="T39" fmla="*/ 98 h 537"/>
                  <a:gd name="T40" fmla="*/ 41 w 115"/>
                  <a:gd name="T41" fmla="*/ 83 h 537"/>
                  <a:gd name="T42" fmla="*/ 47 w 115"/>
                  <a:gd name="T43" fmla="*/ 68 h 537"/>
                  <a:gd name="T44" fmla="*/ 55 w 115"/>
                  <a:gd name="T45" fmla="*/ 55 h 537"/>
                  <a:gd name="T46" fmla="*/ 63 w 115"/>
                  <a:gd name="T47" fmla="*/ 41 h 537"/>
                  <a:gd name="T48" fmla="*/ 72 w 115"/>
                  <a:gd name="T49" fmla="*/ 28 h 537"/>
                  <a:gd name="T50" fmla="*/ 82 w 115"/>
                  <a:gd name="T51" fmla="*/ 16 h 537"/>
                  <a:gd name="T52" fmla="*/ 92 w 115"/>
                  <a:gd name="T53" fmla="*/ 4 h 537"/>
                  <a:gd name="T54" fmla="*/ 97 w 115"/>
                  <a:gd name="T55" fmla="*/ 1 h 537"/>
                  <a:gd name="T56" fmla="*/ 101 w 115"/>
                  <a:gd name="T57" fmla="*/ 0 h 537"/>
                  <a:gd name="T58" fmla="*/ 106 w 115"/>
                  <a:gd name="T59" fmla="*/ 0 h 537"/>
                  <a:gd name="T60" fmla="*/ 111 w 115"/>
                  <a:gd name="T61" fmla="*/ 3 h 537"/>
                  <a:gd name="T62" fmla="*/ 114 w 115"/>
                  <a:gd name="T63" fmla="*/ 7 h 537"/>
                  <a:gd name="T64" fmla="*/ 115 w 115"/>
                  <a:gd name="T65" fmla="*/ 12 h 537"/>
                  <a:gd name="T66" fmla="*/ 115 w 115"/>
                  <a:gd name="T67" fmla="*/ 17 h 537"/>
                  <a:gd name="T68" fmla="*/ 112 w 115"/>
                  <a:gd name="T69" fmla="*/ 22 h 537"/>
                  <a:gd name="T70" fmla="*/ 102 w 115"/>
                  <a:gd name="T71" fmla="*/ 33 h 537"/>
                  <a:gd name="T72" fmla="*/ 93 w 115"/>
                  <a:gd name="T73" fmla="*/ 45 h 537"/>
                  <a:gd name="T74" fmla="*/ 85 w 115"/>
                  <a:gd name="T75" fmla="*/ 57 h 537"/>
                  <a:gd name="T76" fmla="*/ 77 w 115"/>
                  <a:gd name="T77" fmla="*/ 70 h 537"/>
                  <a:gd name="T78" fmla="*/ 71 w 115"/>
                  <a:gd name="T79" fmla="*/ 83 h 537"/>
                  <a:gd name="T80" fmla="*/ 63 w 115"/>
                  <a:gd name="T81" fmla="*/ 96 h 537"/>
                  <a:gd name="T82" fmla="*/ 58 w 115"/>
                  <a:gd name="T83" fmla="*/ 111 h 537"/>
                  <a:gd name="T84" fmla="*/ 52 w 115"/>
                  <a:gd name="T85" fmla="*/ 125 h 537"/>
                  <a:gd name="T86" fmla="*/ 47 w 115"/>
                  <a:gd name="T87" fmla="*/ 140 h 537"/>
                  <a:gd name="T88" fmla="*/ 43 w 115"/>
                  <a:gd name="T89" fmla="*/ 155 h 537"/>
                  <a:gd name="T90" fmla="*/ 39 w 115"/>
                  <a:gd name="T91" fmla="*/ 170 h 537"/>
                  <a:gd name="T92" fmla="*/ 36 w 115"/>
                  <a:gd name="T93" fmla="*/ 186 h 537"/>
                  <a:gd name="T94" fmla="*/ 31 w 115"/>
                  <a:gd name="T95" fmla="*/ 219 h 537"/>
                  <a:gd name="T96" fmla="*/ 28 w 115"/>
                  <a:gd name="T97" fmla="*/ 252 h 537"/>
                  <a:gd name="T98" fmla="*/ 27 w 115"/>
                  <a:gd name="T99" fmla="*/ 286 h 537"/>
                  <a:gd name="T100" fmla="*/ 27 w 115"/>
                  <a:gd name="T101" fmla="*/ 320 h 537"/>
                  <a:gd name="T102" fmla="*/ 29 w 115"/>
                  <a:gd name="T103" fmla="*/ 355 h 537"/>
                  <a:gd name="T104" fmla="*/ 32 w 115"/>
                  <a:gd name="T105" fmla="*/ 388 h 537"/>
                  <a:gd name="T106" fmla="*/ 37 w 115"/>
                  <a:gd name="T107" fmla="*/ 423 h 537"/>
                  <a:gd name="T108" fmla="*/ 43 w 115"/>
                  <a:gd name="T109" fmla="*/ 456 h 537"/>
                  <a:gd name="T110" fmla="*/ 50 w 115"/>
                  <a:gd name="T111" fmla="*/ 489 h 537"/>
                  <a:gd name="T112" fmla="*/ 60 w 115"/>
                  <a:gd name="T113" fmla="*/ 520 h 537"/>
                  <a:gd name="T114" fmla="*/ 60 w 115"/>
                  <a:gd name="T115" fmla="*/ 525 h 537"/>
                  <a:gd name="T116" fmla="*/ 59 w 115"/>
                  <a:gd name="T117" fmla="*/ 531 h 537"/>
                  <a:gd name="T118" fmla="*/ 56 w 115"/>
                  <a:gd name="T119" fmla="*/ 534 h 537"/>
                  <a:gd name="T120" fmla="*/ 50 w 115"/>
                  <a:gd name="T121" fmla="*/ 537 h 537"/>
                  <a:gd name="T122" fmla="*/ 48 w 115"/>
                  <a:gd name="T123" fmla="*/ 537 h 537"/>
                  <a:gd name="T124" fmla="*/ 47 w 115"/>
                  <a:gd name="T125"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 h="537">
                    <a:moveTo>
                      <a:pt x="47" y="537"/>
                    </a:moveTo>
                    <a:lnTo>
                      <a:pt x="43" y="537"/>
                    </a:lnTo>
                    <a:lnTo>
                      <a:pt x="38" y="535"/>
                    </a:lnTo>
                    <a:lnTo>
                      <a:pt x="35" y="532"/>
                    </a:lnTo>
                    <a:lnTo>
                      <a:pt x="34" y="527"/>
                    </a:lnTo>
                    <a:lnTo>
                      <a:pt x="24" y="495"/>
                    </a:lnTo>
                    <a:lnTo>
                      <a:pt x="17" y="460"/>
                    </a:lnTo>
                    <a:lnTo>
                      <a:pt x="10" y="426"/>
                    </a:lnTo>
                    <a:lnTo>
                      <a:pt x="5" y="390"/>
                    </a:lnTo>
                    <a:lnTo>
                      <a:pt x="2" y="355"/>
                    </a:lnTo>
                    <a:lnTo>
                      <a:pt x="0" y="318"/>
                    </a:lnTo>
                    <a:lnTo>
                      <a:pt x="0" y="282"/>
                    </a:lnTo>
                    <a:lnTo>
                      <a:pt x="2" y="247"/>
                    </a:lnTo>
                    <a:lnTo>
                      <a:pt x="5" y="212"/>
                    </a:lnTo>
                    <a:lnTo>
                      <a:pt x="10" y="178"/>
                    </a:lnTo>
                    <a:lnTo>
                      <a:pt x="14" y="161"/>
                    </a:lnTo>
                    <a:lnTo>
                      <a:pt x="18" y="144"/>
                    </a:lnTo>
                    <a:lnTo>
                      <a:pt x="23" y="128"/>
                    </a:lnTo>
                    <a:lnTo>
                      <a:pt x="29" y="113"/>
                    </a:lnTo>
                    <a:lnTo>
                      <a:pt x="34" y="98"/>
                    </a:lnTo>
                    <a:lnTo>
                      <a:pt x="41" y="83"/>
                    </a:lnTo>
                    <a:lnTo>
                      <a:pt x="47" y="68"/>
                    </a:lnTo>
                    <a:lnTo>
                      <a:pt x="55" y="55"/>
                    </a:lnTo>
                    <a:lnTo>
                      <a:pt x="63" y="41"/>
                    </a:lnTo>
                    <a:lnTo>
                      <a:pt x="72" y="28"/>
                    </a:lnTo>
                    <a:lnTo>
                      <a:pt x="82" y="16"/>
                    </a:lnTo>
                    <a:lnTo>
                      <a:pt x="92" y="4"/>
                    </a:lnTo>
                    <a:lnTo>
                      <a:pt x="97" y="1"/>
                    </a:lnTo>
                    <a:lnTo>
                      <a:pt x="101" y="0"/>
                    </a:lnTo>
                    <a:lnTo>
                      <a:pt x="106" y="0"/>
                    </a:lnTo>
                    <a:lnTo>
                      <a:pt x="111" y="3"/>
                    </a:lnTo>
                    <a:lnTo>
                      <a:pt x="114" y="7"/>
                    </a:lnTo>
                    <a:lnTo>
                      <a:pt x="115" y="12"/>
                    </a:lnTo>
                    <a:lnTo>
                      <a:pt x="115" y="17"/>
                    </a:lnTo>
                    <a:lnTo>
                      <a:pt x="112" y="22"/>
                    </a:lnTo>
                    <a:lnTo>
                      <a:pt x="102" y="33"/>
                    </a:lnTo>
                    <a:lnTo>
                      <a:pt x="93" y="45"/>
                    </a:lnTo>
                    <a:lnTo>
                      <a:pt x="85" y="57"/>
                    </a:lnTo>
                    <a:lnTo>
                      <a:pt x="77" y="70"/>
                    </a:lnTo>
                    <a:lnTo>
                      <a:pt x="71" y="83"/>
                    </a:lnTo>
                    <a:lnTo>
                      <a:pt x="63" y="96"/>
                    </a:lnTo>
                    <a:lnTo>
                      <a:pt x="58" y="111"/>
                    </a:lnTo>
                    <a:lnTo>
                      <a:pt x="52" y="125"/>
                    </a:lnTo>
                    <a:lnTo>
                      <a:pt x="47" y="140"/>
                    </a:lnTo>
                    <a:lnTo>
                      <a:pt x="43" y="155"/>
                    </a:lnTo>
                    <a:lnTo>
                      <a:pt x="39" y="170"/>
                    </a:lnTo>
                    <a:lnTo>
                      <a:pt x="36" y="186"/>
                    </a:lnTo>
                    <a:lnTo>
                      <a:pt x="31" y="219"/>
                    </a:lnTo>
                    <a:lnTo>
                      <a:pt x="28" y="252"/>
                    </a:lnTo>
                    <a:lnTo>
                      <a:pt x="27" y="286"/>
                    </a:lnTo>
                    <a:lnTo>
                      <a:pt x="27" y="320"/>
                    </a:lnTo>
                    <a:lnTo>
                      <a:pt x="29" y="355"/>
                    </a:lnTo>
                    <a:lnTo>
                      <a:pt x="32" y="388"/>
                    </a:lnTo>
                    <a:lnTo>
                      <a:pt x="37" y="423"/>
                    </a:lnTo>
                    <a:lnTo>
                      <a:pt x="43" y="456"/>
                    </a:lnTo>
                    <a:lnTo>
                      <a:pt x="50" y="489"/>
                    </a:lnTo>
                    <a:lnTo>
                      <a:pt x="60" y="520"/>
                    </a:lnTo>
                    <a:lnTo>
                      <a:pt x="60" y="525"/>
                    </a:lnTo>
                    <a:lnTo>
                      <a:pt x="59" y="531"/>
                    </a:lnTo>
                    <a:lnTo>
                      <a:pt x="56" y="534"/>
                    </a:lnTo>
                    <a:lnTo>
                      <a:pt x="50" y="537"/>
                    </a:lnTo>
                    <a:lnTo>
                      <a:pt x="48" y="537"/>
                    </a:lnTo>
                    <a:lnTo>
                      <a:pt x="47" y="5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58"/>
              <p:cNvSpPr>
                <a:spLocks/>
              </p:cNvSpPr>
              <p:nvPr userDrawn="1"/>
            </p:nvSpPr>
            <p:spPr bwMode="auto">
              <a:xfrm>
                <a:off x="2057" y="1399"/>
                <a:ext cx="387" cy="114"/>
              </a:xfrm>
              <a:custGeom>
                <a:avLst/>
                <a:gdLst>
                  <a:gd name="T0" fmla="*/ 1143 w 1160"/>
                  <a:gd name="T1" fmla="*/ 343 h 344"/>
                  <a:gd name="T2" fmla="*/ 1137 w 1160"/>
                  <a:gd name="T3" fmla="*/ 341 h 344"/>
                  <a:gd name="T4" fmla="*/ 1117 w 1160"/>
                  <a:gd name="T5" fmla="*/ 311 h 344"/>
                  <a:gd name="T6" fmla="*/ 1076 w 1160"/>
                  <a:gd name="T7" fmla="*/ 261 h 344"/>
                  <a:gd name="T8" fmla="*/ 1030 w 1160"/>
                  <a:gd name="T9" fmla="*/ 217 h 344"/>
                  <a:gd name="T10" fmla="*/ 981 w 1160"/>
                  <a:gd name="T11" fmla="*/ 176 h 344"/>
                  <a:gd name="T12" fmla="*/ 928 w 1160"/>
                  <a:gd name="T13" fmla="*/ 141 h 344"/>
                  <a:gd name="T14" fmla="*/ 871 w 1160"/>
                  <a:gd name="T15" fmla="*/ 110 h 344"/>
                  <a:gd name="T16" fmla="*/ 808 w 1160"/>
                  <a:gd name="T17" fmla="*/ 84 h 344"/>
                  <a:gd name="T18" fmla="*/ 742 w 1160"/>
                  <a:gd name="T19" fmla="*/ 63 h 344"/>
                  <a:gd name="T20" fmla="*/ 672 w 1160"/>
                  <a:gd name="T21" fmla="*/ 47 h 344"/>
                  <a:gd name="T22" fmla="*/ 598 w 1160"/>
                  <a:gd name="T23" fmla="*/ 35 h 344"/>
                  <a:gd name="T24" fmla="*/ 520 w 1160"/>
                  <a:gd name="T25" fmla="*/ 29 h 344"/>
                  <a:gd name="T26" fmla="*/ 438 w 1160"/>
                  <a:gd name="T27" fmla="*/ 27 h 344"/>
                  <a:gd name="T28" fmla="*/ 351 w 1160"/>
                  <a:gd name="T29" fmla="*/ 30 h 344"/>
                  <a:gd name="T30" fmla="*/ 260 w 1160"/>
                  <a:gd name="T31" fmla="*/ 37 h 344"/>
                  <a:gd name="T32" fmla="*/ 166 w 1160"/>
                  <a:gd name="T33" fmla="*/ 49 h 344"/>
                  <a:gd name="T34" fmla="*/ 67 w 1160"/>
                  <a:gd name="T35" fmla="*/ 67 h 344"/>
                  <a:gd name="T36" fmla="*/ 11 w 1160"/>
                  <a:gd name="T37" fmla="*/ 77 h 344"/>
                  <a:gd name="T38" fmla="*/ 3 w 1160"/>
                  <a:gd name="T39" fmla="*/ 72 h 344"/>
                  <a:gd name="T40" fmla="*/ 0 w 1160"/>
                  <a:gd name="T41" fmla="*/ 62 h 344"/>
                  <a:gd name="T42" fmla="*/ 7 w 1160"/>
                  <a:gd name="T43" fmla="*/ 54 h 344"/>
                  <a:gd name="T44" fmla="*/ 63 w 1160"/>
                  <a:gd name="T45" fmla="*/ 41 h 344"/>
                  <a:gd name="T46" fmla="*/ 163 w 1160"/>
                  <a:gd name="T47" fmla="*/ 22 h 344"/>
                  <a:gd name="T48" fmla="*/ 260 w 1160"/>
                  <a:gd name="T49" fmla="*/ 11 h 344"/>
                  <a:gd name="T50" fmla="*/ 353 w 1160"/>
                  <a:gd name="T51" fmla="*/ 2 h 344"/>
                  <a:gd name="T52" fmla="*/ 441 w 1160"/>
                  <a:gd name="T53" fmla="*/ 0 h 344"/>
                  <a:gd name="T54" fmla="*/ 526 w 1160"/>
                  <a:gd name="T55" fmla="*/ 2 h 344"/>
                  <a:gd name="T56" fmla="*/ 606 w 1160"/>
                  <a:gd name="T57" fmla="*/ 9 h 344"/>
                  <a:gd name="T58" fmla="*/ 682 w 1160"/>
                  <a:gd name="T59" fmla="*/ 21 h 344"/>
                  <a:gd name="T60" fmla="*/ 754 w 1160"/>
                  <a:gd name="T61" fmla="*/ 37 h 344"/>
                  <a:gd name="T62" fmla="*/ 821 w 1160"/>
                  <a:gd name="T63" fmla="*/ 60 h 344"/>
                  <a:gd name="T64" fmla="*/ 885 w 1160"/>
                  <a:gd name="T65" fmla="*/ 87 h 344"/>
                  <a:gd name="T66" fmla="*/ 944 w 1160"/>
                  <a:gd name="T67" fmla="*/ 118 h 344"/>
                  <a:gd name="T68" fmla="*/ 999 w 1160"/>
                  <a:gd name="T69" fmla="*/ 155 h 344"/>
                  <a:gd name="T70" fmla="*/ 1050 w 1160"/>
                  <a:gd name="T71" fmla="*/ 197 h 344"/>
                  <a:gd name="T72" fmla="*/ 1096 w 1160"/>
                  <a:gd name="T73" fmla="*/ 244 h 344"/>
                  <a:gd name="T74" fmla="*/ 1138 w 1160"/>
                  <a:gd name="T75" fmla="*/ 295 h 344"/>
                  <a:gd name="T76" fmla="*/ 1160 w 1160"/>
                  <a:gd name="T77" fmla="*/ 328 h 344"/>
                  <a:gd name="T78" fmla="*/ 1158 w 1160"/>
                  <a:gd name="T79" fmla="*/ 338 h 344"/>
                  <a:gd name="T80" fmla="*/ 1150 w 1160"/>
                  <a:gd name="T81" fmla="*/ 3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60" h="344">
                    <a:moveTo>
                      <a:pt x="1146" y="344"/>
                    </a:moveTo>
                    <a:lnTo>
                      <a:pt x="1143" y="343"/>
                    </a:lnTo>
                    <a:lnTo>
                      <a:pt x="1140" y="342"/>
                    </a:lnTo>
                    <a:lnTo>
                      <a:pt x="1137" y="341"/>
                    </a:lnTo>
                    <a:lnTo>
                      <a:pt x="1135" y="338"/>
                    </a:lnTo>
                    <a:lnTo>
                      <a:pt x="1117" y="311"/>
                    </a:lnTo>
                    <a:lnTo>
                      <a:pt x="1096" y="286"/>
                    </a:lnTo>
                    <a:lnTo>
                      <a:pt x="1076" y="261"/>
                    </a:lnTo>
                    <a:lnTo>
                      <a:pt x="1053" y="238"/>
                    </a:lnTo>
                    <a:lnTo>
                      <a:pt x="1030" y="217"/>
                    </a:lnTo>
                    <a:lnTo>
                      <a:pt x="1007" y="196"/>
                    </a:lnTo>
                    <a:lnTo>
                      <a:pt x="981" y="176"/>
                    </a:lnTo>
                    <a:lnTo>
                      <a:pt x="955" y="157"/>
                    </a:lnTo>
                    <a:lnTo>
                      <a:pt x="928" y="141"/>
                    </a:lnTo>
                    <a:lnTo>
                      <a:pt x="900" y="125"/>
                    </a:lnTo>
                    <a:lnTo>
                      <a:pt x="871" y="110"/>
                    </a:lnTo>
                    <a:lnTo>
                      <a:pt x="839" y="97"/>
                    </a:lnTo>
                    <a:lnTo>
                      <a:pt x="808" y="84"/>
                    </a:lnTo>
                    <a:lnTo>
                      <a:pt x="776" y="73"/>
                    </a:lnTo>
                    <a:lnTo>
                      <a:pt x="742" y="63"/>
                    </a:lnTo>
                    <a:lnTo>
                      <a:pt x="707" y="55"/>
                    </a:lnTo>
                    <a:lnTo>
                      <a:pt x="672" y="47"/>
                    </a:lnTo>
                    <a:lnTo>
                      <a:pt x="636" y="41"/>
                    </a:lnTo>
                    <a:lnTo>
                      <a:pt x="598" y="35"/>
                    </a:lnTo>
                    <a:lnTo>
                      <a:pt x="560" y="31"/>
                    </a:lnTo>
                    <a:lnTo>
                      <a:pt x="520" y="29"/>
                    </a:lnTo>
                    <a:lnTo>
                      <a:pt x="480" y="27"/>
                    </a:lnTo>
                    <a:lnTo>
                      <a:pt x="438" y="27"/>
                    </a:lnTo>
                    <a:lnTo>
                      <a:pt x="394" y="28"/>
                    </a:lnTo>
                    <a:lnTo>
                      <a:pt x="351" y="30"/>
                    </a:lnTo>
                    <a:lnTo>
                      <a:pt x="307" y="33"/>
                    </a:lnTo>
                    <a:lnTo>
                      <a:pt x="260" y="37"/>
                    </a:lnTo>
                    <a:lnTo>
                      <a:pt x="214" y="43"/>
                    </a:lnTo>
                    <a:lnTo>
                      <a:pt x="166" y="49"/>
                    </a:lnTo>
                    <a:lnTo>
                      <a:pt x="117" y="58"/>
                    </a:lnTo>
                    <a:lnTo>
                      <a:pt x="67" y="67"/>
                    </a:lnTo>
                    <a:lnTo>
                      <a:pt x="16" y="77"/>
                    </a:lnTo>
                    <a:lnTo>
                      <a:pt x="11" y="77"/>
                    </a:lnTo>
                    <a:lnTo>
                      <a:pt x="7" y="75"/>
                    </a:lnTo>
                    <a:lnTo>
                      <a:pt x="3" y="72"/>
                    </a:lnTo>
                    <a:lnTo>
                      <a:pt x="0" y="68"/>
                    </a:lnTo>
                    <a:lnTo>
                      <a:pt x="0" y="62"/>
                    </a:lnTo>
                    <a:lnTo>
                      <a:pt x="2" y="57"/>
                    </a:lnTo>
                    <a:lnTo>
                      <a:pt x="7" y="54"/>
                    </a:lnTo>
                    <a:lnTo>
                      <a:pt x="11" y="52"/>
                    </a:lnTo>
                    <a:lnTo>
                      <a:pt x="63" y="41"/>
                    </a:lnTo>
                    <a:lnTo>
                      <a:pt x="114" y="31"/>
                    </a:lnTo>
                    <a:lnTo>
                      <a:pt x="163" y="22"/>
                    </a:lnTo>
                    <a:lnTo>
                      <a:pt x="213" y="16"/>
                    </a:lnTo>
                    <a:lnTo>
                      <a:pt x="260" y="11"/>
                    </a:lnTo>
                    <a:lnTo>
                      <a:pt x="307" y="5"/>
                    </a:lnTo>
                    <a:lnTo>
                      <a:pt x="353" y="2"/>
                    </a:lnTo>
                    <a:lnTo>
                      <a:pt x="398" y="1"/>
                    </a:lnTo>
                    <a:lnTo>
                      <a:pt x="441" y="0"/>
                    </a:lnTo>
                    <a:lnTo>
                      <a:pt x="484" y="0"/>
                    </a:lnTo>
                    <a:lnTo>
                      <a:pt x="526" y="2"/>
                    </a:lnTo>
                    <a:lnTo>
                      <a:pt x="566" y="5"/>
                    </a:lnTo>
                    <a:lnTo>
                      <a:pt x="606" y="9"/>
                    </a:lnTo>
                    <a:lnTo>
                      <a:pt x="644" y="15"/>
                    </a:lnTo>
                    <a:lnTo>
                      <a:pt x="682" y="21"/>
                    </a:lnTo>
                    <a:lnTo>
                      <a:pt x="718" y="29"/>
                    </a:lnTo>
                    <a:lnTo>
                      <a:pt x="754" y="37"/>
                    </a:lnTo>
                    <a:lnTo>
                      <a:pt x="787" y="48"/>
                    </a:lnTo>
                    <a:lnTo>
                      <a:pt x="821" y="60"/>
                    </a:lnTo>
                    <a:lnTo>
                      <a:pt x="853" y="73"/>
                    </a:lnTo>
                    <a:lnTo>
                      <a:pt x="885" y="87"/>
                    </a:lnTo>
                    <a:lnTo>
                      <a:pt x="915" y="102"/>
                    </a:lnTo>
                    <a:lnTo>
                      <a:pt x="944" y="118"/>
                    </a:lnTo>
                    <a:lnTo>
                      <a:pt x="972" y="137"/>
                    </a:lnTo>
                    <a:lnTo>
                      <a:pt x="999" y="155"/>
                    </a:lnTo>
                    <a:lnTo>
                      <a:pt x="1025" y="176"/>
                    </a:lnTo>
                    <a:lnTo>
                      <a:pt x="1050" y="197"/>
                    </a:lnTo>
                    <a:lnTo>
                      <a:pt x="1074" y="220"/>
                    </a:lnTo>
                    <a:lnTo>
                      <a:pt x="1096" y="244"/>
                    </a:lnTo>
                    <a:lnTo>
                      <a:pt x="1118" y="269"/>
                    </a:lnTo>
                    <a:lnTo>
                      <a:pt x="1138" y="295"/>
                    </a:lnTo>
                    <a:lnTo>
                      <a:pt x="1158" y="322"/>
                    </a:lnTo>
                    <a:lnTo>
                      <a:pt x="1160" y="328"/>
                    </a:lnTo>
                    <a:lnTo>
                      <a:pt x="1160" y="333"/>
                    </a:lnTo>
                    <a:lnTo>
                      <a:pt x="1158" y="338"/>
                    </a:lnTo>
                    <a:lnTo>
                      <a:pt x="1153" y="342"/>
                    </a:lnTo>
                    <a:lnTo>
                      <a:pt x="1150" y="343"/>
                    </a:lnTo>
                    <a:lnTo>
                      <a:pt x="1146" y="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59"/>
              <p:cNvSpPr>
                <a:spLocks noEditPoints="1"/>
              </p:cNvSpPr>
              <p:nvPr userDrawn="1"/>
            </p:nvSpPr>
            <p:spPr bwMode="auto">
              <a:xfrm>
                <a:off x="1514" y="1372"/>
                <a:ext cx="1162" cy="996"/>
              </a:xfrm>
              <a:custGeom>
                <a:avLst/>
                <a:gdLst>
                  <a:gd name="T0" fmla="*/ 1446 w 3484"/>
                  <a:gd name="T1" fmla="*/ 2952 h 2986"/>
                  <a:gd name="T2" fmla="*/ 1182 w 3484"/>
                  <a:gd name="T3" fmla="*/ 2797 h 2986"/>
                  <a:gd name="T4" fmla="*/ 789 w 3484"/>
                  <a:gd name="T5" fmla="*/ 2395 h 2986"/>
                  <a:gd name="T6" fmla="*/ 358 w 3484"/>
                  <a:gd name="T7" fmla="*/ 1822 h 2986"/>
                  <a:gd name="T8" fmla="*/ 87 w 3484"/>
                  <a:gd name="T9" fmla="*/ 1321 h 2986"/>
                  <a:gd name="T10" fmla="*/ 6 w 3484"/>
                  <a:gd name="T11" fmla="*/ 1042 h 2986"/>
                  <a:gd name="T12" fmla="*/ 157 w 3484"/>
                  <a:gd name="T13" fmla="*/ 781 h 2986"/>
                  <a:gd name="T14" fmla="*/ 476 w 3484"/>
                  <a:gd name="T15" fmla="*/ 436 h 2986"/>
                  <a:gd name="T16" fmla="*/ 749 w 3484"/>
                  <a:gd name="T17" fmla="*/ 240 h 2986"/>
                  <a:gd name="T18" fmla="*/ 1293 w 3484"/>
                  <a:gd name="T19" fmla="*/ 63 h 2986"/>
                  <a:gd name="T20" fmla="*/ 1832 w 3484"/>
                  <a:gd name="T21" fmla="*/ 0 h 2986"/>
                  <a:gd name="T22" fmla="*/ 2311 w 3484"/>
                  <a:gd name="T23" fmla="*/ 66 h 2986"/>
                  <a:gd name="T24" fmla="*/ 2628 w 3484"/>
                  <a:gd name="T25" fmla="*/ 233 h 2986"/>
                  <a:gd name="T26" fmla="*/ 2831 w 3484"/>
                  <a:gd name="T27" fmla="*/ 461 h 2986"/>
                  <a:gd name="T28" fmla="*/ 3043 w 3484"/>
                  <a:gd name="T29" fmla="*/ 747 h 2986"/>
                  <a:gd name="T30" fmla="*/ 3187 w 3484"/>
                  <a:gd name="T31" fmla="*/ 1003 h 2986"/>
                  <a:gd name="T32" fmla="*/ 3268 w 3484"/>
                  <a:gd name="T33" fmla="*/ 1212 h 2986"/>
                  <a:gd name="T34" fmla="*/ 3305 w 3484"/>
                  <a:gd name="T35" fmla="*/ 1464 h 2986"/>
                  <a:gd name="T36" fmla="*/ 3336 w 3484"/>
                  <a:gd name="T37" fmla="*/ 1815 h 2986"/>
                  <a:gd name="T38" fmla="*/ 3441 w 3484"/>
                  <a:gd name="T39" fmla="*/ 2207 h 2986"/>
                  <a:gd name="T40" fmla="*/ 3481 w 3484"/>
                  <a:gd name="T41" fmla="*/ 2460 h 2986"/>
                  <a:gd name="T42" fmla="*/ 3482 w 3484"/>
                  <a:gd name="T43" fmla="*/ 2502 h 2986"/>
                  <a:gd name="T44" fmla="*/ 3474 w 3484"/>
                  <a:gd name="T45" fmla="*/ 2569 h 2986"/>
                  <a:gd name="T46" fmla="*/ 3440 w 3484"/>
                  <a:gd name="T47" fmla="*/ 2660 h 2986"/>
                  <a:gd name="T48" fmla="*/ 3431 w 3484"/>
                  <a:gd name="T49" fmla="*/ 2522 h 2986"/>
                  <a:gd name="T50" fmla="*/ 3385 w 3484"/>
                  <a:gd name="T51" fmla="*/ 2369 h 2986"/>
                  <a:gd name="T52" fmla="*/ 3301 w 3484"/>
                  <a:gd name="T53" fmla="*/ 2310 h 2986"/>
                  <a:gd name="T54" fmla="*/ 3110 w 3484"/>
                  <a:gd name="T55" fmla="*/ 2301 h 2986"/>
                  <a:gd name="T56" fmla="*/ 2888 w 3484"/>
                  <a:gd name="T57" fmla="*/ 2383 h 2986"/>
                  <a:gd name="T58" fmla="*/ 2643 w 3484"/>
                  <a:gd name="T59" fmla="*/ 2573 h 2986"/>
                  <a:gd name="T60" fmla="*/ 2257 w 3484"/>
                  <a:gd name="T61" fmla="*/ 2829 h 2986"/>
                  <a:gd name="T62" fmla="*/ 1914 w 3484"/>
                  <a:gd name="T63" fmla="*/ 2951 h 2986"/>
                  <a:gd name="T64" fmla="*/ 1650 w 3484"/>
                  <a:gd name="T65" fmla="*/ 2986 h 2986"/>
                  <a:gd name="T66" fmla="*/ 80 w 3484"/>
                  <a:gd name="T67" fmla="*/ 1220 h 2986"/>
                  <a:gd name="T68" fmla="*/ 259 w 3484"/>
                  <a:gd name="T69" fmla="*/ 1614 h 2986"/>
                  <a:gd name="T70" fmla="*/ 669 w 3484"/>
                  <a:gd name="T71" fmla="*/ 2206 h 2986"/>
                  <a:gd name="T72" fmla="*/ 1081 w 3484"/>
                  <a:gd name="T73" fmla="*/ 2668 h 2986"/>
                  <a:gd name="T74" fmla="*/ 1369 w 3484"/>
                  <a:gd name="T75" fmla="*/ 2890 h 2986"/>
                  <a:gd name="T76" fmla="*/ 1625 w 3484"/>
                  <a:gd name="T77" fmla="*/ 2959 h 2986"/>
                  <a:gd name="T78" fmla="*/ 1896 w 3484"/>
                  <a:gd name="T79" fmla="*/ 2927 h 2986"/>
                  <a:gd name="T80" fmla="*/ 2245 w 3484"/>
                  <a:gd name="T81" fmla="*/ 2804 h 2986"/>
                  <a:gd name="T82" fmla="*/ 2626 w 3484"/>
                  <a:gd name="T83" fmla="*/ 2553 h 2986"/>
                  <a:gd name="T84" fmla="*/ 2876 w 3484"/>
                  <a:gd name="T85" fmla="*/ 2360 h 2986"/>
                  <a:gd name="T86" fmla="*/ 3107 w 3484"/>
                  <a:gd name="T87" fmla="*/ 2274 h 2986"/>
                  <a:gd name="T88" fmla="*/ 3309 w 3484"/>
                  <a:gd name="T89" fmla="*/ 2284 h 2986"/>
                  <a:gd name="T90" fmla="*/ 3422 w 3484"/>
                  <a:gd name="T91" fmla="*/ 2376 h 2986"/>
                  <a:gd name="T92" fmla="*/ 3453 w 3484"/>
                  <a:gd name="T93" fmla="*/ 2433 h 2986"/>
                  <a:gd name="T94" fmla="*/ 3373 w 3484"/>
                  <a:gd name="T95" fmla="*/ 2085 h 2986"/>
                  <a:gd name="T96" fmla="*/ 3290 w 3484"/>
                  <a:gd name="T97" fmla="*/ 1658 h 2986"/>
                  <a:gd name="T98" fmla="*/ 3274 w 3484"/>
                  <a:gd name="T99" fmla="*/ 1395 h 2986"/>
                  <a:gd name="T100" fmla="*/ 3208 w 3484"/>
                  <a:gd name="T101" fmla="*/ 1123 h 2986"/>
                  <a:gd name="T102" fmla="*/ 3127 w 3484"/>
                  <a:gd name="T103" fmla="*/ 935 h 2986"/>
                  <a:gd name="T104" fmla="*/ 2914 w 3484"/>
                  <a:gd name="T105" fmla="*/ 618 h 2986"/>
                  <a:gd name="T106" fmla="*/ 2736 w 3484"/>
                  <a:gd name="T107" fmla="*/ 382 h 2986"/>
                  <a:gd name="T108" fmla="*/ 2539 w 3484"/>
                  <a:gd name="T109" fmla="*/ 200 h 2986"/>
                  <a:gd name="T110" fmla="*/ 2157 w 3484"/>
                  <a:gd name="T111" fmla="*/ 55 h 2986"/>
                  <a:gd name="T112" fmla="*/ 1654 w 3484"/>
                  <a:gd name="T113" fmla="*/ 34 h 2986"/>
                  <a:gd name="T114" fmla="*/ 1121 w 3484"/>
                  <a:gd name="T115" fmla="*/ 135 h 2986"/>
                  <a:gd name="T116" fmla="*/ 676 w 3484"/>
                  <a:gd name="T117" fmla="*/ 311 h 2986"/>
                  <a:gd name="T118" fmla="*/ 407 w 3484"/>
                  <a:gd name="T119" fmla="*/ 541 h 2986"/>
                  <a:gd name="T120" fmla="*/ 36 w 3484"/>
                  <a:gd name="T121" fmla="*/ 993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84" h="2986">
                    <a:moveTo>
                      <a:pt x="1650" y="2986"/>
                    </a:moveTo>
                    <a:lnTo>
                      <a:pt x="1637" y="2986"/>
                    </a:lnTo>
                    <a:lnTo>
                      <a:pt x="1624" y="2986"/>
                    </a:lnTo>
                    <a:lnTo>
                      <a:pt x="1594" y="2984"/>
                    </a:lnTo>
                    <a:lnTo>
                      <a:pt x="1564" y="2980"/>
                    </a:lnTo>
                    <a:lnTo>
                      <a:pt x="1534" y="2976"/>
                    </a:lnTo>
                    <a:lnTo>
                      <a:pt x="1505" y="2970"/>
                    </a:lnTo>
                    <a:lnTo>
                      <a:pt x="1475" y="2962"/>
                    </a:lnTo>
                    <a:lnTo>
                      <a:pt x="1446" y="2952"/>
                    </a:lnTo>
                    <a:lnTo>
                      <a:pt x="1416" y="2941"/>
                    </a:lnTo>
                    <a:lnTo>
                      <a:pt x="1386" y="2929"/>
                    </a:lnTo>
                    <a:lnTo>
                      <a:pt x="1357" y="2915"/>
                    </a:lnTo>
                    <a:lnTo>
                      <a:pt x="1328" y="2899"/>
                    </a:lnTo>
                    <a:lnTo>
                      <a:pt x="1299" y="2882"/>
                    </a:lnTo>
                    <a:lnTo>
                      <a:pt x="1270" y="2863"/>
                    </a:lnTo>
                    <a:lnTo>
                      <a:pt x="1240" y="2843"/>
                    </a:lnTo>
                    <a:lnTo>
                      <a:pt x="1211" y="2821"/>
                    </a:lnTo>
                    <a:lnTo>
                      <a:pt x="1182" y="2797"/>
                    </a:lnTo>
                    <a:lnTo>
                      <a:pt x="1153" y="2772"/>
                    </a:lnTo>
                    <a:lnTo>
                      <a:pt x="1108" y="2731"/>
                    </a:lnTo>
                    <a:lnTo>
                      <a:pt x="1062" y="2688"/>
                    </a:lnTo>
                    <a:lnTo>
                      <a:pt x="1017" y="2644"/>
                    </a:lnTo>
                    <a:lnTo>
                      <a:pt x="972" y="2598"/>
                    </a:lnTo>
                    <a:lnTo>
                      <a:pt x="926" y="2550"/>
                    </a:lnTo>
                    <a:lnTo>
                      <a:pt x="881" y="2500"/>
                    </a:lnTo>
                    <a:lnTo>
                      <a:pt x="834" y="2449"/>
                    </a:lnTo>
                    <a:lnTo>
                      <a:pt x="789" y="2395"/>
                    </a:lnTo>
                    <a:lnTo>
                      <a:pt x="743" y="2340"/>
                    </a:lnTo>
                    <a:lnTo>
                      <a:pt x="695" y="2283"/>
                    </a:lnTo>
                    <a:lnTo>
                      <a:pt x="649" y="2224"/>
                    </a:lnTo>
                    <a:lnTo>
                      <a:pt x="601" y="2161"/>
                    </a:lnTo>
                    <a:lnTo>
                      <a:pt x="553" y="2097"/>
                    </a:lnTo>
                    <a:lnTo>
                      <a:pt x="504" y="2031"/>
                    </a:lnTo>
                    <a:lnTo>
                      <a:pt x="455" y="1962"/>
                    </a:lnTo>
                    <a:lnTo>
                      <a:pt x="406" y="1891"/>
                    </a:lnTo>
                    <a:lnTo>
                      <a:pt x="358" y="1822"/>
                    </a:lnTo>
                    <a:lnTo>
                      <a:pt x="314" y="1755"/>
                    </a:lnTo>
                    <a:lnTo>
                      <a:pt x="273" y="1689"/>
                    </a:lnTo>
                    <a:lnTo>
                      <a:pt x="236" y="1627"/>
                    </a:lnTo>
                    <a:lnTo>
                      <a:pt x="201" y="1564"/>
                    </a:lnTo>
                    <a:lnTo>
                      <a:pt x="169" y="1504"/>
                    </a:lnTo>
                    <a:lnTo>
                      <a:pt x="140" y="1444"/>
                    </a:lnTo>
                    <a:lnTo>
                      <a:pt x="113" y="1385"/>
                    </a:lnTo>
                    <a:lnTo>
                      <a:pt x="100" y="1354"/>
                    </a:lnTo>
                    <a:lnTo>
                      <a:pt x="87" y="1321"/>
                    </a:lnTo>
                    <a:lnTo>
                      <a:pt x="75" y="1290"/>
                    </a:lnTo>
                    <a:lnTo>
                      <a:pt x="65" y="1259"/>
                    </a:lnTo>
                    <a:lnTo>
                      <a:pt x="54" y="1228"/>
                    </a:lnTo>
                    <a:lnTo>
                      <a:pt x="44" y="1197"/>
                    </a:lnTo>
                    <a:lnTo>
                      <a:pt x="35" y="1167"/>
                    </a:lnTo>
                    <a:lnTo>
                      <a:pt x="27" y="1136"/>
                    </a:lnTo>
                    <a:lnTo>
                      <a:pt x="19" y="1104"/>
                    </a:lnTo>
                    <a:lnTo>
                      <a:pt x="12" y="1073"/>
                    </a:lnTo>
                    <a:lnTo>
                      <a:pt x="6" y="1042"/>
                    </a:lnTo>
                    <a:lnTo>
                      <a:pt x="0" y="1010"/>
                    </a:lnTo>
                    <a:lnTo>
                      <a:pt x="1" y="1005"/>
                    </a:lnTo>
                    <a:lnTo>
                      <a:pt x="4" y="996"/>
                    </a:lnTo>
                    <a:lnTo>
                      <a:pt x="11" y="984"/>
                    </a:lnTo>
                    <a:lnTo>
                      <a:pt x="18" y="970"/>
                    </a:lnTo>
                    <a:lnTo>
                      <a:pt x="42" y="935"/>
                    </a:lnTo>
                    <a:lnTo>
                      <a:pt x="73" y="890"/>
                    </a:lnTo>
                    <a:lnTo>
                      <a:pt x="112" y="839"/>
                    </a:lnTo>
                    <a:lnTo>
                      <a:pt x="157" y="781"/>
                    </a:lnTo>
                    <a:lnTo>
                      <a:pt x="207" y="721"/>
                    </a:lnTo>
                    <a:lnTo>
                      <a:pt x="262" y="657"/>
                    </a:lnTo>
                    <a:lnTo>
                      <a:pt x="291" y="625"/>
                    </a:lnTo>
                    <a:lnTo>
                      <a:pt x="320" y="593"/>
                    </a:lnTo>
                    <a:lnTo>
                      <a:pt x="351" y="560"/>
                    </a:lnTo>
                    <a:lnTo>
                      <a:pt x="382" y="528"/>
                    </a:lnTo>
                    <a:lnTo>
                      <a:pt x="413" y="496"/>
                    </a:lnTo>
                    <a:lnTo>
                      <a:pt x="445" y="466"/>
                    </a:lnTo>
                    <a:lnTo>
                      <a:pt x="476" y="436"/>
                    </a:lnTo>
                    <a:lnTo>
                      <a:pt x="507" y="408"/>
                    </a:lnTo>
                    <a:lnTo>
                      <a:pt x="540" y="380"/>
                    </a:lnTo>
                    <a:lnTo>
                      <a:pt x="571" y="354"/>
                    </a:lnTo>
                    <a:lnTo>
                      <a:pt x="602" y="330"/>
                    </a:lnTo>
                    <a:lnTo>
                      <a:pt x="633" y="308"/>
                    </a:lnTo>
                    <a:lnTo>
                      <a:pt x="663" y="287"/>
                    </a:lnTo>
                    <a:lnTo>
                      <a:pt x="692" y="269"/>
                    </a:lnTo>
                    <a:lnTo>
                      <a:pt x="721" y="254"/>
                    </a:lnTo>
                    <a:lnTo>
                      <a:pt x="749" y="240"/>
                    </a:lnTo>
                    <a:lnTo>
                      <a:pt x="810" y="215"/>
                    </a:lnTo>
                    <a:lnTo>
                      <a:pt x="870" y="191"/>
                    </a:lnTo>
                    <a:lnTo>
                      <a:pt x="931" y="168"/>
                    </a:lnTo>
                    <a:lnTo>
                      <a:pt x="992" y="147"/>
                    </a:lnTo>
                    <a:lnTo>
                      <a:pt x="1053" y="127"/>
                    </a:lnTo>
                    <a:lnTo>
                      <a:pt x="1113" y="109"/>
                    </a:lnTo>
                    <a:lnTo>
                      <a:pt x="1174" y="92"/>
                    </a:lnTo>
                    <a:lnTo>
                      <a:pt x="1234" y="77"/>
                    </a:lnTo>
                    <a:lnTo>
                      <a:pt x="1293" y="63"/>
                    </a:lnTo>
                    <a:lnTo>
                      <a:pt x="1354" y="50"/>
                    </a:lnTo>
                    <a:lnTo>
                      <a:pt x="1414" y="39"/>
                    </a:lnTo>
                    <a:lnTo>
                      <a:pt x="1474" y="28"/>
                    </a:lnTo>
                    <a:lnTo>
                      <a:pt x="1533" y="20"/>
                    </a:lnTo>
                    <a:lnTo>
                      <a:pt x="1592" y="13"/>
                    </a:lnTo>
                    <a:lnTo>
                      <a:pt x="1652" y="7"/>
                    </a:lnTo>
                    <a:lnTo>
                      <a:pt x="1711" y="3"/>
                    </a:lnTo>
                    <a:lnTo>
                      <a:pt x="1773" y="1"/>
                    </a:lnTo>
                    <a:lnTo>
                      <a:pt x="1832" y="0"/>
                    </a:lnTo>
                    <a:lnTo>
                      <a:pt x="1892" y="0"/>
                    </a:lnTo>
                    <a:lnTo>
                      <a:pt x="1949" y="2"/>
                    </a:lnTo>
                    <a:lnTo>
                      <a:pt x="2004" y="6"/>
                    </a:lnTo>
                    <a:lnTo>
                      <a:pt x="2059" y="12"/>
                    </a:lnTo>
                    <a:lnTo>
                      <a:pt x="2112" y="19"/>
                    </a:lnTo>
                    <a:lnTo>
                      <a:pt x="2164" y="29"/>
                    </a:lnTo>
                    <a:lnTo>
                      <a:pt x="2214" y="39"/>
                    </a:lnTo>
                    <a:lnTo>
                      <a:pt x="2263" y="52"/>
                    </a:lnTo>
                    <a:lnTo>
                      <a:pt x="2311" y="66"/>
                    </a:lnTo>
                    <a:lnTo>
                      <a:pt x="2357" y="81"/>
                    </a:lnTo>
                    <a:lnTo>
                      <a:pt x="2401" y="98"/>
                    </a:lnTo>
                    <a:lnTo>
                      <a:pt x="2444" y="118"/>
                    </a:lnTo>
                    <a:lnTo>
                      <a:pt x="2487" y="138"/>
                    </a:lnTo>
                    <a:lnTo>
                      <a:pt x="2527" y="161"/>
                    </a:lnTo>
                    <a:lnTo>
                      <a:pt x="2554" y="177"/>
                    </a:lnTo>
                    <a:lnTo>
                      <a:pt x="2579" y="195"/>
                    </a:lnTo>
                    <a:lnTo>
                      <a:pt x="2604" y="214"/>
                    </a:lnTo>
                    <a:lnTo>
                      <a:pt x="2628" y="233"/>
                    </a:lnTo>
                    <a:lnTo>
                      <a:pt x="2652" y="254"/>
                    </a:lnTo>
                    <a:lnTo>
                      <a:pt x="2673" y="274"/>
                    </a:lnTo>
                    <a:lnTo>
                      <a:pt x="2695" y="296"/>
                    </a:lnTo>
                    <a:lnTo>
                      <a:pt x="2715" y="318"/>
                    </a:lnTo>
                    <a:lnTo>
                      <a:pt x="2736" y="341"/>
                    </a:lnTo>
                    <a:lnTo>
                      <a:pt x="2755" y="364"/>
                    </a:lnTo>
                    <a:lnTo>
                      <a:pt x="2775" y="387"/>
                    </a:lnTo>
                    <a:lnTo>
                      <a:pt x="2794" y="412"/>
                    </a:lnTo>
                    <a:lnTo>
                      <a:pt x="2831" y="461"/>
                    </a:lnTo>
                    <a:lnTo>
                      <a:pt x="2869" y="512"/>
                    </a:lnTo>
                    <a:lnTo>
                      <a:pt x="2872" y="516"/>
                    </a:lnTo>
                    <a:lnTo>
                      <a:pt x="2887" y="537"/>
                    </a:lnTo>
                    <a:lnTo>
                      <a:pt x="2903" y="559"/>
                    </a:lnTo>
                    <a:lnTo>
                      <a:pt x="2920" y="581"/>
                    </a:lnTo>
                    <a:lnTo>
                      <a:pt x="2936" y="602"/>
                    </a:lnTo>
                    <a:lnTo>
                      <a:pt x="2971" y="650"/>
                    </a:lnTo>
                    <a:lnTo>
                      <a:pt x="3007" y="698"/>
                    </a:lnTo>
                    <a:lnTo>
                      <a:pt x="3043" y="747"/>
                    </a:lnTo>
                    <a:lnTo>
                      <a:pt x="3076" y="795"/>
                    </a:lnTo>
                    <a:lnTo>
                      <a:pt x="3092" y="821"/>
                    </a:lnTo>
                    <a:lnTo>
                      <a:pt x="3107" y="846"/>
                    </a:lnTo>
                    <a:lnTo>
                      <a:pt x="3123" y="872"/>
                    </a:lnTo>
                    <a:lnTo>
                      <a:pt x="3138" y="897"/>
                    </a:lnTo>
                    <a:lnTo>
                      <a:pt x="3152" y="923"/>
                    </a:lnTo>
                    <a:lnTo>
                      <a:pt x="3165" y="949"/>
                    </a:lnTo>
                    <a:lnTo>
                      <a:pt x="3177" y="976"/>
                    </a:lnTo>
                    <a:lnTo>
                      <a:pt x="3187" y="1003"/>
                    </a:lnTo>
                    <a:lnTo>
                      <a:pt x="3193" y="1014"/>
                    </a:lnTo>
                    <a:lnTo>
                      <a:pt x="3197" y="1025"/>
                    </a:lnTo>
                    <a:lnTo>
                      <a:pt x="3201" y="1036"/>
                    </a:lnTo>
                    <a:lnTo>
                      <a:pt x="3207" y="1048"/>
                    </a:lnTo>
                    <a:lnTo>
                      <a:pt x="3220" y="1080"/>
                    </a:lnTo>
                    <a:lnTo>
                      <a:pt x="3233" y="1114"/>
                    </a:lnTo>
                    <a:lnTo>
                      <a:pt x="3246" y="1146"/>
                    </a:lnTo>
                    <a:lnTo>
                      <a:pt x="3258" y="1179"/>
                    </a:lnTo>
                    <a:lnTo>
                      <a:pt x="3268" y="1212"/>
                    </a:lnTo>
                    <a:lnTo>
                      <a:pt x="3278" y="1247"/>
                    </a:lnTo>
                    <a:lnTo>
                      <a:pt x="3286" y="1282"/>
                    </a:lnTo>
                    <a:lnTo>
                      <a:pt x="3292" y="1319"/>
                    </a:lnTo>
                    <a:lnTo>
                      <a:pt x="3295" y="1343"/>
                    </a:lnTo>
                    <a:lnTo>
                      <a:pt x="3299" y="1368"/>
                    </a:lnTo>
                    <a:lnTo>
                      <a:pt x="3301" y="1391"/>
                    </a:lnTo>
                    <a:lnTo>
                      <a:pt x="3302" y="1415"/>
                    </a:lnTo>
                    <a:lnTo>
                      <a:pt x="3304" y="1440"/>
                    </a:lnTo>
                    <a:lnTo>
                      <a:pt x="3305" y="1464"/>
                    </a:lnTo>
                    <a:lnTo>
                      <a:pt x="3306" y="1487"/>
                    </a:lnTo>
                    <a:lnTo>
                      <a:pt x="3307" y="1511"/>
                    </a:lnTo>
                    <a:lnTo>
                      <a:pt x="3309" y="1547"/>
                    </a:lnTo>
                    <a:lnTo>
                      <a:pt x="3310" y="1584"/>
                    </a:lnTo>
                    <a:lnTo>
                      <a:pt x="3314" y="1619"/>
                    </a:lnTo>
                    <a:lnTo>
                      <a:pt x="3317" y="1655"/>
                    </a:lnTo>
                    <a:lnTo>
                      <a:pt x="3322" y="1705"/>
                    </a:lnTo>
                    <a:lnTo>
                      <a:pt x="3329" y="1758"/>
                    </a:lnTo>
                    <a:lnTo>
                      <a:pt x="3336" y="1815"/>
                    </a:lnTo>
                    <a:lnTo>
                      <a:pt x="3347" y="1872"/>
                    </a:lnTo>
                    <a:lnTo>
                      <a:pt x="3358" y="1930"/>
                    </a:lnTo>
                    <a:lnTo>
                      <a:pt x="3372" y="1989"/>
                    </a:lnTo>
                    <a:lnTo>
                      <a:pt x="3381" y="2019"/>
                    </a:lnTo>
                    <a:lnTo>
                      <a:pt x="3389" y="2048"/>
                    </a:lnTo>
                    <a:lnTo>
                      <a:pt x="3398" y="2077"/>
                    </a:lnTo>
                    <a:lnTo>
                      <a:pt x="3409" y="2106"/>
                    </a:lnTo>
                    <a:lnTo>
                      <a:pt x="3426" y="2158"/>
                    </a:lnTo>
                    <a:lnTo>
                      <a:pt x="3441" y="2207"/>
                    </a:lnTo>
                    <a:lnTo>
                      <a:pt x="3454" y="2255"/>
                    </a:lnTo>
                    <a:lnTo>
                      <a:pt x="3465" y="2302"/>
                    </a:lnTo>
                    <a:lnTo>
                      <a:pt x="3468" y="2326"/>
                    </a:lnTo>
                    <a:lnTo>
                      <a:pt x="3472" y="2349"/>
                    </a:lnTo>
                    <a:lnTo>
                      <a:pt x="3475" y="2372"/>
                    </a:lnTo>
                    <a:lnTo>
                      <a:pt x="3478" y="2393"/>
                    </a:lnTo>
                    <a:lnTo>
                      <a:pt x="3479" y="2416"/>
                    </a:lnTo>
                    <a:lnTo>
                      <a:pt x="3480" y="2437"/>
                    </a:lnTo>
                    <a:lnTo>
                      <a:pt x="3481" y="2460"/>
                    </a:lnTo>
                    <a:lnTo>
                      <a:pt x="3481" y="2482"/>
                    </a:lnTo>
                    <a:lnTo>
                      <a:pt x="3481" y="2482"/>
                    </a:lnTo>
                    <a:lnTo>
                      <a:pt x="3481" y="2482"/>
                    </a:lnTo>
                    <a:lnTo>
                      <a:pt x="3482" y="2483"/>
                    </a:lnTo>
                    <a:lnTo>
                      <a:pt x="3483" y="2485"/>
                    </a:lnTo>
                    <a:lnTo>
                      <a:pt x="3483" y="2487"/>
                    </a:lnTo>
                    <a:lnTo>
                      <a:pt x="3483" y="2492"/>
                    </a:lnTo>
                    <a:lnTo>
                      <a:pt x="3484" y="2492"/>
                    </a:lnTo>
                    <a:lnTo>
                      <a:pt x="3482" y="2502"/>
                    </a:lnTo>
                    <a:lnTo>
                      <a:pt x="3480" y="2525"/>
                    </a:lnTo>
                    <a:lnTo>
                      <a:pt x="3479" y="2532"/>
                    </a:lnTo>
                    <a:lnTo>
                      <a:pt x="3478" y="2541"/>
                    </a:lnTo>
                    <a:lnTo>
                      <a:pt x="3477" y="2551"/>
                    </a:lnTo>
                    <a:lnTo>
                      <a:pt x="3475" y="2562"/>
                    </a:lnTo>
                    <a:lnTo>
                      <a:pt x="3475" y="2563"/>
                    </a:lnTo>
                    <a:lnTo>
                      <a:pt x="3475" y="2564"/>
                    </a:lnTo>
                    <a:lnTo>
                      <a:pt x="3475" y="2567"/>
                    </a:lnTo>
                    <a:lnTo>
                      <a:pt x="3474" y="2569"/>
                    </a:lnTo>
                    <a:lnTo>
                      <a:pt x="3471" y="2590"/>
                    </a:lnTo>
                    <a:lnTo>
                      <a:pt x="3467" y="2609"/>
                    </a:lnTo>
                    <a:lnTo>
                      <a:pt x="3464" y="2630"/>
                    </a:lnTo>
                    <a:lnTo>
                      <a:pt x="3459" y="2650"/>
                    </a:lnTo>
                    <a:lnTo>
                      <a:pt x="3457" y="2655"/>
                    </a:lnTo>
                    <a:lnTo>
                      <a:pt x="3454" y="2659"/>
                    </a:lnTo>
                    <a:lnTo>
                      <a:pt x="3450" y="2661"/>
                    </a:lnTo>
                    <a:lnTo>
                      <a:pt x="3444" y="2661"/>
                    </a:lnTo>
                    <a:lnTo>
                      <a:pt x="3440" y="2660"/>
                    </a:lnTo>
                    <a:lnTo>
                      <a:pt x="3436" y="2657"/>
                    </a:lnTo>
                    <a:lnTo>
                      <a:pt x="3434" y="2652"/>
                    </a:lnTo>
                    <a:lnTo>
                      <a:pt x="3432" y="2648"/>
                    </a:lnTo>
                    <a:lnTo>
                      <a:pt x="3432" y="2639"/>
                    </a:lnTo>
                    <a:lnTo>
                      <a:pt x="3432" y="2632"/>
                    </a:lnTo>
                    <a:lnTo>
                      <a:pt x="3432" y="2623"/>
                    </a:lnTo>
                    <a:lnTo>
                      <a:pt x="3432" y="2614"/>
                    </a:lnTo>
                    <a:lnTo>
                      <a:pt x="3432" y="2568"/>
                    </a:lnTo>
                    <a:lnTo>
                      <a:pt x="3431" y="2522"/>
                    </a:lnTo>
                    <a:lnTo>
                      <a:pt x="3429" y="2499"/>
                    </a:lnTo>
                    <a:lnTo>
                      <a:pt x="3427" y="2476"/>
                    </a:lnTo>
                    <a:lnTo>
                      <a:pt x="3423" y="2455"/>
                    </a:lnTo>
                    <a:lnTo>
                      <a:pt x="3417" y="2434"/>
                    </a:lnTo>
                    <a:lnTo>
                      <a:pt x="3410" y="2414"/>
                    </a:lnTo>
                    <a:lnTo>
                      <a:pt x="3401" y="2395"/>
                    </a:lnTo>
                    <a:lnTo>
                      <a:pt x="3397" y="2387"/>
                    </a:lnTo>
                    <a:lnTo>
                      <a:pt x="3390" y="2377"/>
                    </a:lnTo>
                    <a:lnTo>
                      <a:pt x="3385" y="2369"/>
                    </a:lnTo>
                    <a:lnTo>
                      <a:pt x="3377" y="2361"/>
                    </a:lnTo>
                    <a:lnTo>
                      <a:pt x="3371" y="2353"/>
                    </a:lnTo>
                    <a:lnTo>
                      <a:pt x="3362" y="2346"/>
                    </a:lnTo>
                    <a:lnTo>
                      <a:pt x="3354" y="2339"/>
                    </a:lnTo>
                    <a:lnTo>
                      <a:pt x="3345" y="2332"/>
                    </a:lnTo>
                    <a:lnTo>
                      <a:pt x="3334" y="2326"/>
                    </a:lnTo>
                    <a:lnTo>
                      <a:pt x="3325" y="2320"/>
                    </a:lnTo>
                    <a:lnTo>
                      <a:pt x="3313" y="2314"/>
                    </a:lnTo>
                    <a:lnTo>
                      <a:pt x="3301" y="2310"/>
                    </a:lnTo>
                    <a:lnTo>
                      <a:pt x="3282" y="2304"/>
                    </a:lnTo>
                    <a:lnTo>
                      <a:pt x="3263" y="2299"/>
                    </a:lnTo>
                    <a:lnTo>
                      <a:pt x="3244" y="2295"/>
                    </a:lnTo>
                    <a:lnTo>
                      <a:pt x="3223" y="2293"/>
                    </a:lnTo>
                    <a:lnTo>
                      <a:pt x="3201" y="2292"/>
                    </a:lnTo>
                    <a:lnTo>
                      <a:pt x="3180" y="2293"/>
                    </a:lnTo>
                    <a:lnTo>
                      <a:pt x="3157" y="2294"/>
                    </a:lnTo>
                    <a:lnTo>
                      <a:pt x="3133" y="2297"/>
                    </a:lnTo>
                    <a:lnTo>
                      <a:pt x="3110" y="2301"/>
                    </a:lnTo>
                    <a:lnTo>
                      <a:pt x="3085" y="2307"/>
                    </a:lnTo>
                    <a:lnTo>
                      <a:pt x="3060" y="2313"/>
                    </a:lnTo>
                    <a:lnTo>
                      <a:pt x="3034" y="2321"/>
                    </a:lnTo>
                    <a:lnTo>
                      <a:pt x="3007" y="2331"/>
                    </a:lnTo>
                    <a:lnTo>
                      <a:pt x="2980" y="2340"/>
                    </a:lnTo>
                    <a:lnTo>
                      <a:pt x="2952" y="2352"/>
                    </a:lnTo>
                    <a:lnTo>
                      <a:pt x="2924" y="2365"/>
                    </a:lnTo>
                    <a:lnTo>
                      <a:pt x="2906" y="2374"/>
                    </a:lnTo>
                    <a:lnTo>
                      <a:pt x="2888" y="2383"/>
                    </a:lnTo>
                    <a:lnTo>
                      <a:pt x="2872" y="2393"/>
                    </a:lnTo>
                    <a:lnTo>
                      <a:pt x="2855" y="2403"/>
                    </a:lnTo>
                    <a:lnTo>
                      <a:pt x="2822" y="2424"/>
                    </a:lnTo>
                    <a:lnTo>
                      <a:pt x="2791" y="2447"/>
                    </a:lnTo>
                    <a:lnTo>
                      <a:pt x="2761" y="2472"/>
                    </a:lnTo>
                    <a:lnTo>
                      <a:pt x="2732" y="2497"/>
                    </a:lnTo>
                    <a:lnTo>
                      <a:pt x="2701" y="2522"/>
                    </a:lnTo>
                    <a:lnTo>
                      <a:pt x="2673" y="2547"/>
                    </a:lnTo>
                    <a:lnTo>
                      <a:pt x="2643" y="2573"/>
                    </a:lnTo>
                    <a:lnTo>
                      <a:pt x="2613" y="2599"/>
                    </a:lnTo>
                    <a:lnTo>
                      <a:pt x="2582" y="2625"/>
                    </a:lnTo>
                    <a:lnTo>
                      <a:pt x="2550" y="2650"/>
                    </a:lnTo>
                    <a:lnTo>
                      <a:pt x="2504" y="2685"/>
                    </a:lnTo>
                    <a:lnTo>
                      <a:pt x="2455" y="2717"/>
                    </a:lnTo>
                    <a:lnTo>
                      <a:pt x="2407" y="2747"/>
                    </a:lnTo>
                    <a:lnTo>
                      <a:pt x="2357" y="2776"/>
                    </a:lnTo>
                    <a:lnTo>
                      <a:pt x="2307" y="2803"/>
                    </a:lnTo>
                    <a:lnTo>
                      <a:pt x="2257" y="2829"/>
                    </a:lnTo>
                    <a:lnTo>
                      <a:pt x="2205" y="2853"/>
                    </a:lnTo>
                    <a:lnTo>
                      <a:pt x="2152" y="2873"/>
                    </a:lnTo>
                    <a:lnTo>
                      <a:pt x="2116" y="2888"/>
                    </a:lnTo>
                    <a:lnTo>
                      <a:pt x="2081" y="2900"/>
                    </a:lnTo>
                    <a:lnTo>
                      <a:pt x="2046" y="2912"/>
                    </a:lnTo>
                    <a:lnTo>
                      <a:pt x="2013" y="2923"/>
                    </a:lnTo>
                    <a:lnTo>
                      <a:pt x="1979" y="2933"/>
                    </a:lnTo>
                    <a:lnTo>
                      <a:pt x="1946" y="2943"/>
                    </a:lnTo>
                    <a:lnTo>
                      <a:pt x="1914" y="2951"/>
                    </a:lnTo>
                    <a:lnTo>
                      <a:pt x="1882" y="2958"/>
                    </a:lnTo>
                    <a:lnTo>
                      <a:pt x="1852" y="2964"/>
                    </a:lnTo>
                    <a:lnTo>
                      <a:pt x="1820" y="2971"/>
                    </a:lnTo>
                    <a:lnTo>
                      <a:pt x="1791" y="2975"/>
                    </a:lnTo>
                    <a:lnTo>
                      <a:pt x="1762" y="2979"/>
                    </a:lnTo>
                    <a:lnTo>
                      <a:pt x="1733" y="2983"/>
                    </a:lnTo>
                    <a:lnTo>
                      <a:pt x="1705" y="2985"/>
                    </a:lnTo>
                    <a:lnTo>
                      <a:pt x="1677" y="2986"/>
                    </a:lnTo>
                    <a:lnTo>
                      <a:pt x="1650" y="2986"/>
                    </a:lnTo>
                    <a:close/>
                    <a:moveTo>
                      <a:pt x="27" y="1008"/>
                    </a:moveTo>
                    <a:lnTo>
                      <a:pt x="27" y="1008"/>
                    </a:lnTo>
                    <a:lnTo>
                      <a:pt x="32" y="1038"/>
                    </a:lnTo>
                    <a:lnTo>
                      <a:pt x="39" y="1069"/>
                    </a:lnTo>
                    <a:lnTo>
                      <a:pt x="45" y="1099"/>
                    </a:lnTo>
                    <a:lnTo>
                      <a:pt x="53" y="1129"/>
                    </a:lnTo>
                    <a:lnTo>
                      <a:pt x="61" y="1159"/>
                    </a:lnTo>
                    <a:lnTo>
                      <a:pt x="70" y="1189"/>
                    </a:lnTo>
                    <a:lnTo>
                      <a:pt x="80" y="1220"/>
                    </a:lnTo>
                    <a:lnTo>
                      <a:pt x="90" y="1250"/>
                    </a:lnTo>
                    <a:lnTo>
                      <a:pt x="101" y="1281"/>
                    </a:lnTo>
                    <a:lnTo>
                      <a:pt x="113" y="1311"/>
                    </a:lnTo>
                    <a:lnTo>
                      <a:pt x="125" y="1343"/>
                    </a:lnTo>
                    <a:lnTo>
                      <a:pt x="138" y="1374"/>
                    </a:lnTo>
                    <a:lnTo>
                      <a:pt x="165" y="1432"/>
                    </a:lnTo>
                    <a:lnTo>
                      <a:pt x="194" y="1492"/>
                    </a:lnTo>
                    <a:lnTo>
                      <a:pt x="225" y="1552"/>
                    </a:lnTo>
                    <a:lnTo>
                      <a:pt x="259" y="1614"/>
                    </a:lnTo>
                    <a:lnTo>
                      <a:pt x="297" y="1676"/>
                    </a:lnTo>
                    <a:lnTo>
                      <a:pt x="337" y="1741"/>
                    </a:lnTo>
                    <a:lnTo>
                      <a:pt x="381" y="1807"/>
                    </a:lnTo>
                    <a:lnTo>
                      <a:pt x="427" y="1876"/>
                    </a:lnTo>
                    <a:lnTo>
                      <a:pt x="477" y="1947"/>
                    </a:lnTo>
                    <a:lnTo>
                      <a:pt x="526" y="2015"/>
                    </a:lnTo>
                    <a:lnTo>
                      <a:pt x="574" y="2081"/>
                    </a:lnTo>
                    <a:lnTo>
                      <a:pt x="622" y="2145"/>
                    </a:lnTo>
                    <a:lnTo>
                      <a:pt x="669" y="2206"/>
                    </a:lnTo>
                    <a:lnTo>
                      <a:pt x="717" y="2266"/>
                    </a:lnTo>
                    <a:lnTo>
                      <a:pt x="763" y="2323"/>
                    </a:lnTo>
                    <a:lnTo>
                      <a:pt x="809" y="2378"/>
                    </a:lnTo>
                    <a:lnTo>
                      <a:pt x="855" y="2431"/>
                    </a:lnTo>
                    <a:lnTo>
                      <a:pt x="900" y="2482"/>
                    </a:lnTo>
                    <a:lnTo>
                      <a:pt x="946" y="2531"/>
                    </a:lnTo>
                    <a:lnTo>
                      <a:pt x="991" y="2579"/>
                    </a:lnTo>
                    <a:lnTo>
                      <a:pt x="1035" y="2624"/>
                    </a:lnTo>
                    <a:lnTo>
                      <a:pt x="1081" y="2668"/>
                    </a:lnTo>
                    <a:lnTo>
                      <a:pt x="1126" y="2710"/>
                    </a:lnTo>
                    <a:lnTo>
                      <a:pt x="1171" y="2752"/>
                    </a:lnTo>
                    <a:lnTo>
                      <a:pt x="1199" y="2776"/>
                    </a:lnTo>
                    <a:lnTo>
                      <a:pt x="1228" y="2799"/>
                    </a:lnTo>
                    <a:lnTo>
                      <a:pt x="1256" y="2821"/>
                    </a:lnTo>
                    <a:lnTo>
                      <a:pt x="1284" y="2840"/>
                    </a:lnTo>
                    <a:lnTo>
                      <a:pt x="1312" y="2858"/>
                    </a:lnTo>
                    <a:lnTo>
                      <a:pt x="1340" y="2875"/>
                    </a:lnTo>
                    <a:lnTo>
                      <a:pt x="1369" y="2890"/>
                    </a:lnTo>
                    <a:lnTo>
                      <a:pt x="1397" y="2904"/>
                    </a:lnTo>
                    <a:lnTo>
                      <a:pt x="1425" y="2916"/>
                    </a:lnTo>
                    <a:lnTo>
                      <a:pt x="1453" y="2926"/>
                    </a:lnTo>
                    <a:lnTo>
                      <a:pt x="1481" y="2935"/>
                    </a:lnTo>
                    <a:lnTo>
                      <a:pt x="1510" y="2943"/>
                    </a:lnTo>
                    <a:lnTo>
                      <a:pt x="1539" y="2949"/>
                    </a:lnTo>
                    <a:lnTo>
                      <a:pt x="1568" y="2953"/>
                    </a:lnTo>
                    <a:lnTo>
                      <a:pt x="1596" y="2957"/>
                    </a:lnTo>
                    <a:lnTo>
                      <a:pt x="1625" y="2959"/>
                    </a:lnTo>
                    <a:lnTo>
                      <a:pt x="1653" y="2959"/>
                    </a:lnTo>
                    <a:lnTo>
                      <a:pt x="1681" y="2959"/>
                    </a:lnTo>
                    <a:lnTo>
                      <a:pt x="1710" y="2957"/>
                    </a:lnTo>
                    <a:lnTo>
                      <a:pt x="1739" y="2954"/>
                    </a:lnTo>
                    <a:lnTo>
                      <a:pt x="1770" y="2951"/>
                    </a:lnTo>
                    <a:lnTo>
                      <a:pt x="1801" y="2947"/>
                    </a:lnTo>
                    <a:lnTo>
                      <a:pt x="1832" y="2941"/>
                    </a:lnTo>
                    <a:lnTo>
                      <a:pt x="1864" y="2935"/>
                    </a:lnTo>
                    <a:lnTo>
                      <a:pt x="1896" y="2927"/>
                    </a:lnTo>
                    <a:lnTo>
                      <a:pt x="1929" y="2919"/>
                    </a:lnTo>
                    <a:lnTo>
                      <a:pt x="1963" y="2910"/>
                    </a:lnTo>
                    <a:lnTo>
                      <a:pt x="1997" y="2899"/>
                    </a:lnTo>
                    <a:lnTo>
                      <a:pt x="2032" y="2889"/>
                    </a:lnTo>
                    <a:lnTo>
                      <a:pt x="2069" y="2876"/>
                    </a:lnTo>
                    <a:lnTo>
                      <a:pt x="2105" y="2863"/>
                    </a:lnTo>
                    <a:lnTo>
                      <a:pt x="2142" y="2849"/>
                    </a:lnTo>
                    <a:lnTo>
                      <a:pt x="2194" y="2828"/>
                    </a:lnTo>
                    <a:lnTo>
                      <a:pt x="2245" y="2804"/>
                    </a:lnTo>
                    <a:lnTo>
                      <a:pt x="2294" y="2780"/>
                    </a:lnTo>
                    <a:lnTo>
                      <a:pt x="2344" y="2753"/>
                    </a:lnTo>
                    <a:lnTo>
                      <a:pt x="2393" y="2725"/>
                    </a:lnTo>
                    <a:lnTo>
                      <a:pt x="2441" y="2694"/>
                    </a:lnTo>
                    <a:lnTo>
                      <a:pt x="2488" y="2662"/>
                    </a:lnTo>
                    <a:lnTo>
                      <a:pt x="2534" y="2628"/>
                    </a:lnTo>
                    <a:lnTo>
                      <a:pt x="2565" y="2604"/>
                    </a:lnTo>
                    <a:lnTo>
                      <a:pt x="2596" y="2579"/>
                    </a:lnTo>
                    <a:lnTo>
                      <a:pt x="2626" y="2553"/>
                    </a:lnTo>
                    <a:lnTo>
                      <a:pt x="2655" y="2527"/>
                    </a:lnTo>
                    <a:lnTo>
                      <a:pt x="2684" y="2501"/>
                    </a:lnTo>
                    <a:lnTo>
                      <a:pt x="2714" y="2475"/>
                    </a:lnTo>
                    <a:lnTo>
                      <a:pt x="2745" y="2450"/>
                    </a:lnTo>
                    <a:lnTo>
                      <a:pt x="2776" y="2426"/>
                    </a:lnTo>
                    <a:lnTo>
                      <a:pt x="2808" y="2402"/>
                    </a:lnTo>
                    <a:lnTo>
                      <a:pt x="2842" y="2380"/>
                    </a:lnTo>
                    <a:lnTo>
                      <a:pt x="2858" y="2369"/>
                    </a:lnTo>
                    <a:lnTo>
                      <a:pt x="2876" y="2360"/>
                    </a:lnTo>
                    <a:lnTo>
                      <a:pt x="2894" y="2350"/>
                    </a:lnTo>
                    <a:lnTo>
                      <a:pt x="2912" y="2341"/>
                    </a:lnTo>
                    <a:lnTo>
                      <a:pt x="2942" y="2327"/>
                    </a:lnTo>
                    <a:lnTo>
                      <a:pt x="2971" y="2315"/>
                    </a:lnTo>
                    <a:lnTo>
                      <a:pt x="2999" y="2305"/>
                    </a:lnTo>
                    <a:lnTo>
                      <a:pt x="3028" y="2295"/>
                    </a:lnTo>
                    <a:lnTo>
                      <a:pt x="3055" y="2286"/>
                    </a:lnTo>
                    <a:lnTo>
                      <a:pt x="3082" y="2280"/>
                    </a:lnTo>
                    <a:lnTo>
                      <a:pt x="3107" y="2274"/>
                    </a:lnTo>
                    <a:lnTo>
                      <a:pt x="3132" y="2270"/>
                    </a:lnTo>
                    <a:lnTo>
                      <a:pt x="3157" y="2267"/>
                    </a:lnTo>
                    <a:lnTo>
                      <a:pt x="3181" y="2266"/>
                    </a:lnTo>
                    <a:lnTo>
                      <a:pt x="3205" y="2265"/>
                    </a:lnTo>
                    <a:lnTo>
                      <a:pt x="3227" y="2266"/>
                    </a:lnTo>
                    <a:lnTo>
                      <a:pt x="3249" y="2269"/>
                    </a:lnTo>
                    <a:lnTo>
                      <a:pt x="3271" y="2272"/>
                    </a:lnTo>
                    <a:lnTo>
                      <a:pt x="3290" y="2278"/>
                    </a:lnTo>
                    <a:lnTo>
                      <a:pt x="3309" y="2284"/>
                    </a:lnTo>
                    <a:lnTo>
                      <a:pt x="3328" y="2292"/>
                    </a:lnTo>
                    <a:lnTo>
                      <a:pt x="3344" y="2299"/>
                    </a:lnTo>
                    <a:lnTo>
                      <a:pt x="3358" y="2309"/>
                    </a:lnTo>
                    <a:lnTo>
                      <a:pt x="3372" y="2318"/>
                    </a:lnTo>
                    <a:lnTo>
                      <a:pt x="3384" y="2328"/>
                    </a:lnTo>
                    <a:lnTo>
                      <a:pt x="3395" y="2339"/>
                    </a:lnTo>
                    <a:lnTo>
                      <a:pt x="3404" y="2351"/>
                    </a:lnTo>
                    <a:lnTo>
                      <a:pt x="3414" y="2363"/>
                    </a:lnTo>
                    <a:lnTo>
                      <a:pt x="3422" y="2376"/>
                    </a:lnTo>
                    <a:lnTo>
                      <a:pt x="3428" y="2389"/>
                    </a:lnTo>
                    <a:lnTo>
                      <a:pt x="3435" y="2402"/>
                    </a:lnTo>
                    <a:lnTo>
                      <a:pt x="3440" y="2416"/>
                    </a:lnTo>
                    <a:lnTo>
                      <a:pt x="3444" y="2430"/>
                    </a:lnTo>
                    <a:lnTo>
                      <a:pt x="3448" y="2445"/>
                    </a:lnTo>
                    <a:lnTo>
                      <a:pt x="3451" y="2460"/>
                    </a:lnTo>
                    <a:lnTo>
                      <a:pt x="3454" y="2475"/>
                    </a:lnTo>
                    <a:lnTo>
                      <a:pt x="3454" y="2455"/>
                    </a:lnTo>
                    <a:lnTo>
                      <a:pt x="3453" y="2433"/>
                    </a:lnTo>
                    <a:lnTo>
                      <a:pt x="3452" y="2413"/>
                    </a:lnTo>
                    <a:lnTo>
                      <a:pt x="3450" y="2391"/>
                    </a:lnTo>
                    <a:lnTo>
                      <a:pt x="3444" y="2348"/>
                    </a:lnTo>
                    <a:lnTo>
                      <a:pt x="3437" y="2304"/>
                    </a:lnTo>
                    <a:lnTo>
                      <a:pt x="3427" y="2259"/>
                    </a:lnTo>
                    <a:lnTo>
                      <a:pt x="3415" y="2212"/>
                    </a:lnTo>
                    <a:lnTo>
                      <a:pt x="3400" y="2164"/>
                    </a:lnTo>
                    <a:lnTo>
                      <a:pt x="3383" y="2116"/>
                    </a:lnTo>
                    <a:lnTo>
                      <a:pt x="3373" y="2085"/>
                    </a:lnTo>
                    <a:lnTo>
                      <a:pt x="3363" y="2056"/>
                    </a:lnTo>
                    <a:lnTo>
                      <a:pt x="3355" y="2026"/>
                    </a:lnTo>
                    <a:lnTo>
                      <a:pt x="3346" y="1996"/>
                    </a:lnTo>
                    <a:lnTo>
                      <a:pt x="3332" y="1936"/>
                    </a:lnTo>
                    <a:lnTo>
                      <a:pt x="3320" y="1877"/>
                    </a:lnTo>
                    <a:lnTo>
                      <a:pt x="3310" y="1819"/>
                    </a:lnTo>
                    <a:lnTo>
                      <a:pt x="3302" y="1763"/>
                    </a:lnTo>
                    <a:lnTo>
                      <a:pt x="3295" y="1709"/>
                    </a:lnTo>
                    <a:lnTo>
                      <a:pt x="3290" y="1658"/>
                    </a:lnTo>
                    <a:lnTo>
                      <a:pt x="3287" y="1621"/>
                    </a:lnTo>
                    <a:lnTo>
                      <a:pt x="3283" y="1585"/>
                    </a:lnTo>
                    <a:lnTo>
                      <a:pt x="3282" y="1549"/>
                    </a:lnTo>
                    <a:lnTo>
                      <a:pt x="3280" y="1512"/>
                    </a:lnTo>
                    <a:lnTo>
                      <a:pt x="3279" y="1490"/>
                    </a:lnTo>
                    <a:lnTo>
                      <a:pt x="3278" y="1466"/>
                    </a:lnTo>
                    <a:lnTo>
                      <a:pt x="3277" y="1442"/>
                    </a:lnTo>
                    <a:lnTo>
                      <a:pt x="3275" y="1418"/>
                    </a:lnTo>
                    <a:lnTo>
                      <a:pt x="3274" y="1395"/>
                    </a:lnTo>
                    <a:lnTo>
                      <a:pt x="3272" y="1371"/>
                    </a:lnTo>
                    <a:lnTo>
                      <a:pt x="3268" y="1347"/>
                    </a:lnTo>
                    <a:lnTo>
                      <a:pt x="3265" y="1323"/>
                    </a:lnTo>
                    <a:lnTo>
                      <a:pt x="3259" y="1288"/>
                    </a:lnTo>
                    <a:lnTo>
                      <a:pt x="3251" y="1253"/>
                    </a:lnTo>
                    <a:lnTo>
                      <a:pt x="3242" y="1220"/>
                    </a:lnTo>
                    <a:lnTo>
                      <a:pt x="3232" y="1187"/>
                    </a:lnTo>
                    <a:lnTo>
                      <a:pt x="3220" y="1155"/>
                    </a:lnTo>
                    <a:lnTo>
                      <a:pt x="3208" y="1123"/>
                    </a:lnTo>
                    <a:lnTo>
                      <a:pt x="3195" y="1090"/>
                    </a:lnTo>
                    <a:lnTo>
                      <a:pt x="3182" y="1058"/>
                    </a:lnTo>
                    <a:lnTo>
                      <a:pt x="3177" y="1047"/>
                    </a:lnTo>
                    <a:lnTo>
                      <a:pt x="3172" y="1035"/>
                    </a:lnTo>
                    <a:lnTo>
                      <a:pt x="3168" y="1024"/>
                    </a:lnTo>
                    <a:lnTo>
                      <a:pt x="3163" y="1012"/>
                    </a:lnTo>
                    <a:lnTo>
                      <a:pt x="3152" y="987"/>
                    </a:lnTo>
                    <a:lnTo>
                      <a:pt x="3140" y="961"/>
                    </a:lnTo>
                    <a:lnTo>
                      <a:pt x="3127" y="935"/>
                    </a:lnTo>
                    <a:lnTo>
                      <a:pt x="3114" y="910"/>
                    </a:lnTo>
                    <a:lnTo>
                      <a:pt x="3099" y="884"/>
                    </a:lnTo>
                    <a:lnTo>
                      <a:pt x="3084" y="859"/>
                    </a:lnTo>
                    <a:lnTo>
                      <a:pt x="3069" y="834"/>
                    </a:lnTo>
                    <a:lnTo>
                      <a:pt x="3052" y="810"/>
                    </a:lnTo>
                    <a:lnTo>
                      <a:pt x="3020" y="761"/>
                    </a:lnTo>
                    <a:lnTo>
                      <a:pt x="2985" y="713"/>
                    </a:lnTo>
                    <a:lnTo>
                      <a:pt x="2950" y="666"/>
                    </a:lnTo>
                    <a:lnTo>
                      <a:pt x="2914" y="618"/>
                    </a:lnTo>
                    <a:lnTo>
                      <a:pt x="2898" y="597"/>
                    </a:lnTo>
                    <a:lnTo>
                      <a:pt x="2882" y="575"/>
                    </a:lnTo>
                    <a:lnTo>
                      <a:pt x="2866" y="554"/>
                    </a:lnTo>
                    <a:lnTo>
                      <a:pt x="2850" y="532"/>
                    </a:lnTo>
                    <a:lnTo>
                      <a:pt x="2846" y="528"/>
                    </a:lnTo>
                    <a:lnTo>
                      <a:pt x="2811" y="478"/>
                    </a:lnTo>
                    <a:lnTo>
                      <a:pt x="2774" y="430"/>
                    </a:lnTo>
                    <a:lnTo>
                      <a:pt x="2754" y="406"/>
                    </a:lnTo>
                    <a:lnTo>
                      <a:pt x="2736" y="382"/>
                    </a:lnTo>
                    <a:lnTo>
                      <a:pt x="2717" y="359"/>
                    </a:lnTo>
                    <a:lnTo>
                      <a:pt x="2697" y="338"/>
                    </a:lnTo>
                    <a:lnTo>
                      <a:pt x="2677" y="315"/>
                    </a:lnTo>
                    <a:lnTo>
                      <a:pt x="2656" y="295"/>
                    </a:lnTo>
                    <a:lnTo>
                      <a:pt x="2635" y="274"/>
                    </a:lnTo>
                    <a:lnTo>
                      <a:pt x="2612" y="255"/>
                    </a:lnTo>
                    <a:lnTo>
                      <a:pt x="2588" y="235"/>
                    </a:lnTo>
                    <a:lnTo>
                      <a:pt x="2564" y="217"/>
                    </a:lnTo>
                    <a:lnTo>
                      <a:pt x="2539" y="200"/>
                    </a:lnTo>
                    <a:lnTo>
                      <a:pt x="2512" y="183"/>
                    </a:lnTo>
                    <a:lnTo>
                      <a:pt x="2474" y="162"/>
                    </a:lnTo>
                    <a:lnTo>
                      <a:pt x="2433" y="142"/>
                    </a:lnTo>
                    <a:lnTo>
                      <a:pt x="2390" y="123"/>
                    </a:lnTo>
                    <a:lnTo>
                      <a:pt x="2347" y="107"/>
                    </a:lnTo>
                    <a:lnTo>
                      <a:pt x="2302" y="91"/>
                    </a:lnTo>
                    <a:lnTo>
                      <a:pt x="2255" y="78"/>
                    </a:lnTo>
                    <a:lnTo>
                      <a:pt x="2207" y="66"/>
                    </a:lnTo>
                    <a:lnTo>
                      <a:pt x="2157" y="55"/>
                    </a:lnTo>
                    <a:lnTo>
                      <a:pt x="2106" y="46"/>
                    </a:lnTo>
                    <a:lnTo>
                      <a:pt x="2055" y="39"/>
                    </a:lnTo>
                    <a:lnTo>
                      <a:pt x="2001" y="33"/>
                    </a:lnTo>
                    <a:lnTo>
                      <a:pt x="1946" y="29"/>
                    </a:lnTo>
                    <a:lnTo>
                      <a:pt x="1889" y="27"/>
                    </a:lnTo>
                    <a:lnTo>
                      <a:pt x="1832" y="27"/>
                    </a:lnTo>
                    <a:lnTo>
                      <a:pt x="1773" y="28"/>
                    </a:lnTo>
                    <a:lnTo>
                      <a:pt x="1712" y="30"/>
                    </a:lnTo>
                    <a:lnTo>
                      <a:pt x="1654" y="34"/>
                    </a:lnTo>
                    <a:lnTo>
                      <a:pt x="1596" y="40"/>
                    </a:lnTo>
                    <a:lnTo>
                      <a:pt x="1536" y="47"/>
                    </a:lnTo>
                    <a:lnTo>
                      <a:pt x="1478" y="55"/>
                    </a:lnTo>
                    <a:lnTo>
                      <a:pt x="1419" y="65"/>
                    </a:lnTo>
                    <a:lnTo>
                      <a:pt x="1359" y="77"/>
                    </a:lnTo>
                    <a:lnTo>
                      <a:pt x="1300" y="88"/>
                    </a:lnTo>
                    <a:lnTo>
                      <a:pt x="1239" y="102"/>
                    </a:lnTo>
                    <a:lnTo>
                      <a:pt x="1180" y="119"/>
                    </a:lnTo>
                    <a:lnTo>
                      <a:pt x="1121" y="135"/>
                    </a:lnTo>
                    <a:lnTo>
                      <a:pt x="1060" y="153"/>
                    </a:lnTo>
                    <a:lnTo>
                      <a:pt x="1000" y="173"/>
                    </a:lnTo>
                    <a:lnTo>
                      <a:pt x="940" y="194"/>
                    </a:lnTo>
                    <a:lnTo>
                      <a:pt x="880" y="216"/>
                    </a:lnTo>
                    <a:lnTo>
                      <a:pt x="819" y="240"/>
                    </a:lnTo>
                    <a:lnTo>
                      <a:pt x="759" y="264"/>
                    </a:lnTo>
                    <a:lnTo>
                      <a:pt x="732" y="277"/>
                    </a:lnTo>
                    <a:lnTo>
                      <a:pt x="704" y="294"/>
                    </a:lnTo>
                    <a:lnTo>
                      <a:pt x="676" y="311"/>
                    </a:lnTo>
                    <a:lnTo>
                      <a:pt x="647" y="330"/>
                    </a:lnTo>
                    <a:lnTo>
                      <a:pt x="616" y="352"/>
                    </a:lnTo>
                    <a:lnTo>
                      <a:pt x="587" y="374"/>
                    </a:lnTo>
                    <a:lnTo>
                      <a:pt x="557" y="399"/>
                    </a:lnTo>
                    <a:lnTo>
                      <a:pt x="527" y="426"/>
                    </a:lnTo>
                    <a:lnTo>
                      <a:pt x="496" y="453"/>
                    </a:lnTo>
                    <a:lnTo>
                      <a:pt x="466" y="481"/>
                    </a:lnTo>
                    <a:lnTo>
                      <a:pt x="436" y="512"/>
                    </a:lnTo>
                    <a:lnTo>
                      <a:pt x="407" y="541"/>
                    </a:lnTo>
                    <a:lnTo>
                      <a:pt x="349" y="602"/>
                    </a:lnTo>
                    <a:lnTo>
                      <a:pt x="293" y="664"/>
                    </a:lnTo>
                    <a:lnTo>
                      <a:pt x="242" y="725"/>
                    </a:lnTo>
                    <a:lnTo>
                      <a:pt x="193" y="784"/>
                    </a:lnTo>
                    <a:lnTo>
                      <a:pt x="149" y="839"/>
                    </a:lnTo>
                    <a:lnTo>
                      <a:pt x="110" y="888"/>
                    </a:lnTo>
                    <a:lnTo>
                      <a:pt x="79" y="932"/>
                    </a:lnTo>
                    <a:lnTo>
                      <a:pt x="54" y="967"/>
                    </a:lnTo>
                    <a:lnTo>
                      <a:pt x="36" y="993"/>
                    </a:lnTo>
                    <a:lnTo>
                      <a:pt x="27" y="10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60"/>
              <p:cNvSpPr>
                <a:spLocks/>
              </p:cNvSpPr>
              <p:nvPr userDrawn="1"/>
            </p:nvSpPr>
            <p:spPr bwMode="auto">
              <a:xfrm>
                <a:off x="1625" y="1657"/>
                <a:ext cx="1050" cy="713"/>
              </a:xfrm>
              <a:custGeom>
                <a:avLst/>
                <a:gdLst>
                  <a:gd name="T0" fmla="*/ 1172 w 3150"/>
                  <a:gd name="T1" fmla="*/ 2096 h 2140"/>
                  <a:gd name="T2" fmla="*/ 907 w 3150"/>
                  <a:gd name="T3" fmla="*/ 1938 h 2140"/>
                  <a:gd name="T4" fmla="*/ 607 w 3150"/>
                  <a:gd name="T5" fmla="*/ 1657 h 2140"/>
                  <a:gd name="T6" fmla="*/ 281 w 3150"/>
                  <a:gd name="T7" fmla="*/ 1280 h 2140"/>
                  <a:gd name="T8" fmla="*/ 35 w 3150"/>
                  <a:gd name="T9" fmla="*/ 981 h 2140"/>
                  <a:gd name="T10" fmla="*/ 22 w 3150"/>
                  <a:gd name="T11" fmla="*/ 4 h 2140"/>
                  <a:gd name="T12" fmla="*/ 212 w 3150"/>
                  <a:gd name="T13" fmla="*/ 1161 h 2140"/>
                  <a:gd name="T14" fmla="*/ 557 w 3150"/>
                  <a:gd name="T15" fmla="*/ 1562 h 2140"/>
                  <a:gd name="T16" fmla="*/ 939 w 3150"/>
                  <a:gd name="T17" fmla="*/ 1928 h 2140"/>
                  <a:gd name="T18" fmla="*/ 1219 w 3150"/>
                  <a:gd name="T19" fmla="*/ 2086 h 2140"/>
                  <a:gd name="T20" fmla="*/ 1429 w 3150"/>
                  <a:gd name="T21" fmla="*/ 2111 h 2140"/>
                  <a:gd name="T22" fmla="*/ 1700 w 3150"/>
                  <a:gd name="T23" fmla="*/ 2052 h 2140"/>
                  <a:gd name="T24" fmla="*/ 1966 w 3150"/>
                  <a:gd name="T25" fmla="*/ 1944 h 2140"/>
                  <a:gd name="T26" fmla="*/ 2203 w 3150"/>
                  <a:gd name="T27" fmla="*/ 1787 h 2140"/>
                  <a:gd name="T28" fmla="*/ 2417 w 3150"/>
                  <a:gd name="T29" fmla="*/ 1589 h 2140"/>
                  <a:gd name="T30" fmla="*/ 2626 w 3150"/>
                  <a:gd name="T31" fmla="*/ 1454 h 2140"/>
                  <a:gd name="T32" fmla="*/ 2835 w 3150"/>
                  <a:gd name="T33" fmla="*/ 1401 h 2140"/>
                  <a:gd name="T34" fmla="*/ 3005 w 3150"/>
                  <a:gd name="T35" fmla="*/ 1427 h 2140"/>
                  <a:gd name="T36" fmla="*/ 3114 w 3150"/>
                  <a:gd name="T37" fmla="*/ 1552 h 2140"/>
                  <a:gd name="T38" fmla="*/ 3094 w 3150"/>
                  <a:gd name="T39" fmla="*/ 1395 h 2140"/>
                  <a:gd name="T40" fmla="*/ 3038 w 3150"/>
                  <a:gd name="T41" fmla="*/ 1278 h 2140"/>
                  <a:gd name="T42" fmla="*/ 2902 w 3150"/>
                  <a:gd name="T43" fmla="*/ 1234 h 2140"/>
                  <a:gd name="T44" fmla="*/ 2737 w 3150"/>
                  <a:gd name="T45" fmla="*/ 1245 h 2140"/>
                  <a:gd name="T46" fmla="*/ 2487 w 3150"/>
                  <a:gd name="T47" fmla="*/ 1359 h 2140"/>
                  <a:gd name="T48" fmla="*/ 2111 w 3150"/>
                  <a:gd name="T49" fmla="*/ 1631 h 2140"/>
                  <a:gd name="T50" fmla="*/ 1839 w 3150"/>
                  <a:gd name="T51" fmla="*/ 1756 h 2140"/>
                  <a:gd name="T52" fmla="*/ 1449 w 3150"/>
                  <a:gd name="T53" fmla="*/ 1766 h 2140"/>
                  <a:gd name="T54" fmla="*/ 1106 w 3150"/>
                  <a:gd name="T55" fmla="*/ 1590 h 2140"/>
                  <a:gd name="T56" fmla="*/ 816 w 3150"/>
                  <a:gd name="T57" fmla="*/ 1231 h 2140"/>
                  <a:gd name="T58" fmla="*/ 619 w 3150"/>
                  <a:gd name="T59" fmla="*/ 779 h 2140"/>
                  <a:gd name="T60" fmla="*/ 573 w 3150"/>
                  <a:gd name="T61" fmla="*/ 454 h 2140"/>
                  <a:gd name="T62" fmla="*/ 606 w 3150"/>
                  <a:gd name="T63" fmla="*/ 244 h 2140"/>
                  <a:gd name="T64" fmla="*/ 649 w 3150"/>
                  <a:gd name="T65" fmla="*/ 208 h 2140"/>
                  <a:gd name="T66" fmla="*/ 605 w 3150"/>
                  <a:gd name="T67" fmla="*/ 378 h 2140"/>
                  <a:gd name="T68" fmla="*/ 613 w 3150"/>
                  <a:gd name="T69" fmla="*/ 617 h 2140"/>
                  <a:gd name="T70" fmla="*/ 741 w 3150"/>
                  <a:gd name="T71" fmla="*/ 1028 h 2140"/>
                  <a:gd name="T72" fmla="*/ 956 w 3150"/>
                  <a:gd name="T73" fmla="*/ 1391 h 2140"/>
                  <a:gd name="T74" fmla="*/ 1261 w 3150"/>
                  <a:gd name="T75" fmla="*/ 1664 h 2140"/>
                  <a:gd name="T76" fmla="*/ 1671 w 3150"/>
                  <a:gd name="T77" fmla="*/ 1755 h 2140"/>
                  <a:gd name="T78" fmla="*/ 2014 w 3150"/>
                  <a:gd name="T79" fmla="*/ 1657 h 2140"/>
                  <a:gd name="T80" fmla="*/ 2345 w 3150"/>
                  <a:gd name="T81" fmla="*/ 1426 h 2140"/>
                  <a:gd name="T82" fmla="*/ 2675 w 3150"/>
                  <a:gd name="T83" fmla="*/ 1236 h 2140"/>
                  <a:gd name="T84" fmla="*/ 2846 w 3150"/>
                  <a:gd name="T85" fmla="*/ 1203 h 2140"/>
                  <a:gd name="T86" fmla="*/ 3010 w 3150"/>
                  <a:gd name="T87" fmla="*/ 1234 h 2140"/>
                  <a:gd name="T88" fmla="*/ 3093 w 3150"/>
                  <a:gd name="T89" fmla="*/ 1298 h 2140"/>
                  <a:gd name="T90" fmla="*/ 3144 w 3150"/>
                  <a:gd name="T91" fmla="*/ 1504 h 2140"/>
                  <a:gd name="T92" fmla="*/ 3137 w 3150"/>
                  <a:gd name="T93" fmla="*/ 1754 h 2140"/>
                  <a:gd name="T94" fmla="*/ 3114 w 3150"/>
                  <a:gd name="T95" fmla="*/ 1808 h 2140"/>
                  <a:gd name="T96" fmla="*/ 3101 w 3150"/>
                  <a:gd name="T97" fmla="*/ 1678 h 2140"/>
                  <a:gd name="T98" fmla="*/ 3073 w 3150"/>
                  <a:gd name="T99" fmla="*/ 1524 h 2140"/>
                  <a:gd name="T100" fmla="*/ 2961 w 3150"/>
                  <a:gd name="T101" fmla="*/ 1439 h 2140"/>
                  <a:gd name="T102" fmla="*/ 2789 w 3150"/>
                  <a:gd name="T103" fmla="*/ 1434 h 2140"/>
                  <a:gd name="T104" fmla="*/ 2586 w 3150"/>
                  <a:gd name="T105" fmla="*/ 1503 h 2140"/>
                  <a:gd name="T106" fmla="*/ 2394 w 3150"/>
                  <a:gd name="T107" fmla="*/ 1648 h 2140"/>
                  <a:gd name="T108" fmla="*/ 2169 w 3150"/>
                  <a:gd name="T109" fmla="*/ 1848 h 2140"/>
                  <a:gd name="T110" fmla="*/ 1921 w 3150"/>
                  <a:gd name="T111" fmla="*/ 1996 h 2140"/>
                  <a:gd name="T112" fmla="*/ 1644 w 3150"/>
                  <a:gd name="T113" fmla="*/ 2096 h 2140"/>
                  <a:gd name="T114" fmla="*/ 1388 w 3150"/>
                  <a:gd name="T115" fmla="*/ 2140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50" h="2140">
                    <a:moveTo>
                      <a:pt x="1388" y="2140"/>
                    </a:moveTo>
                    <a:lnTo>
                      <a:pt x="1361" y="2139"/>
                    </a:lnTo>
                    <a:lnTo>
                      <a:pt x="1335" y="2137"/>
                    </a:lnTo>
                    <a:lnTo>
                      <a:pt x="1308" y="2134"/>
                    </a:lnTo>
                    <a:lnTo>
                      <a:pt x="1281" y="2130"/>
                    </a:lnTo>
                    <a:lnTo>
                      <a:pt x="1254" y="2123"/>
                    </a:lnTo>
                    <a:lnTo>
                      <a:pt x="1227" y="2115"/>
                    </a:lnTo>
                    <a:lnTo>
                      <a:pt x="1200" y="2107"/>
                    </a:lnTo>
                    <a:lnTo>
                      <a:pt x="1172" y="2096"/>
                    </a:lnTo>
                    <a:lnTo>
                      <a:pt x="1144" y="2084"/>
                    </a:lnTo>
                    <a:lnTo>
                      <a:pt x="1116" y="2071"/>
                    </a:lnTo>
                    <a:lnTo>
                      <a:pt x="1087" y="2057"/>
                    </a:lnTo>
                    <a:lnTo>
                      <a:pt x="1057" y="2041"/>
                    </a:lnTo>
                    <a:lnTo>
                      <a:pt x="1028" y="2023"/>
                    </a:lnTo>
                    <a:lnTo>
                      <a:pt x="998" y="2004"/>
                    </a:lnTo>
                    <a:lnTo>
                      <a:pt x="969" y="1984"/>
                    </a:lnTo>
                    <a:lnTo>
                      <a:pt x="938" y="1961"/>
                    </a:lnTo>
                    <a:lnTo>
                      <a:pt x="907" y="1938"/>
                    </a:lnTo>
                    <a:lnTo>
                      <a:pt x="876" y="1913"/>
                    </a:lnTo>
                    <a:lnTo>
                      <a:pt x="844" y="1887"/>
                    </a:lnTo>
                    <a:lnTo>
                      <a:pt x="811" y="1859"/>
                    </a:lnTo>
                    <a:lnTo>
                      <a:pt x="779" y="1828"/>
                    </a:lnTo>
                    <a:lnTo>
                      <a:pt x="745" y="1797"/>
                    </a:lnTo>
                    <a:lnTo>
                      <a:pt x="712" y="1765"/>
                    </a:lnTo>
                    <a:lnTo>
                      <a:pt x="677" y="1730"/>
                    </a:lnTo>
                    <a:lnTo>
                      <a:pt x="643" y="1694"/>
                    </a:lnTo>
                    <a:lnTo>
                      <a:pt x="607" y="1657"/>
                    </a:lnTo>
                    <a:lnTo>
                      <a:pt x="571" y="1618"/>
                    </a:lnTo>
                    <a:lnTo>
                      <a:pt x="535" y="1577"/>
                    </a:lnTo>
                    <a:lnTo>
                      <a:pt x="498" y="1535"/>
                    </a:lnTo>
                    <a:lnTo>
                      <a:pt x="460" y="1490"/>
                    </a:lnTo>
                    <a:lnTo>
                      <a:pt x="421" y="1445"/>
                    </a:lnTo>
                    <a:lnTo>
                      <a:pt x="383" y="1398"/>
                    </a:lnTo>
                    <a:lnTo>
                      <a:pt x="349" y="1358"/>
                    </a:lnTo>
                    <a:lnTo>
                      <a:pt x="316" y="1318"/>
                    </a:lnTo>
                    <a:lnTo>
                      <a:pt x="281" y="1280"/>
                    </a:lnTo>
                    <a:lnTo>
                      <a:pt x="248" y="1242"/>
                    </a:lnTo>
                    <a:lnTo>
                      <a:pt x="219" y="1210"/>
                    </a:lnTo>
                    <a:lnTo>
                      <a:pt x="190" y="1178"/>
                    </a:lnTo>
                    <a:lnTo>
                      <a:pt x="163" y="1146"/>
                    </a:lnTo>
                    <a:lnTo>
                      <a:pt x="135" y="1114"/>
                    </a:lnTo>
                    <a:lnTo>
                      <a:pt x="109" y="1081"/>
                    </a:lnTo>
                    <a:lnTo>
                      <a:pt x="83" y="1049"/>
                    </a:lnTo>
                    <a:lnTo>
                      <a:pt x="59" y="1015"/>
                    </a:lnTo>
                    <a:lnTo>
                      <a:pt x="35" y="981"/>
                    </a:lnTo>
                    <a:lnTo>
                      <a:pt x="34" y="978"/>
                    </a:lnTo>
                    <a:lnTo>
                      <a:pt x="33" y="974"/>
                    </a:lnTo>
                    <a:lnTo>
                      <a:pt x="0" y="14"/>
                    </a:lnTo>
                    <a:lnTo>
                      <a:pt x="0" y="8"/>
                    </a:lnTo>
                    <a:lnTo>
                      <a:pt x="4" y="4"/>
                    </a:lnTo>
                    <a:lnTo>
                      <a:pt x="8" y="2"/>
                    </a:lnTo>
                    <a:lnTo>
                      <a:pt x="13" y="0"/>
                    </a:lnTo>
                    <a:lnTo>
                      <a:pt x="18" y="1"/>
                    </a:lnTo>
                    <a:lnTo>
                      <a:pt x="22" y="4"/>
                    </a:lnTo>
                    <a:lnTo>
                      <a:pt x="25" y="8"/>
                    </a:lnTo>
                    <a:lnTo>
                      <a:pt x="27" y="13"/>
                    </a:lnTo>
                    <a:lnTo>
                      <a:pt x="60" y="969"/>
                    </a:lnTo>
                    <a:lnTo>
                      <a:pt x="83" y="1003"/>
                    </a:lnTo>
                    <a:lnTo>
                      <a:pt x="107" y="1035"/>
                    </a:lnTo>
                    <a:lnTo>
                      <a:pt x="132" y="1067"/>
                    </a:lnTo>
                    <a:lnTo>
                      <a:pt x="158" y="1099"/>
                    </a:lnTo>
                    <a:lnTo>
                      <a:pt x="185" y="1130"/>
                    </a:lnTo>
                    <a:lnTo>
                      <a:pt x="212" y="1161"/>
                    </a:lnTo>
                    <a:lnTo>
                      <a:pt x="240" y="1193"/>
                    </a:lnTo>
                    <a:lnTo>
                      <a:pt x="268" y="1224"/>
                    </a:lnTo>
                    <a:lnTo>
                      <a:pt x="302" y="1262"/>
                    </a:lnTo>
                    <a:lnTo>
                      <a:pt x="336" y="1300"/>
                    </a:lnTo>
                    <a:lnTo>
                      <a:pt x="370" y="1340"/>
                    </a:lnTo>
                    <a:lnTo>
                      <a:pt x="404" y="1380"/>
                    </a:lnTo>
                    <a:lnTo>
                      <a:pt x="456" y="1444"/>
                    </a:lnTo>
                    <a:lnTo>
                      <a:pt x="508" y="1504"/>
                    </a:lnTo>
                    <a:lnTo>
                      <a:pt x="557" y="1562"/>
                    </a:lnTo>
                    <a:lnTo>
                      <a:pt x="605" y="1615"/>
                    </a:lnTo>
                    <a:lnTo>
                      <a:pt x="652" y="1664"/>
                    </a:lnTo>
                    <a:lnTo>
                      <a:pt x="697" y="1711"/>
                    </a:lnTo>
                    <a:lnTo>
                      <a:pt x="741" y="1755"/>
                    </a:lnTo>
                    <a:lnTo>
                      <a:pt x="783" y="1795"/>
                    </a:lnTo>
                    <a:lnTo>
                      <a:pt x="824" y="1833"/>
                    </a:lnTo>
                    <a:lnTo>
                      <a:pt x="863" y="1867"/>
                    </a:lnTo>
                    <a:lnTo>
                      <a:pt x="901" y="1899"/>
                    </a:lnTo>
                    <a:lnTo>
                      <a:pt x="939" y="1928"/>
                    </a:lnTo>
                    <a:lnTo>
                      <a:pt x="974" y="1955"/>
                    </a:lnTo>
                    <a:lnTo>
                      <a:pt x="1009" y="1978"/>
                    </a:lnTo>
                    <a:lnTo>
                      <a:pt x="1042" y="2000"/>
                    </a:lnTo>
                    <a:lnTo>
                      <a:pt x="1074" y="2019"/>
                    </a:lnTo>
                    <a:lnTo>
                      <a:pt x="1105" y="2037"/>
                    </a:lnTo>
                    <a:lnTo>
                      <a:pt x="1135" y="2052"/>
                    </a:lnTo>
                    <a:lnTo>
                      <a:pt x="1164" y="2066"/>
                    </a:lnTo>
                    <a:lnTo>
                      <a:pt x="1192" y="2077"/>
                    </a:lnTo>
                    <a:lnTo>
                      <a:pt x="1219" y="2086"/>
                    </a:lnTo>
                    <a:lnTo>
                      <a:pt x="1246" y="2095"/>
                    </a:lnTo>
                    <a:lnTo>
                      <a:pt x="1271" y="2101"/>
                    </a:lnTo>
                    <a:lnTo>
                      <a:pt x="1296" y="2106"/>
                    </a:lnTo>
                    <a:lnTo>
                      <a:pt x="1320" y="2110"/>
                    </a:lnTo>
                    <a:lnTo>
                      <a:pt x="1344" y="2112"/>
                    </a:lnTo>
                    <a:lnTo>
                      <a:pt x="1365" y="2113"/>
                    </a:lnTo>
                    <a:lnTo>
                      <a:pt x="1388" y="2113"/>
                    </a:lnTo>
                    <a:lnTo>
                      <a:pt x="1408" y="2113"/>
                    </a:lnTo>
                    <a:lnTo>
                      <a:pt x="1429" y="2111"/>
                    </a:lnTo>
                    <a:lnTo>
                      <a:pt x="1449" y="2109"/>
                    </a:lnTo>
                    <a:lnTo>
                      <a:pt x="1469" y="2106"/>
                    </a:lnTo>
                    <a:lnTo>
                      <a:pt x="1503" y="2100"/>
                    </a:lnTo>
                    <a:lnTo>
                      <a:pt x="1537" y="2093"/>
                    </a:lnTo>
                    <a:lnTo>
                      <a:pt x="1570" y="2086"/>
                    </a:lnTo>
                    <a:lnTo>
                      <a:pt x="1604" y="2078"/>
                    </a:lnTo>
                    <a:lnTo>
                      <a:pt x="1636" y="2070"/>
                    </a:lnTo>
                    <a:lnTo>
                      <a:pt x="1669" y="2062"/>
                    </a:lnTo>
                    <a:lnTo>
                      <a:pt x="1700" y="2052"/>
                    </a:lnTo>
                    <a:lnTo>
                      <a:pt x="1731" y="2042"/>
                    </a:lnTo>
                    <a:lnTo>
                      <a:pt x="1763" y="2031"/>
                    </a:lnTo>
                    <a:lnTo>
                      <a:pt x="1793" y="2020"/>
                    </a:lnTo>
                    <a:lnTo>
                      <a:pt x="1822" y="2010"/>
                    </a:lnTo>
                    <a:lnTo>
                      <a:pt x="1852" y="1998"/>
                    </a:lnTo>
                    <a:lnTo>
                      <a:pt x="1880" y="1985"/>
                    </a:lnTo>
                    <a:lnTo>
                      <a:pt x="1909" y="1972"/>
                    </a:lnTo>
                    <a:lnTo>
                      <a:pt x="1937" y="1958"/>
                    </a:lnTo>
                    <a:lnTo>
                      <a:pt x="1966" y="1944"/>
                    </a:lnTo>
                    <a:lnTo>
                      <a:pt x="1994" y="1929"/>
                    </a:lnTo>
                    <a:lnTo>
                      <a:pt x="2021" y="1914"/>
                    </a:lnTo>
                    <a:lnTo>
                      <a:pt x="2048" y="1897"/>
                    </a:lnTo>
                    <a:lnTo>
                      <a:pt x="2075" y="1880"/>
                    </a:lnTo>
                    <a:lnTo>
                      <a:pt x="2101" y="1863"/>
                    </a:lnTo>
                    <a:lnTo>
                      <a:pt x="2126" y="1845"/>
                    </a:lnTo>
                    <a:lnTo>
                      <a:pt x="2152" y="1826"/>
                    </a:lnTo>
                    <a:lnTo>
                      <a:pt x="2178" y="1807"/>
                    </a:lnTo>
                    <a:lnTo>
                      <a:pt x="2203" y="1787"/>
                    </a:lnTo>
                    <a:lnTo>
                      <a:pt x="2228" y="1767"/>
                    </a:lnTo>
                    <a:lnTo>
                      <a:pt x="2253" y="1745"/>
                    </a:lnTo>
                    <a:lnTo>
                      <a:pt x="2278" y="1724"/>
                    </a:lnTo>
                    <a:lnTo>
                      <a:pt x="2302" y="1701"/>
                    </a:lnTo>
                    <a:lnTo>
                      <a:pt x="2326" y="1678"/>
                    </a:lnTo>
                    <a:lnTo>
                      <a:pt x="2351" y="1653"/>
                    </a:lnTo>
                    <a:lnTo>
                      <a:pt x="2375" y="1630"/>
                    </a:lnTo>
                    <a:lnTo>
                      <a:pt x="2395" y="1608"/>
                    </a:lnTo>
                    <a:lnTo>
                      <a:pt x="2417" y="1589"/>
                    </a:lnTo>
                    <a:lnTo>
                      <a:pt x="2438" y="1569"/>
                    </a:lnTo>
                    <a:lnTo>
                      <a:pt x="2461" y="1551"/>
                    </a:lnTo>
                    <a:lnTo>
                      <a:pt x="2484" y="1535"/>
                    </a:lnTo>
                    <a:lnTo>
                      <a:pt x="2508" y="1519"/>
                    </a:lnTo>
                    <a:lnTo>
                      <a:pt x="2530" y="1503"/>
                    </a:lnTo>
                    <a:lnTo>
                      <a:pt x="2554" y="1489"/>
                    </a:lnTo>
                    <a:lnTo>
                      <a:pt x="2578" y="1476"/>
                    </a:lnTo>
                    <a:lnTo>
                      <a:pt x="2602" y="1465"/>
                    </a:lnTo>
                    <a:lnTo>
                      <a:pt x="2626" y="1454"/>
                    </a:lnTo>
                    <a:lnTo>
                      <a:pt x="2650" y="1444"/>
                    </a:lnTo>
                    <a:lnTo>
                      <a:pt x="2674" y="1435"/>
                    </a:lnTo>
                    <a:lnTo>
                      <a:pt x="2698" y="1427"/>
                    </a:lnTo>
                    <a:lnTo>
                      <a:pt x="2721" y="1420"/>
                    </a:lnTo>
                    <a:lnTo>
                      <a:pt x="2745" y="1415"/>
                    </a:lnTo>
                    <a:lnTo>
                      <a:pt x="2768" y="1410"/>
                    </a:lnTo>
                    <a:lnTo>
                      <a:pt x="2791" y="1405"/>
                    </a:lnTo>
                    <a:lnTo>
                      <a:pt x="2813" y="1403"/>
                    </a:lnTo>
                    <a:lnTo>
                      <a:pt x="2835" y="1401"/>
                    </a:lnTo>
                    <a:lnTo>
                      <a:pt x="2856" y="1400"/>
                    </a:lnTo>
                    <a:lnTo>
                      <a:pt x="2878" y="1400"/>
                    </a:lnTo>
                    <a:lnTo>
                      <a:pt x="2898" y="1401"/>
                    </a:lnTo>
                    <a:lnTo>
                      <a:pt x="2918" y="1403"/>
                    </a:lnTo>
                    <a:lnTo>
                      <a:pt x="2937" y="1405"/>
                    </a:lnTo>
                    <a:lnTo>
                      <a:pt x="2956" y="1410"/>
                    </a:lnTo>
                    <a:lnTo>
                      <a:pt x="2973" y="1415"/>
                    </a:lnTo>
                    <a:lnTo>
                      <a:pt x="2990" y="1420"/>
                    </a:lnTo>
                    <a:lnTo>
                      <a:pt x="3005" y="1427"/>
                    </a:lnTo>
                    <a:lnTo>
                      <a:pt x="3021" y="1434"/>
                    </a:lnTo>
                    <a:lnTo>
                      <a:pt x="3035" y="1443"/>
                    </a:lnTo>
                    <a:lnTo>
                      <a:pt x="3048" y="1453"/>
                    </a:lnTo>
                    <a:lnTo>
                      <a:pt x="3064" y="1468"/>
                    </a:lnTo>
                    <a:lnTo>
                      <a:pt x="3078" y="1484"/>
                    </a:lnTo>
                    <a:lnTo>
                      <a:pt x="3090" y="1500"/>
                    </a:lnTo>
                    <a:lnTo>
                      <a:pt x="3099" y="1517"/>
                    </a:lnTo>
                    <a:lnTo>
                      <a:pt x="3108" y="1535"/>
                    </a:lnTo>
                    <a:lnTo>
                      <a:pt x="3114" y="1552"/>
                    </a:lnTo>
                    <a:lnTo>
                      <a:pt x="3120" y="1570"/>
                    </a:lnTo>
                    <a:lnTo>
                      <a:pt x="3123" y="1590"/>
                    </a:lnTo>
                    <a:lnTo>
                      <a:pt x="3122" y="1557"/>
                    </a:lnTo>
                    <a:lnTo>
                      <a:pt x="3119" y="1526"/>
                    </a:lnTo>
                    <a:lnTo>
                      <a:pt x="3116" y="1497"/>
                    </a:lnTo>
                    <a:lnTo>
                      <a:pt x="3110" y="1470"/>
                    </a:lnTo>
                    <a:lnTo>
                      <a:pt x="3106" y="1444"/>
                    </a:lnTo>
                    <a:lnTo>
                      <a:pt x="3099" y="1419"/>
                    </a:lnTo>
                    <a:lnTo>
                      <a:pt x="3094" y="1395"/>
                    </a:lnTo>
                    <a:lnTo>
                      <a:pt x="3089" y="1373"/>
                    </a:lnTo>
                    <a:lnTo>
                      <a:pt x="3081" y="1347"/>
                    </a:lnTo>
                    <a:lnTo>
                      <a:pt x="3079" y="1338"/>
                    </a:lnTo>
                    <a:lnTo>
                      <a:pt x="3073" y="1323"/>
                    </a:lnTo>
                    <a:lnTo>
                      <a:pt x="3069" y="1310"/>
                    </a:lnTo>
                    <a:lnTo>
                      <a:pt x="3065" y="1299"/>
                    </a:lnTo>
                    <a:lnTo>
                      <a:pt x="3057" y="1292"/>
                    </a:lnTo>
                    <a:lnTo>
                      <a:pt x="3049" y="1285"/>
                    </a:lnTo>
                    <a:lnTo>
                      <a:pt x="3038" y="1278"/>
                    </a:lnTo>
                    <a:lnTo>
                      <a:pt x="3026" y="1271"/>
                    </a:lnTo>
                    <a:lnTo>
                      <a:pt x="3014" y="1265"/>
                    </a:lnTo>
                    <a:lnTo>
                      <a:pt x="3000" y="1259"/>
                    </a:lnTo>
                    <a:lnTo>
                      <a:pt x="2985" y="1253"/>
                    </a:lnTo>
                    <a:lnTo>
                      <a:pt x="2970" y="1249"/>
                    </a:lnTo>
                    <a:lnTo>
                      <a:pt x="2954" y="1243"/>
                    </a:lnTo>
                    <a:lnTo>
                      <a:pt x="2937" y="1240"/>
                    </a:lnTo>
                    <a:lnTo>
                      <a:pt x="2920" y="1237"/>
                    </a:lnTo>
                    <a:lnTo>
                      <a:pt x="2902" y="1234"/>
                    </a:lnTo>
                    <a:lnTo>
                      <a:pt x="2884" y="1231"/>
                    </a:lnTo>
                    <a:lnTo>
                      <a:pt x="2866" y="1230"/>
                    </a:lnTo>
                    <a:lnTo>
                      <a:pt x="2848" y="1230"/>
                    </a:lnTo>
                    <a:lnTo>
                      <a:pt x="2829" y="1231"/>
                    </a:lnTo>
                    <a:lnTo>
                      <a:pt x="2810" y="1234"/>
                    </a:lnTo>
                    <a:lnTo>
                      <a:pt x="2792" y="1236"/>
                    </a:lnTo>
                    <a:lnTo>
                      <a:pt x="2772" y="1238"/>
                    </a:lnTo>
                    <a:lnTo>
                      <a:pt x="2755" y="1242"/>
                    </a:lnTo>
                    <a:lnTo>
                      <a:pt x="2737" y="1245"/>
                    </a:lnTo>
                    <a:lnTo>
                      <a:pt x="2718" y="1251"/>
                    </a:lnTo>
                    <a:lnTo>
                      <a:pt x="2701" y="1255"/>
                    </a:lnTo>
                    <a:lnTo>
                      <a:pt x="2684" y="1261"/>
                    </a:lnTo>
                    <a:lnTo>
                      <a:pt x="2649" y="1273"/>
                    </a:lnTo>
                    <a:lnTo>
                      <a:pt x="2616" y="1288"/>
                    </a:lnTo>
                    <a:lnTo>
                      <a:pt x="2583" y="1304"/>
                    </a:lnTo>
                    <a:lnTo>
                      <a:pt x="2551" y="1321"/>
                    </a:lnTo>
                    <a:lnTo>
                      <a:pt x="2518" y="1339"/>
                    </a:lnTo>
                    <a:lnTo>
                      <a:pt x="2487" y="1359"/>
                    </a:lnTo>
                    <a:lnTo>
                      <a:pt x="2456" y="1379"/>
                    </a:lnTo>
                    <a:lnTo>
                      <a:pt x="2424" y="1401"/>
                    </a:lnTo>
                    <a:lnTo>
                      <a:pt x="2362" y="1446"/>
                    </a:lnTo>
                    <a:lnTo>
                      <a:pt x="2300" y="1494"/>
                    </a:lnTo>
                    <a:lnTo>
                      <a:pt x="2247" y="1534"/>
                    </a:lnTo>
                    <a:lnTo>
                      <a:pt x="2193" y="1574"/>
                    </a:lnTo>
                    <a:lnTo>
                      <a:pt x="2166" y="1593"/>
                    </a:lnTo>
                    <a:lnTo>
                      <a:pt x="2139" y="1612"/>
                    </a:lnTo>
                    <a:lnTo>
                      <a:pt x="2111" y="1631"/>
                    </a:lnTo>
                    <a:lnTo>
                      <a:pt x="2083" y="1648"/>
                    </a:lnTo>
                    <a:lnTo>
                      <a:pt x="2054" y="1665"/>
                    </a:lnTo>
                    <a:lnTo>
                      <a:pt x="2026" y="1682"/>
                    </a:lnTo>
                    <a:lnTo>
                      <a:pt x="1996" y="1697"/>
                    </a:lnTo>
                    <a:lnTo>
                      <a:pt x="1966" y="1711"/>
                    </a:lnTo>
                    <a:lnTo>
                      <a:pt x="1935" y="1724"/>
                    </a:lnTo>
                    <a:lnTo>
                      <a:pt x="1904" y="1736"/>
                    </a:lnTo>
                    <a:lnTo>
                      <a:pt x="1872" y="1746"/>
                    </a:lnTo>
                    <a:lnTo>
                      <a:pt x="1839" y="1756"/>
                    </a:lnTo>
                    <a:lnTo>
                      <a:pt x="1794" y="1766"/>
                    </a:lnTo>
                    <a:lnTo>
                      <a:pt x="1748" y="1774"/>
                    </a:lnTo>
                    <a:lnTo>
                      <a:pt x="1704" y="1780"/>
                    </a:lnTo>
                    <a:lnTo>
                      <a:pt x="1661" y="1783"/>
                    </a:lnTo>
                    <a:lnTo>
                      <a:pt x="1617" y="1784"/>
                    </a:lnTo>
                    <a:lnTo>
                      <a:pt x="1575" y="1783"/>
                    </a:lnTo>
                    <a:lnTo>
                      <a:pt x="1533" y="1780"/>
                    </a:lnTo>
                    <a:lnTo>
                      <a:pt x="1490" y="1773"/>
                    </a:lnTo>
                    <a:lnTo>
                      <a:pt x="1449" y="1766"/>
                    </a:lnTo>
                    <a:lnTo>
                      <a:pt x="1409" y="1755"/>
                    </a:lnTo>
                    <a:lnTo>
                      <a:pt x="1369" y="1742"/>
                    </a:lnTo>
                    <a:lnTo>
                      <a:pt x="1330" y="1727"/>
                    </a:lnTo>
                    <a:lnTo>
                      <a:pt x="1291" y="1710"/>
                    </a:lnTo>
                    <a:lnTo>
                      <a:pt x="1253" y="1690"/>
                    </a:lnTo>
                    <a:lnTo>
                      <a:pt x="1215" y="1669"/>
                    </a:lnTo>
                    <a:lnTo>
                      <a:pt x="1178" y="1645"/>
                    </a:lnTo>
                    <a:lnTo>
                      <a:pt x="1142" y="1618"/>
                    </a:lnTo>
                    <a:lnTo>
                      <a:pt x="1106" y="1590"/>
                    </a:lnTo>
                    <a:lnTo>
                      <a:pt x="1071" y="1558"/>
                    </a:lnTo>
                    <a:lnTo>
                      <a:pt x="1037" y="1525"/>
                    </a:lnTo>
                    <a:lnTo>
                      <a:pt x="1003" y="1490"/>
                    </a:lnTo>
                    <a:lnTo>
                      <a:pt x="971" y="1453"/>
                    </a:lnTo>
                    <a:lnTo>
                      <a:pt x="939" y="1413"/>
                    </a:lnTo>
                    <a:lnTo>
                      <a:pt x="906" y="1371"/>
                    </a:lnTo>
                    <a:lnTo>
                      <a:pt x="876" y="1326"/>
                    </a:lnTo>
                    <a:lnTo>
                      <a:pt x="846" y="1280"/>
                    </a:lnTo>
                    <a:lnTo>
                      <a:pt x="816" y="1231"/>
                    </a:lnTo>
                    <a:lnTo>
                      <a:pt x="787" y="1181"/>
                    </a:lnTo>
                    <a:lnTo>
                      <a:pt x="759" y="1128"/>
                    </a:lnTo>
                    <a:lnTo>
                      <a:pt x="732" y="1073"/>
                    </a:lnTo>
                    <a:lnTo>
                      <a:pt x="705" y="1015"/>
                    </a:lnTo>
                    <a:lnTo>
                      <a:pt x="679" y="956"/>
                    </a:lnTo>
                    <a:lnTo>
                      <a:pt x="663" y="915"/>
                    </a:lnTo>
                    <a:lnTo>
                      <a:pt x="647" y="871"/>
                    </a:lnTo>
                    <a:lnTo>
                      <a:pt x="632" y="826"/>
                    </a:lnTo>
                    <a:lnTo>
                      <a:pt x="619" y="779"/>
                    </a:lnTo>
                    <a:lnTo>
                      <a:pt x="606" y="731"/>
                    </a:lnTo>
                    <a:lnTo>
                      <a:pt x="595" y="681"/>
                    </a:lnTo>
                    <a:lnTo>
                      <a:pt x="587" y="630"/>
                    </a:lnTo>
                    <a:lnTo>
                      <a:pt x="580" y="579"/>
                    </a:lnTo>
                    <a:lnTo>
                      <a:pt x="577" y="555"/>
                    </a:lnTo>
                    <a:lnTo>
                      <a:pt x="575" y="530"/>
                    </a:lnTo>
                    <a:lnTo>
                      <a:pt x="574" y="504"/>
                    </a:lnTo>
                    <a:lnTo>
                      <a:pt x="573" y="479"/>
                    </a:lnTo>
                    <a:lnTo>
                      <a:pt x="573" y="454"/>
                    </a:lnTo>
                    <a:lnTo>
                      <a:pt x="574" y="429"/>
                    </a:lnTo>
                    <a:lnTo>
                      <a:pt x="575" y="405"/>
                    </a:lnTo>
                    <a:lnTo>
                      <a:pt x="577" y="381"/>
                    </a:lnTo>
                    <a:lnTo>
                      <a:pt x="580" y="357"/>
                    </a:lnTo>
                    <a:lnTo>
                      <a:pt x="583" y="333"/>
                    </a:lnTo>
                    <a:lnTo>
                      <a:pt x="588" y="310"/>
                    </a:lnTo>
                    <a:lnTo>
                      <a:pt x="593" y="287"/>
                    </a:lnTo>
                    <a:lnTo>
                      <a:pt x="600" y="265"/>
                    </a:lnTo>
                    <a:lnTo>
                      <a:pt x="606" y="244"/>
                    </a:lnTo>
                    <a:lnTo>
                      <a:pt x="615" y="222"/>
                    </a:lnTo>
                    <a:lnTo>
                      <a:pt x="623" y="202"/>
                    </a:lnTo>
                    <a:lnTo>
                      <a:pt x="627" y="197"/>
                    </a:lnTo>
                    <a:lnTo>
                      <a:pt x="631" y="194"/>
                    </a:lnTo>
                    <a:lnTo>
                      <a:pt x="636" y="194"/>
                    </a:lnTo>
                    <a:lnTo>
                      <a:pt x="642" y="195"/>
                    </a:lnTo>
                    <a:lnTo>
                      <a:pt x="646" y="198"/>
                    </a:lnTo>
                    <a:lnTo>
                      <a:pt x="648" y="203"/>
                    </a:lnTo>
                    <a:lnTo>
                      <a:pt x="649" y="208"/>
                    </a:lnTo>
                    <a:lnTo>
                      <a:pt x="648" y="213"/>
                    </a:lnTo>
                    <a:lnTo>
                      <a:pt x="640" y="232"/>
                    </a:lnTo>
                    <a:lnTo>
                      <a:pt x="632" y="251"/>
                    </a:lnTo>
                    <a:lnTo>
                      <a:pt x="625" y="271"/>
                    </a:lnTo>
                    <a:lnTo>
                      <a:pt x="620" y="291"/>
                    </a:lnTo>
                    <a:lnTo>
                      <a:pt x="616" y="312"/>
                    </a:lnTo>
                    <a:lnTo>
                      <a:pt x="611" y="333"/>
                    </a:lnTo>
                    <a:lnTo>
                      <a:pt x="607" y="356"/>
                    </a:lnTo>
                    <a:lnTo>
                      <a:pt x="605" y="378"/>
                    </a:lnTo>
                    <a:lnTo>
                      <a:pt x="603" y="401"/>
                    </a:lnTo>
                    <a:lnTo>
                      <a:pt x="602" y="424"/>
                    </a:lnTo>
                    <a:lnTo>
                      <a:pt x="601" y="448"/>
                    </a:lnTo>
                    <a:lnTo>
                      <a:pt x="601" y="471"/>
                    </a:lnTo>
                    <a:lnTo>
                      <a:pt x="602" y="495"/>
                    </a:lnTo>
                    <a:lnTo>
                      <a:pt x="603" y="519"/>
                    </a:lnTo>
                    <a:lnTo>
                      <a:pt x="604" y="544"/>
                    </a:lnTo>
                    <a:lnTo>
                      <a:pt x="606" y="569"/>
                    </a:lnTo>
                    <a:lnTo>
                      <a:pt x="613" y="617"/>
                    </a:lnTo>
                    <a:lnTo>
                      <a:pt x="621" y="667"/>
                    </a:lnTo>
                    <a:lnTo>
                      <a:pt x="631" y="715"/>
                    </a:lnTo>
                    <a:lnTo>
                      <a:pt x="643" y="764"/>
                    </a:lnTo>
                    <a:lnTo>
                      <a:pt x="657" y="811"/>
                    </a:lnTo>
                    <a:lnTo>
                      <a:pt x="671" y="858"/>
                    </a:lnTo>
                    <a:lnTo>
                      <a:pt x="687" y="902"/>
                    </a:lnTo>
                    <a:lnTo>
                      <a:pt x="704" y="945"/>
                    </a:lnTo>
                    <a:lnTo>
                      <a:pt x="723" y="987"/>
                    </a:lnTo>
                    <a:lnTo>
                      <a:pt x="741" y="1028"/>
                    </a:lnTo>
                    <a:lnTo>
                      <a:pt x="760" y="1071"/>
                    </a:lnTo>
                    <a:lnTo>
                      <a:pt x="782" y="1112"/>
                    </a:lnTo>
                    <a:lnTo>
                      <a:pt x="804" y="1154"/>
                    </a:lnTo>
                    <a:lnTo>
                      <a:pt x="826" y="1195"/>
                    </a:lnTo>
                    <a:lnTo>
                      <a:pt x="850" y="1236"/>
                    </a:lnTo>
                    <a:lnTo>
                      <a:pt x="875" y="1276"/>
                    </a:lnTo>
                    <a:lnTo>
                      <a:pt x="901" y="1315"/>
                    </a:lnTo>
                    <a:lnTo>
                      <a:pt x="928" y="1353"/>
                    </a:lnTo>
                    <a:lnTo>
                      <a:pt x="956" y="1391"/>
                    </a:lnTo>
                    <a:lnTo>
                      <a:pt x="985" y="1427"/>
                    </a:lnTo>
                    <a:lnTo>
                      <a:pt x="1015" y="1462"/>
                    </a:lnTo>
                    <a:lnTo>
                      <a:pt x="1048" y="1496"/>
                    </a:lnTo>
                    <a:lnTo>
                      <a:pt x="1080" y="1528"/>
                    </a:lnTo>
                    <a:lnTo>
                      <a:pt x="1114" y="1560"/>
                    </a:lnTo>
                    <a:lnTo>
                      <a:pt x="1149" y="1589"/>
                    </a:lnTo>
                    <a:lnTo>
                      <a:pt x="1186" y="1616"/>
                    </a:lnTo>
                    <a:lnTo>
                      <a:pt x="1223" y="1641"/>
                    </a:lnTo>
                    <a:lnTo>
                      <a:pt x="1261" y="1664"/>
                    </a:lnTo>
                    <a:lnTo>
                      <a:pt x="1303" y="1685"/>
                    </a:lnTo>
                    <a:lnTo>
                      <a:pt x="1344" y="1703"/>
                    </a:lnTo>
                    <a:lnTo>
                      <a:pt x="1386" y="1719"/>
                    </a:lnTo>
                    <a:lnTo>
                      <a:pt x="1430" y="1732"/>
                    </a:lnTo>
                    <a:lnTo>
                      <a:pt x="1475" y="1743"/>
                    </a:lnTo>
                    <a:lnTo>
                      <a:pt x="1523" y="1751"/>
                    </a:lnTo>
                    <a:lnTo>
                      <a:pt x="1570" y="1756"/>
                    </a:lnTo>
                    <a:lnTo>
                      <a:pt x="1620" y="1757"/>
                    </a:lnTo>
                    <a:lnTo>
                      <a:pt x="1671" y="1755"/>
                    </a:lnTo>
                    <a:lnTo>
                      <a:pt x="1724" y="1751"/>
                    </a:lnTo>
                    <a:lnTo>
                      <a:pt x="1778" y="1742"/>
                    </a:lnTo>
                    <a:lnTo>
                      <a:pt x="1833" y="1729"/>
                    </a:lnTo>
                    <a:lnTo>
                      <a:pt x="1864" y="1720"/>
                    </a:lnTo>
                    <a:lnTo>
                      <a:pt x="1895" y="1711"/>
                    </a:lnTo>
                    <a:lnTo>
                      <a:pt x="1926" y="1699"/>
                    </a:lnTo>
                    <a:lnTo>
                      <a:pt x="1956" y="1686"/>
                    </a:lnTo>
                    <a:lnTo>
                      <a:pt x="1985" y="1672"/>
                    </a:lnTo>
                    <a:lnTo>
                      <a:pt x="2014" y="1657"/>
                    </a:lnTo>
                    <a:lnTo>
                      <a:pt x="2042" y="1641"/>
                    </a:lnTo>
                    <a:lnTo>
                      <a:pt x="2070" y="1624"/>
                    </a:lnTo>
                    <a:lnTo>
                      <a:pt x="2098" y="1607"/>
                    </a:lnTo>
                    <a:lnTo>
                      <a:pt x="2125" y="1589"/>
                    </a:lnTo>
                    <a:lnTo>
                      <a:pt x="2152" y="1570"/>
                    </a:lnTo>
                    <a:lnTo>
                      <a:pt x="2179" y="1551"/>
                    </a:lnTo>
                    <a:lnTo>
                      <a:pt x="2231" y="1512"/>
                    </a:lnTo>
                    <a:lnTo>
                      <a:pt x="2284" y="1472"/>
                    </a:lnTo>
                    <a:lnTo>
                      <a:pt x="2345" y="1426"/>
                    </a:lnTo>
                    <a:lnTo>
                      <a:pt x="2407" y="1380"/>
                    </a:lnTo>
                    <a:lnTo>
                      <a:pt x="2438" y="1359"/>
                    </a:lnTo>
                    <a:lnTo>
                      <a:pt x="2471" y="1337"/>
                    </a:lnTo>
                    <a:lnTo>
                      <a:pt x="2503" y="1317"/>
                    </a:lnTo>
                    <a:lnTo>
                      <a:pt x="2537" y="1297"/>
                    </a:lnTo>
                    <a:lnTo>
                      <a:pt x="2570" y="1280"/>
                    </a:lnTo>
                    <a:lnTo>
                      <a:pt x="2605" y="1264"/>
                    </a:lnTo>
                    <a:lnTo>
                      <a:pt x="2639" y="1249"/>
                    </a:lnTo>
                    <a:lnTo>
                      <a:pt x="2675" y="1236"/>
                    </a:lnTo>
                    <a:lnTo>
                      <a:pt x="2693" y="1229"/>
                    </a:lnTo>
                    <a:lnTo>
                      <a:pt x="2712" y="1224"/>
                    </a:lnTo>
                    <a:lnTo>
                      <a:pt x="2730" y="1220"/>
                    </a:lnTo>
                    <a:lnTo>
                      <a:pt x="2749" y="1215"/>
                    </a:lnTo>
                    <a:lnTo>
                      <a:pt x="2769" y="1212"/>
                    </a:lnTo>
                    <a:lnTo>
                      <a:pt x="2787" y="1209"/>
                    </a:lnTo>
                    <a:lnTo>
                      <a:pt x="2807" y="1207"/>
                    </a:lnTo>
                    <a:lnTo>
                      <a:pt x="2827" y="1204"/>
                    </a:lnTo>
                    <a:lnTo>
                      <a:pt x="2846" y="1203"/>
                    </a:lnTo>
                    <a:lnTo>
                      <a:pt x="2865" y="1203"/>
                    </a:lnTo>
                    <a:lnTo>
                      <a:pt x="2883" y="1204"/>
                    </a:lnTo>
                    <a:lnTo>
                      <a:pt x="2903" y="1207"/>
                    </a:lnTo>
                    <a:lnTo>
                      <a:pt x="2921" y="1210"/>
                    </a:lnTo>
                    <a:lnTo>
                      <a:pt x="2941" y="1213"/>
                    </a:lnTo>
                    <a:lnTo>
                      <a:pt x="2959" y="1217"/>
                    </a:lnTo>
                    <a:lnTo>
                      <a:pt x="2976" y="1222"/>
                    </a:lnTo>
                    <a:lnTo>
                      <a:pt x="2994" y="1228"/>
                    </a:lnTo>
                    <a:lnTo>
                      <a:pt x="3010" y="1234"/>
                    </a:lnTo>
                    <a:lnTo>
                      <a:pt x="3026" y="1241"/>
                    </a:lnTo>
                    <a:lnTo>
                      <a:pt x="3040" y="1249"/>
                    </a:lnTo>
                    <a:lnTo>
                      <a:pt x="3054" y="1256"/>
                    </a:lnTo>
                    <a:lnTo>
                      <a:pt x="3066" y="1265"/>
                    </a:lnTo>
                    <a:lnTo>
                      <a:pt x="3078" y="1273"/>
                    </a:lnTo>
                    <a:lnTo>
                      <a:pt x="3087" y="1283"/>
                    </a:lnTo>
                    <a:lnTo>
                      <a:pt x="3089" y="1286"/>
                    </a:lnTo>
                    <a:lnTo>
                      <a:pt x="3091" y="1290"/>
                    </a:lnTo>
                    <a:lnTo>
                      <a:pt x="3093" y="1298"/>
                    </a:lnTo>
                    <a:lnTo>
                      <a:pt x="3099" y="1315"/>
                    </a:lnTo>
                    <a:lnTo>
                      <a:pt x="3105" y="1331"/>
                    </a:lnTo>
                    <a:lnTo>
                      <a:pt x="3108" y="1339"/>
                    </a:lnTo>
                    <a:lnTo>
                      <a:pt x="3114" y="1366"/>
                    </a:lnTo>
                    <a:lnTo>
                      <a:pt x="3123" y="1402"/>
                    </a:lnTo>
                    <a:lnTo>
                      <a:pt x="3133" y="1441"/>
                    </a:lnTo>
                    <a:lnTo>
                      <a:pt x="3136" y="1461"/>
                    </a:lnTo>
                    <a:lnTo>
                      <a:pt x="3140" y="1483"/>
                    </a:lnTo>
                    <a:lnTo>
                      <a:pt x="3144" y="1504"/>
                    </a:lnTo>
                    <a:lnTo>
                      <a:pt x="3147" y="1527"/>
                    </a:lnTo>
                    <a:lnTo>
                      <a:pt x="3149" y="1552"/>
                    </a:lnTo>
                    <a:lnTo>
                      <a:pt x="3150" y="1577"/>
                    </a:lnTo>
                    <a:lnTo>
                      <a:pt x="3150" y="1604"/>
                    </a:lnTo>
                    <a:lnTo>
                      <a:pt x="3150" y="1631"/>
                    </a:lnTo>
                    <a:lnTo>
                      <a:pt x="3149" y="1660"/>
                    </a:lnTo>
                    <a:lnTo>
                      <a:pt x="3146" y="1690"/>
                    </a:lnTo>
                    <a:lnTo>
                      <a:pt x="3143" y="1721"/>
                    </a:lnTo>
                    <a:lnTo>
                      <a:pt x="3137" y="1754"/>
                    </a:lnTo>
                    <a:lnTo>
                      <a:pt x="3135" y="1764"/>
                    </a:lnTo>
                    <a:lnTo>
                      <a:pt x="3134" y="1773"/>
                    </a:lnTo>
                    <a:lnTo>
                      <a:pt x="3132" y="1782"/>
                    </a:lnTo>
                    <a:lnTo>
                      <a:pt x="3130" y="1792"/>
                    </a:lnTo>
                    <a:lnTo>
                      <a:pt x="3128" y="1797"/>
                    </a:lnTo>
                    <a:lnTo>
                      <a:pt x="3126" y="1802"/>
                    </a:lnTo>
                    <a:lnTo>
                      <a:pt x="3123" y="1806"/>
                    </a:lnTo>
                    <a:lnTo>
                      <a:pt x="3119" y="1808"/>
                    </a:lnTo>
                    <a:lnTo>
                      <a:pt x="3114" y="1808"/>
                    </a:lnTo>
                    <a:lnTo>
                      <a:pt x="3109" y="1807"/>
                    </a:lnTo>
                    <a:lnTo>
                      <a:pt x="3106" y="1804"/>
                    </a:lnTo>
                    <a:lnTo>
                      <a:pt x="3103" y="1800"/>
                    </a:lnTo>
                    <a:lnTo>
                      <a:pt x="3101" y="1795"/>
                    </a:lnTo>
                    <a:lnTo>
                      <a:pt x="3100" y="1774"/>
                    </a:lnTo>
                    <a:lnTo>
                      <a:pt x="3100" y="1754"/>
                    </a:lnTo>
                    <a:lnTo>
                      <a:pt x="3100" y="1733"/>
                    </a:lnTo>
                    <a:lnTo>
                      <a:pt x="3101" y="1712"/>
                    </a:lnTo>
                    <a:lnTo>
                      <a:pt x="3101" y="1678"/>
                    </a:lnTo>
                    <a:lnTo>
                      <a:pt x="3101" y="1646"/>
                    </a:lnTo>
                    <a:lnTo>
                      <a:pt x="3100" y="1629"/>
                    </a:lnTo>
                    <a:lnTo>
                      <a:pt x="3099" y="1614"/>
                    </a:lnTo>
                    <a:lnTo>
                      <a:pt x="3097" y="1597"/>
                    </a:lnTo>
                    <a:lnTo>
                      <a:pt x="3094" y="1582"/>
                    </a:lnTo>
                    <a:lnTo>
                      <a:pt x="3091" y="1567"/>
                    </a:lnTo>
                    <a:lnTo>
                      <a:pt x="3086" y="1552"/>
                    </a:lnTo>
                    <a:lnTo>
                      <a:pt x="3080" y="1538"/>
                    </a:lnTo>
                    <a:lnTo>
                      <a:pt x="3073" y="1524"/>
                    </a:lnTo>
                    <a:lnTo>
                      <a:pt x="3065" y="1511"/>
                    </a:lnTo>
                    <a:lnTo>
                      <a:pt x="3055" y="1498"/>
                    </a:lnTo>
                    <a:lnTo>
                      <a:pt x="3043" y="1486"/>
                    </a:lnTo>
                    <a:lnTo>
                      <a:pt x="3030" y="1474"/>
                    </a:lnTo>
                    <a:lnTo>
                      <a:pt x="3018" y="1465"/>
                    </a:lnTo>
                    <a:lnTo>
                      <a:pt x="3005" y="1457"/>
                    </a:lnTo>
                    <a:lnTo>
                      <a:pt x="2991" y="1451"/>
                    </a:lnTo>
                    <a:lnTo>
                      <a:pt x="2977" y="1444"/>
                    </a:lnTo>
                    <a:lnTo>
                      <a:pt x="2961" y="1439"/>
                    </a:lnTo>
                    <a:lnTo>
                      <a:pt x="2945" y="1435"/>
                    </a:lnTo>
                    <a:lnTo>
                      <a:pt x="2928" y="1431"/>
                    </a:lnTo>
                    <a:lnTo>
                      <a:pt x="2909" y="1429"/>
                    </a:lnTo>
                    <a:lnTo>
                      <a:pt x="2891" y="1428"/>
                    </a:lnTo>
                    <a:lnTo>
                      <a:pt x="2871" y="1427"/>
                    </a:lnTo>
                    <a:lnTo>
                      <a:pt x="2852" y="1428"/>
                    </a:lnTo>
                    <a:lnTo>
                      <a:pt x="2832" y="1429"/>
                    </a:lnTo>
                    <a:lnTo>
                      <a:pt x="2810" y="1431"/>
                    </a:lnTo>
                    <a:lnTo>
                      <a:pt x="2789" y="1434"/>
                    </a:lnTo>
                    <a:lnTo>
                      <a:pt x="2767" y="1438"/>
                    </a:lnTo>
                    <a:lnTo>
                      <a:pt x="2745" y="1443"/>
                    </a:lnTo>
                    <a:lnTo>
                      <a:pt x="2722" y="1448"/>
                    </a:lnTo>
                    <a:lnTo>
                      <a:pt x="2701" y="1456"/>
                    </a:lnTo>
                    <a:lnTo>
                      <a:pt x="2678" y="1463"/>
                    </a:lnTo>
                    <a:lnTo>
                      <a:pt x="2656" y="1472"/>
                    </a:lnTo>
                    <a:lnTo>
                      <a:pt x="2632" y="1482"/>
                    </a:lnTo>
                    <a:lnTo>
                      <a:pt x="2609" y="1492"/>
                    </a:lnTo>
                    <a:lnTo>
                      <a:pt x="2586" y="1503"/>
                    </a:lnTo>
                    <a:lnTo>
                      <a:pt x="2564" y="1515"/>
                    </a:lnTo>
                    <a:lnTo>
                      <a:pt x="2542" y="1529"/>
                    </a:lnTo>
                    <a:lnTo>
                      <a:pt x="2519" y="1543"/>
                    </a:lnTo>
                    <a:lnTo>
                      <a:pt x="2498" y="1558"/>
                    </a:lnTo>
                    <a:lnTo>
                      <a:pt x="2476" y="1575"/>
                    </a:lnTo>
                    <a:lnTo>
                      <a:pt x="2455" y="1592"/>
                    </a:lnTo>
                    <a:lnTo>
                      <a:pt x="2434" y="1609"/>
                    </a:lnTo>
                    <a:lnTo>
                      <a:pt x="2414" y="1629"/>
                    </a:lnTo>
                    <a:lnTo>
                      <a:pt x="2394" y="1648"/>
                    </a:lnTo>
                    <a:lnTo>
                      <a:pt x="2369" y="1673"/>
                    </a:lnTo>
                    <a:lnTo>
                      <a:pt x="2346" y="1698"/>
                    </a:lnTo>
                    <a:lnTo>
                      <a:pt x="2321" y="1721"/>
                    </a:lnTo>
                    <a:lnTo>
                      <a:pt x="2296" y="1744"/>
                    </a:lnTo>
                    <a:lnTo>
                      <a:pt x="2271" y="1766"/>
                    </a:lnTo>
                    <a:lnTo>
                      <a:pt x="2245" y="1787"/>
                    </a:lnTo>
                    <a:lnTo>
                      <a:pt x="2220" y="1809"/>
                    </a:lnTo>
                    <a:lnTo>
                      <a:pt x="2194" y="1828"/>
                    </a:lnTo>
                    <a:lnTo>
                      <a:pt x="2169" y="1848"/>
                    </a:lnTo>
                    <a:lnTo>
                      <a:pt x="2142" y="1867"/>
                    </a:lnTo>
                    <a:lnTo>
                      <a:pt x="2116" y="1886"/>
                    </a:lnTo>
                    <a:lnTo>
                      <a:pt x="2089" y="1903"/>
                    </a:lnTo>
                    <a:lnTo>
                      <a:pt x="2062" y="1920"/>
                    </a:lnTo>
                    <a:lnTo>
                      <a:pt x="2035" y="1936"/>
                    </a:lnTo>
                    <a:lnTo>
                      <a:pt x="2007" y="1952"/>
                    </a:lnTo>
                    <a:lnTo>
                      <a:pt x="1978" y="1968"/>
                    </a:lnTo>
                    <a:lnTo>
                      <a:pt x="1950" y="1982"/>
                    </a:lnTo>
                    <a:lnTo>
                      <a:pt x="1921" y="1996"/>
                    </a:lnTo>
                    <a:lnTo>
                      <a:pt x="1892" y="2010"/>
                    </a:lnTo>
                    <a:lnTo>
                      <a:pt x="1863" y="2023"/>
                    </a:lnTo>
                    <a:lnTo>
                      <a:pt x="1833" y="2035"/>
                    </a:lnTo>
                    <a:lnTo>
                      <a:pt x="1802" y="2046"/>
                    </a:lnTo>
                    <a:lnTo>
                      <a:pt x="1771" y="2057"/>
                    </a:lnTo>
                    <a:lnTo>
                      <a:pt x="1740" y="2068"/>
                    </a:lnTo>
                    <a:lnTo>
                      <a:pt x="1709" y="2078"/>
                    </a:lnTo>
                    <a:lnTo>
                      <a:pt x="1676" y="2087"/>
                    </a:lnTo>
                    <a:lnTo>
                      <a:pt x="1644" y="2096"/>
                    </a:lnTo>
                    <a:lnTo>
                      <a:pt x="1610" y="2105"/>
                    </a:lnTo>
                    <a:lnTo>
                      <a:pt x="1577" y="2112"/>
                    </a:lnTo>
                    <a:lnTo>
                      <a:pt x="1543" y="2120"/>
                    </a:lnTo>
                    <a:lnTo>
                      <a:pt x="1509" y="2126"/>
                    </a:lnTo>
                    <a:lnTo>
                      <a:pt x="1473" y="2133"/>
                    </a:lnTo>
                    <a:lnTo>
                      <a:pt x="1452" y="2136"/>
                    </a:lnTo>
                    <a:lnTo>
                      <a:pt x="1430" y="2138"/>
                    </a:lnTo>
                    <a:lnTo>
                      <a:pt x="1409" y="2139"/>
                    </a:lnTo>
                    <a:lnTo>
                      <a:pt x="1388" y="2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61"/>
              <p:cNvSpPr>
                <a:spLocks/>
              </p:cNvSpPr>
              <p:nvPr userDrawn="1"/>
            </p:nvSpPr>
            <p:spPr bwMode="auto">
              <a:xfrm>
                <a:off x="2457" y="3089"/>
                <a:ext cx="646" cy="266"/>
              </a:xfrm>
              <a:custGeom>
                <a:avLst/>
                <a:gdLst>
                  <a:gd name="T0" fmla="*/ 1919 w 1939"/>
                  <a:gd name="T1" fmla="*/ 797 h 799"/>
                  <a:gd name="T2" fmla="*/ 1891 w 1939"/>
                  <a:gd name="T3" fmla="*/ 749 h 799"/>
                  <a:gd name="T4" fmla="*/ 1811 w 1939"/>
                  <a:gd name="T5" fmla="*/ 615 h 799"/>
                  <a:gd name="T6" fmla="*/ 1716 w 1939"/>
                  <a:gd name="T7" fmla="*/ 481 h 799"/>
                  <a:gd name="T8" fmla="*/ 1643 w 1939"/>
                  <a:gd name="T9" fmla="*/ 396 h 799"/>
                  <a:gd name="T10" fmla="*/ 1585 w 1939"/>
                  <a:gd name="T11" fmla="*/ 336 h 799"/>
                  <a:gd name="T12" fmla="*/ 1523 w 1939"/>
                  <a:gd name="T13" fmla="*/ 282 h 799"/>
                  <a:gd name="T14" fmla="*/ 1458 w 1939"/>
                  <a:gd name="T15" fmla="*/ 233 h 799"/>
                  <a:gd name="T16" fmla="*/ 1388 w 1939"/>
                  <a:gd name="T17" fmla="*/ 191 h 799"/>
                  <a:gd name="T18" fmla="*/ 1300 w 1939"/>
                  <a:gd name="T19" fmla="*/ 152 h 799"/>
                  <a:gd name="T20" fmla="*/ 1174 w 1939"/>
                  <a:gd name="T21" fmla="*/ 110 h 799"/>
                  <a:gd name="T22" fmla="*/ 1041 w 1939"/>
                  <a:gd name="T23" fmla="*/ 76 h 799"/>
                  <a:gd name="T24" fmla="*/ 906 w 1939"/>
                  <a:gd name="T25" fmla="*/ 51 h 799"/>
                  <a:gd name="T26" fmla="*/ 771 w 1939"/>
                  <a:gd name="T27" fmla="*/ 36 h 799"/>
                  <a:gd name="T28" fmla="*/ 641 w 1939"/>
                  <a:gd name="T29" fmla="*/ 28 h 799"/>
                  <a:gd name="T30" fmla="*/ 518 w 1939"/>
                  <a:gd name="T31" fmla="*/ 29 h 799"/>
                  <a:gd name="T32" fmla="*/ 407 w 1939"/>
                  <a:gd name="T33" fmla="*/ 38 h 799"/>
                  <a:gd name="T34" fmla="*/ 310 w 1939"/>
                  <a:gd name="T35" fmla="*/ 54 h 799"/>
                  <a:gd name="T36" fmla="*/ 231 w 1939"/>
                  <a:gd name="T37" fmla="*/ 78 h 799"/>
                  <a:gd name="T38" fmla="*/ 173 w 1939"/>
                  <a:gd name="T39" fmla="*/ 110 h 799"/>
                  <a:gd name="T40" fmla="*/ 130 w 1939"/>
                  <a:gd name="T41" fmla="*/ 149 h 799"/>
                  <a:gd name="T42" fmla="*/ 83 w 1939"/>
                  <a:gd name="T43" fmla="*/ 194 h 799"/>
                  <a:gd name="T44" fmla="*/ 24 w 1939"/>
                  <a:gd name="T45" fmla="*/ 255 h 799"/>
                  <a:gd name="T46" fmla="*/ 8 w 1939"/>
                  <a:gd name="T47" fmla="*/ 258 h 799"/>
                  <a:gd name="T48" fmla="*/ 0 w 1939"/>
                  <a:gd name="T49" fmla="*/ 246 h 799"/>
                  <a:gd name="T50" fmla="*/ 24 w 1939"/>
                  <a:gd name="T51" fmla="*/ 215 h 799"/>
                  <a:gd name="T52" fmla="*/ 86 w 1939"/>
                  <a:gd name="T53" fmla="*/ 153 h 799"/>
                  <a:gd name="T54" fmla="*/ 125 w 1939"/>
                  <a:gd name="T55" fmla="*/ 117 h 799"/>
                  <a:gd name="T56" fmla="*/ 173 w 1939"/>
                  <a:gd name="T57" fmla="*/ 78 h 799"/>
                  <a:gd name="T58" fmla="*/ 240 w 1939"/>
                  <a:gd name="T59" fmla="*/ 46 h 799"/>
                  <a:gd name="T60" fmla="*/ 328 w 1939"/>
                  <a:gd name="T61" fmla="*/ 23 h 799"/>
                  <a:gd name="T62" fmla="*/ 432 w 1939"/>
                  <a:gd name="T63" fmla="*/ 8 h 799"/>
                  <a:gd name="T64" fmla="*/ 549 w 1939"/>
                  <a:gd name="T65" fmla="*/ 0 h 799"/>
                  <a:gd name="T66" fmla="*/ 677 w 1939"/>
                  <a:gd name="T67" fmla="*/ 1 h 799"/>
                  <a:gd name="T68" fmla="*/ 812 w 1939"/>
                  <a:gd name="T69" fmla="*/ 11 h 799"/>
                  <a:gd name="T70" fmla="*/ 950 w 1939"/>
                  <a:gd name="T71" fmla="*/ 30 h 799"/>
                  <a:gd name="T72" fmla="*/ 1088 w 1939"/>
                  <a:gd name="T73" fmla="*/ 58 h 799"/>
                  <a:gd name="T74" fmla="*/ 1223 w 1939"/>
                  <a:gd name="T75" fmla="*/ 96 h 799"/>
                  <a:gd name="T76" fmla="*/ 1352 w 1939"/>
                  <a:gd name="T77" fmla="*/ 144 h 799"/>
                  <a:gd name="T78" fmla="*/ 1425 w 1939"/>
                  <a:gd name="T79" fmla="*/ 180 h 799"/>
                  <a:gd name="T80" fmla="*/ 1494 w 1939"/>
                  <a:gd name="T81" fmla="*/ 226 h 799"/>
                  <a:gd name="T82" fmla="*/ 1560 w 1939"/>
                  <a:gd name="T83" fmla="*/ 277 h 799"/>
                  <a:gd name="T84" fmla="*/ 1623 w 1939"/>
                  <a:gd name="T85" fmla="*/ 335 h 799"/>
                  <a:gd name="T86" fmla="*/ 1681 w 1939"/>
                  <a:gd name="T87" fmla="*/ 397 h 799"/>
                  <a:gd name="T88" fmla="*/ 1770 w 1939"/>
                  <a:gd name="T89" fmla="*/ 508 h 799"/>
                  <a:gd name="T90" fmla="*/ 1861 w 1939"/>
                  <a:gd name="T91" fmla="*/ 646 h 799"/>
                  <a:gd name="T92" fmla="*/ 1937 w 1939"/>
                  <a:gd name="T93" fmla="*/ 778 h 799"/>
                  <a:gd name="T94" fmla="*/ 1936 w 1939"/>
                  <a:gd name="T95" fmla="*/ 793 h 799"/>
                  <a:gd name="T96" fmla="*/ 1925 w 1939"/>
                  <a:gd name="T97"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9" h="799">
                    <a:moveTo>
                      <a:pt x="1925" y="799"/>
                    </a:moveTo>
                    <a:lnTo>
                      <a:pt x="1922" y="798"/>
                    </a:lnTo>
                    <a:lnTo>
                      <a:pt x="1919" y="797"/>
                    </a:lnTo>
                    <a:lnTo>
                      <a:pt x="1915" y="795"/>
                    </a:lnTo>
                    <a:lnTo>
                      <a:pt x="1913" y="791"/>
                    </a:lnTo>
                    <a:lnTo>
                      <a:pt x="1891" y="749"/>
                    </a:lnTo>
                    <a:lnTo>
                      <a:pt x="1866" y="705"/>
                    </a:lnTo>
                    <a:lnTo>
                      <a:pt x="1839" y="661"/>
                    </a:lnTo>
                    <a:lnTo>
                      <a:pt x="1811" y="615"/>
                    </a:lnTo>
                    <a:lnTo>
                      <a:pt x="1780" y="570"/>
                    </a:lnTo>
                    <a:lnTo>
                      <a:pt x="1749" y="526"/>
                    </a:lnTo>
                    <a:lnTo>
                      <a:pt x="1716" y="481"/>
                    </a:lnTo>
                    <a:lnTo>
                      <a:pt x="1681" y="438"/>
                    </a:lnTo>
                    <a:lnTo>
                      <a:pt x="1663" y="417"/>
                    </a:lnTo>
                    <a:lnTo>
                      <a:pt x="1643" y="396"/>
                    </a:lnTo>
                    <a:lnTo>
                      <a:pt x="1625" y="376"/>
                    </a:lnTo>
                    <a:lnTo>
                      <a:pt x="1605" y="355"/>
                    </a:lnTo>
                    <a:lnTo>
                      <a:pt x="1585" y="336"/>
                    </a:lnTo>
                    <a:lnTo>
                      <a:pt x="1566" y="317"/>
                    </a:lnTo>
                    <a:lnTo>
                      <a:pt x="1545" y="299"/>
                    </a:lnTo>
                    <a:lnTo>
                      <a:pt x="1523" y="282"/>
                    </a:lnTo>
                    <a:lnTo>
                      <a:pt x="1502" y="264"/>
                    </a:lnTo>
                    <a:lnTo>
                      <a:pt x="1480" y="248"/>
                    </a:lnTo>
                    <a:lnTo>
                      <a:pt x="1458" y="233"/>
                    </a:lnTo>
                    <a:lnTo>
                      <a:pt x="1435" y="218"/>
                    </a:lnTo>
                    <a:lnTo>
                      <a:pt x="1412" y="204"/>
                    </a:lnTo>
                    <a:lnTo>
                      <a:pt x="1388" y="191"/>
                    </a:lnTo>
                    <a:lnTo>
                      <a:pt x="1365" y="179"/>
                    </a:lnTo>
                    <a:lnTo>
                      <a:pt x="1341" y="168"/>
                    </a:lnTo>
                    <a:lnTo>
                      <a:pt x="1300" y="152"/>
                    </a:lnTo>
                    <a:lnTo>
                      <a:pt x="1259" y="137"/>
                    </a:lnTo>
                    <a:lnTo>
                      <a:pt x="1217" y="123"/>
                    </a:lnTo>
                    <a:lnTo>
                      <a:pt x="1174" y="110"/>
                    </a:lnTo>
                    <a:lnTo>
                      <a:pt x="1129" y="97"/>
                    </a:lnTo>
                    <a:lnTo>
                      <a:pt x="1085" y="86"/>
                    </a:lnTo>
                    <a:lnTo>
                      <a:pt x="1041" y="76"/>
                    </a:lnTo>
                    <a:lnTo>
                      <a:pt x="995" y="67"/>
                    </a:lnTo>
                    <a:lnTo>
                      <a:pt x="950" y="58"/>
                    </a:lnTo>
                    <a:lnTo>
                      <a:pt x="906" y="51"/>
                    </a:lnTo>
                    <a:lnTo>
                      <a:pt x="860" y="45"/>
                    </a:lnTo>
                    <a:lnTo>
                      <a:pt x="815" y="40"/>
                    </a:lnTo>
                    <a:lnTo>
                      <a:pt x="771" y="36"/>
                    </a:lnTo>
                    <a:lnTo>
                      <a:pt x="728" y="32"/>
                    </a:lnTo>
                    <a:lnTo>
                      <a:pt x="683" y="29"/>
                    </a:lnTo>
                    <a:lnTo>
                      <a:pt x="641" y="28"/>
                    </a:lnTo>
                    <a:lnTo>
                      <a:pt x="599" y="27"/>
                    </a:lnTo>
                    <a:lnTo>
                      <a:pt x="558" y="28"/>
                    </a:lnTo>
                    <a:lnTo>
                      <a:pt x="518" y="29"/>
                    </a:lnTo>
                    <a:lnTo>
                      <a:pt x="480" y="31"/>
                    </a:lnTo>
                    <a:lnTo>
                      <a:pt x="443" y="33"/>
                    </a:lnTo>
                    <a:lnTo>
                      <a:pt x="407" y="38"/>
                    </a:lnTo>
                    <a:lnTo>
                      <a:pt x="373" y="42"/>
                    </a:lnTo>
                    <a:lnTo>
                      <a:pt x="341" y="48"/>
                    </a:lnTo>
                    <a:lnTo>
                      <a:pt x="310" y="54"/>
                    </a:lnTo>
                    <a:lnTo>
                      <a:pt x="282" y="62"/>
                    </a:lnTo>
                    <a:lnTo>
                      <a:pt x="255" y="69"/>
                    </a:lnTo>
                    <a:lnTo>
                      <a:pt x="231" y="78"/>
                    </a:lnTo>
                    <a:lnTo>
                      <a:pt x="209" y="87"/>
                    </a:lnTo>
                    <a:lnTo>
                      <a:pt x="190" y="98"/>
                    </a:lnTo>
                    <a:lnTo>
                      <a:pt x="173" y="110"/>
                    </a:lnTo>
                    <a:lnTo>
                      <a:pt x="159" y="122"/>
                    </a:lnTo>
                    <a:lnTo>
                      <a:pt x="144" y="136"/>
                    </a:lnTo>
                    <a:lnTo>
                      <a:pt x="130" y="149"/>
                    </a:lnTo>
                    <a:lnTo>
                      <a:pt x="117" y="161"/>
                    </a:lnTo>
                    <a:lnTo>
                      <a:pt x="105" y="173"/>
                    </a:lnTo>
                    <a:lnTo>
                      <a:pt x="83" y="194"/>
                    </a:lnTo>
                    <a:lnTo>
                      <a:pt x="62" y="214"/>
                    </a:lnTo>
                    <a:lnTo>
                      <a:pt x="43" y="233"/>
                    </a:lnTo>
                    <a:lnTo>
                      <a:pt x="24" y="255"/>
                    </a:lnTo>
                    <a:lnTo>
                      <a:pt x="19" y="258"/>
                    </a:lnTo>
                    <a:lnTo>
                      <a:pt x="14" y="259"/>
                    </a:lnTo>
                    <a:lnTo>
                      <a:pt x="8" y="258"/>
                    </a:lnTo>
                    <a:lnTo>
                      <a:pt x="4" y="256"/>
                    </a:lnTo>
                    <a:lnTo>
                      <a:pt x="1" y="252"/>
                    </a:lnTo>
                    <a:lnTo>
                      <a:pt x="0" y="246"/>
                    </a:lnTo>
                    <a:lnTo>
                      <a:pt x="0" y="241"/>
                    </a:lnTo>
                    <a:lnTo>
                      <a:pt x="3" y="236"/>
                    </a:lnTo>
                    <a:lnTo>
                      <a:pt x="24" y="215"/>
                    </a:lnTo>
                    <a:lnTo>
                      <a:pt x="44" y="194"/>
                    </a:lnTo>
                    <a:lnTo>
                      <a:pt x="65" y="174"/>
                    </a:lnTo>
                    <a:lnTo>
                      <a:pt x="86" y="153"/>
                    </a:lnTo>
                    <a:lnTo>
                      <a:pt x="98" y="141"/>
                    </a:lnTo>
                    <a:lnTo>
                      <a:pt x="111" y="130"/>
                    </a:lnTo>
                    <a:lnTo>
                      <a:pt x="125" y="117"/>
                    </a:lnTo>
                    <a:lnTo>
                      <a:pt x="140" y="103"/>
                    </a:lnTo>
                    <a:lnTo>
                      <a:pt x="154" y="90"/>
                    </a:lnTo>
                    <a:lnTo>
                      <a:pt x="173" y="78"/>
                    </a:lnTo>
                    <a:lnTo>
                      <a:pt x="192" y="66"/>
                    </a:lnTo>
                    <a:lnTo>
                      <a:pt x="215" y="56"/>
                    </a:lnTo>
                    <a:lnTo>
                      <a:pt x="240" y="46"/>
                    </a:lnTo>
                    <a:lnTo>
                      <a:pt x="268" y="38"/>
                    </a:lnTo>
                    <a:lnTo>
                      <a:pt x="297" y="30"/>
                    </a:lnTo>
                    <a:lnTo>
                      <a:pt x="328" y="23"/>
                    </a:lnTo>
                    <a:lnTo>
                      <a:pt x="360" y="17"/>
                    </a:lnTo>
                    <a:lnTo>
                      <a:pt x="396" y="12"/>
                    </a:lnTo>
                    <a:lnTo>
                      <a:pt x="432" y="8"/>
                    </a:lnTo>
                    <a:lnTo>
                      <a:pt x="470" y="4"/>
                    </a:lnTo>
                    <a:lnTo>
                      <a:pt x="509" y="2"/>
                    </a:lnTo>
                    <a:lnTo>
                      <a:pt x="549" y="0"/>
                    </a:lnTo>
                    <a:lnTo>
                      <a:pt x="592" y="0"/>
                    </a:lnTo>
                    <a:lnTo>
                      <a:pt x="634" y="0"/>
                    </a:lnTo>
                    <a:lnTo>
                      <a:pt x="677" y="1"/>
                    </a:lnTo>
                    <a:lnTo>
                      <a:pt x="721" y="3"/>
                    </a:lnTo>
                    <a:lnTo>
                      <a:pt x="766" y="7"/>
                    </a:lnTo>
                    <a:lnTo>
                      <a:pt x="812" y="11"/>
                    </a:lnTo>
                    <a:lnTo>
                      <a:pt x="857" y="16"/>
                    </a:lnTo>
                    <a:lnTo>
                      <a:pt x="904" y="23"/>
                    </a:lnTo>
                    <a:lnTo>
                      <a:pt x="950" y="30"/>
                    </a:lnTo>
                    <a:lnTo>
                      <a:pt x="995" y="39"/>
                    </a:lnTo>
                    <a:lnTo>
                      <a:pt x="1042" y="48"/>
                    </a:lnTo>
                    <a:lnTo>
                      <a:pt x="1088" y="58"/>
                    </a:lnTo>
                    <a:lnTo>
                      <a:pt x="1134" y="70"/>
                    </a:lnTo>
                    <a:lnTo>
                      <a:pt x="1178" y="83"/>
                    </a:lnTo>
                    <a:lnTo>
                      <a:pt x="1223" y="96"/>
                    </a:lnTo>
                    <a:lnTo>
                      <a:pt x="1266" y="111"/>
                    </a:lnTo>
                    <a:lnTo>
                      <a:pt x="1310" y="127"/>
                    </a:lnTo>
                    <a:lnTo>
                      <a:pt x="1352" y="144"/>
                    </a:lnTo>
                    <a:lnTo>
                      <a:pt x="1377" y="155"/>
                    </a:lnTo>
                    <a:lnTo>
                      <a:pt x="1400" y="167"/>
                    </a:lnTo>
                    <a:lnTo>
                      <a:pt x="1425" y="180"/>
                    </a:lnTo>
                    <a:lnTo>
                      <a:pt x="1449" y="194"/>
                    </a:lnTo>
                    <a:lnTo>
                      <a:pt x="1472" y="209"/>
                    </a:lnTo>
                    <a:lnTo>
                      <a:pt x="1494" y="226"/>
                    </a:lnTo>
                    <a:lnTo>
                      <a:pt x="1517" y="242"/>
                    </a:lnTo>
                    <a:lnTo>
                      <a:pt x="1539" y="259"/>
                    </a:lnTo>
                    <a:lnTo>
                      <a:pt x="1560" y="277"/>
                    </a:lnTo>
                    <a:lnTo>
                      <a:pt x="1582" y="296"/>
                    </a:lnTo>
                    <a:lnTo>
                      <a:pt x="1602" y="315"/>
                    </a:lnTo>
                    <a:lnTo>
                      <a:pt x="1623" y="335"/>
                    </a:lnTo>
                    <a:lnTo>
                      <a:pt x="1642" y="355"/>
                    </a:lnTo>
                    <a:lnTo>
                      <a:pt x="1662" y="376"/>
                    </a:lnTo>
                    <a:lnTo>
                      <a:pt x="1681" y="397"/>
                    </a:lnTo>
                    <a:lnTo>
                      <a:pt x="1699" y="419"/>
                    </a:lnTo>
                    <a:lnTo>
                      <a:pt x="1736" y="463"/>
                    </a:lnTo>
                    <a:lnTo>
                      <a:pt x="1770" y="508"/>
                    </a:lnTo>
                    <a:lnTo>
                      <a:pt x="1802" y="554"/>
                    </a:lnTo>
                    <a:lnTo>
                      <a:pt x="1833" y="600"/>
                    </a:lnTo>
                    <a:lnTo>
                      <a:pt x="1861" y="646"/>
                    </a:lnTo>
                    <a:lnTo>
                      <a:pt x="1888" y="691"/>
                    </a:lnTo>
                    <a:lnTo>
                      <a:pt x="1914" y="735"/>
                    </a:lnTo>
                    <a:lnTo>
                      <a:pt x="1937" y="778"/>
                    </a:lnTo>
                    <a:lnTo>
                      <a:pt x="1939" y="784"/>
                    </a:lnTo>
                    <a:lnTo>
                      <a:pt x="1938" y="789"/>
                    </a:lnTo>
                    <a:lnTo>
                      <a:pt x="1936" y="793"/>
                    </a:lnTo>
                    <a:lnTo>
                      <a:pt x="1932" y="797"/>
                    </a:lnTo>
                    <a:lnTo>
                      <a:pt x="1928" y="798"/>
                    </a:lnTo>
                    <a:lnTo>
                      <a:pt x="1925" y="7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62"/>
              <p:cNvSpPr>
                <a:spLocks noEditPoints="1"/>
              </p:cNvSpPr>
              <p:nvPr userDrawn="1"/>
            </p:nvSpPr>
            <p:spPr bwMode="auto">
              <a:xfrm>
                <a:off x="2424" y="1950"/>
                <a:ext cx="198" cy="79"/>
              </a:xfrm>
              <a:custGeom>
                <a:avLst/>
                <a:gdLst>
                  <a:gd name="T0" fmla="*/ 15 w 593"/>
                  <a:gd name="T1" fmla="*/ 234 h 237"/>
                  <a:gd name="T2" fmla="*/ 6 w 593"/>
                  <a:gd name="T3" fmla="*/ 227 h 237"/>
                  <a:gd name="T4" fmla="*/ 0 w 593"/>
                  <a:gd name="T5" fmla="*/ 212 h 237"/>
                  <a:gd name="T6" fmla="*/ 4 w 593"/>
                  <a:gd name="T7" fmla="*/ 183 h 237"/>
                  <a:gd name="T8" fmla="*/ 29 w 593"/>
                  <a:gd name="T9" fmla="*/ 140 h 237"/>
                  <a:gd name="T10" fmla="*/ 72 w 593"/>
                  <a:gd name="T11" fmla="*/ 92 h 237"/>
                  <a:gd name="T12" fmla="*/ 132 w 593"/>
                  <a:gd name="T13" fmla="*/ 49 h 237"/>
                  <a:gd name="T14" fmla="*/ 195 w 593"/>
                  <a:gd name="T15" fmla="*/ 20 h 237"/>
                  <a:gd name="T16" fmla="*/ 237 w 593"/>
                  <a:gd name="T17" fmla="*/ 8 h 237"/>
                  <a:gd name="T18" fmla="*/ 282 w 593"/>
                  <a:gd name="T19" fmla="*/ 2 h 237"/>
                  <a:gd name="T20" fmla="*/ 343 w 593"/>
                  <a:gd name="T21" fmla="*/ 0 h 237"/>
                  <a:gd name="T22" fmla="*/ 400 w 593"/>
                  <a:gd name="T23" fmla="*/ 5 h 237"/>
                  <a:gd name="T24" fmla="*/ 448 w 593"/>
                  <a:gd name="T25" fmla="*/ 13 h 237"/>
                  <a:gd name="T26" fmla="*/ 487 w 593"/>
                  <a:gd name="T27" fmla="*/ 26 h 237"/>
                  <a:gd name="T28" fmla="*/ 518 w 593"/>
                  <a:gd name="T29" fmla="*/ 43 h 237"/>
                  <a:gd name="T30" fmla="*/ 547 w 593"/>
                  <a:gd name="T31" fmla="*/ 66 h 237"/>
                  <a:gd name="T32" fmla="*/ 574 w 593"/>
                  <a:gd name="T33" fmla="*/ 101 h 237"/>
                  <a:gd name="T34" fmla="*/ 584 w 593"/>
                  <a:gd name="T35" fmla="*/ 128 h 237"/>
                  <a:gd name="T36" fmla="*/ 593 w 593"/>
                  <a:gd name="T37" fmla="*/ 188 h 237"/>
                  <a:gd name="T38" fmla="*/ 589 w 593"/>
                  <a:gd name="T39" fmla="*/ 197 h 237"/>
                  <a:gd name="T40" fmla="*/ 579 w 593"/>
                  <a:gd name="T41" fmla="*/ 200 h 237"/>
                  <a:gd name="T42" fmla="*/ 552 w 593"/>
                  <a:gd name="T43" fmla="*/ 193 h 237"/>
                  <a:gd name="T44" fmla="*/ 456 w 593"/>
                  <a:gd name="T45" fmla="*/ 171 h 237"/>
                  <a:gd name="T46" fmla="*/ 374 w 593"/>
                  <a:gd name="T47" fmla="*/ 161 h 237"/>
                  <a:gd name="T48" fmla="*/ 319 w 593"/>
                  <a:gd name="T49" fmla="*/ 162 h 237"/>
                  <a:gd name="T50" fmla="*/ 263 w 593"/>
                  <a:gd name="T51" fmla="*/ 175 h 237"/>
                  <a:gd name="T52" fmla="*/ 133 w 593"/>
                  <a:gd name="T53" fmla="*/ 214 h 237"/>
                  <a:gd name="T54" fmla="*/ 61 w 593"/>
                  <a:gd name="T55" fmla="*/ 234 h 237"/>
                  <a:gd name="T56" fmla="*/ 28 w 593"/>
                  <a:gd name="T57" fmla="*/ 209 h 237"/>
                  <a:gd name="T58" fmla="*/ 34 w 593"/>
                  <a:gd name="T59" fmla="*/ 210 h 237"/>
                  <a:gd name="T60" fmla="*/ 74 w 593"/>
                  <a:gd name="T61" fmla="*/ 203 h 237"/>
                  <a:gd name="T62" fmla="*/ 168 w 593"/>
                  <a:gd name="T63" fmla="*/ 175 h 237"/>
                  <a:gd name="T64" fmla="*/ 236 w 593"/>
                  <a:gd name="T65" fmla="*/ 155 h 237"/>
                  <a:gd name="T66" fmla="*/ 298 w 593"/>
                  <a:gd name="T67" fmla="*/ 139 h 237"/>
                  <a:gd name="T68" fmla="*/ 348 w 593"/>
                  <a:gd name="T69" fmla="*/ 133 h 237"/>
                  <a:gd name="T70" fmla="*/ 399 w 593"/>
                  <a:gd name="T71" fmla="*/ 135 h 237"/>
                  <a:gd name="T72" fmla="*/ 494 w 593"/>
                  <a:gd name="T73" fmla="*/ 151 h 237"/>
                  <a:gd name="T74" fmla="*/ 563 w 593"/>
                  <a:gd name="T75" fmla="*/ 168 h 237"/>
                  <a:gd name="T76" fmla="*/ 556 w 593"/>
                  <a:gd name="T77" fmla="*/ 127 h 237"/>
                  <a:gd name="T78" fmla="*/ 543 w 593"/>
                  <a:gd name="T79" fmla="*/ 102 h 237"/>
                  <a:gd name="T80" fmla="*/ 512 w 593"/>
                  <a:gd name="T81" fmla="*/ 72 h 237"/>
                  <a:gd name="T82" fmla="*/ 470 w 593"/>
                  <a:gd name="T83" fmla="*/ 49 h 237"/>
                  <a:gd name="T84" fmla="*/ 435 w 593"/>
                  <a:gd name="T85" fmla="*/ 38 h 237"/>
                  <a:gd name="T86" fmla="*/ 392 w 593"/>
                  <a:gd name="T87" fmla="*/ 31 h 237"/>
                  <a:gd name="T88" fmla="*/ 340 w 593"/>
                  <a:gd name="T89" fmla="*/ 27 h 237"/>
                  <a:gd name="T90" fmla="*/ 274 w 593"/>
                  <a:gd name="T91" fmla="*/ 30 h 237"/>
                  <a:gd name="T92" fmla="*/ 205 w 593"/>
                  <a:gd name="T93" fmla="*/ 46 h 237"/>
                  <a:gd name="T94" fmla="*/ 145 w 593"/>
                  <a:gd name="T95" fmla="*/ 72 h 237"/>
                  <a:gd name="T96" fmla="*/ 99 w 593"/>
                  <a:gd name="T97" fmla="*/ 105 h 237"/>
                  <a:gd name="T98" fmla="*/ 63 w 593"/>
                  <a:gd name="T99" fmla="*/ 140 h 237"/>
                  <a:gd name="T100" fmla="*/ 41 w 593"/>
                  <a:gd name="T101" fmla="*/ 171 h 237"/>
                  <a:gd name="T102" fmla="*/ 27 w 593"/>
                  <a:gd name="T103" fmla="*/ 206 h 237"/>
                  <a:gd name="T104" fmla="*/ 28 w 593"/>
                  <a:gd name="T105" fmla="*/ 20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3" h="237">
                    <a:moveTo>
                      <a:pt x="34" y="237"/>
                    </a:moveTo>
                    <a:lnTo>
                      <a:pt x="23" y="236"/>
                    </a:lnTo>
                    <a:lnTo>
                      <a:pt x="15" y="234"/>
                    </a:lnTo>
                    <a:lnTo>
                      <a:pt x="12" y="231"/>
                    </a:lnTo>
                    <a:lnTo>
                      <a:pt x="9" y="229"/>
                    </a:lnTo>
                    <a:lnTo>
                      <a:pt x="6" y="227"/>
                    </a:lnTo>
                    <a:lnTo>
                      <a:pt x="4" y="223"/>
                    </a:lnTo>
                    <a:lnTo>
                      <a:pt x="2" y="219"/>
                    </a:lnTo>
                    <a:lnTo>
                      <a:pt x="0" y="212"/>
                    </a:lnTo>
                    <a:lnTo>
                      <a:pt x="0" y="204"/>
                    </a:lnTo>
                    <a:lnTo>
                      <a:pt x="1" y="196"/>
                    </a:lnTo>
                    <a:lnTo>
                      <a:pt x="4" y="183"/>
                    </a:lnTo>
                    <a:lnTo>
                      <a:pt x="10" y="170"/>
                    </a:lnTo>
                    <a:lnTo>
                      <a:pt x="18" y="155"/>
                    </a:lnTo>
                    <a:lnTo>
                      <a:pt x="29" y="140"/>
                    </a:lnTo>
                    <a:lnTo>
                      <a:pt x="41" y="124"/>
                    </a:lnTo>
                    <a:lnTo>
                      <a:pt x="56" y="108"/>
                    </a:lnTo>
                    <a:lnTo>
                      <a:pt x="72" y="92"/>
                    </a:lnTo>
                    <a:lnTo>
                      <a:pt x="90" y="77"/>
                    </a:lnTo>
                    <a:lnTo>
                      <a:pt x="111" y="62"/>
                    </a:lnTo>
                    <a:lnTo>
                      <a:pt x="132" y="49"/>
                    </a:lnTo>
                    <a:lnTo>
                      <a:pt x="156" y="36"/>
                    </a:lnTo>
                    <a:lnTo>
                      <a:pt x="181" y="25"/>
                    </a:lnTo>
                    <a:lnTo>
                      <a:pt x="195" y="20"/>
                    </a:lnTo>
                    <a:lnTo>
                      <a:pt x="208" y="16"/>
                    </a:lnTo>
                    <a:lnTo>
                      <a:pt x="222" y="12"/>
                    </a:lnTo>
                    <a:lnTo>
                      <a:pt x="237" y="8"/>
                    </a:lnTo>
                    <a:lnTo>
                      <a:pt x="252" y="6"/>
                    </a:lnTo>
                    <a:lnTo>
                      <a:pt x="267" y="4"/>
                    </a:lnTo>
                    <a:lnTo>
                      <a:pt x="282" y="2"/>
                    </a:lnTo>
                    <a:lnTo>
                      <a:pt x="299" y="0"/>
                    </a:lnTo>
                    <a:lnTo>
                      <a:pt x="321" y="0"/>
                    </a:lnTo>
                    <a:lnTo>
                      <a:pt x="343" y="0"/>
                    </a:lnTo>
                    <a:lnTo>
                      <a:pt x="363" y="0"/>
                    </a:lnTo>
                    <a:lnTo>
                      <a:pt x="383" y="3"/>
                    </a:lnTo>
                    <a:lnTo>
                      <a:pt x="400" y="5"/>
                    </a:lnTo>
                    <a:lnTo>
                      <a:pt x="417" y="7"/>
                    </a:lnTo>
                    <a:lnTo>
                      <a:pt x="434" y="10"/>
                    </a:lnTo>
                    <a:lnTo>
                      <a:pt x="448" y="13"/>
                    </a:lnTo>
                    <a:lnTo>
                      <a:pt x="462" y="18"/>
                    </a:lnTo>
                    <a:lnTo>
                      <a:pt x="475" y="22"/>
                    </a:lnTo>
                    <a:lnTo>
                      <a:pt x="487" y="26"/>
                    </a:lnTo>
                    <a:lnTo>
                      <a:pt x="497" y="32"/>
                    </a:lnTo>
                    <a:lnTo>
                      <a:pt x="508" y="37"/>
                    </a:lnTo>
                    <a:lnTo>
                      <a:pt x="518" y="43"/>
                    </a:lnTo>
                    <a:lnTo>
                      <a:pt x="526" y="48"/>
                    </a:lnTo>
                    <a:lnTo>
                      <a:pt x="534" y="54"/>
                    </a:lnTo>
                    <a:lnTo>
                      <a:pt x="547" y="66"/>
                    </a:lnTo>
                    <a:lnTo>
                      <a:pt x="558" y="78"/>
                    </a:lnTo>
                    <a:lnTo>
                      <a:pt x="566" y="90"/>
                    </a:lnTo>
                    <a:lnTo>
                      <a:pt x="574" y="101"/>
                    </a:lnTo>
                    <a:lnTo>
                      <a:pt x="578" y="112"/>
                    </a:lnTo>
                    <a:lnTo>
                      <a:pt x="582" y="120"/>
                    </a:lnTo>
                    <a:lnTo>
                      <a:pt x="584" y="128"/>
                    </a:lnTo>
                    <a:lnTo>
                      <a:pt x="585" y="133"/>
                    </a:lnTo>
                    <a:lnTo>
                      <a:pt x="593" y="185"/>
                    </a:lnTo>
                    <a:lnTo>
                      <a:pt x="593" y="188"/>
                    </a:lnTo>
                    <a:lnTo>
                      <a:pt x="592" y="192"/>
                    </a:lnTo>
                    <a:lnTo>
                      <a:pt x="591" y="195"/>
                    </a:lnTo>
                    <a:lnTo>
                      <a:pt x="589" y="197"/>
                    </a:lnTo>
                    <a:lnTo>
                      <a:pt x="586" y="199"/>
                    </a:lnTo>
                    <a:lnTo>
                      <a:pt x="583" y="200"/>
                    </a:lnTo>
                    <a:lnTo>
                      <a:pt x="579" y="200"/>
                    </a:lnTo>
                    <a:lnTo>
                      <a:pt x="576" y="199"/>
                    </a:lnTo>
                    <a:lnTo>
                      <a:pt x="570" y="198"/>
                    </a:lnTo>
                    <a:lnTo>
                      <a:pt x="552" y="193"/>
                    </a:lnTo>
                    <a:lnTo>
                      <a:pt x="526" y="186"/>
                    </a:lnTo>
                    <a:lnTo>
                      <a:pt x="494" y="179"/>
                    </a:lnTo>
                    <a:lnTo>
                      <a:pt x="456" y="171"/>
                    </a:lnTo>
                    <a:lnTo>
                      <a:pt x="416" y="165"/>
                    </a:lnTo>
                    <a:lnTo>
                      <a:pt x="395" y="162"/>
                    </a:lnTo>
                    <a:lnTo>
                      <a:pt x="374" y="161"/>
                    </a:lnTo>
                    <a:lnTo>
                      <a:pt x="354" y="160"/>
                    </a:lnTo>
                    <a:lnTo>
                      <a:pt x="334" y="161"/>
                    </a:lnTo>
                    <a:lnTo>
                      <a:pt x="319" y="162"/>
                    </a:lnTo>
                    <a:lnTo>
                      <a:pt x="302" y="166"/>
                    </a:lnTo>
                    <a:lnTo>
                      <a:pt x="282" y="170"/>
                    </a:lnTo>
                    <a:lnTo>
                      <a:pt x="263" y="175"/>
                    </a:lnTo>
                    <a:lnTo>
                      <a:pt x="220" y="187"/>
                    </a:lnTo>
                    <a:lnTo>
                      <a:pt x="176" y="201"/>
                    </a:lnTo>
                    <a:lnTo>
                      <a:pt x="133" y="214"/>
                    </a:lnTo>
                    <a:lnTo>
                      <a:pt x="95" y="226"/>
                    </a:lnTo>
                    <a:lnTo>
                      <a:pt x="77" y="230"/>
                    </a:lnTo>
                    <a:lnTo>
                      <a:pt x="61" y="234"/>
                    </a:lnTo>
                    <a:lnTo>
                      <a:pt x="46" y="236"/>
                    </a:lnTo>
                    <a:lnTo>
                      <a:pt x="34" y="237"/>
                    </a:lnTo>
                    <a:close/>
                    <a:moveTo>
                      <a:pt x="28" y="209"/>
                    </a:moveTo>
                    <a:lnTo>
                      <a:pt x="28" y="209"/>
                    </a:lnTo>
                    <a:lnTo>
                      <a:pt x="30" y="210"/>
                    </a:lnTo>
                    <a:lnTo>
                      <a:pt x="34" y="210"/>
                    </a:lnTo>
                    <a:lnTo>
                      <a:pt x="45" y="209"/>
                    </a:lnTo>
                    <a:lnTo>
                      <a:pt x="58" y="207"/>
                    </a:lnTo>
                    <a:lnTo>
                      <a:pt x="74" y="203"/>
                    </a:lnTo>
                    <a:lnTo>
                      <a:pt x="90" y="199"/>
                    </a:lnTo>
                    <a:lnTo>
                      <a:pt x="128" y="188"/>
                    </a:lnTo>
                    <a:lnTo>
                      <a:pt x="168" y="175"/>
                    </a:lnTo>
                    <a:lnTo>
                      <a:pt x="191" y="169"/>
                    </a:lnTo>
                    <a:lnTo>
                      <a:pt x="213" y="161"/>
                    </a:lnTo>
                    <a:lnTo>
                      <a:pt x="236" y="155"/>
                    </a:lnTo>
                    <a:lnTo>
                      <a:pt x="258" y="148"/>
                    </a:lnTo>
                    <a:lnTo>
                      <a:pt x="278" y="143"/>
                    </a:lnTo>
                    <a:lnTo>
                      <a:pt x="298" y="139"/>
                    </a:lnTo>
                    <a:lnTo>
                      <a:pt x="316" y="135"/>
                    </a:lnTo>
                    <a:lnTo>
                      <a:pt x="332" y="134"/>
                    </a:lnTo>
                    <a:lnTo>
                      <a:pt x="348" y="133"/>
                    </a:lnTo>
                    <a:lnTo>
                      <a:pt x="366" y="133"/>
                    </a:lnTo>
                    <a:lnTo>
                      <a:pt x="382" y="134"/>
                    </a:lnTo>
                    <a:lnTo>
                      <a:pt x="399" y="135"/>
                    </a:lnTo>
                    <a:lnTo>
                      <a:pt x="431" y="140"/>
                    </a:lnTo>
                    <a:lnTo>
                      <a:pt x="464" y="144"/>
                    </a:lnTo>
                    <a:lnTo>
                      <a:pt x="494" y="151"/>
                    </a:lnTo>
                    <a:lnTo>
                      <a:pt x="521" y="156"/>
                    </a:lnTo>
                    <a:lnTo>
                      <a:pt x="544" y="162"/>
                    </a:lnTo>
                    <a:lnTo>
                      <a:pt x="563" y="168"/>
                    </a:lnTo>
                    <a:lnTo>
                      <a:pt x="558" y="138"/>
                    </a:lnTo>
                    <a:lnTo>
                      <a:pt x="557" y="133"/>
                    </a:lnTo>
                    <a:lnTo>
                      <a:pt x="556" y="127"/>
                    </a:lnTo>
                    <a:lnTo>
                      <a:pt x="552" y="119"/>
                    </a:lnTo>
                    <a:lnTo>
                      <a:pt x="548" y="111"/>
                    </a:lnTo>
                    <a:lnTo>
                      <a:pt x="543" y="102"/>
                    </a:lnTo>
                    <a:lnTo>
                      <a:pt x="534" y="92"/>
                    </a:lnTo>
                    <a:lnTo>
                      <a:pt x="524" y="81"/>
                    </a:lnTo>
                    <a:lnTo>
                      <a:pt x="512" y="72"/>
                    </a:lnTo>
                    <a:lnTo>
                      <a:pt x="497" y="62"/>
                    </a:lnTo>
                    <a:lnTo>
                      <a:pt x="480" y="53"/>
                    </a:lnTo>
                    <a:lnTo>
                      <a:pt x="470" y="49"/>
                    </a:lnTo>
                    <a:lnTo>
                      <a:pt x="460" y="45"/>
                    </a:lnTo>
                    <a:lnTo>
                      <a:pt x="448" y="41"/>
                    </a:lnTo>
                    <a:lnTo>
                      <a:pt x="435" y="38"/>
                    </a:lnTo>
                    <a:lnTo>
                      <a:pt x="422" y="35"/>
                    </a:lnTo>
                    <a:lnTo>
                      <a:pt x="408" y="33"/>
                    </a:lnTo>
                    <a:lnTo>
                      <a:pt x="392" y="31"/>
                    </a:lnTo>
                    <a:lnTo>
                      <a:pt x="375" y="29"/>
                    </a:lnTo>
                    <a:lnTo>
                      <a:pt x="358" y="27"/>
                    </a:lnTo>
                    <a:lnTo>
                      <a:pt x="340" y="27"/>
                    </a:lnTo>
                    <a:lnTo>
                      <a:pt x="320" y="27"/>
                    </a:lnTo>
                    <a:lnTo>
                      <a:pt x="300" y="27"/>
                    </a:lnTo>
                    <a:lnTo>
                      <a:pt x="274" y="30"/>
                    </a:lnTo>
                    <a:lnTo>
                      <a:pt x="249" y="34"/>
                    </a:lnTo>
                    <a:lnTo>
                      <a:pt x="226" y="38"/>
                    </a:lnTo>
                    <a:lnTo>
                      <a:pt x="205" y="46"/>
                    </a:lnTo>
                    <a:lnTo>
                      <a:pt x="183" y="53"/>
                    </a:lnTo>
                    <a:lnTo>
                      <a:pt x="164" y="62"/>
                    </a:lnTo>
                    <a:lnTo>
                      <a:pt x="145" y="72"/>
                    </a:lnTo>
                    <a:lnTo>
                      <a:pt x="129" y="83"/>
                    </a:lnTo>
                    <a:lnTo>
                      <a:pt x="113" y="93"/>
                    </a:lnTo>
                    <a:lnTo>
                      <a:pt x="99" y="105"/>
                    </a:lnTo>
                    <a:lnTo>
                      <a:pt x="86" y="116"/>
                    </a:lnTo>
                    <a:lnTo>
                      <a:pt x="74" y="128"/>
                    </a:lnTo>
                    <a:lnTo>
                      <a:pt x="63" y="140"/>
                    </a:lnTo>
                    <a:lnTo>
                      <a:pt x="55" y="151"/>
                    </a:lnTo>
                    <a:lnTo>
                      <a:pt x="47" y="161"/>
                    </a:lnTo>
                    <a:lnTo>
                      <a:pt x="41" y="171"/>
                    </a:lnTo>
                    <a:lnTo>
                      <a:pt x="32" y="186"/>
                    </a:lnTo>
                    <a:lnTo>
                      <a:pt x="28" y="198"/>
                    </a:lnTo>
                    <a:lnTo>
                      <a:pt x="27" y="206"/>
                    </a:lnTo>
                    <a:lnTo>
                      <a:pt x="27" y="209"/>
                    </a:lnTo>
                    <a:lnTo>
                      <a:pt x="28" y="209"/>
                    </a:lnTo>
                    <a:lnTo>
                      <a:pt x="28"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63"/>
              <p:cNvSpPr>
                <a:spLocks noEditPoints="1"/>
              </p:cNvSpPr>
              <p:nvPr userDrawn="1"/>
            </p:nvSpPr>
            <p:spPr bwMode="auto">
              <a:xfrm>
                <a:off x="1771" y="2599"/>
                <a:ext cx="21" cy="19"/>
              </a:xfrm>
              <a:custGeom>
                <a:avLst/>
                <a:gdLst>
                  <a:gd name="T0" fmla="*/ 32 w 64"/>
                  <a:gd name="T1" fmla="*/ 58 h 58"/>
                  <a:gd name="T2" fmla="*/ 26 w 64"/>
                  <a:gd name="T3" fmla="*/ 58 h 58"/>
                  <a:gd name="T4" fmla="*/ 19 w 64"/>
                  <a:gd name="T5" fmla="*/ 56 h 58"/>
                  <a:gd name="T6" fmla="*/ 14 w 64"/>
                  <a:gd name="T7" fmla="*/ 53 h 58"/>
                  <a:gd name="T8" fmla="*/ 9 w 64"/>
                  <a:gd name="T9" fmla="*/ 49 h 58"/>
                  <a:gd name="T10" fmla="*/ 5 w 64"/>
                  <a:gd name="T11" fmla="*/ 45 h 58"/>
                  <a:gd name="T12" fmla="*/ 2 w 64"/>
                  <a:gd name="T13" fmla="*/ 41 h 58"/>
                  <a:gd name="T14" fmla="*/ 0 w 64"/>
                  <a:gd name="T15" fmla="*/ 34 h 58"/>
                  <a:gd name="T16" fmla="*/ 0 w 64"/>
                  <a:gd name="T17" fmla="*/ 29 h 58"/>
                  <a:gd name="T18" fmla="*/ 0 w 64"/>
                  <a:gd name="T19" fmla="*/ 22 h 58"/>
                  <a:gd name="T20" fmla="*/ 2 w 64"/>
                  <a:gd name="T21" fmla="*/ 17 h 58"/>
                  <a:gd name="T22" fmla="*/ 5 w 64"/>
                  <a:gd name="T23" fmla="*/ 13 h 58"/>
                  <a:gd name="T24" fmla="*/ 9 w 64"/>
                  <a:gd name="T25" fmla="*/ 8 h 58"/>
                  <a:gd name="T26" fmla="*/ 14 w 64"/>
                  <a:gd name="T27" fmla="*/ 4 h 58"/>
                  <a:gd name="T28" fmla="*/ 19 w 64"/>
                  <a:gd name="T29" fmla="*/ 2 h 58"/>
                  <a:gd name="T30" fmla="*/ 26 w 64"/>
                  <a:gd name="T31" fmla="*/ 0 h 58"/>
                  <a:gd name="T32" fmla="*/ 32 w 64"/>
                  <a:gd name="T33" fmla="*/ 0 h 58"/>
                  <a:gd name="T34" fmla="*/ 39 w 64"/>
                  <a:gd name="T35" fmla="*/ 0 h 58"/>
                  <a:gd name="T36" fmla="*/ 45 w 64"/>
                  <a:gd name="T37" fmla="*/ 2 h 58"/>
                  <a:gd name="T38" fmla="*/ 50 w 64"/>
                  <a:gd name="T39" fmla="*/ 4 h 58"/>
                  <a:gd name="T40" fmla="*/ 55 w 64"/>
                  <a:gd name="T41" fmla="*/ 8 h 58"/>
                  <a:gd name="T42" fmla="*/ 59 w 64"/>
                  <a:gd name="T43" fmla="*/ 13 h 58"/>
                  <a:gd name="T44" fmla="*/ 62 w 64"/>
                  <a:gd name="T45" fmla="*/ 17 h 58"/>
                  <a:gd name="T46" fmla="*/ 64 w 64"/>
                  <a:gd name="T47" fmla="*/ 22 h 58"/>
                  <a:gd name="T48" fmla="*/ 64 w 64"/>
                  <a:gd name="T49" fmla="*/ 29 h 58"/>
                  <a:gd name="T50" fmla="*/ 64 w 64"/>
                  <a:gd name="T51" fmla="*/ 34 h 58"/>
                  <a:gd name="T52" fmla="*/ 62 w 64"/>
                  <a:gd name="T53" fmla="*/ 41 h 58"/>
                  <a:gd name="T54" fmla="*/ 59 w 64"/>
                  <a:gd name="T55" fmla="*/ 45 h 58"/>
                  <a:gd name="T56" fmla="*/ 55 w 64"/>
                  <a:gd name="T57" fmla="*/ 49 h 58"/>
                  <a:gd name="T58" fmla="*/ 50 w 64"/>
                  <a:gd name="T59" fmla="*/ 53 h 58"/>
                  <a:gd name="T60" fmla="*/ 45 w 64"/>
                  <a:gd name="T61" fmla="*/ 56 h 58"/>
                  <a:gd name="T62" fmla="*/ 39 w 64"/>
                  <a:gd name="T63" fmla="*/ 58 h 58"/>
                  <a:gd name="T64" fmla="*/ 32 w 64"/>
                  <a:gd name="T65" fmla="*/ 58 h 58"/>
                  <a:gd name="T66" fmla="*/ 32 w 64"/>
                  <a:gd name="T67" fmla="*/ 27 h 58"/>
                  <a:gd name="T68" fmla="*/ 32 w 64"/>
                  <a:gd name="T69" fmla="*/ 27 h 58"/>
                  <a:gd name="T70" fmla="*/ 28 w 64"/>
                  <a:gd name="T71" fmla="*/ 28 h 58"/>
                  <a:gd name="T72" fmla="*/ 27 w 64"/>
                  <a:gd name="T73" fmla="*/ 29 h 58"/>
                  <a:gd name="T74" fmla="*/ 28 w 64"/>
                  <a:gd name="T75" fmla="*/ 30 h 58"/>
                  <a:gd name="T76" fmla="*/ 32 w 64"/>
                  <a:gd name="T77" fmla="*/ 31 h 58"/>
                  <a:gd name="T78" fmla="*/ 36 w 64"/>
                  <a:gd name="T79" fmla="*/ 30 h 58"/>
                  <a:gd name="T80" fmla="*/ 37 w 64"/>
                  <a:gd name="T81" fmla="*/ 29 h 58"/>
                  <a:gd name="T82" fmla="*/ 36 w 64"/>
                  <a:gd name="T83" fmla="*/ 28 h 58"/>
                  <a:gd name="T84" fmla="*/ 32 w 64"/>
                  <a:gd name="T8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58">
                    <a:moveTo>
                      <a:pt x="32" y="58"/>
                    </a:moveTo>
                    <a:lnTo>
                      <a:pt x="26" y="58"/>
                    </a:lnTo>
                    <a:lnTo>
                      <a:pt x="19" y="56"/>
                    </a:lnTo>
                    <a:lnTo>
                      <a:pt x="14" y="53"/>
                    </a:lnTo>
                    <a:lnTo>
                      <a:pt x="9" y="49"/>
                    </a:lnTo>
                    <a:lnTo>
                      <a:pt x="5" y="45"/>
                    </a:lnTo>
                    <a:lnTo>
                      <a:pt x="2" y="41"/>
                    </a:lnTo>
                    <a:lnTo>
                      <a:pt x="0" y="34"/>
                    </a:lnTo>
                    <a:lnTo>
                      <a:pt x="0" y="29"/>
                    </a:lnTo>
                    <a:lnTo>
                      <a:pt x="0" y="22"/>
                    </a:lnTo>
                    <a:lnTo>
                      <a:pt x="2" y="17"/>
                    </a:lnTo>
                    <a:lnTo>
                      <a:pt x="5" y="13"/>
                    </a:lnTo>
                    <a:lnTo>
                      <a:pt x="9" y="8"/>
                    </a:lnTo>
                    <a:lnTo>
                      <a:pt x="14" y="4"/>
                    </a:lnTo>
                    <a:lnTo>
                      <a:pt x="19" y="2"/>
                    </a:lnTo>
                    <a:lnTo>
                      <a:pt x="26" y="0"/>
                    </a:lnTo>
                    <a:lnTo>
                      <a:pt x="32" y="0"/>
                    </a:lnTo>
                    <a:lnTo>
                      <a:pt x="39" y="0"/>
                    </a:lnTo>
                    <a:lnTo>
                      <a:pt x="45" y="2"/>
                    </a:lnTo>
                    <a:lnTo>
                      <a:pt x="50" y="4"/>
                    </a:lnTo>
                    <a:lnTo>
                      <a:pt x="55" y="8"/>
                    </a:lnTo>
                    <a:lnTo>
                      <a:pt x="59" y="13"/>
                    </a:lnTo>
                    <a:lnTo>
                      <a:pt x="62" y="17"/>
                    </a:lnTo>
                    <a:lnTo>
                      <a:pt x="64" y="22"/>
                    </a:lnTo>
                    <a:lnTo>
                      <a:pt x="64" y="29"/>
                    </a:lnTo>
                    <a:lnTo>
                      <a:pt x="64" y="34"/>
                    </a:lnTo>
                    <a:lnTo>
                      <a:pt x="62" y="41"/>
                    </a:lnTo>
                    <a:lnTo>
                      <a:pt x="59" y="45"/>
                    </a:lnTo>
                    <a:lnTo>
                      <a:pt x="55" y="49"/>
                    </a:lnTo>
                    <a:lnTo>
                      <a:pt x="50" y="53"/>
                    </a:lnTo>
                    <a:lnTo>
                      <a:pt x="45" y="56"/>
                    </a:lnTo>
                    <a:lnTo>
                      <a:pt x="39" y="58"/>
                    </a:lnTo>
                    <a:lnTo>
                      <a:pt x="32" y="58"/>
                    </a:lnTo>
                    <a:close/>
                    <a:moveTo>
                      <a:pt x="32" y="27"/>
                    </a:moveTo>
                    <a:lnTo>
                      <a:pt x="32" y="27"/>
                    </a:lnTo>
                    <a:lnTo>
                      <a:pt x="28" y="28"/>
                    </a:lnTo>
                    <a:lnTo>
                      <a:pt x="27" y="29"/>
                    </a:lnTo>
                    <a:lnTo>
                      <a:pt x="28" y="30"/>
                    </a:lnTo>
                    <a:lnTo>
                      <a:pt x="32" y="31"/>
                    </a:lnTo>
                    <a:lnTo>
                      <a:pt x="36" y="30"/>
                    </a:lnTo>
                    <a:lnTo>
                      <a:pt x="37" y="29"/>
                    </a:lnTo>
                    <a:lnTo>
                      <a:pt x="36" y="28"/>
                    </a:lnTo>
                    <a:lnTo>
                      <a:pt x="3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64"/>
              <p:cNvSpPr>
                <a:spLocks noEditPoints="1"/>
              </p:cNvSpPr>
              <p:nvPr userDrawn="1"/>
            </p:nvSpPr>
            <p:spPr bwMode="auto">
              <a:xfrm>
                <a:off x="1788" y="2526"/>
                <a:ext cx="27" cy="28"/>
              </a:xfrm>
              <a:custGeom>
                <a:avLst/>
                <a:gdLst>
                  <a:gd name="T0" fmla="*/ 33 w 82"/>
                  <a:gd name="T1" fmla="*/ 82 h 83"/>
                  <a:gd name="T2" fmla="*/ 19 w 82"/>
                  <a:gd name="T3" fmla="*/ 75 h 83"/>
                  <a:gd name="T4" fmla="*/ 7 w 82"/>
                  <a:gd name="T5" fmla="*/ 65 h 83"/>
                  <a:gd name="T6" fmla="*/ 0 w 82"/>
                  <a:gd name="T7" fmla="*/ 49 h 83"/>
                  <a:gd name="T8" fmla="*/ 0 w 82"/>
                  <a:gd name="T9" fmla="*/ 33 h 83"/>
                  <a:gd name="T10" fmla="*/ 7 w 82"/>
                  <a:gd name="T11" fmla="*/ 18 h 83"/>
                  <a:gd name="T12" fmla="*/ 19 w 82"/>
                  <a:gd name="T13" fmla="*/ 7 h 83"/>
                  <a:gd name="T14" fmla="*/ 33 w 82"/>
                  <a:gd name="T15" fmla="*/ 1 h 83"/>
                  <a:gd name="T16" fmla="*/ 50 w 82"/>
                  <a:gd name="T17" fmla="*/ 1 h 83"/>
                  <a:gd name="T18" fmla="*/ 64 w 82"/>
                  <a:gd name="T19" fmla="*/ 7 h 83"/>
                  <a:gd name="T20" fmla="*/ 76 w 82"/>
                  <a:gd name="T21" fmla="*/ 18 h 83"/>
                  <a:gd name="T22" fmla="*/ 81 w 82"/>
                  <a:gd name="T23" fmla="*/ 33 h 83"/>
                  <a:gd name="T24" fmla="*/ 81 w 82"/>
                  <a:gd name="T25" fmla="*/ 49 h 83"/>
                  <a:gd name="T26" fmla="*/ 76 w 82"/>
                  <a:gd name="T27" fmla="*/ 65 h 83"/>
                  <a:gd name="T28" fmla="*/ 64 w 82"/>
                  <a:gd name="T29" fmla="*/ 75 h 83"/>
                  <a:gd name="T30" fmla="*/ 50 w 82"/>
                  <a:gd name="T31" fmla="*/ 82 h 83"/>
                  <a:gd name="T32" fmla="*/ 41 w 82"/>
                  <a:gd name="T33" fmla="*/ 27 h 83"/>
                  <a:gd name="T34" fmla="*/ 38 w 82"/>
                  <a:gd name="T35" fmla="*/ 27 h 83"/>
                  <a:gd name="T36" fmla="*/ 33 w 82"/>
                  <a:gd name="T37" fmla="*/ 29 h 83"/>
                  <a:gd name="T38" fmla="*/ 30 w 82"/>
                  <a:gd name="T39" fmla="*/ 33 h 83"/>
                  <a:gd name="T40" fmla="*/ 27 w 82"/>
                  <a:gd name="T41" fmla="*/ 39 h 83"/>
                  <a:gd name="T42" fmla="*/ 27 w 82"/>
                  <a:gd name="T43" fmla="*/ 44 h 83"/>
                  <a:gd name="T44" fmla="*/ 30 w 82"/>
                  <a:gd name="T45" fmla="*/ 49 h 83"/>
                  <a:gd name="T46" fmla="*/ 33 w 82"/>
                  <a:gd name="T47" fmla="*/ 53 h 83"/>
                  <a:gd name="T48" fmla="*/ 38 w 82"/>
                  <a:gd name="T49" fmla="*/ 55 h 83"/>
                  <a:gd name="T50" fmla="*/ 45 w 82"/>
                  <a:gd name="T51" fmla="*/ 55 h 83"/>
                  <a:gd name="T52" fmla="*/ 49 w 82"/>
                  <a:gd name="T53" fmla="*/ 53 h 83"/>
                  <a:gd name="T54" fmla="*/ 53 w 82"/>
                  <a:gd name="T55" fmla="*/ 49 h 83"/>
                  <a:gd name="T56" fmla="*/ 55 w 82"/>
                  <a:gd name="T57" fmla="*/ 44 h 83"/>
                  <a:gd name="T58" fmla="*/ 55 w 82"/>
                  <a:gd name="T59" fmla="*/ 39 h 83"/>
                  <a:gd name="T60" fmla="*/ 53 w 82"/>
                  <a:gd name="T61" fmla="*/ 33 h 83"/>
                  <a:gd name="T62" fmla="*/ 49 w 82"/>
                  <a:gd name="T63" fmla="*/ 29 h 83"/>
                  <a:gd name="T64" fmla="*/ 45 w 82"/>
                  <a:gd name="T65" fmla="*/ 2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83">
                    <a:moveTo>
                      <a:pt x="41" y="83"/>
                    </a:moveTo>
                    <a:lnTo>
                      <a:pt x="33" y="82"/>
                    </a:lnTo>
                    <a:lnTo>
                      <a:pt x="25" y="80"/>
                    </a:lnTo>
                    <a:lnTo>
                      <a:pt x="19" y="75"/>
                    </a:lnTo>
                    <a:lnTo>
                      <a:pt x="12" y="71"/>
                    </a:lnTo>
                    <a:lnTo>
                      <a:pt x="7" y="65"/>
                    </a:lnTo>
                    <a:lnTo>
                      <a:pt x="4" y="57"/>
                    </a:lnTo>
                    <a:lnTo>
                      <a:pt x="0" y="49"/>
                    </a:lnTo>
                    <a:lnTo>
                      <a:pt x="0" y="41"/>
                    </a:lnTo>
                    <a:lnTo>
                      <a:pt x="0" y="33"/>
                    </a:lnTo>
                    <a:lnTo>
                      <a:pt x="4" y="26"/>
                    </a:lnTo>
                    <a:lnTo>
                      <a:pt x="7" y="18"/>
                    </a:lnTo>
                    <a:lnTo>
                      <a:pt x="12" y="12"/>
                    </a:lnTo>
                    <a:lnTo>
                      <a:pt x="19" y="7"/>
                    </a:lnTo>
                    <a:lnTo>
                      <a:pt x="25" y="3"/>
                    </a:lnTo>
                    <a:lnTo>
                      <a:pt x="33" y="1"/>
                    </a:lnTo>
                    <a:lnTo>
                      <a:pt x="41" y="0"/>
                    </a:lnTo>
                    <a:lnTo>
                      <a:pt x="50" y="1"/>
                    </a:lnTo>
                    <a:lnTo>
                      <a:pt x="58" y="3"/>
                    </a:lnTo>
                    <a:lnTo>
                      <a:pt x="64" y="7"/>
                    </a:lnTo>
                    <a:lnTo>
                      <a:pt x="71" y="12"/>
                    </a:lnTo>
                    <a:lnTo>
                      <a:pt x="76" y="18"/>
                    </a:lnTo>
                    <a:lnTo>
                      <a:pt x="79" y="26"/>
                    </a:lnTo>
                    <a:lnTo>
                      <a:pt x="81" y="33"/>
                    </a:lnTo>
                    <a:lnTo>
                      <a:pt x="82" y="41"/>
                    </a:lnTo>
                    <a:lnTo>
                      <a:pt x="81" y="49"/>
                    </a:lnTo>
                    <a:lnTo>
                      <a:pt x="79" y="57"/>
                    </a:lnTo>
                    <a:lnTo>
                      <a:pt x="76" y="65"/>
                    </a:lnTo>
                    <a:lnTo>
                      <a:pt x="71" y="71"/>
                    </a:lnTo>
                    <a:lnTo>
                      <a:pt x="64" y="75"/>
                    </a:lnTo>
                    <a:lnTo>
                      <a:pt x="58" y="80"/>
                    </a:lnTo>
                    <a:lnTo>
                      <a:pt x="50" y="82"/>
                    </a:lnTo>
                    <a:lnTo>
                      <a:pt x="41" y="83"/>
                    </a:lnTo>
                    <a:close/>
                    <a:moveTo>
                      <a:pt x="41" y="27"/>
                    </a:moveTo>
                    <a:lnTo>
                      <a:pt x="41" y="27"/>
                    </a:lnTo>
                    <a:lnTo>
                      <a:pt x="38" y="27"/>
                    </a:lnTo>
                    <a:lnTo>
                      <a:pt x="36" y="28"/>
                    </a:lnTo>
                    <a:lnTo>
                      <a:pt x="33" y="29"/>
                    </a:lnTo>
                    <a:lnTo>
                      <a:pt x="32" y="31"/>
                    </a:lnTo>
                    <a:lnTo>
                      <a:pt x="30" y="33"/>
                    </a:lnTo>
                    <a:lnTo>
                      <a:pt x="29" y="35"/>
                    </a:lnTo>
                    <a:lnTo>
                      <a:pt x="27" y="39"/>
                    </a:lnTo>
                    <a:lnTo>
                      <a:pt x="27" y="41"/>
                    </a:lnTo>
                    <a:lnTo>
                      <a:pt x="27" y="44"/>
                    </a:lnTo>
                    <a:lnTo>
                      <a:pt x="29" y="47"/>
                    </a:lnTo>
                    <a:lnTo>
                      <a:pt x="30" y="49"/>
                    </a:lnTo>
                    <a:lnTo>
                      <a:pt x="32" y="52"/>
                    </a:lnTo>
                    <a:lnTo>
                      <a:pt x="33" y="53"/>
                    </a:lnTo>
                    <a:lnTo>
                      <a:pt x="36" y="55"/>
                    </a:lnTo>
                    <a:lnTo>
                      <a:pt x="38" y="55"/>
                    </a:lnTo>
                    <a:lnTo>
                      <a:pt x="41" y="56"/>
                    </a:lnTo>
                    <a:lnTo>
                      <a:pt x="45" y="55"/>
                    </a:lnTo>
                    <a:lnTo>
                      <a:pt x="47" y="55"/>
                    </a:lnTo>
                    <a:lnTo>
                      <a:pt x="49" y="53"/>
                    </a:lnTo>
                    <a:lnTo>
                      <a:pt x="51" y="52"/>
                    </a:lnTo>
                    <a:lnTo>
                      <a:pt x="53" y="49"/>
                    </a:lnTo>
                    <a:lnTo>
                      <a:pt x="54" y="47"/>
                    </a:lnTo>
                    <a:lnTo>
                      <a:pt x="55" y="44"/>
                    </a:lnTo>
                    <a:lnTo>
                      <a:pt x="55" y="41"/>
                    </a:lnTo>
                    <a:lnTo>
                      <a:pt x="55" y="39"/>
                    </a:lnTo>
                    <a:lnTo>
                      <a:pt x="54" y="35"/>
                    </a:lnTo>
                    <a:lnTo>
                      <a:pt x="53" y="33"/>
                    </a:lnTo>
                    <a:lnTo>
                      <a:pt x="51" y="31"/>
                    </a:lnTo>
                    <a:lnTo>
                      <a:pt x="49" y="29"/>
                    </a:lnTo>
                    <a:lnTo>
                      <a:pt x="47" y="28"/>
                    </a:lnTo>
                    <a:lnTo>
                      <a:pt x="45" y="27"/>
                    </a:lnTo>
                    <a:lnTo>
                      <a:pt x="4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65"/>
              <p:cNvSpPr>
                <a:spLocks noEditPoints="1"/>
              </p:cNvSpPr>
              <p:nvPr userDrawn="1"/>
            </p:nvSpPr>
            <p:spPr bwMode="auto">
              <a:xfrm>
                <a:off x="1775" y="2417"/>
                <a:ext cx="28" cy="27"/>
              </a:xfrm>
              <a:custGeom>
                <a:avLst/>
                <a:gdLst>
                  <a:gd name="T0" fmla="*/ 33 w 83"/>
                  <a:gd name="T1" fmla="*/ 82 h 82"/>
                  <a:gd name="T2" fmla="*/ 18 w 83"/>
                  <a:gd name="T3" fmla="*/ 75 h 82"/>
                  <a:gd name="T4" fmla="*/ 7 w 83"/>
                  <a:gd name="T5" fmla="*/ 63 h 82"/>
                  <a:gd name="T6" fmla="*/ 1 w 83"/>
                  <a:gd name="T7" fmla="*/ 49 h 82"/>
                  <a:gd name="T8" fmla="*/ 1 w 83"/>
                  <a:gd name="T9" fmla="*/ 32 h 82"/>
                  <a:gd name="T10" fmla="*/ 7 w 83"/>
                  <a:gd name="T11" fmla="*/ 18 h 82"/>
                  <a:gd name="T12" fmla="*/ 18 w 83"/>
                  <a:gd name="T13" fmla="*/ 6 h 82"/>
                  <a:gd name="T14" fmla="*/ 33 w 83"/>
                  <a:gd name="T15" fmla="*/ 0 h 82"/>
                  <a:gd name="T16" fmla="*/ 49 w 83"/>
                  <a:gd name="T17" fmla="*/ 0 h 82"/>
                  <a:gd name="T18" fmla="*/ 64 w 83"/>
                  <a:gd name="T19" fmla="*/ 6 h 82"/>
                  <a:gd name="T20" fmla="*/ 75 w 83"/>
                  <a:gd name="T21" fmla="*/ 18 h 82"/>
                  <a:gd name="T22" fmla="*/ 82 w 83"/>
                  <a:gd name="T23" fmla="*/ 32 h 82"/>
                  <a:gd name="T24" fmla="*/ 82 w 83"/>
                  <a:gd name="T25" fmla="*/ 49 h 82"/>
                  <a:gd name="T26" fmla="*/ 75 w 83"/>
                  <a:gd name="T27" fmla="*/ 63 h 82"/>
                  <a:gd name="T28" fmla="*/ 64 w 83"/>
                  <a:gd name="T29" fmla="*/ 75 h 82"/>
                  <a:gd name="T30" fmla="*/ 49 w 83"/>
                  <a:gd name="T31" fmla="*/ 82 h 82"/>
                  <a:gd name="T32" fmla="*/ 41 w 83"/>
                  <a:gd name="T33" fmla="*/ 27 h 82"/>
                  <a:gd name="T34" fmla="*/ 38 w 83"/>
                  <a:gd name="T35" fmla="*/ 27 h 82"/>
                  <a:gd name="T36" fmla="*/ 33 w 83"/>
                  <a:gd name="T37" fmla="*/ 29 h 82"/>
                  <a:gd name="T38" fmla="*/ 29 w 83"/>
                  <a:gd name="T39" fmla="*/ 33 h 82"/>
                  <a:gd name="T40" fmla="*/ 27 w 83"/>
                  <a:gd name="T41" fmla="*/ 37 h 82"/>
                  <a:gd name="T42" fmla="*/ 27 w 83"/>
                  <a:gd name="T43" fmla="*/ 44 h 82"/>
                  <a:gd name="T44" fmla="*/ 29 w 83"/>
                  <a:gd name="T45" fmla="*/ 48 h 82"/>
                  <a:gd name="T46" fmla="*/ 33 w 83"/>
                  <a:gd name="T47" fmla="*/ 52 h 82"/>
                  <a:gd name="T48" fmla="*/ 38 w 83"/>
                  <a:gd name="T49" fmla="*/ 55 h 82"/>
                  <a:gd name="T50" fmla="*/ 44 w 83"/>
                  <a:gd name="T51" fmla="*/ 55 h 82"/>
                  <a:gd name="T52" fmla="*/ 49 w 83"/>
                  <a:gd name="T53" fmla="*/ 52 h 82"/>
                  <a:gd name="T54" fmla="*/ 54 w 83"/>
                  <a:gd name="T55" fmla="*/ 48 h 82"/>
                  <a:gd name="T56" fmla="*/ 56 w 83"/>
                  <a:gd name="T57" fmla="*/ 44 h 82"/>
                  <a:gd name="T58" fmla="*/ 56 w 83"/>
                  <a:gd name="T59" fmla="*/ 37 h 82"/>
                  <a:gd name="T60" fmla="*/ 54 w 83"/>
                  <a:gd name="T61" fmla="*/ 33 h 82"/>
                  <a:gd name="T62" fmla="*/ 49 w 83"/>
                  <a:gd name="T63" fmla="*/ 29 h 82"/>
                  <a:gd name="T64" fmla="*/ 44 w 83"/>
                  <a:gd name="T65" fmla="*/ 2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3" h="82">
                    <a:moveTo>
                      <a:pt x="41" y="82"/>
                    </a:moveTo>
                    <a:lnTo>
                      <a:pt x="33" y="82"/>
                    </a:lnTo>
                    <a:lnTo>
                      <a:pt x="25" y="78"/>
                    </a:lnTo>
                    <a:lnTo>
                      <a:pt x="18" y="75"/>
                    </a:lnTo>
                    <a:lnTo>
                      <a:pt x="11" y="70"/>
                    </a:lnTo>
                    <a:lnTo>
                      <a:pt x="7" y="63"/>
                    </a:lnTo>
                    <a:lnTo>
                      <a:pt x="3" y="57"/>
                    </a:lnTo>
                    <a:lnTo>
                      <a:pt x="1" y="49"/>
                    </a:lnTo>
                    <a:lnTo>
                      <a:pt x="0" y="41"/>
                    </a:lnTo>
                    <a:lnTo>
                      <a:pt x="1" y="32"/>
                    </a:lnTo>
                    <a:lnTo>
                      <a:pt x="3" y="24"/>
                    </a:lnTo>
                    <a:lnTo>
                      <a:pt x="7" y="18"/>
                    </a:lnTo>
                    <a:lnTo>
                      <a:pt x="11" y="11"/>
                    </a:lnTo>
                    <a:lnTo>
                      <a:pt x="18" y="6"/>
                    </a:lnTo>
                    <a:lnTo>
                      <a:pt x="25" y="3"/>
                    </a:lnTo>
                    <a:lnTo>
                      <a:pt x="33" y="0"/>
                    </a:lnTo>
                    <a:lnTo>
                      <a:pt x="41" y="0"/>
                    </a:lnTo>
                    <a:lnTo>
                      <a:pt x="49" y="0"/>
                    </a:lnTo>
                    <a:lnTo>
                      <a:pt x="57" y="3"/>
                    </a:lnTo>
                    <a:lnTo>
                      <a:pt x="64" y="6"/>
                    </a:lnTo>
                    <a:lnTo>
                      <a:pt x="71" y="11"/>
                    </a:lnTo>
                    <a:lnTo>
                      <a:pt x="75" y="18"/>
                    </a:lnTo>
                    <a:lnTo>
                      <a:pt x="79" y="24"/>
                    </a:lnTo>
                    <a:lnTo>
                      <a:pt x="82" y="32"/>
                    </a:lnTo>
                    <a:lnTo>
                      <a:pt x="83" y="41"/>
                    </a:lnTo>
                    <a:lnTo>
                      <a:pt x="82" y="49"/>
                    </a:lnTo>
                    <a:lnTo>
                      <a:pt x="79" y="57"/>
                    </a:lnTo>
                    <a:lnTo>
                      <a:pt x="75" y="63"/>
                    </a:lnTo>
                    <a:lnTo>
                      <a:pt x="71" y="70"/>
                    </a:lnTo>
                    <a:lnTo>
                      <a:pt x="64" y="75"/>
                    </a:lnTo>
                    <a:lnTo>
                      <a:pt x="57" y="78"/>
                    </a:lnTo>
                    <a:lnTo>
                      <a:pt x="49" y="82"/>
                    </a:lnTo>
                    <a:lnTo>
                      <a:pt x="41" y="82"/>
                    </a:lnTo>
                    <a:close/>
                    <a:moveTo>
                      <a:pt x="41" y="27"/>
                    </a:moveTo>
                    <a:lnTo>
                      <a:pt x="41" y="27"/>
                    </a:lnTo>
                    <a:lnTo>
                      <a:pt x="38" y="27"/>
                    </a:lnTo>
                    <a:lnTo>
                      <a:pt x="35" y="28"/>
                    </a:lnTo>
                    <a:lnTo>
                      <a:pt x="33" y="29"/>
                    </a:lnTo>
                    <a:lnTo>
                      <a:pt x="31" y="31"/>
                    </a:lnTo>
                    <a:lnTo>
                      <a:pt x="29" y="33"/>
                    </a:lnTo>
                    <a:lnTo>
                      <a:pt x="28" y="35"/>
                    </a:lnTo>
                    <a:lnTo>
                      <a:pt x="27" y="37"/>
                    </a:lnTo>
                    <a:lnTo>
                      <a:pt x="27" y="41"/>
                    </a:lnTo>
                    <a:lnTo>
                      <a:pt x="27" y="44"/>
                    </a:lnTo>
                    <a:lnTo>
                      <a:pt x="28" y="46"/>
                    </a:lnTo>
                    <a:lnTo>
                      <a:pt x="29" y="48"/>
                    </a:lnTo>
                    <a:lnTo>
                      <a:pt x="31" y="50"/>
                    </a:lnTo>
                    <a:lnTo>
                      <a:pt x="33" y="52"/>
                    </a:lnTo>
                    <a:lnTo>
                      <a:pt x="35" y="54"/>
                    </a:lnTo>
                    <a:lnTo>
                      <a:pt x="38" y="55"/>
                    </a:lnTo>
                    <a:lnTo>
                      <a:pt x="41" y="55"/>
                    </a:lnTo>
                    <a:lnTo>
                      <a:pt x="44" y="55"/>
                    </a:lnTo>
                    <a:lnTo>
                      <a:pt x="47" y="54"/>
                    </a:lnTo>
                    <a:lnTo>
                      <a:pt x="49" y="52"/>
                    </a:lnTo>
                    <a:lnTo>
                      <a:pt x="51" y="50"/>
                    </a:lnTo>
                    <a:lnTo>
                      <a:pt x="54" y="48"/>
                    </a:lnTo>
                    <a:lnTo>
                      <a:pt x="55" y="46"/>
                    </a:lnTo>
                    <a:lnTo>
                      <a:pt x="56" y="44"/>
                    </a:lnTo>
                    <a:lnTo>
                      <a:pt x="56" y="41"/>
                    </a:lnTo>
                    <a:lnTo>
                      <a:pt x="56" y="37"/>
                    </a:lnTo>
                    <a:lnTo>
                      <a:pt x="55" y="35"/>
                    </a:lnTo>
                    <a:lnTo>
                      <a:pt x="54" y="33"/>
                    </a:lnTo>
                    <a:lnTo>
                      <a:pt x="51" y="31"/>
                    </a:lnTo>
                    <a:lnTo>
                      <a:pt x="49" y="29"/>
                    </a:lnTo>
                    <a:lnTo>
                      <a:pt x="47" y="28"/>
                    </a:lnTo>
                    <a:lnTo>
                      <a:pt x="44" y="27"/>
                    </a:lnTo>
                    <a:lnTo>
                      <a:pt x="4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66"/>
              <p:cNvSpPr>
                <a:spLocks noEditPoints="1"/>
              </p:cNvSpPr>
              <p:nvPr userDrawn="1"/>
            </p:nvSpPr>
            <p:spPr bwMode="auto">
              <a:xfrm>
                <a:off x="1710" y="2266"/>
                <a:ext cx="33" cy="33"/>
              </a:xfrm>
              <a:custGeom>
                <a:avLst/>
                <a:gdLst>
                  <a:gd name="T0" fmla="*/ 40 w 99"/>
                  <a:gd name="T1" fmla="*/ 98 h 99"/>
                  <a:gd name="T2" fmla="*/ 22 w 99"/>
                  <a:gd name="T3" fmla="*/ 90 h 99"/>
                  <a:gd name="T4" fmla="*/ 9 w 99"/>
                  <a:gd name="T5" fmla="*/ 77 h 99"/>
                  <a:gd name="T6" fmla="*/ 1 w 99"/>
                  <a:gd name="T7" fmla="*/ 60 h 99"/>
                  <a:gd name="T8" fmla="*/ 1 w 99"/>
                  <a:gd name="T9" fmla="*/ 39 h 99"/>
                  <a:gd name="T10" fmla="*/ 9 w 99"/>
                  <a:gd name="T11" fmla="*/ 22 h 99"/>
                  <a:gd name="T12" fmla="*/ 22 w 99"/>
                  <a:gd name="T13" fmla="*/ 9 h 99"/>
                  <a:gd name="T14" fmla="*/ 40 w 99"/>
                  <a:gd name="T15" fmla="*/ 1 h 99"/>
                  <a:gd name="T16" fmla="*/ 59 w 99"/>
                  <a:gd name="T17" fmla="*/ 1 h 99"/>
                  <a:gd name="T18" fmla="*/ 77 w 99"/>
                  <a:gd name="T19" fmla="*/ 9 h 99"/>
                  <a:gd name="T20" fmla="*/ 91 w 99"/>
                  <a:gd name="T21" fmla="*/ 22 h 99"/>
                  <a:gd name="T22" fmla="*/ 98 w 99"/>
                  <a:gd name="T23" fmla="*/ 39 h 99"/>
                  <a:gd name="T24" fmla="*/ 98 w 99"/>
                  <a:gd name="T25" fmla="*/ 60 h 99"/>
                  <a:gd name="T26" fmla="*/ 91 w 99"/>
                  <a:gd name="T27" fmla="*/ 77 h 99"/>
                  <a:gd name="T28" fmla="*/ 77 w 99"/>
                  <a:gd name="T29" fmla="*/ 90 h 99"/>
                  <a:gd name="T30" fmla="*/ 59 w 99"/>
                  <a:gd name="T31" fmla="*/ 98 h 99"/>
                  <a:gd name="T32" fmla="*/ 50 w 99"/>
                  <a:gd name="T33" fmla="*/ 27 h 99"/>
                  <a:gd name="T34" fmla="*/ 45 w 99"/>
                  <a:gd name="T35" fmla="*/ 27 h 99"/>
                  <a:gd name="T36" fmla="*/ 37 w 99"/>
                  <a:gd name="T37" fmla="*/ 31 h 99"/>
                  <a:gd name="T38" fmla="*/ 31 w 99"/>
                  <a:gd name="T39" fmla="*/ 37 h 99"/>
                  <a:gd name="T40" fmla="*/ 28 w 99"/>
                  <a:gd name="T41" fmla="*/ 45 h 99"/>
                  <a:gd name="T42" fmla="*/ 28 w 99"/>
                  <a:gd name="T43" fmla="*/ 54 h 99"/>
                  <a:gd name="T44" fmla="*/ 31 w 99"/>
                  <a:gd name="T45" fmla="*/ 62 h 99"/>
                  <a:gd name="T46" fmla="*/ 37 w 99"/>
                  <a:gd name="T47" fmla="*/ 68 h 99"/>
                  <a:gd name="T48" fmla="*/ 45 w 99"/>
                  <a:gd name="T49" fmla="*/ 72 h 99"/>
                  <a:gd name="T50" fmla="*/ 54 w 99"/>
                  <a:gd name="T51" fmla="*/ 72 h 99"/>
                  <a:gd name="T52" fmla="*/ 62 w 99"/>
                  <a:gd name="T53" fmla="*/ 68 h 99"/>
                  <a:gd name="T54" fmla="*/ 68 w 99"/>
                  <a:gd name="T55" fmla="*/ 62 h 99"/>
                  <a:gd name="T56" fmla="*/ 71 w 99"/>
                  <a:gd name="T57" fmla="*/ 54 h 99"/>
                  <a:gd name="T58" fmla="*/ 71 w 99"/>
                  <a:gd name="T59" fmla="*/ 45 h 99"/>
                  <a:gd name="T60" fmla="*/ 68 w 99"/>
                  <a:gd name="T61" fmla="*/ 37 h 99"/>
                  <a:gd name="T62" fmla="*/ 62 w 99"/>
                  <a:gd name="T63" fmla="*/ 31 h 99"/>
                  <a:gd name="T64" fmla="*/ 54 w 99"/>
                  <a:gd name="T65" fmla="*/ 2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99">
                    <a:moveTo>
                      <a:pt x="50" y="99"/>
                    </a:moveTo>
                    <a:lnTo>
                      <a:pt x="40" y="98"/>
                    </a:lnTo>
                    <a:lnTo>
                      <a:pt x="30" y="95"/>
                    </a:lnTo>
                    <a:lnTo>
                      <a:pt x="22" y="90"/>
                    </a:lnTo>
                    <a:lnTo>
                      <a:pt x="15" y="85"/>
                    </a:lnTo>
                    <a:lnTo>
                      <a:pt x="9" y="77"/>
                    </a:lnTo>
                    <a:lnTo>
                      <a:pt x="4" y="68"/>
                    </a:lnTo>
                    <a:lnTo>
                      <a:pt x="1" y="60"/>
                    </a:lnTo>
                    <a:lnTo>
                      <a:pt x="0" y="50"/>
                    </a:lnTo>
                    <a:lnTo>
                      <a:pt x="1" y="39"/>
                    </a:lnTo>
                    <a:lnTo>
                      <a:pt x="4" y="31"/>
                    </a:lnTo>
                    <a:lnTo>
                      <a:pt x="9" y="22"/>
                    </a:lnTo>
                    <a:lnTo>
                      <a:pt x="15" y="14"/>
                    </a:lnTo>
                    <a:lnTo>
                      <a:pt x="22" y="9"/>
                    </a:lnTo>
                    <a:lnTo>
                      <a:pt x="30" y="4"/>
                    </a:lnTo>
                    <a:lnTo>
                      <a:pt x="40" y="1"/>
                    </a:lnTo>
                    <a:lnTo>
                      <a:pt x="50" y="0"/>
                    </a:lnTo>
                    <a:lnTo>
                      <a:pt x="59" y="1"/>
                    </a:lnTo>
                    <a:lnTo>
                      <a:pt x="69" y="4"/>
                    </a:lnTo>
                    <a:lnTo>
                      <a:pt x="77" y="9"/>
                    </a:lnTo>
                    <a:lnTo>
                      <a:pt x="84" y="14"/>
                    </a:lnTo>
                    <a:lnTo>
                      <a:pt x="91" y="22"/>
                    </a:lnTo>
                    <a:lnTo>
                      <a:pt x="95" y="31"/>
                    </a:lnTo>
                    <a:lnTo>
                      <a:pt x="98" y="39"/>
                    </a:lnTo>
                    <a:lnTo>
                      <a:pt x="99" y="50"/>
                    </a:lnTo>
                    <a:lnTo>
                      <a:pt x="98" y="60"/>
                    </a:lnTo>
                    <a:lnTo>
                      <a:pt x="95" y="68"/>
                    </a:lnTo>
                    <a:lnTo>
                      <a:pt x="91" y="77"/>
                    </a:lnTo>
                    <a:lnTo>
                      <a:pt x="84" y="85"/>
                    </a:lnTo>
                    <a:lnTo>
                      <a:pt x="77" y="90"/>
                    </a:lnTo>
                    <a:lnTo>
                      <a:pt x="69" y="95"/>
                    </a:lnTo>
                    <a:lnTo>
                      <a:pt x="59" y="98"/>
                    </a:lnTo>
                    <a:lnTo>
                      <a:pt x="50" y="99"/>
                    </a:lnTo>
                    <a:close/>
                    <a:moveTo>
                      <a:pt x="50" y="27"/>
                    </a:moveTo>
                    <a:lnTo>
                      <a:pt x="50" y="27"/>
                    </a:lnTo>
                    <a:lnTo>
                      <a:pt x="45" y="27"/>
                    </a:lnTo>
                    <a:lnTo>
                      <a:pt x="41" y="28"/>
                    </a:lnTo>
                    <a:lnTo>
                      <a:pt x="37" y="31"/>
                    </a:lnTo>
                    <a:lnTo>
                      <a:pt x="34" y="34"/>
                    </a:lnTo>
                    <a:lnTo>
                      <a:pt x="31" y="37"/>
                    </a:lnTo>
                    <a:lnTo>
                      <a:pt x="29" y="40"/>
                    </a:lnTo>
                    <a:lnTo>
                      <a:pt x="28" y="45"/>
                    </a:lnTo>
                    <a:lnTo>
                      <a:pt x="27" y="50"/>
                    </a:lnTo>
                    <a:lnTo>
                      <a:pt x="28" y="54"/>
                    </a:lnTo>
                    <a:lnTo>
                      <a:pt x="29" y="59"/>
                    </a:lnTo>
                    <a:lnTo>
                      <a:pt x="31" y="62"/>
                    </a:lnTo>
                    <a:lnTo>
                      <a:pt x="34" y="65"/>
                    </a:lnTo>
                    <a:lnTo>
                      <a:pt x="37" y="68"/>
                    </a:lnTo>
                    <a:lnTo>
                      <a:pt x="41" y="71"/>
                    </a:lnTo>
                    <a:lnTo>
                      <a:pt x="45" y="72"/>
                    </a:lnTo>
                    <a:lnTo>
                      <a:pt x="50" y="72"/>
                    </a:lnTo>
                    <a:lnTo>
                      <a:pt x="54" y="72"/>
                    </a:lnTo>
                    <a:lnTo>
                      <a:pt x="58" y="71"/>
                    </a:lnTo>
                    <a:lnTo>
                      <a:pt x="62" y="68"/>
                    </a:lnTo>
                    <a:lnTo>
                      <a:pt x="66" y="65"/>
                    </a:lnTo>
                    <a:lnTo>
                      <a:pt x="68" y="62"/>
                    </a:lnTo>
                    <a:lnTo>
                      <a:pt x="70" y="59"/>
                    </a:lnTo>
                    <a:lnTo>
                      <a:pt x="71" y="54"/>
                    </a:lnTo>
                    <a:lnTo>
                      <a:pt x="72" y="50"/>
                    </a:lnTo>
                    <a:lnTo>
                      <a:pt x="71" y="45"/>
                    </a:lnTo>
                    <a:lnTo>
                      <a:pt x="70" y="40"/>
                    </a:lnTo>
                    <a:lnTo>
                      <a:pt x="68" y="37"/>
                    </a:lnTo>
                    <a:lnTo>
                      <a:pt x="66" y="34"/>
                    </a:lnTo>
                    <a:lnTo>
                      <a:pt x="62" y="31"/>
                    </a:lnTo>
                    <a:lnTo>
                      <a:pt x="58" y="28"/>
                    </a:lnTo>
                    <a:lnTo>
                      <a:pt x="54"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67"/>
              <p:cNvSpPr>
                <a:spLocks noEditPoints="1"/>
              </p:cNvSpPr>
              <p:nvPr userDrawn="1"/>
            </p:nvSpPr>
            <p:spPr bwMode="auto">
              <a:xfrm>
                <a:off x="1803" y="2144"/>
                <a:ext cx="23" cy="22"/>
              </a:xfrm>
              <a:custGeom>
                <a:avLst/>
                <a:gdLst>
                  <a:gd name="T0" fmla="*/ 34 w 68"/>
                  <a:gd name="T1" fmla="*/ 68 h 68"/>
                  <a:gd name="T2" fmla="*/ 27 w 68"/>
                  <a:gd name="T3" fmla="*/ 68 h 68"/>
                  <a:gd name="T4" fmla="*/ 20 w 68"/>
                  <a:gd name="T5" fmla="*/ 66 h 68"/>
                  <a:gd name="T6" fmla="*/ 15 w 68"/>
                  <a:gd name="T7" fmla="*/ 63 h 68"/>
                  <a:gd name="T8" fmla="*/ 10 w 68"/>
                  <a:gd name="T9" fmla="*/ 59 h 68"/>
                  <a:gd name="T10" fmla="*/ 5 w 68"/>
                  <a:gd name="T11" fmla="*/ 53 h 68"/>
                  <a:gd name="T12" fmla="*/ 2 w 68"/>
                  <a:gd name="T13" fmla="*/ 48 h 68"/>
                  <a:gd name="T14" fmla="*/ 1 w 68"/>
                  <a:gd name="T15" fmla="*/ 41 h 68"/>
                  <a:gd name="T16" fmla="*/ 0 w 68"/>
                  <a:gd name="T17" fmla="*/ 34 h 68"/>
                  <a:gd name="T18" fmla="*/ 1 w 68"/>
                  <a:gd name="T19" fmla="*/ 27 h 68"/>
                  <a:gd name="T20" fmla="*/ 2 w 68"/>
                  <a:gd name="T21" fmla="*/ 21 h 68"/>
                  <a:gd name="T22" fmla="*/ 5 w 68"/>
                  <a:gd name="T23" fmla="*/ 15 h 68"/>
                  <a:gd name="T24" fmla="*/ 10 w 68"/>
                  <a:gd name="T25" fmla="*/ 10 h 68"/>
                  <a:gd name="T26" fmla="*/ 15 w 68"/>
                  <a:gd name="T27" fmla="*/ 6 h 68"/>
                  <a:gd name="T28" fmla="*/ 20 w 68"/>
                  <a:gd name="T29" fmla="*/ 2 h 68"/>
                  <a:gd name="T30" fmla="*/ 27 w 68"/>
                  <a:gd name="T31" fmla="*/ 0 h 68"/>
                  <a:gd name="T32" fmla="*/ 34 w 68"/>
                  <a:gd name="T33" fmla="*/ 0 h 68"/>
                  <a:gd name="T34" fmla="*/ 41 w 68"/>
                  <a:gd name="T35" fmla="*/ 0 h 68"/>
                  <a:gd name="T36" fmla="*/ 47 w 68"/>
                  <a:gd name="T37" fmla="*/ 2 h 68"/>
                  <a:gd name="T38" fmla="*/ 53 w 68"/>
                  <a:gd name="T39" fmla="*/ 6 h 68"/>
                  <a:gd name="T40" fmla="*/ 58 w 68"/>
                  <a:gd name="T41" fmla="*/ 10 h 68"/>
                  <a:gd name="T42" fmla="*/ 62 w 68"/>
                  <a:gd name="T43" fmla="*/ 15 h 68"/>
                  <a:gd name="T44" fmla="*/ 66 w 68"/>
                  <a:gd name="T45" fmla="*/ 21 h 68"/>
                  <a:gd name="T46" fmla="*/ 68 w 68"/>
                  <a:gd name="T47" fmla="*/ 27 h 68"/>
                  <a:gd name="T48" fmla="*/ 68 w 68"/>
                  <a:gd name="T49" fmla="*/ 34 h 68"/>
                  <a:gd name="T50" fmla="*/ 68 w 68"/>
                  <a:gd name="T51" fmla="*/ 41 h 68"/>
                  <a:gd name="T52" fmla="*/ 66 w 68"/>
                  <a:gd name="T53" fmla="*/ 48 h 68"/>
                  <a:gd name="T54" fmla="*/ 62 w 68"/>
                  <a:gd name="T55" fmla="*/ 53 h 68"/>
                  <a:gd name="T56" fmla="*/ 58 w 68"/>
                  <a:gd name="T57" fmla="*/ 59 h 68"/>
                  <a:gd name="T58" fmla="*/ 53 w 68"/>
                  <a:gd name="T59" fmla="*/ 63 h 68"/>
                  <a:gd name="T60" fmla="*/ 47 w 68"/>
                  <a:gd name="T61" fmla="*/ 66 h 68"/>
                  <a:gd name="T62" fmla="*/ 41 w 68"/>
                  <a:gd name="T63" fmla="*/ 68 h 68"/>
                  <a:gd name="T64" fmla="*/ 34 w 68"/>
                  <a:gd name="T65" fmla="*/ 68 h 68"/>
                  <a:gd name="T66" fmla="*/ 34 w 68"/>
                  <a:gd name="T67" fmla="*/ 27 h 68"/>
                  <a:gd name="T68" fmla="*/ 34 w 68"/>
                  <a:gd name="T69" fmla="*/ 27 h 68"/>
                  <a:gd name="T70" fmla="*/ 31 w 68"/>
                  <a:gd name="T71" fmla="*/ 27 h 68"/>
                  <a:gd name="T72" fmla="*/ 29 w 68"/>
                  <a:gd name="T73" fmla="*/ 29 h 68"/>
                  <a:gd name="T74" fmla="*/ 27 w 68"/>
                  <a:gd name="T75" fmla="*/ 32 h 68"/>
                  <a:gd name="T76" fmla="*/ 27 w 68"/>
                  <a:gd name="T77" fmla="*/ 34 h 68"/>
                  <a:gd name="T78" fmla="*/ 27 w 68"/>
                  <a:gd name="T79" fmla="*/ 37 h 68"/>
                  <a:gd name="T80" fmla="*/ 29 w 68"/>
                  <a:gd name="T81" fmla="*/ 39 h 68"/>
                  <a:gd name="T82" fmla="*/ 31 w 68"/>
                  <a:gd name="T83" fmla="*/ 40 h 68"/>
                  <a:gd name="T84" fmla="*/ 34 w 68"/>
                  <a:gd name="T85" fmla="*/ 40 h 68"/>
                  <a:gd name="T86" fmla="*/ 37 w 68"/>
                  <a:gd name="T87" fmla="*/ 40 h 68"/>
                  <a:gd name="T88" fmla="*/ 39 w 68"/>
                  <a:gd name="T89" fmla="*/ 39 h 68"/>
                  <a:gd name="T90" fmla="*/ 41 w 68"/>
                  <a:gd name="T91" fmla="*/ 37 h 68"/>
                  <a:gd name="T92" fmla="*/ 41 w 68"/>
                  <a:gd name="T93" fmla="*/ 34 h 68"/>
                  <a:gd name="T94" fmla="*/ 41 w 68"/>
                  <a:gd name="T95" fmla="*/ 32 h 68"/>
                  <a:gd name="T96" fmla="*/ 39 w 68"/>
                  <a:gd name="T97" fmla="*/ 29 h 68"/>
                  <a:gd name="T98" fmla="*/ 37 w 68"/>
                  <a:gd name="T99" fmla="*/ 27 h 68"/>
                  <a:gd name="T100" fmla="*/ 34 w 68"/>
                  <a:gd name="T101"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68">
                    <a:moveTo>
                      <a:pt x="34" y="68"/>
                    </a:moveTo>
                    <a:lnTo>
                      <a:pt x="27" y="68"/>
                    </a:lnTo>
                    <a:lnTo>
                      <a:pt x="20" y="66"/>
                    </a:lnTo>
                    <a:lnTo>
                      <a:pt x="15" y="63"/>
                    </a:lnTo>
                    <a:lnTo>
                      <a:pt x="10" y="59"/>
                    </a:lnTo>
                    <a:lnTo>
                      <a:pt x="5" y="53"/>
                    </a:lnTo>
                    <a:lnTo>
                      <a:pt x="2" y="48"/>
                    </a:lnTo>
                    <a:lnTo>
                      <a:pt x="1" y="41"/>
                    </a:lnTo>
                    <a:lnTo>
                      <a:pt x="0" y="34"/>
                    </a:lnTo>
                    <a:lnTo>
                      <a:pt x="1" y="27"/>
                    </a:lnTo>
                    <a:lnTo>
                      <a:pt x="2" y="21"/>
                    </a:lnTo>
                    <a:lnTo>
                      <a:pt x="5" y="15"/>
                    </a:lnTo>
                    <a:lnTo>
                      <a:pt x="10" y="10"/>
                    </a:lnTo>
                    <a:lnTo>
                      <a:pt x="15" y="6"/>
                    </a:lnTo>
                    <a:lnTo>
                      <a:pt x="20" y="2"/>
                    </a:lnTo>
                    <a:lnTo>
                      <a:pt x="27" y="0"/>
                    </a:lnTo>
                    <a:lnTo>
                      <a:pt x="34" y="0"/>
                    </a:lnTo>
                    <a:lnTo>
                      <a:pt x="41" y="0"/>
                    </a:lnTo>
                    <a:lnTo>
                      <a:pt x="47" y="2"/>
                    </a:lnTo>
                    <a:lnTo>
                      <a:pt x="53" y="6"/>
                    </a:lnTo>
                    <a:lnTo>
                      <a:pt x="58" y="10"/>
                    </a:lnTo>
                    <a:lnTo>
                      <a:pt x="62" y="15"/>
                    </a:lnTo>
                    <a:lnTo>
                      <a:pt x="66" y="21"/>
                    </a:lnTo>
                    <a:lnTo>
                      <a:pt x="68" y="27"/>
                    </a:lnTo>
                    <a:lnTo>
                      <a:pt x="68" y="34"/>
                    </a:lnTo>
                    <a:lnTo>
                      <a:pt x="68" y="41"/>
                    </a:lnTo>
                    <a:lnTo>
                      <a:pt x="66" y="48"/>
                    </a:lnTo>
                    <a:lnTo>
                      <a:pt x="62" y="53"/>
                    </a:lnTo>
                    <a:lnTo>
                      <a:pt x="58" y="59"/>
                    </a:lnTo>
                    <a:lnTo>
                      <a:pt x="53" y="63"/>
                    </a:lnTo>
                    <a:lnTo>
                      <a:pt x="47" y="66"/>
                    </a:lnTo>
                    <a:lnTo>
                      <a:pt x="41" y="68"/>
                    </a:lnTo>
                    <a:lnTo>
                      <a:pt x="34" y="68"/>
                    </a:lnTo>
                    <a:close/>
                    <a:moveTo>
                      <a:pt x="34" y="27"/>
                    </a:moveTo>
                    <a:lnTo>
                      <a:pt x="34" y="27"/>
                    </a:lnTo>
                    <a:lnTo>
                      <a:pt x="31" y="27"/>
                    </a:lnTo>
                    <a:lnTo>
                      <a:pt x="29" y="29"/>
                    </a:lnTo>
                    <a:lnTo>
                      <a:pt x="27" y="32"/>
                    </a:lnTo>
                    <a:lnTo>
                      <a:pt x="27" y="34"/>
                    </a:lnTo>
                    <a:lnTo>
                      <a:pt x="27" y="37"/>
                    </a:lnTo>
                    <a:lnTo>
                      <a:pt x="29" y="39"/>
                    </a:lnTo>
                    <a:lnTo>
                      <a:pt x="31" y="40"/>
                    </a:lnTo>
                    <a:lnTo>
                      <a:pt x="34" y="40"/>
                    </a:lnTo>
                    <a:lnTo>
                      <a:pt x="37" y="40"/>
                    </a:lnTo>
                    <a:lnTo>
                      <a:pt x="39" y="39"/>
                    </a:lnTo>
                    <a:lnTo>
                      <a:pt x="41" y="37"/>
                    </a:lnTo>
                    <a:lnTo>
                      <a:pt x="41" y="34"/>
                    </a:lnTo>
                    <a:lnTo>
                      <a:pt x="41" y="32"/>
                    </a:lnTo>
                    <a:lnTo>
                      <a:pt x="39" y="29"/>
                    </a:lnTo>
                    <a:lnTo>
                      <a:pt x="37" y="27"/>
                    </a:ln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68"/>
              <p:cNvSpPr>
                <a:spLocks noEditPoints="1"/>
              </p:cNvSpPr>
              <p:nvPr userDrawn="1"/>
            </p:nvSpPr>
            <p:spPr bwMode="auto">
              <a:xfrm>
                <a:off x="1621" y="2128"/>
                <a:ext cx="32" cy="32"/>
              </a:xfrm>
              <a:custGeom>
                <a:avLst/>
                <a:gdLst>
                  <a:gd name="T0" fmla="*/ 38 w 95"/>
                  <a:gd name="T1" fmla="*/ 94 h 95"/>
                  <a:gd name="T2" fmla="*/ 21 w 95"/>
                  <a:gd name="T3" fmla="*/ 87 h 95"/>
                  <a:gd name="T4" fmla="*/ 8 w 95"/>
                  <a:gd name="T5" fmla="*/ 74 h 95"/>
                  <a:gd name="T6" fmla="*/ 2 w 95"/>
                  <a:gd name="T7" fmla="*/ 57 h 95"/>
                  <a:gd name="T8" fmla="*/ 2 w 95"/>
                  <a:gd name="T9" fmla="*/ 38 h 95"/>
                  <a:gd name="T10" fmla="*/ 8 w 95"/>
                  <a:gd name="T11" fmla="*/ 21 h 95"/>
                  <a:gd name="T12" fmla="*/ 21 w 95"/>
                  <a:gd name="T13" fmla="*/ 8 h 95"/>
                  <a:gd name="T14" fmla="*/ 38 w 95"/>
                  <a:gd name="T15" fmla="*/ 1 h 95"/>
                  <a:gd name="T16" fmla="*/ 58 w 95"/>
                  <a:gd name="T17" fmla="*/ 1 h 95"/>
                  <a:gd name="T18" fmla="*/ 74 w 95"/>
                  <a:gd name="T19" fmla="*/ 8 h 95"/>
                  <a:gd name="T20" fmla="*/ 87 w 95"/>
                  <a:gd name="T21" fmla="*/ 21 h 95"/>
                  <a:gd name="T22" fmla="*/ 94 w 95"/>
                  <a:gd name="T23" fmla="*/ 38 h 95"/>
                  <a:gd name="T24" fmla="*/ 94 w 95"/>
                  <a:gd name="T25" fmla="*/ 57 h 95"/>
                  <a:gd name="T26" fmla="*/ 87 w 95"/>
                  <a:gd name="T27" fmla="*/ 74 h 95"/>
                  <a:gd name="T28" fmla="*/ 74 w 95"/>
                  <a:gd name="T29" fmla="*/ 87 h 95"/>
                  <a:gd name="T30" fmla="*/ 58 w 95"/>
                  <a:gd name="T31" fmla="*/ 94 h 95"/>
                  <a:gd name="T32" fmla="*/ 48 w 95"/>
                  <a:gd name="T33" fmla="*/ 27 h 95"/>
                  <a:gd name="T34" fmla="*/ 44 w 95"/>
                  <a:gd name="T35" fmla="*/ 28 h 95"/>
                  <a:gd name="T36" fmla="*/ 36 w 95"/>
                  <a:gd name="T37" fmla="*/ 30 h 95"/>
                  <a:gd name="T38" fmla="*/ 31 w 95"/>
                  <a:gd name="T39" fmla="*/ 37 h 95"/>
                  <a:gd name="T40" fmla="*/ 27 w 95"/>
                  <a:gd name="T41" fmla="*/ 43 h 95"/>
                  <a:gd name="T42" fmla="*/ 27 w 95"/>
                  <a:gd name="T43" fmla="*/ 52 h 95"/>
                  <a:gd name="T44" fmla="*/ 31 w 95"/>
                  <a:gd name="T45" fmla="*/ 59 h 95"/>
                  <a:gd name="T46" fmla="*/ 36 w 95"/>
                  <a:gd name="T47" fmla="*/ 65 h 95"/>
                  <a:gd name="T48" fmla="*/ 44 w 95"/>
                  <a:gd name="T49" fmla="*/ 68 h 95"/>
                  <a:gd name="T50" fmla="*/ 52 w 95"/>
                  <a:gd name="T51" fmla="*/ 68 h 95"/>
                  <a:gd name="T52" fmla="*/ 59 w 95"/>
                  <a:gd name="T53" fmla="*/ 65 h 95"/>
                  <a:gd name="T54" fmla="*/ 65 w 95"/>
                  <a:gd name="T55" fmla="*/ 59 h 95"/>
                  <a:gd name="T56" fmla="*/ 67 w 95"/>
                  <a:gd name="T57" fmla="*/ 52 h 95"/>
                  <a:gd name="T58" fmla="*/ 67 w 95"/>
                  <a:gd name="T59" fmla="*/ 43 h 95"/>
                  <a:gd name="T60" fmla="*/ 65 w 95"/>
                  <a:gd name="T61" fmla="*/ 37 h 95"/>
                  <a:gd name="T62" fmla="*/ 59 w 95"/>
                  <a:gd name="T63" fmla="*/ 30 h 95"/>
                  <a:gd name="T64" fmla="*/ 52 w 95"/>
                  <a:gd name="T65"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8" y="95"/>
                    </a:moveTo>
                    <a:lnTo>
                      <a:pt x="38" y="94"/>
                    </a:lnTo>
                    <a:lnTo>
                      <a:pt x="30" y="92"/>
                    </a:lnTo>
                    <a:lnTo>
                      <a:pt x="21" y="87"/>
                    </a:lnTo>
                    <a:lnTo>
                      <a:pt x="15" y="81"/>
                    </a:lnTo>
                    <a:lnTo>
                      <a:pt x="8" y="74"/>
                    </a:lnTo>
                    <a:lnTo>
                      <a:pt x="4" y="66"/>
                    </a:lnTo>
                    <a:lnTo>
                      <a:pt x="2" y="57"/>
                    </a:lnTo>
                    <a:lnTo>
                      <a:pt x="0" y="47"/>
                    </a:lnTo>
                    <a:lnTo>
                      <a:pt x="2" y="38"/>
                    </a:lnTo>
                    <a:lnTo>
                      <a:pt x="4" y="29"/>
                    </a:lnTo>
                    <a:lnTo>
                      <a:pt x="8" y="21"/>
                    </a:lnTo>
                    <a:lnTo>
                      <a:pt x="15" y="14"/>
                    </a:lnTo>
                    <a:lnTo>
                      <a:pt x="21" y="8"/>
                    </a:lnTo>
                    <a:lnTo>
                      <a:pt x="30" y="4"/>
                    </a:lnTo>
                    <a:lnTo>
                      <a:pt x="38" y="1"/>
                    </a:lnTo>
                    <a:lnTo>
                      <a:pt x="48" y="0"/>
                    </a:lnTo>
                    <a:lnTo>
                      <a:pt x="58" y="1"/>
                    </a:lnTo>
                    <a:lnTo>
                      <a:pt x="66" y="4"/>
                    </a:lnTo>
                    <a:lnTo>
                      <a:pt x="74" y="8"/>
                    </a:lnTo>
                    <a:lnTo>
                      <a:pt x="81" y="14"/>
                    </a:lnTo>
                    <a:lnTo>
                      <a:pt x="87" y="21"/>
                    </a:lnTo>
                    <a:lnTo>
                      <a:pt x="91" y="29"/>
                    </a:lnTo>
                    <a:lnTo>
                      <a:pt x="94" y="38"/>
                    </a:lnTo>
                    <a:lnTo>
                      <a:pt x="95" y="47"/>
                    </a:lnTo>
                    <a:lnTo>
                      <a:pt x="94" y="57"/>
                    </a:lnTo>
                    <a:lnTo>
                      <a:pt x="91" y="66"/>
                    </a:lnTo>
                    <a:lnTo>
                      <a:pt x="87" y="74"/>
                    </a:lnTo>
                    <a:lnTo>
                      <a:pt x="81" y="81"/>
                    </a:lnTo>
                    <a:lnTo>
                      <a:pt x="74" y="87"/>
                    </a:lnTo>
                    <a:lnTo>
                      <a:pt x="66" y="92"/>
                    </a:lnTo>
                    <a:lnTo>
                      <a:pt x="58" y="94"/>
                    </a:lnTo>
                    <a:lnTo>
                      <a:pt x="48" y="95"/>
                    </a:lnTo>
                    <a:close/>
                    <a:moveTo>
                      <a:pt x="48" y="27"/>
                    </a:moveTo>
                    <a:lnTo>
                      <a:pt x="48" y="27"/>
                    </a:lnTo>
                    <a:lnTo>
                      <a:pt x="44" y="28"/>
                    </a:lnTo>
                    <a:lnTo>
                      <a:pt x="40" y="29"/>
                    </a:lnTo>
                    <a:lnTo>
                      <a:pt x="36" y="30"/>
                    </a:lnTo>
                    <a:lnTo>
                      <a:pt x="34" y="33"/>
                    </a:lnTo>
                    <a:lnTo>
                      <a:pt x="31" y="37"/>
                    </a:lnTo>
                    <a:lnTo>
                      <a:pt x="29" y="40"/>
                    </a:lnTo>
                    <a:lnTo>
                      <a:pt x="27" y="43"/>
                    </a:lnTo>
                    <a:lnTo>
                      <a:pt x="27" y="47"/>
                    </a:lnTo>
                    <a:lnTo>
                      <a:pt x="27" y="52"/>
                    </a:lnTo>
                    <a:lnTo>
                      <a:pt x="29" y="55"/>
                    </a:lnTo>
                    <a:lnTo>
                      <a:pt x="31" y="59"/>
                    </a:lnTo>
                    <a:lnTo>
                      <a:pt x="34" y="62"/>
                    </a:lnTo>
                    <a:lnTo>
                      <a:pt x="36" y="65"/>
                    </a:lnTo>
                    <a:lnTo>
                      <a:pt x="40" y="67"/>
                    </a:lnTo>
                    <a:lnTo>
                      <a:pt x="44" y="68"/>
                    </a:lnTo>
                    <a:lnTo>
                      <a:pt x="48" y="68"/>
                    </a:lnTo>
                    <a:lnTo>
                      <a:pt x="52" y="68"/>
                    </a:lnTo>
                    <a:lnTo>
                      <a:pt x="56" y="67"/>
                    </a:lnTo>
                    <a:lnTo>
                      <a:pt x="59" y="65"/>
                    </a:lnTo>
                    <a:lnTo>
                      <a:pt x="62" y="62"/>
                    </a:lnTo>
                    <a:lnTo>
                      <a:pt x="65" y="59"/>
                    </a:lnTo>
                    <a:lnTo>
                      <a:pt x="66" y="55"/>
                    </a:lnTo>
                    <a:lnTo>
                      <a:pt x="67" y="52"/>
                    </a:lnTo>
                    <a:lnTo>
                      <a:pt x="69" y="47"/>
                    </a:lnTo>
                    <a:lnTo>
                      <a:pt x="67" y="43"/>
                    </a:lnTo>
                    <a:lnTo>
                      <a:pt x="66" y="40"/>
                    </a:lnTo>
                    <a:lnTo>
                      <a:pt x="65" y="37"/>
                    </a:lnTo>
                    <a:lnTo>
                      <a:pt x="62" y="33"/>
                    </a:lnTo>
                    <a:lnTo>
                      <a:pt x="59" y="30"/>
                    </a:lnTo>
                    <a:lnTo>
                      <a:pt x="56" y="29"/>
                    </a:lnTo>
                    <a:lnTo>
                      <a:pt x="52" y="28"/>
                    </a:lnTo>
                    <a:lnTo>
                      <a:pt x="4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69"/>
              <p:cNvSpPr>
                <a:spLocks noEditPoints="1"/>
              </p:cNvSpPr>
              <p:nvPr userDrawn="1"/>
            </p:nvSpPr>
            <p:spPr bwMode="auto">
              <a:xfrm>
                <a:off x="1621" y="2010"/>
                <a:ext cx="31" cy="31"/>
              </a:xfrm>
              <a:custGeom>
                <a:avLst/>
                <a:gdLst>
                  <a:gd name="T0" fmla="*/ 37 w 92"/>
                  <a:gd name="T1" fmla="*/ 92 h 92"/>
                  <a:gd name="T2" fmla="*/ 21 w 92"/>
                  <a:gd name="T3" fmla="*/ 84 h 92"/>
                  <a:gd name="T4" fmla="*/ 8 w 92"/>
                  <a:gd name="T5" fmla="*/ 72 h 92"/>
                  <a:gd name="T6" fmla="*/ 2 w 92"/>
                  <a:gd name="T7" fmla="*/ 55 h 92"/>
                  <a:gd name="T8" fmla="*/ 2 w 92"/>
                  <a:gd name="T9" fmla="*/ 37 h 92"/>
                  <a:gd name="T10" fmla="*/ 8 w 92"/>
                  <a:gd name="T11" fmla="*/ 20 h 92"/>
                  <a:gd name="T12" fmla="*/ 21 w 92"/>
                  <a:gd name="T13" fmla="*/ 7 h 92"/>
                  <a:gd name="T14" fmla="*/ 37 w 92"/>
                  <a:gd name="T15" fmla="*/ 1 h 92"/>
                  <a:gd name="T16" fmla="*/ 56 w 92"/>
                  <a:gd name="T17" fmla="*/ 1 h 92"/>
                  <a:gd name="T18" fmla="*/ 72 w 92"/>
                  <a:gd name="T19" fmla="*/ 7 h 92"/>
                  <a:gd name="T20" fmla="*/ 85 w 92"/>
                  <a:gd name="T21" fmla="*/ 20 h 92"/>
                  <a:gd name="T22" fmla="*/ 91 w 92"/>
                  <a:gd name="T23" fmla="*/ 37 h 92"/>
                  <a:gd name="T24" fmla="*/ 91 w 92"/>
                  <a:gd name="T25" fmla="*/ 55 h 92"/>
                  <a:gd name="T26" fmla="*/ 85 w 92"/>
                  <a:gd name="T27" fmla="*/ 72 h 92"/>
                  <a:gd name="T28" fmla="*/ 72 w 92"/>
                  <a:gd name="T29" fmla="*/ 84 h 92"/>
                  <a:gd name="T30" fmla="*/ 56 w 92"/>
                  <a:gd name="T31" fmla="*/ 92 h 92"/>
                  <a:gd name="T32" fmla="*/ 47 w 92"/>
                  <a:gd name="T33" fmla="*/ 27 h 92"/>
                  <a:gd name="T34" fmla="*/ 43 w 92"/>
                  <a:gd name="T35" fmla="*/ 28 h 92"/>
                  <a:gd name="T36" fmla="*/ 36 w 92"/>
                  <a:gd name="T37" fmla="*/ 30 h 92"/>
                  <a:gd name="T38" fmla="*/ 31 w 92"/>
                  <a:gd name="T39" fmla="*/ 35 h 92"/>
                  <a:gd name="T40" fmla="*/ 27 w 92"/>
                  <a:gd name="T41" fmla="*/ 42 h 92"/>
                  <a:gd name="T42" fmla="*/ 27 w 92"/>
                  <a:gd name="T43" fmla="*/ 49 h 92"/>
                  <a:gd name="T44" fmla="*/ 31 w 92"/>
                  <a:gd name="T45" fmla="*/ 57 h 92"/>
                  <a:gd name="T46" fmla="*/ 36 w 92"/>
                  <a:gd name="T47" fmla="*/ 61 h 92"/>
                  <a:gd name="T48" fmla="*/ 43 w 92"/>
                  <a:gd name="T49" fmla="*/ 65 h 92"/>
                  <a:gd name="T50" fmla="*/ 50 w 92"/>
                  <a:gd name="T51" fmla="*/ 65 h 92"/>
                  <a:gd name="T52" fmla="*/ 57 w 92"/>
                  <a:gd name="T53" fmla="*/ 61 h 92"/>
                  <a:gd name="T54" fmla="*/ 62 w 92"/>
                  <a:gd name="T55" fmla="*/ 57 h 92"/>
                  <a:gd name="T56" fmla="*/ 65 w 92"/>
                  <a:gd name="T57" fmla="*/ 49 h 92"/>
                  <a:gd name="T58" fmla="*/ 65 w 92"/>
                  <a:gd name="T59" fmla="*/ 42 h 92"/>
                  <a:gd name="T60" fmla="*/ 62 w 92"/>
                  <a:gd name="T61" fmla="*/ 35 h 92"/>
                  <a:gd name="T62" fmla="*/ 57 w 92"/>
                  <a:gd name="T63" fmla="*/ 30 h 92"/>
                  <a:gd name="T64" fmla="*/ 50 w 92"/>
                  <a:gd name="T65" fmla="*/ 2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2">
                    <a:moveTo>
                      <a:pt x="47" y="92"/>
                    </a:moveTo>
                    <a:lnTo>
                      <a:pt x="37" y="92"/>
                    </a:lnTo>
                    <a:lnTo>
                      <a:pt x="29" y="88"/>
                    </a:lnTo>
                    <a:lnTo>
                      <a:pt x="21" y="84"/>
                    </a:lnTo>
                    <a:lnTo>
                      <a:pt x="13" y="79"/>
                    </a:lnTo>
                    <a:lnTo>
                      <a:pt x="8" y="72"/>
                    </a:lnTo>
                    <a:lnTo>
                      <a:pt x="4" y="64"/>
                    </a:lnTo>
                    <a:lnTo>
                      <a:pt x="2" y="55"/>
                    </a:lnTo>
                    <a:lnTo>
                      <a:pt x="0" y="46"/>
                    </a:lnTo>
                    <a:lnTo>
                      <a:pt x="2" y="37"/>
                    </a:lnTo>
                    <a:lnTo>
                      <a:pt x="4" y="28"/>
                    </a:lnTo>
                    <a:lnTo>
                      <a:pt x="8" y="20"/>
                    </a:lnTo>
                    <a:lnTo>
                      <a:pt x="13" y="14"/>
                    </a:lnTo>
                    <a:lnTo>
                      <a:pt x="21" y="7"/>
                    </a:lnTo>
                    <a:lnTo>
                      <a:pt x="29" y="4"/>
                    </a:lnTo>
                    <a:lnTo>
                      <a:pt x="37" y="1"/>
                    </a:lnTo>
                    <a:lnTo>
                      <a:pt x="47" y="0"/>
                    </a:lnTo>
                    <a:lnTo>
                      <a:pt x="56" y="1"/>
                    </a:lnTo>
                    <a:lnTo>
                      <a:pt x="64" y="4"/>
                    </a:lnTo>
                    <a:lnTo>
                      <a:pt x="72" y="7"/>
                    </a:lnTo>
                    <a:lnTo>
                      <a:pt x="79" y="14"/>
                    </a:lnTo>
                    <a:lnTo>
                      <a:pt x="85" y="20"/>
                    </a:lnTo>
                    <a:lnTo>
                      <a:pt x="89" y="28"/>
                    </a:lnTo>
                    <a:lnTo>
                      <a:pt x="91" y="37"/>
                    </a:lnTo>
                    <a:lnTo>
                      <a:pt x="92" y="46"/>
                    </a:lnTo>
                    <a:lnTo>
                      <a:pt x="91" y="55"/>
                    </a:lnTo>
                    <a:lnTo>
                      <a:pt x="89" y="64"/>
                    </a:lnTo>
                    <a:lnTo>
                      <a:pt x="85" y="72"/>
                    </a:lnTo>
                    <a:lnTo>
                      <a:pt x="79" y="79"/>
                    </a:lnTo>
                    <a:lnTo>
                      <a:pt x="72" y="84"/>
                    </a:lnTo>
                    <a:lnTo>
                      <a:pt x="64" y="88"/>
                    </a:lnTo>
                    <a:lnTo>
                      <a:pt x="56" y="92"/>
                    </a:lnTo>
                    <a:lnTo>
                      <a:pt x="47" y="92"/>
                    </a:lnTo>
                    <a:close/>
                    <a:moveTo>
                      <a:pt x="47" y="27"/>
                    </a:moveTo>
                    <a:lnTo>
                      <a:pt x="47" y="27"/>
                    </a:lnTo>
                    <a:lnTo>
                      <a:pt x="43" y="28"/>
                    </a:lnTo>
                    <a:lnTo>
                      <a:pt x="39" y="29"/>
                    </a:lnTo>
                    <a:lnTo>
                      <a:pt x="36" y="30"/>
                    </a:lnTo>
                    <a:lnTo>
                      <a:pt x="33" y="32"/>
                    </a:lnTo>
                    <a:lnTo>
                      <a:pt x="31" y="35"/>
                    </a:lnTo>
                    <a:lnTo>
                      <a:pt x="29" y="39"/>
                    </a:lnTo>
                    <a:lnTo>
                      <a:pt x="27" y="42"/>
                    </a:lnTo>
                    <a:lnTo>
                      <a:pt x="27" y="46"/>
                    </a:lnTo>
                    <a:lnTo>
                      <a:pt x="27" y="49"/>
                    </a:lnTo>
                    <a:lnTo>
                      <a:pt x="29" y="54"/>
                    </a:lnTo>
                    <a:lnTo>
                      <a:pt x="31" y="57"/>
                    </a:lnTo>
                    <a:lnTo>
                      <a:pt x="33" y="59"/>
                    </a:lnTo>
                    <a:lnTo>
                      <a:pt x="36" y="61"/>
                    </a:lnTo>
                    <a:lnTo>
                      <a:pt x="39" y="64"/>
                    </a:lnTo>
                    <a:lnTo>
                      <a:pt x="43" y="65"/>
                    </a:lnTo>
                    <a:lnTo>
                      <a:pt x="47" y="65"/>
                    </a:lnTo>
                    <a:lnTo>
                      <a:pt x="50" y="65"/>
                    </a:lnTo>
                    <a:lnTo>
                      <a:pt x="53" y="64"/>
                    </a:lnTo>
                    <a:lnTo>
                      <a:pt x="57" y="61"/>
                    </a:lnTo>
                    <a:lnTo>
                      <a:pt x="60" y="59"/>
                    </a:lnTo>
                    <a:lnTo>
                      <a:pt x="62" y="57"/>
                    </a:lnTo>
                    <a:lnTo>
                      <a:pt x="64" y="54"/>
                    </a:lnTo>
                    <a:lnTo>
                      <a:pt x="65" y="49"/>
                    </a:lnTo>
                    <a:lnTo>
                      <a:pt x="65" y="46"/>
                    </a:lnTo>
                    <a:lnTo>
                      <a:pt x="65" y="42"/>
                    </a:lnTo>
                    <a:lnTo>
                      <a:pt x="64" y="39"/>
                    </a:lnTo>
                    <a:lnTo>
                      <a:pt x="62" y="35"/>
                    </a:lnTo>
                    <a:lnTo>
                      <a:pt x="60" y="32"/>
                    </a:lnTo>
                    <a:lnTo>
                      <a:pt x="57" y="30"/>
                    </a:lnTo>
                    <a:lnTo>
                      <a:pt x="53" y="29"/>
                    </a:lnTo>
                    <a:lnTo>
                      <a:pt x="50" y="28"/>
                    </a:lnTo>
                    <a:lnTo>
                      <a:pt x="4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70"/>
              <p:cNvSpPr>
                <a:spLocks noEditPoints="1"/>
              </p:cNvSpPr>
              <p:nvPr userDrawn="1"/>
            </p:nvSpPr>
            <p:spPr bwMode="auto">
              <a:xfrm>
                <a:off x="1520" y="2058"/>
                <a:ext cx="24" cy="24"/>
              </a:xfrm>
              <a:custGeom>
                <a:avLst/>
                <a:gdLst>
                  <a:gd name="T0" fmla="*/ 37 w 72"/>
                  <a:gd name="T1" fmla="*/ 72 h 72"/>
                  <a:gd name="T2" fmla="*/ 29 w 72"/>
                  <a:gd name="T3" fmla="*/ 72 h 72"/>
                  <a:gd name="T4" fmla="*/ 23 w 72"/>
                  <a:gd name="T5" fmla="*/ 70 h 72"/>
                  <a:gd name="T6" fmla="*/ 16 w 72"/>
                  <a:gd name="T7" fmla="*/ 66 h 72"/>
                  <a:gd name="T8" fmla="*/ 11 w 72"/>
                  <a:gd name="T9" fmla="*/ 62 h 72"/>
                  <a:gd name="T10" fmla="*/ 7 w 72"/>
                  <a:gd name="T11" fmla="*/ 57 h 72"/>
                  <a:gd name="T12" fmla="*/ 3 w 72"/>
                  <a:gd name="T13" fmla="*/ 50 h 72"/>
                  <a:gd name="T14" fmla="*/ 1 w 72"/>
                  <a:gd name="T15" fmla="*/ 44 h 72"/>
                  <a:gd name="T16" fmla="*/ 0 w 72"/>
                  <a:gd name="T17" fmla="*/ 36 h 72"/>
                  <a:gd name="T18" fmla="*/ 1 w 72"/>
                  <a:gd name="T19" fmla="*/ 29 h 72"/>
                  <a:gd name="T20" fmla="*/ 3 w 72"/>
                  <a:gd name="T21" fmla="*/ 22 h 72"/>
                  <a:gd name="T22" fmla="*/ 7 w 72"/>
                  <a:gd name="T23" fmla="*/ 17 h 72"/>
                  <a:gd name="T24" fmla="*/ 11 w 72"/>
                  <a:gd name="T25" fmla="*/ 11 h 72"/>
                  <a:gd name="T26" fmla="*/ 16 w 72"/>
                  <a:gd name="T27" fmla="*/ 7 h 72"/>
                  <a:gd name="T28" fmla="*/ 23 w 72"/>
                  <a:gd name="T29" fmla="*/ 4 h 72"/>
                  <a:gd name="T30" fmla="*/ 29 w 72"/>
                  <a:gd name="T31" fmla="*/ 2 h 72"/>
                  <a:gd name="T32" fmla="*/ 37 w 72"/>
                  <a:gd name="T33" fmla="*/ 0 h 72"/>
                  <a:gd name="T34" fmla="*/ 43 w 72"/>
                  <a:gd name="T35" fmla="*/ 2 h 72"/>
                  <a:gd name="T36" fmla="*/ 51 w 72"/>
                  <a:gd name="T37" fmla="*/ 4 h 72"/>
                  <a:gd name="T38" fmla="*/ 56 w 72"/>
                  <a:gd name="T39" fmla="*/ 7 h 72"/>
                  <a:gd name="T40" fmla="*/ 62 w 72"/>
                  <a:gd name="T41" fmla="*/ 11 h 72"/>
                  <a:gd name="T42" fmla="*/ 66 w 72"/>
                  <a:gd name="T43" fmla="*/ 17 h 72"/>
                  <a:gd name="T44" fmla="*/ 69 w 72"/>
                  <a:gd name="T45" fmla="*/ 22 h 72"/>
                  <a:gd name="T46" fmla="*/ 71 w 72"/>
                  <a:gd name="T47" fmla="*/ 29 h 72"/>
                  <a:gd name="T48" fmla="*/ 72 w 72"/>
                  <a:gd name="T49" fmla="*/ 36 h 72"/>
                  <a:gd name="T50" fmla="*/ 71 w 72"/>
                  <a:gd name="T51" fmla="*/ 44 h 72"/>
                  <a:gd name="T52" fmla="*/ 69 w 72"/>
                  <a:gd name="T53" fmla="*/ 50 h 72"/>
                  <a:gd name="T54" fmla="*/ 66 w 72"/>
                  <a:gd name="T55" fmla="*/ 57 h 72"/>
                  <a:gd name="T56" fmla="*/ 62 w 72"/>
                  <a:gd name="T57" fmla="*/ 62 h 72"/>
                  <a:gd name="T58" fmla="*/ 56 w 72"/>
                  <a:gd name="T59" fmla="*/ 66 h 72"/>
                  <a:gd name="T60" fmla="*/ 51 w 72"/>
                  <a:gd name="T61" fmla="*/ 70 h 72"/>
                  <a:gd name="T62" fmla="*/ 43 w 72"/>
                  <a:gd name="T63" fmla="*/ 72 h 72"/>
                  <a:gd name="T64" fmla="*/ 37 w 72"/>
                  <a:gd name="T65" fmla="*/ 72 h 72"/>
                  <a:gd name="T66" fmla="*/ 37 w 72"/>
                  <a:gd name="T67" fmla="*/ 27 h 72"/>
                  <a:gd name="T68" fmla="*/ 37 w 72"/>
                  <a:gd name="T69" fmla="*/ 27 h 72"/>
                  <a:gd name="T70" fmla="*/ 33 w 72"/>
                  <a:gd name="T71" fmla="*/ 29 h 72"/>
                  <a:gd name="T72" fmla="*/ 30 w 72"/>
                  <a:gd name="T73" fmla="*/ 30 h 72"/>
                  <a:gd name="T74" fmla="*/ 28 w 72"/>
                  <a:gd name="T75" fmla="*/ 33 h 72"/>
                  <a:gd name="T76" fmla="*/ 27 w 72"/>
                  <a:gd name="T77" fmla="*/ 36 h 72"/>
                  <a:gd name="T78" fmla="*/ 28 w 72"/>
                  <a:gd name="T79" fmla="*/ 39 h 72"/>
                  <a:gd name="T80" fmla="*/ 30 w 72"/>
                  <a:gd name="T81" fmla="*/ 43 h 72"/>
                  <a:gd name="T82" fmla="*/ 33 w 72"/>
                  <a:gd name="T83" fmla="*/ 45 h 72"/>
                  <a:gd name="T84" fmla="*/ 37 w 72"/>
                  <a:gd name="T85" fmla="*/ 45 h 72"/>
                  <a:gd name="T86" fmla="*/ 40 w 72"/>
                  <a:gd name="T87" fmla="*/ 45 h 72"/>
                  <a:gd name="T88" fmla="*/ 42 w 72"/>
                  <a:gd name="T89" fmla="*/ 43 h 72"/>
                  <a:gd name="T90" fmla="*/ 44 w 72"/>
                  <a:gd name="T91" fmla="*/ 39 h 72"/>
                  <a:gd name="T92" fmla="*/ 45 w 72"/>
                  <a:gd name="T93" fmla="*/ 36 h 72"/>
                  <a:gd name="T94" fmla="*/ 44 w 72"/>
                  <a:gd name="T95" fmla="*/ 33 h 72"/>
                  <a:gd name="T96" fmla="*/ 42 w 72"/>
                  <a:gd name="T97" fmla="*/ 30 h 72"/>
                  <a:gd name="T98" fmla="*/ 40 w 72"/>
                  <a:gd name="T99" fmla="*/ 29 h 72"/>
                  <a:gd name="T100" fmla="*/ 37 w 72"/>
                  <a:gd name="T101"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 h="72">
                    <a:moveTo>
                      <a:pt x="37" y="72"/>
                    </a:moveTo>
                    <a:lnTo>
                      <a:pt x="29" y="72"/>
                    </a:lnTo>
                    <a:lnTo>
                      <a:pt x="23" y="70"/>
                    </a:lnTo>
                    <a:lnTo>
                      <a:pt x="16" y="66"/>
                    </a:lnTo>
                    <a:lnTo>
                      <a:pt x="11" y="62"/>
                    </a:lnTo>
                    <a:lnTo>
                      <a:pt x="7" y="57"/>
                    </a:lnTo>
                    <a:lnTo>
                      <a:pt x="3" y="50"/>
                    </a:lnTo>
                    <a:lnTo>
                      <a:pt x="1" y="44"/>
                    </a:lnTo>
                    <a:lnTo>
                      <a:pt x="0" y="36"/>
                    </a:lnTo>
                    <a:lnTo>
                      <a:pt x="1" y="29"/>
                    </a:lnTo>
                    <a:lnTo>
                      <a:pt x="3" y="22"/>
                    </a:lnTo>
                    <a:lnTo>
                      <a:pt x="7" y="17"/>
                    </a:lnTo>
                    <a:lnTo>
                      <a:pt x="11" y="11"/>
                    </a:lnTo>
                    <a:lnTo>
                      <a:pt x="16" y="7"/>
                    </a:lnTo>
                    <a:lnTo>
                      <a:pt x="23" y="4"/>
                    </a:lnTo>
                    <a:lnTo>
                      <a:pt x="29" y="2"/>
                    </a:lnTo>
                    <a:lnTo>
                      <a:pt x="37" y="0"/>
                    </a:lnTo>
                    <a:lnTo>
                      <a:pt x="43" y="2"/>
                    </a:lnTo>
                    <a:lnTo>
                      <a:pt x="51" y="4"/>
                    </a:lnTo>
                    <a:lnTo>
                      <a:pt x="56" y="7"/>
                    </a:lnTo>
                    <a:lnTo>
                      <a:pt x="62" y="11"/>
                    </a:lnTo>
                    <a:lnTo>
                      <a:pt x="66" y="17"/>
                    </a:lnTo>
                    <a:lnTo>
                      <a:pt x="69" y="22"/>
                    </a:lnTo>
                    <a:lnTo>
                      <a:pt x="71" y="29"/>
                    </a:lnTo>
                    <a:lnTo>
                      <a:pt x="72" y="36"/>
                    </a:lnTo>
                    <a:lnTo>
                      <a:pt x="71" y="44"/>
                    </a:lnTo>
                    <a:lnTo>
                      <a:pt x="69" y="50"/>
                    </a:lnTo>
                    <a:lnTo>
                      <a:pt x="66" y="57"/>
                    </a:lnTo>
                    <a:lnTo>
                      <a:pt x="62" y="62"/>
                    </a:lnTo>
                    <a:lnTo>
                      <a:pt x="56" y="66"/>
                    </a:lnTo>
                    <a:lnTo>
                      <a:pt x="51" y="70"/>
                    </a:lnTo>
                    <a:lnTo>
                      <a:pt x="43" y="72"/>
                    </a:lnTo>
                    <a:lnTo>
                      <a:pt x="37" y="72"/>
                    </a:lnTo>
                    <a:close/>
                    <a:moveTo>
                      <a:pt x="37" y="27"/>
                    </a:moveTo>
                    <a:lnTo>
                      <a:pt x="37" y="27"/>
                    </a:lnTo>
                    <a:lnTo>
                      <a:pt x="33" y="29"/>
                    </a:lnTo>
                    <a:lnTo>
                      <a:pt x="30" y="30"/>
                    </a:lnTo>
                    <a:lnTo>
                      <a:pt x="28" y="33"/>
                    </a:lnTo>
                    <a:lnTo>
                      <a:pt x="27" y="36"/>
                    </a:lnTo>
                    <a:lnTo>
                      <a:pt x="28" y="39"/>
                    </a:lnTo>
                    <a:lnTo>
                      <a:pt x="30" y="43"/>
                    </a:lnTo>
                    <a:lnTo>
                      <a:pt x="33" y="45"/>
                    </a:lnTo>
                    <a:lnTo>
                      <a:pt x="37" y="45"/>
                    </a:lnTo>
                    <a:lnTo>
                      <a:pt x="40" y="45"/>
                    </a:lnTo>
                    <a:lnTo>
                      <a:pt x="42" y="43"/>
                    </a:lnTo>
                    <a:lnTo>
                      <a:pt x="44" y="39"/>
                    </a:lnTo>
                    <a:lnTo>
                      <a:pt x="45" y="36"/>
                    </a:lnTo>
                    <a:lnTo>
                      <a:pt x="44" y="33"/>
                    </a:lnTo>
                    <a:lnTo>
                      <a:pt x="42" y="30"/>
                    </a:lnTo>
                    <a:lnTo>
                      <a:pt x="40" y="29"/>
                    </a:lnTo>
                    <a:lnTo>
                      <a:pt x="3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71"/>
              <p:cNvSpPr>
                <a:spLocks noEditPoints="1"/>
              </p:cNvSpPr>
              <p:nvPr userDrawn="1"/>
            </p:nvSpPr>
            <p:spPr bwMode="auto">
              <a:xfrm>
                <a:off x="1463" y="2040"/>
                <a:ext cx="22" cy="22"/>
              </a:xfrm>
              <a:custGeom>
                <a:avLst/>
                <a:gdLst>
                  <a:gd name="T0" fmla="*/ 34 w 67"/>
                  <a:gd name="T1" fmla="*/ 68 h 68"/>
                  <a:gd name="T2" fmla="*/ 27 w 67"/>
                  <a:gd name="T3" fmla="*/ 67 h 68"/>
                  <a:gd name="T4" fmla="*/ 21 w 67"/>
                  <a:gd name="T5" fmla="*/ 66 h 68"/>
                  <a:gd name="T6" fmla="*/ 14 w 67"/>
                  <a:gd name="T7" fmla="*/ 63 h 68"/>
                  <a:gd name="T8" fmla="*/ 10 w 67"/>
                  <a:gd name="T9" fmla="*/ 59 h 68"/>
                  <a:gd name="T10" fmla="*/ 6 w 67"/>
                  <a:gd name="T11" fmla="*/ 53 h 68"/>
                  <a:gd name="T12" fmla="*/ 3 w 67"/>
                  <a:gd name="T13" fmla="*/ 48 h 68"/>
                  <a:gd name="T14" fmla="*/ 0 w 67"/>
                  <a:gd name="T15" fmla="*/ 41 h 68"/>
                  <a:gd name="T16" fmla="*/ 0 w 67"/>
                  <a:gd name="T17" fmla="*/ 35 h 68"/>
                  <a:gd name="T18" fmla="*/ 0 w 67"/>
                  <a:gd name="T19" fmla="*/ 27 h 68"/>
                  <a:gd name="T20" fmla="*/ 3 w 67"/>
                  <a:gd name="T21" fmla="*/ 22 h 68"/>
                  <a:gd name="T22" fmla="*/ 6 w 67"/>
                  <a:gd name="T23" fmla="*/ 15 h 68"/>
                  <a:gd name="T24" fmla="*/ 10 w 67"/>
                  <a:gd name="T25" fmla="*/ 11 h 68"/>
                  <a:gd name="T26" fmla="*/ 14 w 67"/>
                  <a:gd name="T27" fmla="*/ 7 h 68"/>
                  <a:gd name="T28" fmla="*/ 21 w 67"/>
                  <a:gd name="T29" fmla="*/ 4 h 68"/>
                  <a:gd name="T30" fmla="*/ 27 w 67"/>
                  <a:gd name="T31" fmla="*/ 1 h 68"/>
                  <a:gd name="T32" fmla="*/ 34 w 67"/>
                  <a:gd name="T33" fmla="*/ 0 h 68"/>
                  <a:gd name="T34" fmla="*/ 40 w 67"/>
                  <a:gd name="T35" fmla="*/ 1 h 68"/>
                  <a:gd name="T36" fmla="*/ 47 w 67"/>
                  <a:gd name="T37" fmla="*/ 4 h 68"/>
                  <a:gd name="T38" fmla="*/ 52 w 67"/>
                  <a:gd name="T39" fmla="*/ 7 h 68"/>
                  <a:gd name="T40" fmla="*/ 58 w 67"/>
                  <a:gd name="T41" fmla="*/ 11 h 68"/>
                  <a:gd name="T42" fmla="*/ 62 w 67"/>
                  <a:gd name="T43" fmla="*/ 15 h 68"/>
                  <a:gd name="T44" fmla="*/ 65 w 67"/>
                  <a:gd name="T45" fmla="*/ 22 h 68"/>
                  <a:gd name="T46" fmla="*/ 67 w 67"/>
                  <a:gd name="T47" fmla="*/ 27 h 68"/>
                  <a:gd name="T48" fmla="*/ 67 w 67"/>
                  <a:gd name="T49" fmla="*/ 35 h 68"/>
                  <a:gd name="T50" fmla="*/ 67 w 67"/>
                  <a:gd name="T51" fmla="*/ 41 h 68"/>
                  <a:gd name="T52" fmla="*/ 65 w 67"/>
                  <a:gd name="T53" fmla="*/ 48 h 68"/>
                  <a:gd name="T54" fmla="*/ 62 w 67"/>
                  <a:gd name="T55" fmla="*/ 53 h 68"/>
                  <a:gd name="T56" fmla="*/ 58 w 67"/>
                  <a:gd name="T57" fmla="*/ 59 h 68"/>
                  <a:gd name="T58" fmla="*/ 52 w 67"/>
                  <a:gd name="T59" fmla="*/ 63 h 68"/>
                  <a:gd name="T60" fmla="*/ 47 w 67"/>
                  <a:gd name="T61" fmla="*/ 66 h 68"/>
                  <a:gd name="T62" fmla="*/ 40 w 67"/>
                  <a:gd name="T63" fmla="*/ 67 h 68"/>
                  <a:gd name="T64" fmla="*/ 34 w 67"/>
                  <a:gd name="T65" fmla="*/ 68 h 68"/>
                  <a:gd name="T66" fmla="*/ 34 w 67"/>
                  <a:gd name="T67" fmla="*/ 27 h 68"/>
                  <a:gd name="T68" fmla="*/ 34 w 67"/>
                  <a:gd name="T69" fmla="*/ 27 h 68"/>
                  <a:gd name="T70" fmla="*/ 31 w 67"/>
                  <a:gd name="T71" fmla="*/ 28 h 68"/>
                  <a:gd name="T72" fmla="*/ 29 w 67"/>
                  <a:gd name="T73" fmla="*/ 29 h 68"/>
                  <a:gd name="T74" fmla="*/ 27 w 67"/>
                  <a:gd name="T75" fmla="*/ 32 h 68"/>
                  <a:gd name="T76" fmla="*/ 27 w 67"/>
                  <a:gd name="T77" fmla="*/ 35 h 68"/>
                  <a:gd name="T78" fmla="*/ 27 w 67"/>
                  <a:gd name="T79" fmla="*/ 37 h 68"/>
                  <a:gd name="T80" fmla="*/ 30 w 67"/>
                  <a:gd name="T81" fmla="*/ 39 h 68"/>
                  <a:gd name="T82" fmla="*/ 32 w 67"/>
                  <a:gd name="T83" fmla="*/ 40 h 68"/>
                  <a:gd name="T84" fmla="*/ 34 w 67"/>
                  <a:gd name="T85" fmla="*/ 40 h 68"/>
                  <a:gd name="T86" fmla="*/ 36 w 67"/>
                  <a:gd name="T87" fmla="*/ 40 h 68"/>
                  <a:gd name="T88" fmla="*/ 38 w 67"/>
                  <a:gd name="T89" fmla="*/ 39 h 68"/>
                  <a:gd name="T90" fmla="*/ 40 w 67"/>
                  <a:gd name="T91" fmla="*/ 37 h 68"/>
                  <a:gd name="T92" fmla="*/ 40 w 67"/>
                  <a:gd name="T93" fmla="*/ 35 h 68"/>
                  <a:gd name="T94" fmla="*/ 40 w 67"/>
                  <a:gd name="T95" fmla="*/ 32 h 68"/>
                  <a:gd name="T96" fmla="*/ 38 w 67"/>
                  <a:gd name="T97" fmla="*/ 29 h 68"/>
                  <a:gd name="T98" fmla="*/ 36 w 67"/>
                  <a:gd name="T99" fmla="*/ 28 h 68"/>
                  <a:gd name="T100" fmla="*/ 34 w 67"/>
                  <a:gd name="T101"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34" y="68"/>
                    </a:moveTo>
                    <a:lnTo>
                      <a:pt x="27" y="67"/>
                    </a:lnTo>
                    <a:lnTo>
                      <a:pt x="21" y="66"/>
                    </a:lnTo>
                    <a:lnTo>
                      <a:pt x="14" y="63"/>
                    </a:lnTo>
                    <a:lnTo>
                      <a:pt x="10" y="59"/>
                    </a:lnTo>
                    <a:lnTo>
                      <a:pt x="6" y="53"/>
                    </a:lnTo>
                    <a:lnTo>
                      <a:pt x="3" y="48"/>
                    </a:lnTo>
                    <a:lnTo>
                      <a:pt x="0" y="41"/>
                    </a:lnTo>
                    <a:lnTo>
                      <a:pt x="0" y="35"/>
                    </a:lnTo>
                    <a:lnTo>
                      <a:pt x="0" y="27"/>
                    </a:lnTo>
                    <a:lnTo>
                      <a:pt x="3" y="22"/>
                    </a:lnTo>
                    <a:lnTo>
                      <a:pt x="6" y="15"/>
                    </a:lnTo>
                    <a:lnTo>
                      <a:pt x="10" y="11"/>
                    </a:lnTo>
                    <a:lnTo>
                      <a:pt x="14" y="7"/>
                    </a:lnTo>
                    <a:lnTo>
                      <a:pt x="21" y="4"/>
                    </a:lnTo>
                    <a:lnTo>
                      <a:pt x="27" y="1"/>
                    </a:lnTo>
                    <a:lnTo>
                      <a:pt x="34" y="0"/>
                    </a:lnTo>
                    <a:lnTo>
                      <a:pt x="40" y="1"/>
                    </a:lnTo>
                    <a:lnTo>
                      <a:pt x="47" y="4"/>
                    </a:lnTo>
                    <a:lnTo>
                      <a:pt x="52" y="7"/>
                    </a:lnTo>
                    <a:lnTo>
                      <a:pt x="58" y="11"/>
                    </a:lnTo>
                    <a:lnTo>
                      <a:pt x="62" y="15"/>
                    </a:lnTo>
                    <a:lnTo>
                      <a:pt x="65" y="22"/>
                    </a:lnTo>
                    <a:lnTo>
                      <a:pt x="67" y="27"/>
                    </a:lnTo>
                    <a:lnTo>
                      <a:pt x="67" y="35"/>
                    </a:lnTo>
                    <a:lnTo>
                      <a:pt x="67" y="41"/>
                    </a:lnTo>
                    <a:lnTo>
                      <a:pt x="65" y="48"/>
                    </a:lnTo>
                    <a:lnTo>
                      <a:pt x="62" y="53"/>
                    </a:lnTo>
                    <a:lnTo>
                      <a:pt x="58" y="59"/>
                    </a:lnTo>
                    <a:lnTo>
                      <a:pt x="52" y="63"/>
                    </a:lnTo>
                    <a:lnTo>
                      <a:pt x="47" y="66"/>
                    </a:lnTo>
                    <a:lnTo>
                      <a:pt x="40" y="67"/>
                    </a:lnTo>
                    <a:lnTo>
                      <a:pt x="34" y="68"/>
                    </a:lnTo>
                    <a:close/>
                    <a:moveTo>
                      <a:pt x="34" y="27"/>
                    </a:moveTo>
                    <a:lnTo>
                      <a:pt x="34" y="27"/>
                    </a:lnTo>
                    <a:lnTo>
                      <a:pt x="31" y="28"/>
                    </a:lnTo>
                    <a:lnTo>
                      <a:pt x="29" y="29"/>
                    </a:lnTo>
                    <a:lnTo>
                      <a:pt x="27" y="32"/>
                    </a:lnTo>
                    <a:lnTo>
                      <a:pt x="27" y="35"/>
                    </a:lnTo>
                    <a:lnTo>
                      <a:pt x="27" y="37"/>
                    </a:lnTo>
                    <a:lnTo>
                      <a:pt x="30" y="39"/>
                    </a:lnTo>
                    <a:lnTo>
                      <a:pt x="32" y="40"/>
                    </a:lnTo>
                    <a:lnTo>
                      <a:pt x="34" y="40"/>
                    </a:lnTo>
                    <a:lnTo>
                      <a:pt x="36" y="40"/>
                    </a:lnTo>
                    <a:lnTo>
                      <a:pt x="38" y="39"/>
                    </a:lnTo>
                    <a:lnTo>
                      <a:pt x="40" y="37"/>
                    </a:lnTo>
                    <a:lnTo>
                      <a:pt x="40" y="35"/>
                    </a:lnTo>
                    <a:lnTo>
                      <a:pt x="40" y="32"/>
                    </a:lnTo>
                    <a:lnTo>
                      <a:pt x="38" y="29"/>
                    </a:lnTo>
                    <a:lnTo>
                      <a:pt x="36" y="28"/>
                    </a:ln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72"/>
              <p:cNvSpPr>
                <a:spLocks noEditPoints="1"/>
              </p:cNvSpPr>
              <p:nvPr userDrawn="1"/>
            </p:nvSpPr>
            <p:spPr bwMode="auto">
              <a:xfrm>
                <a:off x="2473" y="3099"/>
                <a:ext cx="24" cy="23"/>
              </a:xfrm>
              <a:custGeom>
                <a:avLst/>
                <a:gdLst>
                  <a:gd name="T0" fmla="*/ 36 w 72"/>
                  <a:gd name="T1" fmla="*/ 71 h 71"/>
                  <a:gd name="T2" fmla="*/ 29 w 72"/>
                  <a:gd name="T3" fmla="*/ 70 h 71"/>
                  <a:gd name="T4" fmla="*/ 22 w 72"/>
                  <a:gd name="T5" fmla="*/ 68 h 71"/>
                  <a:gd name="T6" fmla="*/ 16 w 72"/>
                  <a:gd name="T7" fmla="*/ 65 h 71"/>
                  <a:gd name="T8" fmla="*/ 11 w 72"/>
                  <a:gd name="T9" fmla="*/ 61 h 71"/>
                  <a:gd name="T10" fmla="*/ 7 w 72"/>
                  <a:gd name="T11" fmla="*/ 55 h 71"/>
                  <a:gd name="T12" fmla="*/ 4 w 72"/>
                  <a:gd name="T13" fmla="*/ 50 h 71"/>
                  <a:gd name="T14" fmla="*/ 2 w 72"/>
                  <a:gd name="T15" fmla="*/ 43 h 71"/>
                  <a:gd name="T16" fmla="*/ 0 w 72"/>
                  <a:gd name="T17" fmla="*/ 36 h 71"/>
                  <a:gd name="T18" fmla="*/ 2 w 72"/>
                  <a:gd name="T19" fmla="*/ 28 h 71"/>
                  <a:gd name="T20" fmla="*/ 4 w 72"/>
                  <a:gd name="T21" fmla="*/ 22 h 71"/>
                  <a:gd name="T22" fmla="*/ 7 w 72"/>
                  <a:gd name="T23" fmla="*/ 15 h 71"/>
                  <a:gd name="T24" fmla="*/ 11 w 72"/>
                  <a:gd name="T25" fmla="*/ 11 h 71"/>
                  <a:gd name="T26" fmla="*/ 16 w 72"/>
                  <a:gd name="T27" fmla="*/ 7 h 71"/>
                  <a:gd name="T28" fmla="*/ 22 w 72"/>
                  <a:gd name="T29" fmla="*/ 3 h 71"/>
                  <a:gd name="T30" fmla="*/ 29 w 72"/>
                  <a:gd name="T31" fmla="*/ 1 h 71"/>
                  <a:gd name="T32" fmla="*/ 36 w 72"/>
                  <a:gd name="T33" fmla="*/ 0 h 71"/>
                  <a:gd name="T34" fmla="*/ 43 w 72"/>
                  <a:gd name="T35" fmla="*/ 1 h 71"/>
                  <a:gd name="T36" fmla="*/ 50 w 72"/>
                  <a:gd name="T37" fmla="*/ 3 h 71"/>
                  <a:gd name="T38" fmla="*/ 56 w 72"/>
                  <a:gd name="T39" fmla="*/ 7 h 71"/>
                  <a:gd name="T40" fmla="*/ 61 w 72"/>
                  <a:gd name="T41" fmla="*/ 11 h 71"/>
                  <a:gd name="T42" fmla="*/ 65 w 72"/>
                  <a:gd name="T43" fmla="*/ 15 h 71"/>
                  <a:gd name="T44" fmla="*/ 68 w 72"/>
                  <a:gd name="T45" fmla="*/ 22 h 71"/>
                  <a:gd name="T46" fmla="*/ 71 w 72"/>
                  <a:gd name="T47" fmla="*/ 28 h 71"/>
                  <a:gd name="T48" fmla="*/ 72 w 72"/>
                  <a:gd name="T49" fmla="*/ 36 h 71"/>
                  <a:gd name="T50" fmla="*/ 71 w 72"/>
                  <a:gd name="T51" fmla="*/ 43 h 71"/>
                  <a:gd name="T52" fmla="*/ 68 w 72"/>
                  <a:gd name="T53" fmla="*/ 50 h 71"/>
                  <a:gd name="T54" fmla="*/ 65 w 72"/>
                  <a:gd name="T55" fmla="*/ 55 h 71"/>
                  <a:gd name="T56" fmla="*/ 61 w 72"/>
                  <a:gd name="T57" fmla="*/ 61 h 71"/>
                  <a:gd name="T58" fmla="*/ 56 w 72"/>
                  <a:gd name="T59" fmla="*/ 65 h 71"/>
                  <a:gd name="T60" fmla="*/ 50 w 72"/>
                  <a:gd name="T61" fmla="*/ 68 h 71"/>
                  <a:gd name="T62" fmla="*/ 43 w 72"/>
                  <a:gd name="T63" fmla="*/ 70 h 71"/>
                  <a:gd name="T64" fmla="*/ 36 w 72"/>
                  <a:gd name="T65" fmla="*/ 71 h 71"/>
                  <a:gd name="T66" fmla="*/ 36 w 72"/>
                  <a:gd name="T67" fmla="*/ 27 h 71"/>
                  <a:gd name="T68" fmla="*/ 36 w 72"/>
                  <a:gd name="T69" fmla="*/ 27 h 71"/>
                  <a:gd name="T70" fmla="*/ 33 w 72"/>
                  <a:gd name="T71" fmla="*/ 28 h 71"/>
                  <a:gd name="T72" fmla="*/ 30 w 72"/>
                  <a:gd name="T73" fmla="*/ 29 h 71"/>
                  <a:gd name="T74" fmla="*/ 29 w 72"/>
                  <a:gd name="T75" fmla="*/ 33 h 71"/>
                  <a:gd name="T76" fmla="*/ 27 w 72"/>
                  <a:gd name="T77" fmla="*/ 36 h 71"/>
                  <a:gd name="T78" fmla="*/ 29 w 72"/>
                  <a:gd name="T79" fmla="*/ 39 h 71"/>
                  <a:gd name="T80" fmla="*/ 30 w 72"/>
                  <a:gd name="T81" fmla="*/ 41 h 71"/>
                  <a:gd name="T82" fmla="*/ 33 w 72"/>
                  <a:gd name="T83" fmla="*/ 43 h 71"/>
                  <a:gd name="T84" fmla="*/ 36 w 72"/>
                  <a:gd name="T85" fmla="*/ 45 h 71"/>
                  <a:gd name="T86" fmla="*/ 39 w 72"/>
                  <a:gd name="T87" fmla="*/ 43 h 71"/>
                  <a:gd name="T88" fmla="*/ 42 w 72"/>
                  <a:gd name="T89" fmla="*/ 41 h 71"/>
                  <a:gd name="T90" fmla="*/ 44 w 72"/>
                  <a:gd name="T91" fmla="*/ 39 h 71"/>
                  <a:gd name="T92" fmla="*/ 45 w 72"/>
                  <a:gd name="T93" fmla="*/ 36 h 71"/>
                  <a:gd name="T94" fmla="*/ 44 w 72"/>
                  <a:gd name="T95" fmla="*/ 33 h 71"/>
                  <a:gd name="T96" fmla="*/ 42 w 72"/>
                  <a:gd name="T97" fmla="*/ 29 h 71"/>
                  <a:gd name="T98" fmla="*/ 39 w 72"/>
                  <a:gd name="T99" fmla="*/ 28 h 71"/>
                  <a:gd name="T100" fmla="*/ 36 w 72"/>
                  <a:gd name="T101" fmla="*/ 2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 h="71">
                    <a:moveTo>
                      <a:pt x="36" y="71"/>
                    </a:moveTo>
                    <a:lnTo>
                      <a:pt x="29" y="70"/>
                    </a:lnTo>
                    <a:lnTo>
                      <a:pt x="22" y="68"/>
                    </a:lnTo>
                    <a:lnTo>
                      <a:pt x="16" y="65"/>
                    </a:lnTo>
                    <a:lnTo>
                      <a:pt x="11" y="61"/>
                    </a:lnTo>
                    <a:lnTo>
                      <a:pt x="7" y="55"/>
                    </a:lnTo>
                    <a:lnTo>
                      <a:pt x="4" y="50"/>
                    </a:lnTo>
                    <a:lnTo>
                      <a:pt x="2" y="43"/>
                    </a:lnTo>
                    <a:lnTo>
                      <a:pt x="0" y="36"/>
                    </a:lnTo>
                    <a:lnTo>
                      <a:pt x="2" y="28"/>
                    </a:lnTo>
                    <a:lnTo>
                      <a:pt x="4" y="22"/>
                    </a:lnTo>
                    <a:lnTo>
                      <a:pt x="7" y="15"/>
                    </a:lnTo>
                    <a:lnTo>
                      <a:pt x="11" y="11"/>
                    </a:lnTo>
                    <a:lnTo>
                      <a:pt x="16" y="7"/>
                    </a:lnTo>
                    <a:lnTo>
                      <a:pt x="22" y="3"/>
                    </a:lnTo>
                    <a:lnTo>
                      <a:pt x="29" y="1"/>
                    </a:lnTo>
                    <a:lnTo>
                      <a:pt x="36" y="0"/>
                    </a:lnTo>
                    <a:lnTo>
                      <a:pt x="43" y="1"/>
                    </a:lnTo>
                    <a:lnTo>
                      <a:pt x="50" y="3"/>
                    </a:lnTo>
                    <a:lnTo>
                      <a:pt x="56" y="7"/>
                    </a:lnTo>
                    <a:lnTo>
                      <a:pt x="61" y="11"/>
                    </a:lnTo>
                    <a:lnTo>
                      <a:pt x="65" y="15"/>
                    </a:lnTo>
                    <a:lnTo>
                      <a:pt x="68" y="22"/>
                    </a:lnTo>
                    <a:lnTo>
                      <a:pt x="71" y="28"/>
                    </a:lnTo>
                    <a:lnTo>
                      <a:pt x="72" y="36"/>
                    </a:lnTo>
                    <a:lnTo>
                      <a:pt x="71" y="43"/>
                    </a:lnTo>
                    <a:lnTo>
                      <a:pt x="68" y="50"/>
                    </a:lnTo>
                    <a:lnTo>
                      <a:pt x="65" y="55"/>
                    </a:lnTo>
                    <a:lnTo>
                      <a:pt x="61" y="61"/>
                    </a:lnTo>
                    <a:lnTo>
                      <a:pt x="56" y="65"/>
                    </a:lnTo>
                    <a:lnTo>
                      <a:pt x="50" y="68"/>
                    </a:lnTo>
                    <a:lnTo>
                      <a:pt x="43" y="70"/>
                    </a:lnTo>
                    <a:lnTo>
                      <a:pt x="36" y="71"/>
                    </a:lnTo>
                    <a:close/>
                    <a:moveTo>
                      <a:pt x="36" y="27"/>
                    </a:moveTo>
                    <a:lnTo>
                      <a:pt x="36" y="27"/>
                    </a:lnTo>
                    <a:lnTo>
                      <a:pt x="33" y="28"/>
                    </a:lnTo>
                    <a:lnTo>
                      <a:pt x="30" y="29"/>
                    </a:lnTo>
                    <a:lnTo>
                      <a:pt x="29" y="33"/>
                    </a:lnTo>
                    <a:lnTo>
                      <a:pt x="27" y="36"/>
                    </a:lnTo>
                    <a:lnTo>
                      <a:pt x="29" y="39"/>
                    </a:lnTo>
                    <a:lnTo>
                      <a:pt x="30" y="41"/>
                    </a:lnTo>
                    <a:lnTo>
                      <a:pt x="33" y="43"/>
                    </a:lnTo>
                    <a:lnTo>
                      <a:pt x="36" y="45"/>
                    </a:lnTo>
                    <a:lnTo>
                      <a:pt x="39" y="43"/>
                    </a:lnTo>
                    <a:lnTo>
                      <a:pt x="42" y="41"/>
                    </a:lnTo>
                    <a:lnTo>
                      <a:pt x="44" y="39"/>
                    </a:lnTo>
                    <a:lnTo>
                      <a:pt x="45" y="36"/>
                    </a:lnTo>
                    <a:lnTo>
                      <a:pt x="44" y="33"/>
                    </a:lnTo>
                    <a:lnTo>
                      <a:pt x="42" y="29"/>
                    </a:lnTo>
                    <a:lnTo>
                      <a:pt x="39" y="28"/>
                    </a:lnTo>
                    <a:lnTo>
                      <a:pt x="3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73"/>
              <p:cNvSpPr>
                <a:spLocks noEditPoints="1"/>
              </p:cNvSpPr>
              <p:nvPr userDrawn="1"/>
            </p:nvSpPr>
            <p:spPr bwMode="auto">
              <a:xfrm>
                <a:off x="2527" y="3082"/>
                <a:ext cx="22" cy="21"/>
              </a:xfrm>
              <a:custGeom>
                <a:avLst/>
                <a:gdLst>
                  <a:gd name="T0" fmla="*/ 33 w 64"/>
                  <a:gd name="T1" fmla="*/ 63 h 63"/>
                  <a:gd name="T2" fmla="*/ 26 w 64"/>
                  <a:gd name="T3" fmla="*/ 63 h 63"/>
                  <a:gd name="T4" fmla="*/ 20 w 64"/>
                  <a:gd name="T5" fmla="*/ 61 h 63"/>
                  <a:gd name="T6" fmla="*/ 14 w 64"/>
                  <a:gd name="T7" fmla="*/ 58 h 63"/>
                  <a:gd name="T8" fmla="*/ 10 w 64"/>
                  <a:gd name="T9" fmla="*/ 55 h 63"/>
                  <a:gd name="T10" fmla="*/ 6 w 64"/>
                  <a:gd name="T11" fmla="*/ 49 h 63"/>
                  <a:gd name="T12" fmla="*/ 3 w 64"/>
                  <a:gd name="T13" fmla="*/ 44 h 63"/>
                  <a:gd name="T14" fmla="*/ 2 w 64"/>
                  <a:gd name="T15" fmla="*/ 38 h 63"/>
                  <a:gd name="T16" fmla="*/ 0 w 64"/>
                  <a:gd name="T17" fmla="*/ 32 h 63"/>
                  <a:gd name="T18" fmla="*/ 2 w 64"/>
                  <a:gd name="T19" fmla="*/ 26 h 63"/>
                  <a:gd name="T20" fmla="*/ 3 w 64"/>
                  <a:gd name="T21" fmla="*/ 19 h 63"/>
                  <a:gd name="T22" fmla="*/ 6 w 64"/>
                  <a:gd name="T23" fmla="*/ 14 h 63"/>
                  <a:gd name="T24" fmla="*/ 10 w 64"/>
                  <a:gd name="T25" fmla="*/ 9 h 63"/>
                  <a:gd name="T26" fmla="*/ 14 w 64"/>
                  <a:gd name="T27" fmla="*/ 5 h 63"/>
                  <a:gd name="T28" fmla="*/ 20 w 64"/>
                  <a:gd name="T29" fmla="*/ 2 h 63"/>
                  <a:gd name="T30" fmla="*/ 26 w 64"/>
                  <a:gd name="T31" fmla="*/ 1 h 63"/>
                  <a:gd name="T32" fmla="*/ 33 w 64"/>
                  <a:gd name="T33" fmla="*/ 0 h 63"/>
                  <a:gd name="T34" fmla="*/ 39 w 64"/>
                  <a:gd name="T35" fmla="*/ 1 h 63"/>
                  <a:gd name="T36" fmla="*/ 45 w 64"/>
                  <a:gd name="T37" fmla="*/ 2 h 63"/>
                  <a:gd name="T38" fmla="*/ 50 w 64"/>
                  <a:gd name="T39" fmla="*/ 5 h 63"/>
                  <a:gd name="T40" fmla="*/ 56 w 64"/>
                  <a:gd name="T41" fmla="*/ 9 h 63"/>
                  <a:gd name="T42" fmla="*/ 59 w 64"/>
                  <a:gd name="T43" fmla="*/ 14 h 63"/>
                  <a:gd name="T44" fmla="*/ 62 w 64"/>
                  <a:gd name="T45" fmla="*/ 19 h 63"/>
                  <a:gd name="T46" fmla="*/ 64 w 64"/>
                  <a:gd name="T47" fmla="*/ 26 h 63"/>
                  <a:gd name="T48" fmla="*/ 64 w 64"/>
                  <a:gd name="T49" fmla="*/ 32 h 63"/>
                  <a:gd name="T50" fmla="*/ 64 w 64"/>
                  <a:gd name="T51" fmla="*/ 38 h 63"/>
                  <a:gd name="T52" fmla="*/ 62 w 64"/>
                  <a:gd name="T53" fmla="*/ 44 h 63"/>
                  <a:gd name="T54" fmla="*/ 59 w 64"/>
                  <a:gd name="T55" fmla="*/ 49 h 63"/>
                  <a:gd name="T56" fmla="*/ 56 w 64"/>
                  <a:gd name="T57" fmla="*/ 55 h 63"/>
                  <a:gd name="T58" fmla="*/ 50 w 64"/>
                  <a:gd name="T59" fmla="*/ 58 h 63"/>
                  <a:gd name="T60" fmla="*/ 45 w 64"/>
                  <a:gd name="T61" fmla="*/ 61 h 63"/>
                  <a:gd name="T62" fmla="*/ 39 w 64"/>
                  <a:gd name="T63" fmla="*/ 63 h 63"/>
                  <a:gd name="T64" fmla="*/ 33 w 64"/>
                  <a:gd name="T65" fmla="*/ 63 h 63"/>
                  <a:gd name="T66" fmla="*/ 33 w 64"/>
                  <a:gd name="T67" fmla="*/ 27 h 63"/>
                  <a:gd name="T68" fmla="*/ 33 w 64"/>
                  <a:gd name="T69" fmla="*/ 27 h 63"/>
                  <a:gd name="T70" fmla="*/ 31 w 64"/>
                  <a:gd name="T71" fmla="*/ 27 h 63"/>
                  <a:gd name="T72" fmla="*/ 29 w 64"/>
                  <a:gd name="T73" fmla="*/ 28 h 63"/>
                  <a:gd name="T74" fmla="*/ 27 w 64"/>
                  <a:gd name="T75" fmla="*/ 30 h 63"/>
                  <a:gd name="T76" fmla="*/ 27 w 64"/>
                  <a:gd name="T77" fmla="*/ 32 h 63"/>
                  <a:gd name="T78" fmla="*/ 27 w 64"/>
                  <a:gd name="T79" fmla="*/ 33 h 63"/>
                  <a:gd name="T80" fmla="*/ 29 w 64"/>
                  <a:gd name="T81" fmla="*/ 35 h 63"/>
                  <a:gd name="T82" fmla="*/ 31 w 64"/>
                  <a:gd name="T83" fmla="*/ 35 h 63"/>
                  <a:gd name="T84" fmla="*/ 33 w 64"/>
                  <a:gd name="T85" fmla="*/ 36 h 63"/>
                  <a:gd name="T86" fmla="*/ 34 w 64"/>
                  <a:gd name="T87" fmla="*/ 35 h 63"/>
                  <a:gd name="T88" fmla="*/ 36 w 64"/>
                  <a:gd name="T89" fmla="*/ 35 h 63"/>
                  <a:gd name="T90" fmla="*/ 37 w 64"/>
                  <a:gd name="T91" fmla="*/ 33 h 63"/>
                  <a:gd name="T92" fmla="*/ 37 w 64"/>
                  <a:gd name="T93" fmla="*/ 32 h 63"/>
                  <a:gd name="T94" fmla="*/ 37 w 64"/>
                  <a:gd name="T95" fmla="*/ 30 h 63"/>
                  <a:gd name="T96" fmla="*/ 36 w 64"/>
                  <a:gd name="T97" fmla="*/ 28 h 63"/>
                  <a:gd name="T98" fmla="*/ 35 w 64"/>
                  <a:gd name="T99" fmla="*/ 27 h 63"/>
                  <a:gd name="T100" fmla="*/ 33 w 64"/>
                  <a:gd name="T101"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 h="63">
                    <a:moveTo>
                      <a:pt x="33" y="63"/>
                    </a:moveTo>
                    <a:lnTo>
                      <a:pt x="26" y="63"/>
                    </a:lnTo>
                    <a:lnTo>
                      <a:pt x="20" y="61"/>
                    </a:lnTo>
                    <a:lnTo>
                      <a:pt x="14" y="58"/>
                    </a:lnTo>
                    <a:lnTo>
                      <a:pt x="10" y="55"/>
                    </a:lnTo>
                    <a:lnTo>
                      <a:pt x="6" y="49"/>
                    </a:lnTo>
                    <a:lnTo>
                      <a:pt x="3" y="44"/>
                    </a:lnTo>
                    <a:lnTo>
                      <a:pt x="2" y="38"/>
                    </a:lnTo>
                    <a:lnTo>
                      <a:pt x="0" y="32"/>
                    </a:lnTo>
                    <a:lnTo>
                      <a:pt x="2" y="26"/>
                    </a:lnTo>
                    <a:lnTo>
                      <a:pt x="3" y="19"/>
                    </a:lnTo>
                    <a:lnTo>
                      <a:pt x="6" y="14"/>
                    </a:lnTo>
                    <a:lnTo>
                      <a:pt x="10" y="9"/>
                    </a:lnTo>
                    <a:lnTo>
                      <a:pt x="14" y="5"/>
                    </a:lnTo>
                    <a:lnTo>
                      <a:pt x="20" y="2"/>
                    </a:lnTo>
                    <a:lnTo>
                      <a:pt x="26" y="1"/>
                    </a:lnTo>
                    <a:lnTo>
                      <a:pt x="33" y="0"/>
                    </a:lnTo>
                    <a:lnTo>
                      <a:pt x="39" y="1"/>
                    </a:lnTo>
                    <a:lnTo>
                      <a:pt x="45" y="2"/>
                    </a:lnTo>
                    <a:lnTo>
                      <a:pt x="50" y="5"/>
                    </a:lnTo>
                    <a:lnTo>
                      <a:pt x="56" y="9"/>
                    </a:lnTo>
                    <a:lnTo>
                      <a:pt x="59" y="14"/>
                    </a:lnTo>
                    <a:lnTo>
                      <a:pt x="62" y="19"/>
                    </a:lnTo>
                    <a:lnTo>
                      <a:pt x="64" y="26"/>
                    </a:lnTo>
                    <a:lnTo>
                      <a:pt x="64" y="32"/>
                    </a:lnTo>
                    <a:lnTo>
                      <a:pt x="64" y="38"/>
                    </a:lnTo>
                    <a:lnTo>
                      <a:pt x="62" y="44"/>
                    </a:lnTo>
                    <a:lnTo>
                      <a:pt x="59" y="49"/>
                    </a:lnTo>
                    <a:lnTo>
                      <a:pt x="56" y="55"/>
                    </a:lnTo>
                    <a:lnTo>
                      <a:pt x="50" y="58"/>
                    </a:lnTo>
                    <a:lnTo>
                      <a:pt x="45" y="61"/>
                    </a:lnTo>
                    <a:lnTo>
                      <a:pt x="39" y="63"/>
                    </a:lnTo>
                    <a:lnTo>
                      <a:pt x="33" y="63"/>
                    </a:lnTo>
                    <a:close/>
                    <a:moveTo>
                      <a:pt x="33" y="27"/>
                    </a:moveTo>
                    <a:lnTo>
                      <a:pt x="33" y="27"/>
                    </a:lnTo>
                    <a:lnTo>
                      <a:pt x="31" y="27"/>
                    </a:lnTo>
                    <a:lnTo>
                      <a:pt x="29" y="28"/>
                    </a:lnTo>
                    <a:lnTo>
                      <a:pt x="27" y="30"/>
                    </a:lnTo>
                    <a:lnTo>
                      <a:pt x="27" y="32"/>
                    </a:lnTo>
                    <a:lnTo>
                      <a:pt x="27" y="33"/>
                    </a:lnTo>
                    <a:lnTo>
                      <a:pt x="29" y="35"/>
                    </a:lnTo>
                    <a:lnTo>
                      <a:pt x="31" y="35"/>
                    </a:lnTo>
                    <a:lnTo>
                      <a:pt x="33" y="36"/>
                    </a:lnTo>
                    <a:lnTo>
                      <a:pt x="34" y="35"/>
                    </a:lnTo>
                    <a:lnTo>
                      <a:pt x="36" y="35"/>
                    </a:lnTo>
                    <a:lnTo>
                      <a:pt x="37" y="33"/>
                    </a:lnTo>
                    <a:lnTo>
                      <a:pt x="37" y="32"/>
                    </a:lnTo>
                    <a:lnTo>
                      <a:pt x="37" y="30"/>
                    </a:lnTo>
                    <a:lnTo>
                      <a:pt x="36" y="28"/>
                    </a:lnTo>
                    <a:lnTo>
                      <a:pt x="35" y="27"/>
                    </a:lnTo>
                    <a:lnTo>
                      <a:pt x="3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74"/>
              <p:cNvSpPr>
                <a:spLocks noEditPoints="1"/>
              </p:cNvSpPr>
              <p:nvPr userDrawn="1"/>
            </p:nvSpPr>
            <p:spPr bwMode="auto">
              <a:xfrm>
                <a:off x="2557" y="3074"/>
                <a:ext cx="24" cy="25"/>
              </a:xfrm>
              <a:custGeom>
                <a:avLst/>
                <a:gdLst>
                  <a:gd name="T0" fmla="*/ 37 w 73"/>
                  <a:gd name="T1" fmla="*/ 74 h 74"/>
                  <a:gd name="T2" fmla="*/ 30 w 73"/>
                  <a:gd name="T3" fmla="*/ 73 h 74"/>
                  <a:gd name="T4" fmla="*/ 25 w 73"/>
                  <a:gd name="T5" fmla="*/ 72 h 74"/>
                  <a:gd name="T6" fmla="*/ 19 w 73"/>
                  <a:gd name="T7" fmla="*/ 70 h 74"/>
                  <a:gd name="T8" fmla="*/ 15 w 73"/>
                  <a:gd name="T9" fmla="*/ 67 h 74"/>
                  <a:gd name="T10" fmla="*/ 11 w 73"/>
                  <a:gd name="T11" fmla="*/ 64 h 74"/>
                  <a:gd name="T12" fmla="*/ 6 w 73"/>
                  <a:gd name="T13" fmla="*/ 59 h 74"/>
                  <a:gd name="T14" fmla="*/ 3 w 73"/>
                  <a:gd name="T15" fmla="*/ 54 h 74"/>
                  <a:gd name="T16" fmla="*/ 1 w 73"/>
                  <a:gd name="T17" fmla="*/ 48 h 74"/>
                  <a:gd name="T18" fmla="*/ 0 w 73"/>
                  <a:gd name="T19" fmla="*/ 42 h 74"/>
                  <a:gd name="T20" fmla="*/ 0 w 73"/>
                  <a:gd name="T21" fmla="*/ 34 h 74"/>
                  <a:gd name="T22" fmla="*/ 1 w 73"/>
                  <a:gd name="T23" fmla="*/ 27 h 74"/>
                  <a:gd name="T24" fmla="*/ 3 w 73"/>
                  <a:gd name="T25" fmla="*/ 20 h 74"/>
                  <a:gd name="T26" fmla="*/ 8 w 73"/>
                  <a:gd name="T27" fmla="*/ 14 h 74"/>
                  <a:gd name="T28" fmla="*/ 13 w 73"/>
                  <a:gd name="T29" fmla="*/ 10 h 74"/>
                  <a:gd name="T30" fmla="*/ 18 w 73"/>
                  <a:gd name="T31" fmla="*/ 5 h 74"/>
                  <a:gd name="T32" fmla="*/ 25 w 73"/>
                  <a:gd name="T33" fmla="*/ 2 h 74"/>
                  <a:gd name="T34" fmla="*/ 32 w 73"/>
                  <a:gd name="T35" fmla="*/ 1 h 74"/>
                  <a:gd name="T36" fmla="*/ 40 w 73"/>
                  <a:gd name="T37" fmla="*/ 0 h 74"/>
                  <a:gd name="T38" fmla="*/ 46 w 73"/>
                  <a:gd name="T39" fmla="*/ 2 h 74"/>
                  <a:gd name="T40" fmla="*/ 53 w 73"/>
                  <a:gd name="T41" fmla="*/ 4 h 74"/>
                  <a:gd name="T42" fmla="*/ 59 w 73"/>
                  <a:gd name="T43" fmla="*/ 8 h 74"/>
                  <a:gd name="T44" fmla="*/ 65 w 73"/>
                  <a:gd name="T45" fmla="*/ 13 h 74"/>
                  <a:gd name="T46" fmla="*/ 69 w 73"/>
                  <a:gd name="T47" fmla="*/ 19 h 74"/>
                  <a:gd name="T48" fmla="*/ 72 w 73"/>
                  <a:gd name="T49" fmla="*/ 26 h 74"/>
                  <a:gd name="T50" fmla="*/ 73 w 73"/>
                  <a:gd name="T51" fmla="*/ 32 h 74"/>
                  <a:gd name="T52" fmla="*/ 73 w 73"/>
                  <a:gd name="T53" fmla="*/ 40 h 74"/>
                  <a:gd name="T54" fmla="*/ 72 w 73"/>
                  <a:gd name="T55" fmla="*/ 47 h 74"/>
                  <a:gd name="T56" fmla="*/ 70 w 73"/>
                  <a:gd name="T57" fmla="*/ 54 h 74"/>
                  <a:gd name="T58" fmla="*/ 66 w 73"/>
                  <a:gd name="T59" fmla="*/ 60 h 74"/>
                  <a:gd name="T60" fmla="*/ 60 w 73"/>
                  <a:gd name="T61" fmla="*/ 66 h 74"/>
                  <a:gd name="T62" fmla="*/ 55 w 73"/>
                  <a:gd name="T63" fmla="*/ 69 h 74"/>
                  <a:gd name="T64" fmla="*/ 49 w 73"/>
                  <a:gd name="T65" fmla="*/ 72 h 74"/>
                  <a:gd name="T66" fmla="*/ 42 w 73"/>
                  <a:gd name="T67" fmla="*/ 73 h 74"/>
                  <a:gd name="T68" fmla="*/ 37 w 73"/>
                  <a:gd name="T69" fmla="*/ 74 h 74"/>
                  <a:gd name="T70" fmla="*/ 37 w 73"/>
                  <a:gd name="T71" fmla="*/ 27 h 74"/>
                  <a:gd name="T72" fmla="*/ 37 w 73"/>
                  <a:gd name="T73" fmla="*/ 27 h 74"/>
                  <a:gd name="T74" fmla="*/ 35 w 73"/>
                  <a:gd name="T75" fmla="*/ 27 h 74"/>
                  <a:gd name="T76" fmla="*/ 33 w 73"/>
                  <a:gd name="T77" fmla="*/ 28 h 74"/>
                  <a:gd name="T78" fmla="*/ 30 w 73"/>
                  <a:gd name="T79" fmla="*/ 30 h 74"/>
                  <a:gd name="T80" fmla="*/ 28 w 73"/>
                  <a:gd name="T81" fmla="*/ 32 h 74"/>
                  <a:gd name="T82" fmla="*/ 27 w 73"/>
                  <a:gd name="T83" fmla="*/ 37 h 74"/>
                  <a:gd name="T84" fmla="*/ 27 w 73"/>
                  <a:gd name="T85" fmla="*/ 40 h 74"/>
                  <a:gd name="T86" fmla="*/ 29 w 73"/>
                  <a:gd name="T87" fmla="*/ 44 h 74"/>
                  <a:gd name="T88" fmla="*/ 32 w 73"/>
                  <a:gd name="T89" fmla="*/ 46 h 74"/>
                  <a:gd name="T90" fmla="*/ 36 w 73"/>
                  <a:gd name="T91" fmla="*/ 47 h 74"/>
                  <a:gd name="T92" fmla="*/ 40 w 73"/>
                  <a:gd name="T93" fmla="*/ 46 h 74"/>
                  <a:gd name="T94" fmla="*/ 43 w 73"/>
                  <a:gd name="T95" fmla="*/ 45 h 74"/>
                  <a:gd name="T96" fmla="*/ 45 w 73"/>
                  <a:gd name="T97" fmla="*/ 42 h 74"/>
                  <a:gd name="T98" fmla="*/ 46 w 73"/>
                  <a:gd name="T99" fmla="*/ 38 h 74"/>
                  <a:gd name="T100" fmla="*/ 46 w 73"/>
                  <a:gd name="T101" fmla="*/ 34 h 74"/>
                  <a:gd name="T102" fmla="*/ 44 w 73"/>
                  <a:gd name="T103" fmla="*/ 31 h 74"/>
                  <a:gd name="T104" fmla="*/ 42 w 73"/>
                  <a:gd name="T105" fmla="*/ 29 h 74"/>
                  <a:gd name="T106" fmla="*/ 40 w 73"/>
                  <a:gd name="T107" fmla="*/ 28 h 74"/>
                  <a:gd name="T108" fmla="*/ 37 w 73"/>
                  <a:gd name="T109" fmla="*/ 2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 h="74">
                    <a:moveTo>
                      <a:pt x="37" y="74"/>
                    </a:moveTo>
                    <a:lnTo>
                      <a:pt x="30" y="73"/>
                    </a:lnTo>
                    <a:lnTo>
                      <a:pt x="25" y="72"/>
                    </a:lnTo>
                    <a:lnTo>
                      <a:pt x="19" y="70"/>
                    </a:lnTo>
                    <a:lnTo>
                      <a:pt x="15" y="67"/>
                    </a:lnTo>
                    <a:lnTo>
                      <a:pt x="11" y="64"/>
                    </a:lnTo>
                    <a:lnTo>
                      <a:pt x="6" y="59"/>
                    </a:lnTo>
                    <a:lnTo>
                      <a:pt x="3" y="54"/>
                    </a:lnTo>
                    <a:lnTo>
                      <a:pt x="1" y="48"/>
                    </a:lnTo>
                    <a:lnTo>
                      <a:pt x="0" y="42"/>
                    </a:lnTo>
                    <a:lnTo>
                      <a:pt x="0" y="34"/>
                    </a:lnTo>
                    <a:lnTo>
                      <a:pt x="1" y="27"/>
                    </a:lnTo>
                    <a:lnTo>
                      <a:pt x="3" y="20"/>
                    </a:lnTo>
                    <a:lnTo>
                      <a:pt x="8" y="14"/>
                    </a:lnTo>
                    <a:lnTo>
                      <a:pt x="13" y="10"/>
                    </a:lnTo>
                    <a:lnTo>
                      <a:pt x="18" y="5"/>
                    </a:lnTo>
                    <a:lnTo>
                      <a:pt x="25" y="2"/>
                    </a:lnTo>
                    <a:lnTo>
                      <a:pt x="32" y="1"/>
                    </a:lnTo>
                    <a:lnTo>
                      <a:pt x="40" y="0"/>
                    </a:lnTo>
                    <a:lnTo>
                      <a:pt x="46" y="2"/>
                    </a:lnTo>
                    <a:lnTo>
                      <a:pt x="53" y="4"/>
                    </a:lnTo>
                    <a:lnTo>
                      <a:pt x="59" y="8"/>
                    </a:lnTo>
                    <a:lnTo>
                      <a:pt x="65" y="13"/>
                    </a:lnTo>
                    <a:lnTo>
                      <a:pt x="69" y="19"/>
                    </a:lnTo>
                    <a:lnTo>
                      <a:pt x="72" y="26"/>
                    </a:lnTo>
                    <a:lnTo>
                      <a:pt x="73" y="32"/>
                    </a:lnTo>
                    <a:lnTo>
                      <a:pt x="73" y="40"/>
                    </a:lnTo>
                    <a:lnTo>
                      <a:pt x="72" y="47"/>
                    </a:lnTo>
                    <a:lnTo>
                      <a:pt x="70" y="54"/>
                    </a:lnTo>
                    <a:lnTo>
                      <a:pt x="66" y="60"/>
                    </a:lnTo>
                    <a:lnTo>
                      <a:pt x="60" y="66"/>
                    </a:lnTo>
                    <a:lnTo>
                      <a:pt x="55" y="69"/>
                    </a:lnTo>
                    <a:lnTo>
                      <a:pt x="49" y="72"/>
                    </a:lnTo>
                    <a:lnTo>
                      <a:pt x="42" y="73"/>
                    </a:lnTo>
                    <a:lnTo>
                      <a:pt x="37" y="74"/>
                    </a:lnTo>
                    <a:close/>
                    <a:moveTo>
                      <a:pt x="37" y="27"/>
                    </a:moveTo>
                    <a:lnTo>
                      <a:pt x="37" y="27"/>
                    </a:lnTo>
                    <a:lnTo>
                      <a:pt x="35" y="27"/>
                    </a:lnTo>
                    <a:lnTo>
                      <a:pt x="33" y="28"/>
                    </a:lnTo>
                    <a:lnTo>
                      <a:pt x="30" y="30"/>
                    </a:lnTo>
                    <a:lnTo>
                      <a:pt x="28" y="32"/>
                    </a:lnTo>
                    <a:lnTo>
                      <a:pt x="27" y="37"/>
                    </a:lnTo>
                    <a:lnTo>
                      <a:pt x="27" y="40"/>
                    </a:lnTo>
                    <a:lnTo>
                      <a:pt x="29" y="44"/>
                    </a:lnTo>
                    <a:lnTo>
                      <a:pt x="32" y="46"/>
                    </a:lnTo>
                    <a:lnTo>
                      <a:pt x="36" y="47"/>
                    </a:lnTo>
                    <a:lnTo>
                      <a:pt x="40" y="46"/>
                    </a:lnTo>
                    <a:lnTo>
                      <a:pt x="43" y="45"/>
                    </a:lnTo>
                    <a:lnTo>
                      <a:pt x="45" y="42"/>
                    </a:lnTo>
                    <a:lnTo>
                      <a:pt x="46" y="38"/>
                    </a:lnTo>
                    <a:lnTo>
                      <a:pt x="46" y="34"/>
                    </a:lnTo>
                    <a:lnTo>
                      <a:pt x="44" y="31"/>
                    </a:lnTo>
                    <a:lnTo>
                      <a:pt x="42" y="29"/>
                    </a:lnTo>
                    <a:lnTo>
                      <a:pt x="40" y="28"/>
                    </a:lnTo>
                    <a:lnTo>
                      <a:pt x="3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75"/>
              <p:cNvSpPr>
                <a:spLocks noEditPoints="1"/>
              </p:cNvSpPr>
              <p:nvPr userDrawn="1"/>
            </p:nvSpPr>
            <p:spPr bwMode="auto">
              <a:xfrm>
                <a:off x="2232" y="3076"/>
                <a:ext cx="24" cy="23"/>
              </a:xfrm>
              <a:custGeom>
                <a:avLst/>
                <a:gdLst>
                  <a:gd name="T0" fmla="*/ 36 w 71"/>
                  <a:gd name="T1" fmla="*/ 70 h 70"/>
                  <a:gd name="T2" fmla="*/ 28 w 71"/>
                  <a:gd name="T3" fmla="*/ 70 h 70"/>
                  <a:gd name="T4" fmla="*/ 22 w 71"/>
                  <a:gd name="T5" fmla="*/ 68 h 70"/>
                  <a:gd name="T6" fmla="*/ 16 w 71"/>
                  <a:gd name="T7" fmla="*/ 65 h 70"/>
                  <a:gd name="T8" fmla="*/ 11 w 71"/>
                  <a:gd name="T9" fmla="*/ 61 h 70"/>
                  <a:gd name="T10" fmla="*/ 6 w 71"/>
                  <a:gd name="T11" fmla="*/ 55 h 70"/>
                  <a:gd name="T12" fmla="*/ 3 w 71"/>
                  <a:gd name="T13" fmla="*/ 49 h 70"/>
                  <a:gd name="T14" fmla="*/ 1 w 71"/>
                  <a:gd name="T15" fmla="*/ 42 h 70"/>
                  <a:gd name="T16" fmla="*/ 0 w 71"/>
                  <a:gd name="T17" fmla="*/ 36 h 70"/>
                  <a:gd name="T18" fmla="*/ 1 w 71"/>
                  <a:gd name="T19" fmla="*/ 28 h 70"/>
                  <a:gd name="T20" fmla="*/ 3 w 71"/>
                  <a:gd name="T21" fmla="*/ 22 h 70"/>
                  <a:gd name="T22" fmla="*/ 6 w 71"/>
                  <a:gd name="T23" fmla="*/ 15 h 70"/>
                  <a:gd name="T24" fmla="*/ 11 w 71"/>
                  <a:gd name="T25" fmla="*/ 11 h 70"/>
                  <a:gd name="T26" fmla="*/ 16 w 71"/>
                  <a:gd name="T27" fmla="*/ 7 h 70"/>
                  <a:gd name="T28" fmla="*/ 22 w 71"/>
                  <a:gd name="T29" fmla="*/ 3 h 70"/>
                  <a:gd name="T30" fmla="*/ 28 w 71"/>
                  <a:gd name="T31" fmla="*/ 1 h 70"/>
                  <a:gd name="T32" fmla="*/ 36 w 71"/>
                  <a:gd name="T33" fmla="*/ 0 h 70"/>
                  <a:gd name="T34" fmla="*/ 42 w 71"/>
                  <a:gd name="T35" fmla="*/ 1 h 70"/>
                  <a:gd name="T36" fmla="*/ 50 w 71"/>
                  <a:gd name="T37" fmla="*/ 3 h 70"/>
                  <a:gd name="T38" fmla="*/ 55 w 71"/>
                  <a:gd name="T39" fmla="*/ 7 h 70"/>
                  <a:gd name="T40" fmla="*/ 60 w 71"/>
                  <a:gd name="T41" fmla="*/ 11 h 70"/>
                  <a:gd name="T42" fmla="*/ 65 w 71"/>
                  <a:gd name="T43" fmla="*/ 15 h 70"/>
                  <a:gd name="T44" fmla="*/ 68 w 71"/>
                  <a:gd name="T45" fmla="*/ 22 h 70"/>
                  <a:gd name="T46" fmla="*/ 70 w 71"/>
                  <a:gd name="T47" fmla="*/ 28 h 70"/>
                  <a:gd name="T48" fmla="*/ 71 w 71"/>
                  <a:gd name="T49" fmla="*/ 36 h 70"/>
                  <a:gd name="T50" fmla="*/ 70 w 71"/>
                  <a:gd name="T51" fmla="*/ 42 h 70"/>
                  <a:gd name="T52" fmla="*/ 68 w 71"/>
                  <a:gd name="T53" fmla="*/ 49 h 70"/>
                  <a:gd name="T54" fmla="*/ 65 w 71"/>
                  <a:gd name="T55" fmla="*/ 55 h 70"/>
                  <a:gd name="T56" fmla="*/ 60 w 71"/>
                  <a:gd name="T57" fmla="*/ 61 h 70"/>
                  <a:gd name="T58" fmla="*/ 55 w 71"/>
                  <a:gd name="T59" fmla="*/ 65 h 70"/>
                  <a:gd name="T60" fmla="*/ 50 w 71"/>
                  <a:gd name="T61" fmla="*/ 68 h 70"/>
                  <a:gd name="T62" fmla="*/ 42 w 71"/>
                  <a:gd name="T63" fmla="*/ 70 h 70"/>
                  <a:gd name="T64" fmla="*/ 36 w 71"/>
                  <a:gd name="T65" fmla="*/ 70 h 70"/>
                  <a:gd name="T66" fmla="*/ 36 w 71"/>
                  <a:gd name="T67" fmla="*/ 27 h 70"/>
                  <a:gd name="T68" fmla="*/ 36 w 71"/>
                  <a:gd name="T69" fmla="*/ 27 h 70"/>
                  <a:gd name="T70" fmla="*/ 32 w 71"/>
                  <a:gd name="T71" fmla="*/ 28 h 70"/>
                  <a:gd name="T72" fmla="*/ 29 w 71"/>
                  <a:gd name="T73" fmla="*/ 29 h 70"/>
                  <a:gd name="T74" fmla="*/ 28 w 71"/>
                  <a:gd name="T75" fmla="*/ 33 h 70"/>
                  <a:gd name="T76" fmla="*/ 27 w 71"/>
                  <a:gd name="T77" fmla="*/ 36 h 70"/>
                  <a:gd name="T78" fmla="*/ 28 w 71"/>
                  <a:gd name="T79" fmla="*/ 39 h 70"/>
                  <a:gd name="T80" fmla="*/ 29 w 71"/>
                  <a:gd name="T81" fmla="*/ 41 h 70"/>
                  <a:gd name="T82" fmla="*/ 32 w 71"/>
                  <a:gd name="T83" fmla="*/ 43 h 70"/>
                  <a:gd name="T84" fmla="*/ 36 w 71"/>
                  <a:gd name="T85" fmla="*/ 43 h 70"/>
                  <a:gd name="T86" fmla="*/ 39 w 71"/>
                  <a:gd name="T87" fmla="*/ 43 h 70"/>
                  <a:gd name="T88" fmla="*/ 41 w 71"/>
                  <a:gd name="T89" fmla="*/ 41 h 70"/>
                  <a:gd name="T90" fmla="*/ 43 w 71"/>
                  <a:gd name="T91" fmla="*/ 39 h 70"/>
                  <a:gd name="T92" fmla="*/ 44 w 71"/>
                  <a:gd name="T93" fmla="*/ 36 h 70"/>
                  <a:gd name="T94" fmla="*/ 43 w 71"/>
                  <a:gd name="T95" fmla="*/ 33 h 70"/>
                  <a:gd name="T96" fmla="*/ 41 w 71"/>
                  <a:gd name="T97" fmla="*/ 29 h 70"/>
                  <a:gd name="T98" fmla="*/ 39 w 71"/>
                  <a:gd name="T99" fmla="*/ 28 h 70"/>
                  <a:gd name="T100" fmla="*/ 36 w 71"/>
                  <a:gd name="T10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 h="70">
                    <a:moveTo>
                      <a:pt x="36" y="70"/>
                    </a:moveTo>
                    <a:lnTo>
                      <a:pt x="28" y="70"/>
                    </a:lnTo>
                    <a:lnTo>
                      <a:pt x="22" y="68"/>
                    </a:lnTo>
                    <a:lnTo>
                      <a:pt x="16" y="65"/>
                    </a:lnTo>
                    <a:lnTo>
                      <a:pt x="11" y="61"/>
                    </a:lnTo>
                    <a:lnTo>
                      <a:pt x="6" y="55"/>
                    </a:lnTo>
                    <a:lnTo>
                      <a:pt x="3" y="49"/>
                    </a:lnTo>
                    <a:lnTo>
                      <a:pt x="1" y="42"/>
                    </a:lnTo>
                    <a:lnTo>
                      <a:pt x="0" y="36"/>
                    </a:lnTo>
                    <a:lnTo>
                      <a:pt x="1" y="28"/>
                    </a:lnTo>
                    <a:lnTo>
                      <a:pt x="3" y="22"/>
                    </a:lnTo>
                    <a:lnTo>
                      <a:pt x="6" y="15"/>
                    </a:lnTo>
                    <a:lnTo>
                      <a:pt x="11" y="11"/>
                    </a:lnTo>
                    <a:lnTo>
                      <a:pt x="16" y="7"/>
                    </a:lnTo>
                    <a:lnTo>
                      <a:pt x="22" y="3"/>
                    </a:lnTo>
                    <a:lnTo>
                      <a:pt x="28" y="1"/>
                    </a:lnTo>
                    <a:lnTo>
                      <a:pt x="36" y="0"/>
                    </a:lnTo>
                    <a:lnTo>
                      <a:pt x="42" y="1"/>
                    </a:lnTo>
                    <a:lnTo>
                      <a:pt x="50" y="3"/>
                    </a:lnTo>
                    <a:lnTo>
                      <a:pt x="55" y="7"/>
                    </a:lnTo>
                    <a:lnTo>
                      <a:pt x="60" y="11"/>
                    </a:lnTo>
                    <a:lnTo>
                      <a:pt x="65" y="15"/>
                    </a:lnTo>
                    <a:lnTo>
                      <a:pt x="68" y="22"/>
                    </a:lnTo>
                    <a:lnTo>
                      <a:pt x="70" y="28"/>
                    </a:lnTo>
                    <a:lnTo>
                      <a:pt x="71" y="36"/>
                    </a:lnTo>
                    <a:lnTo>
                      <a:pt x="70" y="42"/>
                    </a:lnTo>
                    <a:lnTo>
                      <a:pt x="68" y="49"/>
                    </a:lnTo>
                    <a:lnTo>
                      <a:pt x="65" y="55"/>
                    </a:lnTo>
                    <a:lnTo>
                      <a:pt x="60" y="61"/>
                    </a:lnTo>
                    <a:lnTo>
                      <a:pt x="55" y="65"/>
                    </a:lnTo>
                    <a:lnTo>
                      <a:pt x="50" y="68"/>
                    </a:lnTo>
                    <a:lnTo>
                      <a:pt x="42" y="70"/>
                    </a:lnTo>
                    <a:lnTo>
                      <a:pt x="36" y="70"/>
                    </a:lnTo>
                    <a:close/>
                    <a:moveTo>
                      <a:pt x="36" y="27"/>
                    </a:moveTo>
                    <a:lnTo>
                      <a:pt x="36" y="27"/>
                    </a:lnTo>
                    <a:lnTo>
                      <a:pt x="32" y="28"/>
                    </a:lnTo>
                    <a:lnTo>
                      <a:pt x="29" y="29"/>
                    </a:lnTo>
                    <a:lnTo>
                      <a:pt x="28" y="33"/>
                    </a:lnTo>
                    <a:lnTo>
                      <a:pt x="27" y="36"/>
                    </a:lnTo>
                    <a:lnTo>
                      <a:pt x="28" y="39"/>
                    </a:lnTo>
                    <a:lnTo>
                      <a:pt x="29" y="41"/>
                    </a:lnTo>
                    <a:lnTo>
                      <a:pt x="32" y="43"/>
                    </a:lnTo>
                    <a:lnTo>
                      <a:pt x="36" y="43"/>
                    </a:lnTo>
                    <a:lnTo>
                      <a:pt x="39" y="43"/>
                    </a:lnTo>
                    <a:lnTo>
                      <a:pt x="41" y="41"/>
                    </a:lnTo>
                    <a:lnTo>
                      <a:pt x="43" y="39"/>
                    </a:lnTo>
                    <a:lnTo>
                      <a:pt x="44" y="36"/>
                    </a:lnTo>
                    <a:lnTo>
                      <a:pt x="43" y="33"/>
                    </a:lnTo>
                    <a:lnTo>
                      <a:pt x="41" y="29"/>
                    </a:lnTo>
                    <a:lnTo>
                      <a:pt x="39" y="28"/>
                    </a:lnTo>
                    <a:lnTo>
                      <a:pt x="3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76"/>
              <p:cNvSpPr>
                <a:spLocks noEditPoints="1"/>
              </p:cNvSpPr>
              <p:nvPr userDrawn="1"/>
            </p:nvSpPr>
            <p:spPr bwMode="auto">
              <a:xfrm>
                <a:off x="2171" y="3061"/>
                <a:ext cx="25" cy="26"/>
              </a:xfrm>
              <a:custGeom>
                <a:avLst/>
                <a:gdLst>
                  <a:gd name="T0" fmla="*/ 39 w 77"/>
                  <a:gd name="T1" fmla="*/ 77 h 77"/>
                  <a:gd name="T2" fmla="*/ 32 w 77"/>
                  <a:gd name="T3" fmla="*/ 76 h 77"/>
                  <a:gd name="T4" fmla="*/ 24 w 77"/>
                  <a:gd name="T5" fmla="*/ 73 h 77"/>
                  <a:gd name="T6" fmla="*/ 18 w 77"/>
                  <a:gd name="T7" fmla="*/ 70 h 77"/>
                  <a:gd name="T8" fmla="*/ 12 w 77"/>
                  <a:gd name="T9" fmla="*/ 66 h 77"/>
                  <a:gd name="T10" fmla="*/ 7 w 77"/>
                  <a:gd name="T11" fmla="*/ 60 h 77"/>
                  <a:gd name="T12" fmla="*/ 4 w 77"/>
                  <a:gd name="T13" fmla="*/ 54 h 77"/>
                  <a:gd name="T14" fmla="*/ 1 w 77"/>
                  <a:gd name="T15" fmla="*/ 46 h 77"/>
                  <a:gd name="T16" fmla="*/ 0 w 77"/>
                  <a:gd name="T17" fmla="*/ 39 h 77"/>
                  <a:gd name="T18" fmla="*/ 1 w 77"/>
                  <a:gd name="T19" fmla="*/ 31 h 77"/>
                  <a:gd name="T20" fmla="*/ 4 w 77"/>
                  <a:gd name="T21" fmla="*/ 24 h 77"/>
                  <a:gd name="T22" fmla="*/ 7 w 77"/>
                  <a:gd name="T23" fmla="*/ 17 h 77"/>
                  <a:gd name="T24" fmla="*/ 12 w 77"/>
                  <a:gd name="T25" fmla="*/ 12 h 77"/>
                  <a:gd name="T26" fmla="*/ 18 w 77"/>
                  <a:gd name="T27" fmla="*/ 8 h 77"/>
                  <a:gd name="T28" fmla="*/ 24 w 77"/>
                  <a:gd name="T29" fmla="*/ 3 h 77"/>
                  <a:gd name="T30" fmla="*/ 32 w 77"/>
                  <a:gd name="T31" fmla="*/ 1 h 77"/>
                  <a:gd name="T32" fmla="*/ 39 w 77"/>
                  <a:gd name="T33" fmla="*/ 0 h 77"/>
                  <a:gd name="T34" fmla="*/ 47 w 77"/>
                  <a:gd name="T35" fmla="*/ 1 h 77"/>
                  <a:gd name="T36" fmla="*/ 54 w 77"/>
                  <a:gd name="T37" fmla="*/ 3 h 77"/>
                  <a:gd name="T38" fmla="*/ 61 w 77"/>
                  <a:gd name="T39" fmla="*/ 8 h 77"/>
                  <a:gd name="T40" fmla="*/ 66 w 77"/>
                  <a:gd name="T41" fmla="*/ 12 h 77"/>
                  <a:gd name="T42" fmla="*/ 71 w 77"/>
                  <a:gd name="T43" fmla="*/ 17 h 77"/>
                  <a:gd name="T44" fmla="*/ 74 w 77"/>
                  <a:gd name="T45" fmla="*/ 24 h 77"/>
                  <a:gd name="T46" fmla="*/ 76 w 77"/>
                  <a:gd name="T47" fmla="*/ 31 h 77"/>
                  <a:gd name="T48" fmla="*/ 77 w 77"/>
                  <a:gd name="T49" fmla="*/ 39 h 77"/>
                  <a:gd name="T50" fmla="*/ 76 w 77"/>
                  <a:gd name="T51" fmla="*/ 46 h 77"/>
                  <a:gd name="T52" fmla="*/ 74 w 77"/>
                  <a:gd name="T53" fmla="*/ 54 h 77"/>
                  <a:gd name="T54" fmla="*/ 71 w 77"/>
                  <a:gd name="T55" fmla="*/ 60 h 77"/>
                  <a:gd name="T56" fmla="*/ 66 w 77"/>
                  <a:gd name="T57" fmla="*/ 66 h 77"/>
                  <a:gd name="T58" fmla="*/ 61 w 77"/>
                  <a:gd name="T59" fmla="*/ 70 h 77"/>
                  <a:gd name="T60" fmla="*/ 54 w 77"/>
                  <a:gd name="T61" fmla="*/ 73 h 77"/>
                  <a:gd name="T62" fmla="*/ 47 w 77"/>
                  <a:gd name="T63" fmla="*/ 76 h 77"/>
                  <a:gd name="T64" fmla="*/ 39 w 77"/>
                  <a:gd name="T65" fmla="*/ 77 h 77"/>
                  <a:gd name="T66" fmla="*/ 39 w 77"/>
                  <a:gd name="T67" fmla="*/ 27 h 77"/>
                  <a:gd name="T68" fmla="*/ 39 w 77"/>
                  <a:gd name="T69" fmla="*/ 27 h 77"/>
                  <a:gd name="T70" fmla="*/ 35 w 77"/>
                  <a:gd name="T71" fmla="*/ 28 h 77"/>
                  <a:gd name="T72" fmla="*/ 31 w 77"/>
                  <a:gd name="T73" fmla="*/ 31 h 77"/>
                  <a:gd name="T74" fmla="*/ 28 w 77"/>
                  <a:gd name="T75" fmla="*/ 35 h 77"/>
                  <a:gd name="T76" fmla="*/ 27 w 77"/>
                  <a:gd name="T77" fmla="*/ 39 h 77"/>
                  <a:gd name="T78" fmla="*/ 28 w 77"/>
                  <a:gd name="T79" fmla="*/ 43 h 77"/>
                  <a:gd name="T80" fmla="*/ 31 w 77"/>
                  <a:gd name="T81" fmla="*/ 46 h 77"/>
                  <a:gd name="T82" fmla="*/ 35 w 77"/>
                  <a:gd name="T83" fmla="*/ 49 h 77"/>
                  <a:gd name="T84" fmla="*/ 39 w 77"/>
                  <a:gd name="T85" fmla="*/ 50 h 77"/>
                  <a:gd name="T86" fmla="*/ 44 w 77"/>
                  <a:gd name="T87" fmla="*/ 49 h 77"/>
                  <a:gd name="T88" fmla="*/ 47 w 77"/>
                  <a:gd name="T89" fmla="*/ 46 h 77"/>
                  <a:gd name="T90" fmla="*/ 49 w 77"/>
                  <a:gd name="T91" fmla="*/ 43 h 77"/>
                  <a:gd name="T92" fmla="*/ 50 w 77"/>
                  <a:gd name="T93" fmla="*/ 39 h 77"/>
                  <a:gd name="T94" fmla="*/ 49 w 77"/>
                  <a:gd name="T95" fmla="*/ 35 h 77"/>
                  <a:gd name="T96" fmla="*/ 47 w 77"/>
                  <a:gd name="T97" fmla="*/ 31 h 77"/>
                  <a:gd name="T98" fmla="*/ 44 w 77"/>
                  <a:gd name="T99" fmla="*/ 28 h 77"/>
                  <a:gd name="T100" fmla="*/ 39 w 77"/>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77">
                    <a:moveTo>
                      <a:pt x="39" y="77"/>
                    </a:moveTo>
                    <a:lnTo>
                      <a:pt x="32" y="76"/>
                    </a:lnTo>
                    <a:lnTo>
                      <a:pt x="24" y="73"/>
                    </a:lnTo>
                    <a:lnTo>
                      <a:pt x="18" y="70"/>
                    </a:lnTo>
                    <a:lnTo>
                      <a:pt x="12" y="66"/>
                    </a:lnTo>
                    <a:lnTo>
                      <a:pt x="7" y="60"/>
                    </a:lnTo>
                    <a:lnTo>
                      <a:pt x="4" y="54"/>
                    </a:lnTo>
                    <a:lnTo>
                      <a:pt x="1" y="46"/>
                    </a:lnTo>
                    <a:lnTo>
                      <a:pt x="0" y="39"/>
                    </a:lnTo>
                    <a:lnTo>
                      <a:pt x="1" y="31"/>
                    </a:lnTo>
                    <a:lnTo>
                      <a:pt x="4" y="24"/>
                    </a:lnTo>
                    <a:lnTo>
                      <a:pt x="7" y="17"/>
                    </a:lnTo>
                    <a:lnTo>
                      <a:pt x="12" y="12"/>
                    </a:lnTo>
                    <a:lnTo>
                      <a:pt x="18" y="8"/>
                    </a:lnTo>
                    <a:lnTo>
                      <a:pt x="24" y="3"/>
                    </a:lnTo>
                    <a:lnTo>
                      <a:pt x="32" y="1"/>
                    </a:lnTo>
                    <a:lnTo>
                      <a:pt x="39" y="0"/>
                    </a:lnTo>
                    <a:lnTo>
                      <a:pt x="47" y="1"/>
                    </a:lnTo>
                    <a:lnTo>
                      <a:pt x="54" y="3"/>
                    </a:lnTo>
                    <a:lnTo>
                      <a:pt x="61" y="8"/>
                    </a:lnTo>
                    <a:lnTo>
                      <a:pt x="66" y="12"/>
                    </a:lnTo>
                    <a:lnTo>
                      <a:pt x="71" y="17"/>
                    </a:lnTo>
                    <a:lnTo>
                      <a:pt x="74" y="24"/>
                    </a:lnTo>
                    <a:lnTo>
                      <a:pt x="76" y="31"/>
                    </a:lnTo>
                    <a:lnTo>
                      <a:pt x="77" y="39"/>
                    </a:lnTo>
                    <a:lnTo>
                      <a:pt x="76" y="46"/>
                    </a:lnTo>
                    <a:lnTo>
                      <a:pt x="74" y="54"/>
                    </a:lnTo>
                    <a:lnTo>
                      <a:pt x="71" y="60"/>
                    </a:lnTo>
                    <a:lnTo>
                      <a:pt x="66" y="66"/>
                    </a:lnTo>
                    <a:lnTo>
                      <a:pt x="61" y="70"/>
                    </a:lnTo>
                    <a:lnTo>
                      <a:pt x="54" y="73"/>
                    </a:lnTo>
                    <a:lnTo>
                      <a:pt x="47" y="76"/>
                    </a:lnTo>
                    <a:lnTo>
                      <a:pt x="39" y="77"/>
                    </a:lnTo>
                    <a:close/>
                    <a:moveTo>
                      <a:pt x="39" y="27"/>
                    </a:moveTo>
                    <a:lnTo>
                      <a:pt x="39" y="27"/>
                    </a:lnTo>
                    <a:lnTo>
                      <a:pt x="35" y="28"/>
                    </a:lnTo>
                    <a:lnTo>
                      <a:pt x="31" y="31"/>
                    </a:lnTo>
                    <a:lnTo>
                      <a:pt x="28" y="35"/>
                    </a:lnTo>
                    <a:lnTo>
                      <a:pt x="27" y="39"/>
                    </a:lnTo>
                    <a:lnTo>
                      <a:pt x="28" y="43"/>
                    </a:lnTo>
                    <a:lnTo>
                      <a:pt x="31" y="46"/>
                    </a:lnTo>
                    <a:lnTo>
                      <a:pt x="35" y="49"/>
                    </a:lnTo>
                    <a:lnTo>
                      <a:pt x="39" y="50"/>
                    </a:lnTo>
                    <a:lnTo>
                      <a:pt x="44" y="49"/>
                    </a:lnTo>
                    <a:lnTo>
                      <a:pt x="47" y="46"/>
                    </a:lnTo>
                    <a:lnTo>
                      <a:pt x="49" y="43"/>
                    </a:lnTo>
                    <a:lnTo>
                      <a:pt x="50" y="39"/>
                    </a:lnTo>
                    <a:lnTo>
                      <a:pt x="49" y="35"/>
                    </a:lnTo>
                    <a:lnTo>
                      <a:pt x="47" y="31"/>
                    </a:lnTo>
                    <a:lnTo>
                      <a:pt x="44" y="28"/>
                    </a:lnTo>
                    <a:lnTo>
                      <a:pt x="3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77"/>
              <p:cNvSpPr>
                <a:spLocks noEditPoints="1"/>
              </p:cNvSpPr>
              <p:nvPr userDrawn="1"/>
            </p:nvSpPr>
            <p:spPr bwMode="auto">
              <a:xfrm>
                <a:off x="2080" y="3048"/>
                <a:ext cx="34" cy="34"/>
              </a:xfrm>
              <a:custGeom>
                <a:avLst/>
                <a:gdLst>
                  <a:gd name="T0" fmla="*/ 40 w 102"/>
                  <a:gd name="T1" fmla="*/ 101 h 102"/>
                  <a:gd name="T2" fmla="*/ 23 w 102"/>
                  <a:gd name="T3" fmla="*/ 93 h 102"/>
                  <a:gd name="T4" fmla="*/ 9 w 102"/>
                  <a:gd name="T5" fmla="*/ 80 h 102"/>
                  <a:gd name="T6" fmla="*/ 1 w 102"/>
                  <a:gd name="T7" fmla="*/ 62 h 102"/>
                  <a:gd name="T8" fmla="*/ 1 w 102"/>
                  <a:gd name="T9" fmla="*/ 41 h 102"/>
                  <a:gd name="T10" fmla="*/ 9 w 102"/>
                  <a:gd name="T11" fmla="*/ 23 h 102"/>
                  <a:gd name="T12" fmla="*/ 23 w 102"/>
                  <a:gd name="T13" fmla="*/ 9 h 102"/>
                  <a:gd name="T14" fmla="*/ 40 w 102"/>
                  <a:gd name="T15" fmla="*/ 1 h 102"/>
                  <a:gd name="T16" fmla="*/ 61 w 102"/>
                  <a:gd name="T17" fmla="*/ 1 h 102"/>
                  <a:gd name="T18" fmla="*/ 79 w 102"/>
                  <a:gd name="T19" fmla="*/ 9 h 102"/>
                  <a:gd name="T20" fmla="*/ 93 w 102"/>
                  <a:gd name="T21" fmla="*/ 23 h 102"/>
                  <a:gd name="T22" fmla="*/ 101 w 102"/>
                  <a:gd name="T23" fmla="*/ 41 h 102"/>
                  <a:gd name="T24" fmla="*/ 101 w 102"/>
                  <a:gd name="T25" fmla="*/ 62 h 102"/>
                  <a:gd name="T26" fmla="*/ 93 w 102"/>
                  <a:gd name="T27" fmla="*/ 80 h 102"/>
                  <a:gd name="T28" fmla="*/ 79 w 102"/>
                  <a:gd name="T29" fmla="*/ 93 h 102"/>
                  <a:gd name="T30" fmla="*/ 61 w 102"/>
                  <a:gd name="T31" fmla="*/ 101 h 102"/>
                  <a:gd name="T32" fmla="*/ 51 w 102"/>
                  <a:gd name="T33" fmla="*/ 27 h 102"/>
                  <a:gd name="T34" fmla="*/ 46 w 102"/>
                  <a:gd name="T35" fmla="*/ 28 h 102"/>
                  <a:gd name="T36" fmla="*/ 38 w 102"/>
                  <a:gd name="T37" fmla="*/ 31 h 102"/>
                  <a:gd name="T38" fmla="*/ 32 w 102"/>
                  <a:gd name="T39" fmla="*/ 38 h 102"/>
                  <a:gd name="T40" fmla="*/ 27 w 102"/>
                  <a:gd name="T41" fmla="*/ 47 h 102"/>
                  <a:gd name="T42" fmla="*/ 27 w 102"/>
                  <a:gd name="T43" fmla="*/ 56 h 102"/>
                  <a:gd name="T44" fmla="*/ 32 w 102"/>
                  <a:gd name="T45" fmla="*/ 65 h 102"/>
                  <a:gd name="T46" fmla="*/ 38 w 102"/>
                  <a:gd name="T47" fmla="*/ 70 h 102"/>
                  <a:gd name="T48" fmla="*/ 46 w 102"/>
                  <a:gd name="T49" fmla="*/ 75 h 102"/>
                  <a:gd name="T50" fmla="*/ 55 w 102"/>
                  <a:gd name="T51" fmla="*/ 75 h 102"/>
                  <a:gd name="T52" fmla="*/ 64 w 102"/>
                  <a:gd name="T53" fmla="*/ 70 h 102"/>
                  <a:gd name="T54" fmla="*/ 71 w 102"/>
                  <a:gd name="T55" fmla="*/ 65 h 102"/>
                  <a:gd name="T56" fmla="*/ 74 w 102"/>
                  <a:gd name="T57" fmla="*/ 56 h 102"/>
                  <a:gd name="T58" fmla="*/ 74 w 102"/>
                  <a:gd name="T59" fmla="*/ 47 h 102"/>
                  <a:gd name="T60" fmla="*/ 71 w 102"/>
                  <a:gd name="T61" fmla="*/ 38 h 102"/>
                  <a:gd name="T62" fmla="*/ 64 w 102"/>
                  <a:gd name="T63" fmla="*/ 31 h 102"/>
                  <a:gd name="T64" fmla="*/ 55 w 102"/>
                  <a:gd name="T65"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 h="102">
                    <a:moveTo>
                      <a:pt x="51" y="102"/>
                    </a:moveTo>
                    <a:lnTo>
                      <a:pt x="40" y="101"/>
                    </a:lnTo>
                    <a:lnTo>
                      <a:pt x="32" y="98"/>
                    </a:lnTo>
                    <a:lnTo>
                      <a:pt x="23" y="93"/>
                    </a:lnTo>
                    <a:lnTo>
                      <a:pt x="15" y="86"/>
                    </a:lnTo>
                    <a:lnTo>
                      <a:pt x="9" y="80"/>
                    </a:lnTo>
                    <a:lnTo>
                      <a:pt x="5" y="71"/>
                    </a:lnTo>
                    <a:lnTo>
                      <a:pt x="1" y="62"/>
                    </a:lnTo>
                    <a:lnTo>
                      <a:pt x="0" y="51"/>
                    </a:lnTo>
                    <a:lnTo>
                      <a:pt x="1" y="41"/>
                    </a:lnTo>
                    <a:lnTo>
                      <a:pt x="5" y="31"/>
                    </a:lnTo>
                    <a:lnTo>
                      <a:pt x="9" y="23"/>
                    </a:lnTo>
                    <a:lnTo>
                      <a:pt x="15" y="15"/>
                    </a:lnTo>
                    <a:lnTo>
                      <a:pt x="23" y="9"/>
                    </a:lnTo>
                    <a:lnTo>
                      <a:pt x="32" y="4"/>
                    </a:lnTo>
                    <a:lnTo>
                      <a:pt x="40" y="1"/>
                    </a:lnTo>
                    <a:lnTo>
                      <a:pt x="51" y="0"/>
                    </a:lnTo>
                    <a:lnTo>
                      <a:pt x="61" y="1"/>
                    </a:lnTo>
                    <a:lnTo>
                      <a:pt x="71" y="4"/>
                    </a:lnTo>
                    <a:lnTo>
                      <a:pt x="79" y="9"/>
                    </a:lnTo>
                    <a:lnTo>
                      <a:pt x="87" y="15"/>
                    </a:lnTo>
                    <a:lnTo>
                      <a:pt x="93" y="23"/>
                    </a:lnTo>
                    <a:lnTo>
                      <a:pt x="97" y="31"/>
                    </a:lnTo>
                    <a:lnTo>
                      <a:pt x="101" y="41"/>
                    </a:lnTo>
                    <a:lnTo>
                      <a:pt x="102" y="51"/>
                    </a:lnTo>
                    <a:lnTo>
                      <a:pt x="101" y="62"/>
                    </a:lnTo>
                    <a:lnTo>
                      <a:pt x="97" y="71"/>
                    </a:lnTo>
                    <a:lnTo>
                      <a:pt x="93" y="80"/>
                    </a:lnTo>
                    <a:lnTo>
                      <a:pt x="87" y="86"/>
                    </a:lnTo>
                    <a:lnTo>
                      <a:pt x="79" y="93"/>
                    </a:lnTo>
                    <a:lnTo>
                      <a:pt x="71" y="98"/>
                    </a:lnTo>
                    <a:lnTo>
                      <a:pt x="61" y="101"/>
                    </a:lnTo>
                    <a:lnTo>
                      <a:pt x="51" y="102"/>
                    </a:lnTo>
                    <a:close/>
                    <a:moveTo>
                      <a:pt x="51" y="27"/>
                    </a:moveTo>
                    <a:lnTo>
                      <a:pt x="51" y="27"/>
                    </a:lnTo>
                    <a:lnTo>
                      <a:pt x="46" y="28"/>
                    </a:lnTo>
                    <a:lnTo>
                      <a:pt x="41" y="29"/>
                    </a:lnTo>
                    <a:lnTo>
                      <a:pt x="38" y="31"/>
                    </a:lnTo>
                    <a:lnTo>
                      <a:pt x="34" y="35"/>
                    </a:lnTo>
                    <a:lnTo>
                      <a:pt x="32" y="38"/>
                    </a:lnTo>
                    <a:lnTo>
                      <a:pt x="29" y="42"/>
                    </a:lnTo>
                    <a:lnTo>
                      <a:pt x="27" y="47"/>
                    </a:lnTo>
                    <a:lnTo>
                      <a:pt x="27" y="51"/>
                    </a:lnTo>
                    <a:lnTo>
                      <a:pt x="27" y="56"/>
                    </a:lnTo>
                    <a:lnTo>
                      <a:pt x="29" y="61"/>
                    </a:lnTo>
                    <a:lnTo>
                      <a:pt x="32" y="65"/>
                    </a:lnTo>
                    <a:lnTo>
                      <a:pt x="34" y="68"/>
                    </a:lnTo>
                    <a:lnTo>
                      <a:pt x="38" y="70"/>
                    </a:lnTo>
                    <a:lnTo>
                      <a:pt x="41" y="72"/>
                    </a:lnTo>
                    <a:lnTo>
                      <a:pt x="46" y="75"/>
                    </a:lnTo>
                    <a:lnTo>
                      <a:pt x="51" y="75"/>
                    </a:lnTo>
                    <a:lnTo>
                      <a:pt x="55" y="75"/>
                    </a:lnTo>
                    <a:lnTo>
                      <a:pt x="60" y="72"/>
                    </a:lnTo>
                    <a:lnTo>
                      <a:pt x="64" y="70"/>
                    </a:lnTo>
                    <a:lnTo>
                      <a:pt x="67" y="68"/>
                    </a:lnTo>
                    <a:lnTo>
                      <a:pt x="71" y="65"/>
                    </a:lnTo>
                    <a:lnTo>
                      <a:pt x="73" y="61"/>
                    </a:lnTo>
                    <a:lnTo>
                      <a:pt x="74" y="56"/>
                    </a:lnTo>
                    <a:lnTo>
                      <a:pt x="75" y="51"/>
                    </a:lnTo>
                    <a:lnTo>
                      <a:pt x="74" y="47"/>
                    </a:lnTo>
                    <a:lnTo>
                      <a:pt x="73" y="42"/>
                    </a:lnTo>
                    <a:lnTo>
                      <a:pt x="71" y="38"/>
                    </a:lnTo>
                    <a:lnTo>
                      <a:pt x="67" y="35"/>
                    </a:lnTo>
                    <a:lnTo>
                      <a:pt x="64" y="31"/>
                    </a:lnTo>
                    <a:lnTo>
                      <a:pt x="60" y="29"/>
                    </a:lnTo>
                    <a:lnTo>
                      <a:pt x="55" y="28"/>
                    </a:lnTo>
                    <a:lnTo>
                      <a:pt x="5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78"/>
              <p:cNvSpPr>
                <a:spLocks noEditPoints="1"/>
              </p:cNvSpPr>
              <p:nvPr userDrawn="1"/>
            </p:nvSpPr>
            <p:spPr bwMode="auto">
              <a:xfrm>
                <a:off x="2002" y="3044"/>
                <a:ext cx="35" cy="35"/>
              </a:xfrm>
              <a:custGeom>
                <a:avLst/>
                <a:gdLst>
                  <a:gd name="T0" fmla="*/ 42 w 105"/>
                  <a:gd name="T1" fmla="*/ 104 h 105"/>
                  <a:gd name="T2" fmla="*/ 24 w 105"/>
                  <a:gd name="T3" fmla="*/ 96 h 105"/>
                  <a:gd name="T4" fmla="*/ 9 w 105"/>
                  <a:gd name="T5" fmla="*/ 82 h 105"/>
                  <a:gd name="T6" fmla="*/ 1 w 105"/>
                  <a:gd name="T7" fmla="*/ 63 h 105"/>
                  <a:gd name="T8" fmla="*/ 1 w 105"/>
                  <a:gd name="T9" fmla="*/ 42 h 105"/>
                  <a:gd name="T10" fmla="*/ 9 w 105"/>
                  <a:gd name="T11" fmla="*/ 24 h 105"/>
                  <a:gd name="T12" fmla="*/ 24 w 105"/>
                  <a:gd name="T13" fmla="*/ 9 h 105"/>
                  <a:gd name="T14" fmla="*/ 42 w 105"/>
                  <a:gd name="T15" fmla="*/ 1 h 105"/>
                  <a:gd name="T16" fmla="*/ 64 w 105"/>
                  <a:gd name="T17" fmla="*/ 1 h 105"/>
                  <a:gd name="T18" fmla="*/ 82 w 105"/>
                  <a:gd name="T19" fmla="*/ 9 h 105"/>
                  <a:gd name="T20" fmla="*/ 96 w 105"/>
                  <a:gd name="T21" fmla="*/ 24 h 105"/>
                  <a:gd name="T22" fmla="*/ 104 w 105"/>
                  <a:gd name="T23" fmla="*/ 42 h 105"/>
                  <a:gd name="T24" fmla="*/ 104 w 105"/>
                  <a:gd name="T25" fmla="*/ 63 h 105"/>
                  <a:gd name="T26" fmla="*/ 96 w 105"/>
                  <a:gd name="T27" fmla="*/ 82 h 105"/>
                  <a:gd name="T28" fmla="*/ 82 w 105"/>
                  <a:gd name="T29" fmla="*/ 96 h 105"/>
                  <a:gd name="T30" fmla="*/ 64 w 105"/>
                  <a:gd name="T31" fmla="*/ 104 h 105"/>
                  <a:gd name="T32" fmla="*/ 53 w 105"/>
                  <a:gd name="T33" fmla="*/ 27 h 105"/>
                  <a:gd name="T34" fmla="*/ 47 w 105"/>
                  <a:gd name="T35" fmla="*/ 28 h 105"/>
                  <a:gd name="T36" fmla="*/ 39 w 105"/>
                  <a:gd name="T37" fmla="*/ 31 h 105"/>
                  <a:gd name="T38" fmla="*/ 31 w 105"/>
                  <a:gd name="T39" fmla="*/ 39 h 105"/>
                  <a:gd name="T40" fmla="*/ 28 w 105"/>
                  <a:gd name="T41" fmla="*/ 48 h 105"/>
                  <a:gd name="T42" fmla="*/ 28 w 105"/>
                  <a:gd name="T43" fmla="*/ 57 h 105"/>
                  <a:gd name="T44" fmla="*/ 31 w 105"/>
                  <a:gd name="T45" fmla="*/ 67 h 105"/>
                  <a:gd name="T46" fmla="*/ 39 w 105"/>
                  <a:gd name="T47" fmla="*/ 74 h 105"/>
                  <a:gd name="T48" fmla="*/ 47 w 105"/>
                  <a:gd name="T49" fmla="*/ 78 h 105"/>
                  <a:gd name="T50" fmla="*/ 57 w 105"/>
                  <a:gd name="T51" fmla="*/ 78 h 105"/>
                  <a:gd name="T52" fmla="*/ 67 w 105"/>
                  <a:gd name="T53" fmla="*/ 74 h 105"/>
                  <a:gd name="T54" fmla="*/ 73 w 105"/>
                  <a:gd name="T55" fmla="*/ 67 h 105"/>
                  <a:gd name="T56" fmla="*/ 78 w 105"/>
                  <a:gd name="T57" fmla="*/ 57 h 105"/>
                  <a:gd name="T58" fmla="*/ 78 w 105"/>
                  <a:gd name="T59" fmla="*/ 48 h 105"/>
                  <a:gd name="T60" fmla="*/ 73 w 105"/>
                  <a:gd name="T61" fmla="*/ 39 h 105"/>
                  <a:gd name="T62" fmla="*/ 67 w 105"/>
                  <a:gd name="T63" fmla="*/ 31 h 105"/>
                  <a:gd name="T64" fmla="*/ 57 w 105"/>
                  <a:gd name="T65" fmla="*/ 2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05">
                    <a:moveTo>
                      <a:pt x="53" y="105"/>
                    </a:moveTo>
                    <a:lnTo>
                      <a:pt x="42" y="104"/>
                    </a:lnTo>
                    <a:lnTo>
                      <a:pt x="32" y="101"/>
                    </a:lnTo>
                    <a:lnTo>
                      <a:pt x="24" y="96"/>
                    </a:lnTo>
                    <a:lnTo>
                      <a:pt x="15" y="90"/>
                    </a:lnTo>
                    <a:lnTo>
                      <a:pt x="9" y="82"/>
                    </a:lnTo>
                    <a:lnTo>
                      <a:pt x="4" y="74"/>
                    </a:lnTo>
                    <a:lnTo>
                      <a:pt x="1" y="63"/>
                    </a:lnTo>
                    <a:lnTo>
                      <a:pt x="0" y="53"/>
                    </a:lnTo>
                    <a:lnTo>
                      <a:pt x="1" y="42"/>
                    </a:lnTo>
                    <a:lnTo>
                      <a:pt x="4" y="33"/>
                    </a:lnTo>
                    <a:lnTo>
                      <a:pt x="9" y="24"/>
                    </a:lnTo>
                    <a:lnTo>
                      <a:pt x="15" y="15"/>
                    </a:lnTo>
                    <a:lnTo>
                      <a:pt x="24" y="9"/>
                    </a:lnTo>
                    <a:lnTo>
                      <a:pt x="32" y="4"/>
                    </a:lnTo>
                    <a:lnTo>
                      <a:pt x="42" y="1"/>
                    </a:lnTo>
                    <a:lnTo>
                      <a:pt x="53" y="0"/>
                    </a:lnTo>
                    <a:lnTo>
                      <a:pt x="64" y="1"/>
                    </a:lnTo>
                    <a:lnTo>
                      <a:pt x="73" y="4"/>
                    </a:lnTo>
                    <a:lnTo>
                      <a:pt x="82" y="9"/>
                    </a:lnTo>
                    <a:lnTo>
                      <a:pt x="90" y="15"/>
                    </a:lnTo>
                    <a:lnTo>
                      <a:pt x="96" y="24"/>
                    </a:lnTo>
                    <a:lnTo>
                      <a:pt x="101" y="33"/>
                    </a:lnTo>
                    <a:lnTo>
                      <a:pt x="104" y="42"/>
                    </a:lnTo>
                    <a:lnTo>
                      <a:pt x="105" y="53"/>
                    </a:lnTo>
                    <a:lnTo>
                      <a:pt x="104" y="63"/>
                    </a:lnTo>
                    <a:lnTo>
                      <a:pt x="101" y="74"/>
                    </a:lnTo>
                    <a:lnTo>
                      <a:pt x="96" y="82"/>
                    </a:lnTo>
                    <a:lnTo>
                      <a:pt x="90" y="90"/>
                    </a:lnTo>
                    <a:lnTo>
                      <a:pt x="82" y="96"/>
                    </a:lnTo>
                    <a:lnTo>
                      <a:pt x="73" y="101"/>
                    </a:lnTo>
                    <a:lnTo>
                      <a:pt x="64" y="104"/>
                    </a:lnTo>
                    <a:lnTo>
                      <a:pt x="53" y="105"/>
                    </a:lnTo>
                    <a:close/>
                    <a:moveTo>
                      <a:pt x="53" y="27"/>
                    </a:moveTo>
                    <a:lnTo>
                      <a:pt x="53" y="27"/>
                    </a:lnTo>
                    <a:lnTo>
                      <a:pt x="47" y="28"/>
                    </a:lnTo>
                    <a:lnTo>
                      <a:pt x="43" y="29"/>
                    </a:lnTo>
                    <a:lnTo>
                      <a:pt x="39" y="31"/>
                    </a:lnTo>
                    <a:lnTo>
                      <a:pt x="34" y="35"/>
                    </a:lnTo>
                    <a:lnTo>
                      <a:pt x="31" y="39"/>
                    </a:lnTo>
                    <a:lnTo>
                      <a:pt x="29" y="43"/>
                    </a:lnTo>
                    <a:lnTo>
                      <a:pt x="28" y="48"/>
                    </a:lnTo>
                    <a:lnTo>
                      <a:pt x="27" y="53"/>
                    </a:lnTo>
                    <a:lnTo>
                      <a:pt x="28" y="57"/>
                    </a:lnTo>
                    <a:lnTo>
                      <a:pt x="29" y="63"/>
                    </a:lnTo>
                    <a:lnTo>
                      <a:pt x="31" y="67"/>
                    </a:lnTo>
                    <a:lnTo>
                      <a:pt x="34" y="70"/>
                    </a:lnTo>
                    <a:lnTo>
                      <a:pt x="39" y="74"/>
                    </a:lnTo>
                    <a:lnTo>
                      <a:pt x="43" y="76"/>
                    </a:lnTo>
                    <a:lnTo>
                      <a:pt x="47" y="78"/>
                    </a:lnTo>
                    <a:lnTo>
                      <a:pt x="53" y="78"/>
                    </a:lnTo>
                    <a:lnTo>
                      <a:pt x="57" y="78"/>
                    </a:lnTo>
                    <a:lnTo>
                      <a:pt x="63" y="76"/>
                    </a:lnTo>
                    <a:lnTo>
                      <a:pt x="67" y="74"/>
                    </a:lnTo>
                    <a:lnTo>
                      <a:pt x="70" y="70"/>
                    </a:lnTo>
                    <a:lnTo>
                      <a:pt x="73" y="67"/>
                    </a:lnTo>
                    <a:lnTo>
                      <a:pt x="76" y="63"/>
                    </a:lnTo>
                    <a:lnTo>
                      <a:pt x="78" y="57"/>
                    </a:lnTo>
                    <a:lnTo>
                      <a:pt x="78" y="53"/>
                    </a:lnTo>
                    <a:lnTo>
                      <a:pt x="78" y="48"/>
                    </a:lnTo>
                    <a:lnTo>
                      <a:pt x="76" y="43"/>
                    </a:lnTo>
                    <a:lnTo>
                      <a:pt x="73" y="39"/>
                    </a:lnTo>
                    <a:lnTo>
                      <a:pt x="70" y="35"/>
                    </a:lnTo>
                    <a:lnTo>
                      <a:pt x="67" y="31"/>
                    </a:lnTo>
                    <a:lnTo>
                      <a:pt x="63" y="29"/>
                    </a:lnTo>
                    <a:lnTo>
                      <a:pt x="57" y="28"/>
                    </a:lnTo>
                    <a:lnTo>
                      <a:pt x="5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79"/>
              <p:cNvSpPr>
                <a:spLocks noEditPoints="1"/>
              </p:cNvSpPr>
              <p:nvPr userDrawn="1"/>
            </p:nvSpPr>
            <p:spPr bwMode="auto">
              <a:xfrm>
                <a:off x="1936" y="3045"/>
                <a:ext cx="33" cy="33"/>
              </a:xfrm>
              <a:custGeom>
                <a:avLst/>
                <a:gdLst>
                  <a:gd name="T0" fmla="*/ 40 w 100"/>
                  <a:gd name="T1" fmla="*/ 99 h 100"/>
                  <a:gd name="T2" fmla="*/ 22 w 100"/>
                  <a:gd name="T3" fmla="*/ 91 h 100"/>
                  <a:gd name="T4" fmla="*/ 9 w 100"/>
                  <a:gd name="T5" fmla="*/ 78 h 100"/>
                  <a:gd name="T6" fmla="*/ 1 w 100"/>
                  <a:gd name="T7" fmla="*/ 60 h 100"/>
                  <a:gd name="T8" fmla="*/ 1 w 100"/>
                  <a:gd name="T9" fmla="*/ 40 h 100"/>
                  <a:gd name="T10" fmla="*/ 9 w 100"/>
                  <a:gd name="T11" fmla="*/ 22 h 100"/>
                  <a:gd name="T12" fmla="*/ 22 w 100"/>
                  <a:gd name="T13" fmla="*/ 8 h 100"/>
                  <a:gd name="T14" fmla="*/ 40 w 100"/>
                  <a:gd name="T15" fmla="*/ 1 h 100"/>
                  <a:gd name="T16" fmla="*/ 60 w 100"/>
                  <a:gd name="T17" fmla="*/ 1 h 100"/>
                  <a:gd name="T18" fmla="*/ 78 w 100"/>
                  <a:gd name="T19" fmla="*/ 8 h 100"/>
                  <a:gd name="T20" fmla="*/ 91 w 100"/>
                  <a:gd name="T21" fmla="*/ 22 h 100"/>
                  <a:gd name="T22" fmla="*/ 98 w 100"/>
                  <a:gd name="T23" fmla="*/ 40 h 100"/>
                  <a:gd name="T24" fmla="*/ 98 w 100"/>
                  <a:gd name="T25" fmla="*/ 60 h 100"/>
                  <a:gd name="T26" fmla="*/ 91 w 100"/>
                  <a:gd name="T27" fmla="*/ 78 h 100"/>
                  <a:gd name="T28" fmla="*/ 78 w 100"/>
                  <a:gd name="T29" fmla="*/ 91 h 100"/>
                  <a:gd name="T30" fmla="*/ 60 w 100"/>
                  <a:gd name="T31" fmla="*/ 99 h 100"/>
                  <a:gd name="T32" fmla="*/ 50 w 100"/>
                  <a:gd name="T33" fmla="*/ 27 h 100"/>
                  <a:gd name="T34" fmla="*/ 46 w 100"/>
                  <a:gd name="T35" fmla="*/ 27 h 100"/>
                  <a:gd name="T36" fmla="*/ 37 w 100"/>
                  <a:gd name="T37" fmla="*/ 31 h 100"/>
                  <a:gd name="T38" fmla="*/ 30 w 100"/>
                  <a:gd name="T39" fmla="*/ 37 h 100"/>
                  <a:gd name="T40" fmla="*/ 27 w 100"/>
                  <a:gd name="T41" fmla="*/ 46 h 100"/>
                  <a:gd name="T42" fmla="*/ 27 w 100"/>
                  <a:gd name="T43" fmla="*/ 54 h 100"/>
                  <a:gd name="T44" fmla="*/ 30 w 100"/>
                  <a:gd name="T45" fmla="*/ 63 h 100"/>
                  <a:gd name="T46" fmla="*/ 37 w 100"/>
                  <a:gd name="T47" fmla="*/ 68 h 100"/>
                  <a:gd name="T48" fmla="*/ 46 w 100"/>
                  <a:gd name="T49" fmla="*/ 73 h 100"/>
                  <a:gd name="T50" fmla="*/ 54 w 100"/>
                  <a:gd name="T51" fmla="*/ 73 h 100"/>
                  <a:gd name="T52" fmla="*/ 63 w 100"/>
                  <a:gd name="T53" fmla="*/ 68 h 100"/>
                  <a:gd name="T54" fmla="*/ 69 w 100"/>
                  <a:gd name="T55" fmla="*/ 63 h 100"/>
                  <a:gd name="T56" fmla="*/ 73 w 100"/>
                  <a:gd name="T57" fmla="*/ 54 h 100"/>
                  <a:gd name="T58" fmla="*/ 73 w 100"/>
                  <a:gd name="T59" fmla="*/ 46 h 100"/>
                  <a:gd name="T60" fmla="*/ 69 w 100"/>
                  <a:gd name="T61" fmla="*/ 37 h 100"/>
                  <a:gd name="T62" fmla="*/ 63 w 100"/>
                  <a:gd name="T63" fmla="*/ 31 h 100"/>
                  <a:gd name="T64" fmla="*/ 54 w 100"/>
                  <a:gd name="T65" fmla="*/ 2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50" y="100"/>
                    </a:moveTo>
                    <a:lnTo>
                      <a:pt x="40" y="99"/>
                    </a:lnTo>
                    <a:lnTo>
                      <a:pt x="30" y="95"/>
                    </a:lnTo>
                    <a:lnTo>
                      <a:pt x="22" y="91"/>
                    </a:lnTo>
                    <a:lnTo>
                      <a:pt x="14" y="86"/>
                    </a:lnTo>
                    <a:lnTo>
                      <a:pt x="9" y="78"/>
                    </a:lnTo>
                    <a:lnTo>
                      <a:pt x="3" y="69"/>
                    </a:lnTo>
                    <a:lnTo>
                      <a:pt x="1" y="60"/>
                    </a:lnTo>
                    <a:lnTo>
                      <a:pt x="0" y="50"/>
                    </a:lnTo>
                    <a:lnTo>
                      <a:pt x="1" y="40"/>
                    </a:lnTo>
                    <a:lnTo>
                      <a:pt x="3" y="31"/>
                    </a:lnTo>
                    <a:lnTo>
                      <a:pt x="9" y="22"/>
                    </a:lnTo>
                    <a:lnTo>
                      <a:pt x="14" y="14"/>
                    </a:lnTo>
                    <a:lnTo>
                      <a:pt x="22" y="8"/>
                    </a:lnTo>
                    <a:lnTo>
                      <a:pt x="30" y="4"/>
                    </a:lnTo>
                    <a:lnTo>
                      <a:pt x="40" y="1"/>
                    </a:lnTo>
                    <a:lnTo>
                      <a:pt x="50" y="0"/>
                    </a:lnTo>
                    <a:lnTo>
                      <a:pt x="60" y="1"/>
                    </a:lnTo>
                    <a:lnTo>
                      <a:pt x="69" y="4"/>
                    </a:lnTo>
                    <a:lnTo>
                      <a:pt x="78" y="8"/>
                    </a:lnTo>
                    <a:lnTo>
                      <a:pt x="86" y="14"/>
                    </a:lnTo>
                    <a:lnTo>
                      <a:pt x="91" y="22"/>
                    </a:lnTo>
                    <a:lnTo>
                      <a:pt x="96" y="31"/>
                    </a:lnTo>
                    <a:lnTo>
                      <a:pt x="98" y="40"/>
                    </a:lnTo>
                    <a:lnTo>
                      <a:pt x="100" y="50"/>
                    </a:lnTo>
                    <a:lnTo>
                      <a:pt x="98" y="60"/>
                    </a:lnTo>
                    <a:lnTo>
                      <a:pt x="96" y="69"/>
                    </a:lnTo>
                    <a:lnTo>
                      <a:pt x="91" y="78"/>
                    </a:lnTo>
                    <a:lnTo>
                      <a:pt x="86" y="86"/>
                    </a:lnTo>
                    <a:lnTo>
                      <a:pt x="78" y="91"/>
                    </a:lnTo>
                    <a:lnTo>
                      <a:pt x="69" y="95"/>
                    </a:lnTo>
                    <a:lnTo>
                      <a:pt x="60" y="99"/>
                    </a:lnTo>
                    <a:lnTo>
                      <a:pt x="50" y="100"/>
                    </a:lnTo>
                    <a:close/>
                    <a:moveTo>
                      <a:pt x="50" y="27"/>
                    </a:moveTo>
                    <a:lnTo>
                      <a:pt x="50" y="27"/>
                    </a:lnTo>
                    <a:lnTo>
                      <a:pt x="46" y="27"/>
                    </a:lnTo>
                    <a:lnTo>
                      <a:pt x="41" y="28"/>
                    </a:lnTo>
                    <a:lnTo>
                      <a:pt x="37" y="31"/>
                    </a:lnTo>
                    <a:lnTo>
                      <a:pt x="34" y="34"/>
                    </a:lnTo>
                    <a:lnTo>
                      <a:pt x="30" y="37"/>
                    </a:lnTo>
                    <a:lnTo>
                      <a:pt x="28" y="41"/>
                    </a:lnTo>
                    <a:lnTo>
                      <a:pt x="27" y="46"/>
                    </a:lnTo>
                    <a:lnTo>
                      <a:pt x="27" y="50"/>
                    </a:lnTo>
                    <a:lnTo>
                      <a:pt x="27" y="54"/>
                    </a:lnTo>
                    <a:lnTo>
                      <a:pt x="28" y="59"/>
                    </a:lnTo>
                    <a:lnTo>
                      <a:pt x="30" y="63"/>
                    </a:lnTo>
                    <a:lnTo>
                      <a:pt x="34" y="66"/>
                    </a:lnTo>
                    <a:lnTo>
                      <a:pt x="37" y="68"/>
                    </a:lnTo>
                    <a:lnTo>
                      <a:pt x="41" y="71"/>
                    </a:lnTo>
                    <a:lnTo>
                      <a:pt x="46" y="73"/>
                    </a:lnTo>
                    <a:lnTo>
                      <a:pt x="50" y="73"/>
                    </a:lnTo>
                    <a:lnTo>
                      <a:pt x="54" y="73"/>
                    </a:lnTo>
                    <a:lnTo>
                      <a:pt x="59" y="71"/>
                    </a:lnTo>
                    <a:lnTo>
                      <a:pt x="63" y="68"/>
                    </a:lnTo>
                    <a:lnTo>
                      <a:pt x="66" y="66"/>
                    </a:lnTo>
                    <a:lnTo>
                      <a:pt x="69" y="63"/>
                    </a:lnTo>
                    <a:lnTo>
                      <a:pt x="71" y="59"/>
                    </a:lnTo>
                    <a:lnTo>
                      <a:pt x="73" y="54"/>
                    </a:lnTo>
                    <a:lnTo>
                      <a:pt x="73" y="50"/>
                    </a:lnTo>
                    <a:lnTo>
                      <a:pt x="73" y="46"/>
                    </a:lnTo>
                    <a:lnTo>
                      <a:pt x="71" y="41"/>
                    </a:lnTo>
                    <a:lnTo>
                      <a:pt x="69" y="37"/>
                    </a:lnTo>
                    <a:lnTo>
                      <a:pt x="66" y="34"/>
                    </a:lnTo>
                    <a:lnTo>
                      <a:pt x="63" y="31"/>
                    </a:lnTo>
                    <a:lnTo>
                      <a:pt x="59" y="28"/>
                    </a:lnTo>
                    <a:lnTo>
                      <a:pt x="54"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80"/>
              <p:cNvSpPr>
                <a:spLocks noEditPoints="1"/>
              </p:cNvSpPr>
              <p:nvPr userDrawn="1"/>
            </p:nvSpPr>
            <p:spPr bwMode="auto">
              <a:xfrm>
                <a:off x="1810" y="3032"/>
                <a:ext cx="45" cy="46"/>
              </a:xfrm>
              <a:custGeom>
                <a:avLst/>
                <a:gdLst>
                  <a:gd name="T0" fmla="*/ 62 w 137"/>
                  <a:gd name="T1" fmla="*/ 137 h 137"/>
                  <a:gd name="T2" fmla="*/ 49 w 137"/>
                  <a:gd name="T3" fmla="*/ 133 h 137"/>
                  <a:gd name="T4" fmla="*/ 36 w 137"/>
                  <a:gd name="T5" fmla="*/ 128 h 137"/>
                  <a:gd name="T6" fmla="*/ 25 w 137"/>
                  <a:gd name="T7" fmla="*/ 120 h 137"/>
                  <a:gd name="T8" fmla="*/ 16 w 137"/>
                  <a:gd name="T9" fmla="*/ 112 h 137"/>
                  <a:gd name="T10" fmla="*/ 9 w 137"/>
                  <a:gd name="T11" fmla="*/ 101 h 137"/>
                  <a:gd name="T12" fmla="*/ 4 w 137"/>
                  <a:gd name="T13" fmla="*/ 88 h 137"/>
                  <a:gd name="T14" fmla="*/ 0 w 137"/>
                  <a:gd name="T15" fmla="*/ 75 h 137"/>
                  <a:gd name="T16" fmla="*/ 0 w 137"/>
                  <a:gd name="T17" fmla="*/ 61 h 137"/>
                  <a:gd name="T18" fmla="*/ 4 w 137"/>
                  <a:gd name="T19" fmla="*/ 47 h 137"/>
                  <a:gd name="T20" fmla="*/ 9 w 137"/>
                  <a:gd name="T21" fmla="*/ 35 h 137"/>
                  <a:gd name="T22" fmla="*/ 16 w 137"/>
                  <a:gd name="T23" fmla="*/ 24 h 137"/>
                  <a:gd name="T24" fmla="*/ 25 w 137"/>
                  <a:gd name="T25" fmla="*/ 15 h 137"/>
                  <a:gd name="T26" fmla="*/ 36 w 137"/>
                  <a:gd name="T27" fmla="*/ 7 h 137"/>
                  <a:gd name="T28" fmla="*/ 49 w 137"/>
                  <a:gd name="T29" fmla="*/ 2 h 137"/>
                  <a:gd name="T30" fmla="*/ 62 w 137"/>
                  <a:gd name="T31" fmla="*/ 0 h 137"/>
                  <a:gd name="T32" fmla="*/ 76 w 137"/>
                  <a:gd name="T33" fmla="*/ 0 h 137"/>
                  <a:gd name="T34" fmla="*/ 90 w 137"/>
                  <a:gd name="T35" fmla="*/ 2 h 137"/>
                  <a:gd name="T36" fmla="*/ 102 w 137"/>
                  <a:gd name="T37" fmla="*/ 7 h 137"/>
                  <a:gd name="T38" fmla="*/ 113 w 137"/>
                  <a:gd name="T39" fmla="*/ 15 h 137"/>
                  <a:gd name="T40" fmla="*/ 122 w 137"/>
                  <a:gd name="T41" fmla="*/ 24 h 137"/>
                  <a:gd name="T42" fmla="*/ 130 w 137"/>
                  <a:gd name="T43" fmla="*/ 35 h 137"/>
                  <a:gd name="T44" fmla="*/ 134 w 137"/>
                  <a:gd name="T45" fmla="*/ 47 h 137"/>
                  <a:gd name="T46" fmla="*/ 137 w 137"/>
                  <a:gd name="T47" fmla="*/ 61 h 137"/>
                  <a:gd name="T48" fmla="*/ 137 w 137"/>
                  <a:gd name="T49" fmla="*/ 75 h 137"/>
                  <a:gd name="T50" fmla="*/ 134 w 137"/>
                  <a:gd name="T51" fmla="*/ 88 h 137"/>
                  <a:gd name="T52" fmla="*/ 130 w 137"/>
                  <a:gd name="T53" fmla="*/ 101 h 137"/>
                  <a:gd name="T54" fmla="*/ 122 w 137"/>
                  <a:gd name="T55" fmla="*/ 112 h 137"/>
                  <a:gd name="T56" fmla="*/ 113 w 137"/>
                  <a:gd name="T57" fmla="*/ 120 h 137"/>
                  <a:gd name="T58" fmla="*/ 102 w 137"/>
                  <a:gd name="T59" fmla="*/ 128 h 137"/>
                  <a:gd name="T60" fmla="*/ 90 w 137"/>
                  <a:gd name="T61" fmla="*/ 133 h 137"/>
                  <a:gd name="T62" fmla="*/ 76 w 137"/>
                  <a:gd name="T63" fmla="*/ 137 h 137"/>
                  <a:gd name="T64" fmla="*/ 69 w 137"/>
                  <a:gd name="T65" fmla="*/ 27 h 137"/>
                  <a:gd name="T66" fmla="*/ 61 w 137"/>
                  <a:gd name="T67" fmla="*/ 27 h 137"/>
                  <a:gd name="T68" fmla="*/ 46 w 137"/>
                  <a:gd name="T69" fmla="*/ 33 h 137"/>
                  <a:gd name="T70" fmla="*/ 35 w 137"/>
                  <a:gd name="T71" fmla="*/ 45 h 137"/>
                  <a:gd name="T72" fmla="*/ 28 w 137"/>
                  <a:gd name="T73" fmla="*/ 59 h 137"/>
                  <a:gd name="T74" fmla="*/ 28 w 137"/>
                  <a:gd name="T75" fmla="*/ 76 h 137"/>
                  <a:gd name="T76" fmla="*/ 35 w 137"/>
                  <a:gd name="T77" fmla="*/ 91 h 137"/>
                  <a:gd name="T78" fmla="*/ 46 w 137"/>
                  <a:gd name="T79" fmla="*/ 102 h 137"/>
                  <a:gd name="T80" fmla="*/ 61 w 137"/>
                  <a:gd name="T81" fmla="*/ 109 h 137"/>
                  <a:gd name="T82" fmla="*/ 77 w 137"/>
                  <a:gd name="T83" fmla="*/ 109 h 137"/>
                  <a:gd name="T84" fmla="*/ 92 w 137"/>
                  <a:gd name="T85" fmla="*/ 102 h 137"/>
                  <a:gd name="T86" fmla="*/ 104 w 137"/>
                  <a:gd name="T87" fmla="*/ 91 h 137"/>
                  <a:gd name="T88" fmla="*/ 109 w 137"/>
                  <a:gd name="T89" fmla="*/ 76 h 137"/>
                  <a:gd name="T90" fmla="*/ 109 w 137"/>
                  <a:gd name="T91" fmla="*/ 59 h 137"/>
                  <a:gd name="T92" fmla="*/ 104 w 137"/>
                  <a:gd name="T93" fmla="*/ 45 h 137"/>
                  <a:gd name="T94" fmla="*/ 92 w 137"/>
                  <a:gd name="T95" fmla="*/ 33 h 137"/>
                  <a:gd name="T96" fmla="*/ 77 w 137"/>
                  <a:gd name="T97" fmla="*/ 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7" h="137">
                    <a:moveTo>
                      <a:pt x="69" y="137"/>
                    </a:moveTo>
                    <a:lnTo>
                      <a:pt x="62" y="137"/>
                    </a:lnTo>
                    <a:lnTo>
                      <a:pt x="55" y="136"/>
                    </a:lnTo>
                    <a:lnTo>
                      <a:pt x="49" y="133"/>
                    </a:lnTo>
                    <a:lnTo>
                      <a:pt x="42" y="131"/>
                    </a:lnTo>
                    <a:lnTo>
                      <a:pt x="36" y="128"/>
                    </a:lnTo>
                    <a:lnTo>
                      <a:pt x="31" y="125"/>
                    </a:lnTo>
                    <a:lnTo>
                      <a:pt x="25" y="120"/>
                    </a:lnTo>
                    <a:lnTo>
                      <a:pt x="21" y="116"/>
                    </a:lnTo>
                    <a:lnTo>
                      <a:pt x="16" y="112"/>
                    </a:lnTo>
                    <a:lnTo>
                      <a:pt x="12" y="106"/>
                    </a:lnTo>
                    <a:lnTo>
                      <a:pt x="9" y="101"/>
                    </a:lnTo>
                    <a:lnTo>
                      <a:pt x="6" y="95"/>
                    </a:lnTo>
                    <a:lnTo>
                      <a:pt x="4" y="88"/>
                    </a:lnTo>
                    <a:lnTo>
                      <a:pt x="1" y="82"/>
                    </a:lnTo>
                    <a:lnTo>
                      <a:pt x="0" y="75"/>
                    </a:lnTo>
                    <a:lnTo>
                      <a:pt x="0" y="68"/>
                    </a:lnTo>
                    <a:lnTo>
                      <a:pt x="0" y="61"/>
                    </a:lnTo>
                    <a:lnTo>
                      <a:pt x="1" y="54"/>
                    </a:lnTo>
                    <a:lnTo>
                      <a:pt x="4" y="47"/>
                    </a:lnTo>
                    <a:lnTo>
                      <a:pt x="6" y="41"/>
                    </a:lnTo>
                    <a:lnTo>
                      <a:pt x="9" y="35"/>
                    </a:lnTo>
                    <a:lnTo>
                      <a:pt x="12" y="30"/>
                    </a:lnTo>
                    <a:lnTo>
                      <a:pt x="16" y="24"/>
                    </a:lnTo>
                    <a:lnTo>
                      <a:pt x="21" y="19"/>
                    </a:lnTo>
                    <a:lnTo>
                      <a:pt x="25" y="15"/>
                    </a:lnTo>
                    <a:lnTo>
                      <a:pt x="31" y="10"/>
                    </a:lnTo>
                    <a:lnTo>
                      <a:pt x="36" y="7"/>
                    </a:lnTo>
                    <a:lnTo>
                      <a:pt x="42" y="5"/>
                    </a:lnTo>
                    <a:lnTo>
                      <a:pt x="49" y="2"/>
                    </a:lnTo>
                    <a:lnTo>
                      <a:pt x="55" y="1"/>
                    </a:lnTo>
                    <a:lnTo>
                      <a:pt x="62" y="0"/>
                    </a:lnTo>
                    <a:lnTo>
                      <a:pt x="69" y="0"/>
                    </a:lnTo>
                    <a:lnTo>
                      <a:pt x="76" y="0"/>
                    </a:lnTo>
                    <a:lnTo>
                      <a:pt x="82" y="1"/>
                    </a:lnTo>
                    <a:lnTo>
                      <a:pt x="90" y="2"/>
                    </a:lnTo>
                    <a:lnTo>
                      <a:pt x="95" y="5"/>
                    </a:lnTo>
                    <a:lnTo>
                      <a:pt x="102" y="7"/>
                    </a:lnTo>
                    <a:lnTo>
                      <a:pt x="107" y="10"/>
                    </a:lnTo>
                    <a:lnTo>
                      <a:pt x="113" y="15"/>
                    </a:lnTo>
                    <a:lnTo>
                      <a:pt x="118" y="19"/>
                    </a:lnTo>
                    <a:lnTo>
                      <a:pt x="122" y="24"/>
                    </a:lnTo>
                    <a:lnTo>
                      <a:pt x="126" y="30"/>
                    </a:lnTo>
                    <a:lnTo>
                      <a:pt x="130" y="35"/>
                    </a:lnTo>
                    <a:lnTo>
                      <a:pt x="132" y="41"/>
                    </a:lnTo>
                    <a:lnTo>
                      <a:pt x="134" y="47"/>
                    </a:lnTo>
                    <a:lnTo>
                      <a:pt x="136" y="54"/>
                    </a:lnTo>
                    <a:lnTo>
                      <a:pt x="137" y="61"/>
                    </a:lnTo>
                    <a:lnTo>
                      <a:pt x="137" y="68"/>
                    </a:lnTo>
                    <a:lnTo>
                      <a:pt x="137" y="75"/>
                    </a:lnTo>
                    <a:lnTo>
                      <a:pt x="136" y="82"/>
                    </a:lnTo>
                    <a:lnTo>
                      <a:pt x="134" y="88"/>
                    </a:lnTo>
                    <a:lnTo>
                      <a:pt x="132" y="95"/>
                    </a:lnTo>
                    <a:lnTo>
                      <a:pt x="130" y="101"/>
                    </a:lnTo>
                    <a:lnTo>
                      <a:pt x="126" y="106"/>
                    </a:lnTo>
                    <a:lnTo>
                      <a:pt x="122" y="112"/>
                    </a:lnTo>
                    <a:lnTo>
                      <a:pt x="118" y="116"/>
                    </a:lnTo>
                    <a:lnTo>
                      <a:pt x="113" y="120"/>
                    </a:lnTo>
                    <a:lnTo>
                      <a:pt x="107" y="125"/>
                    </a:lnTo>
                    <a:lnTo>
                      <a:pt x="102" y="128"/>
                    </a:lnTo>
                    <a:lnTo>
                      <a:pt x="95" y="131"/>
                    </a:lnTo>
                    <a:lnTo>
                      <a:pt x="90" y="133"/>
                    </a:lnTo>
                    <a:lnTo>
                      <a:pt x="82" y="136"/>
                    </a:lnTo>
                    <a:lnTo>
                      <a:pt x="76" y="137"/>
                    </a:lnTo>
                    <a:lnTo>
                      <a:pt x="69" y="137"/>
                    </a:lnTo>
                    <a:close/>
                    <a:moveTo>
                      <a:pt x="69" y="27"/>
                    </a:moveTo>
                    <a:lnTo>
                      <a:pt x="69" y="27"/>
                    </a:lnTo>
                    <a:lnTo>
                      <a:pt x="61" y="27"/>
                    </a:lnTo>
                    <a:lnTo>
                      <a:pt x="53" y="30"/>
                    </a:lnTo>
                    <a:lnTo>
                      <a:pt x="46" y="33"/>
                    </a:lnTo>
                    <a:lnTo>
                      <a:pt x="39" y="38"/>
                    </a:lnTo>
                    <a:lnTo>
                      <a:pt x="35" y="45"/>
                    </a:lnTo>
                    <a:lnTo>
                      <a:pt x="31" y="51"/>
                    </a:lnTo>
                    <a:lnTo>
                      <a:pt x="28" y="59"/>
                    </a:lnTo>
                    <a:lnTo>
                      <a:pt x="27" y="68"/>
                    </a:lnTo>
                    <a:lnTo>
                      <a:pt x="28" y="76"/>
                    </a:lnTo>
                    <a:lnTo>
                      <a:pt x="31" y="84"/>
                    </a:lnTo>
                    <a:lnTo>
                      <a:pt x="35" y="91"/>
                    </a:lnTo>
                    <a:lnTo>
                      <a:pt x="39" y="98"/>
                    </a:lnTo>
                    <a:lnTo>
                      <a:pt x="46" y="102"/>
                    </a:lnTo>
                    <a:lnTo>
                      <a:pt x="53" y="106"/>
                    </a:lnTo>
                    <a:lnTo>
                      <a:pt x="61" y="109"/>
                    </a:lnTo>
                    <a:lnTo>
                      <a:pt x="69" y="110"/>
                    </a:lnTo>
                    <a:lnTo>
                      <a:pt x="77" y="109"/>
                    </a:lnTo>
                    <a:lnTo>
                      <a:pt x="86" y="106"/>
                    </a:lnTo>
                    <a:lnTo>
                      <a:pt x="92" y="102"/>
                    </a:lnTo>
                    <a:lnTo>
                      <a:pt x="99" y="98"/>
                    </a:lnTo>
                    <a:lnTo>
                      <a:pt x="104" y="91"/>
                    </a:lnTo>
                    <a:lnTo>
                      <a:pt x="107" y="84"/>
                    </a:lnTo>
                    <a:lnTo>
                      <a:pt x="109" y="76"/>
                    </a:lnTo>
                    <a:lnTo>
                      <a:pt x="110" y="68"/>
                    </a:lnTo>
                    <a:lnTo>
                      <a:pt x="109" y="59"/>
                    </a:lnTo>
                    <a:lnTo>
                      <a:pt x="107" y="51"/>
                    </a:lnTo>
                    <a:lnTo>
                      <a:pt x="104" y="45"/>
                    </a:lnTo>
                    <a:lnTo>
                      <a:pt x="99" y="38"/>
                    </a:lnTo>
                    <a:lnTo>
                      <a:pt x="92" y="33"/>
                    </a:lnTo>
                    <a:lnTo>
                      <a:pt x="86" y="30"/>
                    </a:lnTo>
                    <a:lnTo>
                      <a:pt x="77" y="27"/>
                    </a:lnTo>
                    <a:lnTo>
                      <a:pt x="6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81"/>
              <p:cNvSpPr>
                <a:spLocks noEditPoints="1"/>
              </p:cNvSpPr>
              <p:nvPr userDrawn="1"/>
            </p:nvSpPr>
            <p:spPr bwMode="auto">
              <a:xfrm>
                <a:off x="1666" y="2994"/>
                <a:ext cx="46" cy="46"/>
              </a:xfrm>
              <a:custGeom>
                <a:avLst/>
                <a:gdLst>
                  <a:gd name="T0" fmla="*/ 62 w 138"/>
                  <a:gd name="T1" fmla="*/ 138 h 138"/>
                  <a:gd name="T2" fmla="*/ 49 w 138"/>
                  <a:gd name="T3" fmla="*/ 135 h 138"/>
                  <a:gd name="T4" fmla="*/ 36 w 138"/>
                  <a:gd name="T5" fmla="*/ 130 h 138"/>
                  <a:gd name="T6" fmla="*/ 25 w 138"/>
                  <a:gd name="T7" fmla="*/ 122 h 138"/>
                  <a:gd name="T8" fmla="*/ 15 w 138"/>
                  <a:gd name="T9" fmla="*/ 114 h 138"/>
                  <a:gd name="T10" fmla="*/ 8 w 138"/>
                  <a:gd name="T11" fmla="*/ 103 h 138"/>
                  <a:gd name="T12" fmla="*/ 4 w 138"/>
                  <a:gd name="T13" fmla="*/ 90 h 138"/>
                  <a:gd name="T14" fmla="*/ 0 w 138"/>
                  <a:gd name="T15" fmla="*/ 77 h 138"/>
                  <a:gd name="T16" fmla="*/ 0 w 138"/>
                  <a:gd name="T17" fmla="*/ 63 h 138"/>
                  <a:gd name="T18" fmla="*/ 4 w 138"/>
                  <a:gd name="T19" fmla="*/ 49 h 138"/>
                  <a:gd name="T20" fmla="*/ 8 w 138"/>
                  <a:gd name="T21" fmla="*/ 37 h 138"/>
                  <a:gd name="T22" fmla="*/ 15 w 138"/>
                  <a:gd name="T23" fmla="*/ 26 h 138"/>
                  <a:gd name="T24" fmla="*/ 25 w 138"/>
                  <a:gd name="T25" fmla="*/ 16 h 138"/>
                  <a:gd name="T26" fmla="*/ 36 w 138"/>
                  <a:gd name="T27" fmla="*/ 9 h 138"/>
                  <a:gd name="T28" fmla="*/ 49 w 138"/>
                  <a:gd name="T29" fmla="*/ 3 h 138"/>
                  <a:gd name="T30" fmla="*/ 62 w 138"/>
                  <a:gd name="T31" fmla="*/ 1 h 138"/>
                  <a:gd name="T32" fmla="*/ 76 w 138"/>
                  <a:gd name="T33" fmla="*/ 1 h 138"/>
                  <a:gd name="T34" fmla="*/ 89 w 138"/>
                  <a:gd name="T35" fmla="*/ 3 h 138"/>
                  <a:gd name="T36" fmla="*/ 102 w 138"/>
                  <a:gd name="T37" fmla="*/ 9 h 138"/>
                  <a:gd name="T38" fmla="*/ 113 w 138"/>
                  <a:gd name="T39" fmla="*/ 16 h 138"/>
                  <a:gd name="T40" fmla="*/ 122 w 138"/>
                  <a:gd name="T41" fmla="*/ 26 h 138"/>
                  <a:gd name="T42" fmla="*/ 130 w 138"/>
                  <a:gd name="T43" fmla="*/ 37 h 138"/>
                  <a:gd name="T44" fmla="*/ 134 w 138"/>
                  <a:gd name="T45" fmla="*/ 49 h 138"/>
                  <a:gd name="T46" fmla="*/ 138 w 138"/>
                  <a:gd name="T47" fmla="*/ 63 h 138"/>
                  <a:gd name="T48" fmla="*/ 138 w 138"/>
                  <a:gd name="T49" fmla="*/ 77 h 138"/>
                  <a:gd name="T50" fmla="*/ 134 w 138"/>
                  <a:gd name="T51" fmla="*/ 90 h 138"/>
                  <a:gd name="T52" fmla="*/ 130 w 138"/>
                  <a:gd name="T53" fmla="*/ 103 h 138"/>
                  <a:gd name="T54" fmla="*/ 122 w 138"/>
                  <a:gd name="T55" fmla="*/ 114 h 138"/>
                  <a:gd name="T56" fmla="*/ 113 w 138"/>
                  <a:gd name="T57" fmla="*/ 122 h 138"/>
                  <a:gd name="T58" fmla="*/ 102 w 138"/>
                  <a:gd name="T59" fmla="*/ 130 h 138"/>
                  <a:gd name="T60" fmla="*/ 89 w 138"/>
                  <a:gd name="T61" fmla="*/ 135 h 138"/>
                  <a:gd name="T62" fmla="*/ 76 w 138"/>
                  <a:gd name="T63" fmla="*/ 138 h 138"/>
                  <a:gd name="T64" fmla="*/ 69 w 138"/>
                  <a:gd name="T65" fmla="*/ 27 h 138"/>
                  <a:gd name="T66" fmla="*/ 61 w 138"/>
                  <a:gd name="T67" fmla="*/ 28 h 138"/>
                  <a:gd name="T68" fmla="*/ 46 w 138"/>
                  <a:gd name="T69" fmla="*/ 35 h 138"/>
                  <a:gd name="T70" fmla="*/ 34 w 138"/>
                  <a:gd name="T71" fmla="*/ 47 h 138"/>
                  <a:gd name="T72" fmla="*/ 28 w 138"/>
                  <a:gd name="T73" fmla="*/ 61 h 138"/>
                  <a:gd name="T74" fmla="*/ 28 w 138"/>
                  <a:gd name="T75" fmla="*/ 78 h 138"/>
                  <a:gd name="T76" fmla="*/ 34 w 138"/>
                  <a:gd name="T77" fmla="*/ 93 h 138"/>
                  <a:gd name="T78" fmla="*/ 46 w 138"/>
                  <a:gd name="T79" fmla="*/ 104 h 138"/>
                  <a:gd name="T80" fmla="*/ 61 w 138"/>
                  <a:gd name="T81" fmla="*/ 110 h 138"/>
                  <a:gd name="T82" fmla="*/ 77 w 138"/>
                  <a:gd name="T83" fmla="*/ 110 h 138"/>
                  <a:gd name="T84" fmla="*/ 92 w 138"/>
                  <a:gd name="T85" fmla="*/ 104 h 138"/>
                  <a:gd name="T86" fmla="*/ 104 w 138"/>
                  <a:gd name="T87" fmla="*/ 93 h 138"/>
                  <a:gd name="T88" fmla="*/ 111 w 138"/>
                  <a:gd name="T89" fmla="*/ 78 h 138"/>
                  <a:gd name="T90" fmla="*/ 111 w 138"/>
                  <a:gd name="T91" fmla="*/ 61 h 138"/>
                  <a:gd name="T92" fmla="*/ 104 w 138"/>
                  <a:gd name="T93" fmla="*/ 47 h 138"/>
                  <a:gd name="T94" fmla="*/ 92 w 138"/>
                  <a:gd name="T95" fmla="*/ 35 h 138"/>
                  <a:gd name="T96" fmla="*/ 77 w 138"/>
                  <a:gd name="T9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 h="138">
                    <a:moveTo>
                      <a:pt x="69" y="138"/>
                    </a:moveTo>
                    <a:lnTo>
                      <a:pt x="62" y="138"/>
                    </a:lnTo>
                    <a:lnTo>
                      <a:pt x="55" y="137"/>
                    </a:lnTo>
                    <a:lnTo>
                      <a:pt x="49" y="135"/>
                    </a:lnTo>
                    <a:lnTo>
                      <a:pt x="42" y="133"/>
                    </a:lnTo>
                    <a:lnTo>
                      <a:pt x="36" y="130"/>
                    </a:lnTo>
                    <a:lnTo>
                      <a:pt x="31" y="127"/>
                    </a:lnTo>
                    <a:lnTo>
                      <a:pt x="25" y="122"/>
                    </a:lnTo>
                    <a:lnTo>
                      <a:pt x="20" y="118"/>
                    </a:lnTo>
                    <a:lnTo>
                      <a:pt x="15" y="114"/>
                    </a:lnTo>
                    <a:lnTo>
                      <a:pt x="12" y="108"/>
                    </a:lnTo>
                    <a:lnTo>
                      <a:pt x="8" y="103"/>
                    </a:lnTo>
                    <a:lnTo>
                      <a:pt x="6" y="96"/>
                    </a:lnTo>
                    <a:lnTo>
                      <a:pt x="4" y="90"/>
                    </a:lnTo>
                    <a:lnTo>
                      <a:pt x="1" y="83"/>
                    </a:lnTo>
                    <a:lnTo>
                      <a:pt x="0" y="77"/>
                    </a:lnTo>
                    <a:lnTo>
                      <a:pt x="0" y="69"/>
                    </a:lnTo>
                    <a:lnTo>
                      <a:pt x="0" y="63"/>
                    </a:lnTo>
                    <a:lnTo>
                      <a:pt x="1" y="55"/>
                    </a:lnTo>
                    <a:lnTo>
                      <a:pt x="4" y="49"/>
                    </a:lnTo>
                    <a:lnTo>
                      <a:pt x="6" y="42"/>
                    </a:lnTo>
                    <a:lnTo>
                      <a:pt x="8" y="37"/>
                    </a:lnTo>
                    <a:lnTo>
                      <a:pt x="12" y="32"/>
                    </a:lnTo>
                    <a:lnTo>
                      <a:pt x="15" y="26"/>
                    </a:lnTo>
                    <a:lnTo>
                      <a:pt x="20" y="21"/>
                    </a:lnTo>
                    <a:lnTo>
                      <a:pt x="25" y="16"/>
                    </a:lnTo>
                    <a:lnTo>
                      <a:pt x="31" y="12"/>
                    </a:lnTo>
                    <a:lnTo>
                      <a:pt x="36" y="9"/>
                    </a:lnTo>
                    <a:lnTo>
                      <a:pt x="42" y="6"/>
                    </a:lnTo>
                    <a:lnTo>
                      <a:pt x="49" y="3"/>
                    </a:lnTo>
                    <a:lnTo>
                      <a:pt x="55" y="2"/>
                    </a:lnTo>
                    <a:lnTo>
                      <a:pt x="62" y="1"/>
                    </a:lnTo>
                    <a:lnTo>
                      <a:pt x="69" y="0"/>
                    </a:lnTo>
                    <a:lnTo>
                      <a:pt x="76" y="1"/>
                    </a:lnTo>
                    <a:lnTo>
                      <a:pt x="82" y="2"/>
                    </a:lnTo>
                    <a:lnTo>
                      <a:pt x="89" y="3"/>
                    </a:lnTo>
                    <a:lnTo>
                      <a:pt x="95" y="6"/>
                    </a:lnTo>
                    <a:lnTo>
                      <a:pt x="102" y="9"/>
                    </a:lnTo>
                    <a:lnTo>
                      <a:pt x="107" y="12"/>
                    </a:lnTo>
                    <a:lnTo>
                      <a:pt x="113" y="16"/>
                    </a:lnTo>
                    <a:lnTo>
                      <a:pt x="118" y="21"/>
                    </a:lnTo>
                    <a:lnTo>
                      <a:pt x="122" y="26"/>
                    </a:lnTo>
                    <a:lnTo>
                      <a:pt x="126" y="32"/>
                    </a:lnTo>
                    <a:lnTo>
                      <a:pt x="130" y="37"/>
                    </a:lnTo>
                    <a:lnTo>
                      <a:pt x="132" y="42"/>
                    </a:lnTo>
                    <a:lnTo>
                      <a:pt x="134" y="49"/>
                    </a:lnTo>
                    <a:lnTo>
                      <a:pt x="136" y="55"/>
                    </a:lnTo>
                    <a:lnTo>
                      <a:pt x="138" y="63"/>
                    </a:lnTo>
                    <a:lnTo>
                      <a:pt x="138" y="69"/>
                    </a:lnTo>
                    <a:lnTo>
                      <a:pt x="138" y="77"/>
                    </a:lnTo>
                    <a:lnTo>
                      <a:pt x="136" y="83"/>
                    </a:lnTo>
                    <a:lnTo>
                      <a:pt x="134" y="90"/>
                    </a:lnTo>
                    <a:lnTo>
                      <a:pt x="132" y="96"/>
                    </a:lnTo>
                    <a:lnTo>
                      <a:pt x="130" y="103"/>
                    </a:lnTo>
                    <a:lnTo>
                      <a:pt x="126" y="108"/>
                    </a:lnTo>
                    <a:lnTo>
                      <a:pt x="122" y="114"/>
                    </a:lnTo>
                    <a:lnTo>
                      <a:pt x="118" y="118"/>
                    </a:lnTo>
                    <a:lnTo>
                      <a:pt x="113" y="122"/>
                    </a:lnTo>
                    <a:lnTo>
                      <a:pt x="107" y="127"/>
                    </a:lnTo>
                    <a:lnTo>
                      <a:pt x="102" y="130"/>
                    </a:lnTo>
                    <a:lnTo>
                      <a:pt x="95" y="133"/>
                    </a:lnTo>
                    <a:lnTo>
                      <a:pt x="89" y="135"/>
                    </a:lnTo>
                    <a:lnTo>
                      <a:pt x="82" y="137"/>
                    </a:lnTo>
                    <a:lnTo>
                      <a:pt x="76" y="138"/>
                    </a:lnTo>
                    <a:lnTo>
                      <a:pt x="69" y="138"/>
                    </a:lnTo>
                    <a:close/>
                    <a:moveTo>
                      <a:pt x="69" y="27"/>
                    </a:moveTo>
                    <a:lnTo>
                      <a:pt x="69" y="27"/>
                    </a:lnTo>
                    <a:lnTo>
                      <a:pt x="61" y="28"/>
                    </a:lnTo>
                    <a:lnTo>
                      <a:pt x="52" y="30"/>
                    </a:lnTo>
                    <a:lnTo>
                      <a:pt x="46" y="35"/>
                    </a:lnTo>
                    <a:lnTo>
                      <a:pt x="39" y="40"/>
                    </a:lnTo>
                    <a:lnTo>
                      <a:pt x="34" y="47"/>
                    </a:lnTo>
                    <a:lnTo>
                      <a:pt x="31" y="53"/>
                    </a:lnTo>
                    <a:lnTo>
                      <a:pt x="28" y="61"/>
                    </a:lnTo>
                    <a:lnTo>
                      <a:pt x="27" y="69"/>
                    </a:lnTo>
                    <a:lnTo>
                      <a:pt x="28" y="78"/>
                    </a:lnTo>
                    <a:lnTo>
                      <a:pt x="31" y="85"/>
                    </a:lnTo>
                    <a:lnTo>
                      <a:pt x="34" y="93"/>
                    </a:lnTo>
                    <a:lnTo>
                      <a:pt x="39" y="100"/>
                    </a:lnTo>
                    <a:lnTo>
                      <a:pt x="46" y="104"/>
                    </a:lnTo>
                    <a:lnTo>
                      <a:pt x="52" y="108"/>
                    </a:lnTo>
                    <a:lnTo>
                      <a:pt x="61" y="110"/>
                    </a:lnTo>
                    <a:lnTo>
                      <a:pt x="69" y="111"/>
                    </a:lnTo>
                    <a:lnTo>
                      <a:pt x="77" y="110"/>
                    </a:lnTo>
                    <a:lnTo>
                      <a:pt x="86" y="108"/>
                    </a:lnTo>
                    <a:lnTo>
                      <a:pt x="92" y="104"/>
                    </a:lnTo>
                    <a:lnTo>
                      <a:pt x="99" y="100"/>
                    </a:lnTo>
                    <a:lnTo>
                      <a:pt x="104" y="93"/>
                    </a:lnTo>
                    <a:lnTo>
                      <a:pt x="107" y="85"/>
                    </a:lnTo>
                    <a:lnTo>
                      <a:pt x="111" y="78"/>
                    </a:lnTo>
                    <a:lnTo>
                      <a:pt x="111" y="69"/>
                    </a:lnTo>
                    <a:lnTo>
                      <a:pt x="111" y="61"/>
                    </a:lnTo>
                    <a:lnTo>
                      <a:pt x="107" y="53"/>
                    </a:lnTo>
                    <a:lnTo>
                      <a:pt x="104" y="47"/>
                    </a:lnTo>
                    <a:lnTo>
                      <a:pt x="99" y="40"/>
                    </a:lnTo>
                    <a:lnTo>
                      <a:pt x="92" y="35"/>
                    </a:lnTo>
                    <a:lnTo>
                      <a:pt x="86" y="30"/>
                    </a:lnTo>
                    <a:lnTo>
                      <a:pt x="77" y="28"/>
                    </a:lnTo>
                    <a:lnTo>
                      <a:pt x="6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82"/>
              <p:cNvSpPr>
                <a:spLocks noEditPoints="1"/>
              </p:cNvSpPr>
              <p:nvPr userDrawn="1"/>
            </p:nvSpPr>
            <p:spPr bwMode="auto">
              <a:xfrm>
                <a:off x="1559" y="2965"/>
                <a:ext cx="47" cy="48"/>
              </a:xfrm>
              <a:custGeom>
                <a:avLst/>
                <a:gdLst>
                  <a:gd name="T0" fmla="*/ 63 w 141"/>
                  <a:gd name="T1" fmla="*/ 141 h 142"/>
                  <a:gd name="T2" fmla="*/ 49 w 141"/>
                  <a:gd name="T3" fmla="*/ 139 h 142"/>
                  <a:gd name="T4" fmla="*/ 36 w 141"/>
                  <a:gd name="T5" fmla="*/ 134 h 142"/>
                  <a:gd name="T6" fmla="*/ 26 w 141"/>
                  <a:gd name="T7" fmla="*/ 126 h 142"/>
                  <a:gd name="T8" fmla="*/ 16 w 141"/>
                  <a:gd name="T9" fmla="*/ 116 h 142"/>
                  <a:gd name="T10" fmla="*/ 7 w 141"/>
                  <a:gd name="T11" fmla="*/ 104 h 142"/>
                  <a:gd name="T12" fmla="*/ 2 w 141"/>
                  <a:gd name="T13" fmla="*/ 92 h 142"/>
                  <a:gd name="T14" fmla="*/ 0 w 141"/>
                  <a:gd name="T15" fmla="*/ 79 h 142"/>
                  <a:gd name="T16" fmla="*/ 0 w 141"/>
                  <a:gd name="T17" fmla="*/ 63 h 142"/>
                  <a:gd name="T18" fmla="*/ 2 w 141"/>
                  <a:gd name="T19" fmla="*/ 49 h 142"/>
                  <a:gd name="T20" fmla="*/ 7 w 141"/>
                  <a:gd name="T21" fmla="*/ 38 h 142"/>
                  <a:gd name="T22" fmla="*/ 16 w 141"/>
                  <a:gd name="T23" fmla="*/ 26 h 142"/>
                  <a:gd name="T24" fmla="*/ 26 w 141"/>
                  <a:gd name="T25" fmla="*/ 16 h 142"/>
                  <a:gd name="T26" fmla="*/ 36 w 141"/>
                  <a:gd name="T27" fmla="*/ 8 h 142"/>
                  <a:gd name="T28" fmla="*/ 49 w 141"/>
                  <a:gd name="T29" fmla="*/ 3 h 142"/>
                  <a:gd name="T30" fmla="*/ 63 w 141"/>
                  <a:gd name="T31" fmla="*/ 0 h 142"/>
                  <a:gd name="T32" fmla="*/ 77 w 141"/>
                  <a:gd name="T33" fmla="*/ 0 h 142"/>
                  <a:gd name="T34" fmla="*/ 91 w 141"/>
                  <a:gd name="T35" fmla="*/ 3 h 142"/>
                  <a:gd name="T36" fmla="*/ 104 w 141"/>
                  <a:gd name="T37" fmla="*/ 8 h 142"/>
                  <a:gd name="T38" fmla="*/ 115 w 141"/>
                  <a:gd name="T39" fmla="*/ 16 h 142"/>
                  <a:gd name="T40" fmla="*/ 125 w 141"/>
                  <a:gd name="T41" fmla="*/ 26 h 142"/>
                  <a:gd name="T42" fmla="*/ 132 w 141"/>
                  <a:gd name="T43" fmla="*/ 38 h 142"/>
                  <a:gd name="T44" fmla="*/ 138 w 141"/>
                  <a:gd name="T45" fmla="*/ 49 h 142"/>
                  <a:gd name="T46" fmla="*/ 141 w 141"/>
                  <a:gd name="T47" fmla="*/ 63 h 142"/>
                  <a:gd name="T48" fmla="*/ 141 w 141"/>
                  <a:gd name="T49" fmla="*/ 79 h 142"/>
                  <a:gd name="T50" fmla="*/ 138 w 141"/>
                  <a:gd name="T51" fmla="*/ 92 h 142"/>
                  <a:gd name="T52" fmla="*/ 132 w 141"/>
                  <a:gd name="T53" fmla="*/ 104 h 142"/>
                  <a:gd name="T54" fmla="*/ 125 w 141"/>
                  <a:gd name="T55" fmla="*/ 116 h 142"/>
                  <a:gd name="T56" fmla="*/ 115 w 141"/>
                  <a:gd name="T57" fmla="*/ 126 h 142"/>
                  <a:gd name="T58" fmla="*/ 104 w 141"/>
                  <a:gd name="T59" fmla="*/ 134 h 142"/>
                  <a:gd name="T60" fmla="*/ 91 w 141"/>
                  <a:gd name="T61" fmla="*/ 139 h 142"/>
                  <a:gd name="T62" fmla="*/ 77 w 141"/>
                  <a:gd name="T63" fmla="*/ 141 h 142"/>
                  <a:gd name="T64" fmla="*/ 70 w 141"/>
                  <a:gd name="T65" fmla="*/ 27 h 142"/>
                  <a:gd name="T66" fmla="*/ 61 w 141"/>
                  <a:gd name="T67" fmla="*/ 28 h 142"/>
                  <a:gd name="T68" fmla="*/ 46 w 141"/>
                  <a:gd name="T69" fmla="*/ 34 h 142"/>
                  <a:gd name="T70" fmla="*/ 34 w 141"/>
                  <a:gd name="T71" fmla="*/ 46 h 142"/>
                  <a:gd name="T72" fmla="*/ 27 w 141"/>
                  <a:gd name="T73" fmla="*/ 62 h 142"/>
                  <a:gd name="T74" fmla="*/ 27 w 141"/>
                  <a:gd name="T75" fmla="*/ 80 h 142"/>
                  <a:gd name="T76" fmla="*/ 34 w 141"/>
                  <a:gd name="T77" fmla="*/ 96 h 142"/>
                  <a:gd name="T78" fmla="*/ 46 w 141"/>
                  <a:gd name="T79" fmla="*/ 108 h 142"/>
                  <a:gd name="T80" fmla="*/ 61 w 141"/>
                  <a:gd name="T81" fmla="*/ 114 h 142"/>
                  <a:gd name="T82" fmla="*/ 79 w 141"/>
                  <a:gd name="T83" fmla="*/ 114 h 142"/>
                  <a:gd name="T84" fmla="*/ 95 w 141"/>
                  <a:gd name="T85" fmla="*/ 108 h 142"/>
                  <a:gd name="T86" fmla="*/ 106 w 141"/>
                  <a:gd name="T87" fmla="*/ 96 h 142"/>
                  <a:gd name="T88" fmla="*/ 113 w 141"/>
                  <a:gd name="T89" fmla="*/ 80 h 142"/>
                  <a:gd name="T90" fmla="*/ 113 w 141"/>
                  <a:gd name="T91" fmla="*/ 62 h 142"/>
                  <a:gd name="T92" fmla="*/ 106 w 141"/>
                  <a:gd name="T93" fmla="*/ 46 h 142"/>
                  <a:gd name="T94" fmla="*/ 95 w 141"/>
                  <a:gd name="T95" fmla="*/ 34 h 142"/>
                  <a:gd name="T96" fmla="*/ 79 w 141"/>
                  <a:gd name="T97" fmla="*/ 2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lnTo>
                      <a:pt x="63" y="141"/>
                    </a:lnTo>
                    <a:lnTo>
                      <a:pt x="56" y="140"/>
                    </a:lnTo>
                    <a:lnTo>
                      <a:pt x="49" y="139"/>
                    </a:lnTo>
                    <a:lnTo>
                      <a:pt x="43" y="137"/>
                    </a:lnTo>
                    <a:lnTo>
                      <a:pt x="36" y="134"/>
                    </a:lnTo>
                    <a:lnTo>
                      <a:pt x="31" y="129"/>
                    </a:lnTo>
                    <a:lnTo>
                      <a:pt x="26" y="126"/>
                    </a:lnTo>
                    <a:lnTo>
                      <a:pt x="20" y="121"/>
                    </a:lnTo>
                    <a:lnTo>
                      <a:pt x="16" y="116"/>
                    </a:lnTo>
                    <a:lnTo>
                      <a:pt x="11" y="111"/>
                    </a:lnTo>
                    <a:lnTo>
                      <a:pt x="7" y="104"/>
                    </a:lnTo>
                    <a:lnTo>
                      <a:pt x="5" y="98"/>
                    </a:lnTo>
                    <a:lnTo>
                      <a:pt x="2" y="92"/>
                    </a:lnTo>
                    <a:lnTo>
                      <a:pt x="1" y="85"/>
                    </a:lnTo>
                    <a:lnTo>
                      <a:pt x="0" y="79"/>
                    </a:lnTo>
                    <a:lnTo>
                      <a:pt x="0" y="71"/>
                    </a:lnTo>
                    <a:lnTo>
                      <a:pt x="0" y="63"/>
                    </a:lnTo>
                    <a:lnTo>
                      <a:pt x="1" y="57"/>
                    </a:lnTo>
                    <a:lnTo>
                      <a:pt x="2" y="49"/>
                    </a:lnTo>
                    <a:lnTo>
                      <a:pt x="5" y="43"/>
                    </a:lnTo>
                    <a:lnTo>
                      <a:pt x="7" y="38"/>
                    </a:lnTo>
                    <a:lnTo>
                      <a:pt x="11" y="31"/>
                    </a:lnTo>
                    <a:lnTo>
                      <a:pt x="16" y="26"/>
                    </a:lnTo>
                    <a:lnTo>
                      <a:pt x="20" y="20"/>
                    </a:lnTo>
                    <a:lnTo>
                      <a:pt x="26" y="16"/>
                    </a:lnTo>
                    <a:lnTo>
                      <a:pt x="31" y="12"/>
                    </a:lnTo>
                    <a:lnTo>
                      <a:pt x="36" y="8"/>
                    </a:lnTo>
                    <a:lnTo>
                      <a:pt x="43" y="5"/>
                    </a:lnTo>
                    <a:lnTo>
                      <a:pt x="49" y="3"/>
                    </a:lnTo>
                    <a:lnTo>
                      <a:pt x="56" y="1"/>
                    </a:lnTo>
                    <a:lnTo>
                      <a:pt x="63" y="0"/>
                    </a:lnTo>
                    <a:lnTo>
                      <a:pt x="70" y="0"/>
                    </a:lnTo>
                    <a:lnTo>
                      <a:pt x="77" y="0"/>
                    </a:lnTo>
                    <a:lnTo>
                      <a:pt x="85" y="1"/>
                    </a:lnTo>
                    <a:lnTo>
                      <a:pt x="91" y="3"/>
                    </a:lnTo>
                    <a:lnTo>
                      <a:pt x="98" y="5"/>
                    </a:lnTo>
                    <a:lnTo>
                      <a:pt x="104" y="8"/>
                    </a:lnTo>
                    <a:lnTo>
                      <a:pt x="110" y="12"/>
                    </a:lnTo>
                    <a:lnTo>
                      <a:pt x="115" y="16"/>
                    </a:lnTo>
                    <a:lnTo>
                      <a:pt x="121" y="20"/>
                    </a:lnTo>
                    <a:lnTo>
                      <a:pt x="125" y="26"/>
                    </a:lnTo>
                    <a:lnTo>
                      <a:pt x="129" y="31"/>
                    </a:lnTo>
                    <a:lnTo>
                      <a:pt x="132" y="38"/>
                    </a:lnTo>
                    <a:lnTo>
                      <a:pt x="136" y="43"/>
                    </a:lnTo>
                    <a:lnTo>
                      <a:pt x="138" y="49"/>
                    </a:lnTo>
                    <a:lnTo>
                      <a:pt x="140" y="57"/>
                    </a:lnTo>
                    <a:lnTo>
                      <a:pt x="141" y="63"/>
                    </a:lnTo>
                    <a:lnTo>
                      <a:pt x="141" y="71"/>
                    </a:lnTo>
                    <a:lnTo>
                      <a:pt x="141" y="79"/>
                    </a:lnTo>
                    <a:lnTo>
                      <a:pt x="140" y="85"/>
                    </a:lnTo>
                    <a:lnTo>
                      <a:pt x="138" y="92"/>
                    </a:lnTo>
                    <a:lnTo>
                      <a:pt x="136" y="98"/>
                    </a:lnTo>
                    <a:lnTo>
                      <a:pt x="132" y="104"/>
                    </a:lnTo>
                    <a:lnTo>
                      <a:pt x="129" y="111"/>
                    </a:lnTo>
                    <a:lnTo>
                      <a:pt x="125" y="116"/>
                    </a:lnTo>
                    <a:lnTo>
                      <a:pt x="121" y="121"/>
                    </a:lnTo>
                    <a:lnTo>
                      <a:pt x="115" y="126"/>
                    </a:lnTo>
                    <a:lnTo>
                      <a:pt x="110" y="129"/>
                    </a:lnTo>
                    <a:lnTo>
                      <a:pt x="104" y="134"/>
                    </a:lnTo>
                    <a:lnTo>
                      <a:pt x="98" y="137"/>
                    </a:lnTo>
                    <a:lnTo>
                      <a:pt x="91" y="139"/>
                    </a:lnTo>
                    <a:lnTo>
                      <a:pt x="85" y="140"/>
                    </a:lnTo>
                    <a:lnTo>
                      <a:pt x="77" y="141"/>
                    </a:lnTo>
                    <a:lnTo>
                      <a:pt x="70" y="142"/>
                    </a:lnTo>
                    <a:close/>
                    <a:moveTo>
                      <a:pt x="70" y="27"/>
                    </a:moveTo>
                    <a:lnTo>
                      <a:pt x="70" y="27"/>
                    </a:lnTo>
                    <a:lnTo>
                      <a:pt x="61" y="28"/>
                    </a:lnTo>
                    <a:lnTo>
                      <a:pt x="52" y="30"/>
                    </a:lnTo>
                    <a:lnTo>
                      <a:pt x="46" y="34"/>
                    </a:lnTo>
                    <a:lnTo>
                      <a:pt x="40" y="40"/>
                    </a:lnTo>
                    <a:lnTo>
                      <a:pt x="34" y="46"/>
                    </a:lnTo>
                    <a:lnTo>
                      <a:pt x="30" y="54"/>
                    </a:lnTo>
                    <a:lnTo>
                      <a:pt x="27" y="62"/>
                    </a:lnTo>
                    <a:lnTo>
                      <a:pt x="27" y="71"/>
                    </a:lnTo>
                    <a:lnTo>
                      <a:pt x="27" y="80"/>
                    </a:lnTo>
                    <a:lnTo>
                      <a:pt x="30" y="88"/>
                    </a:lnTo>
                    <a:lnTo>
                      <a:pt x="34" y="96"/>
                    </a:lnTo>
                    <a:lnTo>
                      <a:pt x="40" y="102"/>
                    </a:lnTo>
                    <a:lnTo>
                      <a:pt x="46" y="108"/>
                    </a:lnTo>
                    <a:lnTo>
                      <a:pt x="52" y="111"/>
                    </a:lnTo>
                    <a:lnTo>
                      <a:pt x="61" y="114"/>
                    </a:lnTo>
                    <a:lnTo>
                      <a:pt x="70" y="115"/>
                    </a:lnTo>
                    <a:lnTo>
                      <a:pt x="79" y="114"/>
                    </a:lnTo>
                    <a:lnTo>
                      <a:pt x="87" y="111"/>
                    </a:lnTo>
                    <a:lnTo>
                      <a:pt x="95" y="108"/>
                    </a:lnTo>
                    <a:lnTo>
                      <a:pt x="101" y="102"/>
                    </a:lnTo>
                    <a:lnTo>
                      <a:pt x="106" y="96"/>
                    </a:lnTo>
                    <a:lnTo>
                      <a:pt x="111" y="88"/>
                    </a:lnTo>
                    <a:lnTo>
                      <a:pt x="113" y="80"/>
                    </a:lnTo>
                    <a:lnTo>
                      <a:pt x="114" y="71"/>
                    </a:lnTo>
                    <a:lnTo>
                      <a:pt x="113" y="62"/>
                    </a:lnTo>
                    <a:lnTo>
                      <a:pt x="111" y="54"/>
                    </a:lnTo>
                    <a:lnTo>
                      <a:pt x="106" y="46"/>
                    </a:lnTo>
                    <a:lnTo>
                      <a:pt x="101" y="40"/>
                    </a:lnTo>
                    <a:lnTo>
                      <a:pt x="95" y="34"/>
                    </a:lnTo>
                    <a:lnTo>
                      <a:pt x="87" y="30"/>
                    </a:lnTo>
                    <a:lnTo>
                      <a:pt x="79" y="28"/>
                    </a:lnTo>
                    <a:lnTo>
                      <a:pt x="7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83"/>
              <p:cNvSpPr>
                <a:spLocks noEditPoints="1"/>
              </p:cNvSpPr>
              <p:nvPr userDrawn="1"/>
            </p:nvSpPr>
            <p:spPr bwMode="auto">
              <a:xfrm>
                <a:off x="1357" y="2944"/>
                <a:ext cx="22" cy="22"/>
              </a:xfrm>
              <a:custGeom>
                <a:avLst/>
                <a:gdLst>
                  <a:gd name="T0" fmla="*/ 33 w 66"/>
                  <a:gd name="T1" fmla="*/ 66 h 66"/>
                  <a:gd name="T2" fmla="*/ 26 w 66"/>
                  <a:gd name="T3" fmla="*/ 65 h 66"/>
                  <a:gd name="T4" fmla="*/ 20 w 66"/>
                  <a:gd name="T5" fmla="*/ 64 h 66"/>
                  <a:gd name="T6" fmla="*/ 14 w 66"/>
                  <a:gd name="T7" fmla="*/ 61 h 66"/>
                  <a:gd name="T8" fmla="*/ 10 w 66"/>
                  <a:gd name="T9" fmla="*/ 56 h 66"/>
                  <a:gd name="T10" fmla="*/ 5 w 66"/>
                  <a:gd name="T11" fmla="*/ 51 h 66"/>
                  <a:gd name="T12" fmla="*/ 2 w 66"/>
                  <a:gd name="T13" fmla="*/ 45 h 66"/>
                  <a:gd name="T14" fmla="*/ 1 w 66"/>
                  <a:gd name="T15" fmla="*/ 40 h 66"/>
                  <a:gd name="T16" fmla="*/ 0 w 66"/>
                  <a:gd name="T17" fmla="*/ 33 h 66"/>
                  <a:gd name="T18" fmla="*/ 1 w 66"/>
                  <a:gd name="T19" fmla="*/ 26 h 66"/>
                  <a:gd name="T20" fmla="*/ 2 w 66"/>
                  <a:gd name="T21" fmla="*/ 20 h 66"/>
                  <a:gd name="T22" fmla="*/ 5 w 66"/>
                  <a:gd name="T23" fmla="*/ 14 h 66"/>
                  <a:gd name="T24" fmla="*/ 10 w 66"/>
                  <a:gd name="T25" fmla="*/ 10 h 66"/>
                  <a:gd name="T26" fmla="*/ 14 w 66"/>
                  <a:gd name="T27" fmla="*/ 6 h 66"/>
                  <a:gd name="T28" fmla="*/ 20 w 66"/>
                  <a:gd name="T29" fmla="*/ 2 h 66"/>
                  <a:gd name="T30" fmla="*/ 26 w 66"/>
                  <a:gd name="T31" fmla="*/ 0 h 66"/>
                  <a:gd name="T32" fmla="*/ 33 w 66"/>
                  <a:gd name="T33" fmla="*/ 0 h 66"/>
                  <a:gd name="T34" fmla="*/ 40 w 66"/>
                  <a:gd name="T35" fmla="*/ 0 h 66"/>
                  <a:gd name="T36" fmla="*/ 45 w 66"/>
                  <a:gd name="T37" fmla="*/ 2 h 66"/>
                  <a:gd name="T38" fmla="*/ 52 w 66"/>
                  <a:gd name="T39" fmla="*/ 6 h 66"/>
                  <a:gd name="T40" fmla="*/ 56 w 66"/>
                  <a:gd name="T41" fmla="*/ 10 h 66"/>
                  <a:gd name="T42" fmla="*/ 60 w 66"/>
                  <a:gd name="T43" fmla="*/ 14 h 66"/>
                  <a:gd name="T44" fmla="*/ 64 w 66"/>
                  <a:gd name="T45" fmla="*/ 20 h 66"/>
                  <a:gd name="T46" fmla="*/ 65 w 66"/>
                  <a:gd name="T47" fmla="*/ 26 h 66"/>
                  <a:gd name="T48" fmla="*/ 66 w 66"/>
                  <a:gd name="T49" fmla="*/ 33 h 66"/>
                  <a:gd name="T50" fmla="*/ 65 w 66"/>
                  <a:gd name="T51" fmla="*/ 40 h 66"/>
                  <a:gd name="T52" fmla="*/ 64 w 66"/>
                  <a:gd name="T53" fmla="*/ 45 h 66"/>
                  <a:gd name="T54" fmla="*/ 60 w 66"/>
                  <a:gd name="T55" fmla="*/ 51 h 66"/>
                  <a:gd name="T56" fmla="*/ 56 w 66"/>
                  <a:gd name="T57" fmla="*/ 56 h 66"/>
                  <a:gd name="T58" fmla="*/ 52 w 66"/>
                  <a:gd name="T59" fmla="*/ 61 h 66"/>
                  <a:gd name="T60" fmla="*/ 45 w 66"/>
                  <a:gd name="T61" fmla="*/ 64 h 66"/>
                  <a:gd name="T62" fmla="*/ 40 w 66"/>
                  <a:gd name="T63" fmla="*/ 65 h 66"/>
                  <a:gd name="T64" fmla="*/ 33 w 66"/>
                  <a:gd name="T65" fmla="*/ 66 h 66"/>
                  <a:gd name="T66" fmla="*/ 33 w 66"/>
                  <a:gd name="T67" fmla="*/ 27 h 66"/>
                  <a:gd name="T68" fmla="*/ 33 w 66"/>
                  <a:gd name="T69" fmla="*/ 27 h 66"/>
                  <a:gd name="T70" fmla="*/ 30 w 66"/>
                  <a:gd name="T71" fmla="*/ 27 h 66"/>
                  <a:gd name="T72" fmla="*/ 29 w 66"/>
                  <a:gd name="T73" fmla="*/ 28 h 66"/>
                  <a:gd name="T74" fmla="*/ 27 w 66"/>
                  <a:gd name="T75" fmla="*/ 30 h 66"/>
                  <a:gd name="T76" fmla="*/ 27 w 66"/>
                  <a:gd name="T77" fmla="*/ 33 h 66"/>
                  <a:gd name="T78" fmla="*/ 27 w 66"/>
                  <a:gd name="T79" fmla="*/ 35 h 66"/>
                  <a:gd name="T80" fmla="*/ 29 w 66"/>
                  <a:gd name="T81" fmla="*/ 37 h 66"/>
                  <a:gd name="T82" fmla="*/ 30 w 66"/>
                  <a:gd name="T83" fmla="*/ 38 h 66"/>
                  <a:gd name="T84" fmla="*/ 33 w 66"/>
                  <a:gd name="T85" fmla="*/ 38 h 66"/>
                  <a:gd name="T86" fmla="*/ 36 w 66"/>
                  <a:gd name="T87" fmla="*/ 38 h 66"/>
                  <a:gd name="T88" fmla="*/ 37 w 66"/>
                  <a:gd name="T89" fmla="*/ 37 h 66"/>
                  <a:gd name="T90" fmla="*/ 39 w 66"/>
                  <a:gd name="T91" fmla="*/ 35 h 66"/>
                  <a:gd name="T92" fmla="*/ 39 w 66"/>
                  <a:gd name="T93" fmla="*/ 33 h 66"/>
                  <a:gd name="T94" fmla="*/ 39 w 66"/>
                  <a:gd name="T95" fmla="*/ 30 h 66"/>
                  <a:gd name="T96" fmla="*/ 37 w 66"/>
                  <a:gd name="T97" fmla="*/ 28 h 66"/>
                  <a:gd name="T98" fmla="*/ 36 w 66"/>
                  <a:gd name="T99" fmla="*/ 27 h 66"/>
                  <a:gd name="T100" fmla="*/ 33 w 66"/>
                  <a:gd name="T101"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6" h="66">
                    <a:moveTo>
                      <a:pt x="33" y="66"/>
                    </a:moveTo>
                    <a:lnTo>
                      <a:pt x="26" y="65"/>
                    </a:lnTo>
                    <a:lnTo>
                      <a:pt x="20" y="64"/>
                    </a:lnTo>
                    <a:lnTo>
                      <a:pt x="14" y="61"/>
                    </a:lnTo>
                    <a:lnTo>
                      <a:pt x="10" y="56"/>
                    </a:lnTo>
                    <a:lnTo>
                      <a:pt x="5" y="51"/>
                    </a:lnTo>
                    <a:lnTo>
                      <a:pt x="2" y="45"/>
                    </a:lnTo>
                    <a:lnTo>
                      <a:pt x="1" y="40"/>
                    </a:lnTo>
                    <a:lnTo>
                      <a:pt x="0" y="33"/>
                    </a:lnTo>
                    <a:lnTo>
                      <a:pt x="1" y="26"/>
                    </a:lnTo>
                    <a:lnTo>
                      <a:pt x="2" y="20"/>
                    </a:lnTo>
                    <a:lnTo>
                      <a:pt x="5" y="14"/>
                    </a:lnTo>
                    <a:lnTo>
                      <a:pt x="10" y="10"/>
                    </a:lnTo>
                    <a:lnTo>
                      <a:pt x="14" y="6"/>
                    </a:lnTo>
                    <a:lnTo>
                      <a:pt x="20" y="2"/>
                    </a:lnTo>
                    <a:lnTo>
                      <a:pt x="26" y="0"/>
                    </a:lnTo>
                    <a:lnTo>
                      <a:pt x="33" y="0"/>
                    </a:lnTo>
                    <a:lnTo>
                      <a:pt x="40" y="0"/>
                    </a:lnTo>
                    <a:lnTo>
                      <a:pt x="45" y="2"/>
                    </a:lnTo>
                    <a:lnTo>
                      <a:pt x="52" y="6"/>
                    </a:lnTo>
                    <a:lnTo>
                      <a:pt x="56" y="10"/>
                    </a:lnTo>
                    <a:lnTo>
                      <a:pt x="60" y="14"/>
                    </a:lnTo>
                    <a:lnTo>
                      <a:pt x="64" y="20"/>
                    </a:lnTo>
                    <a:lnTo>
                      <a:pt x="65" y="26"/>
                    </a:lnTo>
                    <a:lnTo>
                      <a:pt x="66" y="33"/>
                    </a:lnTo>
                    <a:lnTo>
                      <a:pt x="65" y="40"/>
                    </a:lnTo>
                    <a:lnTo>
                      <a:pt x="64" y="45"/>
                    </a:lnTo>
                    <a:lnTo>
                      <a:pt x="60" y="51"/>
                    </a:lnTo>
                    <a:lnTo>
                      <a:pt x="56" y="56"/>
                    </a:lnTo>
                    <a:lnTo>
                      <a:pt x="52" y="61"/>
                    </a:lnTo>
                    <a:lnTo>
                      <a:pt x="45" y="64"/>
                    </a:lnTo>
                    <a:lnTo>
                      <a:pt x="40" y="65"/>
                    </a:lnTo>
                    <a:lnTo>
                      <a:pt x="33" y="66"/>
                    </a:lnTo>
                    <a:close/>
                    <a:moveTo>
                      <a:pt x="33" y="27"/>
                    </a:moveTo>
                    <a:lnTo>
                      <a:pt x="33" y="27"/>
                    </a:lnTo>
                    <a:lnTo>
                      <a:pt x="30" y="27"/>
                    </a:lnTo>
                    <a:lnTo>
                      <a:pt x="29" y="28"/>
                    </a:lnTo>
                    <a:lnTo>
                      <a:pt x="27" y="30"/>
                    </a:lnTo>
                    <a:lnTo>
                      <a:pt x="27" y="33"/>
                    </a:lnTo>
                    <a:lnTo>
                      <a:pt x="27" y="35"/>
                    </a:lnTo>
                    <a:lnTo>
                      <a:pt x="29" y="37"/>
                    </a:lnTo>
                    <a:lnTo>
                      <a:pt x="30" y="38"/>
                    </a:lnTo>
                    <a:lnTo>
                      <a:pt x="33" y="38"/>
                    </a:lnTo>
                    <a:lnTo>
                      <a:pt x="36" y="38"/>
                    </a:lnTo>
                    <a:lnTo>
                      <a:pt x="37" y="37"/>
                    </a:lnTo>
                    <a:lnTo>
                      <a:pt x="39" y="35"/>
                    </a:lnTo>
                    <a:lnTo>
                      <a:pt x="39" y="33"/>
                    </a:lnTo>
                    <a:lnTo>
                      <a:pt x="39" y="30"/>
                    </a:lnTo>
                    <a:lnTo>
                      <a:pt x="37" y="28"/>
                    </a:lnTo>
                    <a:lnTo>
                      <a:pt x="36" y="27"/>
                    </a:lnTo>
                    <a:lnTo>
                      <a:pt x="3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84"/>
              <p:cNvSpPr>
                <a:spLocks noEditPoints="1"/>
              </p:cNvSpPr>
              <p:nvPr userDrawn="1"/>
            </p:nvSpPr>
            <p:spPr bwMode="auto">
              <a:xfrm>
                <a:off x="2773" y="3488"/>
                <a:ext cx="26" cy="26"/>
              </a:xfrm>
              <a:custGeom>
                <a:avLst/>
                <a:gdLst>
                  <a:gd name="T0" fmla="*/ 38 w 77"/>
                  <a:gd name="T1" fmla="*/ 77 h 77"/>
                  <a:gd name="T2" fmla="*/ 30 w 77"/>
                  <a:gd name="T3" fmla="*/ 76 h 77"/>
                  <a:gd name="T4" fmla="*/ 24 w 77"/>
                  <a:gd name="T5" fmla="*/ 74 h 77"/>
                  <a:gd name="T6" fmla="*/ 17 w 77"/>
                  <a:gd name="T7" fmla="*/ 70 h 77"/>
                  <a:gd name="T8" fmla="*/ 11 w 77"/>
                  <a:gd name="T9" fmla="*/ 65 h 77"/>
                  <a:gd name="T10" fmla="*/ 6 w 77"/>
                  <a:gd name="T11" fmla="*/ 60 h 77"/>
                  <a:gd name="T12" fmla="*/ 3 w 77"/>
                  <a:gd name="T13" fmla="*/ 53 h 77"/>
                  <a:gd name="T14" fmla="*/ 1 w 77"/>
                  <a:gd name="T15" fmla="*/ 47 h 77"/>
                  <a:gd name="T16" fmla="*/ 0 w 77"/>
                  <a:gd name="T17" fmla="*/ 39 h 77"/>
                  <a:gd name="T18" fmla="*/ 1 w 77"/>
                  <a:gd name="T19" fmla="*/ 31 h 77"/>
                  <a:gd name="T20" fmla="*/ 3 w 77"/>
                  <a:gd name="T21" fmla="*/ 24 h 77"/>
                  <a:gd name="T22" fmla="*/ 6 w 77"/>
                  <a:gd name="T23" fmla="*/ 18 h 77"/>
                  <a:gd name="T24" fmla="*/ 11 w 77"/>
                  <a:gd name="T25" fmla="*/ 12 h 77"/>
                  <a:gd name="T26" fmla="*/ 17 w 77"/>
                  <a:gd name="T27" fmla="*/ 7 h 77"/>
                  <a:gd name="T28" fmla="*/ 24 w 77"/>
                  <a:gd name="T29" fmla="*/ 4 h 77"/>
                  <a:gd name="T30" fmla="*/ 30 w 77"/>
                  <a:gd name="T31" fmla="*/ 1 h 77"/>
                  <a:gd name="T32" fmla="*/ 38 w 77"/>
                  <a:gd name="T33" fmla="*/ 0 h 77"/>
                  <a:gd name="T34" fmla="*/ 46 w 77"/>
                  <a:gd name="T35" fmla="*/ 1 h 77"/>
                  <a:gd name="T36" fmla="*/ 53 w 77"/>
                  <a:gd name="T37" fmla="*/ 4 h 77"/>
                  <a:gd name="T38" fmla="*/ 59 w 77"/>
                  <a:gd name="T39" fmla="*/ 7 h 77"/>
                  <a:gd name="T40" fmla="*/ 65 w 77"/>
                  <a:gd name="T41" fmla="*/ 12 h 77"/>
                  <a:gd name="T42" fmla="*/ 70 w 77"/>
                  <a:gd name="T43" fmla="*/ 18 h 77"/>
                  <a:gd name="T44" fmla="*/ 73 w 77"/>
                  <a:gd name="T45" fmla="*/ 24 h 77"/>
                  <a:gd name="T46" fmla="*/ 75 w 77"/>
                  <a:gd name="T47" fmla="*/ 31 h 77"/>
                  <a:gd name="T48" fmla="*/ 77 w 77"/>
                  <a:gd name="T49" fmla="*/ 39 h 77"/>
                  <a:gd name="T50" fmla="*/ 75 w 77"/>
                  <a:gd name="T51" fmla="*/ 47 h 77"/>
                  <a:gd name="T52" fmla="*/ 73 w 77"/>
                  <a:gd name="T53" fmla="*/ 53 h 77"/>
                  <a:gd name="T54" fmla="*/ 70 w 77"/>
                  <a:gd name="T55" fmla="*/ 60 h 77"/>
                  <a:gd name="T56" fmla="*/ 65 w 77"/>
                  <a:gd name="T57" fmla="*/ 65 h 77"/>
                  <a:gd name="T58" fmla="*/ 59 w 77"/>
                  <a:gd name="T59" fmla="*/ 70 h 77"/>
                  <a:gd name="T60" fmla="*/ 53 w 77"/>
                  <a:gd name="T61" fmla="*/ 74 h 77"/>
                  <a:gd name="T62" fmla="*/ 46 w 77"/>
                  <a:gd name="T63" fmla="*/ 76 h 77"/>
                  <a:gd name="T64" fmla="*/ 38 w 77"/>
                  <a:gd name="T65" fmla="*/ 77 h 77"/>
                  <a:gd name="T66" fmla="*/ 38 w 77"/>
                  <a:gd name="T67" fmla="*/ 27 h 77"/>
                  <a:gd name="T68" fmla="*/ 38 w 77"/>
                  <a:gd name="T69" fmla="*/ 27 h 77"/>
                  <a:gd name="T70" fmla="*/ 33 w 77"/>
                  <a:gd name="T71" fmla="*/ 28 h 77"/>
                  <a:gd name="T72" fmla="*/ 30 w 77"/>
                  <a:gd name="T73" fmla="*/ 31 h 77"/>
                  <a:gd name="T74" fmla="*/ 28 w 77"/>
                  <a:gd name="T75" fmla="*/ 35 h 77"/>
                  <a:gd name="T76" fmla="*/ 27 w 77"/>
                  <a:gd name="T77" fmla="*/ 39 h 77"/>
                  <a:gd name="T78" fmla="*/ 28 w 77"/>
                  <a:gd name="T79" fmla="*/ 44 h 77"/>
                  <a:gd name="T80" fmla="*/ 30 w 77"/>
                  <a:gd name="T81" fmla="*/ 47 h 77"/>
                  <a:gd name="T82" fmla="*/ 33 w 77"/>
                  <a:gd name="T83" fmla="*/ 49 h 77"/>
                  <a:gd name="T84" fmla="*/ 38 w 77"/>
                  <a:gd name="T85" fmla="*/ 50 h 77"/>
                  <a:gd name="T86" fmla="*/ 42 w 77"/>
                  <a:gd name="T87" fmla="*/ 49 h 77"/>
                  <a:gd name="T88" fmla="*/ 46 w 77"/>
                  <a:gd name="T89" fmla="*/ 47 h 77"/>
                  <a:gd name="T90" fmla="*/ 48 w 77"/>
                  <a:gd name="T91" fmla="*/ 44 h 77"/>
                  <a:gd name="T92" fmla="*/ 50 w 77"/>
                  <a:gd name="T93" fmla="*/ 39 h 77"/>
                  <a:gd name="T94" fmla="*/ 48 w 77"/>
                  <a:gd name="T95" fmla="*/ 35 h 77"/>
                  <a:gd name="T96" fmla="*/ 46 w 77"/>
                  <a:gd name="T97" fmla="*/ 31 h 77"/>
                  <a:gd name="T98" fmla="*/ 42 w 77"/>
                  <a:gd name="T99" fmla="*/ 28 h 77"/>
                  <a:gd name="T100" fmla="*/ 38 w 77"/>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77">
                    <a:moveTo>
                      <a:pt x="38" y="77"/>
                    </a:moveTo>
                    <a:lnTo>
                      <a:pt x="30" y="76"/>
                    </a:lnTo>
                    <a:lnTo>
                      <a:pt x="24" y="74"/>
                    </a:lnTo>
                    <a:lnTo>
                      <a:pt x="17" y="70"/>
                    </a:lnTo>
                    <a:lnTo>
                      <a:pt x="11" y="65"/>
                    </a:lnTo>
                    <a:lnTo>
                      <a:pt x="6" y="60"/>
                    </a:lnTo>
                    <a:lnTo>
                      <a:pt x="3" y="53"/>
                    </a:lnTo>
                    <a:lnTo>
                      <a:pt x="1" y="47"/>
                    </a:lnTo>
                    <a:lnTo>
                      <a:pt x="0" y="39"/>
                    </a:lnTo>
                    <a:lnTo>
                      <a:pt x="1" y="31"/>
                    </a:lnTo>
                    <a:lnTo>
                      <a:pt x="3" y="24"/>
                    </a:lnTo>
                    <a:lnTo>
                      <a:pt x="6" y="18"/>
                    </a:lnTo>
                    <a:lnTo>
                      <a:pt x="11" y="12"/>
                    </a:lnTo>
                    <a:lnTo>
                      <a:pt x="17" y="7"/>
                    </a:lnTo>
                    <a:lnTo>
                      <a:pt x="24" y="4"/>
                    </a:lnTo>
                    <a:lnTo>
                      <a:pt x="30" y="1"/>
                    </a:lnTo>
                    <a:lnTo>
                      <a:pt x="38" y="0"/>
                    </a:lnTo>
                    <a:lnTo>
                      <a:pt x="46" y="1"/>
                    </a:lnTo>
                    <a:lnTo>
                      <a:pt x="53" y="4"/>
                    </a:lnTo>
                    <a:lnTo>
                      <a:pt x="59" y="7"/>
                    </a:lnTo>
                    <a:lnTo>
                      <a:pt x="65" y="12"/>
                    </a:lnTo>
                    <a:lnTo>
                      <a:pt x="70" y="18"/>
                    </a:lnTo>
                    <a:lnTo>
                      <a:pt x="73" y="24"/>
                    </a:lnTo>
                    <a:lnTo>
                      <a:pt x="75" y="31"/>
                    </a:lnTo>
                    <a:lnTo>
                      <a:pt x="77" y="39"/>
                    </a:lnTo>
                    <a:lnTo>
                      <a:pt x="75" y="47"/>
                    </a:lnTo>
                    <a:lnTo>
                      <a:pt x="73" y="53"/>
                    </a:lnTo>
                    <a:lnTo>
                      <a:pt x="70" y="60"/>
                    </a:lnTo>
                    <a:lnTo>
                      <a:pt x="65" y="65"/>
                    </a:lnTo>
                    <a:lnTo>
                      <a:pt x="59" y="70"/>
                    </a:lnTo>
                    <a:lnTo>
                      <a:pt x="53" y="74"/>
                    </a:lnTo>
                    <a:lnTo>
                      <a:pt x="46" y="76"/>
                    </a:lnTo>
                    <a:lnTo>
                      <a:pt x="38" y="77"/>
                    </a:lnTo>
                    <a:close/>
                    <a:moveTo>
                      <a:pt x="38" y="27"/>
                    </a:moveTo>
                    <a:lnTo>
                      <a:pt x="38" y="27"/>
                    </a:lnTo>
                    <a:lnTo>
                      <a:pt x="33" y="28"/>
                    </a:lnTo>
                    <a:lnTo>
                      <a:pt x="30" y="31"/>
                    </a:lnTo>
                    <a:lnTo>
                      <a:pt x="28" y="35"/>
                    </a:lnTo>
                    <a:lnTo>
                      <a:pt x="27" y="39"/>
                    </a:lnTo>
                    <a:lnTo>
                      <a:pt x="28" y="44"/>
                    </a:lnTo>
                    <a:lnTo>
                      <a:pt x="30" y="47"/>
                    </a:lnTo>
                    <a:lnTo>
                      <a:pt x="33" y="49"/>
                    </a:lnTo>
                    <a:lnTo>
                      <a:pt x="38" y="50"/>
                    </a:lnTo>
                    <a:lnTo>
                      <a:pt x="42" y="49"/>
                    </a:lnTo>
                    <a:lnTo>
                      <a:pt x="46" y="47"/>
                    </a:lnTo>
                    <a:lnTo>
                      <a:pt x="48" y="44"/>
                    </a:lnTo>
                    <a:lnTo>
                      <a:pt x="50" y="39"/>
                    </a:lnTo>
                    <a:lnTo>
                      <a:pt x="48" y="35"/>
                    </a:lnTo>
                    <a:lnTo>
                      <a:pt x="46" y="31"/>
                    </a:lnTo>
                    <a:lnTo>
                      <a:pt x="42" y="28"/>
                    </a:lnTo>
                    <a:lnTo>
                      <a:pt x="3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85"/>
              <p:cNvSpPr>
                <a:spLocks noEditPoints="1"/>
              </p:cNvSpPr>
              <p:nvPr userDrawn="1"/>
            </p:nvSpPr>
            <p:spPr bwMode="auto">
              <a:xfrm>
                <a:off x="2708" y="3402"/>
                <a:ext cx="33" cy="33"/>
              </a:xfrm>
              <a:custGeom>
                <a:avLst/>
                <a:gdLst>
                  <a:gd name="T0" fmla="*/ 40 w 101"/>
                  <a:gd name="T1" fmla="*/ 99 h 101"/>
                  <a:gd name="T2" fmla="*/ 22 w 101"/>
                  <a:gd name="T3" fmla="*/ 92 h 101"/>
                  <a:gd name="T4" fmla="*/ 9 w 101"/>
                  <a:gd name="T5" fmla="*/ 78 h 101"/>
                  <a:gd name="T6" fmla="*/ 2 w 101"/>
                  <a:gd name="T7" fmla="*/ 61 h 101"/>
                  <a:gd name="T8" fmla="*/ 2 w 101"/>
                  <a:gd name="T9" fmla="*/ 40 h 101"/>
                  <a:gd name="T10" fmla="*/ 9 w 101"/>
                  <a:gd name="T11" fmla="*/ 22 h 101"/>
                  <a:gd name="T12" fmla="*/ 22 w 101"/>
                  <a:gd name="T13" fmla="*/ 9 h 101"/>
                  <a:gd name="T14" fmla="*/ 40 w 101"/>
                  <a:gd name="T15" fmla="*/ 1 h 101"/>
                  <a:gd name="T16" fmla="*/ 61 w 101"/>
                  <a:gd name="T17" fmla="*/ 1 h 101"/>
                  <a:gd name="T18" fmla="*/ 78 w 101"/>
                  <a:gd name="T19" fmla="*/ 9 h 101"/>
                  <a:gd name="T20" fmla="*/ 92 w 101"/>
                  <a:gd name="T21" fmla="*/ 22 h 101"/>
                  <a:gd name="T22" fmla="*/ 100 w 101"/>
                  <a:gd name="T23" fmla="*/ 40 h 101"/>
                  <a:gd name="T24" fmla="*/ 100 w 101"/>
                  <a:gd name="T25" fmla="*/ 61 h 101"/>
                  <a:gd name="T26" fmla="*/ 92 w 101"/>
                  <a:gd name="T27" fmla="*/ 78 h 101"/>
                  <a:gd name="T28" fmla="*/ 78 w 101"/>
                  <a:gd name="T29" fmla="*/ 92 h 101"/>
                  <a:gd name="T30" fmla="*/ 61 w 101"/>
                  <a:gd name="T31" fmla="*/ 99 h 101"/>
                  <a:gd name="T32" fmla="*/ 50 w 101"/>
                  <a:gd name="T33" fmla="*/ 27 h 101"/>
                  <a:gd name="T34" fmla="*/ 46 w 101"/>
                  <a:gd name="T35" fmla="*/ 27 h 101"/>
                  <a:gd name="T36" fmla="*/ 37 w 101"/>
                  <a:gd name="T37" fmla="*/ 31 h 101"/>
                  <a:gd name="T38" fmla="*/ 32 w 101"/>
                  <a:gd name="T39" fmla="*/ 37 h 101"/>
                  <a:gd name="T40" fmla="*/ 27 w 101"/>
                  <a:gd name="T41" fmla="*/ 46 h 101"/>
                  <a:gd name="T42" fmla="*/ 27 w 101"/>
                  <a:gd name="T43" fmla="*/ 55 h 101"/>
                  <a:gd name="T44" fmla="*/ 32 w 101"/>
                  <a:gd name="T45" fmla="*/ 63 h 101"/>
                  <a:gd name="T46" fmla="*/ 37 w 101"/>
                  <a:gd name="T47" fmla="*/ 69 h 101"/>
                  <a:gd name="T48" fmla="*/ 46 w 101"/>
                  <a:gd name="T49" fmla="*/ 72 h 101"/>
                  <a:gd name="T50" fmla="*/ 55 w 101"/>
                  <a:gd name="T51" fmla="*/ 72 h 101"/>
                  <a:gd name="T52" fmla="*/ 63 w 101"/>
                  <a:gd name="T53" fmla="*/ 69 h 101"/>
                  <a:gd name="T54" fmla="*/ 70 w 101"/>
                  <a:gd name="T55" fmla="*/ 63 h 101"/>
                  <a:gd name="T56" fmla="*/ 73 w 101"/>
                  <a:gd name="T57" fmla="*/ 55 h 101"/>
                  <a:gd name="T58" fmla="*/ 73 w 101"/>
                  <a:gd name="T59" fmla="*/ 46 h 101"/>
                  <a:gd name="T60" fmla="*/ 70 w 101"/>
                  <a:gd name="T61" fmla="*/ 37 h 101"/>
                  <a:gd name="T62" fmla="*/ 63 w 101"/>
                  <a:gd name="T63" fmla="*/ 31 h 101"/>
                  <a:gd name="T64" fmla="*/ 55 w 101"/>
                  <a:gd name="T65" fmla="*/ 2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50" y="101"/>
                    </a:moveTo>
                    <a:lnTo>
                      <a:pt x="40" y="99"/>
                    </a:lnTo>
                    <a:lnTo>
                      <a:pt x="31" y="96"/>
                    </a:lnTo>
                    <a:lnTo>
                      <a:pt x="22" y="92"/>
                    </a:lnTo>
                    <a:lnTo>
                      <a:pt x="16" y="85"/>
                    </a:lnTo>
                    <a:lnTo>
                      <a:pt x="9" y="78"/>
                    </a:lnTo>
                    <a:lnTo>
                      <a:pt x="5" y="69"/>
                    </a:lnTo>
                    <a:lnTo>
                      <a:pt x="2" y="61"/>
                    </a:lnTo>
                    <a:lnTo>
                      <a:pt x="0" y="50"/>
                    </a:lnTo>
                    <a:lnTo>
                      <a:pt x="2" y="40"/>
                    </a:lnTo>
                    <a:lnTo>
                      <a:pt x="5" y="30"/>
                    </a:lnTo>
                    <a:lnTo>
                      <a:pt x="9" y="22"/>
                    </a:lnTo>
                    <a:lnTo>
                      <a:pt x="16" y="15"/>
                    </a:lnTo>
                    <a:lnTo>
                      <a:pt x="22" y="9"/>
                    </a:lnTo>
                    <a:lnTo>
                      <a:pt x="31" y="4"/>
                    </a:lnTo>
                    <a:lnTo>
                      <a:pt x="40" y="1"/>
                    </a:lnTo>
                    <a:lnTo>
                      <a:pt x="50" y="0"/>
                    </a:lnTo>
                    <a:lnTo>
                      <a:pt x="61" y="1"/>
                    </a:lnTo>
                    <a:lnTo>
                      <a:pt x="71" y="4"/>
                    </a:lnTo>
                    <a:lnTo>
                      <a:pt x="78" y="9"/>
                    </a:lnTo>
                    <a:lnTo>
                      <a:pt x="86" y="15"/>
                    </a:lnTo>
                    <a:lnTo>
                      <a:pt x="92" y="22"/>
                    </a:lnTo>
                    <a:lnTo>
                      <a:pt x="97" y="30"/>
                    </a:lnTo>
                    <a:lnTo>
                      <a:pt x="100" y="40"/>
                    </a:lnTo>
                    <a:lnTo>
                      <a:pt x="101" y="50"/>
                    </a:lnTo>
                    <a:lnTo>
                      <a:pt x="100" y="61"/>
                    </a:lnTo>
                    <a:lnTo>
                      <a:pt x="97" y="69"/>
                    </a:lnTo>
                    <a:lnTo>
                      <a:pt x="92" y="78"/>
                    </a:lnTo>
                    <a:lnTo>
                      <a:pt x="86" y="85"/>
                    </a:lnTo>
                    <a:lnTo>
                      <a:pt x="78" y="92"/>
                    </a:lnTo>
                    <a:lnTo>
                      <a:pt x="71" y="96"/>
                    </a:lnTo>
                    <a:lnTo>
                      <a:pt x="61" y="99"/>
                    </a:lnTo>
                    <a:lnTo>
                      <a:pt x="50" y="101"/>
                    </a:lnTo>
                    <a:close/>
                    <a:moveTo>
                      <a:pt x="50" y="27"/>
                    </a:moveTo>
                    <a:lnTo>
                      <a:pt x="50" y="27"/>
                    </a:lnTo>
                    <a:lnTo>
                      <a:pt x="46" y="27"/>
                    </a:lnTo>
                    <a:lnTo>
                      <a:pt x="41" y="29"/>
                    </a:lnTo>
                    <a:lnTo>
                      <a:pt x="37" y="31"/>
                    </a:lnTo>
                    <a:lnTo>
                      <a:pt x="34" y="34"/>
                    </a:lnTo>
                    <a:lnTo>
                      <a:pt x="32" y="37"/>
                    </a:lnTo>
                    <a:lnTo>
                      <a:pt x="30" y="41"/>
                    </a:lnTo>
                    <a:lnTo>
                      <a:pt x="27" y="46"/>
                    </a:lnTo>
                    <a:lnTo>
                      <a:pt x="27" y="50"/>
                    </a:lnTo>
                    <a:lnTo>
                      <a:pt x="27" y="55"/>
                    </a:lnTo>
                    <a:lnTo>
                      <a:pt x="30" y="60"/>
                    </a:lnTo>
                    <a:lnTo>
                      <a:pt x="32" y="63"/>
                    </a:lnTo>
                    <a:lnTo>
                      <a:pt x="34" y="67"/>
                    </a:lnTo>
                    <a:lnTo>
                      <a:pt x="37" y="69"/>
                    </a:lnTo>
                    <a:lnTo>
                      <a:pt x="41" y="71"/>
                    </a:lnTo>
                    <a:lnTo>
                      <a:pt x="46" y="72"/>
                    </a:lnTo>
                    <a:lnTo>
                      <a:pt x="50" y="74"/>
                    </a:lnTo>
                    <a:lnTo>
                      <a:pt x="55" y="72"/>
                    </a:lnTo>
                    <a:lnTo>
                      <a:pt x="60" y="71"/>
                    </a:lnTo>
                    <a:lnTo>
                      <a:pt x="63" y="69"/>
                    </a:lnTo>
                    <a:lnTo>
                      <a:pt x="67" y="67"/>
                    </a:lnTo>
                    <a:lnTo>
                      <a:pt x="70" y="63"/>
                    </a:lnTo>
                    <a:lnTo>
                      <a:pt x="72" y="60"/>
                    </a:lnTo>
                    <a:lnTo>
                      <a:pt x="73" y="55"/>
                    </a:lnTo>
                    <a:lnTo>
                      <a:pt x="74" y="50"/>
                    </a:lnTo>
                    <a:lnTo>
                      <a:pt x="73" y="46"/>
                    </a:lnTo>
                    <a:lnTo>
                      <a:pt x="72" y="41"/>
                    </a:lnTo>
                    <a:lnTo>
                      <a:pt x="70" y="37"/>
                    </a:lnTo>
                    <a:lnTo>
                      <a:pt x="67" y="34"/>
                    </a:lnTo>
                    <a:lnTo>
                      <a:pt x="63" y="31"/>
                    </a:lnTo>
                    <a:lnTo>
                      <a:pt x="60" y="29"/>
                    </a:lnTo>
                    <a:lnTo>
                      <a:pt x="55"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86"/>
              <p:cNvSpPr>
                <a:spLocks noEditPoints="1"/>
              </p:cNvSpPr>
              <p:nvPr userDrawn="1"/>
            </p:nvSpPr>
            <p:spPr bwMode="auto">
              <a:xfrm>
                <a:off x="2657" y="3341"/>
                <a:ext cx="34" cy="34"/>
              </a:xfrm>
              <a:custGeom>
                <a:avLst/>
                <a:gdLst>
                  <a:gd name="T0" fmla="*/ 40 w 101"/>
                  <a:gd name="T1" fmla="*/ 99 h 100"/>
                  <a:gd name="T2" fmla="*/ 22 w 101"/>
                  <a:gd name="T3" fmla="*/ 92 h 100"/>
                  <a:gd name="T4" fmla="*/ 9 w 101"/>
                  <a:gd name="T5" fmla="*/ 79 h 100"/>
                  <a:gd name="T6" fmla="*/ 1 w 101"/>
                  <a:gd name="T7" fmla="*/ 60 h 100"/>
                  <a:gd name="T8" fmla="*/ 1 w 101"/>
                  <a:gd name="T9" fmla="*/ 40 h 100"/>
                  <a:gd name="T10" fmla="*/ 9 w 101"/>
                  <a:gd name="T11" fmla="*/ 22 h 100"/>
                  <a:gd name="T12" fmla="*/ 22 w 101"/>
                  <a:gd name="T13" fmla="*/ 8 h 100"/>
                  <a:gd name="T14" fmla="*/ 40 w 101"/>
                  <a:gd name="T15" fmla="*/ 1 h 100"/>
                  <a:gd name="T16" fmla="*/ 61 w 101"/>
                  <a:gd name="T17" fmla="*/ 1 h 100"/>
                  <a:gd name="T18" fmla="*/ 78 w 101"/>
                  <a:gd name="T19" fmla="*/ 8 h 100"/>
                  <a:gd name="T20" fmla="*/ 92 w 101"/>
                  <a:gd name="T21" fmla="*/ 22 h 100"/>
                  <a:gd name="T22" fmla="*/ 100 w 101"/>
                  <a:gd name="T23" fmla="*/ 40 h 100"/>
                  <a:gd name="T24" fmla="*/ 100 w 101"/>
                  <a:gd name="T25" fmla="*/ 60 h 100"/>
                  <a:gd name="T26" fmla="*/ 92 w 101"/>
                  <a:gd name="T27" fmla="*/ 79 h 100"/>
                  <a:gd name="T28" fmla="*/ 78 w 101"/>
                  <a:gd name="T29" fmla="*/ 92 h 100"/>
                  <a:gd name="T30" fmla="*/ 61 w 101"/>
                  <a:gd name="T31" fmla="*/ 99 h 100"/>
                  <a:gd name="T32" fmla="*/ 50 w 101"/>
                  <a:gd name="T33" fmla="*/ 27 h 100"/>
                  <a:gd name="T34" fmla="*/ 46 w 101"/>
                  <a:gd name="T35" fmla="*/ 28 h 100"/>
                  <a:gd name="T36" fmla="*/ 37 w 101"/>
                  <a:gd name="T37" fmla="*/ 31 h 100"/>
                  <a:gd name="T38" fmla="*/ 32 w 101"/>
                  <a:gd name="T39" fmla="*/ 38 h 100"/>
                  <a:gd name="T40" fmla="*/ 27 w 101"/>
                  <a:gd name="T41" fmla="*/ 45 h 100"/>
                  <a:gd name="T42" fmla="*/ 27 w 101"/>
                  <a:gd name="T43" fmla="*/ 55 h 100"/>
                  <a:gd name="T44" fmla="*/ 32 w 101"/>
                  <a:gd name="T45" fmla="*/ 64 h 100"/>
                  <a:gd name="T46" fmla="*/ 37 w 101"/>
                  <a:gd name="T47" fmla="*/ 70 h 100"/>
                  <a:gd name="T48" fmla="*/ 46 w 101"/>
                  <a:gd name="T49" fmla="*/ 73 h 100"/>
                  <a:gd name="T50" fmla="*/ 55 w 101"/>
                  <a:gd name="T51" fmla="*/ 73 h 100"/>
                  <a:gd name="T52" fmla="*/ 63 w 101"/>
                  <a:gd name="T53" fmla="*/ 70 h 100"/>
                  <a:gd name="T54" fmla="*/ 69 w 101"/>
                  <a:gd name="T55" fmla="*/ 64 h 100"/>
                  <a:gd name="T56" fmla="*/ 73 w 101"/>
                  <a:gd name="T57" fmla="*/ 55 h 100"/>
                  <a:gd name="T58" fmla="*/ 73 w 101"/>
                  <a:gd name="T59" fmla="*/ 45 h 100"/>
                  <a:gd name="T60" fmla="*/ 69 w 101"/>
                  <a:gd name="T61" fmla="*/ 38 h 100"/>
                  <a:gd name="T62" fmla="*/ 63 w 101"/>
                  <a:gd name="T63" fmla="*/ 31 h 100"/>
                  <a:gd name="T64" fmla="*/ 55 w 101"/>
                  <a:gd name="T65" fmla="*/ 2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50" y="100"/>
                    </a:moveTo>
                    <a:lnTo>
                      <a:pt x="40" y="99"/>
                    </a:lnTo>
                    <a:lnTo>
                      <a:pt x="30" y="97"/>
                    </a:lnTo>
                    <a:lnTo>
                      <a:pt x="22" y="92"/>
                    </a:lnTo>
                    <a:lnTo>
                      <a:pt x="14" y="86"/>
                    </a:lnTo>
                    <a:lnTo>
                      <a:pt x="9" y="79"/>
                    </a:lnTo>
                    <a:lnTo>
                      <a:pt x="3" y="70"/>
                    </a:lnTo>
                    <a:lnTo>
                      <a:pt x="1" y="60"/>
                    </a:lnTo>
                    <a:lnTo>
                      <a:pt x="0" y="51"/>
                    </a:lnTo>
                    <a:lnTo>
                      <a:pt x="1" y="40"/>
                    </a:lnTo>
                    <a:lnTo>
                      <a:pt x="3" y="31"/>
                    </a:lnTo>
                    <a:lnTo>
                      <a:pt x="9" y="22"/>
                    </a:lnTo>
                    <a:lnTo>
                      <a:pt x="14" y="15"/>
                    </a:lnTo>
                    <a:lnTo>
                      <a:pt x="22" y="8"/>
                    </a:lnTo>
                    <a:lnTo>
                      <a:pt x="30" y="4"/>
                    </a:lnTo>
                    <a:lnTo>
                      <a:pt x="40" y="1"/>
                    </a:lnTo>
                    <a:lnTo>
                      <a:pt x="50" y="0"/>
                    </a:lnTo>
                    <a:lnTo>
                      <a:pt x="61" y="1"/>
                    </a:lnTo>
                    <a:lnTo>
                      <a:pt x="69" y="4"/>
                    </a:lnTo>
                    <a:lnTo>
                      <a:pt x="78" y="8"/>
                    </a:lnTo>
                    <a:lnTo>
                      <a:pt x="86" y="15"/>
                    </a:lnTo>
                    <a:lnTo>
                      <a:pt x="92" y="22"/>
                    </a:lnTo>
                    <a:lnTo>
                      <a:pt x="96" y="31"/>
                    </a:lnTo>
                    <a:lnTo>
                      <a:pt x="100" y="40"/>
                    </a:lnTo>
                    <a:lnTo>
                      <a:pt x="101" y="51"/>
                    </a:lnTo>
                    <a:lnTo>
                      <a:pt x="100" y="60"/>
                    </a:lnTo>
                    <a:lnTo>
                      <a:pt x="96" y="70"/>
                    </a:lnTo>
                    <a:lnTo>
                      <a:pt x="92" y="79"/>
                    </a:lnTo>
                    <a:lnTo>
                      <a:pt x="86" y="86"/>
                    </a:lnTo>
                    <a:lnTo>
                      <a:pt x="78" y="92"/>
                    </a:lnTo>
                    <a:lnTo>
                      <a:pt x="69" y="97"/>
                    </a:lnTo>
                    <a:lnTo>
                      <a:pt x="61" y="99"/>
                    </a:lnTo>
                    <a:lnTo>
                      <a:pt x="50" y="100"/>
                    </a:lnTo>
                    <a:close/>
                    <a:moveTo>
                      <a:pt x="50" y="27"/>
                    </a:moveTo>
                    <a:lnTo>
                      <a:pt x="50" y="27"/>
                    </a:lnTo>
                    <a:lnTo>
                      <a:pt x="46" y="28"/>
                    </a:lnTo>
                    <a:lnTo>
                      <a:pt x="41" y="29"/>
                    </a:lnTo>
                    <a:lnTo>
                      <a:pt x="37" y="31"/>
                    </a:lnTo>
                    <a:lnTo>
                      <a:pt x="34" y="34"/>
                    </a:lnTo>
                    <a:lnTo>
                      <a:pt x="32" y="38"/>
                    </a:lnTo>
                    <a:lnTo>
                      <a:pt x="29" y="41"/>
                    </a:lnTo>
                    <a:lnTo>
                      <a:pt x="27" y="45"/>
                    </a:lnTo>
                    <a:lnTo>
                      <a:pt x="27" y="51"/>
                    </a:lnTo>
                    <a:lnTo>
                      <a:pt x="27" y="55"/>
                    </a:lnTo>
                    <a:lnTo>
                      <a:pt x="29" y="59"/>
                    </a:lnTo>
                    <a:lnTo>
                      <a:pt x="32" y="64"/>
                    </a:lnTo>
                    <a:lnTo>
                      <a:pt x="34" y="67"/>
                    </a:lnTo>
                    <a:lnTo>
                      <a:pt x="37" y="70"/>
                    </a:lnTo>
                    <a:lnTo>
                      <a:pt x="41" y="72"/>
                    </a:lnTo>
                    <a:lnTo>
                      <a:pt x="46" y="73"/>
                    </a:lnTo>
                    <a:lnTo>
                      <a:pt x="50" y="73"/>
                    </a:lnTo>
                    <a:lnTo>
                      <a:pt x="55" y="73"/>
                    </a:lnTo>
                    <a:lnTo>
                      <a:pt x="60" y="72"/>
                    </a:lnTo>
                    <a:lnTo>
                      <a:pt x="63" y="70"/>
                    </a:lnTo>
                    <a:lnTo>
                      <a:pt x="66" y="67"/>
                    </a:lnTo>
                    <a:lnTo>
                      <a:pt x="69" y="64"/>
                    </a:lnTo>
                    <a:lnTo>
                      <a:pt x="72" y="59"/>
                    </a:lnTo>
                    <a:lnTo>
                      <a:pt x="73" y="55"/>
                    </a:lnTo>
                    <a:lnTo>
                      <a:pt x="74" y="51"/>
                    </a:lnTo>
                    <a:lnTo>
                      <a:pt x="73" y="45"/>
                    </a:lnTo>
                    <a:lnTo>
                      <a:pt x="72" y="41"/>
                    </a:lnTo>
                    <a:lnTo>
                      <a:pt x="69" y="38"/>
                    </a:lnTo>
                    <a:lnTo>
                      <a:pt x="66" y="34"/>
                    </a:lnTo>
                    <a:lnTo>
                      <a:pt x="63" y="31"/>
                    </a:lnTo>
                    <a:lnTo>
                      <a:pt x="60" y="29"/>
                    </a:lnTo>
                    <a:lnTo>
                      <a:pt x="55" y="28"/>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87"/>
              <p:cNvSpPr>
                <a:spLocks noEditPoints="1"/>
              </p:cNvSpPr>
              <p:nvPr userDrawn="1"/>
            </p:nvSpPr>
            <p:spPr bwMode="auto">
              <a:xfrm>
                <a:off x="2958" y="3891"/>
                <a:ext cx="49" cy="50"/>
              </a:xfrm>
              <a:custGeom>
                <a:avLst/>
                <a:gdLst>
                  <a:gd name="T0" fmla="*/ 67 w 148"/>
                  <a:gd name="T1" fmla="*/ 148 h 148"/>
                  <a:gd name="T2" fmla="*/ 52 w 148"/>
                  <a:gd name="T3" fmla="*/ 145 h 148"/>
                  <a:gd name="T4" fmla="*/ 39 w 148"/>
                  <a:gd name="T5" fmla="*/ 140 h 148"/>
                  <a:gd name="T6" fmla="*/ 27 w 148"/>
                  <a:gd name="T7" fmla="*/ 132 h 148"/>
                  <a:gd name="T8" fmla="*/ 17 w 148"/>
                  <a:gd name="T9" fmla="*/ 121 h 148"/>
                  <a:gd name="T10" fmla="*/ 8 w 148"/>
                  <a:gd name="T11" fmla="*/ 109 h 148"/>
                  <a:gd name="T12" fmla="*/ 3 w 148"/>
                  <a:gd name="T13" fmla="*/ 96 h 148"/>
                  <a:gd name="T14" fmla="*/ 0 w 148"/>
                  <a:gd name="T15" fmla="*/ 82 h 148"/>
                  <a:gd name="T16" fmla="*/ 0 w 148"/>
                  <a:gd name="T17" fmla="*/ 67 h 148"/>
                  <a:gd name="T18" fmla="*/ 3 w 148"/>
                  <a:gd name="T19" fmla="*/ 52 h 148"/>
                  <a:gd name="T20" fmla="*/ 8 w 148"/>
                  <a:gd name="T21" fmla="*/ 39 h 148"/>
                  <a:gd name="T22" fmla="*/ 17 w 148"/>
                  <a:gd name="T23" fmla="*/ 27 h 148"/>
                  <a:gd name="T24" fmla="*/ 27 w 148"/>
                  <a:gd name="T25" fmla="*/ 18 h 148"/>
                  <a:gd name="T26" fmla="*/ 39 w 148"/>
                  <a:gd name="T27" fmla="*/ 9 h 148"/>
                  <a:gd name="T28" fmla="*/ 52 w 148"/>
                  <a:gd name="T29" fmla="*/ 4 h 148"/>
                  <a:gd name="T30" fmla="*/ 67 w 148"/>
                  <a:gd name="T31" fmla="*/ 0 h 148"/>
                  <a:gd name="T32" fmla="*/ 82 w 148"/>
                  <a:gd name="T33" fmla="*/ 0 h 148"/>
                  <a:gd name="T34" fmla="*/ 96 w 148"/>
                  <a:gd name="T35" fmla="*/ 4 h 148"/>
                  <a:gd name="T36" fmla="*/ 109 w 148"/>
                  <a:gd name="T37" fmla="*/ 9 h 148"/>
                  <a:gd name="T38" fmla="*/ 121 w 148"/>
                  <a:gd name="T39" fmla="*/ 18 h 148"/>
                  <a:gd name="T40" fmla="*/ 132 w 148"/>
                  <a:gd name="T41" fmla="*/ 27 h 148"/>
                  <a:gd name="T42" fmla="*/ 139 w 148"/>
                  <a:gd name="T43" fmla="*/ 39 h 148"/>
                  <a:gd name="T44" fmla="*/ 145 w 148"/>
                  <a:gd name="T45" fmla="*/ 52 h 148"/>
                  <a:gd name="T46" fmla="*/ 148 w 148"/>
                  <a:gd name="T47" fmla="*/ 67 h 148"/>
                  <a:gd name="T48" fmla="*/ 148 w 148"/>
                  <a:gd name="T49" fmla="*/ 82 h 148"/>
                  <a:gd name="T50" fmla="*/ 145 w 148"/>
                  <a:gd name="T51" fmla="*/ 96 h 148"/>
                  <a:gd name="T52" fmla="*/ 139 w 148"/>
                  <a:gd name="T53" fmla="*/ 109 h 148"/>
                  <a:gd name="T54" fmla="*/ 132 w 148"/>
                  <a:gd name="T55" fmla="*/ 121 h 148"/>
                  <a:gd name="T56" fmla="*/ 121 w 148"/>
                  <a:gd name="T57" fmla="*/ 132 h 148"/>
                  <a:gd name="T58" fmla="*/ 109 w 148"/>
                  <a:gd name="T59" fmla="*/ 140 h 148"/>
                  <a:gd name="T60" fmla="*/ 96 w 148"/>
                  <a:gd name="T61" fmla="*/ 145 h 148"/>
                  <a:gd name="T62" fmla="*/ 82 w 148"/>
                  <a:gd name="T63" fmla="*/ 148 h 148"/>
                  <a:gd name="T64" fmla="*/ 74 w 148"/>
                  <a:gd name="T65" fmla="*/ 27 h 148"/>
                  <a:gd name="T66" fmla="*/ 65 w 148"/>
                  <a:gd name="T67" fmla="*/ 28 h 148"/>
                  <a:gd name="T68" fmla="*/ 47 w 148"/>
                  <a:gd name="T69" fmla="*/ 35 h 148"/>
                  <a:gd name="T70" fmla="*/ 34 w 148"/>
                  <a:gd name="T71" fmla="*/ 48 h 148"/>
                  <a:gd name="T72" fmla="*/ 28 w 148"/>
                  <a:gd name="T73" fmla="*/ 65 h 148"/>
                  <a:gd name="T74" fmla="*/ 28 w 148"/>
                  <a:gd name="T75" fmla="*/ 83 h 148"/>
                  <a:gd name="T76" fmla="*/ 34 w 148"/>
                  <a:gd name="T77" fmla="*/ 101 h 148"/>
                  <a:gd name="T78" fmla="*/ 47 w 148"/>
                  <a:gd name="T79" fmla="*/ 114 h 148"/>
                  <a:gd name="T80" fmla="*/ 65 w 148"/>
                  <a:gd name="T81" fmla="*/ 121 h 148"/>
                  <a:gd name="T82" fmla="*/ 83 w 148"/>
                  <a:gd name="T83" fmla="*/ 121 h 148"/>
                  <a:gd name="T84" fmla="*/ 100 w 148"/>
                  <a:gd name="T85" fmla="*/ 114 h 148"/>
                  <a:gd name="T86" fmla="*/ 113 w 148"/>
                  <a:gd name="T87" fmla="*/ 101 h 148"/>
                  <a:gd name="T88" fmla="*/ 121 w 148"/>
                  <a:gd name="T89" fmla="*/ 83 h 148"/>
                  <a:gd name="T90" fmla="*/ 121 w 148"/>
                  <a:gd name="T91" fmla="*/ 65 h 148"/>
                  <a:gd name="T92" fmla="*/ 113 w 148"/>
                  <a:gd name="T93" fmla="*/ 48 h 148"/>
                  <a:gd name="T94" fmla="*/ 100 w 148"/>
                  <a:gd name="T95" fmla="*/ 35 h 148"/>
                  <a:gd name="T96" fmla="*/ 83 w 148"/>
                  <a:gd name="T97" fmla="*/ 2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48">
                    <a:moveTo>
                      <a:pt x="74" y="148"/>
                    </a:moveTo>
                    <a:lnTo>
                      <a:pt x="67" y="148"/>
                    </a:lnTo>
                    <a:lnTo>
                      <a:pt x="59" y="147"/>
                    </a:lnTo>
                    <a:lnTo>
                      <a:pt x="52" y="145"/>
                    </a:lnTo>
                    <a:lnTo>
                      <a:pt x="45" y="143"/>
                    </a:lnTo>
                    <a:lnTo>
                      <a:pt x="39" y="140"/>
                    </a:lnTo>
                    <a:lnTo>
                      <a:pt x="32" y="136"/>
                    </a:lnTo>
                    <a:lnTo>
                      <a:pt x="27" y="132"/>
                    </a:lnTo>
                    <a:lnTo>
                      <a:pt x="21" y="127"/>
                    </a:lnTo>
                    <a:lnTo>
                      <a:pt x="17" y="121"/>
                    </a:lnTo>
                    <a:lnTo>
                      <a:pt x="13" y="116"/>
                    </a:lnTo>
                    <a:lnTo>
                      <a:pt x="8" y="109"/>
                    </a:lnTo>
                    <a:lnTo>
                      <a:pt x="5" y="103"/>
                    </a:lnTo>
                    <a:lnTo>
                      <a:pt x="3" y="96"/>
                    </a:lnTo>
                    <a:lnTo>
                      <a:pt x="1" y="89"/>
                    </a:lnTo>
                    <a:lnTo>
                      <a:pt x="0" y="82"/>
                    </a:lnTo>
                    <a:lnTo>
                      <a:pt x="0" y="75"/>
                    </a:lnTo>
                    <a:lnTo>
                      <a:pt x="0" y="67"/>
                    </a:lnTo>
                    <a:lnTo>
                      <a:pt x="1" y="60"/>
                    </a:lnTo>
                    <a:lnTo>
                      <a:pt x="3" y="52"/>
                    </a:lnTo>
                    <a:lnTo>
                      <a:pt x="5" y="46"/>
                    </a:lnTo>
                    <a:lnTo>
                      <a:pt x="8" y="39"/>
                    </a:lnTo>
                    <a:lnTo>
                      <a:pt x="13" y="33"/>
                    </a:lnTo>
                    <a:lnTo>
                      <a:pt x="17" y="27"/>
                    </a:lnTo>
                    <a:lnTo>
                      <a:pt x="21" y="22"/>
                    </a:lnTo>
                    <a:lnTo>
                      <a:pt x="27" y="18"/>
                    </a:lnTo>
                    <a:lnTo>
                      <a:pt x="32" y="13"/>
                    </a:lnTo>
                    <a:lnTo>
                      <a:pt x="39" y="9"/>
                    </a:lnTo>
                    <a:lnTo>
                      <a:pt x="45" y="6"/>
                    </a:lnTo>
                    <a:lnTo>
                      <a:pt x="52" y="4"/>
                    </a:lnTo>
                    <a:lnTo>
                      <a:pt x="59" y="1"/>
                    </a:lnTo>
                    <a:lnTo>
                      <a:pt x="67" y="0"/>
                    </a:lnTo>
                    <a:lnTo>
                      <a:pt x="74" y="0"/>
                    </a:lnTo>
                    <a:lnTo>
                      <a:pt x="82" y="0"/>
                    </a:lnTo>
                    <a:lnTo>
                      <a:pt x="88" y="1"/>
                    </a:lnTo>
                    <a:lnTo>
                      <a:pt x="96" y="4"/>
                    </a:lnTo>
                    <a:lnTo>
                      <a:pt x="102" y="6"/>
                    </a:lnTo>
                    <a:lnTo>
                      <a:pt x="109" y="9"/>
                    </a:lnTo>
                    <a:lnTo>
                      <a:pt x="115" y="13"/>
                    </a:lnTo>
                    <a:lnTo>
                      <a:pt x="121" y="18"/>
                    </a:lnTo>
                    <a:lnTo>
                      <a:pt x="126" y="22"/>
                    </a:lnTo>
                    <a:lnTo>
                      <a:pt x="132" y="27"/>
                    </a:lnTo>
                    <a:lnTo>
                      <a:pt x="136" y="33"/>
                    </a:lnTo>
                    <a:lnTo>
                      <a:pt x="139" y="39"/>
                    </a:lnTo>
                    <a:lnTo>
                      <a:pt x="142" y="46"/>
                    </a:lnTo>
                    <a:lnTo>
                      <a:pt x="145" y="52"/>
                    </a:lnTo>
                    <a:lnTo>
                      <a:pt x="147" y="60"/>
                    </a:lnTo>
                    <a:lnTo>
                      <a:pt x="148" y="67"/>
                    </a:lnTo>
                    <a:lnTo>
                      <a:pt x="148" y="75"/>
                    </a:lnTo>
                    <a:lnTo>
                      <a:pt x="148" y="82"/>
                    </a:lnTo>
                    <a:lnTo>
                      <a:pt x="147" y="89"/>
                    </a:lnTo>
                    <a:lnTo>
                      <a:pt x="145" y="96"/>
                    </a:lnTo>
                    <a:lnTo>
                      <a:pt x="142" y="103"/>
                    </a:lnTo>
                    <a:lnTo>
                      <a:pt x="139" y="109"/>
                    </a:lnTo>
                    <a:lnTo>
                      <a:pt x="136" y="116"/>
                    </a:lnTo>
                    <a:lnTo>
                      <a:pt x="132" y="121"/>
                    </a:lnTo>
                    <a:lnTo>
                      <a:pt x="126" y="127"/>
                    </a:lnTo>
                    <a:lnTo>
                      <a:pt x="121" y="132"/>
                    </a:lnTo>
                    <a:lnTo>
                      <a:pt x="115" y="136"/>
                    </a:lnTo>
                    <a:lnTo>
                      <a:pt x="109" y="140"/>
                    </a:lnTo>
                    <a:lnTo>
                      <a:pt x="102" y="143"/>
                    </a:lnTo>
                    <a:lnTo>
                      <a:pt x="96" y="145"/>
                    </a:lnTo>
                    <a:lnTo>
                      <a:pt x="88" y="147"/>
                    </a:lnTo>
                    <a:lnTo>
                      <a:pt x="82" y="148"/>
                    </a:lnTo>
                    <a:lnTo>
                      <a:pt x="74" y="148"/>
                    </a:lnTo>
                    <a:close/>
                    <a:moveTo>
                      <a:pt x="74" y="27"/>
                    </a:moveTo>
                    <a:lnTo>
                      <a:pt x="74" y="27"/>
                    </a:lnTo>
                    <a:lnTo>
                      <a:pt x="65" y="28"/>
                    </a:lnTo>
                    <a:lnTo>
                      <a:pt x="56" y="31"/>
                    </a:lnTo>
                    <a:lnTo>
                      <a:pt x="47" y="35"/>
                    </a:lnTo>
                    <a:lnTo>
                      <a:pt x="41" y="41"/>
                    </a:lnTo>
                    <a:lnTo>
                      <a:pt x="34" y="48"/>
                    </a:lnTo>
                    <a:lnTo>
                      <a:pt x="30" y="56"/>
                    </a:lnTo>
                    <a:lnTo>
                      <a:pt x="28" y="65"/>
                    </a:lnTo>
                    <a:lnTo>
                      <a:pt x="27" y="75"/>
                    </a:lnTo>
                    <a:lnTo>
                      <a:pt x="28" y="83"/>
                    </a:lnTo>
                    <a:lnTo>
                      <a:pt x="30" y="93"/>
                    </a:lnTo>
                    <a:lnTo>
                      <a:pt x="34" y="101"/>
                    </a:lnTo>
                    <a:lnTo>
                      <a:pt x="41" y="108"/>
                    </a:lnTo>
                    <a:lnTo>
                      <a:pt x="47" y="114"/>
                    </a:lnTo>
                    <a:lnTo>
                      <a:pt x="56" y="118"/>
                    </a:lnTo>
                    <a:lnTo>
                      <a:pt x="65" y="121"/>
                    </a:lnTo>
                    <a:lnTo>
                      <a:pt x="74" y="121"/>
                    </a:lnTo>
                    <a:lnTo>
                      <a:pt x="83" y="121"/>
                    </a:lnTo>
                    <a:lnTo>
                      <a:pt x="93" y="118"/>
                    </a:lnTo>
                    <a:lnTo>
                      <a:pt x="100" y="114"/>
                    </a:lnTo>
                    <a:lnTo>
                      <a:pt x="108" y="108"/>
                    </a:lnTo>
                    <a:lnTo>
                      <a:pt x="113" y="101"/>
                    </a:lnTo>
                    <a:lnTo>
                      <a:pt x="118" y="93"/>
                    </a:lnTo>
                    <a:lnTo>
                      <a:pt x="121" y="83"/>
                    </a:lnTo>
                    <a:lnTo>
                      <a:pt x="121" y="75"/>
                    </a:lnTo>
                    <a:lnTo>
                      <a:pt x="121" y="65"/>
                    </a:lnTo>
                    <a:lnTo>
                      <a:pt x="118" y="56"/>
                    </a:lnTo>
                    <a:lnTo>
                      <a:pt x="113" y="48"/>
                    </a:lnTo>
                    <a:lnTo>
                      <a:pt x="108" y="41"/>
                    </a:lnTo>
                    <a:lnTo>
                      <a:pt x="100" y="35"/>
                    </a:lnTo>
                    <a:lnTo>
                      <a:pt x="93" y="31"/>
                    </a:lnTo>
                    <a:lnTo>
                      <a:pt x="83" y="28"/>
                    </a:lnTo>
                    <a:lnTo>
                      <a:pt x="7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88"/>
              <p:cNvSpPr>
                <a:spLocks noEditPoints="1"/>
              </p:cNvSpPr>
              <p:nvPr userDrawn="1"/>
            </p:nvSpPr>
            <p:spPr bwMode="auto">
              <a:xfrm>
                <a:off x="2310" y="1956"/>
                <a:ext cx="42" cy="41"/>
              </a:xfrm>
              <a:custGeom>
                <a:avLst/>
                <a:gdLst>
                  <a:gd name="T0" fmla="*/ 56 w 124"/>
                  <a:gd name="T1" fmla="*/ 123 h 123"/>
                  <a:gd name="T2" fmla="*/ 45 w 124"/>
                  <a:gd name="T3" fmla="*/ 121 h 123"/>
                  <a:gd name="T4" fmla="*/ 33 w 124"/>
                  <a:gd name="T5" fmla="*/ 115 h 123"/>
                  <a:gd name="T6" fmla="*/ 23 w 124"/>
                  <a:gd name="T7" fmla="*/ 109 h 123"/>
                  <a:gd name="T8" fmla="*/ 14 w 124"/>
                  <a:gd name="T9" fmla="*/ 100 h 123"/>
                  <a:gd name="T10" fmla="*/ 8 w 124"/>
                  <a:gd name="T11" fmla="*/ 91 h 123"/>
                  <a:gd name="T12" fmla="*/ 4 w 124"/>
                  <a:gd name="T13" fmla="*/ 80 h 123"/>
                  <a:gd name="T14" fmla="*/ 1 w 124"/>
                  <a:gd name="T15" fmla="*/ 68 h 123"/>
                  <a:gd name="T16" fmla="*/ 1 w 124"/>
                  <a:gd name="T17" fmla="*/ 55 h 123"/>
                  <a:gd name="T18" fmla="*/ 4 w 124"/>
                  <a:gd name="T19" fmla="*/ 43 h 123"/>
                  <a:gd name="T20" fmla="*/ 8 w 124"/>
                  <a:gd name="T21" fmla="*/ 32 h 123"/>
                  <a:gd name="T22" fmla="*/ 14 w 124"/>
                  <a:gd name="T23" fmla="*/ 21 h 123"/>
                  <a:gd name="T24" fmla="*/ 23 w 124"/>
                  <a:gd name="T25" fmla="*/ 14 h 123"/>
                  <a:gd name="T26" fmla="*/ 33 w 124"/>
                  <a:gd name="T27" fmla="*/ 6 h 123"/>
                  <a:gd name="T28" fmla="*/ 45 w 124"/>
                  <a:gd name="T29" fmla="*/ 2 h 123"/>
                  <a:gd name="T30" fmla="*/ 56 w 124"/>
                  <a:gd name="T31" fmla="*/ 0 h 123"/>
                  <a:gd name="T32" fmla="*/ 69 w 124"/>
                  <a:gd name="T33" fmla="*/ 0 h 123"/>
                  <a:gd name="T34" fmla="*/ 81 w 124"/>
                  <a:gd name="T35" fmla="*/ 2 h 123"/>
                  <a:gd name="T36" fmla="*/ 92 w 124"/>
                  <a:gd name="T37" fmla="*/ 6 h 123"/>
                  <a:gd name="T38" fmla="*/ 102 w 124"/>
                  <a:gd name="T39" fmla="*/ 14 h 123"/>
                  <a:gd name="T40" fmla="*/ 110 w 124"/>
                  <a:gd name="T41" fmla="*/ 21 h 123"/>
                  <a:gd name="T42" fmla="*/ 117 w 124"/>
                  <a:gd name="T43" fmla="*/ 32 h 123"/>
                  <a:gd name="T44" fmla="*/ 121 w 124"/>
                  <a:gd name="T45" fmla="*/ 43 h 123"/>
                  <a:gd name="T46" fmla="*/ 124 w 124"/>
                  <a:gd name="T47" fmla="*/ 55 h 123"/>
                  <a:gd name="T48" fmla="*/ 124 w 124"/>
                  <a:gd name="T49" fmla="*/ 68 h 123"/>
                  <a:gd name="T50" fmla="*/ 121 w 124"/>
                  <a:gd name="T51" fmla="*/ 80 h 123"/>
                  <a:gd name="T52" fmla="*/ 117 w 124"/>
                  <a:gd name="T53" fmla="*/ 91 h 123"/>
                  <a:gd name="T54" fmla="*/ 110 w 124"/>
                  <a:gd name="T55" fmla="*/ 100 h 123"/>
                  <a:gd name="T56" fmla="*/ 102 w 124"/>
                  <a:gd name="T57" fmla="*/ 109 h 123"/>
                  <a:gd name="T58" fmla="*/ 92 w 124"/>
                  <a:gd name="T59" fmla="*/ 115 h 123"/>
                  <a:gd name="T60" fmla="*/ 81 w 124"/>
                  <a:gd name="T61" fmla="*/ 121 h 123"/>
                  <a:gd name="T62" fmla="*/ 69 w 124"/>
                  <a:gd name="T63" fmla="*/ 123 h 123"/>
                  <a:gd name="T64" fmla="*/ 63 w 124"/>
                  <a:gd name="T65" fmla="*/ 27 h 123"/>
                  <a:gd name="T66" fmla="*/ 55 w 124"/>
                  <a:gd name="T67" fmla="*/ 27 h 123"/>
                  <a:gd name="T68" fmla="*/ 44 w 124"/>
                  <a:gd name="T69" fmla="*/ 32 h 123"/>
                  <a:gd name="T70" fmla="*/ 34 w 124"/>
                  <a:gd name="T71" fmla="*/ 42 h 123"/>
                  <a:gd name="T72" fmla="*/ 28 w 124"/>
                  <a:gd name="T73" fmla="*/ 54 h 123"/>
                  <a:gd name="T74" fmla="*/ 28 w 124"/>
                  <a:gd name="T75" fmla="*/ 68 h 123"/>
                  <a:gd name="T76" fmla="*/ 34 w 124"/>
                  <a:gd name="T77" fmla="*/ 81 h 123"/>
                  <a:gd name="T78" fmla="*/ 44 w 124"/>
                  <a:gd name="T79" fmla="*/ 91 h 123"/>
                  <a:gd name="T80" fmla="*/ 55 w 124"/>
                  <a:gd name="T81" fmla="*/ 96 h 123"/>
                  <a:gd name="T82" fmla="*/ 69 w 124"/>
                  <a:gd name="T83" fmla="*/ 96 h 123"/>
                  <a:gd name="T84" fmla="*/ 82 w 124"/>
                  <a:gd name="T85" fmla="*/ 91 h 123"/>
                  <a:gd name="T86" fmla="*/ 92 w 124"/>
                  <a:gd name="T87" fmla="*/ 81 h 123"/>
                  <a:gd name="T88" fmla="*/ 96 w 124"/>
                  <a:gd name="T89" fmla="*/ 68 h 123"/>
                  <a:gd name="T90" fmla="*/ 96 w 124"/>
                  <a:gd name="T91" fmla="*/ 54 h 123"/>
                  <a:gd name="T92" fmla="*/ 92 w 124"/>
                  <a:gd name="T93" fmla="*/ 42 h 123"/>
                  <a:gd name="T94" fmla="*/ 82 w 124"/>
                  <a:gd name="T95" fmla="*/ 32 h 123"/>
                  <a:gd name="T96" fmla="*/ 69 w 124"/>
                  <a:gd name="T97"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3">
                    <a:moveTo>
                      <a:pt x="63" y="123"/>
                    </a:moveTo>
                    <a:lnTo>
                      <a:pt x="56" y="123"/>
                    </a:lnTo>
                    <a:lnTo>
                      <a:pt x="50" y="122"/>
                    </a:lnTo>
                    <a:lnTo>
                      <a:pt x="45" y="121"/>
                    </a:lnTo>
                    <a:lnTo>
                      <a:pt x="38" y="119"/>
                    </a:lnTo>
                    <a:lnTo>
                      <a:pt x="33" y="115"/>
                    </a:lnTo>
                    <a:lnTo>
                      <a:pt x="28" y="112"/>
                    </a:lnTo>
                    <a:lnTo>
                      <a:pt x="23" y="109"/>
                    </a:lnTo>
                    <a:lnTo>
                      <a:pt x="19" y="105"/>
                    </a:lnTo>
                    <a:lnTo>
                      <a:pt x="14" y="100"/>
                    </a:lnTo>
                    <a:lnTo>
                      <a:pt x="11" y="96"/>
                    </a:lnTo>
                    <a:lnTo>
                      <a:pt x="8" y="91"/>
                    </a:lnTo>
                    <a:lnTo>
                      <a:pt x="6" y="85"/>
                    </a:lnTo>
                    <a:lnTo>
                      <a:pt x="4" y="80"/>
                    </a:lnTo>
                    <a:lnTo>
                      <a:pt x="2" y="73"/>
                    </a:lnTo>
                    <a:lnTo>
                      <a:pt x="1" y="68"/>
                    </a:lnTo>
                    <a:lnTo>
                      <a:pt x="0" y="61"/>
                    </a:lnTo>
                    <a:lnTo>
                      <a:pt x="1" y="55"/>
                    </a:lnTo>
                    <a:lnTo>
                      <a:pt x="2" y="48"/>
                    </a:lnTo>
                    <a:lnTo>
                      <a:pt x="4" y="43"/>
                    </a:lnTo>
                    <a:lnTo>
                      <a:pt x="6" y="38"/>
                    </a:lnTo>
                    <a:lnTo>
                      <a:pt x="8" y="32"/>
                    </a:lnTo>
                    <a:lnTo>
                      <a:pt x="11" y="27"/>
                    </a:lnTo>
                    <a:lnTo>
                      <a:pt x="14" y="21"/>
                    </a:lnTo>
                    <a:lnTo>
                      <a:pt x="19" y="17"/>
                    </a:lnTo>
                    <a:lnTo>
                      <a:pt x="23" y="14"/>
                    </a:lnTo>
                    <a:lnTo>
                      <a:pt x="28" y="10"/>
                    </a:lnTo>
                    <a:lnTo>
                      <a:pt x="33" y="6"/>
                    </a:lnTo>
                    <a:lnTo>
                      <a:pt x="38" y="4"/>
                    </a:lnTo>
                    <a:lnTo>
                      <a:pt x="45" y="2"/>
                    </a:lnTo>
                    <a:lnTo>
                      <a:pt x="50" y="1"/>
                    </a:lnTo>
                    <a:lnTo>
                      <a:pt x="56" y="0"/>
                    </a:lnTo>
                    <a:lnTo>
                      <a:pt x="63" y="0"/>
                    </a:lnTo>
                    <a:lnTo>
                      <a:pt x="69" y="0"/>
                    </a:lnTo>
                    <a:lnTo>
                      <a:pt x="75" y="1"/>
                    </a:lnTo>
                    <a:lnTo>
                      <a:pt x="81" y="2"/>
                    </a:lnTo>
                    <a:lnTo>
                      <a:pt x="87" y="4"/>
                    </a:lnTo>
                    <a:lnTo>
                      <a:pt x="92" y="6"/>
                    </a:lnTo>
                    <a:lnTo>
                      <a:pt x="97" y="10"/>
                    </a:lnTo>
                    <a:lnTo>
                      <a:pt x="102" y="14"/>
                    </a:lnTo>
                    <a:lnTo>
                      <a:pt x="106" y="17"/>
                    </a:lnTo>
                    <a:lnTo>
                      <a:pt x="110" y="21"/>
                    </a:lnTo>
                    <a:lnTo>
                      <a:pt x="114" y="27"/>
                    </a:lnTo>
                    <a:lnTo>
                      <a:pt x="117" y="32"/>
                    </a:lnTo>
                    <a:lnTo>
                      <a:pt x="120" y="38"/>
                    </a:lnTo>
                    <a:lnTo>
                      <a:pt x="121" y="43"/>
                    </a:lnTo>
                    <a:lnTo>
                      <a:pt x="123" y="48"/>
                    </a:lnTo>
                    <a:lnTo>
                      <a:pt x="124" y="55"/>
                    </a:lnTo>
                    <a:lnTo>
                      <a:pt x="124" y="61"/>
                    </a:lnTo>
                    <a:lnTo>
                      <a:pt x="124" y="68"/>
                    </a:lnTo>
                    <a:lnTo>
                      <a:pt x="123" y="73"/>
                    </a:lnTo>
                    <a:lnTo>
                      <a:pt x="121" y="80"/>
                    </a:lnTo>
                    <a:lnTo>
                      <a:pt x="120" y="85"/>
                    </a:lnTo>
                    <a:lnTo>
                      <a:pt x="117" y="91"/>
                    </a:lnTo>
                    <a:lnTo>
                      <a:pt x="114" y="96"/>
                    </a:lnTo>
                    <a:lnTo>
                      <a:pt x="110" y="100"/>
                    </a:lnTo>
                    <a:lnTo>
                      <a:pt x="106" y="105"/>
                    </a:lnTo>
                    <a:lnTo>
                      <a:pt x="102" y="109"/>
                    </a:lnTo>
                    <a:lnTo>
                      <a:pt x="97" y="112"/>
                    </a:lnTo>
                    <a:lnTo>
                      <a:pt x="92" y="115"/>
                    </a:lnTo>
                    <a:lnTo>
                      <a:pt x="87" y="119"/>
                    </a:lnTo>
                    <a:lnTo>
                      <a:pt x="81" y="121"/>
                    </a:lnTo>
                    <a:lnTo>
                      <a:pt x="75" y="122"/>
                    </a:lnTo>
                    <a:lnTo>
                      <a:pt x="69" y="123"/>
                    </a:lnTo>
                    <a:lnTo>
                      <a:pt x="63" y="123"/>
                    </a:lnTo>
                    <a:close/>
                    <a:moveTo>
                      <a:pt x="63" y="27"/>
                    </a:moveTo>
                    <a:lnTo>
                      <a:pt x="63" y="27"/>
                    </a:lnTo>
                    <a:lnTo>
                      <a:pt x="55" y="27"/>
                    </a:lnTo>
                    <a:lnTo>
                      <a:pt x="49" y="29"/>
                    </a:lnTo>
                    <a:lnTo>
                      <a:pt x="44" y="32"/>
                    </a:lnTo>
                    <a:lnTo>
                      <a:pt x="38" y="37"/>
                    </a:lnTo>
                    <a:lnTo>
                      <a:pt x="34" y="42"/>
                    </a:lnTo>
                    <a:lnTo>
                      <a:pt x="31" y="47"/>
                    </a:lnTo>
                    <a:lnTo>
                      <a:pt x="28" y="54"/>
                    </a:lnTo>
                    <a:lnTo>
                      <a:pt x="27" y="61"/>
                    </a:lnTo>
                    <a:lnTo>
                      <a:pt x="28" y="68"/>
                    </a:lnTo>
                    <a:lnTo>
                      <a:pt x="31" y="74"/>
                    </a:lnTo>
                    <a:lnTo>
                      <a:pt x="34" y="81"/>
                    </a:lnTo>
                    <a:lnTo>
                      <a:pt x="38" y="86"/>
                    </a:lnTo>
                    <a:lnTo>
                      <a:pt x="44" y="91"/>
                    </a:lnTo>
                    <a:lnTo>
                      <a:pt x="49" y="94"/>
                    </a:lnTo>
                    <a:lnTo>
                      <a:pt x="55" y="96"/>
                    </a:lnTo>
                    <a:lnTo>
                      <a:pt x="63" y="96"/>
                    </a:lnTo>
                    <a:lnTo>
                      <a:pt x="69" y="96"/>
                    </a:lnTo>
                    <a:lnTo>
                      <a:pt x="76" y="94"/>
                    </a:lnTo>
                    <a:lnTo>
                      <a:pt x="82" y="91"/>
                    </a:lnTo>
                    <a:lnTo>
                      <a:pt x="88" y="86"/>
                    </a:lnTo>
                    <a:lnTo>
                      <a:pt x="92" y="81"/>
                    </a:lnTo>
                    <a:lnTo>
                      <a:pt x="95" y="74"/>
                    </a:lnTo>
                    <a:lnTo>
                      <a:pt x="96" y="68"/>
                    </a:lnTo>
                    <a:lnTo>
                      <a:pt x="97" y="61"/>
                    </a:lnTo>
                    <a:lnTo>
                      <a:pt x="96" y="54"/>
                    </a:lnTo>
                    <a:lnTo>
                      <a:pt x="95" y="47"/>
                    </a:lnTo>
                    <a:lnTo>
                      <a:pt x="92" y="42"/>
                    </a:lnTo>
                    <a:lnTo>
                      <a:pt x="88" y="37"/>
                    </a:lnTo>
                    <a:lnTo>
                      <a:pt x="82" y="32"/>
                    </a:lnTo>
                    <a:lnTo>
                      <a:pt x="76" y="29"/>
                    </a:lnTo>
                    <a:lnTo>
                      <a:pt x="69" y="27"/>
                    </a:lnTo>
                    <a:lnTo>
                      <a:pt x="6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89"/>
              <p:cNvSpPr>
                <a:spLocks noEditPoints="1"/>
              </p:cNvSpPr>
              <p:nvPr userDrawn="1"/>
            </p:nvSpPr>
            <p:spPr bwMode="auto">
              <a:xfrm>
                <a:off x="1786" y="2171"/>
                <a:ext cx="41" cy="42"/>
              </a:xfrm>
              <a:custGeom>
                <a:avLst/>
                <a:gdLst>
                  <a:gd name="T0" fmla="*/ 56 w 124"/>
                  <a:gd name="T1" fmla="*/ 123 h 125"/>
                  <a:gd name="T2" fmla="*/ 44 w 124"/>
                  <a:gd name="T3" fmla="*/ 121 h 125"/>
                  <a:gd name="T4" fmla="*/ 32 w 124"/>
                  <a:gd name="T5" fmla="*/ 117 h 125"/>
                  <a:gd name="T6" fmla="*/ 23 w 124"/>
                  <a:gd name="T7" fmla="*/ 111 h 125"/>
                  <a:gd name="T8" fmla="*/ 15 w 124"/>
                  <a:gd name="T9" fmla="*/ 102 h 125"/>
                  <a:gd name="T10" fmla="*/ 8 w 124"/>
                  <a:gd name="T11" fmla="*/ 92 h 125"/>
                  <a:gd name="T12" fmla="*/ 3 w 124"/>
                  <a:gd name="T13" fmla="*/ 80 h 125"/>
                  <a:gd name="T14" fmla="*/ 1 w 124"/>
                  <a:gd name="T15" fmla="*/ 68 h 125"/>
                  <a:gd name="T16" fmla="*/ 1 w 124"/>
                  <a:gd name="T17" fmla="*/ 55 h 125"/>
                  <a:gd name="T18" fmla="*/ 3 w 124"/>
                  <a:gd name="T19" fmla="*/ 44 h 125"/>
                  <a:gd name="T20" fmla="*/ 8 w 124"/>
                  <a:gd name="T21" fmla="*/ 33 h 125"/>
                  <a:gd name="T22" fmla="*/ 15 w 124"/>
                  <a:gd name="T23" fmla="*/ 23 h 125"/>
                  <a:gd name="T24" fmla="*/ 23 w 124"/>
                  <a:gd name="T25" fmla="*/ 14 h 125"/>
                  <a:gd name="T26" fmla="*/ 32 w 124"/>
                  <a:gd name="T27" fmla="*/ 8 h 125"/>
                  <a:gd name="T28" fmla="*/ 44 w 124"/>
                  <a:gd name="T29" fmla="*/ 4 h 125"/>
                  <a:gd name="T30" fmla="*/ 56 w 124"/>
                  <a:gd name="T31" fmla="*/ 0 h 125"/>
                  <a:gd name="T32" fmla="*/ 69 w 124"/>
                  <a:gd name="T33" fmla="*/ 0 h 125"/>
                  <a:gd name="T34" fmla="*/ 81 w 124"/>
                  <a:gd name="T35" fmla="*/ 4 h 125"/>
                  <a:gd name="T36" fmla="*/ 92 w 124"/>
                  <a:gd name="T37" fmla="*/ 8 h 125"/>
                  <a:gd name="T38" fmla="*/ 102 w 124"/>
                  <a:gd name="T39" fmla="*/ 14 h 125"/>
                  <a:gd name="T40" fmla="*/ 110 w 124"/>
                  <a:gd name="T41" fmla="*/ 23 h 125"/>
                  <a:gd name="T42" fmla="*/ 117 w 124"/>
                  <a:gd name="T43" fmla="*/ 33 h 125"/>
                  <a:gd name="T44" fmla="*/ 122 w 124"/>
                  <a:gd name="T45" fmla="*/ 44 h 125"/>
                  <a:gd name="T46" fmla="*/ 124 w 124"/>
                  <a:gd name="T47" fmla="*/ 55 h 125"/>
                  <a:gd name="T48" fmla="*/ 124 w 124"/>
                  <a:gd name="T49" fmla="*/ 68 h 125"/>
                  <a:gd name="T50" fmla="*/ 122 w 124"/>
                  <a:gd name="T51" fmla="*/ 80 h 125"/>
                  <a:gd name="T52" fmla="*/ 117 w 124"/>
                  <a:gd name="T53" fmla="*/ 92 h 125"/>
                  <a:gd name="T54" fmla="*/ 110 w 124"/>
                  <a:gd name="T55" fmla="*/ 102 h 125"/>
                  <a:gd name="T56" fmla="*/ 102 w 124"/>
                  <a:gd name="T57" fmla="*/ 111 h 125"/>
                  <a:gd name="T58" fmla="*/ 92 w 124"/>
                  <a:gd name="T59" fmla="*/ 117 h 125"/>
                  <a:gd name="T60" fmla="*/ 81 w 124"/>
                  <a:gd name="T61" fmla="*/ 121 h 125"/>
                  <a:gd name="T62" fmla="*/ 69 w 124"/>
                  <a:gd name="T63" fmla="*/ 123 h 125"/>
                  <a:gd name="T64" fmla="*/ 63 w 124"/>
                  <a:gd name="T65" fmla="*/ 27 h 125"/>
                  <a:gd name="T66" fmla="*/ 55 w 124"/>
                  <a:gd name="T67" fmla="*/ 29 h 125"/>
                  <a:gd name="T68" fmla="*/ 43 w 124"/>
                  <a:gd name="T69" fmla="*/ 34 h 125"/>
                  <a:gd name="T70" fmla="*/ 34 w 124"/>
                  <a:gd name="T71" fmla="*/ 43 h 125"/>
                  <a:gd name="T72" fmla="*/ 28 w 124"/>
                  <a:gd name="T73" fmla="*/ 55 h 125"/>
                  <a:gd name="T74" fmla="*/ 28 w 124"/>
                  <a:gd name="T75" fmla="*/ 70 h 125"/>
                  <a:gd name="T76" fmla="*/ 34 w 124"/>
                  <a:gd name="T77" fmla="*/ 81 h 125"/>
                  <a:gd name="T78" fmla="*/ 43 w 124"/>
                  <a:gd name="T79" fmla="*/ 91 h 125"/>
                  <a:gd name="T80" fmla="*/ 55 w 124"/>
                  <a:gd name="T81" fmla="*/ 97 h 125"/>
                  <a:gd name="T82" fmla="*/ 69 w 124"/>
                  <a:gd name="T83" fmla="*/ 97 h 125"/>
                  <a:gd name="T84" fmla="*/ 82 w 124"/>
                  <a:gd name="T85" fmla="*/ 91 h 125"/>
                  <a:gd name="T86" fmla="*/ 92 w 124"/>
                  <a:gd name="T87" fmla="*/ 81 h 125"/>
                  <a:gd name="T88" fmla="*/ 96 w 124"/>
                  <a:gd name="T89" fmla="*/ 70 h 125"/>
                  <a:gd name="T90" fmla="*/ 96 w 124"/>
                  <a:gd name="T91" fmla="*/ 55 h 125"/>
                  <a:gd name="T92" fmla="*/ 92 w 124"/>
                  <a:gd name="T93" fmla="*/ 43 h 125"/>
                  <a:gd name="T94" fmla="*/ 82 w 124"/>
                  <a:gd name="T95" fmla="*/ 34 h 125"/>
                  <a:gd name="T96" fmla="*/ 69 w 124"/>
                  <a:gd name="T97" fmla="*/ 2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5">
                    <a:moveTo>
                      <a:pt x="63" y="125"/>
                    </a:moveTo>
                    <a:lnTo>
                      <a:pt x="56" y="123"/>
                    </a:lnTo>
                    <a:lnTo>
                      <a:pt x="50" y="122"/>
                    </a:lnTo>
                    <a:lnTo>
                      <a:pt x="44" y="121"/>
                    </a:lnTo>
                    <a:lnTo>
                      <a:pt x="38" y="119"/>
                    </a:lnTo>
                    <a:lnTo>
                      <a:pt x="32" y="117"/>
                    </a:lnTo>
                    <a:lnTo>
                      <a:pt x="28" y="114"/>
                    </a:lnTo>
                    <a:lnTo>
                      <a:pt x="23" y="111"/>
                    </a:lnTo>
                    <a:lnTo>
                      <a:pt x="18" y="106"/>
                    </a:lnTo>
                    <a:lnTo>
                      <a:pt x="15" y="102"/>
                    </a:lnTo>
                    <a:lnTo>
                      <a:pt x="11" y="97"/>
                    </a:lnTo>
                    <a:lnTo>
                      <a:pt x="8" y="92"/>
                    </a:lnTo>
                    <a:lnTo>
                      <a:pt x="5" y="87"/>
                    </a:lnTo>
                    <a:lnTo>
                      <a:pt x="3" y="80"/>
                    </a:lnTo>
                    <a:lnTo>
                      <a:pt x="2" y="75"/>
                    </a:lnTo>
                    <a:lnTo>
                      <a:pt x="1" y="68"/>
                    </a:lnTo>
                    <a:lnTo>
                      <a:pt x="0" y="62"/>
                    </a:lnTo>
                    <a:lnTo>
                      <a:pt x="1" y="55"/>
                    </a:lnTo>
                    <a:lnTo>
                      <a:pt x="2" y="50"/>
                    </a:lnTo>
                    <a:lnTo>
                      <a:pt x="3" y="44"/>
                    </a:lnTo>
                    <a:lnTo>
                      <a:pt x="5" y="38"/>
                    </a:lnTo>
                    <a:lnTo>
                      <a:pt x="8" y="33"/>
                    </a:lnTo>
                    <a:lnTo>
                      <a:pt x="11" y="27"/>
                    </a:lnTo>
                    <a:lnTo>
                      <a:pt x="15" y="23"/>
                    </a:lnTo>
                    <a:lnTo>
                      <a:pt x="18" y="19"/>
                    </a:lnTo>
                    <a:lnTo>
                      <a:pt x="23" y="14"/>
                    </a:lnTo>
                    <a:lnTo>
                      <a:pt x="28" y="11"/>
                    </a:lnTo>
                    <a:lnTo>
                      <a:pt x="32" y="8"/>
                    </a:lnTo>
                    <a:lnTo>
                      <a:pt x="38" y="5"/>
                    </a:lnTo>
                    <a:lnTo>
                      <a:pt x="44" y="4"/>
                    </a:lnTo>
                    <a:lnTo>
                      <a:pt x="50" y="2"/>
                    </a:lnTo>
                    <a:lnTo>
                      <a:pt x="56" y="0"/>
                    </a:lnTo>
                    <a:lnTo>
                      <a:pt x="63" y="0"/>
                    </a:lnTo>
                    <a:lnTo>
                      <a:pt x="69" y="0"/>
                    </a:lnTo>
                    <a:lnTo>
                      <a:pt x="75" y="2"/>
                    </a:lnTo>
                    <a:lnTo>
                      <a:pt x="81" y="4"/>
                    </a:lnTo>
                    <a:lnTo>
                      <a:pt x="86" y="5"/>
                    </a:lnTo>
                    <a:lnTo>
                      <a:pt x="92" y="8"/>
                    </a:lnTo>
                    <a:lnTo>
                      <a:pt x="97" y="11"/>
                    </a:lnTo>
                    <a:lnTo>
                      <a:pt x="102" y="14"/>
                    </a:lnTo>
                    <a:lnTo>
                      <a:pt x="106" y="19"/>
                    </a:lnTo>
                    <a:lnTo>
                      <a:pt x="110" y="23"/>
                    </a:lnTo>
                    <a:lnTo>
                      <a:pt x="113" y="27"/>
                    </a:lnTo>
                    <a:lnTo>
                      <a:pt x="117" y="33"/>
                    </a:lnTo>
                    <a:lnTo>
                      <a:pt x="120" y="38"/>
                    </a:lnTo>
                    <a:lnTo>
                      <a:pt x="122" y="44"/>
                    </a:lnTo>
                    <a:lnTo>
                      <a:pt x="123" y="50"/>
                    </a:lnTo>
                    <a:lnTo>
                      <a:pt x="124" y="55"/>
                    </a:lnTo>
                    <a:lnTo>
                      <a:pt x="124" y="62"/>
                    </a:lnTo>
                    <a:lnTo>
                      <a:pt x="124" y="68"/>
                    </a:lnTo>
                    <a:lnTo>
                      <a:pt x="123" y="75"/>
                    </a:lnTo>
                    <a:lnTo>
                      <a:pt x="122" y="80"/>
                    </a:lnTo>
                    <a:lnTo>
                      <a:pt x="120" y="87"/>
                    </a:lnTo>
                    <a:lnTo>
                      <a:pt x="117" y="92"/>
                    </a:lnTo>
                    <a:lnTo>
                      <a:pt x="113" y="97"/>
                    </a:lnTo>
                    <a:lnTo>
                      <a:pt x="110" y="102"/>
                    </a:lnTo>
                    <a:lnTo>
                      <a:pt x="106" y="106"/>
                    </a:lnTo>
                    <a:lnTo>
                      <a:pt x="102" y="111"/>
                    </a:lnTo>
                    <a:lnTo>
                      <a:pt x="97" y="114"/>
                    </a:lnTo>
                    <a:lnTo>
                      <a:pt x="92" y="117"/>
                    </a:lnTo>
                    <a:lnTo>
                      <a:pt x="86" y="119"/>
                    </a:lnTo>
                    <a:lnTo>
                      <a:pt x="81" y="121"/>
                    </a:lnTo>
                    <a:lnTo>
                      <a:pt x="75" y="122"/>
                    </a:lnTo>
                    <a:lnTo>
                      <a:pt x="69" y="123"/>
                    </a:lnTo>
                    <a:lnTo>
                      <a:pt x="63" y="125"/>
                    </a:lnTo>
                    <a:close/>
                    <a:moveTo>
                      <a:pt x="63" y="27"/>
                    </a:moveTo>
                    <a:lnTo>
                      <a:pt x="63" y="27"/>
                    </a:lnTo>
                    <a:lnTo>
                      <a:pt x="55" y="29"/>
                    </a:lnTo>
                    <a:lnTo>
                      <a:pt x="49" y="31"/>
                    </a:lnTo>
                    <a:lnTo>
                      <a:pt x="43" y="34"/>
                    </a:lnTo>
                    <a:lnTo>
                      <a:pt x="38" y="37"/>
                    </a:lnTo>
                    <a:lnTo>
                      <a:pt x="34" y="43"/>
                    </a:lnTo>
                    <a:lnTo>
                      <a:pt x="30" y="49"/>
                    </a:lnTo>
                    <a:lnTo>
                      <a:pt x="28" y="55"/>
                    </a:lnTo>
                    <a:lnTo>
                      <a:pt x="27" y="62"/>
                    </a:lnTo>
                    <a:lnTo>
                      <a:pt x="28" y="70"/>
                    </a:lnTo>
                    <a:lnTo>
                      <a:pt x="30" y="76"/>
                    </a:lnTo>
                    <a:lnTo>
                      <a:pt x="34" y="81"/>
                    </a:lnTo>
                    <a:lnTo>
                      <a:pt x="38" y="87"/>
                    </a:lnTo>
                    <a:lnTo>
                      <a:pt x="43" y="91"/>
                    </a:lnTo>
                    <a:lnTo>
                      <a:pt x="49" y="94"/>
                    </a:lnTo>
                    <a:lnTo>
                      <a:pt x="55" y="97"/>
                    </a:lnTo>
                    <a:lnTo>
                      <a:pt x="63" y="98"/>
                    </a:lnTo>
                    <a:lnTo>
                      <a:pt x="69" y="97"/>
                    </a:lnTo>
                    <a:lnTo>
                      <a:pt x="76" y="94"/>
                    </a:lnTo>
                    <a:lnTo>
                      <a:pt x="82" y="91"/>
                    </a:lnTo>
                    <a:lnTo>
                      <a:pt x="87" y="87"/>
                    </a:lnTo>
                    <a:lnTo>
                      <a:pt x="92" y="81"/>
                    </a:lnTo>
                    <a:lnTo>
                      <a:pt x="95" y="76"/>
                    </a:lnTo>
                    <a:lnTo>
                      <a:pt x="96" y="70"/>
                    </a:lnTo>
                    <a:lnTo>
                      <a:pt x="97" y="62"/>
                    </a:lnTo>
                    <a:lnTo>
                      <a:pt x="96" y="55"/>
                    </a:lnTo>
                    <a:lnTo>
                      <a:pt x="95" y="49"/>
                    </a:lnTo>
                    <a:lnTo>
                      <a:pt x="92" y="43"/>
                    </a:lnTo>
                    <a:lnTo>
                      <a:pt x="87" y="37"/>
                    </a:lnTo>
                    <a:lnTo>
                      <a:pt x="82" y="34"/>
                    </a:lnTo>
                    <a:lnTo>
                      <a:pt x="76" y="31"/>
                    </a:lnTo>
                    <a:lnTo>
                      <a:pt x="69" y="29"/>
                    </a:lnTo>
                    <a:lnTo>
                      <a:pt x="6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90"/>
              <p:cNvSpPr>
                <a:spLocks noEditPoints="1"/>
              </p:cNvSpPr>
              <p:nvPr userDrawn="1"/>
            </p:nvSpPr>
            <p:spPr bwMode="auto">
              <a:xfrm>
                <a:off x="1816" y="2075"/>
                <a:ext cx="41" cy="41"/>
              </a:xfrm>
              <a:custGeom>
                <a:avLst/>
                <a:gdLst>
                  <a:gd name="T0" fmla="*/ 56 w 124"/>
                  <a:gd name="T1" fmla="*/ 123 h 123"/>
                  <a:gd name="T2" fmla="*/ 44 w 124"/>
                  <a:gd name="T3" fmla="*/ 121 h 123"/>
                  <a:gd name="T4" fmla="*/ 32 w 124"/>
                  <a:gd name="T5" fmla="*/ 116 h 123"/>
                  <a:gd name="T6" fmla="*/ 22 w 124"/>
                  <a:gd name="T7" fmla="*/ 109 h 123"/>
                  <a:gd name="T8" fmla="*/ 14 w 124"/>
                  <a:gd name="T9" fmla="*/ 100 h 123"/>
                  <a:gd name="T10" fmla="*/ 7 w 124"/>
                  <a:gd name="T11" fmla="*/ 91 h 123"/>
                  <a:gd name="T12" fmla="*/ 3 w 124"/>
                  <a:gd name="T13" fmla="*/ 80 h 123"/>
                  <a:gd name="T14" fmla="*/ 1 w 124"/>
                  <a:gd name="T15" fmla="*/ 68 h 123"/>
                  <a:gd name="T16" fmla="*/ 1 w 124"/>
                  <a:gd name="T17" fmla="*/ 55 h 123"/>
                  <a:gd name="T18" fmla="*/ 3 w 124"/>
                  <a:gd name="T19" fmla="*/ 43 h 123"/>
                  <a:gd name="T20" fmla="*/ 7 w 124"/>
                  <a:gd name="T21" fmla="*/ 32 h 123"/>
                  <a:gd name="T22" fmla="*/ 14 w 124"/>
                  <a:gd name="T23" fmla="*/ 22 h 123"/>
                  <a:gd name="T24" fmla="*/ 22 w 124"/>
                  <a:gd name="T25" fmla="*/ 14 h 123"/>
                  <a:gd name="T26" fmla="*/ 32 w 124"/>
                  <a:gd name="T27" fmla="*/ 8 h 123"/>
                  <a:gd name="T28" fmla="*/ 44 w 124"/>
                  <a:gd name="T29" fmla="*/ 2 h 123"/>
                  <a:gd name="T30" fmla="*/ 56 w 124"/>
                  <a:gd name="T31" fmla="*/ 0 h 123"/>
                  <a:gd name="T32" fmla="*/ 68 w 124"/>
                  <a:gd name="T33" fmla="*/ 0 h 123"/>
                  <a:gd name="T34" fmla="*/ 81 w 124"/>
                  <a:gd name="T35" fmla="*/ 2 h 123"/>
                  <a:gd name="T36" fmla="*/ 91 w 124"/>
                  <a:gd name="T37" fmla="*/ 8 h 123"/>
                  <a:gd name="T38" fmla="*/ 101 w 124"/>
                  <a:gd name="T39" fmla="*/ 14 h 123"/>
                  <a:gd name="T40" fmla="*/ 110 w 124"/>
                  <a:gd name="T41" fmla="*/ 22 h 123"/>
                  <a:gd name="T42" fmla="*/ 116 w 124"/>
                  <a:gd name="T43" fmla="*/ 32 h 123"/>
                  <a:gd name="T44" fmla="*/ 121 w 124"/>
                  <a:gd name="T45" fmla="*/ 43 h 123"/>
                  <a:gd name="T46" fmla="*/ 124 w 124"/>
                  <a:gd name="T47" fmla="*/ 55 h 123"/>
                  <a:gd name="T48" fmla="*/ 124 w 124"/>
                  <a:gd name="T49" fmla="*/ 68 h 123"/>
                  <a:gd name="T50" fmla="*/ 121 w 124"/>
                  <a:gd name="T51" fmla="*/ 80 h 123"/>
                  <a:gd name="T52" fmla="*/ 116 w 124"/>
                  <a:gd name="T53" fmla="*/ 91 h 123"/>
                  <a:gd name="T54" fmla="*/ 110 w 124"/>
                  <a:gd name="T55" fmla="*/ 100 h 123"/>
                  <a:gd name="T56" fmla="*/ 101 w 124"/>
                  <a:gd name="T57" fmla="*/ 109 h 123"/>
                  <a:gd name="T58" fmla="*/ 91 w 124"/>
                  <a:gd name="T59" fmla="*/ 116 h 123"/>
                  <a:gd name="T60" fmla="*/ 81 w 124"/>
                  <a:gd name="T61" fmla="*/ 121 h 123"/>
                  <a:gd name="T62" fmla="*/ 68 w 124"/>
                  <a:gd name="T63" fmla="*/ 123 h 123"/>
                  <a:gd name="T64" fmla="*/ 62 w 124"/>
                  <a:gd name="T65" fmla="*/ 27 h 123"/>
                  <a:gd name="T66" fmla="*/ 55 w 124"/>
                  <a:gd name="T67" fmla="*/ 27 h 123"/>
                  <a:gd name="T68" fmla="*/ 42 w 124"/>
                  <a:gd name="T69" fmla="*/ 32 h 123"/>
                  <a:gd name="T70" fmla="*/ 33 w 124"/>
                  <a:gd name="T71" fmla="*/ 42 h 123"/>
                  <a:gd name="T72" fmla="*/ 28 w 124"/>
                  <a:gd name="T73" fmla="*/ 54 h 123"/>
                  <a:gd name="T74" fmla="*/ 28 w 124"/>
                  <a:gd name="T75" fmla="*/ 68 h 123"/>
                  <a:gd name="T76" fmla="*/ 33 w 124"/>
                  <a:gd name="T77" fmla="*/ 81 h 123"/>
                  <a:gd name="T78" fmla="*/ 42 w 124"/>
                  <a:gd name="T79" fmla="*/ 91 h 123"/>
                  <a:gd name="T80" fmla="*/ 55 w 124"/>
                  <a:gd name="T81" fmla="*/ 96 h 123"/>
                  <a:gd name="T82" fmla="*/ 69 w 124"/>
                  <a:gd name="T83" fmla="*/ 96 h 123"/>
                  <a:gd name="T84" fmla="*/ 82 w 124"/>
                  <a:gd name="T85" fmla="*/ 91 h 123"/>
                  <a:gd name="T86" fmla="*/ 90 w 124"/>
                  <a:gd name="T87" fmla="*/ 81 h 123"/>
                  <a:gd name="T88" fmla="*/ 96 w 124"/>
                  <a:gd name="T89" fmla="*/ 68 h 123"/>
                  <a:gd name="T90" fmla="*/ 96 w 124"/>
                  <a:gd name="T91" fmla="*/ 54 h 123"/>
                  <a:gd name="T92" fmla="*/ 90 w 124"/>
                  <a:gd name="T93" fmla="*/ 42 h 123"/>
                  <a:gd name="T94" fmla="*/ 82 w 124"/>
                  <a:gd name="T95" fmla="*/ 32 h 123"/>
                  <a:gd name="T96" fmla="*/ 69 w 124"/>
                  <a:gd name="T97"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3">
                    <a:moveTo>
                      <a:pt x="62" y="123"/>
                    </a:moveTo>
                    <a:lnTo>
                      <a:pt x="56" y="123"/>
                    </a:lnTo>
                    <a:lnTo>
                      <a:pt x="49" y="122"/>
                    </a:lnTo>
                    <a:lnTo>
                      <a:pt x="44" y="121"/>
                    </a:lnTo>
                    <a:lnTo>
                      <a:pt x="37" y="119"/>
                    </a:lnTo>
                    <a:lnTo>
                      <a:pt x="32" y="116"/>
                    </a:lnTo>
                    <a:lnTo>
                      <a:pt x="28" y="112"/>
                    </a:lnTo>
                    <a:lnTo>
                      <a:pt x="22" y="109"/>
                    </a:lnTo>
                    <a:lnTo>
                      <a:pt x="18" y="105"/>
                    </a:lnTo>
                    <a:lnTo>
                      <a:pt x="14" y="100"/>
                    </a:lnTo>
                    <a:lnTo>
                      <a:pt x="10" y="96"/>
                    </a:lnTo>
                    <a:lnTo>
                      <a:pt x="7" y="91"/>
                    </a:lnTo>
                    <a:lnTo>
                      <a:pt x="5" y="85"/>
                    </a:lnTo>
                    <a:lnTo>
                      <a:pt x="3" y="80"/>
                    </a:lnTo>
                    <a:lnTo>
                      <a:pt x="1" y="73"/>
                    </a:lnTo>
                    <a:lnTo>
                      <a:pt x="1" y="68"/>
                    </a:lnTo>
                    <a:lnTo>
                      <a:pt x="0" y="62"/>
                    </a:lnTo>
                    <a:lnTo>
                      <a:pt x="1" y="55"/>
                    </a:lnTo>
                    <a:lnTo>
                      <a:pt x="1" y="49"/>
                    </a:lnTo>
                    <a:lnTo>
                      <a:pt x="3" y="43"/>
                    </a:lnTo>
                    <a:lnTo>
                      <a:pt x="5" y="38"/>
                    </a:lnTo>
                    <a:lnTo>
                      <a:pt x="7" y="32"/>
                    </a:lnTo>
                    <a:lnTo>
                      <a:pt x="10" y="27"/>
                    </a:lnTo>
                    <a:lnTo>
                      <a:pt x="14" y="22"/>
                    </a:lnTo>
                    <a:lnTo>
                      <a:pt x="18" y="17"/>
                    </a:lnTo>
                    <a:lnTo>
                      <a:pt x="22" y="14"/>
                    </a:lnTo>
                    <a:lnTo>
                      <a:pt x="28" y="10"/>
                    </a:lnTo>
                    <a:lnTo>
                      <a:pt x="32" y="8"/>
                    </a:lnTo>
                    <a:lnTo>
                      <a:pt x="37" y="4"/>
                    </a:lnTo>
                    <a:lnTo>
                      <a:pt x="44" y="2"/>
                    </a:lnTo>
                    <a:lnTo>
                      <a:pt x="49" y="1"/>
                    </a:lnTo>
                    <a:lnTo>
                      <a:pt x="56" y="0"/>
                    </a:lnTo>
                    <a:lnTo>
                      <a:pt x="62" y="0"/>
                    </a:lnTo>
                    <a:lnTo>
                      <a:pt x="68" y="0"/>
                    </a:lnTo>
                    <a:lnTo>
                      <a:pt x="74" y="1"/>
                    </a:lnTo>
                    <a:lnTo>
                      <a:pt x="81" y="2"/>
                    </a:lnTo>
                    <a:lnTo>
                      <a:pt x="86" y="4"/>
                    </a:lnTo>
                    <a:lnTo>
                      <a:pt x="91" y="8"/>
                    </a:lnTo>
                    <a:lnTo>
                      <a:pt x="97" y="10"/>
                    </a:lnTo>
                    <a:lnTo>
                      <a:pt x="101" y="14"/>
                    </a:lnTo>
                    <a:lnTo>
                      <a:pt x="105" y="17"/>
                    </a:lnTo>
                    <a:lnTo>
                      <a:pt x="110" y="22"/>
                    </a:lnTo>
                    <a:lnTo>
                      <a:pt x="113" y="27"/>
                    </a:lnTo>
                    <a:lnTo>
                      <a:pt x="116" y="32"/>
                    </a:lnTo>
                    <a:lnTo>
                      <a:pt x="118" y="38"/>
                    </a:lnTo>
                    <a:lnTo>
                      <a:pt x="121" y="43"/>
                    </a:lnTo>
                    <a:lnTo>
                      <a:pt x="123" y="49"/>
                    </a:lnTo>
                    <a:lnTo>
                      <a:pt x="124" y="55"/>
                    </a:lnTo>
                    <a:lnTo>
                      <a:pt x="124" y="62"/>
                    </a:lnTo>
                    <a:lnTo>
                      <a:pt x="124" y="68"/>
                    </a:lnTo>
                    <a:lnTo>
                      <a:pt x="123" y="73"/>
                    </a:lnTo>
                    <a:lnTo>
                      <a:pt x="121" y="80"/>
                    </a:lnTo>
                    <a:lnTo>
                      <a:pt x="118" y="85"/>
                    </a:lnTo>
                    <a:lnTo>
                      <a:pt x="116" y="91"/>
                    </a:lnTo>
                    <a:lnTo>
                      <a:pt x="113" y="96"/>
                    </a:lnTo>
                    <a:lnTo>
                      <a:pt x="110" y="100"/>
                    </a:lnTo>
                    <a:lnTo>
                      <a:pt x="105" y="105"/>
                    </a:lnTo>
                    <a:lnTo>
                      <a:pt x="101" y="109"/>
                    </a:lnTo>
                    <a:lnTo>
                      <a:pt x="97" y="112"/>
                    </a:lnTo>
                    <a:lnTo>
                      <a:pt x="91" y="116"/>
                    </a:lnTo>
                    <a:lnTo>
                      <a:pt x="86" y="119"/>
                    </a:lnTo>
                    <a:lnTo>
                      <a:pt x="81" y="121"/>
                    </a:lnTo>
                    <a:lnTo>
                      <a:pt x="74" y="122"/>
                    </a:lnTo>
                    <a:lnTo>
                      <a:pt x="68" y="123"/>
                    </a:lnTo>
                    <a:lnTo>
                      <a:pt x="62" y="123"/>
                    </a:lnTo>
                    <a:close/>
                    <a:moveTo>
                      <a:pt x="62" y="27"/>
                    </a:moveTo>
                    <a:lnTo>
                      <a:pt x="62" y="27"/>
                    </a:lnTo>
                    <a:lnTo>
                      <a:pt x="55" y="27"/>
                    </a:lnTo>
                    <a:lnTo>
                      <a:pt x="48" y="29"/>
                    </a:lnTo>
                    <a:lnTo>
                      <a:pt x="42" y="32"/>
                    </a:lnTo>
                    <a:lnTo>
                      <a:pt x="37" y="37"/>
                    </a:lnTo>
                    <a:lnTo>
                      <a:pt x="33" y="42"/>
                    </a:lnTo>
                    <a:lnTo>
                      <a:pt x="30" y="48"/>
                    </a:lnTo>
                    <a:lnTo>
                      <a:pt x="28" y="54"/>
                    </a:lnTo>
                    <a:lnTo>
                      <a:pt x="27" y="62"/>
                    </a:lnTo>
                    <a:lnTo>
                      <a:pt x="28" y="68"/>
                    </a:lnTo>
                    <a:lnTo>
                      <a:pt x="30" y="76"/>
                    </a:lnTo>
                    <a:lnTo>
                      <a:pt x="33" y="81"/>
                    </a:lnTo>
                    <a:lnTo>
                      <a:pt x="37" y="86"/>
                    </a:lnTo>
                    <a:lnTo>
                      <a:pt x="42" y="91"/>
                    </a:lnTo>
                    <a:lnTo>
                      <a:pt x="48" y="94"/>
                    </a:lnTo>
                    <a:lnTo>
                      <a:pt x="55" y="96"/>
                    </a:lnTo>
                    <a:lnTo>
                      <a:pt x="62" y="96"/>
                    </a:lnTo>
                    <a:lnTo>
                      <a:pt x="69" y="96"/>
                    </a:lnTo>
                    <a:lnTo>
                      <a:pt x="75" y="94"/>
                    </a:lnTo>
                    <a:lnTo>
                      <a:pt x="82" y="91"/>
                    </a:lnTo>
                    <a:lnTo>
                      <a:pt x="86" y="86"/>
                    </a:lnTo>
                    <a:lnTo>
                      <a:pt x="90" y="81"/>
                    </a:lnTo>
                    <a:lnTo>
                      <a:pt x="94" y="76"/>
                    </a:lnTo>
                    <a:lnTo>
                      <a:pt x="96" y="68"/>
                    </a:lnTo>
                    <a:lnTo>
                      <a:pt x="97" y="62"/>
                    </a:lnTo>
                    <a:lnTo>
                      <a:pt x="96" y="54"/>
                    </a:lnTo>
                    <a:lnTo>
                      <a:pt x="94" y="48"/>
                    </a:lnTo>
                    <a:lnTo>
                      <a:pt x="90" y="42"/>
                    </a:lnTo>
                    <a:lnTo>
                      <a:pt x="86" y="37"/>
                    </a:lnTo>
                    <a:lnTo>
                      <a:pt x="82" y="32"/>
                    </a:lnTo>
                    <a:lnTo>
                      <a:pt x="75" y="29"/>
                    </a:lnTo>
                    <a:lnTo>
                      <a:pt x="69" y="27"/>
                    </a:lnTo>
                    <a:lnTo>
                      <a:pt x="6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91"/>
              <p:cNvSpPr>
                <a:spLocks noEditPoints="1"/>
              </p:cNvSpPr>
              <p:nvPr userDrawn="1"/>
            </p:nvSpPr>
            <p:spPr bwMode="auto">
              <a:xfrm>
                <a:off x="1784" y="2170"/>
                <a:ext cx="41" cy="41"/>
              </a:xfrm>
              <a:custGeom>
                <a:avLst/>
                <a:gdLst>
                  <a:gd name="T0" fmla="*/ 55 w 123"/>
                  <a:gd name="T1" fmla="*/ 123 h 124"/>
                  <a:gd name="T2" fmla="*/ 43 w 123"/>
                  <a:gd name="T3" fmla="*/ 121 h 124"/>
                  <a:gd name="T4" fmla="*/ 32 w 123"/>
                  <a:gd name="T5" fmla="*/ 117 h 124"/>
                  <a:gd name="T6" fmla="*/ 21 w 123"/>
                  <a:gd name="T7" fmla="*/ 109 h 124"/>
                  <a:gd name="T8" fmla="*/ 14 w 123"/>
                  <a:gd name="T9" fmla="*/ 102 h 124"/>
                  <a:gd name="T10" fmla="*/ 6 w 123"/>
                  <a:gd name="T11" fmla="*/ 92 h 124"/>
                  <a:gd name="T12" fmla="*/ 2 w 123"/>
                  <a:gd name="T13" fmla="*/ 80 h 124"/>
                  <a:gd name="T14" fmla="*/ 0 w 123"/>
                  <a:gd name="T15" fmla="*/ 68 h 124"/>
                  <a:gd name="T16" fmla="*/ 0 w 123"/>
                  <a:gd name="T17" fmla="*/ 55 h 124"/>
                  <a:gd name="T18" fmla="*/ 2 w 123"/>
                  <a:gd name="T19" fmla="*/ 43 h 124"/>
                  <a:gd name="T20" fmla="*/ 6 w 123"/>
                  <a:gd name="T21" fmla="*/ 32 h 124"/>
                  <a:gd name="T22" fmla="*/ 14 w 123"/>
                  <a:gd name="T23" fmla="*/ 23 h 124"/>
                  <a:gd name="T24" fmla="*/ 21 w 123"/>
                  <a:gd name="T25" fmla="*/ 14 h 124"/>
                  <a:gd name="T26" fmla="*/ 32 w 123"/>
                  <a:gd name="T27" fmla="*/ 8 h 124"/>
                  <a:gd name="T28" fmla="*/ 43 w 123"/>
                  <a:gd name="T29" fmla="*/ 2 h 124"/>
                  <a:gd name="T30" fmla="*/ 55 w 123"/>
                  <a:gd name="T31" fmla="*/ 0 h 124"/>
                  <a:gd name="T32" fmla="*/ 68 w 123"/>
                  <a:gd name="T33" fmla="*/ 0 h 124"/>
                  <a:gd name="T34" fmla="*/ 79 w 123"/>
                  <a:gd name="T35" fmla="*/ 2 h 124"/>
                  <a:gd name="T36" fmla="*/ 90 w 123"/>
                  <a:gd name="T37" fmla="*/ 8 h 124"/>
                  <a:gd name="T38" fmla="*/ 100 w 123"/>
                  <a:gd name="T39" fmla="*/ 14 h 124"/>
                  <a:gd name="T40" fmla="*/ 109 w 123"/>
                  <a:gd name="T41" fmla="*/ 23 h 124"/>
                  <a:gd name="T42" fmla="*/ 115 w 123"/>
                  <a:gd name="T43" fmla="*/ 32 h 124"/>
                  <a:gd name="T44" fmla="*/ 120 w 123"/>
                  <a:gd name="T45" fmla="*/ 43 h 124"/>
                  <a:gd name="T46" fmla="*/ 123 w 123"/>
                  <a:gd name="T47" fmla="*/ 55 h 124"/>
                  <a:gd name="T48" fmla="*/ 123 w 123"/>
                  <a:gd name="T49" fmla="*/ 68 h 124"/>
                  <a:gd name="T50" fmla="*/ 120 w 123"/>
                  <a:gd name="T51" fmla="*/ 80 h 124"/>
                  <a:gd name="T52" fmla="*/ 115 w 123"/>
                  <a:gd name="T53" fmla="*/ 92 h 124"/>
                  <a:gd name="T54" fmla="*/ 109 w 123"/>
                  <a:gd name="T55" fmla="*/ 102 h 124"/>
                  <a:gd name="T56" fmla="*/ 100 w 123"/>
                  <a:gd name="T57" fmla="*/ 109 h 124"/>
                  <a:gd name="T58" fmla="*/ 90 w 123"/>
                  <a:gd name="T59" fmla="*/ 117 h 124"/>
                  <a:gd name="T60" fmla="*/ 79 w 123"/>
                  <a:gd name="T61" fmla="*/ 121 h 124"/>
                  <a:gd name="T62" fmla="*/ 68 w 123"/>
                  <a:gd name="T63" fmla="*/ 123 h 124"/>
                  <a:gd name="T64" fmla="*/ 61 w 123"/>
                  <a:gd name="T65" fmla="*/ 27 h 124"/>
                  <a:gd name="T66" fmla="*/ 54 w 123"/>
                  <a:gd name="T67" fmla="*/ 28 h 124"/>
                  <a:gd name="T68" fmla="*/ 42 w 123"/>
                  <a:gd name="T69" fmla="*/ 32 h 124"/>
                  <a:gd name="T70" fmla="*/ 32 w 123"/>
                  <a:gd name="T71" fmla="*/ 42 h 124"/>
                  <a:gd name="T72" fmla="*/ 27 w 123"/>
                  <a:gd name="T73" fmla="*/ 55 h 124"/>
                  <a:gd name="T74" fmla="*/ 27 w 123"/>
                  <a:gd name="T75" fmla="*/ 69 h 124"/>
                  <a:gd name="T76" fmla="*/ 32 w 123"/>
                  <a:gd name="T77" fmla="*/ 81 h 124"/>
                  <a:gd name="T78" fmla="*/ 42 w 123"/>
                  <a:gd name="T79" fmla="*/ 91 h 124"/>
                  <a:gd name="T80" fmla="*/ 54 w 123"/>
                  <a:gd name="T81" fmla="*/ 96 h 124"/>
                  <a:gd name="T82" fmla="*/ 68 w 123"/>
                  <a:gd name="T83" fmla="*/ 96 h 124"/>
                  <a:gd name="T84" fmla="*/ 81 w 123"/>
                  <a:gd name="T85" fmla="*/ 91 h 124"/>
                  <a:gd name="T86" fmla="*/ 90 w 123"/>
                  <a:gd name="T87" fmla="*/ 81 h 124"/>
                  <a:gd name="T88" fmla="*/ 96 w 123"/>
                  <a:gd name="T89" fmla="*/ 69 h 124"/>
                  <a:gd name="T90" fmla="*/ 96 w 123"/>
                  <a:gd name="T91" fmla="*/ 55 h 124"/>
                  <a:gd name="T92" fmla="*/ 90 w 123"/>
                  <a:gd name="T93" fmla="*/ 42 h 124"/>
                  <a:gd name="T94" fmla="*/ 81 w 123"/>
                  <a:gd name="T95" fmla="*/ 32 h 124"/>
                  <a:gd name="T96" fmla="*/ 68 w 123"/>
                  <a:gd name="T97" fmla="*/ 2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3" h="124">
                    <a:moveTo>
                      <a:pt x="61" y="124"/>
                    </a:moveTo>
                    <a:lnTo>
                      <a:pt x="55" y="123"/>
                    </a:lnTo>
                    <a:lnTo>
                      <a:pt x="48" y="122"/>
                    </a:lnTo>
                    <a:lnTo>
                      <a:pt x="43" y="121"/>
                    </a:lnTo>
                    <a:lnTo>
                      <a:pt x="37" y="119"/>
                    </a:lnTo>
                    <a:lnTo>
                      <a:pt x="32" y="117"/>
                    </a:lnTo>
                    <a:lnTo>
                      <a:pt x="27" y="113"/>
                    </a:lnTo>
                    <a:lnTo>
                      <a:pt x="21" y="109"/>
                    </a:lnTo>
                    <a:lnTo>
                      <a:pt x="17" y="106"/>
                    </a:lnTo>
                    <a:lnTo>
                      <a:pt x="14" y="102"/>
                    </a:lnTo>
                    <a:lnTo>
                      <a:pt x="9" y="96"/>
                    </a:lnTo>
                    <a:lnTo>
                      <a:pt x="6" y="92"/>
                    </a:lnTo>
                    <a:lnTo>
                      <a:pt x="4" y="86"/>
                    </a:lnTo>
                    <a:lnTo>
                      <a:pt x="2" y="80"/>
                    </a:lnTo>
                    <a:lnTo>
                      <a:pt x="1" y="75"/>
                    </a:lnTo>
                    <a:lnTo>
                      <a:pt x="0" y="68"/>
                    </a:lnTo>
                    <a:lnTo>
                      <a:pt x="0" y="62"/>
                    </a:lnTo>
                    <a:lnTo>
                      <a:pt x="0" y="55"/>
                    </a:lnTo>
                    <a:lnTo>
                      <a:pt x="1" y="50"/>
                    </a:lnTo>
                    <a:lnTo>
                      <a:pt x="2" y="43"/>
                    </a:lnTo>
                    <a:lnTo>
                      <a:pt x="4" y="38"/>
                    </a:lnTo>
                    <a:lnTo>
                      <a:pt x="6" y="32"/>
                    </a:lnTo>
                    <a:lnTo>
                      <a:pt x="9" y="27"/>
                    </a:lnTo>
                    <a:lnTo>
                      <a:pt x="14" y="23"/>
                    </a:lnTo>
                    <a:lnTo>
                      <a:pt x="17" y="18"/>
                    </a:lnTo>
                    <a:lnTo>
                      <a:pt x="21" y="14"/>
                    </a:lnTo>
                    <a:lnTo>
                      <a:pt x="27" y="11"/>
                    </a:lnTo>
                    <a:lnTo>
                      <a:pt x="32" y="8"/>
                    </a:lnTo>
                    <a:lnTo>
                      <a:pt x="37" y="4"/>
                    </a:lnTo>
                    <a:lnTo>
                      <a:pt x="43" y="2"/>
                    </a:lnTo>
                    <a:lnTo>
                      <a:pt x="48" y="1"/>
                    </a:lnTo>
                    <a:lnTo>
                      <a:pt x="55" y="0"/>
                    </a:lnTo>
                    <a:lnTo>
                      <a:pt x="61" y="0"/>
                    </a:lnTo>
                    <a:lnTo>
                      <a:pt x="68" y="0"/>
                    </a:lnTo>
                    <a:lnTo>
                      <a:pt x="73" y="1"/>
                    </a:lnTo>
                    <a:lnTo>
                      <a:pt x="79" y="2"/>
                    </a:lnTo>
                    <a:lnTo>
                      <a:pt x="85" y="4"/>
                    </a:lnTo>
                    <a:lnTo>
                      <a:pt x="90" y="8"/>
                    </a:lnTo>
                    <a:lnTo>
                      <a:pt x="96" y="11"/>
                    </a:lnTo>
                    <a:lnTo>
                      <a:pt x="100" y="14"/>
                    </a:lnTo>
                    <a:lnTo>
                      <a:pt x="104" y="18"/>
                    </a:lnTo>
                    <a:lnTo>
                      <a:pt x="109" y="23"/>
                    </a:lnTo>
                    <a:lnTo>
                      <a:pt x="112" y="27"/>
                    </a:lnTo>
                    <a:lnTo>
                      <a:pt x="115" y="32"/>
                    </a:lnTo>
                    <a:lnTo>
                      <a:pt x="118" y="38"/>
                    </a:lnTo>
                    <a:lnTo>
                      <a:pt x="120" y="43"/>
                    </a:lnTo>
                    <a:lnTo>
                      <a:pt x="122" y="50"/>
                    </a:lnTo>
                    <a:lnTo>
                      <a:pt x="123" y="55"/>
                    </a:lnTo>
                    <a:lnTo>
                      <a:pt x="123" y="62"/>
                    </a:lnTo>
                    <a:lnTo>
                      <a:pt x="123" y="68"/>
                    </a:lnTo>
                    <a:lnTo>
                      <a:pt x="122" y="75"/>
                    </a:lnTo>
                    <a:lnTo>
                      <a:pt x="120" y="80"/>
                    </a:lnTo>
                    <a:lnTo>
                      <a:pt x="118" y="86"/>
                    </a:lnTo>
                    <a:lnTo>
                      <a:pt x="115" y="92"/>
                    </a:lnTo>
                    <a:lnTo>
                      <a:pt x="112" y="96"/>
                    </a:lnTo>
                    <a:lnTo>
                      <a:pt x="109" y="102"/>
                    </a:lnTo>
                    <a:lnTo>
                      <a:pt x="104" y="106"/>
                    </a:lnTo>
                    <a:lnTo>
                      <a:pt x="100" y="109"/>
                    </a:lnTo>
                    <a:lnTo>
                      <a:pt x="96" y="113"/>
                    </a:lnTo>
                    <a:lnTo>
                      <a:pt x="90" y="117"/>
                    </a:lnTo>
                    <a:lnTo>
                      <a:pt x="85" y="119"/>
                    </a:lnTo>
                    <a:lnTo>
                      <a:pt x="79" y="121"/>
                    </a:lnTo>
                    <a:lnTo>
                      <a:pt x="73" y="122"/>
                    </a:lnTo>
                    <a:lnTo>
                      <a:pt x="68" y="123"/>
                    </a:lnTo>
                    <a:lnTo>
                      <a:pt x="61" y="124"/>
                    </a:lnTo>
                    <a:close/>
                    <a:moveTo>
                      <a:pt x="61" y="27"/>
                    </a:moveTo>
                    <a:lnTo>
                      <a:pt x="61" y="27"/>
                    </a:lnTo>
                    <a:lnTo>
                      <a:pt x="54" y="28"/>
                    </a:lnTo>
                    <a:lnTo>
                      <a:pt x="47" y="29"/>
                    </a:lnTo>
                    <a:lnTo>
                      <a:pt x="42" y="32"/>
                    </a:lnTo>
                    <a:lnTo>
                      <a:pt x="36" y="37"/>
                    </a:lnTo>
                    <a:lnTo>
                      <a:pt x="32" y="42"/>
                    </a:lnTo>
                    <a:lnTo>
                      <a:pt x="29" y="49"/>
                    </a:lnTo>
                    <a:lnTo>
                      <a:pt x="27" y="55"/>
                    </a:lnTo>
                    <a:lnTo>
                      <a:pt x="27" y="62"/>
                    </a:lnTo>
                    <a:lnTo>
                      <a:pt x="27" y="69"/>
                    </a:lnTo>
                    <a:lnTo>
                      <a:pt x="29" y="76"/>
                    </a:lnTo>
                    <a:lnTo>
                      <a:pt x="32" y="81"/>
                    </a:lnTo>
                    <a:lnTo>
                      <a:pt x="36" y="86"/>
                    </a:lnTo>
                    <a:lnTo>
                      <a:pt x="42" y="91"/>
                    </a:lnTo>
                    <a:lnTo>
                      <a:pt x="47" y="94"/>
                    </a:lnTo>
                    <a:lnTo>
                      <a:pt x="54" y="96"/>
                    </a:lnTo>
                    <a:lnTo>
                      <a:pt x="61" y="97"/>
                    </a:lnTo>
                    <a:lnTo>
                      <a:pt x="68" y="96"/>
                    </a:lnTo>
                    <a:lnTo>
                      <a:pt x="74" y="94"/>
                    </a:lnTo>
                    <a:lnTo>
                      <a:pt x="81" y="91"/>
                    </a:lnTo>
                    <a:lnTo>
                      <a:pt x="86" y="86"/>
                    </a:lnTo>
                    <a:lnTo>
                      <a:pt x="90" y="81"/>
                    </a:lnTo>
                    <a:lnTo>
                      <a:pt x="93" y="76"/>
                    </a:lnTo>
                    <a:lnTo>
                      <a:pt x="96" y="69"/>
                    </a:lnTo>
                    <a:lnTo>
                      <a:pt x="96" y="62"/>
                    </a:lnTo>
                    <a:lnTo>
                      <a:pt x="96" y="55"/>
                    </a:lnTo>
                    <a:lnTo>
                      <a:pt x="93" y="49"/>
                    </a:lnTo>
                    <a:lnTo>
                      <a:pt x="90" y="42"/>
                    </a:lnTo>
                    <a:lnTo>
                      <a:pt x="86" y="37"/>
                    </a:lnTo>
                    <a:lnTo>
                      <a:pt x="81" y="32"/>
                    </a:lnTo>
                    <a:lnTo>
                      <a:pt x="74" y="29"/>
                    </a:lnTo>
                    <a:lnTo>
                      <a:pt x="68" y="28"/>
                    </a:lnTo>
                    <a:lnTo>
                      <a:pt x="6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92"/>
              <p:cNvSpPr>
                <a:spLocks noEditPoints="1"/>
              </p:cNvSpPr>
              <p:nvPr userDrawn="1"/>
            </p:nvSpPr>
            <p:spPr bwMode="auto">
              <a:xfrm>
                <a:off x="1816" y="2075"/>
                <a:ext cx="41" cy="41"/>
              </a:xfrm>
              <a:custGeom>
                <a:avLst/>
                <a:gdLst>
                  <a:gd name="T0" fmla="*/ 56 w 124"/>
                  <a:gd name="T1" fmla="*/ 123 h 123"/>
                  <a:gd name="T2" fmla="*/ 44 w 124"/>
                  <a:gd name="T3" fmla="*/ 121 h 123"/>
                  <a:gd name="T4" fmla="*/ 32 w 124"/>
                  <a:gd name="T5" fmla="*/ 116 h 123"/>
                  <a:gd name="T6" fmla="*/ 22 w 124"/>
                  <a:gd name="T7" fmla="*/ 109 h 123"/>
                  <a:gd name="T8" fmla="*/ 14 w 124"/>
                  <a:gd name="T9" fmla="*/ 100 h 123"/>
                  <a:gd name="T10" fmla="*/ 7 w 124"/>
                  <a:gd name="T11" fmla="*/ 91 h 123"/>
                  <a:gd name="T12" fmla="*/ 3 w 124"/>
                  <a:gd name="T13" fmla="*/ 80 h 123"/>
                  <a:gd name="T14" fmla="*/ 1 w 124"/>
                  <a:gd name="T15" fmla="*/ 68 h 123"/>
                  <a:gd name="T16" fmla="*/ 1 w 124"/>
                  <a:gd name="T17" fmla="*/ 55 h 123"/>
                  <a:gd name="T18" fmla="*/ 3 w 124"/>
                  <a:gd name="T19" fmla="*/ 43 h 123"/>
                  <a:gd name="T20" fmla="*/ 7 w 124"/>
                  <a:gd name="T21" fmla="*/ 32 h 123"/>
                  <a:gd name="T22" fmla="*/ 14 w 124"/>
                  <a:gd name="T23" fmla="*/ 22 h 123"/>
                  <a:gd name="T24" fmla="*/ 22 w 124"/>
                  <a:gd name="T25" fmla="*/ 14 h 123"/>
                  <a:gd name="T26" fmla="*/ 32 w 124"/>
                  <a:gd name="T27" fmla="*/ 8 h 123"/>
                  <a:gd name="T28" fmla="*/ 44 w 124"/>
                  <a:gd name="T29" fmla="*/ 2 h 123"/>
                  <a:gd name="T30" fmla="*/ 56 w 124"/>
                  <a:gd name="T31" fmla="*/ 0 h 123"/>
                  <a:gd name="T32" fmla="*/ 68 w 124"/>
                  <a:gd name="T33" fmla="*/ 0 h 123"/>
                  <a:gd name="T34" fmla="*/ 81 w 124"/>
                  <a:gd name="T35" fmla="*/ 2 h 123"/>
                  <a:gd name="T36" fmla="*/ 91 w 124"/>
                  <a:gd name="T37" fmla="*/ 8 h 123"/>
                  <a:gd name="T38" fmla="*/ 101 w 124"/>
                  <a:gd name="T39" fmla="*/ 14 h 123"/>
                  <a:gd name="T40" fmla="*/ 110 w 124"/>
                  <a:gd name="T41" fmla="*/ 22 h 123"/>
                  <a:gd name="T42" fmla="*/ 116 w 124"/>
                  <a:gd name="T43" fmla="*/ 32 h 123"/>
                  <a:gd name="T44" fmla="*/ 121 w 124"/>
                  <a:gd name="T45" fmla="*/ 43 h 123"/>
                  <a:gd name="T46" fmla="*/ 124 w 124"/>
                  <a:gd name="T47" fmla="*/ 55 h 123"/>
                  <a:gd name="T48" fmla="*/ 124 w 124"/>
                  <a:gd name="T49" fmla="*/ 68 h 123"/>
                  <a:gd name="T50" fmla="*/ 121 w 124"/>
                  <a:gd name="T51" fmla="*/ 80 h 123"/>
                  <a:gd name="T52" fmla="*/ 116 w 124"/>
                  <a:gd name="T53" fmla="*/ 91 h 123"/>
                  <a:gd name="T54" fmla="*/ 110 w 124"/>
                  <a:gd name="T55" fmla="*/ 100 h 123"/>
                  <a:gd name="T56" fmla="*/ 101 w 124"/>
                  <a:gd name="T57" fmla="*/ 109 h 123"/>
                  <a:gd name="T58" fmla="*/ 91 w 124"/>
                  <a:gd name="T59" fmla="*/ 116 h 123"/>
                  <a:gd name="T60" fmla="*/ 81 w 124"/>
                  <a:gd name="T61" fmla="*/ 121 h 123"/>
                  <a:gd name="T62" fmla="*/ 68 w 124"/>
                  <a:gd name="T63" fmla="*/ 123 h 123"/>
                  <a:gd name="T64" fmla="*/ 62 w 124"/>
                  <a:gd name="T65" fmla="*/ 27 h 123"/>
                  <a:gd name="T66" fmla="*/ 55 w 124"/>
                  <a:gd name="T67" fmla="*/ 27 h 123"/>
                  <a:gd name="T68" fmla="*/ 42 w 124"/>
                  <a:gd name="T69" fmla="*/ 32 h 123"/>
                  <a:gd name="T70" fmla="*/ 33 w 124"/>
                  <a:gd name="T71" fmla="*/ 42 h 123"/>
                  <a:gd name="T72" fmla="*/ 28 w 124"/>
                  <a:gd name="T73" fmla="*/ 54 h 123"/>
                  <a:gd name="T74" fmla="*/ 28 w 124"/>
                  <a:gd name="T75" fmla="*/ 68 h 123"/>
                  <a:gd name="T76" fmla="*/ 33 w 124"/>
                  <a:gd name="T77" fmla="*/ 81 h 123"/>
                  <a:gd name="T78" fmla="*/ 42 w 124"/>
                  <a:gd name="T79" fmla="*/ 91 h 123"/>
                  <a:gd name="T80" fmla="*/ 55 w 124"/>
                  <a:gd name="T81" fmla="*/ 96 h 123"/>
                  <a:gd name="T82" fmla="*/ 69 w 124"/>
                  <a:gd name="T83" fmla="*/ 96 h 123"/>
                  <a:gd name="T84" fmla="*/ 82 w 124"/>
                  <a:gd name="T85" fmla="*/ 91 h 123"/>
                  <a:gd name="T86" fmla="*/ 90 w 124"/>
                  <a:gd name="T87" fmla="*/ 81 h 123"/>
                  <a:gd name="T88" fmla="*/ 96 w 124"/>
                  <a:gd name="T89" fmla="*/ 68 h 123"/>
                  <a:gd name="T90" fmla="*/ 96 w 124"/>
                  <a:gd name="T91" fmla="*/ 54 h 123"/>
                  <a:gd name="T92" fmla="*/ 90 w 124"/>
                  <a:gd name="T93" fmla="*/ 42 h 123"/>
                  <a:gd name="T94" fmla="*/ 82 w 124"/>
                  <a:gd name="T95" fmla="*/ 32 h 123"/>
                  <a:gd name="T96" fmla="*/ 69 w 124"/>
                  <a:gd name="T97"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3">
                    <a:moveTo>
                      <a:pt x="62" y="123"/>
                    </a:moveTo>
                    <a:lnTo>
                      <a:pt x="56" y="123"/>
                    </a:lnTo>
                    <a:lnTo>
                      <a:pt x="49" y="122"/>
                    </a:lnTo>
                    <a:lnTo>
                      <a:pt x="44" y="121"/>
                    </a:lnTo>
                    <a:lnTo>
                      <a:pt x="37" y="119"/>
                    </a:lnTo>
                    <a:lnTo>
                      <a:pt x="32" y="116"/>
                    </a:lnTo>
                    <a:lnTo>
                      <a:pt x="28" y="112"/>
                    </a:lnTo>
                    <a:lnTo>
                      <a:pt x="22" y="109"/>
                    </a:lnTo>
                    <a:lnTo>
                      <a:pt x="18" y="105"/>
                    </a:lnTo>
                    <a:lnTo>
                      <a:pt x="14" y="100"/>
                    </a:lnTo>
                    <a:lnTo>
                      <a:pt x="10" y="96"/>
                    </a:lnTo>
                    <a:lnTo>
                      <a:pt x="7" y="91"/>
                    </a:lnTo>
                    <a:lnTo>
                      <a:pt x="5" y="85"/>
                    </a:lnTo>
                    <a:lnTo>
                      <a:pt x="3" y="80"/>
                    </a:lnTo>
                    <a:lnTo>
                      <a:pt x="1" y="73"/>
                    </a:lnTo>
                    <a:lnTo>
                      <a:pt x="1" y="68"/>
                    </a:lnTo>
                    <a:lnTo>
                      <a:pt x="0" y="62"/>
                    </a:lnTo>
                    <a:lnTo>
                      <a:pt x="1" y="55"/>
                    </a:lnTo>
                    <a:lnTo>
                      <a:pt x="1" y="49"/>
                    </a:lnTo>
                    <a:lnTo>
                      <a:pt x="3" y="43"/>
                    </a:lnTo>
                    <a:lnTo>
                      <a:pt x="5" y="38"/>
                    </a:lnTo>
                    <a:lnTo>
                      <a:pt x="7" y="32"/>
                    </a:lnTo>
                    <a:lnTo>
                      <a:pt x="10" y="27"/>
                    </a:lnTo>
                    <a:lnTo>
                      <a:pt x="14" y="22"/>
                    </a:lnTo>
                    <a:lnTo>
                      <a:pt x="18" y="17"/>
                    </a:lnTo>
                    <a:lnTo>
                      <a:pt x="22" y="14"/>
                    </a:lnTo>
                    <a:lnTo>
                      <a:pt x="28" y="10"/>
                    </a:lnTo>
                    <a:lnTo>
                      <a:pt x="32" y="8"/>
                    </a:lnTo>
                    <a:lnTo>
                      <a:pt x="37" y="4"/>
                    </a:lnTo>
                    <a:lnTo>
                      <a:pt x="44" y="2"/>
                    </a:lnTo>
                    <a:lnTo>
                      <a:pt x="49" y="1"/>
                    </a:lnTo>
                    <a:lnTo>
                      <a:pt x="56" y="0"/>
                    </a:lnTo>
                    <a:lnTo>
                      <a:pt x="62" y="0"/>
                    </a:lnTo>
                    <a:lnTo>
                      <a:pt x="68" y="0"/>
                    </a:lnTo>
                    <a:lnTo>
                      <a:pt x="74" y="1"/>
                    </a:lnTo>
                    <a:lnTo>
                      <a:pt x="81" y="2"/>
                    </a:lnTo>
                    <a:lnTo>
                      <a:pt x="86" y="4"/>
                    </a:lnTo>
                    <a:lnTo>
                      <a:pt x="91" y="8"/>
                    </a:lnTo>
                    <a:lnTo>
                      <a:pt x="97" y="10"/>
                    </a:lnTo>
                    <a:lnTo>
                      <a:pt x="101" y="14"/>
                    </a:lnTo>
                    <a:lnTo>
                      <a:pt x="105" y="17"/>
                    </a:lnTo>
                    <a:lnTo>
                      <a:pt x="110" y="22"/>
                    </a:lnTo>
                    <a:lnTo>
                      <a:pt x="113" y="27"/>
                    </a:lnTo>
                    <a:lnTo>
                      <a:pt x="116" y="32"/>
                    </a:lnTo>
                    <a:lnTo>
                      <a:pt x="118" y="38"/>
                    </a:lnTo>
                    <a:lnTo>
                      <a:pt x="121" y="43"/>
                    </a:lnTo>
                    <a:lnTo>
                      <a:pt x="123" y="49"/>
                    </a:lnTo>
                    <a:lnTo>
                      <a:pt x="124" y="55"/>
                    </a:lnTo>
                    <a:lnTo>
                      <a:pt x="124" y="62"/>
                    </a:lnTo>
                    <a:lnTo>
                      <a:pt x="124" y="68"/>
                    </a:lnTo>
                    <a:lnTo>
                      <a:pt x="123" y="73"/>
                    </a:lnTo>
                    <a:lnTo>
                      <a:pt x="121" y="80"/>
                    </a:lnTo>
                    <a:lnTo>
                      <a:pt x="118" y="85"/>
                    </a:lnTo>
                    <a:lnTo>
                      <a:pt x="116" y="91"/>
                    </a:lnTo>
                    <a:lnTo>
                      <a:pt x="113" y="96"/>
                    </a:lnTo>
                    <a:lnTo>
                      <a:pt x="110" y="100"/>
                    </a:lnTo>
                    <a:lnTo>
                      <a:pt x="105" y="105"/>
                    </a:lnTo>
                    <a:lnTo>
                      <a:pt x="101" y="109"/>
                    </a:lnTo>
                    <a:lnTo>
                      <a:pt x="97" y="112"/>
                    </a:lnTo>
                    <a:lnTo>
                      <a:pt x="91" y="116"/>
                    </a:lnTo>
                    <a:lnTo>
                      <a:pt x="86" y="119"/>
                    </a:lnTo>
                    <a:lnTo>
                      <a:pt x="81" y="121"/>
                    </a:lnTo>
                    <a:lnTo>
                      <a:pt x="74" y="122"/>
                    </a:lnTo>
                    <a:lnTo>
                      <a:pt x="68" y="123"/>
                    </a:lnTo>
                    <a:lnTo>
                      <a:pt x="62" y="123"/>
                    </a:lnTo>
                    <a:close/>
                    <a:moveTo>
                      <a:pt x="62" y="27"/>
                    </a:moveTo>
                    <a:lnTo>
                      <a:pt x="62" y="27"/>
                    </a:lnTo>
                    <a:lnTo>
                      <a:pt x="55" y="27"/>
                    </a:lnTo>
                    <a:lnTo>
                      <a:pt x="48" y="29"/>
                    </a:lnTo>
                    <a:lnTo>
                      <a:pt x="42" y="32"/>
                    </a:lnTo>
                    <a:lnTo>
                      <a:pt x="37" y="37"/>
                    </a:lnTo>
                    <a:lnTo>
                      <a:pt x="33" y="42"/>
                    </a:lnTo>
                    <a:lnTo>
                      <a:pt x="30" y="48"/>
                    </a:lnTo>
                    <a:lnTo>
                      <a:pt x="28" y="54"/>
                    </a:lnTo>
                    <a:lnTo>
                      <a:pt x="27" y="62"/>
                    </a:lnTo>
                    <a:lnTo>
                      <a:pt x="28" y="68"/>
                    </a:lnTo>
                    <a:lnTo>
                      <a:pt x="30" y="76"/>
                    </a:lnTo>
                    <a:lnTo>
                      <a:pt x="33" y="81"/>
                    </a:lnTo>
                    <a:lnTo>
                      <a:pt x="37" y="86"/>
                    </a:lnTo>
                    <a:lnTo>
                      <a:pt x="42" y="91"/>
                    </a:lnTo>
                    <a:lnTo>
                      <a:pt x="48" y="94"/>
                    </a:lnTo>
                    <a:lnTo>
                      <a:pt x="55" y="96"/>
                    </a:lnTo>
                    <a:lnTo>
                      <a:pt x="62" y="96"/>
                    </a:lnTo>
                    <a:lnTo>
                      <a:pt x="69" y="96"/>
                    </a:lnTo>
                    <a:lnTo>
                      <a:pt x="75" y="94"/>
                    </a:lnTo>
                    <a:lnTo>
                      <a:pt x="82" y="91"/>
                    </a:lnTo>
                    <a:lnTo>
                      <a:pt x="86" y="86"/>
                    </a:lnTo>
                    <a:lnTo>
                      <a:pt x="90" y="81"/>
                    </a:lnTo>
                    <a:lnTo>
                      <a:pt x="94" y="76"/>
                    </a:lnTo>
                    <a:lnTo>
                      <a:pt x="96" y="68"/>
                    </a:lnTo>
                    <a:lnTo>
                      <a:pt x="97" y="62"/>
                    </a:lnTo>
                    <a:lnTo>
                      <a:pt x="96" y="54"/>
                    </a:lnTo>
                    <a:lnTo>
                      <a:pt x="94" y="48"/>
                    </a:lnTo>
                    <a:lnTo>
                      <a:pt x="90" y="42"/>
                    </a:lnTo>
                    <a:lnTo>
                      <a:pt x="86" y="37"/>
                    </a:lnTo>
                    <a:lnTo>
                      <a:pt x="82" y="32"/>
                    </a:lnTo>
                    <a:lnTo>
                      <a:pt x="75" y="29"/>
                    </a:lnTo>
                    <a:lnTo>
                      <a:pt x="69" y="27"/>
                    </a:lnTo>
                    <a:lnTo>
                      <a:pt x="6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93"/>
              <p:cNvSpPr>
                <a:spLocks/>
              </p:cNvSpPr>
              <p:nvPr userDrawn="1"/>
            </p:nvSpPr>
            <p:spPr bwMode="auto">
              <a:xfrm>
                <a:off x="270" y="2980"/>
                <a:ext cx="1155" cy="1340"/>
              </a:xfrm>
              <a:custGeom>
                <a:avLst/>
                <a:gdLst>
                  <a:gd name="T0" fmla="*/ 98 w 3465"/>
                  <a:gd name="T1" fmla="*/ 3820 h 4020"/>
                  <a:gd name="T2" fmla="*/ 273 w 3465"/>
                  <a:gd name="T3" fmla="*/ 3491 h 4020"/>
                  <a:gd name="T4" fmla="*/ 452 w 3465"/>
                  <a:gd name="T5" fmla="*/ 3189 h 4020"/>
                  <a:gd name="T6" fmla="*/ 561 w 3465"/>
                  <a:gd name="T7" fmla="*/ 3028 h 4020"/>
                  <a:gd name="T8" fmla="*/ 670 w 3465"/>
                  <a:gd name="T9" fmla="*/ 2888 h 4020"/>
                  <a:gd name="T10" fmla="*/ 779 w 3465"/>
                  <a:gd name="T11" fmla="*/ 2770 h 4020"/>
                  <a:gd name="T12" fmla="*/ 879 w 3465"/>
                  <a:gd name="T13" fmla="*/ 2651 h 4020"/>
                  <a:gd name="T14" fmla="*/ 959 w 3465"/>
                  <a:gd name="T15" fmla="*/ 2529 h 4020"/>
                  <a:gd name="T16" fmla="*/ 1022 w 3465"/>
                  <a:gd name="T17" fmla="*/ 2404 h 4020"/>
                  <a:gd name="T18" fmla="*/ 1072 w 3465"/>
                  <a:gd name="T19" fmla="*/ 2278 h 4020"/>
                  <a:gd name="T20" fmla="*/ 1119 w 3465"/>
                  <a:gd name="T21" fmla="*/ 2118 h 4020"/>
                  <a:gd name="T22" fmla="*/ 1171 w 3465"/>
                  <a:gd name="T23" fmla="*/ 1861 h 4020"/>
                  <a:gd name="T24" fmla="*/ 1197 w 3465"/>
                  <a:gd name="T25" fmla="*/ 1719 h 4020"/>
                  <a:gd name="T26" fmla="*/ 1217 w 3465"/>
                  <a:gd name="T27" fmla="*/ 1612 h 4020"/>
                  <a:gd name="T28" fmla="*/ 1256 w 3465"/>
                  <a:gd name="T29" fmla="*/ 1452 h 4020"/>
                  <a:gd name="T30" fmla="*/ 1314 w 3465"/>
                  <a:gd name="T31" fmla="*/ 1276 h 4020"/>
                  <a:gd name="T32" fmla="*/ 1388 w 3465"/>
                  <a:gd name="T33" fmla="*/ 1105 h 4020"/>
                  <a:gd name="T34" fmla="*/ 1479 w 3465"/>
                  <a:gd name="T35" fmla="*/ 940 h 4020"/>
                  <a:gd name="T36" fmla="*/ 1584 w 3465"/>
                  <a:gd name="T37" fmla="*/ 783 h 4020"/>
                  <a:gd name="T38" fmla="*/ 1703 w 3465"/>
                  <a:gd name="T39" fmla="*/ 634 h 4020"/>
                  <a:gd name="T40" fmla="*/ 1833 w 3465"/>
                  <a:gd name="T41" fmla="*/ 494 h 4020"/>
                  <a:gd name="T42" fmla="*/ 1977 w 3465"/>
                  <a:gd name="T43" fmla="*/ 367 h 4020"/>
                  <a:gd name="T44" fmla="*/ 2154 w 3465"/>
                  <a:gd name="T45" fmla="*/ 248 h 4020"/>
                  <a:gd name="T46" fmla="*/ 2370 w 3465"/>
                  <a:gd name="T47" fmla="*/ 155 h 4020"/>
                  <a:gd name="T48" fmla="*/ 2604 w 3465"/>
                  <a:gd name="T49" fmla="*/ 90 h 4020"/>
                  <a:gd name="T50" fmla="*/ 2841 w 3465"/>
                  <a:gd name="T51" fmla="*/ 45 h 4020"/>
                  <a:gd name="T52" fmla="*/ 3060 w 3465"/>
                  <a:gd name="T53" fmla="*/ 18 h 4020"/>
                  <a:gd name="T54" fmla="*/ 3354 w 3465"/>
                  <a:gd name="T55" fmla="*/ 1 h 4020"/>
                  <a:gd name="T56" fmla="*/ 3456 w 3465"/>
                  <a:gd name="T57" fmla="*/ 1 h 4020"/>
                  <a:gd name="T58" fmla="*/ 3464 w 3465"/>
                  <a:gd name="T59" fmla="*/ 18 h 4020"/>
                  <a:gd name="T60" fmla="*/ 3438 w 3465"/>
                  <a:gd name="T61" fmla="*/ 27 h 4020"/>
                  <a:gd name="T62" fmla="*/ 3206 w 3465"/>
                  <a:gd name="T63" fmla="*/ 35 h 4020"/>
                  <a:gd name="T64" fmla="*/ 2959 w 3465"/>
                  <a:gd name="T65" fmla="*/ 56 h 4020"/>
                  <a:gd name="T66" fmla="*/ 2731 w 3465"/>
                  <a:gd name="T67" fmla="*/ 91 h 4020"/>
                  <a:gd name="T68" fmla="*/ 2495 w 3465"/>
                  <a:gd name="T69" fmla="*/ 145 h 4020"/>
                  <a:gd name="T70" fmla="*/ 2271 w 3465"/>
                  <a:gd name="T71" fmla="*/ 222 h 4020"/>
                  <a:gd name="T72" fmla="*/ 2074 w 3465"/>
                  <a:gd name="T73" fmla="*/ 327 h 4020"/>
                  <a:gd name="T74" fmla="*/ 1922 w 3465"/>
                  <a:gd name="T75" fmla="*/ 450 h 4020"/>
                  <a:gd name="T76" fmla="*/ 1786 w 3465"/>
                  <a:gd name="T77" fmla="*/ 582 h 4020"/>
                  <a:gd name="T78" fmla="*/ 1663 w 3465"/>
                  <a:gd name="T79" fmla="*/ 724 h 4020"/>
                  <a:gd name="T80" fmla="*/ 1553 w 3465"/>
                  <a:gd name="T81" fmla="*/ 875 h 4020"/>
                  <a:gd name="T82" fmla="*/ 1455 w 3465"/>
                  <a:gd name="T83" fmla="*/ 1035 h 4020"/>
                  <a:gd name="T84" fmla="*/ 1374 w 3465"/>
                  <a:gd name="T85" fmla="*/ 1200 h 4020"/>
                  <a:gd name="T86" fmla="*/ 1309 w 3465"/>
                  <a:gd name="T87" fmla="*/ 1372 h 4020"/>
                  <a:gd name="T88" fmla="*/ 1259 w 3465"/>
                  <a:gd name="T89" fmla="*/ 1547 h 4020"/>
                  <a:gd name="T90" fmla="*/ 1233 w 3465"/>
                  <a:gd name="T91" fmla="*/ 1670 h 4020"/>
                  <a:gd name="T92" fmla="*/ 1214 w 3465"/>
                  <a:gd name="T93" fmla="*/ 1776 h 4020"/>
                  <a:gd name="T94" fmla="*/ 1174 w 3465"/>
                  <a:gd name="T95" fmla="*/ 1997 h 4020"/>
                  <a:gd name="T96" fmla="*/ 1117 w 3465"/>
                  <a:gd name="T97" fmla="*/ 2224 h 4020"/>
                  <a:gd name="T98" fmla="*/ 1073 w 3465"/>
                  <a:gd name="T99" fmla="*/ 2353 h 4020"/>
                  <a:gd name="T100" fmla="*/ 1016 w 3465"/>
                  <a:gd name="T101" fmla="*/ 2481 h 4020"/>
                  <a:gd name="T102" fmla="*/ 944 w 3465"/>
                  <a:gd name="T103" fmla="*/ 2606 h 4020"/>
                  <a:gd name="T104" fmla="*/ 852 w 3465"/>
                  <a:gd name="T105" fmla="*/ 2728 h 4020"/>
                  <a:gd name="T106" fmla="*/ 744 w 3465"/>
                  <a:gd name="T107" fmla="*/ 2844 h 4020"/>
                  <a:gd name="T108" fmla="*/ 638 w 3465"/>
                  <a:gd name="T109" fmla="*/ 2971 h 4020"/>
                  <a:gd name="T110" fmla="*/ 531 w 3465"/>
                  <a:gd name="T111" fmla="*/ 3119 h 4020"/>
                  <a:gd name="T112" fmla="*/ 400 w 3465"/>
                  <a:gd name="T113" fmla="*/ 3324 h 4020"/>
                  <a:gd name="T114" fmla="*/ 209 w 3465"/>
                  <a:gd name="T115" fmla="*/ 3664 h 4020"/>
                  <a:gd name="T116" fmla="*/ 58 w 3465"/>
                  <a:gd name="T117" fmla="*/ 3960 h 4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65" h="4020">
                    <a:moveTo>
                      <a:pt x="0" y="4020"/>
                    </a:moveTo>
                    <a:lnTo>
                      <a:pt x="28" y="3961"/>
                    </a:lnTo>
                    <a:lnTo>
                      <a:pt x="61" y="3894"/>
                    </a:lnTo>
                    <a:lnTo>
                      <a:pt x="98" y="3820"/>
                    </a:lnTo>
                    <a:lnTo>
                      <a:pt x="137" y="3744"/>
                    </a:lnTo>
                    <a:lnTo>
                      <a:pt x="180" y="3662"/>
                    </a:lnTo>
                    <a:lnTo>
                      <a:pt x="226" y="3577"/>
                    </a:lnTo>
                    <a:lnTo>
                      <a:pt x="273" y="3491"/>
                    </a:lnTo>
                    <a:lnTo>
                      <a:pt x="323" y="3404"/>
                    </a:lnTo>
                    <a:lnTo>
                      <a:pt x="373" y="3316"/>
                    </a:lnTo>
                    <a:lnTo>
                      <a:pt x="426" y="3231"/>
                    </a:lnTo>
                    <a:lnTo>
                      <a:pt x="452" y="3189"/>
                    </a:lnTo>
                    <a:lnTo>
                      <a:pt x="479" y="3148"/>
                    </a:lnTo>
                    <a:lnTo>
                      <a:pt x="506" y="3107"/>
                    </a:lnTo>
                    <a:lnTo>
                      <a:pt x="534" y="3067"/>
                    </a:lnTo>
                    <a:lnTo>
                      <a:pt x="561" y="3028"/>
                    </a:lnTo>
                    <a:lnTo>
                      <a:pt x="588" y="2991"/>
                    </a:lnTo>
                    <a:lnTo>
                      <a:pt x="615" y="2955"/>
                    </a:lnTo>
                    <a:lnTo>
                      <a:pt x="643" y="2920"/>
                    </a:lnTo>
                    <a:lnTo>
                      <a:pt x="670" y="2888"/>
                    </a:lnTo>
                    <a:lnTo>
                      <a:pt x="697" y="2856"/>
                    </a:lnTo>
                    <a:lnTo>
                      <a:pt x="724" y="2826"/>
                    </a:lnTo>
                    <a:lnTo>
                      <a:pt x="750" y="2799"/>
                    </a:lnTo>
                    <a:lnTo>
                      <a:pt x="779" y="2770"/>
                    </a:lnTo>
                    <a:lnTo>
                      <a:pt x="805" y="2741"/>
                    </a:lnTo>
                    <a:lnTo>
                      <a:pt x="831" y="2711"/>
                    </a:lnTo>
                    <a:lnTo>
                      <a:pt x="856" y="2681"/>
                    </a:lnTo>
                    <a:lnTo>
                      <a:pt x="879" y="2651"/>
                    </a:lnTo>
                    <a:lnTo>
                      <a:pt x="900" y="2621"/>
                    </a:lnTo>
                    <a:lnTo>
                      <a:pt x="921" y="2591"/>
                    </a:lnTo>
                    <a:lnTo>
                      <a:pt x="940" y="2559"/>
                    </a:lnTo>
                    <a:lnTo>
                      <a:pt x="959" y="2529"/>
                    </a:lnTo>
                    <a:lnTo>
                      <a:pt x="976" y="2498"/>
                    </a:lnTo>
                    <a:lnTo>
                      <a:pt x="992" y="2467"/>
                    </a:lnTo>
                    <a:lnTo>
                      <a:pt x="1007" y="2435"/>
                    </a:lnTo>
                    <a:lnTo>
                      <a:pt x="1022" y="2404"/>
                    </a:lnTo>
                    <a:lnTo>
                      <a:pt x="1035" y="2373"/>
                    </a:lnTo>
                    <a:lnTo>
                      <a:pt x="1048" y="2341"/>
                    </a:lnTo>
                    <a:lnTo>
                      <a:pt x="1060" y="2310"/>
                    </a:lnTo>
                    <a:lnTo>
                      <a:pt x="1072" y="2278"/>
                    </a:lnTo>
                    <a:lnTo>
                      <a:pt x="1082" y="2246"/>
                    </a:lnTo>
                    <a:lnTo>
                      <a:pt x="1093" y="2214"/>
                    </a:lnTo>
                    <a:lnTo>
                      <a:pt x="1101" y="2183"/>
                    </a:lnTo>
                    <a:lnTo>
                      <a:pt x="1119" y="2118"/>
                    </a:lnTo>
                    <a:lnTo>
                      <a:pt x="1134" y="2054"/>
                    </a:lnTo>
                    <a:lnTo>
                      <a:pt x="1148" y="1990"/>
                    </a:lnTo>
                    <a:lnTo>
                      <a:pt x="1160" y="1926"/>
                    </a:lnTo>
                    <a:lnTo>
                      <a:pt x="1171" y="1861"/>
                    </a:lnTo>
                    <a:lnTo>
                      <a:pt x="1182" y="1797"/>
                    </a:lnTo>
                    <a:lnTo>
                      <a:pt x="1188" y="1771"/>
                    </a:lnTo>
                    <a:lnTo>
                      <a:pt x="1192" y="1744"/>
                    </a:lnTo>
                    <a:lnTo>
                      <a:pt x="1197" y="1719"/>
                    </a:lnTo>
                    <a:lnTo>
                      <a:pt x="1202" y="1692"/>
                    </a:lnTo>
                    <a:lnTo>
                      <a:pt x="1207" y="1666"/>
                    </a:lnTo>
                    <a:lnTo>
                      <a:pt x="1211" y="1639"/>
                    </a:lnTo>
                    <a:lnTo>
                      <a:pt x="1217" y="1612"/>
                    </a:lnTo>
                    <a:lnTo>
                      <a:pt x="1222" y="1586"/>
                    </a:lnTo>
                    <a:lnTo>
                      <a:pt x="1232" y="1540"/>
                    </a:lnTo>
                    <a:lnTo>
                      <a:pt x="1243" y="1496"/>
                    </a:lnTo>
                    <a:lnTo>
                      <a:pt x="1256" y="1452"/>
                    </a:lnTo>
                    <a:lnTo>
                      <a:pt x="1269" y="1408"/>
                    </a:lnTo>
                    <a:lnTo>
                      <a:pt x="1283" y="1363"/>
                    </a:lnTo>
                    <a:lnTo>
                      <a:pt x="1298" y="1320"/>
                    </a:lnTo>
                    <a:lnTo>
                      <a:pt x="1314" y="1276"/>
                    </a:lnTo>
                    <a:lnTo>
                      <a:pt x="1331" y="1233"/>
                    </a:lnTo>
                    <a:lnTo>
                      <a:pt x="1350" y="1191"/>
                    </a:lnTo>
                    <a:lnTo>
                      <a:pt x="1369" y="1148"/>
                    </a:lnTo>
                    <a:lnTo>
                      <a:pt x="1388" y="1105"/>
                    </a:lnTo>
                    <a:lnTo>
                      <a:pt x="1410" y="1063"/>
                    </a:lnTo>
                    <a:lnTo>
                      <a:pt x="1432" y="1022"/>
                    </a:lnTo>
                    <a:lnTo>
                      <a:pt x="1455" y="981"/>
                    </a:lnTo>
                    <a:lnTo>
                      <a:pt x="1479" y="940"/>
                    </a:lnTo>
                    <a:lnTo>
                      <a:pt x="1504" y="900"/>
                    </a:lnTo>
                    <a:lnTo>
                      <a:pt x="1530" y="860"/>
                    </a:lnTo>
                    <a:lnTo>
                      <a:pt x="1557" y="822"/>
                    </a:lnTo>
                    <a:lnTo>
                      <a:pt x="1584" y="783"/>
                    </a:lnTo>
                    <a:lnTo>
                      <a:pt x="1612" y="745"/>
                    </a:lnTo>
                    <a:lnTo>
                      <a:pt x="1641" y="707"/>
                    </a:lnTo>
                    <a:lnTo>
                      <a:pt x="1671" y="670"/>
                    </a:lnTo>
                    <a:lnTo>
                      <a:pt x="1703" y="634"/>
                    </a:lnTo>
                    <a:lnTo>
                      <a:pt x="1734" y="598"/>
                    </a:lnTo>
                    <a:lnTo>
                      <a:pt x="1766" y="564"/>
                    </a:lnTo>
                    <a:lnTo>
                      <a:pt x="1800" y="529"/>
                    </a:lnTo>
                    <a:lnTo>
                      <a:pt x="1833" y="494"/>
                    </a:lnTo>
                    <a:lnTo>
                      <a:pt x="1869" y="462"/>
                    </a:lnTo>
                    <a:lnTo>
                      <a:pt x="1904" y="430"/>
                    </a:lnTo>
                    <a:lnTo>
                      <a:pt x="1940" y="398"/>
                    </a:lnTo>
                    <a:lnTo>
                      <a:pt x="1977" y="367"/>
                    </a:lnTo>
                    <a:lnTo>
                      <a:pt x="2015" y="337"/>
                    </a:lnTo>
                    <a:lnTo>
                      <a:pt x="2058" y="306"/>
                    </a:lnTo>
                    <a:lnTo>
                      <a:pt x="2104" y="275"/>
                    </a:lnTo>
                    <a:lnTo>
                      <a:pt x="2154" y="248"/>
                    </a:lnTo>
                    <a:lnTo>
                      <a:pt x="2205" y="222"/>
                    </a:lnTo>
                    <a:lnTo>
                      <a:pt x="2258" y="199"/>
                    </a:lnTo>
                    <a:lnTo>
                      <a:pt x="2313" y="176"/>
                    </a:lnTo>
                    <a:lnTo>
                      <a:pt x="2370" y="155"/>
                    </a:lnTo>
                    <a:lnTo>
                      <a:pt x="2427" y="137"/>
                    </a:lnTo>
                    <a:lnTo>
                      <a:pt x="2486" y="120"/>
                    </a:lnTo>
                    <a:lnTo>
                      <a:pt x="2545" y="104"/>
                    </a:lnTo>
                    <a:lnTo>
                      <a:pt x="2604" y="90"/>
                    </a:lnTo>
                    <a:lnTo>
                      <a:pt x="2664" y="77"/>
                    </a:lnTo>
                    <a:lnTo>
                      <a:pt x="2723" y="65"/>
                    </a:lnTo>
                    <a:lnTo>
                      <a:pt x="2783" y="55"/>
                    </a:lnTo>
                    <a:lnTo>
                      <a:pt x="2841" y="45"/>
                    </a:lnTo>
                    <a:lnTo>
                      <a:pt x="2898" y="37"/>
                    </a:lnTo>
                    <a:lnTo>
                      <a:pt x="2953" y="30"/>
                    </a:lnTo>
                    <a:lnTo>
                      <a:pt x="3008" y="24"/>
                    </a:lnTo>
                    <a:lnTo>
                      <a:pt x="3060" y="18"/>
                    </a:lnTo>
                    <a:lnTo>
                      <a:pt x="3111" y="14"/>
                    </a:lnTo>
                    <a:lnTo>
                      <a:pt x="3204" y="8"/>
                    </a:lnTo>
                    <a:lnTo>
                      <a:pt x="3286" y="3"/>
                    </a:lnTo>
                    <a:lnTo>
                      <a:pt x="3354" y="1"/>
                    </a:lnTo>
                    <a:lnTo>
                      <a:pt x="3406" y="0"/>
                    </a:lnTo>
                    <a:lnTo>
                      <a:pt x="3438" y="0"/>
                    </a:lnTo>
                    <a:lnTo>
                      <a:pt x="3451" y="0"/>
                    </a:lnTo>
                    <a:lnTo>
                      <a:pt x="3456" y="1"/>
                    </a:lnTo>
                    <a:lnTo>
                      <a:pt x="3461" y="4"/>
                    </a:lnTo>
                    <a:lnTo>
                      <a:pt x="3464" y="9"/>
                    </a:lnTo>
                    <a:lnTo>
                      <a:pt x="3465" y="13"/>
                    </a:lnTo>
                    <a:lnTo>
                      <a:pt x="3464" y="18"/>
                    </a:lnTo>
                    <a:lnTo>
                      <a:pt x="3461" y="23"/>
                    </a:lnTo>
                    <a:lnTo>
                      <a:pt x="3456" y="26"/>
                    </a:lnTo>
                    <a:lnTo>
                      <a:pt x="3451" y="27"/>
                    </a:lnTo>
                    <a:lnTo>
                      <a:pt x="3438" y="27"/>
                    </a:lnTo>
                    <a:lnTo>
                      <a:pt x="3406" y="27"/>
                    </a:lnTo>
                    <a:lnTo>
                      <a:pt x="3354" y="28"/>
                    </a:lnTo>
                    <a:lnTo>
                      <a:pt x="3287" y="30"/>
                    </a:lnTo>
                    <a:lnTo>
                      <a:pt x="3206" y="35"/>
                    </a:lnTo>
                    <a:lnTo>
                      <a:pt x="3114" y="41"/>
                    </a:lnTo>
                    <a:lnTo>
                      <a:pt x="3064" y="45"/>
                    </a:lnTo>
                    <a:lnTo>
                      <a:pt x="3013" y="51"/>
                    </a:lnTo>
                    <a:lnTo>
                      <a:pt x="2959" y="56"/>
                    </a:lnTo>
                    <a:lnTo>
                      <a:pt x="2903" y="64"/>
                    </a:lnTo>
                    <a:lnTo>
                      <a:pt x="2846" y="71"/>
                    </a:lnTo>
                    <a:lnTo>
                      <a:pt x="2789" y="81"/>
                    </a:lnTo>
                    <a:lnTo>
                      <a:pt x="2731" y="91"/>
                    </a:lnTo>
                    <a:lnTo>
                      <a:pt x="2672" y="103"/>
                    </a:lnTo>
                    <a:lnTo>
                      <a:pt x="2613" y="116"/>
                    </a:lnTo>
                    <a:lnTo>
                      <a:pt x="2555" y="130"/>
                    </a:lnTo>
                    <a:lnTo>
                      <a:pt x="2495" y="145"/>
                    </a:lnTo>
                    <a:lnTo>
                      <a:pt x="2438" y="162"/>
                    </a:lnTo>
                    <a:lnTo>
                      <a:pt x="2381" y="180"/>
                    </a:lnTo>
                    <a:lnTo>
                      <a:pt x="2326" y="200"/>
                    </a:lnTo>
                    <a:lnTo>
                      <a:pt x="2271" y="222"/>
                    </a:lnTo>
                    <a:lnTo>
                      <a:pt x="2219" y="245"/>
                    </a:lnTo>
                    <a:lnTo>
                      <a:pt x="2168" y="271"/>
                    </a:lnTo>
                    <a:lnTo>
                      <a:pt x="2120" y="298"/>
                    </a:lnTo>
                    <a:lnTo>
                      <a:pt x="2074" y="327"/>
                    </a:lnTo>
                    <a:lnTo>
                      <a:pt x="2031" y="358"/>
                    </a:lnTo>
                    <a:lnTo>
                      <a:pt x="1994" y="389"/>
                    </a:lnTo>
                    <a:lnTo>
                      <a:pt x="1958" y="419"/>
                    </a:lnTo>
                    <a:lnTo>
                      <a:pt x="1922" y="450"/>
                    </a:lnTo>
                    <a:lnTo>
                      <a:pt x="1887" y="481"/>
                    </a:lnTo>
                    <a:lnTo>
                      <a:pt x="1853" y="514"/>
                    </a:lnTo>
                    <a:lnTo>
                      <a:pt x="1819" y="547"/>
                    </a:lnTo>
                    <a:lnTo>
                      <a:pt x="1786" y="582"/>
                    </a:lnTo>
                    <a:lnTo>
                      <a:pt x="1755" y="616"/>
                    </a:lnTo>
                    <a:lnTo>
                      <a:pt x="1723" y="652"/>
                    </a:lnTo>
                    <a:lnTo>
                      <a:pt x="1693" y="688"/>
                    </a:lnTo>
                    <a:lnTo>
                      <a:pt x="1663" y="724"/>
                    </a:lnTo>
                    <a:lnTo>
                      <a:pt x="1634" y="761"/>
                    </a:lnTo>
                    <a:lnTo>
                      <a:pt x="1606" y="799"/>
                    </a:lnTo>
                    <a:lnTo>
                      <a:pt x="1579" y="837"/>
                    </a:lnTo>
                    <a:lnTo>
                      <a:pt x="1553" y="875"/>
                    </a:lnTo>
                    <a:lnTo>
                      <a:pt x="1527" y="914"/>
                    </a:lnTo>
                    <a:lnTo>
                      <a:pt x="1502" y="954"/>
                    </a:lnTo>
                    <a:lnTo>
                      <a:pt x="1479" y="994"/>
                    </a:lnTo>
                    <a:lnTo>
                      <a:pt x="1455" y="1035"/>
                    </a:lnTo>
                    <a:lnTo>
                      <a:pt x="1434" y="1076"/>
                    </a:lnTo>
                    <a:lnTo>
                      <a:pt x="1413" y="1117"/>
                    </a:lnTo>
                    <a:lnTo>
                      <a:pt x="1393" y="1158"/>
                    </a:lnTo>
                    <a:lnTo>
                      <a:pt x="1374" y="1200"/>
                    </a:lnTo>
                    <a:lnTo>
                      <a:pt x="1356" y="1244"/>
                    </a:lnTo>
                    <a:lnTo>
                      <a:pt x="1339" y="1286"/>
                    </a:lnTo>
                    <a:lnTo>
                      <a:pt x="1323" y="1329"/>
                    </a:lnTo>
                    <a:lnTo>
                      <a:pt x="1309" y="1372"/>
                    </a:lnTo>
                    <a:lnTo>
                      <a:pt x="1295" y="1415"/>
                    </a:lnTo>
                    <a:lnTo>
                      <a:pt x="1282" y="1459"/>
                    </a:lnTo>
                    <a:lnTo>
                      <a:pt x="1270" y="1503"/>
                    </a:lnTo>
                    <a:lnTo>
                      <a:pt x="1259" y="1547"/>
                    </a:lnTo>
                    <a:lnTo>
                      <a:pt x="1249" y="1591"/>
                    </a:lnTo>
                    <a:lnTo>
                      <a:pt x="1244" y="1617"/>
                    </a:lnTo>
                    <a:lnTo>
                      <a:pt x="1238" y="1644"/>
                    </a:lnTo>
                    <a:lnTo>
                      <a:pt x="1233" y="1670"/>
                    </a:lnTo>
                    <a:lnTo>
                      <a:pt x="1229" y="1697"/>
                    </a:lnTo>
                    <a:lnTo>
                      <a:pt x="1223" y="1723"/>
                    </a:lnTo>
                    <a:lnTo>
                      <a:pt x="1219" y="1750"/>
                    </a:lnTo>
                    <a:lnTo>
                      <a:pt x="1214" y="1776"/>
                    </a:lnTo>
                    <a:lnTo>
                      <a:pt x="1209" y="1802"/>
                    </a:lnTo>
                    <a:lnTo>
                      <a:pt x="1198" y="1866"/>
                    </a:lnTo>
                    <a:lnTo>
                      <a:pt x="1185" y="1931"/>
                    </a:lnTo>
                    <a:lnTo>
                      <a:pt x="1174" y="1997"/>
                    </a:lnTo>
                    <a:lnTo>
                      <a:pt x="1160" y="2062"/>
                    </a:lnTo>
                    <a:lnTo>
                      <a:pt x="1144" y="2127"/>
                    </a:lnTo>
                    <a:lnTo>
                      <a:pt x="1127" y="2191"/>
                    </a:lnTo>
                    <a:lnTo>
                      <a:pt x="1117" y="2224"/>
                    </a:lnTo>
                    <a:lnTo>
                      <a:pt x="1108" y="2256"/>
                    </a:lnTo>
                    <a:lnTo>
                      <a:pt x="1097" y="2289"/>
                    </a:lnTo>
                    <a:lnTo>
                      <a:pt x="1085" y="2321"/>
                    </a:lnTo>
                    <a:lnTo>
                      <a:pt x="1073" y="2353"/>
                    </a:lnTo>
                    <a:lnTo>
                      <a:pt x="1060" y="2385"/>
                    </a:lnTo>
                    <a:lnTo>
                      <a:pt x="1046" y="2417"/>
                    </a:lnTo>
                    <a:lnTo>
                      <a:pt x="1032" y="2448"/>
                    </a:lnTo>
                    <a:lnTo>
                      <a:pt x="1016" y="2481"/>
                    </a:lnTo>
                    <a:lnTo>
                      <a:pt x="1000" y="2512"/>
                    </a:lnTo>
                    <a:lnTo>
                      <a:pt x="981" y="2543"/>
                    </a:lnTo>
                    <a:lnTo>
                      <a:pt x="963" y="2575"/>
                    </a:lnTo>
                    <a:lnTo>
                      <a:pt x="944" y="2606"/>
                    </a:lnTo>
                    <a:lnTo>
                      <a:pt x="922" y="2636"/>
                    </a:lnTo>
                    <a:lnTo>
                      <a:pt x="900" y="2667"/>
                    </a:lnTo>
                    <a:lnTo>
                      <a:pt x="877" y="2698"/>
                    </a:lnTo>
                    <a:lnTo>
                      <a:pt x="852" y="2728"/>
                    </a:lnTo>
                    <a:lnTo>
                      <a:pt x="826" y="2758"/>
                    </a:lnTo>
                    <a:lnTo>
                      <a:pt x="799" y="2788"/>
                    </a:lnTo>
                    <a:lnTo>
                      <a:pt x="770" y="2817"/>
                    </a:lnTo>
                    <a:lnTo>
                      <a:pt x="744" y="2844"/>
                    </a:lnTo>
                    <a:lnTo>
                      <a:pt x="717" y="2874"/>
                    </a:lnTo>
                    <a:lnTo>
                      <a:pt x="691" y="2904"/>
                    </a:lnTo>
                    <a:lnTo>
                      <a:pt x="664" y="2936"/>
                    </a:lnTo>
                    <a:lnTo>
                      <a:pt x="638" y="2971"/>
                    </a:lnTo>
                    <a:lnTo>
                      <a:pt x="611" y="3005"/>
                    </a:lnTo>
                    <a:lnTo>
                      <a:pt x="584" y="3042"/>
                    </a:lnTo>
                    <a:lnTo>
                      <a:pt x="558" y="3080"/>
                    </a:lnTo>
                    <a:lnTo>
                      <a:pt x="531" y="3119"/>
                    </a:lnTo>
                    <a:lnTo>
                      <a:pt x="504" y="3159"/>
                    </a:lnTo>
                    <a:lnTo>
                      <a:pt x="478" y="3199"/>
                    </a:lnTo>
                    <a:lnTo>
                      <a:pt x="452" y="3241"/>
                    </a:lnTo>
                    <a:lnTo>
                      <a:pt x="400" y="3324"/>
                    </a:lnTo>
                    <a:lnTo>
                      <a:pt x="350" y="3409"/>
                    </a:lnTo>
                    <a:lnTo>
                      <a:pt x="301" y="3495"/>
                    </a:lnTo>
                    <a:lnTo>
                      <a:pt x="255" y="3580"/>
                    </a:lnTo>
                    <a:lnTo>
                      <a:pt x="209" y="3664"/>
                    </a:lnTo>
                    <a:lnTo>
                      <a:pt x="167" y="3744"/>
                    </a:lnTo>
                    <a:lnTo>
                      <a:pt x="128" y="3820"/>
                    </a:lnTo>
                    <a:lnTo>
                      <a:pt x="92" y="3893"/>
                    </a:lnTo>
                    <a:lnTo>
                      <a:pt x="58" y="3960"/>
                    </a:lnTo>
                    <a:lnTo>
                      <a:pt x="29" y="4020"/>
                    </a:lnTo>
                    <a:lnTo>
                      <a:pt x="0" y="4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94"/>
              <p:cNvSpPr>
                <a:spLocks noEditPoints="1"/>
              </p:cNvSpPr>
              <p:nvPr userDrawn="1"/>
            </p:nvSpPr>
            <p:spPr bwMode="auto">
              <a:xfrm>
                <a:off x="2737" y="3461"/>
                <a:ext cx="26" cy="26"/>
              </a:xfrm>
              <a:custGeom>
                <a:avLst/>
                <a:gdLst>
                  <a:gd name="T0" fmla="*/ 38 w 77"/>
                  <a:gd name="T1" fmla="*/ 77 h 77"/>
                  <a:gd name="T2" fmla="*/ 30 w 77"/>
                  <a:gd name="T3" fmla="*/ 76 h 77"/>
                  <a:gd name="T4" fmla="*/ 24 w 77"/>
                  <a:gd name="T5" fmla="*/ 74 h 77"/>
                  <a:gd name="T6" fmla="*/ 17 w 77"/>
                  <a:gd name="T7" fmla="*/ 71 h 77"/>
                  <a:gd name="T8" fmla="*/ 11 w 77"/>
                  <a:gd name="T9" fmla="*/ 65 h 77"/>
                  <a:gd name="T10" fmla="*/ 6 w 77"/>
                  <a:gd name="T11" fmla="*/ 60 h 77"/>
                  <a:gd name="T12" fmla="*/ 3 w 77"/>
                  <a:gd name="T13" fmla="*/ 53 h 77"/>
                  <a:gd name="T14" fmla="*/ 1 w 77"/>
                  <a:gd name="T15" fmla="*/ 47 h 77"/>
                  <a:gd name="T16" fmla="*/ 0 w 77"/>
                  <a:gd name="T17" fmla="*/ 38 h 77"/>
                  <a:gd name="T18" fmla="*/ 1 w 77"/>
                  <a:gd name="T19" fmla="*/ 31 h 77"/>
                  <a:gd name="T20" fmla="*/ 3 w 77"/>
                  <a:gd name="T21" fmla="*/ 24 h 77"/>
                  <a:gd name="T22" fmla="*/ 6 w 77"/>
                  <a:gd name="T23" fmla="*/ 18 h 77"/>
                  <a:gd name="T24" fmla="*/ 11 w 77"/>
                  <a:gd name="T25" fmla="*/ 11 h 77"/>
                  <a:gd name="T26" fmla="*/ 17 w 77"/>
                  <a:gd name="T27" fmla="*/ 7 h 77"/>
                  <a:gd name="T28" fmla="*/ 24 w 77"/>
                  <a:gd name="T29" fmla="*/ 4 h 77"/>
                  <a:gd name="T30" fmla="*/ 30 w 77"/>
                  <a:gd name="T31" fmla="*/ 1 h 77"/>
                  <a:gd name="T32" fmla="*/ 38 w 77"/>
                  <a:gd name="T33" fmla="*/ 0 h 77"/>
                  <a:gd name="T34" fmla="*/ 45 w 77"/>
                  <a:gd name="T35" fmla="*/ 1 h 77"/>
                  <a:gd name="T36" fmla="*/ 53 w 77"/>
                  <a:gd name="T37" fmla="*/ 4 h 77"/>
                  <a:gd name="T38" fmla="*/ 59 w 77"/>
                  <a:gd name="T39" fmla="*/ 7 h 77"/>
                  <a:gd name="T40" fmla="*/ 65 w 77"/>
                  <a:gd name="T41" fmla="*/ 11 h 77"/>
                  <a:gd name="T42" fmla="*/ 70 w 77"/>
                  <a:gd name="T43" fmla="*/ 18 h 77"/>
                  <a:gd name="T44" fmla="*/ 73 w 77"/>
                  <a:gd name="T45" fmla="*/ 24 h 77"/>
                  <a:gd name="T46" fmla="*/ 75 w 77"/>
                  <a:gd name="T47" fmla="*/ 31 h 77"/>
                  <a:gd name="T48" fmla="*/ 77 w 77"/>
                  <a:gd name="T49" fmla="*/ 38 h 77"/>
                  <a:gd name="T50" fmla="*/ 75 w 77"/>
                  <a:gd name="T51" fmla="*/ 47 h 77"/>
                  <a:gd name="T52" fmla="*/ 73 w 77"/>
                  <a:gd name="T53" fmla="*/ 53 h 77"/>
                  <a:gd name="T54" fmla="*/ 70 w 77"/>
                  <a:gd name="T55" fmla="*/ 60 h 77"/>
                  <a:gd name="T56" fmla="*/ 65 w 77"/>
                  <a:gd name="T57" fmla="*/ 65 h 77"/>
                  <a:gd name="T58" fmla="*/ 59 w 77"/>
                  <a:gd name="T59" fmla="*/ 71 h 77"/>
                  <a:gd name="T60" fmla="*/ 53 w 77"/>
                  <a:gd name="T61" fmla="*/ 74 h 77"/>
                  <a:gd name="T62" fmla="*/ 45 w 77"/>
                  <a:gd name="T63" fmla="*/ 76 h 77"/>
                  <a:gd name="T64" fmla="*/ 38 w 77"/>
                  <a:gd name="T65" fmla="*/ 77 h 77"/>
                  <a:gd name="T66" fmla="*/ 38 w 77"/>
                  <a:gd name="T67" fmla="*/ 27 h 77"/>
                  <a:gd name="T68" fmla="*/ 38 w 77"/>
                  <a:gd name="T69" fmla="*/ 27 h 77"/>
                  <a:gd name="T70" fmla="*/ 33 w 77"/>
                  <a:gd name="T71" fmla="*/ 28 h 77"/>
                  <a:gd name="T72" fmla="*/ 30 w 77"/>
                  <a:gd name="T73" fmla="*/ 31 h 77"/>
                  <a:gd name="T74" fmla="*/ 28 w 77"/>
                  <a:gd name="T75" fmla="*/ 34 h 77"/>
                  <a:gd name="T76" fmla="*/ 27 w 77"/>
                  <a:gd name="T77" fmla="*/ 38 h 77"/>
                  <a:gd name="T78" fmla="*/ 28 w 77"/>
                  <a:gd name="T79" fmla="*/ 42 h 77"/>
                  <a:gd name="T80" fmla="*/ 30 w 77"/>
                  <a:gd name="T81" fmla="*/ 47 h 77"/>
                  <a:gd name="T82" fmla="*/ 33 w 77"/>
                  <a:gd name="T83" fmla="*/ 49 h 77"/>
                  <a:gd name="T84" fmla="*/ 38 w 77"/>
                  <a:gd name="T85" fmla="*/ 50 h 77"/>
                  <a:gd name="T86" fmla="*/ 42 w 77"/>
                  <a:gd name="T87" fmla="*/ 49 h 77"/>
                  <a:gd name="T88" fmla="*/ 46 w 77"/>
                  <a:gd name="T89" fmla="*/ 47 h 77"/>
                  <a:gd name="T90" fmla="*/ 48 w 77"/>
                  <a:gd name="T91" fmla="*/ 42 h 77"/>
                  <a:gd name="T92" fmla="*/ 50 w 77"/>
                  <a:gd name="T93" fmla="*/ 38 h 77"/>
                  <a:gd name="T94" fmla="*/ 48 w 77"/>
                  <a:gd name="T95" fmla="*/ 34 h 77"/>
                  <a:gd name="T96" fmla="*/ 46 w 77"/>
                  <a:gd name="T97" fmla="*/ 31 h 77"/>
                  <a:gd name="T98" fmla="*/ 42 w 77"/>
                  <a:gd name="T99" fmla="*/ 28 h 77"/>
                  <a:gd name="T100" fmla="*/ 38 w 77"/>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77">
                    <a:moveTo>
                      <a:pt x="38" y="77"/>
                    </a:moveTo>
                    <a:lnTo>
                      <a:pt x="30" y="76"/>
                    </a:lnTo>
                    <a:lnTo>
                      <a:pt x="24" y="74"/>
                    </a:lnTo>
                    <a:lnTo>
                      <a:pt x="17" y="71"/>
                    </a:lnTo>
                    <a:lnTo>
                      <a:pt x="11" y="65"/>
                    </a:lnTo>
                    <a:lnTo>
                      <a:pt x="6" y="60"/>
                    </a:lnTo>
                    <a:lnTo>
                      <a:pt x="3" y="53"/>
                    </a:lnTo>
                    <a:lnTo>
                      <a:pt x="1" y="47"/>
                    </a:lnTo>
                    <a:lnTo>
                      <a:pt x="0" y="38"/>
                    </a:lnTo>
                    <a:lnTo>
                      <a:pt x="1" y="31"/>
                    </a:lnTo>
                    <a:lnTo>
                      <a:pt x="3" y="24"/>
                    </a:lnTo>
                    <a:lnTo>
                      <a:pt x="6" y="18"/>
                    </a:lnTo>
                    <a:lnTo>
                      <a:pt x="11" y="11"/>
                    </a:lnTo>
                    <a:lnTo>
                      <a:pt x="17" y="7"/>
                    </a:lnTo>
                    <a:lnTo>
                      <a:pt x="24" y="4"/>
                    </a:lnTo>
                    <a:lnTo>
                      <a:pt x="30" y="1"/>
                    </a:lnTo>
                    <a:lnTo>
                      <a:pt x="38" y="0"/>
                    </a:lnTo>
                    <a:lnTo>
                      <a:pt x="45" y="1"/>
                    </a:lnTo>
                    <a:lnTo>
                      <a:pt x="53" y="4"/>
                    </a:lnTo>
                    <a:lnTo>
                      <a:pt x="59" y="7"/>
                    </a:lnTo>
                    <a:lnTo>
                      <a:pt x="65" y="11"/>
                    </a:lnTo>
                    <a:lnTo>
                      <a:pt x="70" y="18"/>
                    </a:lnTo>
                    <a:lnTo>
                      <a:pt x="73" y="24"/>
                    </a:lnTo>
                    <a:lnTo>
                      <a:pt x="75" y="31"/>
                    </a:lnTo>
                    <a:lnTo>
                      <a:pt x="77" y="38"/>
                    </a:lnTo>
                    <a:lnTo>
                      <a:pt x="75" y="47"/>
                    </a:lnTo>
                    <a:lnTo>
                      <a:pt x="73" y="53"/>
                    </a:lnTo>
                    <a:lnTo>
                      <a:pt x="70" y="60"/>
                    </a:lnTo>
                    <a:lnTo>
                      <a:pt x="65" y="65"/>
                    </a:lnTo>
                    <a:lnTo>
                      <a:pt x="59" y="71"/>
                    </a:lnTo>
                    <a:lnTo>
                      <a:pt x="53" y="74"/>
                    </a:lnTo>
                    <a:lnTo>
                      <a:pt x="45" y="76"/>
                    </a:lnTo>
                    <a:lnTo>
                      <a:pt x="38" y="77"/>
                    </a:lnTo>
                    <a:close/>
                    <a:moveTo>
                      <a:pt x="38" y="27"/>
                    </a:moveTo>
                    <a:lnTo>
                      <a:pt x="38" y="27"/>
                    </a:lnTo>
                    <a:lnTo>
                      <a:pt x="33" y="28"/>
                    </a:lnTo>
                    <a:lnTo>
                      <a:pt x="30" y="31"/>
                    </a:lnTo>
                    <a:lnTo>
                      <a:pt x="28" y="34"/>
                    </a:lnTo>
                    <a:lnTo>
                      <a:pt x="27" y="38"/>
                    </a:lnTo>
                    <a:lnTo>
                      <a:pt x="28" y="42"/>
                    </a:lnTo>
                    <a:lnTo>
                      <a:pt x="30" y="47"/>
                    </a:lnTo>
                    <a:lnTo>
                      <a:pt x="33" y="49"/>
                    </a:lnTo>
                    <a:lnTo>
                      <a:pt x="38" y="50"/>
                    </a:lnTo>
                    <a:lnTo>
                      <a:pt x="42" y="49"/>
                    </a:lnTo>
                    <a:lnTo>
                      <a:pt x="46" y="47"/>
                    </a:lnTo>
                    <a:lnTo>
                      <a:pt x="48" y="42"/>
                    </a:lnTo>
                    <a:lnTo>
                      <a:pt x="50" y="38"/>
                    </a:lnTo>
                    <a:lnTo>
                      <a:pt x="48" y="34"/>
                    </a:lnTo>
                    <a:lnTo>
                      <a:pt x="46" y="31"/>
                    </a:lnTo>
                    <a:lnTo>
                      <a:pt x="42" y="28"/>
                    </a:lnTo>
                    <a:lnTo>
                      <a:pt x="3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95"/>
              <p:cNvSpPr>
                <a:spLocks noEditPoints="1"/>
              </p:cNvSpPr>
              <p:nvPr userDrawn="1"/>
            </p:nvSpPr>
            <p:spPr bwMode="auto">
              <a:xfrm>
                <a:off x="2672" y="3375"/>
                <a:ext cx="33" cy="33"/>
              </a:xfrm>
              <a:custGeom>
                <a:avLst/>
                <a:gdLst>
                  <a:gd name="T0" fmla="*/ 40 w 101"/>
                  <a:gd name="T1" fmla="*/ 100 h 101"/>
                  <a:gd name="T2" fmla="*/ 22 w 101"/>
                  <a:gd name="T3" fmla="*/ 92 h 101"/>
                  <a:gd name="T4" fmla="*/ 9 w 101"/>
                  <a:gd name="T5" fmla="*/ 78 h 101"/>
                  <a:gd name="T6" fmla="*/ 2 w 101"/>
                  <a:gd name="T7" fmla="*/ 61 h 101"/>
                  <a:gd name="T8" fmla="*/ 2 w 101"/>
                  <a:gd name="T9" fmla="*/ 40 h 101"/>
                  <a:gd name="T10" fmla="*/ 9 w 101"/>
                  <a:gd name="T11" fmla="*/ 22 h 101"/>
                  <a:gd name="T12" fmla="*/ 22 w 101"/>
                  <a:gd name="T13" fmla="*/ 9 h 101"/>
                  <a:gd name="T14" fmla="*/ 40 w 101"/>
                  <a:gd name="T15" fmla="*/ 1 h 101"/>
                  <a:gd name="T16" fmla="*/ 61 w 101"/>
                  <a:gd name="T17" fmla="*/ 1 h 101"/>
                  <a:gd name="T18" fmla="*/ 78 w 101"/>
                  <a:gd name="T19" fmla="*/ 9 h 101"/>
                  <a:gd name="T20" fmla="*/ 92 w 101"/>
                  <a:gd name="T21" fmla="*/ 22 h 101"/>
                  <a:gd name="T22" fmla="*/ 100 w 101"/>
                  <a:gd name="T23" fmla="*/ 40 h 101"/>
                  <a:gd name="T24" fmla="*/ 100 w 101"/>
                  <a:gd name="T25" fmla="*/ 61 h 101"/>
                  <a:gd name="T26" fmla="*/ 92 w 101"/>
                  <a:gd name="T27" fmla="*/ 78 h 101"/>
                  <a:gd name="T28" fmla="*/ 78 w 101"/>
                  <a:gd name="T29" fmla="*/ 92 h 101"/>
                  <a:gd name="T30" fmla="*/ 61 w 101"/>
                  <a:gd name="T31" fmla="*/ 100 h 101"/>
                  <a:gd name="T32" fmla="*/ 50 w 101"/>
                  <a:gd name="T33" fmla="*/ 27 h 101"/>
                  <a:gd name="T34" fmla="*/ 46 w 101"/>
                  <a:gd name="T35" fmla="*/ 27 h 101"/>
                  <a:gd name="T36" fmla="*/ 37 w 101"/>
                  <a:gd name="T37" fmla="*/ 32 h 101"/>
                  <a:gd name="T38" fmla="*/ 32 w 101"/>
                  <a:gd name="T39" fmla="*/ 37 h 101"/>
                  <a:gd name="T40" fmla="*/ 27 w 101"/>
                  <a:gd name="T41" fmla="*/ 46 h 101"/>
                  <a:gd name="T42" fmla="*/ 27 w 101"/>
                  <a:gd name="T43" fmla="*/ 55 h 101"/>
                  <a:gd name="T44" fmla="*/ 32 w 101"/>
                  <a:gd name="T45" fmla="*/ 63 h 101"/>
                  <a:gd name="T46" fmla="*/ 37 w 101"/>
                  <a:gd name="T47" fmla="*/ 69 h 101"/>
                  <a:gd name="T48" fmla="*/ 46 w 101"/>
                  <a:gd name="T49" fmla="*/ 73 h 101"/>
                  <a:gd name="T50" fmla="*/ 56 w 101"/>
                  <a:gd name="T51" fmla="*/ 73 h 101"/>
                  <a:gd name="T52" fmla="*/ 63 w 101"/>
                  <a:gd name="T53" fmla="*/ 69 h 101"/>
                  <a:gd name="T54" fmla="*/ 70 w 101"/>
                  <a:gd name="T55" fmla="*/ 63 h 101"/>
                  <a:gd name="T56" fmla="*/ 73 w 101"/>
                  <a:gd name="T57" fmla="*/ 55 h 101"/>
                  <a:gd name="T58" fmla="*/ 73 w 101"/>
                  <a:gd name="T59" fmla="*/ 46 h 101"/>
                  <a:gd name="T60" fmla="*/ 70 w 101"/>
                  <a:gd name="T61" fmla="*/ 37 h 101"/>
                  <a:gd name="T62" fmla="*/ 63 w 101"/>
                  <a:gd name="T63" fmla="*/ 32 h 101"/>
                  <a:gd name="T64" fmla="*/ 56 w 101"/>
                  <a:gd name="T65" fmla="*/ 2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50" y="101"/>
                    </a:moveTo>
                    <a:lnTo>
                      <a:pt x="40" y="100"/>
                    </a:lnTo>
                    <a:lnTo>
                      <a:pt x="31" y="96"/>
                    </a:lnTo>
                    <a:lnTo>
                      <a:pt x="22" y="92"/>
                    </a:lnTo>
                    <a:lnTo>
                      <a:pt x="14" y="85"/>
                    </a:lnTo>
                    <a:lnTo>
                      <a:pt x="9" y="78"/>
                    </a:lnTo>
                    <a:lnTo>
                      <a:pt x="5" y="69"/>
                    </a:lnTo>
                    <a:lnTo>
                      <a:pt x="2" y="61"/>
                    </a:lnTo>
                    <a:lnTo>
                      <a:pt x="0" y="50"/>
                    </a:lnTo>
                    <a:lnTo>
                      <a:pt x="2" y="40"/>
                    </a:lnTo>
                    <a:lnTo>
                      <a:pt x="5" y="30"/>
                    </a:lnTo>
                    <a:lnTo>
                      <a:pt x="9" y="22"/>
                    </a:lnTo>
                    <a:lnTo>
                      <a:pt x="14" y="14"/>
                    </a:lnTo>
                    <a:lnTo>
                      <a:pt x="22" y="9"/>
                    </a:lnTo>
                    <a:lnTo>
                      <a:pt x="31" y="3"/>
                    </a:lnTo>
                    <a:lnTo>
                      <a:pt x="40" y="1"/>
                    </a:lnTo>
                    <a:lnTo>
                      <a:pt x="50" y="0"/>
                    </a:lnTo>
                    <a:lnTo>
                      <a:pt x="61" y="1"/>
                    </a:lnTo>
                    <a:lnTo>
                      <a:pt x="70" y="3"/>
                    </a:lnTo>
                    <a:lnTo>
                      <a:pt x="78" y="9"/>
                    </a:lnTo>
                    <a:lnTo>
                      <a:pt x="86" y="14"/>
                    </a:lnTo>
                    <a:lnTo>
                      <a:pt x="92" y="22"/>
                    </a:lnTo>
                    <a:lnTo>
                      <a:pt x="97" y="30"/>
                    </a:lnTo>
                    <a:lnTo>
                      <a:pt x="100" y="40"/>
                    </a:lnTo>
                    <a:lnTo>
                      <a:pt x="101" y="50"/>
                    </a:lnTo>
                    <a:lnTo>
                      <a:pt x="100" y="61"/>
                    </a:lnTo>
                    <a:lnTo>
                      <a:pt x="97" y="69"/>
                    </a:lnTo>
                    <a:lnTo>
                      <a:pt x="92" y="78"/>
                    </a:lnTo>
                    <a:lnTo>
                      <a:pt x="86" y="85"/>
                    </a:lnTo>
                    <a:lnTo>
                      <a:pt x="78" y="92"/>
                    </a:lnTo>
                    <a:lnTo>
                      <a:pt x="70" y="96"/>
                    </a:lnTo>
                    <a:lnTo>
                      <a:pt x="61" y="100"/>
                    </a:lnTo>
                    <a:lnTo>
                      <a:pt x="50" y="101"/>
                    </a:lnTo>
                    <a:close/>
                    <a:moveTo>
                      <a:pt x="50" y="27"/>
                    </a:moveTo>
                    <a:lnTo>
                      <a:pt x="50" y="27"/>
                    </a:lnTo>
                    <a:lnTo>
                      <a:pt x="46" y="27"/>
                    </a:lnTo>
                    <a:lnTo>
                      <a:pt x="41" y="29"/>
                    </a:lnTo>
                    <a:lnTo>
                      <a:pt x="37" y="32"/>
                    </a:lnTo>
                    <a:lnTo>
                      <a:pt x="34" y="34"/>
                    </a:lnTo>
                    <a:lnTo>
                      <a:pt x="32" y="37"/>
                    </a:lnTo>
                    <a:lnTo>
                      <a:pt x="30" y="41"/>
                    </a:lnTo>
                    <a:lnTo>
                      <a:pt x="27" y="46"/>
                    </a:lnTo>
                    <a:lnTo>
                      <a:pt x="27" y="50"/>
                    </a:lnTo>
                    <a:lnTo>
                      <a:pt x="27" y="55"/>
                    </a:lnTo>
                    <a:lnTo>
                      <a:pt x="30" y="60"/>
                    </a:lnTo>
                    <a:lnTo>
                      <a:pt x="32" y="63"/>
                    </a:lnTo>
                    <a:lnTo>
                      <a:pt x="34" y="66"/>
                    </a:lnTo>
                    <a:lnTo>
                      <a:pt x="37" y="69"/>
                    </a:lnTo>
                    <a:lnTo>
                      <a:pt x="41" y="71"/>
                    </a:lnTo>
                    <a:lnTo>
                      <a:pt x="46" y="73"/>
                    </a:lnTo>
                    <a:lnTo>
                      <a:pt x="50" y="74"/>
                    </a:lnTo>
                    <a:lnTo>
                      <a:pt x="56" y="73"/>
                    </a:lnTo>
                    <a:lnTo>
                      <a:pt x="60" y="71"/>
                    </a:lnTo>
                    <a:lnTo>
                      <a:pt x="63" y="69"/>
                    </a:lnTo>
                    <a:lnTo>
                      <a:pt x="67" y="66"/>
                    </a:lnTo>
                    <a:lnTo>
                      <a:pt x="70" y="63"/>
                    </a:lnTo>
                    <a:lnTo>
                      <a:pt x="72" y="60"/>
                    </a:lnTo>
                    <a:lnTo>
                      <a:pt x="73" y="55"/>
                    </a:lnTo>
                    <a:lnTo>
                      <a:pt x="74" y="50"/>
                    </a:lnTo>
                    <a:lnTo>
                      <a:pt x="73" y="46"/>
                    </a:lnTo>
                    <a:lnTo>
                      <a:pt x="72" y="41"/>
                    </a:lnTo>
                    <a:lnTo>
                      <a:pt x="70" y="37"/>
                    </a:lnTo>
                    <a:lnTo>
                      <a:pt x="67" y="34"/>
                    </a:lnTo>
                    <a:lnTo>
                      <a:pt x="63" y="32"/>
                    </a:lnTo>
                    <a:lnTo>
                      <a:pt x="60" y="29"/>
                    </a:lnTo>
                    <a:lnTo>
                      <a:pt x="56"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96"/>
              <p:cNvSpPr>
                <a:spLocks noEditPoints="1"/>
              </p:cNvSpPr>
              <p:nvPr userDrawn="1"/>
            </p:nvSpPr>
            <p:spPr bwMode="auto">
              <a:xfrm>
                <a:off x="2922" y="3864"/>
                <a:ext cx="49" cy="50"/>
              </a:xfrm>
              <a:custGeom>
                <a:avLst/>
                <a:gdLst>
                  <a:gd name="T0" fmla="*/ 67 w 148"/>
                  <a:gd name="T1" fmla="*/ 148 h 148"/>
                  <a:gd name="T2" fmla="*/ 52 w 148"/>
                  <a:gd name="T3" fmla="*/ 145 h 148"/>
                  <a:gd name="T4" fmla="*/ 39 w 148"/>
                  <a:gd name="T5" fmla="*/ 140 h 148"/>
                  <a:gd name="T6" fmla="*/ 27 w 148"/>
                  <a:gd name="T7" fmla="*/ 132 h 148"/>
                  <a:gd name="T8" fmla="*/ 16 w 148"/>
                  <a:gd name="T9" fmla="*/ 121 h 148"/>
                  <a:gd name="T10" fmla="*/ 8 w 148"/>
                  <a:gd name="T11" fmla="*/ 109 h 148"/>
                  <a:gd name="T12" fmla="*/ 3 w 148"/>
                  <a:gd name="T13" fmla="*/ 96 h 148"/>
                  <a:gd name="T14" fmla="*/ 0 w 148"/>
                  <a:gd name="T15" fmla="*/ 82 h 148"/>
                  <a:gd name="T16" fmla="*/ 0 w 148"/>
                  <a:gd name="T17" fmla="*/ 67 h 148"/>
                  <a:gd name="T18" fmla="*/ 3 w 148"/>
                  <a:gd name="T19" fmla="*/ 52 h 148"/>
                  <a:gd name="T20" fmla="*/ 8 w 148"/>
                  <a:gd name="T21" fmla="*/ 39 h 148"/>
                  <a:gd name="T22" fmla="*/ 16 w 148"/>
                  <a:gd name="T23" fmla="*/ 27 h 148"/>
                  <a:gd name="T24" fmla="*/ 27 w 148"/>
                  <a:gd name="T25" fmla="*/ 17 h 148"/>
                  <a:gd name="T26" fmla="*/ 39 w 148"/>
                  <a:gd name="T27" fmla="*/ 9 h 148"/>
                  <a:gd name="T28" fmla="*/ 52 w 148"/>
                  <a:gd name="T29" fmla="*/ 4 h 148"/>
                  <a:gd name="T30" fmla="*/ 67 w 148"/>
                  <a:gd name="T31" fmla="*/ 0 h 148"/>
                  <a:gd name="T32" fmla="*/ 82 w 148"/>
                  <a:gd name="T33" fmla="*/ 0 h 148"/>
                  <a:gd name="T34" fmla="*/ 96 w 148"/>
                  <a:gd name="T35" fmla="*/ 4 h 148"/>
                  <a:gd name="T36" fmla="*/ 109 w 148"/>
                  <a:gd name="T37" fmla="*/ 9 h 148"/>
                  <a:gd name="T38" fmla="*/ 121 w 148"/>
                  <a:gd name="T39" fmla="*/ 17 h 148"/>
                  <a:gd name="T40" fmla="*/ 132 w 148"/>
                  <a:gd name="T41" fmla="*/ 27 h 148"/>
                  <a:gd name="T42" fmla="*/ 139 w 148"/>
                  <a:gd name="T43" fmla="*/ 39 h 148"/>
                  <a:gd name="T44" fmla="*/ 145 w 148"/>
                  <a:gd name="T45" fmla="*/ 52 h 148"/>
                  <a:gd name="T46" fmla="*/ 148 w 148"/>
                  <a:gd name="T47" fmla="*/ 67 h 148"/>
                  <a:gd name="T48" fmla="*/ 148 w 148"/>
                  <a:gd name="T49" fmla="*/ 82 h 148"/>
                  <a:gd name="T50" fmla="*/ 145 w 148"/>
                  <a:gd name="T51" fmla="*/ 96 h 148"/>
                  <a:gd name="T52" fmla="*/ 139 w 148"/>
                  <a:gd name="T53" fmla="*/ 109 h 148"/>
                  <a:gd name="T54" fmla="*/ 132 w 148"/>
                  <a:gd name="T55" fmla="*/ 121 h 148"/>
                  <a:gd name="T56" fmla="*/ 121 w 148"/>
                  <a:gd name="T57" fmla="*/ 132 h 148"/>
                  <a:gd name="T58" fmla="*/ 109 w 148"/>
                  <a:gd name="T59" fmla="*/ 140 h 148"/>
                  <a:gd name="T60" fmla="*/ 96 w 148"/>
                  <a:gd name="T61" fmla="*/ 145 h 148"/>
                  <a:gd name="T62" fmla="*/ 82 w 148"/>
                  <a:gd name="T63" fmla="*/ 148 h 148"/>
                  <a:gd name="T64" fmla="*/ 74 w 148"/>
                  <a:gd name="T65" fmla="*/ 27 h 148"/>
                  <a:gd name="T66" fmla="*/ 65 w 148"/>
                  <a:gd name="T67" fmla="*/ 28 h 148"/>
                  <a:gd name="T68" fmla="*/ 47 w 148"/>
                  <a:gd name="T69" fmla="*/ 35 h 148"/>
                  <a:gd name="T70" fmla="*/ 34 w 148"/>
                  <a:gd name="T71" fmla="*/ 48 h 148"/>
                  <a:gd name="T72" fmla="*/ 28 w 148"/>
                  <a:gd name="T73" fmla="*/ 65 h 148"/>
                  <a:gd name="T74" fmla="*/ 28 w 148"/>
                  <a:gd name="T75" fmla="*/ 84 h 148"/>
                  <a:gd name="T76" fmla="*/ 34 w 148"/>
                  <a:gd name="T77" fmla="*/ 101 h 148"/>
                  <a:gd name="T78" fmla="*/ 47 w 148"/>
                  <a:gd name="T79" fmla="*/ 114 h 148"/>
                  <a:gd name="T80" fmla="*/ 65 w 148"/>
                  <a:gd name="T81" fmla="*/ 120 h 148"/>
                  <a:gd name="T82" fmla="*/ 83 w 148"/>
                  <a:gd name="T83" fmla="*/ 120 h 148"/>
                  <a:gd name="T84" fmla="*/ 100 w 148"/>
                  <a:gd name="T85" fmla="*/ 114 h 148"/>
                  <a:gd name="T86" fmla="*/ 113 w 148"/>
                  <a:gd name="T87" fmla="*/ 101 h 148"/>
                  <a:gd name="T88" fmla="*/ 120 w 148"/>
                  <a:gd name="T89" fmla="*/ 84 h 148"/>
                  <a:gd name="T90" fmla="*/ 120 w 148"/>
                  <a:gd name="T91" fmla="*/ 65 h 148"/>
                  <a:gd name="T92" fmla="*/ 113 w 148"/>
                  <a:gd name="T93" fmla="*/ 48 h 148"/>
                  <a:gd name="T94" fmla="*/ 100 w 148"/>
                  <a:gd name="T95" fmla="*/ 35 h 148"/>
                  <a:gd name="T96" fmla="*/ 83 w 148"/>
                  <a:gd name="T97" fmla="*/ 2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48">
                    <a:moveTo>
                      <a:pt x="74" y="148"/>
                    </a:moveTo>
                    <a:lnTo>
                      <a:pt x="67" y="148"/>
                    </a:lnTo>
                    <a:lnTo>
                      <a:pt x="59" y="147"/>
                    </a:lnTo>
                    <a:lnTo>
                      <a:pt x="52" y="145"/>
                    </a:lnTo>
                    <a:lnTo>
                      <a:pt x="45" y="143"/>
                    </a:lnTo>
                    <a:lnTo>
                      <a:pt x="39" y="140"/>
                    </a:lnTo>
                    <a:lnTo>
                      <a:pt x="32" y="136"/>
                    </a:lnTo>
                    <a:lnTo>
                      <a:pt x="27" y="132"/>
                    </a:lnTo>
                    <a:lnTo>
                      <a:pt x="21" y="127"/>
                    </a:lnTo>
                    <a:lnTo>
                      <a:pt x="16" y="121"/>
                    </a:lnTo>
                    <a:lnTo>
                      <a:pt x="12" y="116"/>
                    </a:lnTo>
                    <a:lnTo>
                      <a:pt x="8" y="109"/>
                    </a:lnTo>
                    <a:lnTo>
                      <a:pt x="5" y="103"/>
                    </a:lnTo>
                    <a:lnTo>
                      <a:pt x="3" y="96"/>
                    </a:lnTo>
                    <a:lnTo>
                      <a:pt x="1" y="89"/>
                    </a:lnTo>
                    <a:lnTo>
                      <a:pt x="0" y="82"/>
                    </a:lnTo>
                    <a:lnTo>
                      <a:pt x="0" y="75"/>
                    </a:lnTo>
                    <a:lnTo>
                      <a:pt x="0" y="67"/>
                    </a:lnTo>
                    <a:lnTo>
                      <a:pt x="1" y="60"/>
                    </a:lnTo>
                    <a:lnTo>
                      <a:pt x="3" y="52"/>
                    </a:lnTo>
                    <a:lnTo>
                      <a:pt x="5" y="46"/>
                    </a:lnTo>
                    <a:lnTo>
                      <a:pt x="8" y="39"/>
                    </a:lnTo>
                    <a:lnTo>
                      <a:pt x="12" y="33"/>
                    </a:lnTo>
                    <a:lnTo>
                      <a:pt x="16" y="27"/>
                    </a:lnTo>
                    <a:lnTo>
                      <a:pt x="21" y="22"/>
                    </a:lnTo>
                    <a:lnTo>
                      <a:pt x="27" y="17"/>
                    </a:lnTo>
                    <a:lnTo>
                      <a:pt x="32" y="12"/>
                    </a:lnTo>
                    <a:lnTo>
                      <a:pt x="39" y="9"/>
                    </a:lnTo>
                    <a:lnTo>
                      <a:pt x="45" y="6"/>
                    </a:lnTo>
                    <a:lnTo>
                      <a:pt x="52" y="4"/>
                    </a:lnTo>
                    <a:lnTo>
                      <a:pt x="59" y="1"/>
                    </a:lnTo>
                    <a:lnTo>
                      <a:pt x="67" y="0"/>
                    </a:lnTo>
                    <a:lnTo>
                      <a:pt x="74" y="0"/>
                    </a:lnTo>
                    <a:lnTo>
                      <a:pt x="82" y="0"/>
                    </a:lnTo>
                    <a:lnTo>
                      <a:pt x="88" y="1"/>
                    </a:lnTo>
                    <a:lnTo>
                      <a:pt x="96" y="4"/>
                    </a:lnTo>
                    <a:lnTo>
                      <a:pt x="102" y="6"/>
                    </a:lnTo>
                    <a:lnTo>
                      <a:pt x="109" y="9"/>
                    </a:lnTo>
                    <a:lnTo>
                      <a:pt x="115" y="12"/>
                    </a:lnTo>
                    <a:lnTo>
                      <a:pt x="121" y="17"/>
                    </a:lnTo>
                    <a:lnTo>
                      <a:pt x="126" y="22"/>
                    </a:lnTo>
                    <a:lnTo>
                      <a:pt x="132" y="27"/>
                    </a:lnTo>
                    <a:lnTo>
                      <a:pt x="136" y="33"/>
                    </a:lnTo>
                    <a:lnTo>
                      <a:pt x="139" y="39"/>
                    </a:lnTo>
                    <a:lnTo>
                      <a:pt x="142" y="46"/>
                    </a:lnTo>
                    <a:lnTo>
                      <a:pt x="145" y="52"/>
                    </a:lnTo>
                    <a:lnTo>
                      <a:pt x="147" y="60"/>
                    </a:lnTo>
                    <a:lnTo>
                      <a:pt x="148" y="67"/>
                    </a:lnTo>
                    <a:lnTo>
                      <a:pt x="148" y="75"/>
                    </a:lnTo>
                    <a:lnTo>
                      <a:pt x="148" y="82"/>
                    </a:lnTo>
                    <a:lnTo>
                      <a:pt x="147" y="89"/>
                    </a:lnTo>
                    <a:lnTo>
                      <a:pt x="145" y="96"/>
                    </a:lnTo>
                    <a:lnTo>
                      <a:pt x="142" y="103"/>
                    </a:lnTo>
                    <a:lnTo>
                      <a:pt x="139" y="109"/>
                    </a:lnTo>
                    <a:lnTo>
                      <a:pt x="136" y="116"/>
                    </a:lnTo>
                    <a:lnTo>
                      <a:pt x="132" y="121"/>
                    </a:lnTo>
                    <a:lnTo>
                      <a:pt x="126" y="127"/>
                    </a:lnTo>
                    <a:lnTo>
                      <a:pt x="121" y="132"/>
                    </a:lnTo>
                    <a:lnTo>
                      <a:pt x="115" y="136"/>
                    </a:lnTo>
                    <a:lnTo>
                      <a:pt x="109" y="140"/>
                    </a:lnTo>
                    <a:lnTo>
                      <a:pt x="102" y="143"/>
                    </a:lnTo>
                    <a:lnTo>
                      <a:pt x="96" y="145"/>
                    </a:lnTo>
                    <a:lnTo>
                      <a:pt x="88" y="147"/>
                    </a:lnTo>
                    <a:lnTo>
                      <a:pt x="82" y="148"/>
                    </a:lnTo>
                    <a:lnTo>
                      <a:pt x="74" y="148"/>
                    </a:lnTo>
                    <a:close/>
                    <a:moveTo>
                      <a:pt x="74" y="27"/>
                    </a:moveTo>
                    <a:lnTo>
                      <a:pt x="74" y="27"/>
                    </a:lnTo>
                    <a:lnTo>
                      <a:pt x="65" y="28"/>
                    </a:lnTo>
                    <a:lnTo>
                      <a:pt x="56" y="31"/>
                    </a:lnTo>
                    <a:lnTo>
                      <a:pt x="47" y="35"/>
                    </a:lnTo>
                    <a:lnTo>
                      <a:pt x="41" y="41"/>
                    </a:lnTo>
                    <a:lnTo>
                      <a:pt x="34" y="48"/>
                    </a:lnTo>
                    <a:lnTo>
                      <a:pt x="30" y="57"/>
                    </a:lnTo>
                    <a:lnTo>
                      <a:pt x="28" y="65"/>
                    </a:lnTo>
                    <a:lnTo>
                      <a:pt x="27" y="75"/>
                    </a:lnTo>
                    <a:lnTo>
                      <a:pt x="28" y="84"/>
                    </a:lnTo>
                    <a:lnTo>
                      <a:pt x="30" y="93"/>
                    </a:lnTo>
                    <a:lnTo>
                      <a:pt x="34" y="101"/>
                    </a:lnTo>
                    <a:lnTo>
                      <a:pt x="41" y="108"/>
                    </a:lnTo>
                    <a:lnTo>
                      <a:pt x="47" y="114"/>
                    </a:lnTo>
                    <a:lnTo>
                      <a:pt x="56" y="118"/>
                    </a:lnTo>
                    <a:lnTo>
                      <a:pt x="65" y="120"/>
                    </a:lnTo>
                    <a:lnTo>
                      <a:pt x="74" y="121"/>
                    </a:lnTo>
                    <a:lnTo>
                      <a:pt x="83" y="120"/>
                    </a:lnTo>
                    <a:lnTo>
                      <a:pt x="93" y="118"/>
                    </a:lnTo>
                    <a:lnTo>
                      <a:pt x="100" y="114"/>
                    </a:lnTo>
                    <a:lnTo>
                      <a:pt x="107" y="108"/>
                    </a:lnTo>
                    <a:lnTo>
                      <a:pt x="113" y="101"/>
                    </a:lnTo>
                    <a:lnTo>
                      <a:pt x="118" y="93"/>
                    </a:lnTo>
                    <a:lnTo>
                      <a:pt x="120" y="84"/>
                    </a:lnTo>
                    <a:lnTo>
                      <a:pt x="121" y="75"/>
                    </a:lnTo>
                    <a:lnTo>
                      <a:pt x="120" y="65"/>
                    </a:lnTo>
                    <a:lnTo>
                      <a:pt x="118" y="57"/>
                    </a:lnTo>
                    <a:lnTo>
                      <a:pt x="113" y="48"/>
                    </a:lnTo>
                    <a:lnTo>
                      <a:pt x="107" y="41"/>
                    </a:lnTo>
                    <a:lnTo>
                      <a:pt x="100" y="35"/>
                    </a:lnTo>
                    <a:lnTo>
                      <a:pt x="93" y="31"/>
                    </a:lnTo>
                    <a:lnTo>
                      <a:pt x="83" y="28"/>
                    </a:lnTo>
                    <a:lnTo>
                      <a:pt x="7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97"/>
              <p:cNvSpPr>
                <a:spLocks/>
              </p:cNvSpPr>
              <p:nvPr userDrawn="1"/>
            </p:nvSpPr>
            <p:spPr bwMode="auto">
              <a:xfrm>
                <a:off x="216" y="2953"/>
                <a:ext cx="1173" cy="1367"/>
              </a:xfrm>
              <a:custGeom>
                <a:avLst/>
                <a:gdLst>
                  <a:gd name="T0" fmla="*/ 121 w 3520"/>
                  <a:gd name="T1" fmla="*/ 3867 h 4101"/>
                  <a:gd name="T2" fmla="*/ 318 w 3520"/>
                  <a:gd name="T3" fmla="*/ 3504 h 4101"/>
                  <a:gd name="T4" fmla="*/ 511 w 3520"/>
                  <a:gd name="T5" fmla="*/ 3187 h 4101"/>
                  <a:gd name="T6" fmla="*/ 621 w 3520"/>
                  <a:gd name="T7" fmla="*/ 3024 h 4101"/>
                  <a:gd name="T8" fmla="*/ 729 w 3520"/>
                  <a:gd name="T9" fmla="*/ 2883 h 4101"/>
                  <a:gd name="T10" fmla="*/ 833 w 3520"/>
                  <a:gd name="T11" fmla="*/ 2770 h 4101"/>
                  <a:gd name="T12" fmla="*/ 934 w 3520"/>
                  <a:gd name="T13" fmla="*/ 2651 h 4101"/>
                  <a:gd name="T14" fmla="*/ 1014 w 3520"/>
                  <a:gd name="T15" fmla="*/ 2529 h 4101"/>
                  <a:gd name="T16" fmla="*/ 1077 w 3520"/>
                  <a:gd name="T17" fmla="*/ 2404 h 4101"/>
                  <a:gd name="T18" fmla="*/ 1126 w 3520"/>
                  <a:gd name="T19" fmla="*/ 2278 h 4101"/>
                  <a:gd name="T20" fmla="*/ 1174 w 3520"/>
                  <a:gd name="T21" fmla="*/ 2118 h 4101"/>
                  <a:gd name="T22" fmla="*/ 1226 w 3520"/>
                  <a:gd name="T23" fmla="*/ 1861 h 4101"/>
                  <a:gd name="T24" fmla="*/ 1251 w 3520"/>
                  <a:gd name="T25" fmla="*/ 1719 h 4101"/>
                  <a:gd name="T26" fmla="*/ 1272 w 3520"/>
                  <a:gd name="T27" fmla="*/ 1612 h 4101"/>
                  <a:gd name="T28" fmla="*/ 1310 w 3520"/>
                  <a:gd name="T29" fmla="*/ 1452 h 4101"/>
                  <a:gd name="T30" fmla="*/ 1369 w 3520"/>
                  <a:gd name="T31" fmla="*/ 1276 h 4101"/>
                  <a:gd name="T32" fmla="*/ 1444 w 3520"/>
                  <a:gd name="T33" fmla="*/ 1105 h 4101"/>
                  <a:gd name="T34" fmla="*/ 1534 w 3520"/>
                  <a:gd name="T35" fmla="*/ 940 h 4101"/>
                  <a:gd name="T36" fmla="*/ 1639 w 3520"/>
                  <a:gd name="T37" fmla="*/ 783 h 4101"/>
                  <a:gd name="T38" fmla="*/ 1758 w 3520"/>
                  <a:gd name="T39" fmla="*/ 634 h 4101"/>
                  <a:gd name="T40" fmla="*/ 1888 w 3520"/>
                  <a:gd name="T41" fmla="*/ 494 h 4101"/>
                  <a:gd name="T42" fmla="*/ 2032 w 3520"/>
                  <a:gd name="T43" fmla="*/ 367 h 4101"/>
                  <a:gd name="T44" fmla="*/ 2209 w 3520"/>
                  <a:gd name="T45" fmla="*/ 248 h 4101"/>
                  <a:gd name="T46" fmla="*/ 2424 w 3520"/>
                  <a:gd name="T47" fmla="*/ 156 h 4101"/>
                  <a:gd name="T48" fmla="*/ 2659 w 3520"/>
                  <a:gd name="T49" fmla="*/ 90 h 4101"/>
                  <a:gd name="T50" fmla="*/ 2896 w 3520"/>
                  <a:gd name="T51" fmla="*/ 45 h 4101"/>
                  <a:gd name="T52" fmla="*/ 3115 w 3520"/>
                  <a:gd name="T53" fmla="*/ 18 h 4101"/>
                  <a:gd name="T54" fmla="*/ 3409 w 3520"/>
                  <a:gd name="T55" fmla="*/ 1 h 4101"/>
                  <a:gd name="T56" fmla="*/ 3511 w 3520"/>
                  <a:gd name="T57" fmla="*/ 1 h 4101"/>
                  <a:gd name="T58" fmla="*/ 3519 w 3520"/>
                  <a:gd name="T59" fmla="*/ 18 h 4101"/>
                  <a:gd name="T60" fmla="*/ 3493 w 3520"/>
                  <a:gd name="T61" fmla="*/ 27 h 4101"/>
                  <a:gd name="T62" fmla="*/ 3261 w 3520"/>
                  <a:gd name="T63" fmla="*/ 35 h 4101"/>
                  <a:gd name="T64" fmla="*/ 3014 w 3520"/>
                  <a:gd name="T65" fmla="*/ 56 h 4101"/>
                  <a:gd name="T66" fmla="*/ 2786 w 3520"/>
                  <a:gd name="T67" fmla="*/ 91 h 4101"/>
                  <a:gd name="T68" fmla="*/ 2550 w 3520"/>
                  <a:gd name="T69" fmla="*/ 145 h 4101"/>
                  <a:gd name="T70" fmla="*/ 2326 w 3520"/>
                  <a:gd name="T71" fmla="*/ 222 h 4101"/>
                  <a:gd name="T72" fmla="*/ 2129 w 3520"/>
                  <a:gd name="T73" fmla="*/ 327 h 4101"/>
                  <a:gd name="T74" fmla="*/ 1977 w 3520"/>
                  <a:gd name="T75" fmla="*/ 450 h 4101"/>
                  <a:gd name="T76" fmla="*/ 1841 w 3520"/>
                  <a:gd name="T77" fmla="*/ 582 h 4101"/>
                  <a:gd name="T78" fmla="*/ 1718 w 3520"/>
                  <a:gd name="T79" fmla="*/ 724 h 4101"/>
                  <a:gd name="T80" fmla="*/ 1608 w 3520"/>
                  <a:gd name="T81" fmla="*/ 876 h 4101"/>
                  <a:gd name="T82" fmla="*/ 1510 w 3520"/>
                  <a:gd name="T83" fmla="*/ 1035 h 4101"/>
                  <a:gd name="T84" fmla="*/ 1429 w 3520"/>
                  <a:gd name="T85" fmla="*/ 1200 h 4101"/>
                  <a:gd name="T86" fmla="*/ 1363 w 3520"/>
                  <a:gd name="T87" fmla="*/ 1372 h 4101"/>
                  <a:gd name="T88" fmla="*/ 1314 w 3520"/>
                  <a:gd name="T89" fmla="*/ 1547 h 4101"/>
                  <a:gd name="T90" fmla="*/ 1288 w 3520"/>
                  <a:gd name="T91" fmla="*/ 1670 h 4101"/>
                  <a:gd name="T92" fmla="*/ 1269 w 3520"/>
                  <a:gd name="T93" fmla="*/ 1776 h 4101"/>
                  <a:gd name="T94" fmla="*/ 1229 w 3520"/>
                  <a:gd name="T95" fmla="*/ 1997 h 4101"/>
                  <a:gd name="T96" fmla="*/ 1172 w 3520"/>
                  <a:gd name="T97" fmla="*/ 2224 h 4101"/>
                  <a:gd name="T98" fmla="*/ 1128 w 3520"/>
                  <a:gd name="T99" fmla="*/ 2353 h 4101"/>
                  <a:gd name="T100" fmla="*/ 1071 w 3520"/>
                  <a:gd name="T101" fmla="*/ 2481 h 4101"/>
                  <a:gd name="T102" fmla="*/ 999 w 3520"/>
                  <a:gd name="T103" fmla="*/ 2606 h 4101"/>
                  <a:gd name="T104" fmla="*/ 907 w 3520"/>
                  <a:gd name="T105" fmla="*/ 2728 h 4101"/>
                  <a:gd name="T106" fmla="*/ 800 w 3520"/>
                  <a:gd name="T107" fmla="*/ 2843 h 4101"/>
                  <a:gd name="T108" fmla="*/ 697 w 3520"/>
                  <a:gd name="T109" fmla="*/ 2966 h 4101"/>
                  <a:gd name="T110" fmla="*/ 589 w 3520"/>
                  <a:gd name="T111" fmla="*/ 3115 h 4101"/>
                  <a:gd name="T112" fmla="*/ 453 w 3520"/>
                  <a:gd name="T113" fmla="*/ 3328 h 4101"/>
                  <a:gd name="T114" fmla="*/ 245 w 3520"/>
                  <a:gd name="T115" fmla="*/ 3692 h 4101"/>
                  <a:gd name="T116" fmla="*/ 67 w 3520"/>
                  <a:gd name="T117" fmla="*/ 4029 h 4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20" h="4101">
                    <a:moveTo>
                      <a:pt x="0" y="4101"/>
                    </a:moveTo>
                    <a:lnTo>
                      <a:pt x="37" y="4029"/>
                    </a:lnTo>
                    <a:lnTo>
                      <a:pt x="78" y="3950"/>
                    </a:lnTo>
                    <a:lnTo>
                      <a:pt x="121" y="3867"/>
                    </a:lnTo>
                    <a:lnTo>
                      <a:pt x="167" y="3779"/>
                    </a:lnTo>
                    <a:lnTo>
                      <a:pt x="216" y="3689"/>
                    </a:lnTo>
                    <a:lnTo>
                      <a:pt x="267" y="3597"/>
                    </a:lnTo>
                    <a:lnTo>
                      <a:pt x="318" y="3504"/>
                    </a:lnTo>
                    <a:lnTo>
                      <a:pt x="372" y="3411"/>
                    </a:lnTo>
                    <a:lnTo>
                      <a:pt x="427" y="3319"/>
                    </a:lnTo>
                    <a:lnTo>
                      <a:pt x="482" y="3230"/>
                    </a:lnTo>
                    <a:lnTo>
                      <a:pt x="511" y="3187"/>
                    </a:lnTo>
                    <a:lnTo>
                      <a:pt x="539" y="3144"/>
                    </a:lnTo>
                    <a:lnTo>
                      <a:pt x="566" y="3102"/>
                    </a:lnTo>
                    <a:lnTo>
                      <a:pt x="594" y="3063"/>
                    </a:lnTo>
                    <a:lnTo>
                      <a:pt x="621" y="3024"/>
                    </a:lnTo>
                    <a:lnTo>
                      <a:pt x="649" y="2986"/>
                    </a:lnTo>
                    <a:lnTo>
                      <a:pt x="676" y="2950"/>
                    </a:lnTo>
                    <a:lnTo>
                      <a:pt x="703" y="2916"/>
                    </a:lnTo>
                    <a:lnTo>
                      <a:pt x="729" y="2883"/>
                    </a:lnTo>
                    <a:lnTo>
                      <a:pt x="755" y="2853"/>
                    </a:lnTo>
                    <a:lnTo>
                      <a:pt x="781" y="2825"/>
                    </a:lnTo>
                    <a:lnTo>
                      <a:pt x="805" y="2799"/>
                    </a:lnTo>
                    <a:lnTo>
                      <a:pt x="833" y="2770"/>
                    </a:lnTo>
                    <a:lnTo>
                      <a:pt x="860" y="2740"/>
                    </a:lnTo>
                    <a:lnTo>
                      <a:pt x="886" y="2711"/>
                    </a:lnTo>
                    <a:lnTo>
                      <a:pt x="911" y="2680"/>
                    </a:lnTo>
                    <a:lnTo>
                      <a:pt x="934" y="2651"/>
                    </a:lnTo>
                    <a:lnTo>
                      <a:pt x="955" y="2621"/>
                    </a:lnTo>
                    <a:lnTo>
                      <a:pt x="976" y="2590"/>
                    </a:lnTo>
                    <a:lnTo>
                      <a:pt x="995" y="2560"/>
                    </a:lnTo>
                    <a:lnTo>
                      <a:pt x="1014" y="2529"/>
                    </a:lnTo>
                    <a:lnTo>
                      <a:pt x="1031" y="2498"/>
                    </a:lnTo>
                    <a:lnTo>
                      <a:pt x="1047" y="2467"/>
                    </a:lnTo>
                    <a:lnTo>
                      <a:pt x="1062" y="2435"/>
                    </a:lnTo>
                    <a:lnTo>
                      <a:pt x="1077" y="2404"/>
                    </a:lnTo>
                    <a:lnTo>
                      <a:pt x="1090" y="2373"/>
                    </a:lnTo>
                    <a:lnTo>
                      <a:pt x="1103" y="2341"/>
                    </a:lnTo>
                    <a:lnTo>
                      <a:pt x="1115" y="2310"/>
                    </a:lnTo>
                    <a:lnTo>
                      <a:pt x="1126" y="2278"/>
                    </a:lnTo>
                    <a:lnTo>
                      <a:pt x="1137" y="2246"/>
                    </a:lnTo>
                    <a:lnTo>
                      <a:pt x="1147" y="2214"/>
                    </a:lnTo>
                    <a:lnTo>
                      <a:pt x="1156" y="2182"/>
                    </a:lnTo>
                    <a:lnTo>
                      <a:pt x="1174" y="2118"/>
                    </a:lnTo>
                    <a:lnTo>
                      <a:pt x="1189" y="2054"/>
                    </a:lnTo>
                    <a:lnTo>
                      <a:pt x="1202" y="1990"/>
                    </a:lnTo>
                    <a:lnTo>
                      <a:pt x="1215" y="1926"/>
                    </a:lnTo>
                    <a:lnTo>
                      <a:pt x="1226" y="1861"/>
                    </a:lnTo>
                    <a:lnTo>
                      <a:pt x="1237" y="1797"/>
                    </a:lnTo>
                    <a:lnTo>
                      <a:pt x="1243" y="1771"/>
                    </a:lnTo>
                    <a:lnTo>
                      <a:pt x="1247" y="1744"/>
                    </a:lnTo>
                    <a:lnTo>
                      <a:pt x="1251" y="1719"/>
                    </a:lnTo>
                    <a:lnTo>
                      <a:pt x="1257" y="1692"/>
                    </a:lnTo>
                    <a:lnTo>
                      <a:pt x="1262" y="1666"/>
                    </a:lnTo>
                    <a:lnTo>
                      <a:pt x="1266" y="1639"/>
                    </a:lnTo>
                    <a:lnTo>
                      <a:pt x="1272" y="1612"/>
                    </a:lnTo>
                    <a:lnTo>
                      <a:pt x="1277" y="1586"/>
                    </a:lnTo>
                    <a:lnTo>
                      <a:pt x="1287" y="1540"/>
                    </a:lnTo>
                    <a:lnTo>
                      <a:pt x="1298" y="1496"/>
                    </a:lnTo>
                    <a:lnTo>
                      <a:pt x="1310" y="1452"/>
                    </a:lnTo>
                    <a:lnTo>
                      <a:pt x="1324" y="1408"/>
                    </a:lnTo>
                    <a:lnTo>
                      <a:pt x="1338" y="1363"/>
                    </a:lnTo>
                    <a:lnTo>
                      <a:pt x="1353" y="1320"/>
                    </a:lnTo>
                    <a:lnTo>
                      <a:pt x="1369" y="1276"/>
                    </a:lnTo>
                    <a:lnTo>
                      <a:pt x="1386" y="1233"/>
                    </a:lnTo>
                    <a:lnTo>
                      <a:pt x="1405" y="1191"/>
                    </a:lnTo>
                    <a:lnTo>
                      <a:pt x="1423" y="1148"/>
                    </a:lnTo>
                    <a:lnTo>
                      <a:pt x="1444" y="1105"/>
                    </a:lnTo>
                    <a:lnTo>
                      <a:pt x="1465" y="1063"/>
                    </a:lnTo>
                    <a:lnTo>
                      <a:pt x="1487" y="1022"/>
                    </a:lnTo>
                    <a:lnTo>
                      <a:pt x="1510" y="981"/>
                    </a:lnTo>
                    <a:lnTo>
                      <a:pt x="1534" y="940"/>
                    </a:lnTo>
                    <a:lnTo>
                      <a:pt x="1559" y="900"/>
                    </a:lnTo>
                    <a:lnTo>
                      <a:pt x="1585" y="860"/>
                    </a:lnTo>
                    <a:lnTo>
                      <a:pt x="1611" y="822"/>
                    </a:lnTo>
                    <a:lnTo>
                      <a:pt x="1639" y="783"/>
                    </a:lnTo>
                    <a:lnTo>
                      <a:pt x="1667" y="745"/>
                    </a:lnTo>
                    <a:lnTo>
                      <a:pt x="1696" y="707"/>
                    </a:lnTo>
                    <a:lnTo>
                      <a:pt x="1726" y="670"/>
                    </a:lnTo>
                    <a:lnTo>
                      <a:pt x="1758" y="634"/>
                    </a:lnTo>
                    <a:lnTo>
                      <a:pt x="1789" y="598"/>
                    </a:lnTo>
                    <a:lnTo>
                      <a:pt x="1821" y="562"/>
                    </a:lnTo>
                    <a:lnTo>
                      <a:pt x="1855" y="529"/>
                    </a:lnTo>
                    <a:lnTo>
                      <a:pt x="1888" y="494"/>
                    </a:lnTo>
                    <a:lnTo>
                      <a:pt x="1924" y="462"/>
                    </a:lnTo>
                    <a:lnTo>
                      <a:pt x="1959" y="430"/>
                    </a:lnTo>
                    <a:lnTo>
                      <a:pt x="1995" y="398"/>
                    </a:lnTo>
                    <a:lnTo>
                      <a:pt x="2032" y="367"/>
                    </a:lnTo>
                    <a:lnTo>
                      <a:pt x="2070" y="337"/>
                    </a:lnTo>
                    <a:lnTo>
                      <a:pt x="2113" y="306"/>
                    </a:lnTo>
                    <a:lnTo>
                      <a:pt x="2159" y="275"/>
                    </a:lnTo>
                    <a:lnTo>
                      <a:pt x="2209" y="248"/>
                    </a:lnTo>
                    <a:lnTo>
                      <a:pt x="2260" y="222"/>
                    </a:lnTo>
                    <a:lnTo>
                      <a:pt x="2313" y="199"/>
                    </a:lnTo>
                    <a:lnTo>
                      <a:pt x="2368" y="176"/>
                    </a:lnTo>
                    <a:lnTo>
                      <a:pt x="2424" y="156"/>
                    </a:lnTo>
                    <a:lnTo>
                      <a:pt x="2482" y="137"/>
                    </a:lnTo>
                    <a:lnTo>
                      <a:pt x="2541" y="120"/>
                    </a:lnTo>
                    <a:lnTo>
                      <a:pt x="2600" y="104"/>
                    </a:lnTo>
                    <a:lnTo>
                      <a:pt x="2659" y="90"/>
                    </a:lnTo>
                    <a:lnTo>
                      <a:pt x="2719" y="77"/>
                    </a:lnTo>
                    <a:lnTo>
                      <a:pt x="2778" y="65"/>
                    </a:lnTo>
                    <a:lnTo>
                      <a:pt x="2838" y="55"/>
                    </a:lnTo>
                    <a:lnTo>
                      <a:pt x="2896" y="45"/>
                    </a:lnTo>
                    <a:lnTo>
                      <a:pt x="2953" y="37"/>
                    </a:lnTo>
                    <a:lnTo>
                      <a:pt x="3008" y="30"/>
                    </a:lnTo>
                    <a:lnTo>
                      <a:pt x="3063" y="24"/>
                    </a:lnTo>
                    <a:lnTo>
                      <a:pt x="3115" y="18"/>
                    </a:lnTo>
                    <a:lnTo>
                      <a:pt x="3166" y="14"/>
                    </a:lnTo>
                    <a:lnTo>
                      <a:pt x="3259" y="8"/>
                    </a:lnTo>
                    <a:lnTo>
                      <a:pt x="3341" y="3"/>
                    </a:lnTo>
                    <a:lnTo>
                      <a:pt x="3409" y="1"/>
                    </a:lnTo>
                    <a:lnTo>
                      <a:pt x="3460" y="0"/>
                    </a:lnTo>
                    <a:lnTo>
                      <a:pt x="3493" y="0"/>
                    </a:lnTo>
                    <a:lnTo>
                      <a:pt x="3506" y="0"/>
                    </a:lnTo>
                    <a:lnTo>
                      <a:pt x="3511" y="1"/>
                    </a:lnTo>
                    <a:lnTo>
                      <a:pt x="3516" y="3"/>
                    </a:lnTo>
                    <a:lnTo>
                      <a:pt x="3519" y="8"/>
                    </a:lnTo>
                    <a:lnTo>
                      <a:pt x="3520" y="13"/>
                    </a:lnTo>
                    <a:lnTo>
                      <a:pt x="3519" y="18"/>
                    </a:lnTo>
                    <a:lnTo>
                      <a:pt x="3516" y="23"/>
                    </a:lnTo>
                    <a:lnTo>
                      <a:pt x="3511" y="26"/>
                    </a:lnTo>
                    <a:lnTo>
                      <a:pt x="3506" y="27"/>
                    </a:lnTo>
                    <a:lnTo>
                      <a:pt x="3493" y="27"/>
                    </a:lnTo>
                    <a:lnTo>
                      <a:pt x="3460" y="27"/>
                    </a:lnTo>
                    <a:lnTo>
                      <a:pt x="3409" y="28"/>
                    </a:lnTo>
                    <a:lnTo>
                      <a:pt x="3342" y="30"/>
                    </a:lnTo>
                    <a:lnTo>
                      <a:pt x="3261" y="35"/>
                    </a:lnTo>
                    <a:lnTo>
                      <a:pt x="3169" y="41"/>
                    </a:lnTo>
                    <a:lnTo>
                      <a:pt x="3118" y="45"/>
                    </a:lnTo>
                    <a:lnTo>
                      <a:pt x="3066" y="51"/>
                    </a:lnTo>
                    <a:lnTo>
                      <a:pt x="3014" y="56"/>
                    </a:lnTo>
                    <a:lnTo>
                      <a:pt x="2957" y="64"/>
                    </a:lnTo>
                    <a:lnTo>
                      <a:pt x="2901" y="71"/>
                    </a:lnTo>
                    <a:lnTo>
                      <a:pt x="2844" y="81"/>
                    </a:lnTo>
                    <a:lnTo>
                      <a:pt x="2786" y="91"/>
                    </a:lnTo>
                    <a:lnTo>
                      <a:pt x="2726" y="103"/>
                    </a:lnTo>
                    <a:lnTo>
                      <a:pt x="2668" y="114"/>
                    </a:lnTo>
                    <a:lnTo>
                      <a:pt x="2609" y="129"/>
                    </a:lnTo>
                    <a:lnTo>
                      <a:pt x="2550" y="145"/>
                    </a:lnTo>
                    <a:lnTo>
                      <a:pt x="2493" y="162"/>
                    </a:lnTo>
                    <a:lnTo>
                      <a:pt x="2436" y="180"/>
                    </a:lnTo>
                    <a:lnTo>
                      <a:pt x="2381" y="200"/>
                    </a:lnTo>
                    <a:lnTo>
                      <a:pt x="2326" y="222"/>
                    </a:lnTo>
                    <a:lnTo>
                      <a:pt x="2274" y="245"/>
                    </a:lnTo>
                    <a:lnTo>
                      <a:pt x="2223" y="271"/>
                    </a:lnTo>
                    <a:lnTo>
                      <a:pt x="2175" y="298"/>
                    </a:lnTo>
                    <a:lnTo>
                      <a:pt x="2129" y="327"/>
                    </a:lnTo>
                    <a:lnTo>
                      <a:pt x="2086" y="358"/>
                    </a:lnTo>
                    <a:lnTo>
                      <a:pt x="2049" y="389"/>
                    </a:lnTo>
                    <a:lnTo>
                      <a:pt x="2013" y="419"/>
                    </a:lnTo>
                    <a:lnTo>
                      <a:pt x="1977" y="450"/>
                    </a:lnTo>
                    <a:lnTo>
                      <a:pt x="1942" y="482"/>
                    </a:lnTo>
                    <a:lnTo>
                      <a:pt x="1908" y="514"/>
                    </a:lnTo>
                    <a:lnTo>
                      <a:pt x="1874" y="547"/>
                    </a:lnTo>
                    <a:lnTo>
                      <a:pt x="1841" y="582"/>
                    </a:lnTo>
                    <a:lnTo>
                      <a:pt x="1810" y="616"/>
                    </a:lnTo>
                    <a:lnTo>
                      <a:pt x="1778" y="651"/>
                    </a:lnTo>
                    <a:lnTo>
                      <a:pt x="1747" y="688"/>
                    </a:lnTo>
                    <a:lnTo>
                      <a:pt x="1718" y="724"/>
                    </a:lnTo>
                    <a:lnTo>
                      <a:pt x="1689" y="761"/>
                    </a:lnTo>
                    <a:lnTo>
                      <a:pt x="1661" y="799"/>
                    </a:lnTo>
                    <a:lnTo>
                      <a:pt x="1634" y="837"/>
                    </a:lnTo>
                    <a:lnTo>
                      <a:pt x="1608" y="876"/>
                    </a:lnTo>
                    <a:lnTo>
                      <a:pt x="1582" y="914"/>
                    </a:lnTo>
                    <a:lnTo>
                      <a:pt x="1557" y="954"/>
                    </a:lnTo>
                    <a:lnTo>
                      <a:pt x="1533" y="994"/>
                    </a:lnTo>
                    <a:lnTo>
                      <a:pt x="1510" y="1035"/>
                    </a:lnTo>
                    <a:lnTo>
                      <a:pt x="1489" y="1076"/>
                    </a:lnTo>
                    <a:lnTo>
                      <a:pt x="1468" y="1117"/>
                    </a:lnTo>
                    <a:lnTo>
                      <a:pt x="1448" y="1158"/>
                    </a:lnTo>
                    <a:lnTo>
                      <a:pt x="1429" y="1200"/>
                    </a:lnTo>
                    <a:lnTo>
                      <a:pt x="1411" y="1244"/>
                    </a:lnTo>
                    <a:lnTo>
                      <a:pt x="1394" y="1286"/>
                    </a:lnTo>
                    <a:lnTo>
                      <a:pt x="1378" y="1329"/>
                    </a:lnTo>
                    <a:lnTo>
                      <a:pt x="1363" y="1372"/>
                    </a:lnTo>
                    <a:lnTo>
                      <a:pt x="1350" y="1415"/>
                    </a:lnTo>
                    <a:lnTo>
                      <a:pt x="1337" y="1458"/>
                    </a:lnTo>
                    <a:lnTo>
                      <a:pt x="1325" y="1503"/>
                    </a:lnTo>
                    <a:lnTo>
                      <a:pt x="1314" y="1547"/>
                    </a:lnTo>
                    <a:lnTo>
                      <a:pt x="1304" y="1591"/>
                    </a:lnTo>
                    <a:lnTo>
                      <a:pt x="1299" y="1617"/>
                    </a:lnTo>
                    <a:lnTo>
                      <a:pt x="1293" y="1644"/>
                    </a:lnTo>
                    <a:lnTo>
                      <a:pt x="1288" y="1670"/>
                    </a:lnTo>
                    <a:lnTo>
                      <a:pt x="1284" y="1697"/>
                    </a:lnTo>
                    <a:lnTo>
                      <a:pt x="1278" y="1723"/>
                    </a:lnTo>
                    <a:lnTo>
                      <a:pt x="1274" y="1750"/>
                    </a:lnTo>
                    <a:lnTo>
                      <a:pt x="1269" y="1776"/>
                    </a:lnTo>
                    <a:lnTo>
                      <a:pt x="1264" y="1802"/>
                    </a:lnTo>
                    <a:lnTo>
                      <a:pt x="1252" y="1866"/>
                    </a:lnTo>
                    <a:lnTo>
                      <a:pt x="1241" y="1931"/>
                    </a:lnTo>
                    <a:lnTo>
                      <a:pt x="1229" y="1997"/>
                    </a:lnTo>
                    <a:lnTo>
                      <a:pt x="1215" y="2062"/>
                    </a:lnTo>
                    <a:lnTo>
                      <a:pt x="1199" y="2127"/>
                    </a:lnTo>
                    <a:lnTo>
                      <a:pt x="1182" y="2191"/>
                    </a:lnTo>
                    <a:lnTo>
                      <a:pt x="1172" y="2224"/>
                    </a:lnTo>
                    <a:lnTo>
                      <a:pt x="1163" y="2256"/>
                    </a:lnTo>
                    <a:lnTo>
                      <a:pt x="1152" y="2289"/>
                    </a:lnTo>
                    <a:lnTo>
                      <a:pt x="1140" y="2321"/>
                    </a:lnTo>
                    <a:lnTo>
                      <a:pt x="1128" y="2353"/>
                    </a:lnTo>
                    <a:lnTo>
                      <a:pt x="1115" y="2385"/>
                    </a:lnTo>
                    <a:lnTo>
                      <a:pt x="1101" y="2417"/>
                    </a:lnTo>
                    <a:lnTo>
                      <a:pt x="1086" y="2448"/>
                    </a:lnTo>
                    <a:lnTo>
                      <a:pt x="1071" y="2481"/>
                    </a:lnTo>
                    <a:lnTo>
                      <a:pt x="1055" y="2512"/>
                    </a:lnTo>
                    <a:lnTo>
                      <a:pt x="1036" y="2543"/>
                    </a:lnTo>
                    <a:lnTo>
                      <a:pt x="1018" y="2575"/>
                    </a:lnTo>
                    <a:lnTo>
                      <a:pt x="999" y="2606"/>
                    </a:lnTo>
                    <a:lnTo>
                      <a:pt x="977" y="2636"/>
                    </a:lnTo>
                    <a:lnTo>
                      <a:pt x="955" y="2667"/>
                    </a:lnTo>
                    <a:lnTo>
                      <a:pt x="932" y="2698"/>
                    </a:lnTo>
                    <a:lnTo>
                      <a:pt x="907" y="2728"/>
                    </a:lnTo>
                    <a:lnTo>
                      <a:pt x="881" y="2758"/>
                    </a:lnTo>
                    <a:lnTo>
                      <a:pt x="854" y="2788"/>
                    </a:lnTo>
                    <a:lnTo>
                      <a:pt x="825" y="2818"/>
                    </a:lnTo>
                    <a:lnTo>
                      <a:pt x="800" y="2843"/>
                    </a:lnTo>
                    <a:lnTo>
                      <a:pt x="775" y="2871"/>
                    </a:lnTo>
                    <a:lnTo>
                      <a:pt x="749" y="2901"/>
                    </a:lnTo>
                    <a:lnTo>
                      <a:pt x="723" y="2933"/>
                    </a:lnTo>
                    <a:lnTo>
                      <a:pt x="697" y="2966"/>
                    </a:lnTo>
                    <a:lnTo>
                      <a:pt x="670" y="3001"/>
                    </a:lnTo>
                    <a:lnTo>
                      <a:pt x="643" y="3038"/>
                    </a:lnTo>
                    <a:lnTo>
                      <a:pt x="616" y="3075"/>
                    </a:lnTo>
                    <a:lnTo>
                      <a:pt x="589" y="3115"/>
                    </a:lnTo>
                    <a:lnTo>
                      <a:pt x="562" y="3156"/>
                    </a:lnTo>
                    <a:lnTo>
                      <a:pt x="535" y="3197"/>
                    </a:lnTo>
                    <a:lnTo>
                      <a:pt x="508" y="3241"/>
                    </a:lnTo>
                    <a:lnTo>
                      <a:pt x="453" y="3328"/>
                    </a:lnTo>
                    <a:lnTo>
                      <a:pt x="399" y="3418"/>
                    </a:lnTo>
                    <a:lnTo>
                      <a:pt x="346" y="3509"/>
                    </a:lnTo>
                    <a:lnTo>
                      <a:pt x="295" y="3601"/>
                    </a:lnTo>
                    <a:lnTo>
                      <a:pt x="245" y="3692"/>
                    </a:lnTo>
                    <a:lnTo>
                      <a:pt x="196" y="3781"/>
                    </a:lnTo>
                    <a:lnTo>
                      <a:pt x="150" y="3868"/>
                    </a:lnTo>
                    <a:lnTo>
                      <a:pt x="107" y="3950"/>
                    </a:lnTo>
                    <a:lnTo>
                      <a:pt x="67" y="4029"/>
                    </a:lnTo>
                    <a:lnTo>
                      <a:pt x="30" y="4101"/>
                    </a:lnTo>
                    <a:lnTo>
                      <a:pt x="0" y="4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98"/>
              <p:cNvSpPr>
                <a:spLocks noEditPoints="1"/>
              </p:cNvSpPr>
              <p:nvPr userDrawn="1"/>
            </p:nvSpPr>
            <p:spPr bwMode="auto">
              <a:xfrm>
                <a:off x="2718" y="3461"/>
                <a:ext cx="25" cy="26"/>
              </a:xfrm>
              <a:custGeom>
                <a:avLst/>
                <a:gdLst>
                  <a:gd name="T0" fmla="*/ 39 w 76"/>
                  <a:gd name="T1" fmla="*/ 77 h 77"/>
                  <a:gd name="T2" fmla="*/ 31 w 76"/>
                  <a:gd name="T3" fmla="*/ 76 h 77"/>
                  <a:gd name="T4" fmla="*/ 23 w 76"/>
                  <a:gd name="T5" fmla="*/ 74 h 77"/>
                  <a:gd name="T6" fmla="*/ 17 w 76"/>
                  <a:gd name="T7" fmla="*/ 71 h 77"/>
                  <a:gd name="T8" fmla="*/ 12 w 76"/>
                  <a:gd name="T9" fmla="*/ 65 h 77"/>
                  <a:gd name="T10" fmla="*/ 6 w 76"/>
                  <a:gd name="T11" fmla="*/ 60 h 77"/>
                  <a:gd name="T12" fmla="*/ 3 w 76"/>
                  <a:gd name="T13" fmla="*/ 53 h 77"/>
                  <a:gd name="T14" fmla="*/ 1 w 76"/>
                  <a:gd name="T15" fmla="*/ 47 h 77"/>
                  <a:gd name="T16" fmla="*/ 0 w 76"/>
                  <a:gd name="T17" fmla="*/ 38 h 77"/>
                  <a:gd name="T18" fmla="*/ 1 w 76"/>
                  <a:gd name="T19" fmla="*/ 31 h 77"/>
                  <a:gd name="T20" fmla="*/ 3 w 76"/>
                  <a:gd name="T21" fmla="*/ 24 h 77"/>
                  <a:gd name="T22" fmla="*/ 6 w 76"/>
                  <a:gd name="T23" fmla="*/ 18 h 77"/>
                  <a:gd name="T24" fmla="*/ 12 w 76"/>
                  <a:gd name="T25" fmla="*/ 11 h 77"/>
                  <a:gd name="T26" fmla="*/ 17 w 76"/>
                  <a:gd name="T27" fmla="*/ 7 h 77"/>
                  <a:gd name="T28" fmla="*/ 23 w 76"/>
                  <a:gd name="T29" fmla="*/ 4 h 77"/>
                  <a:gd name="T30" fmla="*/ 31 w 76"/>
                  <a:gd name="T31" fmla="*/ 1 h 77"/>
                  <a:gd name="T32" fmla="*/ 39 w 76"/>
                  <a:gd name="T33" fmla="*/ 0 h 77"/>
                  <a:gd name="T34" fmla="*/ 46 w 76"/>
                  <a:gd name="T35" fmla="*/ 1 h 77"/>
                  <a:gd name="T36" fmla="*/ 53 w 76"/>
                  <a:gd name="T37" fmla="*/ 4 h 77"/>
                  <a:gd name="T38" fmla="*/ 59 w 76"/>
                  <a:gd name="T39" fmla="*/ 7 h 77"/>
                  <a:gd name="T40" fmla="*/ 66 w 76"/>
                  <a:gd name="T41" fmla="*/ 11 h 77"/>
                  <a:gd name="T42" fmla="*/ 70 w 76"/>
                  <a:gd name="T43" fmla="*/ 18 h 77"/>
                  <a:gd name="T44" fmla="*/ 73 w 76"/>
                  <a:gd name="T45" fmla="*/ 24 h 77"/>
                  <a:gd name="T46" fmla="*/ 75 w 76"/>
                  <a:gd name="T47" fmla="*/ 31 h 77"/>
                  <a:gd name="T48" fmla="*/ 76 w 76"/>
                  <a:gd name="T49" fmla="*/ 38 h 77"/>
                  <a:gd name="T50" fmla="*/ 75 w 76"/>
                  <a:gd name="T51" fmla="*/ 47 h 77"/>
                  <a:gd name="T52" fmla="*/ 73 w 76"/>
                  <a:gd name="T53" fmla="*/ 53 h 77"/>
                  <a:gd name="T54" fmla="*/ 70 w 76"/>
                  <a:gd name="T55" fmla="*/ 60 h 77"/>
                  <a:gd name="T56" fmla="*/ 66 w 76"/>
                  <a:gd name="T57" fmla="*/ 65 h 77"/>
                  <a:gd name="T58" fmla="*/ 59 w 76"/>
                  <a:gd name="T59" fmla="*/ 71 h 77"/>
                  <a:gd name="T60" fmla="*/ 53 w 76"/>
                  <a:gd name="T61" fmla="*/ 74 h 77"/>
                  <a:gd name="T62" fmla="*/ 46 w 76"/>
                  <a:gd name="T63" fmla="*/ 76 h 77"/>
                  <a:gd name="T64" fmla="*/ 39 w 76"/>
                  <a:gd name="T65" fmla="*/ 77 h 77"/>
                  <a:gd name="T66" fmla="*/ 39 w 76"/>
                  <a:gd name="T67" fmla="*/ 27 h 77"/>
                  <a:gd name="T68" fmla="*/ 39 w 76"/>
                  <a:gd name="T69" fmla="*/ 27 h 77"/>
                  <a:gd name="T70" fmla="*/ 34 w 76"/>
                  <a:gd name="T71" fmla="*/ 28 h 77"/>
                  <a:gd name="T72" fmla="*/ 30 w 76"/>
                  <a:gd name="T73" fmla="*/ 31 h 77"/>
                  <a:gd name="T74" fmla="*/ 28 w 76"/>
                  <a:gd name="T75" fmla="*/ 34 h 77"/>
                  <a:gd name="T76" fmla="*/ 27 w 76"/>
                  <a:gd name="T77" fmla="*/ 38 h 77"/>
                  <a:gd name="T78" fmla="*/ 28 w 76"/>
                  <a:gd name="T79" fmla="*/ 42 h 77"/>
                  <a:gd name="T80" fmla="*/ 30 w 76"/>
                  <a:gd name="T81" fmla="*/ 47 h 77"/>
                  <a:gd name="T82" fmla="*/ 34 w 76"/>
                  <a:gd name="T83" fmla="*/ 49 h 77"/>
                  <a:gd name="T84" fmla="*/ 39 w 76"/>
                  <a:gd name="T85" fmla="*/ 50 h 77"/>
                  <a:gd name="T86" fmla="*/ 43 w 76"/>
                  <a:gd name="T87" fmla="*/ 49 h 77"/>
                  <a:gd name="T88" fmla="*/ 46 w 76"/>
                  <a:gd name="T89" fmla="*/ 47 h 77"/>
                  <a:gd name="T90" fmla="*/ 48 w 76"/>
                  <a:gd name="T91" fmla="*/ 42 h 77"/>
                  <a:gd name="T92" fmla="*/ 49 w 76"/>
                  <a:gd name="T93" fmla="*/ 38 h 77"/>
                  <a:gd name="T94" fmla="*/ 48 w 76"/>
                  <a:gd name="T95" fmla="*/ 34 h 77"/>
                  <a:gd name="T96" fmla="*/ 46 w 76"/>
                  <a:gd name="T97" fmla="*/ 31 h 77"/>
                  <a:gd name="T98" fmla="*/ 43 w 76"/>
                  <a:gd name="T99" fmla="*/ 28 h 77"/>
                  <a:gd name="T100" fmla="*/ 39 w 76"/>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 h="77">
                    <a:moveTo>
                      <a:pt x="39" y="77"/>
                    </a:moveTo>
                    <a:lnTo>
                      <a:pt x="31" y="76"/>
                    </a:lnTo>
                    <a:lnTo>
                      <a:pt x="23" y="74"/>
                    </a:lnTo>
                    <a:lnTo>
                      <a:pt x="17" y="71"/>
                    </a:lnTo>
                    <a:lnTo>
                      <a:pt x="12" y="65"/>
                    </a:lnTo>
                    <a:lnTo>
                      <a:pt x="6" y="60"/>
                    </a:lnTo>
                    <a:lnTo>
                      <a:pt x="3" y="53"/>
                    </a:lnTo>
                    <a:lnTo>
                      <a:pt x="1" y="47"/>
                    </a:lnTo>
                    <a:lnTo>
                      <a:pt x="0" y="38"/>
                    </a:lnTo>
                    <a:lnTo>
                      <a:pt x="1" y="31"/>
                    </a:lnTo>
                    <a:lnTo>
                      <a:pt x="3" y="24"/>
                    </a:lnTo>
                    <a:lnTo>
                      <a:pt x="6" y="18"/>
                    </a:lnTo>
                    <a:lnTo>
                      <a:pt x="12" y="11"/>
                    </a:lnTo>
                    <a:lnTo>
                      <a:pt x="17" y="7"/>
                    </a:lnTo>
                    <a:lnTo>
                      <a:pt x="23" y="4"/>
                    </a:lnTo>
                    <a:lnTo>
                      <a:pt x="31" y="1"/>
                    </a:lnTo>
                    <a:lnTo>
                      <a:pt x="39" y="0"/>
                    </a:lnTo>
                    <a:lnTo>
                      <a:pt x="46" y="1"/>
                    </a:lnTo>
                    <a:lnTo>
                      <a:pt x="53" y="4"/>
                    </a:lnTo>
                    <a:lnTo>
                      <a:pt x="59" y="7"/>
                    </a:lnTo>
                    <a:lnTo>
                      <a:pt x="66" y="11"/>
                    </a:lnTo>
                    <a:lnTo>
                      <a:pt x="70" y="18"/>
                    </a:lnTo>
                    <a:lnTo>
                      <a:pt x="73" y="24"/>
                    </a:lnTo>
                    <a:lnTo>
                      <a:pt x="75" y="31"/>
                    </a:lnTo>
                    <a:lnTo>
                      <a:pt x="76" y="38"/>
                    </a:lnTo>
                    <a:lnTo>
                      <a:pt x="75" y="47"/>
                    </a:lnTo>
                    <a:lnTo>
                      <a:pt x="73" y="53"/>
                    </a:lnTo>
                    <a:lnTo>
                      <a:pt x="70" y="60"/>
                    </a:lnTo>
                    <a:lnTo>
                      <a:pt x="66" y="65"/>
                    </a:lnTo>
                    <a:lnTo>
                      <a:pt x="59" y="71"/>
                    </a:lnTo>
                    <a:lnTo>
                      <a:pt x="53" y="74"/>
                    </a:lnTo>
                    <a:lnTo>
                      <a:pt x="46" y="76"/>
                    </a:lnTo>
                    <a:lnTo>
                      <a:pt x="39" y="77"/>
                    </a:lnTo>
                    <a:close/>
                    <a:moveTo>
                      <a:pt x="39" y="27"/>
                    </a:moveTo>
                    <a:lnTo>
                      <a:pt x="39" y="27"/>
                    </a:lnTo>
                    <a:lnTo>
                      <a:pt x="34" y="28"/>
                    </a:lnTo>
                    <a:lnTo>
                      <a:pt x="30" y="31"/>
                    </a:lnTo>
                    <a:lnTo>
                      <a:pt x="28" y="34"/>
                    </a:lnTo>
                    <a:lnTo>
                      <a:pt x="27" y="38"/>
                    </a:lnTo>
                    <a:lnTo>
                      <a:pt x="28" y="42"/>
                    </a:lnTo>
                    <a:lnTo>
                      <a:pt x="30" y="47"/>
                    </a:lnTo>
                    <a:lnTo>
                      <a:pt x="34" y="49"/>
                    </a:lnTo>
                    <a:lnTo>
                      <a:pt x="39" y="50"/>
                    </a:lnTo>
                    <a:lnTo>
                      <a:pt x="43" y="49"/>
                    </a:lnTo>
                    <a:lnTo>
                      <a:pt x="46" y="47"/>
                    </a:lnTo>
                    <a:lnTo>
                      <a:pt x="48" y="42"/>
                    </a:lnTo>
                    <a:lnTo>
                      <a:pt x="49" y="38"/>
                    </a:lnTo>
                    <a:lnTo>
                      <a:pt x="48" y="34"/>
                    </a:lnTo>
                    <a:lnTo>
                      <a:pt x="46" y="31"/>
                    </a:lnTo>
                    <a:lnTo>
                      <a:pt x="43" y="28"/>
                    </a:lnTo>
                    <a:lnTo>
                      <a:pt x="3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99"/>
              <p:cNvSpPr>
                <a:spLocks noEditPoints="1"/>
              </p:cNvSpPr>
              <p:nvPr userDrawn="1"/>
            </p:nvSpPr>
            <p:spPr bwMode="auto">
              <a:xfrm>
                <a:off x="2653" y="3375"/>
                <a:ext cx="33" cy="33"/>
              </a:xfrm>
              <a:custGeom>
                <a:avLst/>
                <a:gdLst>
                  <a:gd name="T0" fmla="*/ 40 w 101"/>
                  <a:gd name="T1" fmla="*/ 100 h 101"/>
                  <a:gd name="T2" fmla="*/ 23 w 101"/>
                  <a:gd name="T3" fmla="*/ 92 h 101"/>
                  <a:gd name="T4" fmla="*/ 9 w 101"/>
                  <a:gd name="T5" fmla="*/ 78 h 101"/>
                  <a:gd name="T6" fmla="*/ 1 w 101"/>
                  <a:gd name="T7" fmla="*/ 61 h 101"/>
                  <a:gd name="T8" fmla="*/ 1 w 101"/>
                  <a:gd name="T9" fmla="*/ 40 h 101"/>
                  <a:gd name="T10" fmla="*/ 9 w 101"/>
                  <a:gd name="T11" fmla="*/ 22 h 101"/>
                  <a:gd name="T12" fmla="*/ 23 w 101"/>
                  <a:gd name="T13" fmla="*/ 9 h 101"/>
                  <a:gd name="T14" fmla="*/ 40 w 101"/>
                  <a:gd name="T15" fmla="*/ 1 h 101"/>
                  <a:gd name="T16" fmla="*/ 61 w 101"/>
                  <a:gd name="T17" fmla="*/ 1 h 101"/>
                  <a:gd name="T18" fmla="*/ 79 w 101"/>
                  <a:gd name="T19" fmla="*/ 9 h 101"/>
                  <a:gd name="T20" fmla="*/ 92 w 101"/>
                  <a:gd name="T21" fmla="*/ 22 h 101"/>
                  <a:gd name="T22" fmla="*/ 100 w 101"/>
                  <a:gd name="T23" fmla="*/ 40 h 101"/>
                  <a:gd name="T24" fmla="*/ 100 w 101"/>
                  <a:gd name="T25" fmla="*/ 61 h 101"/>
                  <a:gd name="T26" fmla="*/ 92 w 101"/>
                  <a:gd name="T27" fmla="*/ 78 h 101"/>
                  <a:gd name="T28" fmla="*/ 79 w 101"/>
                  <a:gd name="T29" fmla="*/ 92 h 101"/>
                  <a:gd name="T30" fmla="*/ 61 w 101"/>
                  <a:gd name="T31" fmla="*/ 100 h 101"/>
                  <a:gd name="T32" fmla="*/ 51 w 101"/>
                  <a:gd name="T33" fmla="*/ 27 h 101"/>
                  <a:gd name="T34" fmla="*/ 46 w 101"/>
                  <a:gd name="T35" fmla="*/ 27 h 101"/>
                  <a:gd name="T36" fmla="*/ 38 w 101"/>
                  <a:gd name="T37" fmla="*/ 32 h 101"/>
                  <a:gd name="T38" fmla="*/ 32 w 101"/>
                  <a:gd name="T39" fmla="*/ 37 h 101"/>
                  <a:gd name="T40" fmla="*/ 28 w 101"/>
                  <a:gd name="T41" fmla="*/ 46 h 101"/>
                  <a:gd name="T42" fmla="*/ 28 w 101"/>
                  <a:gd name="T43" fmla="*/ 55 h 101"/>
                  <a:gd name="T44" fmla="*/ 32 w 101"/>
                  <a:gd name="T45" fmla="*/ 63 h 101"/>
                  <a:gd name="T46" fmla="*/ 38 w 101"/>
                  <a:gd name="T47" fmla="*/ 69 h 101"/>
                  <a:gd name="T48" fmla="*/ 46 w 101"/>
                  <a:gd name="T49" fmla="*/ 73 h 101"/>
                  <a:gd name="T50" fmla="*/ 55 w 101"/>
                  <a:gd name="T51" fmla="*/ 73 h 101"/>
                  <a:gd name="T52" fmla="*/ 64 w 101"/>
                  <a:gd name="T53" fmla="*/ 69 h 101"/>
                  <a:gd name="T54" fmla="*/ 70 w 101"/>
                  <a:gd name="T55" fmla="*/ 63 h 101"/>
                  <a:gd name="T56" fmla="*/ 74 w 101"/>
                  <a:gd name="T57" fmla="*/ 55 h 101"/>
                  <a:gd name="T58" fmla="*/ 74 w 101"/>
                  <a:gd name="T59" fmla="*/ 46 h 101"/>
                  <a:gd name="T60" fmla="*/ 70 w 101"/>
                  <a:gd name="T61" fmla="*/ 37 h 101"/>
                  <a:gd name="T62" fmla="*/ 64 w 101"/>
                  <a:gd name="T63" fmla="*/ 32 h 101"/>
                  <a:gd name="T64" fmla="*/ 55 w 101"/>
                  <a:gd name="T65" fmla="*/ 2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51" y="101"/>
                    </a:moveTo>
                    <a:lnTo>
                      <a:pt x="40" y="100"/>
                    </a:lnTo>
                    <a:lnTo>
                      <a:pt x="32" y="96"/>
                    </a:lnTo>
                    <a:lnTo>
                      <a:pt x="23" y="92"/>
                    </a:lnTo>
                    <a:lnTo>
                      <a:pt x="15" y="85"/>
                    </a:lnTo>
                    <a:lnTo>
                      <a:pt x="9" y="78"/>
                    </a:lnTo>
                    <a:lnTo>
                      <a:pt x="5" y="69"/>
                    </a:lnTo>
                    <a:lnTo>
                      <a:pt x="1" y="61"/>
                    </a:lnTo>
                    <a:lnTo>
                      <a:pt x="0" y="50"/>
                    </a:lnTo>
                    <a:lnTo>
                      <a:pt x="1" y="40"/>
                    </a:lnTo>
                    <a:lnTo>
                      <a:pt x="5" y="30"/>
                    </a:lnTo>
                    <a:lnTo>
                      <a:pt x="9" y="22"/>
                    </a:lnTo>
                    <a:lnTo>
                      <a:pt x="15" y="14"/>
                    </a:lnTo>
                    <a:lnTo>
                      <a:pt x="23" y="9"/>
                    </a:lnTo>
                    <a:lnTo>
                      <a:pt x="32" y="3"/>
                    </a:lnTo>
                    <a:lnTo>
                      <a:pt x="40" y="1"/>
                    </a:lnTo>
                    <a:lnTo>
                      <a:pt x="51" y="0"/>
                    </a:lnTo>
                    <a:lnTo>
                      <a:pt x="61" y="1"/>
                    </a:lnTo>
                    <a:lnTo>
                      <a:pt x="70" y="3"/>
                    </a:lnTo>
                    <a:lnTo>
                      <a:pt x="79" y="9"/>
                    </a:lnTo>
                    <a:lnTo>
                      <a:pt x="87" y="14"/>
                    </a:lnTo>
                    <a:lnTo>
                      <a:pt x="92" y="22"/>
                    </a:lnTo>
                    <a:lnTo>
                      <a:pt x="97" y="30"/>
                    </a:lnTo>
                    <a:lnTo>
                      <a:pt x="100" y="40"/>
                    </a:lnTo>
                    <a:lnTo>
                      <a:pt x="101" y="50"/>
                    </a:lnTo>
                    <a:lnTo>
                      <a:pt x="100" y="61"/>
                    </a:lnTo>
                    <a:lnTo>
                      <a:pt x="97" y="69"/>
                    </a:lnTo>
                    <a:lnTo>
                      <a:pt x="92" y="78"/>
                    </a:lnTo>
                    <a:lnTo>
                      <a:pt x="87" y="85"/>
                    </a:lnTo>
                    <a:lnTo>
                      <a:pt x="79" y="92"/>
                    </a:lnTo>
                    <a:lnTo>
                      <a:pt x="70" y="96"/>
                    </a:lnTo>
                    <a:lnTo>
                      <a:pt x="61" y="100"/>
                    </a:lnTo>
                    <a:lnTo>
                      <a:pt x="51" y="101"/>
                    </a:lnTo>
                    <a:close/>
                    <a:moveTo>
                      <a:pt x="51" y="27"/>
                    </a:moveTo>
                    <a:lnTo>
                      <a:pt x="51" y="27"/>
                    </a:lnTo>
                    <a:lnTo>
                      <a:pt x="46" y="27"/>
                    </a:lnTo>
                    <a:lnTo>
                      <a:pt x="41" y="29"/>
                    </a:lnTo>
                    <a:lnTo>
                      <a:pt x="38" y="32"/>
                    </a:lnTo>
                    <a:lnTo>
                      <a:pt x="35" y="34"/>
                    </a:lnTo>
                    <a:lnTo>
                      <a:pt x="32" y="37"/>
                    </a:lnTo>
                    <a:lnTo>
                      <a:pt x="29" y="41"/>
                    </a:lnTo>
                    <a:lnTo>
                      <a:pt x="28" y="46"/>
                    </a:lnTo>
                    <a:lnTo>
                      <a:pt x="27" y="50"/>
                    </a:lnTo>
                    <a:lnTo>
                      <a:pt x="28" y="55"/>
                    </a:lnTo>
                    <a:lnTo>
                      <a:pt x="29" y="60"/>
                    </a:lnTo>
                    <a:lnTo>
                      <a:pt x="32" y="63"/>
                    </a:lnTo>
                    <a:lnTo>
                      <a:pt x="35" y="66"/>
                    </a:lnTo>
                    <a:lnTo>
                      <a:pt x="38" y="69"/>
                    </a:lnTo>
                    <a:lnTo>
                      <a:pt x="41" y="71"/>
                    </a:lnTo>
                    <a:lnTo>
                      <a:pt x="46" y="73"/>
                    </a:lnTo>
                    <a:lnTo>
                      <a:pt x="51" y="74"/>
                    </a:lnTo>
                    <a:lnTo>
                      <a:pt x="55" y="73"/>
                    </a:lnTo>
                    <a:lnTo>
                      <a:pt x="60" y="71"/>
                    </a:lnTo>
                    <a:lnTo>
                      <a:pt x="64" y="69"/>
                    </a:lnTo>
                    <a:lnTo>
                      <a:pt x="67" y="66"/>
                    </a:lnTo>
                    <a:lnTo>
                      <a:pt x="70" y="63"/>
                    </a:lnTo>
                    <a:lnTo>
                      <a:pt x="73" y="60"/>
                    </a:lnTo>
                    <a:lnTo>
                      <a:pt x="74" y="55"/>
                    </a:lnTo>
                    <a:lnTo>
                      <a:pt x="74" y="50"/>
                    </a:lnTo>
                    <a:lnTo>
                      <a:pt x="74" y="46"/>
                    </a:lnTo>
                    <a:lnTo>
                      <a:pt x="73" y="41"/>
                    </a:lnTo>
                    <a:lnTo>
                      <a:pt x="70" y="37"/>
                    </a:lnTo>
                    <a:lnTo>
                      <a:pt x="67" y="34"/>
                    </a:lnTo>
                    <a:lnTo>
                      <a:pt x="64" y="32"/>
                    </a:lnTo>
                    <a:lnTo>
                      <a:pt x="60" y="29"/>
                    </a:lnTo>
                    <a:lnTo>
                      <a:pt x="55" y="27"/>
                    </a:lnTo>
                    <a:lnTo>
                      <a:pt x="5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00"/>
              <p:cNvSpPr>
                <a:spLocks noEditPoints="1"/>
              </p:cNvSpPr>
              <p:nvPr userDrawn="1"/>
            </p:nvSpPr>
            <p:spPr bwMode="auto">
              <a:xfrm>
                <a:off x="2903" y="3864"/>
                <a:ext cx="49" cy="50"/>
              </a:xfrm>
              <a:custGeom>
                <a:avLst/>
                <a:gdLst>
                  <a:gd name="T0" fmla="*/ 67 w 149"/>
                  <a:gd name="T1" fmla="*/ 148 h 148"/>
                  <a:gd name="T2" fmla="*/ 53 w 149"/>
                  <a:gd name="T3" fmla="*/ 145 h 148"/>
                  <a:gd name="T4" fmla="*/ 38 w 149"/>
                  <a:gd name="T5" fmla="*/ 140 h 148"/>
                  <a:gd name="T6" fmla="*/ 27 w 149"/>
                  <a:gd name="T7" fmla="*/ 132 h 148"/>
                  <a:gd name="T8" fmla="*/ 17 w 149"/>
                  <a:gd name="T9" fmla="*/ 121 h 148"/>
                  <a:gd name="T10" fmla="*/ 8 w 149"/>
                  <a:gd name="T11" fmla="*/ 109 h 148"/>
                  <a:gd name="T12" fmla="*/ 3 w 149"/>
                  <a:gd name="T13" fmla="*/ 96 h 148"/>
                  <a:gd name="T14" fmla="*/ 0 w 149"/>
                  <a:gd name="T15" fmla="*/ 82 h 148"/>
                  <a:gd name="T16" fmla="*/ 0 w 149"/>
                  <a:gd name="T17" fmla="*/ 67 h 148"/>
                  <a:gd name="T18" fmla="*/ 3 w 149"/>
                  <a:gd name="T19" fmla="*/ 52 h 148"/>
                  <a:gd name="T20" fmla="*/ 8 w 149"/>
                  <a:gd name="T21" fmla="*/ 39 h 148"/>
                  <a:gd name="T22" fmla="*/ 17 w 149"/>
                  <a:gd name="T23" fmla="*/ 27 h 148"/>
                  <a:gd name="T24" fmla="*/ 27 w 149"/>
                  <a:gd name="T25" fmla="*/ 17 h 148"/>
                  <a:gd name="T26" fmla="*/ 38 w 149"/>
                  <a:gd name="T27" fmla="*/ 9 h 148"/>
                  <a:gd name="T28" fmla="*/ 53 w 149"/>
                  <a:gd name="T29" fmla="*/ 4 h 148"/>
                  <a:gd name="T30" fmla="*/ 67 w 149"/>
                  <a:gd name="T31" fmla="*/ 0 h 148"/>
                  <a:gd name="T32" fmla="*/ 82 w 149"/>
                  <a:gd name="T33" fmla="*/ 0 h 148"/>
                  <a:gd name="T34" fmla="*/ 96 w 149"/>
                  <a:gd name="T35" fmla="*/ 4 h 148"/>
                  <a:gd name="T36" fmla="*/ 110 w 149"/>
                  <a:gd name="T37" fmla="*/ 9 h 148"/>
                  <a:gd name="T38" fmla="*/ 122 w 149"/>
                  <a:gd name="T39" fmla="*/ 17 h 148"/>
                  <a:gd name="T40" fmla="*/ 131 w 149"/>
                  <a:gd name="T41" fmla="*/ 27 h 148"/>
                  <a:gd name="T42" fmla="*/ 139 w 149"/>
                  <a:gd name="T43" fmla="*/ 39 h 148"/>
                  <a:gd name="T44" fmla="*/ 145 w 149"/>
                  <a:gd name="T45" fmla="*/ 52 h 148"/>
                  <a:gd name="T46" fmla="*/ 148 w 149"/>
                  <a:gd name="T47" fmla="*/ 67 h 148"/>
                  <a:gd name="T48" fmla="*/ 148 w 149"/>
                  <a:gd name="T49" fmla="*/ 82 h 148"/>
                  <a:gd name="T50" fmla="*/ 145 w 149"/>
                  <a:gd name="T51" fmla="*/ 96 h 148"/>
                  <a:gd name="T52" fmla="*/ 139 w 149"/>
                  <a:gd name="T53" fmla="*/ 109 h 148"/>
                  <a:gd name="T54" fmla="*/ 131 w 149"/>
                  <a:gd name="T55" fmla="*/ 121 h 148"/>
                  <a:gd name="T56" fmla="*/ 122 w 149"/>
                  <a:gd name="T57" fmla="*/ 132 h 148"/>
                  <a:gd name="T58" fmla="*/ 110 w 149"/>
                  <a:gd name="T59" fmla="*/ 140 h 148"/>
                  <a:gd name="T60" fmla="*/ 96 w 149"/>
                  <a:gd name="T61" fmla="*/ 145 h 148"/>
                  <a:gd name="T62" fmla="*/ 82 w 149"/>
                  <a:gd name="T63" fmla="*/ 148 h 148"/>
                  <a:gd name="T64" fmla="*/ 74 w 149"/>
                  <a:gd name="T65" fmla="*/ 27 h 148"/>
                  <a:gd name="T66" fmla="*/ 64 w 149"/>
                  <a:gd name="T67" fmla="*/ 28 h 148"/>
                  <a:gd name="T68" fmla="*/ 47 w 149"/>
                  <a:gd name="T69" fmla="*/ 35 h 148"/>
                  <a:gd name="T70" fmla="*/ 35 w 149"/>
                  <a:gd name="T71" fmla="*/ 48 h 148"/>
                  <a:gd name="T72" fmla="*/ 28 w 149"/>
                  <a:gd name="T73" fmla="*/ 65 h 148"/>
                  <a:gd name="T74" fmla="*/ 28 w 149"/>
                  <a:gd name="T75" fmla="*/ 84 h 148"/>
                  <a:gd name="T76" fmla="*/ 35 w 149"/>
                  <a:gd name="T77" fmla="*/ 101 h 148"/>
                  <a:gd name="T78" fmla="*/ 47 w 149"/>
                  <a:gd name="T79" fmla="*/ 114 h 148"/>
                  <a:gd name="T80" fmla="*/ 64 w 149"/>
                  <a:gd name="T81" fmla="*/ 120 h 148"/>
                  <a:gd name="T82" fmla="*/ 84 w 149"/>
                  <a:gd name="T83" fmla="*/ 120 h 148"/>
                  <a:gd name="T84" fmla="*/ 100 w 149"/>
                  <a:gd name="T85" fmla="*/ 114 h 148"/>
                  <a:gd name="T86" fmla="*/ 113 w 149"/>
                  <a:gd name="T87" fmla="*/ 101 h 148"/>
                  <a:gd name="T88" fmla="*/ 121 w 149"/>
                  <a:gd name="T89" fmla="*/ 84 h 148"/>
                  <a:gd name="T90" fmla="*/ 121 w 149"/>
                  <a:gd name="T91" fmla="*/ 65 h 148"/>
                  <a:gd name="T92" fmla="*/ 113 w 149"/>
                  <a:gd name="T93" fmla="*/ 48 h 148"/>
                  <a:gd name="T94" fmla="*/ 100 w 149"/>
                  <a:gd name="T95" fmla="*/ 35 h 148"/>
                  <a:gd name="T96" fmla="*/ 84 w 149"/>
                  <a:gd name="T97" fmla="*/ 2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148">
                    <a:moveTo>
                      <a:pt x="74" y="148"/>
                    </a:moveTo>
                    <a:lnTo>
                      <a:pt x="67" y="148"/>
                    </a:lnTo>
                    <a:lnTo>
                      <a:pt x="59" y="147"/>
                    </a:lnTo>
                    <a:lnTo>
                      <a:pt x="53" y="145"/>
                    </a:lnTo>
                    <a:lnTo>
                      <a:pt x="45" y="143"/>
                    </a:lnTo>
                    <a:lnTo>
                      <a:pt x="38" y="140"/>
                    </a:lnTo>
                    <a:lnTo>
                      <a:pt x="33" y="136"/>
                    </a:lnTo>
                    <a:lnTo>
                      <a:pt x="27" y="132"/>
                    </a:lnTo>
                    <a:lnTo>
                      <a:pt x="21" y="127"/>
                    </a:lnTo>
                    <a:lnTo>
                      <a:pt x="17" y="121"/>
                    </a:lnTo>
                    <a:lnTo>
                      <a:pt x="13" y="116"/>
                    </a:lnTo>
                    <a:lnTo>
                      <a:pt x="8" y="109"/>
                    </a:lnTo>
                    <a:lnTo>
                      <a:pt x="6" y="103"/>
                    </a:lnTo>
                    <a:lnTo>
                      <a:pt x="3" y="96"/>
                    </a:lnTo>
                    <a:lnTo>
                      <a:pt x="2" y="89"/>
                    </a:lnTo>
                    <a:lnTo>
                      <a:pt x="0" y="82"/>
                    </a:lnTo>
                    <a:lnTo>
                      <a:pt x="0" y="75"/>
                    </a:lnTo>
                    <a:lnTo>
                      <a:pt x="0" y="67"/>
                    </a:lnTo>
                    <a:lnTo>
                      <a:pt x="2" y="60"/>
                    </a:lnTo>
                    <a:lnTo>
                      <a:pt x="3" y="52"/>
                    </a:lnTo>
                    <a:lnTo>
                      <a:pt x="6" y="46"/>
                    </a:lnTo>
                    <a:lnTo>
                      <a:pt x="8" y="39"/>
                    </a:lnTo>
                    <a:lnTo>
                      <a:pt x="13" y="33"/>
                    </a:lnTo>
                    <a:lnTo>
                      <a:pt x="17" y="27"/>
                    </a:lnTo>
                    <a:lnTo>
                      <a:pt x="21" y="22"/>
                    </a:lnTo>
                    <a:lnTo>
                      <a:pt x="27" y="17"/>
                    </a:lnTo>
                    <a:lnTo>
                      <a:pt x="33" y="12"/>
                    </a:lnTo>
                    <a:lnTo>
                      <a:pt x="38" y="9"/>
                    </a:lnTo>
                    <a:lnTo>
                      <a:pt x="45" y="6"/>
                    </a:lnTo>
                    <a:lnTo>
                      <a:pt x="53" y="4"/>
                    </a:lnTo>
                    <a:lnTo>
                      <a:pt x="59" y="1"/>
                    </a:lnTo>
                    <a:lnTo>
                      <a:pt x="67" y="0"/>
                    </a:lnTo>
                    <a:lnTo>
                      <a:pt x="74" y="0"/>
                    </a:lnTo>
                    <a:lnTo>
                      <a:pt x="82" y="0"/>
                    </a:lnTo>
                    <a:lnTo>
                      <a:pt x="89" y="1"/>
                    </a:lnTo>
                    <a:lnTo>
                      <a:pt x="96" y="4"/>
                    </a:lnTo>
                    <a:lnTo>
                      <a:pt x="103" y="6"/>
                    </a:lnTo>
                    <a:lnTo>
                      <a:pt x="110" y="9"/>
                    </a:lnTo>
                    <a:lnTo>
                      <a:pt x="115" y="12"/>
                    </a:lnTo>
                    <a:lnTo>
                      <a:pt x="122" y="17"/>
                    </a:lnTo>
                    <a:lnTo>
                      <a:pt x="127" y="22"/>
                    </a:lnTo>
                    <a:lnTo>
                      <a:pt x="131" y="27"/>
                    </a:lnTo>
                    <a:lnTo>
                      <a:pt x="136" y="33"/>
                    </a:lnTo>
                    <a:lnTo>
                      <a:pt x="139" y="39"/>
                    </a:lnTo>
                    <a:lnTo>
                      <a:pt x="142" y="46"/>
                    </a:lnTo>
                    <a:lnTo>
                      <a:pt x="145" y="52"/>
                    </a:lnTo>
                    <a:lnTo>
                      <a:pt x="146" y="60"/>
                    </a:lnTo>
                    <a:lnTo>
                      <a:pt x="148" y="67"/>
                    </a:lnTo>
                    <a:lnTo>
                      <a:pt x="149" y="75"/>
                    </a:lnTo>
                    <a:lnTo>
                      <a:pt x="148" y="82"/>
                    </a:lnTo>
                    <a:lnTo>
                      <a:pt x="146" y="89"/>
                    </a:lnTo>
                    <a:lnTo>
                      <a:pt x="145" y="96"/>
                    </a:lnTo>
                    <a:lnTo>
                      <a:pt x="142" y="103"/>
                    </a:lnTo>
                    <a:lnTo>
                      <a:pt x="139" y="109"/>
                    </a:lnTo>
                    <a:lnTo>
                      <a:pt x="136" y="116"/>
                    </a:lnTo>
                    <a:lnTo>
                      <a:pt x="131" y="121"/>
                    </a:lnTo>
                    <a:lnTo>
                      <a:pt x="127" y="127"/>
                    </a:lnTo>
                    <a:lnTo>
                      <a:pt x="122" y="132"/>
                    </a:lnTo>
                    <a:lnTo>
                      <a:pt x="115" y="136"/>
                    </a:lnTo>
                    <a:lnTo>
                      <a:pt x="110" y="140"/>
                    </a:lnTo>
                    <a:lnTo>
                      <a:pt x="103" y="143"/>
                    </a:lnTo>
                    <a:lnTo>
                      <a:pt x="96" y="145"/>
                    </a:lnTo>
                    <a:lnTo>
                      <a:pt x="89" y="147"/>
                    </a:lnTo>
                    <a:lnTo>
                      <a:pt x="82" y="148"/>
                    </a:lnTo>
                    <a:lnTo>
                      <a:pt x="74" y="148"/>
                    </a:lnTo>
                    <a:close/>
                    <a:moveTo>
                      <a:pt x="74" y="27"/>
                    </a:moveTo>
                    <a:lnTo>
                      <a:pt x="74" y="27"/>
                    </a:lnTo>
                    <a:lnTo>
                      <a:pt x="64" y="28"/>
                    </a:lnTo>
                    <a:lnTo>
                      <a:pt x="56" y="31"/>
                    </a:lnTo>
                    <a:lnTo>
                      <a:pt x="47" y="35"/>
                    </a:lnTo>
                    <a:lnTo>
                      <a:pt x="41" y="41"/>
                    </a:lnTo>
                    <a:lnTo>
                      <a:pt x="35" y="48"/>
                    </a:lnTo>
                    <a:lnTo>
                      <a:pt x="31" y="57"/>
                    </a:lnTo>
                    <a:lnTo>
                      <a:pt x="28" y="65"/>
                    </a:lnTo>
                    <a:lnTo>
                      <a:pt x="27" y="75"/>
                    </a:lnTo>
                    <a:lnTo>
                      <a:pt x="28" y="84"/>
                    </a:lnTo>
                    <a:lnTo>
                      <a:pt x="31" y="93"/>
                    </a:lnTo>
                    <a:lnTo>
                      <a:pt x="35" y="101"/>
                    </a:lnTo>
                    <a:lnTo>
                      <a:pt x="41" y="108"/>
                    </a:lnTo>
                    <a:lnTo>
                      <a:pt x="47" y="114"/>
                    </a:lnTo>
                    <a:lnTo>
                      <a:pt x="56" y="118"/>
                    </a:lnTo>
                    <a:lnTo>
                      <a:pt x="64" y="120"/>
                    </a:lnTo>
                    <a:lnTo>
                      <a:pt x="74" y="121"/>
                    </a:lnTo>
                    <a:lnTo>
                      <a:pt x="84" y="120"/>
                    </a:lnTo>
                    <a:lnTo>
                      <a:pt x="92" y="118"/>
                    </a:lnTo>
                    <a:lnTo>
                      <a:pt x="100" y="114"/>
                    </a:lnTo>
                    <a:lnTo>
                      <a:pt x="108" y="108"/>
                    </a:lnTo>
                    <a:lnTo>
                      <a:pt x="113" y="101"/>
                    </a:lnTo>
                    <a:lnTo>
                      <a:pt x="117" y="93"/>
                    </a:lnTo>
                    <a:lnTo>
                      <a:pt x="121" y="84"/>
                    </a:lnTo>
                    <a:lnTo>
                      <a:pt x="122" y="75"/>
                    </a:lnTo>
                    <a:lnTo>
                      <a:pt x="121" y="65"/>
                    </a:lnTo>
                    <a:lnTo>
                      <a:pt x="117" y="57"/>
                    </a:lnTo>
                    <a:lnTo>
                      <a:pt x="113" y="48"/>
                    </a:lnTo>
                    <a:lnTo>
                      <a:pt x="108" y="41"/>
                    </a:lnTo>
                    <a:lnTo>
                      <a:pt x="100" y="35"/>
                    </a:lnTo>
                    <a:lnTo>
                      <a:pt x="92" y="31"/>
                    </a:lnTo>
                    <a:lnTo>
                      <a:pt x="84" y="28"/>
                    </a:lnTo>
                    <a:lnTo>
                      <a:pt x="7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01"/>
              <p:cNvSpPr>
                <a:spLocks/>
              </p:cNvSpPr>
              <p:nvPr userDrawn="1"/>
            </p:nvSpPr>
            <p:spPr bwMode="auto">
              <a:xfrm>
                <a:off x="202" y="2953"/>
                <a:ext cx="1168" cy="1367"/>
              </a:xfrm>
              <a:custGeom>
                <a:avLst/>
                <a:gdLst>
                  <a:gd name="T0" fmla="*/ 88 w 3504"/>
                  <a:gd name="T1" fmla="*/ 3917 h 4101"/>
                  <a:gd name="T2" fmla="*/ 268 w 3504"/>
                  <a:gd name="T3" fmla="*/ 3571 h 4101"/>
                  <a:gd name="T4" fmla="*/ 462 w 3504"/>
                  <a:gd name="T5" fmla="*/ 3236 h 4101"/>
                  <a:gd name="T6" fmla="*/ 581 w 3504"/>
                  <a:gd name="T7" fmla="*/ 3056 h 4101"/>
                  <a:gd name="T8" fmla="*/ 701 w 3504"/>
                  <a:gd name="T9" fmla="*/ 2897 h 4101"/>
                  <a:gd name="T10" fmla="*/ 818 w 3504"/>
                  <a:gd name="T11" fmla="*/ 2770 h 4101"/>
                  <a:gd name="T12" fmla="*/ 918 w 3504"/>
                  <a:gd name="T13" fmla="*/ 2651 h 4101"/>
                  <a:gd name="T14" fmla="*/ 998 w 3504"/>
                  <a:gd name="T15" fmla="*/ 2529 h 4101"/>
                  <a:gd name="T16" fmla="*/ 1061 w 3504"/>
                  <a:gd name="T17" fmla="*/ 2404 h 4101"/>
                  <a:gd name="T18" fmla="*/ 1111 w 3504"/>
                  <a:gd name="T19" fmla="*/ 2278 h 4101"/>
                  <a:gd name="T20" fmla="*/ 1157 w 3504"/>
                  <a:gd name="T21" fmla="*/ 2118 h 4101"/>
                  <a:gd name="T22" fmla="*/ 1210 w 3504"/>
                  <a:gd name="T23" fmla="*/ 1861 h 4101"/>
                  <a:gd name="T24" fmla="*/ 1236 w 3504"/>
                  <a:gd name="T25" fmla="*/ 1719 h 4101"/>
                  <a:gd name="T26" fmla="*/ 1257 w 3504"/>
                  <a:gd name="T27" fmla="*/ 1612 h 4101"/>
                  <a:gd name="T28" fmla="*/ 1294 w 3504"/>
                  <a:gd name="T29" fmla="*/ 1452 h 4101"/>
                  <a:gd name="T30" fmla="*/ 1353 w 3504"/>
                  <a:gd name="T31" fmla="*/ 1276 h 4101"/>
                  <a:gd name="T32" fmla="*/ 1428 w 3504"/>
                  <a:gd name="T33" fmla="*/ 1105 h 4101"/>
                  <a:gd name="T34" fmla="*/ 1518 w 3504"/>
                  <a:gd name="T35" fmla="*/ 940 h 4101"/>
                  <a:gd name="T36" fmla="*/ 1623 w 3504"/>
                  <a:gd name="T37" fmla="*/ 783 h 4101"/>
                  <a:gd name="T38" fmla="*/ 1742 w 3504"/>
                  <a:gd name="T39" fmla="*/ 634 h 4101"/>
                  <a:gd name="T40" fmla="*/ 1873 w 3504"/>
                  <a:gd name="T41" fmla="*/ 494 h 4101"/>
                  <a:gd name="T42" fmla="*/ 2016 w 3504"/>
                  <a:gd name="T43" fmla="*/ 367 h 4101"/>
                  <a:gd name="T44" fmla="*/ 2193 w 3504"/>
                  <a:gd name="T45" fmla="*/ 248 h 4101"/>
                  <a:gd name="T46" fmla="*/ 2409 w 3504"/>
                  <a:gd name="T47" fmla="*/ 156 h 4101"/>
                  <a:gd name="T48" fmla="*/ 2643 w 3504"/>
                  <a:gd name="T49" fmla="*/ 90 h 4101"/>
                  <a:gd name="T50" fmla="*/ 2880 w 3504"/>
                  <a:gd name="T51" fmla="*/ 45 h 4101"/>
                  <a:gd name="T52" fmla="*/ 3100 w 3504"/>
                  <a:gd name="T53" fmla="*/ 18 h 4101"/>
                  <a:gd name="T54" fmla="*/ 3393 w 3504"/>
                  <a:gd name="T55" fmla="*/ 1 h 4101"/>
                  <a:gd name="T56" fmla="*/ 3496 w 3504"/>
                  <a:gd name="T57" fmla="*/ 1 h 4101"/>
                  <a:gd name="T58" fmla="*/ 3503 w 3504"/>
                  <a:gd name="T59" fmla="*/ 18 h 4101"/>
                  <a:gd name="T60" fmla="*/ 3477 w 3504"/>
                  <a:gd name="T61" fmla="*/ 27 h 4101"/>
                  <a:gd name="T62" fmla="*/ 3246 w 3504"/>
                  <a:gd name="T63" fmla="*/ 35 h 4101"/>
                  <a:gd name="T64" fmla="*/ 2997 w 3504"/>
                  <a:gd name="T65" fmla="*/ 56 h 4101"/>
                  <a:gd name="T66" fmla="*/ 2769 w 3504"/>
                  <a:gd name="T67" fmla="*/ 91 h 4101"/>
                  <a:gd name="T68" fmla="*/ 2535 w 3504"/>
                  <a:gd name="T69" fmla="*/ 145 h 4101"/>
                  <a:gd name="T70" fmla="*/ 2311 w 3504"/>
                  <a:gd name="T71" fmla="*/ 222 h 4101"/>
                  <a:gd name="T72" fmla="*/ 2113 w 3504"/>
                  <a:gd name="T73" fmla="*/ 327 h 4101"/>
                  <a:gd name="T74" fmla="*/ 1961 w 3504"/>
                  <a:gd name="T75" fmla="*/ 450 h 4101"/>
                  <a:gd name="T76" fmla="*/ 1826 w 3504"/>
                  <a:gd name="T77" fmla="*/ 582 h 4101"/>
                  <a:gd name="T78" fmla="*/ 1702 w 3504"/>
                  <a:gd name="T79" fmla="*/ 724 h 4101"/>
                  <a:gd name="T80" fmla="*/ 1591 w 3504"/>
                  <a:gd name="T81" fmla="*/ 876 h 4101"/>
                  <a:gd name="T82" fmla="*/ 1495 w 3504"/>
                  <a:gd name="T83" fmla="*/ 1035 h 4101"/>
                  <a:gd name="T84" fmla="*/ 1413 w 3504"/>
                  <a:gd name="T85" fmla="*/ 1200 h 4101"/>
                  <a:gd name="T86" fmla="*/ 1347 w 3504"/>
                  <a:gd name="T87" fmla="*/ 1372 h 4101"/>
                  <a:gd name="T88" fmla="*/ 1298 w 3504"/>
                  <a:gd name="T89" fmla="*/ 1547 h 4101"/>
                  <a:gd name="T90" fmla="*/ 1273 w 3504"/>
                  <a:gd name="T91" fmla="*/ 1670 h 4101"/>
                  <a:gd name="T92" fmla="*/ 1253 w 3504"/>
                  <a:gd name="T93" fmla="*/ 1776 h 4101"/>
                  <a:gd name="T94" fmla="*/ 1212 w 3504"/>
                  <a:gd name="T95" fmla="*/ 1997 h 4101"/>
                  <a:gd name="T96" fmla="*/ 1156 w 3504"/>
                  <a:gd name="T97" fmla="*/ 2224 h 4101"/>
                  <a:gd name="T98" fmla="*/ 1112 w 3504"/>
                  <a:gd name="T99" fmla="*/ 2353 h 4101"/>
                  <a:gd name="T100" fmla="*/ 1055 w 3504"/>
                  <a:gd name="T101" fmla="*/ 2481 h 4101"/>
                  <a:gd name="T102" fmla="*/ 982 w 3504"/>
                  <a:gd name="T103" fmla="*/ 2606 h 4101"/>
                  <a:gd name="T104" fmla="*/ 892 w 3504"/>
                  <a:gd name="T105" fmla="*/ 2728 h 4101"/>
                  <a:gd name="T106" fmla="*/ 780 w 3504"/>
                  <a:gd name="T107" fmla="*/ 2848 h 4101"/>
                  <a:gd name="T108" fmla="*/ 664 w 3504"/>
                  <a:gd name="T109" fmla="*/ 2988 h 4101"/>
                  <a:gd name="T110" fmla="*/ 546 w 3504"/>
                  <a:gd name="T111" fmla="*/ 3155 h 4101"/>
                  <a:gd name="T112" fmla="*/ 404 w 3504"/>
                  <a:gd name="T113" fmla="*/ 3384 h 4101"/>
                  <a:gd name="T114" fmla="*/ 202 w 3504"/>
                  <a:gd name="T115" fmla="*/ 3752 h 4101"/>
                  <a:gd name="T116" fmla="*/ 55 w 3504"/>
                  <a:gd name="T117" fmla="*/ 4048 h 4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04" h="4101">
                    <a:moveTo>
                      <a:pt x="0" y="4101"/>
                    </a:moveTo>
                    <a:lnTo>
                      <a:pt x="25" y="4050"/>
                    </a:lnTo>
                    <a:lnTo>
                      <a:pt x="54" y="3989"/>
                    </a:lnTo>
                    <a:lnTo>
                      <a:pt x="88" y="3917"/>
                    </a:lnTo>
                    <a:lnTo>
                      <a:pt x="127" y="3839"/>
                    </a:lnTo>
                    <a:lnTo>
                      <a:pt x="170" y="3754"/>
                    </a:lnTo>
                    <a:lnTo>
                      <a:pt x="218" y="3665"/>
                    </a:lnTo>
                    <a:lnTo>
                      <a:pt x="268" y="3571"/>
                    </a:lnTo>
                    <a:lnTo>
                      <a:pt x="320" y="3476"/>
                    </a:lnTo>
                    <a:lnTo>
                      <a:pt x="376" y="3380"/>
                    </a:lnTo>
                    <a:lnTo>
                      <a:pt x="433" y="3284"/>
                    </a:lnTo>
                    <a:lnTo>
                      <a:pt x="462" y="3236"/>
                    </a:lnTo>
                    <a:lnTo>
                      <a:pt x="491" y="3190"/>
                    </a:lnTo>
                    <a:lnTo>
                      <a:pt x="520" y="3145"/>
                    </a:lnTo>
                    <a:lnTo>
                      <a:pt x="550" y="3100"/>
                    </a:lnTo>
                    <a:lnTo>
                      <a:pt x="581" y="3056"/>
                    </a:lnTo>
                    <a:lnTo>
                      <a:pt x="611" y="3014"/>
                    </a:lnTo>
                    <a:lnTo>
                      <a:pt x="641" y="2973"/>
                    </a:lnTo>
                    <a:lnTo>
                      <a:pt x="670" y="2934"/>
                    </a:lnTo>
                    <a:lnTo>
                      <a:pt x="701" y="2897"/>
                    </a:lnTo>
                    <a:lnTo>
                      <a:pt x="731" y="2862"/>
                    </a:lnTo>
                    <a:lnTo>
                      <a:pt x="760" y="2829"/>
                    </a:lnTo>
                    <a:lnTo>
                      <a:pt x="790" y="2799"/>
                    </a:lnTo>
                    <a:lnTo>
                      <a:pt x="818" y="2770"/>
                    </a:lnTo>
                    <a:lnTo>
                      <a:pt x="845" y="2740"/>
                    </a:lnTo>
                    <a:lnTo>
                      <a:pt x="871" y="2711"/>
                    </a:lnTo>
                    <a:lnTo>
                      <a:pt x="895" y="2680"/>
                    </a:lnTo>
                    <a:lnTo>
                      <a:pt x="918" y="2651"/>
                    </a:lnTo>
                    <a:lnTo>
                      <a:pt x="939" y="2621"/>
                    </a:lnTo>
                    <a:lnTo>
                      <a:pt x="960" y="2590"/>
                    </a:lnTo>
                    <a:lnTo>
                      <a:pt x="979" y="2560"/>
                    </a:lnTo>
                    <a:lnTo>
                      <a:pt x="998" y="2529"/>
                    </a:lnTo>
                    <a:lnTo>
                      <a:pt x="1015" y="2498"/>
                    </a:lnTo>
                    <a:lnTo>
                      <a:pt x="1032" y="2467"/>
                    </a:lnTo>
                    <a:lnTo>
                      <a:pt x="1047" y="2435"/>
                    </a:lnTo>
                    <a:lnTo>
                      <a:pt x="1061" y="2404"/>
                    </a:lnTo>
                    <a:lnTo>
                      <a:pt x="1075" y="2373"/>
                    </a:lnTo>
                    <a:lnTo>
                      <a:pt x="1087" y="2341"/>
                    </a:lnTo>
                    <a:lnTo>
                      <a:pt x="1100" y="2310"/>
                    </a:lnTo>
                    <a:lnTo>
                      <a:pt x="1111" y="2278"/>
                    </a:lnTo>
                    <a:lnTo>
                      <a:pt x="1122" y="2246"/>
                    </a:lnTo>
                    <a:lnTo>
                      <a:pt x="1131" y="2214"/>
                    </a:lnTo>
                    <a:lnTo>
                      <a:pt x="1140" y="2182"/>
                    </a:lnTo>
                    <a:lnTo>
                      <a:pt x="1157" y="2118"/>
                    </a:lnTo>
                    <a:lnTo>
                      <a:pt x="1172" y="2054"/>
                    </a:lnTo>
                    <a:lnTo>
                      <a:pt x="1186" y="1990"/>
                    </a:lnTo>
                    <a:lnTo>
                      <a:pt x="1198" y="1926"/>
                    </a:lnTo>
                    <a:lnTo>
                      <a:pt x="1210" y="1861"/>
                    </a:lnTo>
                    <a:lnTo>
                      <a:pt x="1222" y="1797"/>
                    </a:lnTo>
                    <a:lnTo>
                      <a:pt x="1226" y="1771"/>
                    </a:lnTo>
                    <a:lnTo>
                      <a:pt x="1231" y="1744"/>
                    </a:lnTo>
                    <a:lnTo>
                      <a:pt x="1236" y="1719"/>
                    </a:lnTo>
                    <a:lnTo>
                      <a:pt x="1240" y="1692"/>
                    </a:lnTo>
                    <a:lnTo>
                      <a:pt x="1246" y="1666"/>
                    </a:lnTo>
                    <a:lnTo>
                      <a:pt x="1251" y="1639"/>
                    </a:lnTo>
                    <a:lnTo>
                      <a:pt x="1257" y="1612"/>
                    </a:lnTo>
                    <a:lnTo>
                      <a:pt x="1261" y="1586"/>
                    </a:lnTo>
                    <a:lnTo>
                      <a:pt x="1272" y="1540"/>
                    </a:lnTo>
                    <a:lnTo>
                      <a:pt x="1283" y="1496"/>
                    </a:lnTo>
                    <a:lnTo>
                      <a:pt x="1294" y="1452"/>
                    </a:lnTo>
                    <a:lnTo>
                      <a:pt x="1307" y="1408"/>
                    </a:lnTo>
                    <a:lnTo>
                      <a:pt x="1321" y="1363"/>
                    </a:lnTo>
                    <a:lnTo>
                      <a:pt x="1337" y="1320"/>
                    </a:lnTo>
                    <a:lnTo>
                      <a:pt x="1353" y="1276"/>
                    </a:lnTo>
                    <a:lnTo>
                      <a:pt x="1370" y="1233"/>
                    </a:lnTo>
                    <a:lnTo>
                      <a:pt x="1388" y="1191"/>
                    </a:lnTo>
                    <a:lnTo>
                      <a:pt x="1408" y="1148"/>
                    </a:lnTo>
                    <a:lnTo>
                      <a:pt x="1428" y="1105"/>
                    </a:lnTo>
                    <a:lnTo>
                      <a:pt x="1449" y="1063"/>
                    </a:lnTo>
                    <a:lnTo>
                      <a:pt x="1472" y="1022"/>
                    </a:lnTo>
                    <a:lnTo>
                      <a:pt x="1494" y="981"/>
                    </a:lnTo>
                    <a:lnTo>
                      <a:pt x="1518" y="940"/>
                    </a:lnTo>
                    <a:lnTo>
                      <a:pt x="1543" y="900"/>
                    </a:lnTo>
                    <a:lnTo>
                      <a:pt x="1569" y="860"/>
                    </a:lnTo>
                    <a:lnTo>
                      <a:pt x="1596" y="822"/>
                    </a:lnTo>
                    <a:lnTo>
                      <a:pt x="1623" y="783"/>
                    </a:lnTo>
                    <a:lnTo>
                      <a:pt x="1652" y="745"/>
                    </a:lnTo>
                    <a:lnTo>
                      <a:pt x="1681" y="707"/>
                    </a:lnTo>
                    <a:lnTo>
                      <a:pt x="1711" y="670"/>
                    </a:lnTo>
                    <a:lnTo>
                      <a:pt x="1742" y="634"/>
                    </a:lnTo>
                    <a:lnTo>
                      <a:pt x="1773" y="598"/>
                    </a:lnTo>
                    <a:lnTo>
                      <a:pt x="1806" y="562"/>
                    </a:lnTo>
                    <a:lnTo>
                      <a:pt x="1839" y="529"/>
                    </a:lnTo>
                    <a:lnTo>
                      <a:pt x="1873" y="494"/>
                    </a:lnTo>
                    <a:lnTo>
                      <a:pt x="1908" y="462"/>
                    </a:lnTo>
                    <a:lnTo>
                      <a:pt x="1943" y="430"/>
                    </a:lnTo>
                    <a:lnTo>
                      <a:pt x="1979" y="398"/>
                    </a:lnTo>
                    <a:lnTo>
                      <a:pt x="2016" y="367"/>
                    </a:lnTo>
                    <a:lnTo>
                      <a:pt x="2054" y="337"/>
                    </a:lnTo>
                    <a:lnTo>
                      <a:pt x="2098" y="306"/>
                    </a:lnTo>
                    <a:lnTo>
                      <a:pt x="2144" y="275"/>
                    </a:lnTo>
                    <a:lnTo>
                      <a:pt x="2193" y="248"/>
                    </a:lnTo>
                    <a:lnTo>
                      <a:pt x="2244" y="222"/>
                    </a:lnTo>
                    <a:lnTo>
                      <a:pt x="2298" y="199"/>
                    </a:lnTo>
                    <a:lnTo>
                      <a:pt x="2353" y="176"/>
                    </a:lnTo>
                    <a:lnTo>
                      <a:pt x="2409" y="156"/>
                    </a:lnTo>
                    <a:lnTo>
                      <a:pt x="2466" y="137"/>
                    </a:lnTo>
                    <a:lnTo>
                      <a:pt x="2524" y="120"/>
                    </a:lnTo>
                    <a:lnTo>
                      <a:pt x="2584" y="104"/>
                    </a:lnTo>
                    <a:lnTo>
                      <a:pt x="2643" y="90"/>
                    </a:lnTo>
                    <a:lnTo>
                      <a:pt x="2704" y="77"/>
                    </a:lnTo>
                    <a:lnTo>
                      <a:pt x="2763" y="65"/>
                    </a:lnTo>
                    <a:lnTo>
                      <a:pt x="2821" y="55"/>
                    </a:lnTo>
                    <a:lnTo>
                      <a:pt x="2880" y="45"/>
                    </a:lnTo>
                    <a:lnTo>
                      <a:pt x="2937" y="37"/>
                    </a:lnTo>
                    <a:lnTo>
                      <a:pt x="2993" y="30"/>
                    </a:lnTo>
                    <a:lnTo>
                      <a:pt x="3047" y="24"/>
                    </a:lnTo>
                    <a:lnTo>
                      <a:pt x="3100" y="18"/>
                    </a:lnTo>
                    <a:lnTo>
                      <a:pt x="3150" y="14"/>
                    </a:lnTo>
                    <a:lnTo>
                      <a:pt x="3244" y="8"/>
                    </a:lnTo>
                    <a:lnTo>
                      <a:pt x="3325" y="3"/>
                    </a:lnTo>
                    <a:lnTo>
                      <a:pt x="3393" y="1"/>
                    </a:lnTo>
                    <a:lnTo>
                      <a:pt x="3444" y="0"/>
                    </a:lnTo>
                    <a:lnTo>
                      <a:pt x="3478" y="0"/>
                    </a:lnTo>
                    <a:lnTo>
                      <a:pt x="3491" y="0"/>
                    </a:lnTo>
                    <a:lnTo>
                      <a:pt x="3496" y="1"/>
                    </a:lnTo>
                    <a:lnTo>
                      <a:pt x="3499" y="3"/>
                    </a:lnTo>
                    <a:lnTo>
                      <a:pt x="3503" y="8"/>
                    </a:lnTo>
                    <a:lnTo>
                      <a:pt x="3504" y="13"/>
                    </a:lnTo>
                    <a:lnTo>
                      <a:pt x="3503" y="18"/>
                    </a:lnTo>
                    <a:lnTo>
                      <a:pt x="3499" y="23"/>
                    </a:lnTo>
                    <a:lnTo>
                      <a:pt x="3495" y="26"/>
                    </a:lnTo>
                    <a:lnTo>
                      <a:pt x="3490" y="27"/>
                    </a:lnTo>
                    <a:lnTo>
                      <a:pt x="3477" y="27"/>
                    </a:lnTo>
                    <a:lnTo>
                      <a:pt x="3444" y="27"/>
                    </a:lnTo>
                    <a:lnTo>
                      <a:pt x="3394" y="28"/>
                    </a:lnTo>
                    <a:lnTo>
                      <a:pt x="3327" y="30"/>
                    </a:lnTo>
                    <a:lnTo>
                      <a:pt x="3246" y="35"/>
                    </a:lnTo>
                    <a:lnTo>
                      <a:pt x="3153" y="41"/>
                    </a:lnTo>
                    <a:lnTo>
                      <a:pt x="3103" y="45"/>
                    </a:lnTo>
                    <a:lnTo>
                      <a:pt x="3051" y="51"/>
                    </a:lnTo>
                    <a:lnTo>
                      <a:pt x="2997" y="56"/>
                    </a:lnTo>
                    <a:lnTo>
                      <a:pt x="2942" y="64"/>
                    </a:lnTo>
                    <a:lnTo>
                      <a:pt x="2886" y="71"/>
                    </a:lnTo>
                    <a:lnTo>
                      <a:pt x="2828" y="81"/>
                    </a:lnTo>
                    <a:lnTo>
                      <a:pt x="2769" y="91"/>
                    </a:lnTo>
                    <a:lnTo>
                      <a:pt x="2711" y="103"/>
                    </a:lnTo>
                    <a:lnTo>
                      <a:pt x="2652" y="114"/>
                    </a:lnTo>
                    <a:lnTo>
                      <a:pt x="2593" y="129"/>
                    </a:lnTo>
                    <a:lnTo>
                      <a:pt x="2535" y="145"/>
                    </a:lnTo>
                    <a:lnTo>
                      <a:pt x="2477" y="162"/>
                    </a:lnTo>
                    <a:lnTo>
                      <a:pt x="2421" y="180"/>
                    </a:lnTo>
                    <a:lnTo>
                      <a:pt x="2365" y="200"/>
                    </a:lnTo>
                    <a:lnTo>
                      <a:pt x="2311" y="222"/>
                    </a:lnTo>
                    <a:lnTo>
                      <a:pt x="2258" y="245"/>
                    </a:lnTo>
                    <a:lnTo>
                      <a:pt x="2207" y="271"/>
                    </a:lnTo>
                    <a:lnTo>
                      <a:pt x="2159" y="298"/>
                    </a:lnTo>
                    <a:lnTo>
                      <a:pt x="2113" y="327"/>
                    </a:lnTo>
                    <a:lnTo>
                      <a:pt x="2071" y="358"/>
                    </a:lnTo>
                    <a:lnTo>
                      <a:pt x="2033" y="389"/>
                    </a:lnTo>
                    <a:lnTo>
                      <a:pt x="1997" y="419"/>
                    </a:lnTo>
                    <a:lnTo>
                      <a:pt x="1961" y="450"/>
                    </a:lnTo>
                    <a:lnTo>
                      <a:pt x="1926" y="482"/>
                    </a:lnTo>
                    <a:lnTo>
                      <a:pt x="1892" y="514"/>
                    </a:lnTo>
                    <a:lnTo>
                      <a:pt x="1858" y="547"/>
                    </a:lnTo>
                    <a:lnTo>
                      <a:pt x="1826" y="582"/>
                    </a:lnTo>
                    <a:lnTo>
                      <a:pt x="1793" y="616"/>
                    </a:lnTo>
                    <a:lnTo>
                      <a:pt x="1762" y="651"/>
                    </a:lnTo>
                    <a:lnTo>
                      <a:pt x="1732" y="688"/>
                    </a:lnTo>
                    <a:lnTo>
                      <a:pt x="1702" y="724"/>
                    </a:lnTo>
                    <a:lnTo>
                      <a:pt x="1673" y="761"/>
                    </a:lnTo>
                    <a:lnTo>
                      <a:pt x="1645" y="799"/>
                    </a:lnTo>
                    <a:lnTo>
                      <a:pt x="1618" y="837"/>
                    </a:lnTo>
                    <a:lnTo>
                      <a:pt x="1591" y="876"/>
                    </a:lnTo>
                    <a:lnTo>
                      <a:pt x="1567" y="914"/>
                    </a:lnTo>
                    <a:lnTo>
                      <a:pt x="1542" y="954"/>
                    </a:lnTo>
                    <a:lnTo>
                      <a:pt x="1518" y="994"/>
                    </a:lnTo>
                    <a:lnTo>
                      <a:pt x="1495" y="1035"/>
                    </a:lnTo>
                    <a:lnTo>
                      <a:pt x="1474" y="1076"/>
                    </a:lnTo>
                    <a:lnTo>
                      <a:pt x="1452" y="1117"/>
                    </a:lnTo>
                    <a:lnTo>
                      <a:pt x="1433" y="1158"/>
                    </a:lnTo>
                    <a:lnTo>
                      <a:pt x="1413" y="1200"/>
                    </a:lnTo>
                    <a:lnTo>
                      <a:pt x="1395" y="1244"/>
                    </a:lnTo>
                    <a:lnTo>
                      <a:pt x="1379" y="1286"/>
                    </a:lnTo>
                    <a:lnTo>
                      <a:pt x="1362" y="1329"/>
                    </a:lnTo>
                    <a:lnTo>
                      <a:pt x="1347" y="1372"/>
                    </a:lnTo>
                    <a:lnTo>
                      <a:pt x="1333" y="1415"/>
                    </a:lnTo>
                    <a:lnTo>
                      <a:pt x="1320" y="1458"/>
                    </a:lnTo>
                    <a:lnTo>
                      <a:pt x="1309" y="1503"/>
                    </a:lnTo>
                    <a:lnTo>
                      <a:pt x="1298" y="1547"/>
                    </a:lnTo>
                    <a:lnTo>
                      <a:pt x="1288" y="1591"/>
                    </a:lnTo>
                    <a:lnTo>
                      <a:pt x="1283" y="1617"/>
                    </a:lnTo>
                    <a:lnTo>
                      <a:pt x="1277" y="1644"/>
                    </a:lnTo>
                    <a:lnTo>
                      <a:pt x="1273" y="1670"/>
                    </a:lnTo>
                    <a:lnTo>
                      <a:pt x="1267" y="1697"/>
                    </a:lnTo>
                    <a:lnTo>
                      <a:pt x="1262" y="1723"/>
                    </a:lnTo>
                    <a:lnTo>
                      <a:pt x="1258" y="1750"/>
                    </a:lnTo>
                    <a:lnTo>
                      <a:pt x="1253" y="1776"/>
                    </a:lnTo>
                    <a:lnTo>
                      <a:pt x="1248" y="1802"/>
                    </a:lnTo>
                    <a:lnTo>
                      <a:pt x="1237" y="1866"/>
                    </a:lnTo>
                    <a:lnTo>
                      <a:pt x="1225" y="1931"/>
                    </a:lnTo>
                    <a:lnTo>
                      <a:pt x="1212" y="1997"/>
                    </a:lnTo>
                    <a:lnTo>
                      <a:pt x="1198" y="2062"/>
                    </a:lnTo>
                    <a:lnTo>
                      <a:pt x="1183" y="2127"/>
                    </a:lnTo>
                    <a:lnTo>
                      <a:pt x="1166" y="2191"/>
                    </a:lnTo>
                    <a:lnTo>
                      <a:pt x="1156" y="2224"/>
                    </a:lnTo>
                    <a:lnTo>
                      <a:pt x="1147" y="2256"/>
                    </a:lnTo>
                    <a:lnTo>
                      <a:pt x="1136" y="2289"/>
                    </a:lnTo>
                    <a:lnTo>
                      <a:pt x="1125" y="2321"/>
                    </a:lnTo>
                    <a:lnTo>
                      <a:pt x="1112" y="2353"/>
                    </a:lnTo>
                    <a:lnTo>
                      <a:pt x="1099" y="2385"/>
                    </a:lnTo>
                    <a:lnTo>
                      <a:pt x="1086" y="2417"/>
                    </a:lnTo>
                    <a:lnTo>
                      <a:pt x="1071" y="2448"/>
                    </a:lnTo>
                    <a:lnTo>
                      <a:pt x="1055" y="2481"/>
                    </a:lnTo>
                    <a:lnTo>
                      <a:pt x="1039" y="2512"/>
                    </a:lnTo>
                    <a:lnTo>
                      <a:pt x="1021" y="2543"/>
                    </a:lnTo>
                    <a:lnTo>
                      <a:pt x="1002" y="2575"/>
                    </a:lnTo>
                    <a:lnTo>
                      <a:pt x="982" y="2606"/>
                    </a:lnTo>
                    <a:lnTo>
                      <a:pt x="962" y="2636"/>
                    </a:lnTo>
                    <a:lnTo>
                      <a:pt x="939" y="2667"/>
                    </a:lnTo>
                    <a:lnTo>
                      <a:pt x="917" y="2698"/>
                    </a:lnTo>
                    <a:lnTo>
                      <a:pt x="892" y="2728"/>
                    </a:lnTo>
                    <a:lnTo>
                      <a:pt x="866" y="2758"/>
                    </a:lnTo>
                    <a:lnTo>
                      <a:pt x="838" y="2788"/>
                    </a:lnTo>
                    <a:lnTo>
                      <a:pt x="809" y="2818"/>
                    </a:lnTo>
                    <a:lnTo>
                      <a:pt x="780" y="2848"/>
                    </a:lnTo>
                    <a:lnTo>
                      <a:pt x="751" y="2880"/>
                    </a:lnTo>
                    <a:lnTo>
                      <a:pt x="722" y="2914"/>
                    </a:lnTo>
                    <a:lnTo>
                      <a:pt x="693" y="2950"/>
                    </a:lnTo>
                    <a:lnTo>
                      <a:pt x="664" y="2988"/>
                    </a:lnTo>
                    <a:lnTo>
                      <a:pt x="634" y="3028"/>
                    </a:lnTo>
                    <a:lnTo>
                      <a:pt x="604" y="3069"/>
                    </a:lnTo>
                    <a:lnTo>
                      <a:pt x="575" y="3111"/>
                    </a:lnTo>
                    <a:lnTo>
                      <a:pt x="546" y="3155"/>
                    </a:lnTo>
                    <a:lnTo>
                      <a:pt x="517" y="3200"/>
                    </a:lnTo>
                    <a:lnTo>
                      <a:pt x="488" y="3245"/>
                    </a:lnTo>
                    <a:lnTo>
                      <a:pt x="460" y="3291"/>
                    </a:lnTo>
                    <a:lnTo>
                      <a:pt x="404" y="3384"/>
                    </a:lnTo>
                    <a:lnTo>
                      <a:pt x="350" y="3479"/>
                    </a:lnTo>
                    <a:lnTo>
                      <a:pt x="298" y="3572"/>
                    </a:lnTo>
                    <a:lnTo>
                      <a:pt x="248" y="3664"/>
                    </a:lnTo>
                    <a:lnTo>
                      <a:pt x="202" y="3752"/>
                    </a:lnTo>
                    <a:lnTo>
                      <a:pt x="159" y="3837"/>
                    </a:lnTo>
                    <a:lnTo>
                      <a:pt x="120" y="3915"/>
                    </a:lnTo>
                    <a:lnTo>
                      <a:pt x="85" y="3985"/>
                    </a:lnTo>
                    <a:lnTo>
                      <a:pt x="55" y="4048"/>
                    </a:lnTo>
                    <a:lnTo>
                      <a:pt x="30" y="4101"/>
                    </a:lnTo>
                    <a:lnTo>
                      <a:pt x="0" y="4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02"/>
              <p:cNvSpPr>
                <a:spLocks/>
              </p:cNvSpPr>
              <p:nvPr userDrawn="1"/>
            </p:nvSpPr>
            <p:spPr bwMode="auto">
              <a:xfrm>
                <a:off x="1219" y="2957"/>
                <a:ext cx="1272" cy="218"/>
              </a:xfrm>
              <a:custGeom>
                <a:avLst/>
                <a:gdLst>
                  <a:gd name="T0" fmla="*/ 3795 w 3817"/>
                  <a:gd name="T1" fmla="*/ 652 h 655"/>
                  <a:gd name="T2" fmla="*/ 3790 w 3817"/>
                  <a:gd name="T3" fmla="*/ 635 h 655"/>
                  <a:gd name="T4" fmla="*/ 3787 w 3817"/>
                  <a:gd name="T5" fmla="*/ 589 h 655"/>
                  <a:gd name="T6" fmla="*/ 3771 w 3817"/>
                  <a:gd name="T7" fmla="*/ 548 h 655"/>
                  <a:gd name="T8" fmla="*/ 3736 w 3817"/>
                  <a:gd name="T9" fmla="*/ 503 h 655"/>
                  <a:gd name="T10" fmla="*/ 3685 w 3817"/>
                  <a:gd name="T11" fmla="*/ 461 h 655"/>
                  <a:gd name="T12" fmla="*/ 3610 w 3817"/>
                  <a:gd name="T13" fmla="*/ 422 h 655"/>
                  <a:gd name="T14" fmla="*/ 3510 w 3817"/>
                  <a:gd name="T15" fmla="*/ 387 h 655"/>
                  <a:gd name="T16" fmla="*/ 3379 w 3817"/>
                  <a:gd name="T17" fmla="*/ 361 h 655"/>
                  <a:gd name="T18" fmla="*/ 3214 w 3817"/>
                  <a:gd name="T19" fmla="*/ 344 h 655"/>
                  <a:gd name="T20" fmla="*/ 3010 w 3817"/>
                  <a:gd name="T21" fmla="*/ 339 h 655"/>
                  <a:gd name="T22" fmla="*/ 2763 w 3817"/>
                  <a:gd name="T23" fmla="*/ 349 h 655"/>
                  <a:gd name="T24" fmla="*/ 2465 w 3817"/>
                  <a:gd name="T25" fmla="*/ 373 h 655"/>
                  <a:gd name="T26" fmla="*/ 2157 w 3817"/>
                  <a:gd name="T27" fmla="*/ 391 h 655"/>
                  <a:gd name="T28" fmla="*/ 1881 w 3817"/>
                  <a:gd name="T29" fmla="*/ 388 h 655"/>
                  <a:gd name="T30" fmla="*/ 1637 w 3817"/>
                  <a:gd name="T31" fmla="*/ 369 h 655"/>
                  <a:gd name="T32" fmla="*/ 1420 w 3817"/>
                  <a:gd name="T33" fmla="*/ 336 h 655"/>
                  <a:gd name="T34" fmla="*/ 1226 w 3817"/>
                  <a:gd name="T35" fmla="*/ 293 h 655"/>
                  <a:gd name="T36" fmla="*/ 1010 w 3817"/>
                  <a:gd name="T37" fmla="*/ 233 h 655"/>
                  <a:gd name="T38" fmla="*/ 728 w 3817"/>
                  <a:gd name="T39" fmla="*/ 138 h 655"/>
                  <a:gd name="T40" fmla="*/ 535 w 3817"/>
                  <a:gd name="T41" fmla="*/ 76 h 655"/>
                  <a:gd name="T42" fmla="*/ 350 w 3817"/>
                  <a:gd name="T43" fmla="*/ 35 h 655"/>
                  <a:gd name="T44" fmla="*/ 235 w 3817"/>
                  <a:gd name="T45" fmla="*/ 27 h 655"/>
                  <a:gd name="T46" fmla="*/ 140 w 3817"/>
                  <a:gd name="T47" fmla="*/ 31 h 655"/>
                  <a:gd name="T48" fmla="*/ 41 w 3817"/>
                  <a:gd name="T49" fmla="*/ 46 h 655"/>
                  <a:gd name="T50" fmla="*/ 2 w 3817"/>
                  <a:gd name="T51" fmla="*/ 47 h 655"/>
                  <a:gd name="T52" fmla="*/ 6 w 3817"/>
                  <a:gd name="T53" fmla="*/ 29 h 655"/>
                  <a:gd name="T54" fmla="*/ 87 w 3817"/>
                  <a:gd name="T55" fmla="*/ 11 h 655"/>
                  <a:gd name="T56" fmla="*/ 186 w 3817"/>
                  <a:gd name="T57" fmla="*/ 1 h 655"/>
                  <a:gd name="T58" fmla="*/ 281 w 3817"/>
                  <a:gd name="T59" fmla="*/ 1 h 655"/>
                  <a:gd name="T60" fmla="*/ 445 w 3817"/>
                  <a:gd name="T61" fmla="*/ 26 h 655"/>
                  <a:gd name="T62" fmla="*/ 636 w 3817"/>
                  <a:gd name="T63" fmla="*/ 79 h 655"/>
                  <a:gd name="T64" fmla="*/ 862 w 3817"/>
                  <a:gd name="T65" fmla="*/ 155 h 655"/>
                  <a:gd name="T66" fmla="*/ 1143 w 3817"/>
                  <a:gd name="T67" fmla="*/ 244 h 655"/>
                  <a:gd name="T68" fmla="*/ 1325 w 3817"/>
                  <a:gd name="T69" fmla="*/ 289 h 655"/>
                  <a:gd name="T70" fmla="*/ 1529 w 3817"/>
                  <a:gd name="T71" fmla="*/ 327 h 655"/>
                  <a:gd name="T72" fmla="*/ 1758 w 3817"/>
                  <a:gd name="T73" fmla="*/ 353 h 655"/>
                  <a:gd name="T74" fmla="*/ 2015 w 3817"/>
                  <a:gd name="T75" fmla="*/ 365 h 655"/>
                  <a:gd name="T76" fmla="*/ 2306 w 3817"/>
                  <a:gd name="T77" fmla="*/ 358 h 655"/>
                  <a:gd name="T78" fmla="*/ 2622 w 3817"/>
                  <a:gd name="T79" fmla="*/ 332 h 655"/>
                  <a:gd name="T80" fmla="*/ 2895 w 3817"/>
                  <a:gd name="T81" fmla="*/ 315 h 655"/>
                  <a:gd name="T82" fmla="*/ 3123 w 3817"/>
                  <a:gd name="T83" fmla="*/ 313 h 655"/>
                  <a:gd name="T84" fmla="*/ 3311 w 3817"/>
                  <a:gd name="T85" fmla="*/ 326 h 655"/>
                  <a:gd name="T86" fmla="*/ 3462 w 3817"/>
                  <a:gd name="T87" fmla="*/ 350 h 655"/>
                  <a:gd name="T88" fmla="*/ 3580 w 3817"/>
                  <a:gd name="T89" fmla="*/ 382 h 655"/>
                  <a:gd name="T90" fmla="*/ 3669 w 3817"/>
                  <a:gd name="T91" fmla="*/ 421 h 655"/>
                  <a:gd name="T92" fmla="*/ 3733 w 3817"/>
                  <a:gd name="T93" fmla="*/ 463 h 655"/>
                  <a:gd name="T94" fmla="*/ 3779 w 3817"/>
                  <a:gd name="T95" fmla="*/ 510 h 655"/>
                  <a:gd name="T96" fmla="*/ 3808 w 3817"/>
                  <a:gd name="T97" fmla="*/ 563 h 655"/>
                  <a:gd name="T98" fmla="*/ 3817 w 3817"/>
                  <a:gd name="T99" fmla="*/ 616 h 655"/>
                  <a:gd name="T100" fmla="*/ 3813 w 3817"/>
                  <a:gd name="T101" fmla="*/ 64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17" h="655">
                    <a:moveTo>
                      <a:pt x="3802" y="655"/>
                    </a:moveTo>
                    <a:lnTo>
                      <a:pt x="3801" y="655"/>
                    </a:lnTo>
                    <a:lnTo>
                      <a:pt x="3799" y="654"/>
                    </a:lnTo>
                    <a:lnTo>
                      <a:pt x="3795" y="652"/>
                    </a:lnTo>
                    <a:lnTo>
                      <a:pt x="3790" y="649"/>
                    </a:lnTo>
                    <a:lnTo>
                      <a:pt x="3789" y="643"/>
                    </a:lnTo>
                    <a:lnTo>
                      <a:pt x="3789" y="638"/>
                    </a:lnTo>
                    <a:lnTo>
                      <a:pt x="3790" y="635"/>
                    </a:lnTo>
                    <a:lnTo>
                      <a:pt x="3790" y="626"/>
                    </a:lnTo>
                    <a:lnTo>
                      <a:pt x="3790" y="614"/>
                    </a:lnTo>
                    <a:lnTo>
                      <a:pt x="3789" y="599"/>
                    </a:lnTo>
                    <a:lnTo>
                      <a:pt x="3787" y="589"/>
                    </a:lnTo>
                    <a:lnTo>
                      <a:pt x="3785" y="581"/>
                    </a:lnTo>
                    <a:lnTo>
                      <a:pt x="3781" y="570"/>
                    </a:lnTo>
                    <a:lnTo>
                      <a:pt x="3776" y="559"/>
                    </a:lnTo>
                    <a:lnTo>
                      <a:pt x="3771" y="548"/>
                    </a:lnTo>
                    <a:lnTo>
                      <a:pt x="3763" y="536"/>
                    </a:lnTo>
                    <a:lnTo>
                      <a:pt x="3756" y="526"/>
                    </a:lnTo>
                    <a:lnTo>
                      <a:pt x="3746" y="513"/>
                    </a:lnTo>
                    <a:lnTo>
                      <a:pt x="3736" y="503"/>
                    </a:lnTo>
                    <a:lnTo>
                      <a:pt x="3725" y="492"/>
                    </a:lnTo>
                    <a:lnTo>
                      <a:pt x="3713" y="481"/>
                    </a:lnTo>
                    <a:lnTo>
                      <a:pt x="3700" y="472"/>
                    </a:lnTo>
                    <a:lnTo>
                      <a:pt x="3685" y="461"/>
                    </a:lnTo>
                    <a:lnTo>
                      <a:pt x="3668" y="451"/>
                    </a:lnTo>
                    <a:lnTo>
                      <a:pt x="3650" y="441"/>
                    </a:lnTo>
                    <a:lnTo>
                      <a:pt x="3632" y="432"/>
                    </a:lnTo>
                    <a:lnTo>
                      <a:pt x="3610" y="422"/>
                    </a:lnTo>
                    <a:lnTo>
                      <a:pt x="3587" y="413"/>
                    </a:lnTo>
                    <a:lnTo>
                      <a:pt x="3564" y="404"/>
                    </a:lnTo>
                    <a:lnTo>
                      <a:pt x="3538" y="396"/>
                    </a:lnTo>
                    <a:lnTo>
                      <a:pt x="3510" y="387"/>
                    </a:lnTo>
                    <a:lnTo>
                      <a:pt x="3480" y="380"/>
                    </a:lnTo>
                    <a:lnTo>
                      <a:pt x="3448" y="373"/>
                    </a:lnTo>
                    <a:lnTo>
                      <a:pt x="3415" y="367"/>
                    </a:lnTo>
                    <a:lnTo>
                      <a:pt x="3379" y="361"/>
                    </a:lnTo>
                    <a:lnTo>
                      <a:pt x="3341" y="356"/>
                    </a:lnTo>
                    <a:lnTo>
                      <a:pt x="3300" y="351"/>
                    </a:lnTo>
                    <a:lnTo>
                      <a:pt x="3258" y="347"/>
                    </a:lnTo>
                    <a:lnTo>
                      <a:pt x="3214" y="344"/>
                    </a:lnTo>
                    <a:lnTo>
                      <a:pt x="3166" y="341"/>
                    </a:lnTo>
                    <a:lnTo>
                      <a:pt x="3117" y="340"/>
                    </a:lnTo>
                    <a:lnTo>
                      <a:pt x="3065" y="339"/>
                    </a:lnTo>
                    <a:lnTo>
                      <a:pt x="3010" y="339"/>
                    </a:lnTo>
                    <a:lnTo>
                      <a:pt x="2952" y="340"/>
                    </a:lnTo>
                    <a:lnTo>
                      <a:pt x="2892" y="342"/>
                    </a:lnTo>
                    <a:lnTo>
                      <a:pt x="2829" y="344"/>
                    </a:lnTo>
                    <a:lnTo>
                      <a:pt x="2763" y="349"/>
                    </a:lnTo>
                    <a:lnTo>
                      <a:pt x="2695" y="353"/>
                    </a:lnTo>
                    <a:lnTo>
                      <a:pt x="2623" y="359"/>
                    </a:lnTo>
                    <a:lnTo>
                      <a:pt x="2549" y="366"/>
                    </a:lnTo>
                    <a:lnTo>
                      <a:pt x="2465" y="373"/>
                    </a:lnTo>
                    <a:lnTo>
                      <a:pt x="2386" y="380"/>
                    </a:lnTo>
                    <a:lnTo>
                      <a:pt x="2307" y="385"/>
                    </a:lnTo>
                    <a:lnTo>
                      <a:pt x="2230" y="388"/>
                    </a:lnTo>
                    <a:lnTo>
                      <a:pt x="2157" y="391"/>
                    </a:lnTo>
                    <a:lnTo>
                      <a:pt x="2084" y="392"/>
                    </a:lnTo>
                    <a:lnTo>
                      <a:pt x="2015" y="392"/>
                    </a:lnTo>
                    <a:lnTo>
                      <a:pt x="1947" y="391"/>
                    </a:lnTo>
                    <a:lnTo>
                      <a:pt x="1881" y="388"/>
                    </a:lnTo>
                    <a:lnTo>
                      <a:pt x="1818" y="384"/>
                    </a:lnTo>
                    <a:lnTo>
                      <a:pt x="1756" y="380"/>
                    </a:lnTo>
                    <a:lnTo>
                      <a:pt x="1696" y="374"/>
                    </a:lnTo>
                    <a:lnTo>
                      <a:pt x="1637" y="369"/>
                    </a:lnTo>
                    <a:lnTo>
                      <a:pt x="1580" y="361"/>
                    </a:lnTo>
                    <a:lnTo>
                      <a:pt x="1525" y="354"/>
                    </a:lnTo>
                    <a:lnTo>
                      <a:pt x="1472" y="345"/>
                    </a:lnTo>
                    <a:lnTo>
                      <a:pt x="1420" y="336"/>
                    </a:lnTo>
                    <a:lnTo>
                      <a:pt x="1369" y="326"/>
                    </a:lnTo>
                    <a:lnTo>
                      <a:pt x="1320" y="316"/>
                    </a:lnTo>
                    <a:lnTo>
                      <a:pt x="1272" y="305"/>
                    </a:lnTo>
                    <a:lnTo>
                      <a:pt x="1226" y="293"/>
                    </a:lnTo>
                    <a:lnTo>
                      <a:pt x="1180" y="283"/>
                    </a:lnTo>
                    <a:lnTo>
                      <a:pt x="1136" y="270"/>
                    </a:lnTo>
                    <a:lnTo>
                      <a:pt x="1093" y="258"/>
                    </a:lnTo>
                    <a:lnTo>
                      <a:pt x="1010" y="233"/>
                    </a:lnTo>
                    <a:lnTo>
                      <a:pt x="930" y="207"/>
                    </a:lnTo>
                    <a:lnTo>
                      <a:pt x="853" y="181"/>
                    </a:lnTo>
                    <a:lnTo>
                      <a:pt x="780" y="155"/>
                    </a:lnTo>
                    <a:lnTo>
                      <a:pt x="728" y="138"/>
                    </a:lnTo>
                    <a:lnTo>
                      <a:pt x="678" y="121"/>
                    </a:lnTo>
                    <a:lnTo>
                      <a:pt x="630" y="105"/>
                    </a:lnTo>
                    <a:lnTo>
                      <a:pt x="582" y="89"/>
                    </a:lnTo>
                    <a:lnTo>
                      <a:pt x="535" y="76"/>
                    </a:lnTo>
                    <a:lnTo>
                      <a:pt x="488" y="64"/>
                    </a:lnTo>
                    <a:lnTo>
                      <a:pt x="442" y="53"/>
                    </a:lnTo>
                    <a:lnTo>
                      <a:pt x="397" y="43"/>
                    </a:lnTo>
                    <a:lnTo>
                      <a:pt x="350" y="35"/>
                    </a:lnTo>
                    <a:lnTo>
                      <a:pt x="305" y="30"/>
                    </a:lnTo>
                    <a:lnTo>
                      <a:pt x="281" y="29"/>
                    </a:lnTo>
                    <a:lnTo>
                      <a:pt x="258" y="28"/>
                    </a:lnTo>
                    <a:lnTo>
                      <a:pt x="235" y="27"/>
                    </a:lnTo>
                    <a:lnTo>
                      <a:pt x="211" y="27"/>
                    </a:lnTo>
                    <a:lnTo>
                      <a:pt x="188" y="28"/>
                    </a:lnTo>
                    <a:lnTo>
                      <a:pt x="163" y="29"/>
                    </a:lnTo>
                    <a:lnTo>
                      <a:pt x="140" y="31"/>
                    </a:lnTo>
                    <a:lnTo>
                      <a:pt x="116" y="33"/>
                    </a:lnTo>
                    <a:lnTo>
                      <a:pt x="91" y="38"/>
                    </a:lnTo>
                    <a:lnTo>
                      <a:pt x="67" y="42"/>
                    </a:lnTo>
                    <a:lnTo>
                      <a:pt x="41" y="46"/>
                    </a:lnTo>
                    <a:lnTo>
                      <a:pt x="16" y="53"/>
                    </a:lnTo>
                    <a:lnTo>
                      <a:pt x="11" y="53"/>
                    </a:lnTo>
                    <a:lnTo>
                      <a:pt x="7" y="51"/>
                    </a:lnTo>
                    <a:lnTo>
                      <a:pt x="2" y="47"/>
                    </a:lnTo>
                    <a:lnTo>
                      <a:pt x="0" y="43"/>
                    </a:lnTo>
                    <a:lnTo>
                      <a:pt x="0" y="38"/>
                    </a:lnTo>
                    <a:lnTo>
                      <a:pt x="1" y="32"/>
                    </a:lnTo>
                    <a:lnTo>
                      <a:pt x="6" y="29"/>
                    </a:lnTo>
                    <a:lnTo>
                      <a:pt x="10" y="26"/>
                    </a:lnTo>
                    <a:lnTo>
                      <a:pt x="36" y="20"/>
                    </a:lnTo>
                    <a:lnTo>
                      <a:pt x="62" y="15"/>
                    </a:lnTo>
                    <a:lnTo>
                      <a:pt x="87" y="11"/>
                    </a:lnTo>
                    <a:lnTo>
                      <a:pt x="111" y="6"/>
                    </a:lnTo>
                    <a:lnTo>
                      <a:pt x="136" y="4"/>
                    </a:lnTo>
                    <a:lnTo>
                      <a:pt x="161" y="2"/>
                    </a:lnTo>
                    <a:lnTo>
                      <a:pt x="186" y="1"/>
                    </a:lnTo>
                    <a:lnTo>
                      <a:pt x="210" y="0"/>
                    </a:lnTo>
                    <a:lnTo>
                      <a:pt x="233" y="0"/>
                    </a:lnTo>
                    <a:lnTo>
                      <a:pt x="257" y="0"/>
                    </a:lnTo>
                    <a:lnTo>
                      <a:pt x="281" y="1"/>
                    </a:lnTo>
                    <a:lnTo>
                      <a:pt x="305" y="3"/>
                    </a:lnTo>
                    <a:lnTo>
                      <a:pt x="352" y="8"/>
                    </a:lnTo>
                    <a:lnTo>
                      <a:pt x="399" y="16"/>
                    </a:lnTo>
                    <a:lnTo>
                      <a:pt x="445" y="26"/>
                    </a:lnTo>
                    <a:lnTo>
                      <a:pt x="493" y="37"/>
                    </a:lnTo>
                    <a:lnTo>
                      <a:pt x="540" y="50"/>
                    </a:lnTo>
                    <a:lnTo>
                      <a:pt x="588" y="64"/>
                    </a:lnTo>
                    <a:lnTo>
                      <a:pt x="636" y="79"/>
                    </a:lnTo>
                    <a:lnTo>
                      <a:pt x="686" y="95"/>
                    </a:lnTo>
                    <a:lnTo>
                      <a:pt x="737" y="112"/>
                    </a:lnTo>
                    <a:lnTo>
                      <a:pt x="789" y="130"/>
                    </a:lnTo>
                    <a:lnTo>
                      <a:pt x="862" y="155"/>
                    </a:lnTo>
                    <a:lnTo>
                      <a:pt x="938" y="181"/>
                    </a:lnTo>
                    <a:lnTo>
                      <a:pt x="1016" y="207"/>
                    </a:lnTo>
                    <a:lnTo>
                      <a:pt x="1099" y="232"/>
                    </a:lnTo>
                    <a:lnTo>
                      <a:pt x="1143" y="244"/>
                    </a:lnTo>
                    <a:lnTo>
                      <a:pt x="1186" y="256"/>
                    </a:lnTo>
                    <a:lnTo>
                      <a:pt x="1231" y="268"/>
                    </a:lnTo>
                    <a:lnTo>
                      <a:pt x="1278" y="278"/>
                    </a:lnTo>
                    <a:lnTo>
                      <a:pt x="1325" y="289"/>
                    </a:lnTo>
                    <a:lnTo>
                      <a:pt x="1374" y="300"/>
                    </a:lnTo>
                    <a:lnTo>
                      <a:pt x="1425" y="310"/>
                    </a:lnTo>
                    <a:lnTo>
                      <a:pt x="1476" y="318"/>
                    </a:lnTo>
                    <a:lnTo>
                      <a:pt x="1529" y="327"/>
                    </a:lnTo>
                    <a:lnTo>
                      <a:pt x="1584" y="334"/>
                    </a:lnTo>
                    <a:lnTo>
                      <a:pt x="1640" y="342"/>
                    </a:lnTo>
                    <a:lnTo>
                      <a:pt x="1699" y="347"/>
                    </a:lnTo>
                    <a:lnTo>
                      <a:pt x="1758" y="353"/>
                    </a:lnTo>
                    <a:lnTo>
                      <a:pt x="1820" y="357"/>
                    </a:lnTo>
                    <a:lnTo>
                      <a:pt x="1883" y="361"/>
                    </a:lnTo>
                    <a:lnTo>
                      <a:pt x="1948" y="364"/>
                    </a:lnTo>
                    <a:lnTo>
                      <a:pt x="2015" y="365"/>
                    </a:lnTo>
                    <a:lnTo>
                      <a:pt x="2085" y="365"/>
                    </a:lnTo>
                    <a:lnTo>
                      <a:pt x="2157" y="364"/>
                    </a:lnTo>
                    <a:lnTo>
                      <a:pt x="2230" y="361"/>
                    </a:lnTo>
                    <a:lnTo>
                      <a:pt x="2306" y="358"/>
                    </a:lnTo>
                    <a:lnTo>
                      <a:pt x="2383" y="353"/>
                    </a:lnTo>
                    <a:lnTo>
                      <a:pt x="2463" y="347"/>
                    </a:lnTo>
                    <a:lnTo>
                      <a:pt x="2546" y="339"/>
                    </a:lnTo>
                    <a:lnTo>
                      <a:pt x="2622" y="332"/>
                    </a:lnTo>
                    <a:lnTo>
                      <a:pt x="2694" y="326"/>
                    </a:lnTo>
                    <a:lnTo>
                      <a:pt x="2765" y="322"/>
                    </a:lnTo>
                    <a:lnTo>
                      <a:pt x="2832" y="317"/>
                    </a:lnTo>
                    <a:lnTo>
                      <a:pt x="2895" y="315"/>
                    </a:lnTo>
                    <a:lnTo>
                      <a:pt x="2957" y="313"/>
                    </a:lnTo>
                    <a:lnTo>
                      <a:pt x="3015" y="312"/>
                    </a:lnTo>
                    <a:lnTo>
                      <a:pt x="3070" y="312"/>
                    </a:lnTo>
                    <a:lnTo>
                      <a:pt x="3123" y="313"/>
                    </a:lnTo>
                    <a:lnTo>
                      <a:pt x="3174" y="315"/>
                    </a:lnTo>
                    <a:lnTo>
                      <a:pt x="3222" y="318"/>
                    </a:lnTo>
                    <a:lnTo>
                      <a:pt x="3268" y="322"/>
                    </a:lnTo>
                    <a:lnTo>
                      <a:pt x="3311" y="326"/>
                    </a:lnTo>
                    <a:lnTo>
                      <a:pt x="3352" y="330"/>
                    </a:lnTo>
                    <a:lnTo>
                      <a:pt x="3391" y="337"/>
                    </a:lnTo>
                    <a:lnTo>
                      <a:pt x="3428" y="342"/>
                    </a:lnTo>
                    <a:lnTo>
                      <a:pt x="3462" y="350"/>
                    </a:lnTo>
                    <a:lnTo>
                      <a:pt x="3495" y="357"/>
                    </a:lnTo>
                    <a:lnTo>
                      <a:pt x="3525" y="365"/>
                    </a:lnTo>
                    <a:lnTo>
                      <a:pt x="3553" y="373"/>
                    </a:lnTo>
                    <a:lnTo>
                      <a:pt x="3580" y="382"/>
                    </a:lnTo>
                    <a:lnTo>
                      <a:pt x="3605" y="391"/>
                    </a:lnTo>
                    <a:lnTo>
                      <a:pt x="3627" y="400"/>
                    </a:lnTo>
                    <a:lnTo>
                      <a:pt x="3649" y="410"/>
                    </a:lnTo>
                    <a:lnTo>
                      <a:pt x="3669" y="421"/>
                    </a:lnTo>
                    <a:lnTo>
                      <a:pt x="3687" y="431"/>
                    </a:lnTo>
                    <a:lnTo>
                      <a:pt x="3704" y="441"/>
                    </a:lnTo>
                    <a:lnTo>
                      <a:pt x="3719" y="452"/>
                    </a:lnTo>
                    <a:lnTo>
                      <a:pt x="3733" y="463"/>
                    </a:lnTo>
                    <a:lnTo>
                      <a:pt x="3746" y="475"/>
                    </a:lnTo>
                    <a:lnTo>
                      <a:pt x="3757" y="486"/>
                    </a:lnTo>
                    <a:lnTo>
                      <a:pt x="3767" y="496"/>
                    </a:lnTo>
                    <a:lnTo>
                      <a:pt x="3779" y="510"/>
                    </a:lnTo>
                    <a:lnTo>
                      <a:pt x="3788" y="524"/>
                    </a:lnTo>
                    <a:lnTo>
                      <a:pt x="3796" y="537"/>
                    </a:lnTo>
                    <a:lnTo>
                      <a:pt x="3802" y="551"/>
                    </a:lnTo>
                    <a:lnTo>
                      <a:pt x="3808" y="563"/>
                    </a:lnTo>
                    <a:lnTo>
                      <a:pt x="3811" y="575"/>
                    </a:lnTo>
                    <a:lnTo>
                      <a:pt x="3814" y="587"/>
                    </a:lnTo>
                    <a:lnTo>
                      <a:pt x="3816" y="598"/>
                    </a:lnTo>
                    <a:lnTo>
                      <a:pt x="3817" y="616"/>
                    </a:lnTo>
                    <a:lnTo>
                      <a:pt x="3817" y="631"/>
                    </a:lnTo>
                    <a:lnTo>
                      <a:pt x="3816" y="640"/>
                    </a:lnTo>
                    <a:lnTo>
                      <a:pt x="3815" y="644"/>
                    </a:lnTo>
                    <a:lnTo>
                      <a:pt x="3813" y="649"/>
                    </a:lnTo>
                    <a:lnTo>
                      <a:pt x="3811" y="652"/>
                    </a:lnTo>
                    <a:lnTo>
                      <a:pt x="3807" y="654"/>
                    </a:lnTo>
                    <a:lnTo>
                      <a:pt x="3802" y="6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03"/>
              <p:cNvSpPr>
                <a:spLocks/>
              </p:cNvSpPr>
              <p:nvPr userDrawn="1"/>
            </p:nvSpPr>
            <p:spPr bwMode="auto">
              <a:xfrm>
                <a:off x="1677" y="1474"/>
                <a:ext cx="373" cy="431"/>
              </a:xfrm>
              <a:custGeom>
                <a:avLst/>
                <a:gdLst>
                  <a:gd name="T0" fmla="*/ 14 w 1119"/>
                  <a:gd name="T1" fmla="*/ 1292 h 1292"/>
                  <a:gd name="T2" fmla="*/ 9 w 1119"/>
                  <a:gd name="T3" fmla="*/ 1290 h 1292"/>
                  <a:gd name="T4" fmla="*/ 5 w 1119"/>
                  <a:gd name="T5" fmla="*/ 1288 h 1292"/>
                  <a:gd name="T6" fmla="*/ 1 w 1119"/>
                  <a:gd name="T7" fmla="*/ 1284 h 1292"/>
                  <a:gd name="T8" fmla="*/ 0 w 1119"/>
                  <a:gd name="T9" fmla="*/ 1280 h 1292"/>
                  <a:gd name="T10" fmla="*/ 1 w 1119"/>
                  <a:gd name="T11" fmla="*/ 1274 h 1292"/>
                  <a:gd name="T12" fmla="*/ 3 w 1119"/>
                  <a:gd name="T13" fmla="*/ 1270 h 1292"/>
                  <a:gd name="T14" fmla="*/ 1096 w 1119"/>
                  <a:gd name="T15" fmla="*/ 5 h 1292"/>
                  <a:gd name="T16" fmla="*/ 1099 w 1119"/>
                  <a:gd name="T17" fmla="*/ 2 h 1292"/>
                  <a:gd name="T18" fmla="*/ 1105 w 1119"/>
                  <a:gd name="T19" fmla="*/ 0 h 1292"/>
                  <a:gd name="T20" fmla="*/ 1110 w 1119"/>
                  <a:gd name="T21" fmla="*/ 0 h 1292"/>
                  <a:gd name="T22" fmla="*/ 1114 w 1119"/>
                  <a:gd name="T23" fmla="*/ 4 h 1292"/>
                  <a:gd name="T24" fmla="*/ 1118 w 1119"/>
                  <a:gd name="T25" fmla="*/ 7 h 1292"/>
                  <a:gd name="T26" fmla="*/ 1119 w 1119"/>
                  <a:gd name="T27" fmla="*/ 12 h 1292"/>
                  <a:gd name="T28" fmla="*/ 1119 w 1119"/>
                  <a:gd name="T29" fmla="*/ 18 h 1292"/>
                  <a:gd name="T30" fmla="*/ 1115 w 1119"/>
                  <a:gd name="T31" fmla="*/ 22 h 1292"/>
                  <a:gd name="T32" fmla="*/ 24 w 1119"/>
                  <a:gd name="T33" fmla="*/ 1287 h 1292"/>
                  <a:gd name="T34" fmla="*/ 22 w 1119"/>
                  <a:gd name="T35" fmla="*/ 1289 h 1292"/>
                  <a:gd name="T36" fmla="*/ 19 w 1119"/>
                  <a:gd name="T37" fmla="*/ 1290 h 1292"/>
                  <a:gd name="T38" fmla="*/ 16 w 1119"/>
                  <a:gd name="T39" fmla="*/ 1292 h 1292"/>
                  <a:gd name="T40" fmla="*/ 14 w 1119"/>
                  <a:gd name="T41" fmla="*/ 1292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9" h="1292">
                    <a:moveTo>
                      <a:pt x="14" y="1292"/>
                    </a:moveTo>
                    <a:lnTo>
                      <a:pt x="9" y="1290"/>
                    </a:lnTo>
                    <a:lnTo>
                      <a:pt x="5" y="1288"/>
                    </a:lnTo>
                    <a:lnTo>
                      <a:pt x="1" y="1284"/>
                    </a:lnTo>
                    <a:lnTo>
                      <a:pt x="0" y="1280"/>
                    </a:lnTo>
                    <a:lnTo>
                      <a:pt x="1" y="1274"/>
                    </a:lnTo>
                    <a:lnTo>
                      <a:pt x="3" y="1270"/>
                    </a:lnTo>
                    <a:lnTo>
                      <a:pt x="1096" y="5"/>
                    </a:lnTo>
                    <a:lnTo>
                      <a:pt x="1099" y="2"/>
                    </a:lnTo>
                    <a:lnTo>
                      <a:pt x="1105" y="0"/>
                    </a:lnTo>
                    <a:lnTo>
                      <a:pt x="1110" y="0"/>
                    </a:lnTo>
                    <a:lnTo>
                      <a:pt x="1114" y="4"/>
                    </a:lnTo>
                    <a:lnTo>
                      <a:pt x="1118" y="7"/>
                    </a:lnTo>
                    <a:lnTo>
                      <a:pt x="1119" y="12"/>
                    </a:lnTo>
                    <a:lnTo>
                      <a:pt x="1119" y="18"/>
                    </a:lnTo>
                    <a:lnTo>
                      <a:pt x="1115" y="22"/>
                    </a:lnTo>
                    <a:lnTo>
                      <a:pt x="24" y="1287"/>
                    </a:lnTo>
                    <a:lnTo>
                      <a:pt x="22" y="1289"/>
                    </a:lnTo>
                    <a:lnTo>
                      <a:pt x="19" y="1290"/>
                    </a:lnTo>
                    <a:lnTo>
                      <a:pt x="16" y="1292"/>
                    </a:lnTo>
                    <a:lnTo>
                      <a:pt x="14" y="1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04"/>
              <p:cNvSpPr>
                <a:spLocks noEditPoints="1"/>
              </p:cNvSpPr>
              <p:nvPr userDrawn="1"/>
            </p:nvSpPr>
            <p:spPr bwMode="auto">
              <a:xfrm>
                <a:off x="2315" y="1172"/>
                <a:ext cx="250" cy="241"/>
              </a:xfrm>
              <a:custGeom>
                <a:avLst/>
                <a:gdLst>
                  <a:gd name="T0" fmla="*/ 13 w 750"/>
                  <a:gd name="T1" fmla="*/ 723 h 723"/>
                  <a:gd name="T2" fmla="*/ 9 w 750"/>
                  <a:gd name="T3" fmla="*/ 723 h 723"/>
                  <a:gd name="T4" fmla="*/ 5 w 750"/>
                  <a:gd name="T5" fmla="*/ 720 h 723"/>
                  <a:gd name="T6" fmla="*/ 1 w 750"/>
                  <a:gd name="T7" fmla="*/ 716 h 723"/>
                  <a:gd name="T8" fmla="*/ 0 w 750"/>
                  <a:gd name="T9" fmla="*/ 711 h 723"/>
                  <a:gd name="T10" fmla="*/ 0 w 750"/>
                  <a:gd name="T11" fmla="*/ 707 h 723"/>
                  <a:gd name="T12" fmla="*/ 3 w 750"/>
                  <a:gd name="T13" fmla="*/ 702 h 723"/>
                  <a:gd name="T14" fmla="*/ 470 w 750"/>
                  <a:gd name="T15" fmla="*/ 6 h 723"/>
                  <a:gd name="T16" fmla="*/ 473 w 750"/>
                  <a:gd name="T17" fmla="*/ 3 h 723"/>
                  <a:gd name="T18" fmla="*/ 477 w 750"/>
                  <a:gd name="T19" fmla="*/ 1 h 723"/>
                  <a:gd name="T20" fmla="*/ 480 w 750"/>
                  <a:gd name="T21" fmla="*/ 0 h 723"/>
                  <a:gd name="T22" fmla="*/ 484 w 750"/>
                  <a:gd name="T23" fmla="*/ 0 h 723"/>
                  <a:gd name="T24" fmla="*/ 738 w 750"/>
                  <a:gd name="T25" fmla="*/ 40 h 723"/>
                  <a:gd name="T26" fmla="*/ 742 w 750"/>
                  <a:gd name="T27" fmla="*/ 41 h 723"/>
                  <a:gd name="T28" fmla="*/ 744 w 750"/>
                  <a:gd name="T29" fmla="*/ 43 h 723"/>
                  <a:gd name="T30" fmla="*/ 748 w 750"/>
                  <a:gd name="T31" fmla="*/ 46 h 723"/>
                  <a:gd name="T32" fmla="*/ 749 w 750"/>
                  <a:gd name="T33" fmla="*/ 49 h 723"/>
                  <a:gd name="T34" fmla="*/ 750 w 750"/>
                  <a:gd name="T35" fmla="*/ 53 h 723"/>
                  <a:gd name="T36" fmla="*/ 749 w 750"/>
                  <a:gd name="T37" fmla="*/ 57 h 723"/>
                  <a:gd name="T38" fmla="*/ 748 w 750"/>
                  <a:gd name="T39" fmla="*/ 60 h 723"/>
                  <a:gd name="T40" fmla="*/ 745 w 750"/>
                  <a:gd name="T41" fmla="*/ 63 h 723"/>
                  <a:gd name="T42" fmla="*/ 23 w 750"/>
                  <a:gd name="T43" fmla="*/ 720 h 723"/>
                  <a:gd name="T44" fmla="*/ 19 w 750"/>
                  <a:gd name="T45" fmla="*/ 723 h 723"/>
                  <a:gd name="T46" fmla="*/ 13 w 750"/>
                  <a:gd name="T47" fmla="*/ 723 h 723"/>
                  <a:gd name="T48" fmla="*/ 488 w 750"/>
                  <a:gd name="T49" fmla="*/ 28 h 723"/>
                  <a:gd name="T50" fmla="*/ 488 w 750"/>
                  <a:gd name="T51" fmla="*/ 28 h 723"/>
                  <a:gd name="T52" fmla="*/ 87 w 750"/>
                  <a:gd name="T53" fmla="*/ 625 h 723"/>
                  <a:gd name="T54" fmla="*/ 705 w 750"/>
                  <a:gd name="T55" fmla="*/ 62 h 723"/>
                  <a:gd name="T56" fmla="*/ 488 w 750"/>
                  <a:gd name="T57" fmla="*/ 2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0" h="723">
                    <a:moveTo>
                      <a:pt x="13" y="723"/>
                    </a:moveTo>
                    <a:lnTo>
                      <a:pt x="9" y="723"/>
                    </a:lnTo>
                    <a:lnTo>
                      <a:pt x="5" y="720"/>
                    </a:lnTo>
                    <a:lnTo>
                      <a:pt x="1" y="716"/>
                    </a:lnTo>
                    <a:lnTo>
                      <a:pt x="0" y="711"/>
                    </a:lnTo>
                    <a:lnTo>
                      <a:pt x="0" y="707"/>
                    </a:lnTo>
                    <a:lnTo>
                      <a:pt x="3" y="702"/>
                    </a:lnTo>
                    <a:lnTo>
                      <a:pt x="470" y="6"/>
                    </a:lnTo>
                    <a:lnTo>
                      <a:pt x="473" y="3"/>
                    </a:lnTo>
                    <a:lnTo>
                      <a:pt x="477" y="1"/>
                    </a:lnTo>
                    <a:lnTo>
                      <a:pt x="480" y="0"/>
                    </a:lnTo>
                    <a:lnTo>
                      <a:pt x="484" y="0"/>
                    </a:lnTo>
                    <a:lnTo>
                      <a:pt x="738" y="40"/>
                    </a:lnTo>
                    <a:lnTo>
                      <a:pt x="742" y="41"/>
                    </a:lnTo>
                    <a:lnTo>
                      <a:pt x="744" y="43"/>
                    </a:lnTo>
                    <a:lnTo>
                      <a:pt x="748" y="46"/>
                    </a:lnTo>
                    <a:lnTo>
                      <a:pt x="749" y="49"/>
                    </a:lnTo>
                    <a:lnTo>
                      <a:pt x="750" y="53"/>
                    </a:lnTo>
                    <a:lnTo>
                      <a:pt x="749" y="57"/>
                    </a:lnTo>
                    <a:lnTo>
                      <a:pt x="748" y="60"/>
                    </a:lnTo>
                    <a:lnTo>
                      <a:pt x="745" y="63"/>
                    </a:lnTo>
                    <a:lnTo>
                      <a:pt x="23" y="720"/>
                    </a:lnTo>
                    <a:lnTo>
                      <a:pt x="19" y="723"/>
                    </a:lnTo>
                    <a:lnTo>
                      <a:pt x="13" y="723"/>
                    </a:lnTo>
                    <a:close/>
                    <a:moveTo>
                      <a:pt x="488" y="28"/>
                    </a:moveTo>
                    <a:lnTo>
                      <a:pt x="488" y="28"/>
                    </a:lnTo>
                    <a:lnTo>
                      <a:pt x="87" y="625"/>
                    </a:lnTo>
                    <a:lnTo>
                      <a:pt x="705" y="62"/>
                    </a:lnTo>
                    <a:lnTo>
                      <a:pt x="48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206"/>
            <p:cNvSpPr>
              <a:spLocks noEditPoints="1"/>
            </p:cNvSpPr>
            <p:nvPr userDrawn="1"/>
          </p:nvSpPr>
          <p:spPr bwMode="auto">
            <a:xfrm>
              <a:off x="3527425" y="1846263"/>
              <a:ext cx="179388" cy="371475"/>
            </a:xfrm>
            <a:custGeom>
              <a:avLst/>
              <a:gdLst>
                <a:gd name="T0" fmla="*/ 14 w 338"/>
                <a:gd name="T1" fmla="*/ 704 h 704"/>
                <a:gd name="T2" fmla="*/ 9 w 338"/>
                <a:gd name="T3" fmla="*/ 703 h 704"/>
                <a:gd name="T4" fmla="*/ 6 w 338"/>
                <a:gd name="T5" fmla="*/ 702 h 704"/>
                <a:gd name="T6" fmla="*/ 3 w 338"/>
                <a:gd name="T7" fmla="*/ 699 h 704"/>
                <a:gd name="T8" fmla="*/ 1 w 338"/>
                <a:gd name="T9" fmla="*/ 695 h 704"/>
                <a:gd name="T10" fmla="*/ 0 w 338"/>
                <a:gd name="T11" fmla="*/ 690 h 704"/>
                <a:gd name="T12" fmla="*/ 1 w 338"/>
                <a:gd name="T13" fmla="*/ 686 h 704"/>
                <a:gd name="T14" fmla="*/ 271 w 338"/>
                <a:gd name="T15" fmla="*/ 7 h 704"/>
                <a:gd name="T16" fmla="*/ 273 w 338"/>
                <a:gd name="T17" fmla="*/ 4 h 704"/>
                <a:gd name="T18" fmla="*/ 276 w 338"/>
                <a:gd name="T19" fmla="*/ 1 h 704"/>
                <a:gd name="T20" fmla="*/ 280 w 338"/>
                <a:gd name="T21" fmla="*/ 0 h 704"/>
                <a:gd name="T22" fmla="*/ 285 w 338"/>
                <a:gd name="T23" fmla="*/ 0 h 704"/>
                <a:gd name="T24" fmla="*/ 289 w 338"/>
                <a:gd name="T25" fmla="*/ 1 h 704"/>
                <a:gd name="T26" fmla="*/ 293 w 338"/>
                <a:gd name="T27" fmla="*/ 3 h 704"/>
                <a:gd name="T28" fmla="*/ 296 w 338"/>
                <a:gd name="T29" fmla="*/ 7 h 704"/>
                <a:gd name="T30" fmla="*/ 297 w 338"/>
                <a:gd name="T31" fmla="*/ 11 h 704"/>
                <a:gd name="T32" fmla="*/ 338 w 338"/>
                <a:gd name="T33" fmla="*/ 390 h 704"/>
                <a:gd name="T34" fmla="*/ 338 w 338"/>
                <a:gd name="T35" fmla="*/ 394 h 704"/>
                <a:gd name="T36" fmla="*/ 337 w 338"/>
                <a:gd name="T37" fmla="*/ 397 h 704"/>
                <a:gd name="T38" fmla="*/ 336 w 338"/>
                <a:gd name="T39" fmla="*/ 399 h 704"/>
                <a:gd name="T40" fmla="*/ 333 w 338"/>
                <a:gd name="T41" fmla="*/ 401 h 704"/>
                <a:gd name="T42" fmla="*/ 23 w 338"/>
                <a:gd name="T43" fmla="*/ 700 h 704"/>
                <a:gd name="T44" fmla="*/ 19 w 338"/>
                <a:gd name="T45" fmla="*/ 703 h 704"/>
                <a:gd name="T46" fmla="*/ 14 w 338"/>
                <a:gd name="T47" fmla="*/ 704 h 704"/>
                <a:gd name="T48" fmla="*/ 276 w 338"/>
                <a:gd name="T49" fmla="*/ 69 h 704"/>
                <a:gd name="T50" fmla="*/ 276 w 338"/>
                <a:gd name="T51" fmla="*/ 69 h 704"/>
                <a:gd name="T52" fmla="*/ 49 w 338"/>
                <a:gd name="T53" fmla="*/ 638 h 704"/>
                <a:gd name="T54" fmla="*/ 310 w 338"/>
                <a:gd name="T55" fmla="*/ 387 h 704"/>
                <a:gd name="T56" fmla="*/ 276 w 338"/>
                <a:gd name="T57" fmla="*/ 69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704">
                  <a:moveTo>
                    <a:pt x="14" y="704"/>
                  </a:moveTo>
                  <a:lnTo>
                    <a:pt x="9" y="703"/>
                  </a:lnTo>
                  <a:lnTo>
                    <a:pt x="6" y="702"/>
                  </a:lnTo>
                  <a:lnTo>
                    <a:pt x="3" y="699"/>
                  </a:lnTo>
                  <a:lnTo>
                    <a:pt x="1" y="695"/>
                  </a:lnTo>
                  <a:lnTo>
                    <a:pt x="0" y="690"/>
                  </a:lnTo>
                  <a:lnTo>
                    <a:pt x="1" y="686"/>
                  </a:lnTo>
                  <a:lnTo>
                    <a:pt x="271" y="7"/>
                  </a:lnTo>
                  <a:lnTo>
                    <a:pt x="273" y="4"/>
                  </a:lnTo>
                  <a:lnTo>
                    <a:pt x="276" y="1"/>
                  </a:lnTo>
                  <a:lnTo>
                    <a:pt x="280" y="0"/>
                  </a:lnTo>
                  <a:lnTo>
                    <a:pt x="285" y="0"/>
                  </a:lnTo>
                  <a:lnTo>
                    <a:pt x="289" y="1"/>
                  </a:lnTo>
                  <a:lnTo>
                    <a:pt x="293" y="3"/>
                  </a:lnTo>
                  <a:lnTo>
                    <a:pt x="296" y="7"/>
                  </a:lnTo>
                  <a:lnTo>
                    <a:pt x="297" y="11"/>
                  </a:lnTo>
                  <a:lnTo>
                    <a:pt x="338" y="390"/>
                  </a:lnTo>
                  <a:lnTo>
                    <a:pt x="338" y="394"/>
                  </a:lnTo>
                  <a:lnTo>
                    <a:pt x="337" y="397"/>
                  </a:lnTo>
                  <a:lnTo>
                    <a:pt x="336" y="399"/>
                  </a:lnTo>
                  <a:lnTo>
                    <a:pt x="333" y="401"/>
                  </a:lnTo>
                  <a:lnTo>
                    <a:pt x="23" y="700"/>
                  </a:lnTo>
                  <a:lnTo>
                    <a:pt x="19" y="703"/>
                  </a:lnTo>
                  <a:lnTo>
                    <a:pt x="14" y="704"/>
                  </a:lnTo>
                  <a:close/>
                  <a:moveTo>
                    <a:pt x="276" y="69"/>
                  </a:moveTo>
                  <a:lnTo>
                    <a:pt x="276" y="69"/>
                  </a:lnTo>
                  <a:lnTo>
                    <a:pt x="49" y="638"/>
                  </a:lnTo>
                  <a:lnTo>
                    <a:pt x="310" y="387"/>
                  </a:lnTo>
                  <a:lnTo>
                    <a:pt x="276" y="6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207"/>
            <p:cNvSpPr>
              <a:spLocks noEditPoints="1"/>
            </p:cNvSpPr>
            <p:nvPr userDrawn="1"/>
          </p:nvSpPr>
          <p:spPr bwMode="auto">
            <a:xfrm>
              <a:off x="3375025" y="1846263"/>
              <a:ext cx="309563" cy="346075"/>
            </a:xfrm>
            <a:custGeom>
              <a:avLst/>
              <a:gdLst>
                <a:gd name="T0" fmla="*/ 13 w 586"/>
                <a:gd name="T1" fmla="*/ 656 h 656"/>
                <a:gd name="T2" fmla="*/ 11 w 586"/>
                <a:gd name="T3" fmla="*/ 656 h 656"/>
                <a:gd name="T4" fmla="*/ 10 w 586"/>
                <a:gd name="T5" fmla="*/ 655 h 656"/>
                <a:gd name="T6" fmla="*/ 8 w 586"/>
                <a:gd name="T7" fmla="*/ 654 h 656"/>
                <a:gd name="T8" fmla="*/ 5 w 586"/>
                <a:gd name="T9" fmla="*/ 653 h 656"/>
                <a:gd name="T10" fmla="*/ 4 w 586"/>
                <a:gd name="T11" fmla="*/ 651 h 656"/>
                <a:gd name="T12" fmla="*/ 1 w 586"/>
                <a:gd name="T13" fmla="*/ 647 h 656"/>
                <a:gd name="T14" fmla="*/ 0 w 586"/>
                <a:gd name="T15" fmla="*/ 645 h 656"/>
                <a:gd name="T16" fmla="*/ 0 w 586"/>
                <a:gd name="T17" fmla="*/ 642 h 656"/>
                <a:gd name="T18" fmla="*/ 0 w 586"/>
                <a:gd name="T19" fmla="*/ 639 h 656"/>
                <a:gd name="T20" fmla="*/ 1 w 586"/>
                <a:gd name="T21" fmla="*/ 636 h 656"/>
                <a:gd name="T22" fmla="*/ 14 w 586"/>
                <a:gd name="T23" fmla="*/ 608 h 656"/>
                <a:gd name="T24" fmla="*/ 48 w 586"/>
                <a:gd name="T25" fmla="*/ 538 h 656"/>
                <a:gd name="T26" fmla="*/ 94 w 586"/>
                <a:gd name="T27" fmla="*/ 440 h 656"/>
                <a:gd name="T28" fmla="*/ 146 w 586"/>
                <a:gd name="T29" fmla="*/ 328 h 656"/>
                <a:gd name="T30" fmla="*/ 199 w 586"/>
                <a:gd name="T31" fmla="*/ 214 h 656"/>
                <a:gd name="T32" fmla="*/ 245 w 586"/>
                <a:gd name="T33" fmla="*/ 116 h 656"/>
                <a:gd name="T34" fmla="*/ 278 w 586"/>
                <a:gd name="T35" fmla="*/ 47 h 656"/>
                <a:gd name="T36" fmla="*/ 291 w 586"/>
                <a:gd name="T37" fmla="*/ 21 h 656"/>
                <a:gd name="T38" fmla="*/ 292 w 586"/>
                <a:gd name="T39" fmla="*/ 18 h 656"/>
                <a:gd name="T40" fmla="*/ 295 w 586"/>
                <a:gd name="T41" fmla="*/ 16 h 656"/>
                <a:gd name="T42" fmla="*/ 298 w 586"/>
                <a:gd name="T43" fmla="*/ 14 h 656"/>
                <a:gd name="T44" fmla="*/ 302 w 586"/>
                <a:gd name="T45" fmla="*/ 13 h 656"/>
                <a:gd name="T46" fmla="*/ 572 w 586"/>
                <a:gd name="T47" fmla="*/ 0 h 656"/>
                <a:gd name="T48" fmla="*/ 576 w 586"/>
                <a:gd name="T49" fmla="*/ 0 h 656"/>
                <a:gd name="T50" fmla="*/ 579 w 586"/>
                <a:gd name="T51" fmla="*/ 1 h 656"/>
                <a:gd name="T52" fmla="*/ 582 w 586"/>
                <a:gd name="T53" fmla="*/ 4 h 656"/>
                <a:gd name="T54" fmla="*/ 585 w 586"/>
                <a:gd name="T55" fmla="*/ 7 h 656"/>
                <a:gd name="T56" fmla="*/ 586 w 586"/>
                <a:gd name="T57" fmla="*/ 10 h 656"/>
                <a:gd name="T58" fmla="*/ 586 w 586"/>
                <a:gd name="T59" fmla="*/ 15 h 656"/>
                <a:gd name="T60" fmla="*/ 585 w 586"/>
                <a:gd name="T61" fmla="*/ 18 h 656"/>
                <a:gd name="T62" fmla="*/ 582 w 586"/>
                <a:gd name="T63" fmla="*/ 21 h 656"/>
                <a:gd name="T64" fmla="*/ 112 w 586"/>
                <a:gd name="T65" fmla="*/ 552 h 656"/>
                <a:gd name="T66" fmla="*/ 79 w 586"/>
                <a:gd name="T67" fmla="*/ 589 h 656"/>
                <a:gd name="T68" fmla="*/ 55 w 586"/>
                <a:gd name="T69" fmla="*/ 616 h 656"/>
                <a:gd name="T70" fmla="*/ 38 w 586"/>
                <a:gd name="T71" fmla="*/ 634 h 656"/>
                <a:gd name="T72" fmla="*/ 27 w 586"/>
                <a:gd name="T73" fmla="*/ 646 h 656"/>
                <a:gd name="T74" fmla="*/ 26 w 586"/>
                <a:gd name="T75" fmla="*/ 648 h 656"/>
                <a:gd name="T76" fmla="*/ 25 w 586"/>
                <a:gd name="T77" fmla="*/ 648 h 656"/>
                <a:gd name="T78" fmla="*/ 25 w 586"/>
                <a:gd name="T79" fmla="*/ 648 h 656"/>
                <a:gd name="T80" fmla="*/ 21 w 586"/>
                <a:gd name="T81" fmla="*/ 652 h 656"/>
                <a:gd name="T82" fmla="*/ 18 w 586"/>
                <a:gd name="T83" fmla="*/ 654 h 656"/>
                <a:gd name="T84" fmla="*/ 15 w 586"/>
                <a:gd name="T85" fmla="*/ 655 h 656"/>
                <a:gd name="T86" fmla="*/ 13 w 586"/>
                <a:gd name="T87" fmla="*/ 656 h 656"/>
                <a:gd name="T88" fmla="*/ 311 w 586"/>
                <a:gd name="T89" fmla="*/ 40 h 656"/>
                <a:gd name="T90" fmla="*/ 311 w 586"/>
                <a:gd name="T91" fmla="*/ 40 h 656"/>
                <a:gd name="T92" fmla="*/ 263 w 586"/>
                <a:gd name="T93" fmla="*/ 143 h 656"/>
                <a:gd name="T94" fmla="*/ 221 w 586"/>
                <a:gd name="T95" fmla="*/ 234 h 656"/>
                <a:gd name="T96" fmla="*/ 183 w 586"/>
                <a:gd name="T97" fmla="*/ 313 h 656"/>
                <a:gd name="T98" fmla="*/ 152 w 586"/>
                <a:gd name="T99" fmla="*/ 382 h 656"/>
                <a:gd name="T100" fmla="*/ 123 w 586"/>
                <a:gd name="T101" fmla="*/ 440 h 656"/>
                <a:gd name="T102" fmla="*/ 101 w 586"/>
                <a:gd name="T103" fmla="*/ 490 h 656"/>
                <a:gd name="T104" fmla="*/ 81 w 586"/>
                <a:gd name="T105" fmla="*/ 530 h 656"/>
                <a:gd name="T106" fmla="*/ 66 w 586"/>
                <a:gd name="T107" fmla="*/ 563 h 656"/>
                <a:gd name="T108" fmla="*/ 119 w 586"/>
                <a:gd name="T109" fmla="*/ 504 h 656"/>
                <a:gd name="T110" fmla="*/ 182 w 586"/>
                <a:gd name="T111" fmla="*/ 434 h 656"/>
                <a:gd name="T112" fmla="*/ 250 w 586"/>
                <a:gd name="T113" fmla="*/ 356 h 656"/>
                <a:gd name="T114" fmla="*/ 320 w 586"/>
                <a:gd name="T115" fmla="*/ 276 h 656"/>
                <a:gd name="T116" fmla="*/ 389 w 586"/>
                <a:gd name="T117" fmla="*/ 199 h 656"/>
                <a:gd name="T118" fmla="*/ 451 w 586"/>
                <a:gd name="T119" fmla="*/ 129 h 656"/>
                <a:gd name="T120" fmla="*/ 504 w 586"/>
                <a:gd name="T121" fmla="*/ 71 h 656"/>
                <a:gd name="T122" fmla="*/ 541 w 586"/>
                <a:gd name="T123" fmla="*/ 28 h 656"/>
                <a:gd name="T124" fmla="*/ 311 w 586"/>
                <a:gd name="T125" fmla="*/ 4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6" h="656">
                  <a:moveTo>
                    <a:pt x="13" y="656"/>
                  </a:moveTo>
                  <a:lnTo>
                    <a:pt x="11" y="656"/>
                  </a:lnTo>
                  <a:lnTo>
                    <a:pt x="10" y="655"/>
                  </a:lnTo>
                  <a:lnTo>
                    <a:pt x="8" y="654"/>
                  </a:lnTo>
                  <a:lnTo>
                    <a:pt x="5" y="653"/>
                  </a:lnTo>
                  <a:lnTo>
                    <a:pt x="4" y="651"/>
                  </a:lnTo>
                  <a:lnTo>
                    <a:pt x="1" y="647"/>
                  </a:lnTo>
                  <a:lnTo>
                    <a:pt x="0" y="645"/>
                  </a:lnTo>
                  <a:lnTo>
                    <a:pt x="0" y="642"/>
                  </a:lnTo>
                  <a:lnTo>
                    <a:pt x="0" y="639"/>
                  </a:lnTo>
                  <a:lnTo>
                    <a:pt x="1" y="636"/>
                  </a:lnTo>
                  <a:lnTo>
                    <a:pt x="14" y="608"/>
                  </a:lnTo>
                  <a:lnTo>
                    <a:pt x="48" y="538"/>
                  </a:lnTo>
                  <a:lnTo>
                    <a:pt x="94" y="440"/>
                  </a:lnTo>
                  <a:lnTo>
                    <a:pt x="146" y="328"/>
                  </a:lnTo>
                  <a:lnTo>
                    <a:pt x="199" y="214"/>
                  </a:lnTo>
                  <a:lnTo>
                    <a:pt x="245" y="116"/>
                  </a:lnTo>
                  <a:lnTo>
                    <a:pt x="278" y="47"/>
                  </a:lnTo>
                  <a:lnTo>
                    <a:pt x="291" y="21"/>
                  </a:lnTo>
                  <a:lnTo>
                    <a:pt x="292" y="18"/>
                  </a:lnTo>
                  <a:lnTo>
                    <a:pt x="295" y="16"/>
                  </a:lnTo>
                  <a:lnTo>
                    <a:pt x="298" y="14"/>
                  </a:lnTo>
                  <a:lnTo>
                    <a:pt x="302" y="13"/>
                  </a:lnTo>
                  <a:lnTo>
                    <a:pt x="572" y="0"/>
                  </a:lnTo>
                  <a:lnTo>
                    <a:pt x="576" y="0"/>
                  </a:lnTo>
                  <a:lnTo>
                    <a:pt x="579" y="1"/>
                  </a:lnTo>
                  <a:lnTo>
                    <a:pt x="582" y="4"/>
                  </a:lnTo>
                  <a:lnTo>
                    <a:pt x="585" y="7"/>
                  </a:lnTo>
                  <a:lnTo>
                    <a:pt x="586" y="10"/>
                  </a:lnTo>
                  <a:lnTo>
                    <a:pt x="586" y="15"/>
                  </a:lnTo>
                  <a:lnTo>
                    <a:pt x="585" y="18"/>
                  </a:lnTo>
                  <a:lnTo>
                    <a:pt x="582" y="21"/>
                  </a:lnTo>
                  <a:lnTo>
                    <a:pt x="112" y="552"/>
                  </a:lnTo>
                  <a:lnTo>
                    <a:pt x="79" y="589"/>
                  </a:lnTo>
                  <a:lnTo>
                    <a:pt x="55" y="616"/>
                  </a:lnTo>
                  <a:lnTo>
                    <a:pt x="38" y="634"/>
                  </a:lnTo>
                  <a:lnTo>
                    <a:pt x="27" y="646"/>
                  </a:lnTo>
                  <a:lnTo>
                    <a:pt x="26" y="648"/>
                  </a:lnTo>
                  <a:lnTo>
                    <a:pt x="25" y="648"/>
                  </a:lnTo>
                  <a:lnTo>
                    <a:pt x="25" y="648"/>
                  </a:lnTo>
                  <a:lnTo>
                    <a:pt x="21" y="652"/>
                  </a:lnTo>
                  <a:lnTo>
                    <a:pt x="18" y="654"/>
                  </a:lnTo>
                  <a:lnTo>
                    <a:pt x="15" y="655"/>
                  </a:lnTo>
                  <a:lnTo>
                    <a:pt x="13" y="656"/>
                  </a:lnTo>
                  <a:close/>
                  <a:moveTo>
                    <a:pt x="311" y="40"/>
                  </a:moveTo>
                  <a:lnTo>
                    <a:pt x="311" y="40"/>
                  </a:lnTo>
                  <a:lnTo>
                    <a:pt x="263" y="143"/>
                  </a:lnTo>
                  <a:lnTo>
                    <a:pt x="221" y="234"/>
                  </a:lnTo>
                  <a:lnTo>
                    <a:pt x="183" y="313"/>
                  </a:lnTo>
                  <a:lnTo>
                    <a:pt x="152" y="382"/>
                  </a:lnTo>
                  <a:lnTo>
                    <a:pt x="123" y="440"/>
                  </a:lnTo>
                  <a:lnTo>
                    <a:pt x="101" y="490"/>
                  </a:lnTo>
                  <a:lnTo>
                    <a:pt x="81" y="530"/>
                  </a:lnTo>
                  <a:lnTo>
                    <a:pt x="66" y="563"/>
                  </a:lnTo>
                  <a:lnTo>
                    <a:pt x="119" y="504"/>
                  </a:lnTo>
                  <a:lnTo>
                    <a:pt x="182" y="434"/>
                  </a:lnTo>
                  <a:lnTo>
                    <a:pt x="250" y="356"/>
                  </a:lnTo>
                  <a:lnTo>
                    <a:pt x="320" y="276"/>
                  </a:lnTo>
                  <a:lnTo>
                    <a:pt x="389" y="199"/>
                  </a:lnTo>
                  <a:lnTo>
                    <a:pt x="451" y="129"/>
                  </a:lnTo>
                  <a:lnTo>
                    <a:pt x="504" y="71"/>
                  </a:lnTo>
                  <a:lnTo>
                    <a:pt x="541" y="28"/>
                  </a:lnTo>
                  <a:lnTo>
                    <a:pt x="311" y="4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208"/>
            <p:cNvSpPr>
              <a:spLocks noEditPoints="1"/>
            </p:cNvSpPr>
            <p:nvPr userDrawn="1"/>
          </p:nvSpPr>
          <p:spPr bwMode="auto">
            <a:xfrm>
              <a:off x="3238500" y="1865313"/>
              <a:ext cx="185738" cy="301625"/>
            </a:xfrm>
            <a:custGeom>
              <a:avLst/>
              <a:gdLst>
                <a:gd name="T0" fmla="*/ 62 w 352"/>
                <a:gd name="T1" fmla="*/ 570 h 570"/>
                <a:gd name="T2" fmla="*/ 61 w 352"/>
                <a:gd name="T3" fmla="*/ 570 h 570"/>
                <a:gd name="T4" fmla="*/ 60 w 352"/>
                <a:gd name="T5" fmla="*/ 570 h 570"/>
                <a:gd name="T6" fmla="*/ 57 w 352"/>
                <a:gd name="T7" fmla="*/ 569 h 570"/>
                <a:gd name="T8" fmla="*/ 52 w 352"/>
                <a:gd name="T9" fmla="*/ 567 h 570"/>
                <a:gd name="T10" fmla="*/ 50 w 352"/>
                <a:gd name="T11" fmla="*/ 564 h 570"/>
                <a:gd name="T12" fmla="*/ 49 w 352"/>
                <a:gd name="T13" fmla="*/ 561 h 570"/>
                <a:gd name="T14" fmla="*/ 1 w 352"/>
                <a:gd name="T15" fmla="*/ 376 h 570"/>
                <a:gd name="T16" fmla="*/ 0 w 352"/>
                <a:gd name="T17" fmla="*/ 373 h 570"/>
                <a:gd name="T18" fmla="*/ 1 w 352"/>
                <a:gd name="T19" fmla="*/ 370 h 570"/>
                <a:gd name="T20" fmla="*/ 3 w 352"/>
                <a:gd name="T21" fmla="*/ 366 h 570"/>
                <a:gd name="T22" fmla="*/ 5 w 352"/>
                <a:gd name="T23" fmla="*/ 364 h 570"/>
                <a:gd name="T24" fmla="*/ 329 w 352"/>
                <a:gd name="T25" fmla="*/ 5 h 570"/>
                <a:gd name="T26" fmla="*/ 332 w 352"/>
                <a:gd name="T27" fmla="*/ 1 h 570"/>
                <a:gd name="T28" fmla="*/ 337 w 352"/>
                <a:gd name="T29" fmla="*/ 0 h 570"/>
                <a:gd name="T30" fmla="*/ 342 w 352"/>
                <a:gd name="T31" fmla="*/ 0 h 570"/>
                <a:gd name="T32" fmla="*/ 346 w 352"/>
                <a:gd name="T33" fmla="*/ 3 h 570"/>
                <a:gd name="T34" fmla="*/ 349 w 352"/>
                <a:gd name="T35" fmla="*/ 6 h 570"/>
                <a:gd name="T36" fmla="*/ 351 w 352"/>
                <a:gd name="T37" fmla="*/ 10 h 570"/>
                <a:gd name="T38" fmla="*/ 352 w 352"/>
                <a:gd name="T39" fmla="*/ 15 h 570"/>
                <a:gd name="T40" fmla="*/ 350 w 352"/>
                <a:gd name="T41" fmla="*/ 20 h 570"/>
                <a:gd name="T42" fmla="*/ 74 w 352"/>
                <a:gd name="T43" fmla="*/ 563 h 570"/>
                <a:gd name="T44" fmla="*/ 72 w 352"/>
                <a:gd name="T45" fmla="*/ 566 h 570"/>
                <a:gd name="T46" fmla="*/ 68 w 352"/>
                <a:gd name="T47" fmla="*/ 568 h 570"/>
                <a:gd name="T48" fmla="*/ 65 w 352"/>
                <a:gd name="T49" fmla="*/ 570 h 570"/>
                <a:gd name="T50" fmla="*/ 62 w 352"/>
                <a:gd name="T51" fmla="*/ 570 h 570"/>
                <a:gd name="T52" fmla="*/ 30 w 352"/>
                <a:gd name="T53" fmla="*/ 376 h 570"/>
                <a:gd name="T54" fmla="*/ 30 w 352"/>
                <a:gd name="T55" fmla="*/ 376 h 570"/>
                <a:gd name="T56" fmla="*/ 66 w 352"/>
                <a:gd name="T57" fmla="*/ 520 h 570"/>
                <a:gd name="T58" fmla="*/ 280 w 352"/>
                <a:gd name="T59" fmla="*/ 99 h 570"/>
                <a:gd name="T60" fmla="*/ 30 w 352"/>
                <a:gd name="T61" fmla="*/ 37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2" h="570">
                  <a:moveTo>
                    <a:pt x="62" y="570"/>
                  </a:moveTo>
                  <a:lnTo>
                    <a:pt x="61" y="570"/>
                  </a:lnTo>
                  <a:lnTo>
                    <a:pt x="60" y="570"/>
                  </a:lnTo>
                  <a:lnTo>
                    <a:pt x="57" y="569"/>
                  </a:lnTo>
                  <a:lnTo>
                    <a:pt x="52" y="567"/>
                  </a:lnTo>
                  <a:lnTo>
                    <a:pt x="50" y="564"/>
                  </a:lnTo>
                  <a:lnTo>
                    <a:pt x="49" y="561"/>
                  </a:lnTo>
                  <a:lnTo>
                    <a:pt x="1" y="376"/>
                  </a:lnTo>
                  <a:lnTo>
                    <a:pt x="0" y="373"/>
                  </a:lnTo>
                  <a:lnTo>
                    <a:pt x="1" y="370"/>
                  </a:lnTo>
                  <a:lnTo>
                    <a:pt x="3" y="366"/>
                  </a:lnTo>
                  <a:lnTo>
                    <a:pt x="5" y="364"/>
                  </a:lnTo>
                  <a:lnTo>
                    <a:pt x="329" y="5"/>
                  </a:lnTo>
                  <a:lnTo>
                    <a:pt x="332" y="1"/>
                  </a:lnTo>
                  <a:lnTo>
                    <a:pt x="337" y="0"/>
                  </a:lnTo>
                  <a:lnTo>
                    <a:pt x="342" y="0"/>
                  </a:lnTo>
                  <a:lnTo>
                    <a:pt x="346" y="3"/>
                  </a:lnTo>
                  <a:lnTo>
                    <a:pt x="349" y="6"/>
                  </a:lnTo>
                  <a:lnTo>
                    <a:pt x="351" y="10"/>
                  </a:lnTo>
                  <a:lnTo>
                    <a:pt x="352" y="15"/>
                  </a:lnTo>
                  <a:lnTo>
                    <a:pt x="350" y="20"/>
                  </a:lnTo>
                  <a:lnTo>
                    <a:pt x="74" y="563"/>
                  </a:lnTo>
                  <a:lnTo>
                    <a:pt x="72" y="566"/>
                  </a:lnTo>
                  <a:lnTo>
                    <a:pt x="68" y="568"/>
                  </a:lnTo>
                  <a:lnTo>
                    <a:pt x="65" y="570"/>
                  </a:lnTo>
                  <a:lnTo>
                    <a:pt x="62" y="570"/>
                  </a:lnTo>
                  <a:close/>
                  <a:moveTo>
                    <a:pt x="30" y="376"/>
                  </a:moveTo>
                  <a:lnTo>
                    <a:pt x="30" y="376"/>
                  </a:lnTo>
                  <a:lnTo>
                    <a:pt x="66" y="520"/>
                  </a:lnTo>
                  <a:lnTo>
                    <a:pt x="280" y="99"/>
                  </a:lnTo>
                  <a:lnTo>
                    <a:pt x="30" y="376"/>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209"/>
            <p:cNvSpPr>
              <a:spLocks noEditPoints="1"/>
            </p:cNvSpPr>
            <p:nvPr userDrawn="1"/>
          </p:nvSpPr>
          <p:spPr bwMode="auto">
            <a:xfrm>
              <a:off x="3302000" y="2001838"/>
              <a:ext cx="257175" cy="387350"/>
            </a:xfrm>
            <a:custGeom>
              <a:avLst/>
              <a:gdLst>
                <a:gd name="T0" fmla="*/ 130 w 487"/>
                <a:gd name="T1" fmla="*/ 731 h 731"/>
                <a:gd name="T2" fmla="*/ 125 w 487"/>
                <a:gd name="T3" fmla="*/ 731 h 731"/>
                <a:gd name="T4" fmla="*/ 122 w 487"/>
                <a:gd name="T5" fmla="*/ 729 h 731"/>
                <a:gd name="T6" fmla="*/ 120 w 487"/>
                <a:gd name="T7" fmla="*/ 727 h 731"/>
                <a:gd name="T8" fmla="*/ 118 w 487"/>
                <a:gd name="T9" fmla="*/ 725 h 731"/>
                <a:gd name="T10" fmla="*/ 2 w 487"/>
                <a:gd name="T11" fmla="*/ 522 h 731"/>
                <a:gd name="T12" fmla="*/ 0 w 487"/>
                <a:gd name="T13" fmla="*/ 517 h 731"/>
                <a:gd name="T14" fmla="*/ 0 w 487"/>
                <a:gd name="T15" fmla="*/ 513 h 731"/>
                <a:gd name="T16" fmla="*/ 1 w 487"/>
                <a:gd name="T17" fmla="*/ 510 h 731"/>
                <a:gd name="T18" fmla="*/ 3 w 487"/>
                <a:gd name="T19" fmla="*/ 506 h 731"/>
                <a:gd name="T20" fmla="*/ 463 w 487"/>
                <a:gd name="T21" fmla="*/ 5 h 731"/>
                <a:gd name="T22" fmla="*/ 468 w 487"/>
                <a:gd name="T23" fmla="*/ 1 h 731"/>
                <a:gd name="T24" fmla="*/ 472 w 487"/>
                <a:gd name="T25" fmla="*/ 0 h 731"/>
                <a:gd name="T26" fmla="*/ 476 w 487"/>
                <a:gd name="T27" fmla="*/ 0 h 731"/>
                <a:gd name="T28" fmla="*/ 481 w 487"/>
                <a:gd name="T29" fmla="*/ 3 h 731"/>
                <a:gd name="T30" fmla="*/ 484 w 487"/>
                <a:gd name="T31" fmla="*/ 6 h 731"/>
                <a:gd name="T32" fmla="*/ 486 w 487"/>
                <a:gd name="T33" fmla="*/ 10 h 731"/>
                <a:gd name="T34" fmla="*/ 487 w 487"/>
                <a:gd name="T35" fmla="*/ 14 h 731"/>
                <a:gd name="T36" fmla="*/ 485 w 487"/>
                <a:gd name="T37" fmla="*/ 19 h 731"/>
                <a:gd name="T38" fmla="*/ 142 w 487"/>
                <a:gd name="T39" fmla="*/ 724 h 731"/>
                <a:gd name="T40" fmla="*/ 140 w 487"/>
                <a:gd name="T41" fmla="*/ 727 h 731"/>
                <a:gd name="T42" fmla="*/ 136 w 487"/>
                <a:gd name="T43" fmla="*/ 729 h 731"/>
                <a:gd name="T44" fmla="*/ 133 w 487"/>
                <a:gd name="T45" fmla="*/ 730 h 731"/>
                <a:gd name="T46" fmla="*/ 130 w 487"/>
                <a:gd name="T47" fmla="*/ 731 h 731"/>
                <a:gd name="T48" fmla="*/ 130 w 487"/>
                <a:gd name="T49" fmla="*/ 731 h 731"/>
                <a:gd name="T50" fmla="*/ 130 w 487"/>
                <a:gd name="T51" fmla="*/ 731 h 731"/>
                <a:gd name="T52" fmla="*/ 30 w 487"/>
                <a:gd name="T53" fmla="*/ 517 h 731"/>
                <a:gd name="T54" fmla="*/ 30 w 487"/>
                <a:gd name="T55" fmla="*/ 517 h 731"/>
                <a:gd name="T56" fmla="*/ 129 w 487"/>
                <a:gd name="T57" fmla="*/ 689 h 731"/>
                <a:gd name="T58" fmla="*/ 420 w 487"/>
                <a:gd name="T59" fmla="*/ 91 h 731"/>
                <a:gd name="T60" fmla="*/ 30 w 487"/>
                <a:gd name="T61" fmla="*/ 517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7" h="731">
                  <a:moveTo>
                    <a:pt x="130" y="731"/>
                  </a:moveTo>
                  <a:lnTo>
                    <a:pt x="125" y="731"/>
                  </a:lnTo>
                  <a:lnTo>
                    <a:pt x="122" y="729"/>
                  </a:lnTo>
                  <a:lnTo>
                    <a:pt x="120" y="727"/>
                  </a:lnTo>
                  <a:lnTo>
                    <a:pt x="118" y="725"/>
                  </a:lnTo>
                  <a:lnTo>
                    <a:pt x="2" y="522"/>
                  </a:lnTo>
                  <a:lnTo>
                    <a:pt x="0" y="517"/>
                  </a:lnTo>
                  <a:lnTo>
                    <a:pt x="0" y="513"/>
                  </a:lnTo>
                  <a:lnTo>
                    <a:pt x="1" y="510"/>
                  </a:lnTo>
                  <a:lnTo>
                    <a:pt x="3" y="506"/>
                  </a:lnTo>
                  <a:lnTo>
                    <a:pt x="463" y="5"/>
                  </a:lnTo>
                  <a:lnTo>
                    <a:pt x="468" y="1"/>
                  </a:lnTo>
                  <a:lnTo>
                    <a:pt x="472" y="0"/>
                  </a:lnTo>
                  <a:lnTo>
                    <a:pt x="476" y="0"/>
                  </a:lnTo>
                  <a:lnTo>
                    <a:pt x="481" y="3"/>
                  </a:lnTo>
                  <a:lnTo>
                    <a:pt x="484" y="6"/>
                  </a:lnTo>
                  <a:lnTo>
                    <a:pt x="486" y="10"/>
                  </a:lnTo>
                  <a:lnTo>
                    <a:pt x="487" y="14"/>
                  </a:lnTo>
                  <a:lnTo>
                    <a:pt x="485" y="19"/>
                  </a:lnTo>
                  <a:lnTo>
                    <a:pt x="142" y="724"/>
                  </a:lnTo>
                  <a:lnTo>
                    <a:pt x="140" y="727"/>
                  </a:lnTo>
                  <a:lnTo>
                    <a:pt x="136" y="729"/>
                  </a:lnTo>
                  <a:lnTo>
                    <a:pt x="133" y="730"/>
                  </a:lnTo>
                  <a:lnTo>
                    <a:pt x="130" y="731"/>
                  </a:lnTo>
                  <a:lnTo>
                    <a:pt x="130" y="731"/>
                  </a:lnTo>
                  <a:lnTo>
                    <a:pt x="130" y="731"/>
                  </a:lnTo>
                  <a:close/>
                  <a:moveTo>
                    <a:pt x="30" y="517"/>
                  </a:moveTo>
                  <a:lnTo>
                    <a:pt x="30" y="517"/>
                  </a:lnTo>
                  <a:lnTo>
                    <a:pt x="129" y="689"/>
                  </a:lnTo>
                  <a:lnTo>
                    <a:pt x="420" y="91"/>
                  </a:lnTo>
                  <a:lnTo>
                    <a:pt x="30" y="51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10"/>
            <p:cNvSpPr>
              <a:spLocks noEditPoints="1"/>
            </p:cNvSpPr>
            <p:nvPr userDrawn="1"/>
          </p:nvSpPr>
          <p:spPr bwMode="auto">
            <a:xfrm>
              <a:off x="3403600" y="2046288"/>
              <a:ext cx="303213" cy="447675"/>
            </a:xfrm>
            <a:custGeom>
              <a:avLst/>
              <a:gdLst>
                <a:gd name="T0" fmla="*/ 152 w 573"/>
                <a:gd name="T1" fmla="*/ 848 h 848"/>
                <a:gd name="T2" fmla="*/ 147 w 573"/>
                <a:gd name="T3" fmla="*/ 847 h 848"/>
                <a:gd name="T4" fmla="*/ 143 w 573"/>
                <a:gd name="T5" fmla="*/ 845 h 848"/>
                <a:gd name="T6" fmla="*/ 5 w 573"/>
                <a:gd name="T7" fmla="*/ 727 h 848"/>
                <a:gd name="T8" fmla="*/ 1 w 573"/>
                <a:gd name="T9" fmla="*/ 723 h 848"/>
                <a:gd name="T10" fmla="*/ 0 w 573"/>
                <a:gd name="T11" fmla="*/ 719 h 848"/>
                <a:gd name="T12" fmla="*/ 0 w 573"/>
                <a:gd name="T13" fmla="*/ 715 h 848"/>
                <a:gd name="T14" fmla="*/ 1 w 573"/>
                <a:gd name="T15" fmla="*/ 711 h 848"/>
                <a:gd name="T16" fmla="*/ 11 w 573"/>
                <a:gd name="T17" fmla="*/ 695 h 848"/>
                <a:gd name="T18" fmla="*/ 31 w 573"/>
                <a:gd name="T19" fmla="*/ 668 h 848"/>
                <a:gd name="T20" fmla="*/ 59 w 573"/>
                <a:gd name="T21" fmla="*/ 630 h 848"/>
                <a:gd name="T22" fmla="*/ 93 w 573"/>
                <a:gd name="T23" fmla="*/ 583 h 848"/>
                <a:gd name="T24" fmla="*/ 179 w 573"/>
                <a:gd name="T25" fmla="*/ 473 h 848"/>
                <a:gd name="T26" fmla="*/ 276 w 573"/>
                <a:gd name="T27" fmla="*/ 349 h 848"/>
                <a:gd name="T28" fmla="*/ 372 w 573"/>
                <a:gd name="T29" fmla="*/ 227 h 848"/>
                <a:gd name="T30" fmla="*/ 457 w 573"/>
                <a:gd name="T31" fmla="*/ 120 h 848"/>
                <a:gd name="T32" fmla="*/ 520 w 573"/>
                <a:gd name="T33" fmla="*/ 41 h 848"/>
                <a:gd name="T34" fmla="*/ 548 w 573"/>
                <a:gd name="T35" fmla="*/ 5 h 848"/>
                <a:gd name="T36" fmla="*/ 552 w 573"/>
                <a:gd name="T37" fmla="*/ 2 h 848"/>
                <a:gd name="T38" fmla="*/ 556 w 573"/>
                <a:gd name="T39" fmla="*/ 0 h 848"/>
                <a:gd name="T40" fmla="*/ 562 w 573"/>
                <a:gd name="T41" fmla="*/ 0 h 848"/>
                <a:gd name="T42" fmla="*/ 566 w 573"/>
                <a:gd name="T43" fmla="*/ 3 h 848"/>
                <a:gd name="T44" fmla="*/ 569 w 573"/>
                <a:gd name="T45" fmla="*/ 6 h 848"/>
                <a:gd name="T46" fmla="*/ 572 w 573"/>
                <a:gd name="T47" fmla="*/ 10 h 848"/>
                <a:gd name="T48" fmla="*/ 573 w 573"/>
                <a:gd name="T49" fmla="*/ 15 h 848"/>
                <a:gd name="T50" fmla="*/ 571 w 573"/>
                <a:gd name="T51" fmla="*/ 20 h 848"/>
                <a:gd name="T52" fmla="*/ 163 w 573"/>
                <a:gd name="T53" fmla="*/ 840 h 848"/>
                <a:gd name="T54" fmla="*/ 162 w 573"/>
                <a:gd name="T55" fmla="*/ 842 h 848"/>
                <a:gd name="T56" fmla="*/ 160 w 573"/>
                <a:gd name="T57" fmla="*/ 845 h 848"/>
                <a:gd name="T58" fmla="*/ 157 w 573"/>
                <a:gd name="T59" fmla="*/ 846 h 848"/>
                <a:gd name="T60" fmla="*/ 154 w 573"/>
                <a:gd name="T61" fmla="*/ 847 h 848"/>
                <a:gd name="T62" fmla="*/ 153 w 573"/>
                <a:gd name="T63" fmla="*/ 848 h 848"/>
                <a:gd name="T64" fmla="*/ 152 w 573"/>
                <a:gd name="T65" fmla="*/ 848 h 848"/>
                <a:gd name="T66" fmla="*/ 31 w 573"/>
                <a:gd name="T67" fmla="*/ 713 h 848"/>
                <a:gd name="T68" fmla="*/ 31 w 573"/>
                <a:gd name="T69" fmla="*/ 713 h 848"/>
                <a:gd name="T70" fmla="*/ 147 w 573"/>
                <a:gd name="T71" fmla="*/ 812 h 848"/>
                <a:gd name="T72" fmla="*/ 491 w 573"/>
                <a:gd name="T73" fmla="*/ 121 h 848"/>
                <a:gd name="T74" fmla="*/ 426 w 573"/>
                <a:gd name="T75" fmla="*/ 202 h 848"/>
                <a:gd name="T76" fmla="*/ 356 w 573"/>
                <a:gd name="T77" fmla="*/ 291 h 848"/>
                <a:gd name="T78" fmla="*/ 284 w 573"/>
                <a:gd name="T79" fmla="*/ 382 h 848"/>
                <a:gd name="T80" fmla="*/ 215 w 573"/>
                <a:gd name="T81" fmla="*/ 470 h 848"/>
                <a:gd name="T82" fmla="*/ 152 w 573"/>
                <a:gd name="T83" fmla="*/ 552 h 848"/>
                <a:gd name="T84" fmla="*/ 98 w 573"/>
                <a:gd name="T85" fmla="*/ 622 h 848"/>
                <a:gd name="T86" fmla="*/ 55 w 573"/>
                <a:gd name="T87" fmla="*/ 678 h 848"/>
                <a:gd name="T88" fmla="*/ 31 w 573"/>
                <a:gd name="T89" fmla="*/ 71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3" h="848">
                  <a:moveTo>
                    <a:pt x="152" y="848"/>
                  </a:moveTo>
                  <a:lnTo>
                    <a:pt x="147" y="847"/>
                  </a:lnTo>
                  <a:lnTo>
                    <a:pt x="143" y="845"/>
                  </a:lnTo>
                  <a:lnTo>
                    <a:pt x="5" y="727"/>
                  </a:lnTo>
                  <a:lnTo>
                    <a:pt x="1" y="723"/>
                  </a:lnTo>
                  <a:lnTo>
                    <a:pt x="0" y="719"/>
                  </a:lnTo>
                  <a:lnTo>
                    <a:pt x="0" y="715"/>
                  </a:lnTo>
                  <a:lnTo>
                    <a:pt x="1" y="711"/>
                  </a:lnTo>
                  <a:lnTo>
                    <a:pt x="11" y="695"/>
                  </a:lnTo>
                  <a:lnTo>
                    <a:pt x="31" y="668"/>
                  </a:lnTo>
                  <a:lnTo>
                    <a:pt x="59" y="630"/>
                  </a:lnTo>
                  <a:lnTo>
                    <a:pt x="93" y="583"/>
                  </a:lnTo>
                  <a:lnTo>
                    <a:pt x="179" y="473"/>
                  </a:lnTo>
                  <a:lnTo>
                    <a:pt x="276" y="349"/>
                  </a:lnTo>
                  <a:lnTo>
                    <a:pt x="372" y="227"/>
                  </a:lnTo>
                  <a:lnTo>
                    <a:pt x="457" y="120"/>
                  </a:lnTo>
                  <a:lnTo>
                    <a:pt x="520" y="41"/>
                  </a:lnTo>
                  <a:lnTo>
                    <a:pt x="548" y="5"/>
                  </a:lnTo>
                  <a:lnTo>
                    <a:pt x="552" y="2"/>
                  </a:lnTo>
                  <a:lnTo>
                    <a:pt x="556" y="0"/>
                  </a:lnTo>
                  <a:lnTo>
                    <a:pt x="562" y="0"/>
                  </a:lnTo>
                  <a:lnTo>
                    <a:pt x="566" y="3"/>
                  </a:lnTo>
                  <a:lnTo>
                    <a:pt x="569" y="6"/>
                  </a:lnTo>
                  <a:lnTo>
                    <a:pt x="572" y="10"/>
                  </a:lnTo>
                  <a:lnTo>
                    <a:pt x="573" y="15"/>
                  </a:lnTo>
                  <a:lnTo>
                    <a:pt x="571" y="20"/>
                  </a:lnTo>
                  <a:lnTo>
                    <a:pt x="163" y="840"/>
                  </a:lnTo>
                  <a:lnTo>
                    <a:pt x="162" y="842"/>
                  </a:lnTo>
                  <a:lnTo>
                    <a:pt x="160" y="845"/>
                  </a:lnTo>
                  <a:lnTo>
                    <a:pt x="157" y="846"/>
                  </a:lnTo>
                  <a:lnTo>
                    <a:pt x="154" y="847"/>
                  </a:lnTo>
                  <a:lnTo>
                    <a:pt x="153" y="848"/>
                  </a:lnTo>
                  <a:lnTo>
                    <a:pt x="152" y="848"/>
                  </a:lnTo>
                  <a:close/>
                  <a:moveTo>
                    <a:pt x="31" y="713"/>
                  </a:moveTo>
                  <a:lnTo>
                    <a:pt x="31" y="713"/>
                  </a:lnTo>
                  <a:lnTo>
                    <a:pt x="147" y="812"/>
                  </a:lnTo>
                  <a:lnTo>
                    <a:pt x="491" y="121"/>
                  </a:lnTo>
                  <a:lnTo>
                    <a:pt x="426" y="202"/>
                  </a:lnTo>
                  <a:lnTo>
                    <a:pt x="356" y="291"/>
                  </a:lnTo>
                  <a:lnTo>
                    <a:pt x="284" y="382"/>
                  </a:lnTo>
                  <a:lnTo>
                    <a:pt x="215" y="470"/>
                  </a:lnTo>
                  <a:lnTo>
                    <a:pt x="152" y="552"/>
                  </a:lnTo>
                  <a:lnTo>
                    <a:pt x="98" y="622"/>
                  </a:lnTo>
                  <a:lnTo>
                    <a:pt x="55" y="678"/>
                  </a:lnTo>
                  <a:lnTo>
                    <a:pt x="31" y="71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11"/>
            <p:cNvSpPr>
              <a:spLocks noEditPoints="1"/>
            </p:cNvSpPr>
            <p:nvPr userDrawn="1"/>
          </p:nvSpPr>
          <p:spPr bwMode="auto">
            <a:xfrm>
              <a:off x="3848100" y="1944688"/>
              <a:ext cx="306388" cy="404813"/>
            </a:xfrm>
            <a:custGeom>
              <a:avLst/>
              <a:gdLst>
                <a:gd name="T0" fmla="*/ 14 w 579"/>
                <a:gd name="T1" fmla="*/ 765 h 765"/>
                <a:gd name="T2" fmla="*/ 14 w 579"/>
                <a:gd name="T3" fmla="*/ 765 h 765"/>
                <a:gd name="T4" fmla="*/ 14 w 579"/>
                <a:gd name="T5" fmla="*/ 765 h 765"/>
                <a:gd name="T6" fmla="*/ 9 w 579"/>
                <a:gd name="T7" fmla="*/ 764 h 765"/>
                <a:gd name="T8" fmla="*/ 6 w 579"/>
                <a:gd name="T9" fmla="*/ 763 h 765"/>
                <a:gd name="T10" fmla="*/ 3 w 579"/>
                <a:gd name="T11" fmla="*/ 760 h 765"/>
                <a:gd name="T12" fmla="*/ 1 w 579"/>
                <a:gd name="T13" fmla="*/ 757 h 765"/>
                <a:gd name="T14" fmla="*/ 0 w 579"/>
                <a:gd name="T15" fmla="*/ 752 h 765"/>
                <a:gd name="T16" fmla="*/ 2 w 579"/>
                <a:gd name="T17" fmla="*/ 746 h 765"/>
                <a:gd name="T18" fmla="*/ 2 w 579"/>
                <a:gd name="T19" fmla="*/ 746 h 765"/>
                <a:gd name="T20" fmla="*/ 2 w 579"/>
                <a:gd name="T21" fmla="*/ 744 h 765"/>
                <a:gd name="T22" fmla="*/ 3 w 579"/>
                <a:gd name="T23" fmla="*/ 744 h 765"/>
                <a:gd name="T24" fmla="*/ 3 w 579"/>
                <a:gd name="T25" fmla="*/ 744 h 765"/>
                <a:gd name="T26" fmla="*/ 214 w 579"/>
                <a:gd name="T27" fmla="*/ 333 h 765"/>
                <a:gd name="T28" fmla="*/ 215 w 579"/>
                <a:gd name="T29" fmla="*/ 332 h 765"/>
                <a:gd name="T30" fmla="*/ 217 w 579"/>
                <a:gd name="T31" fmla="*/ 330 h 765"/>
                <a:gd name="T32" fmla="*/ 557 w 579"/>
                <a:gd name="T33" fmla="*/ 5 h 765"/>
                <a:gd name="T34" fmla="*/ 561 w 579"/>
                <a:gd name="T35" fmla="*/ 2 h 765"/>
                <a:gd name="T36" fmla="*/ 566 w 579"/>
                <a:gd name="T37" fmla="*/ 0 h 765"/>
                <a:gd name="T38" fmla="*/ 571 w 579"/>
                <a:gd name="T39" fmla="*/ 2 h 765"/>
                <a:gd name="T40" fmla="*/ 575 w 579"/>
                <a:gd name="T41" fmla="*/ 4 h 765"/>
                <a:gd name="T42" fmla="*/ 578 w 579"/>
                <a:gd name="T43" fmla="*/ 8 h 765"/>
                <a:gd name="T44" fmla="*/ 579 w 579"/>
                <a:gd name="T45" fmla="*/ 12 h 765"/>
                <a:gd name="T46" fmla="*/ 579 w 579"/>
                <a:gd name="T47" fmla="*/ 18 h 765"/>
                <a:gd name="T48" fmla="*/ 577 w 579"/>
                <a:gd name="T49" fmla="*/ 22 h 765"/>
                <a:gd name="T50" fmla="*/ 553 w 579"/>
                <a:gd name="T51" fmla="*/ 54 h 765"/>
                <a:gd name="T52" fmla="*/ 493 w 579"/>
                <a:gd name="T53" fmla="*/ 134 h 765"/>
                <a:gd name="T54" fmla="*/ 408 w 579"/>
                <a:gd name="T55" fmla="*/ 247 h 765"/>
                <a:gd name="T56" fmla="*/ 309 w 579"/>
                <a:gd name="T57" fmla="*/ 376 h 765"/>
                <a:gd name="T58" fmla="*/ 211 w 579"/>
                <a:gd name="T59" fmla="*/ 508 h 765"/>
                <a:gd name="T60" fmla="*/ 123 w 579"/>
                <a:gd name="T61" fmla="*/ 626 h 765"/>
                <a:gd name="T62" fmla="*/ 57 w 579"/>
                <a:gd name="T63" fmla="*/ 713 h 765"/>
                <a:gd name="T64" fmla="*/ 25 w 579"/>
                <a:gd name="T65" fmla="*/ 757 h 765"/>
                <a:gd name="T66" fmla="*/ 23 w 579"/>
                <a:gd name="T67" fmla="*/ 760 h 765"/>
                <a:gd name="T68" fmla="*/ 21 w 579"/>
                <a:gd name="T69" fmla="*/ 763 h 765"/>
                <a:gd name="T70" fmla="*/ 17 w 579"/>
                <a:gd name="T71" fmla="*/ 764 h 765"/>
                <a:gd name="T72" fmla="*/ 14 w 579"/>
                <a:gd name="T73" fmla="*/ 765 h 765"/>
                <a:gd name="T74" fmla="*/ 237 w 579"/>
                <a:gd name="T75" fmla="*/ 348 h 765"/>
                <a:gd name="T76" fmla="*/ 237 w 579"/>
                <a:gd name="T77" fmla="*/ 348 h 765"/>
                <a:gd name="T78" fmla="*/ 105 w 579"/>
                <a:gd name="T79" fmla="*/ 603 h 765"/>
                <a:gd name="T80" fmla="*/ 145 w 579"/>
                <a:gd name="T81" fmla="*/ 550 h 765"/>
                <a:gd name="T82" fmla="*/ 187 w 579"/>
                <a:gd name="T83" fmla="*/ 493 h 765"/>
                <a:gd name="T84" fmla="*/ 233 w 579"/>
                <a:gd name="T85" fmla="*/ 433 h 765"/>
                <a:gd name="T86" fmla="*/ 279 w 579"/>
                <a:gd name="T87" fmla="*/ 371 h 765"/>
                <a:gd name="T88" fmla="*/ 326 w 579"/>
                <a:gd name="T89" fmla="*/ 309 h 765"/>
                <a:gd name="T90" fmla="*/ 371 w 579"/>
                <a:gd name="T91" fmla="*/ 250 h 765"/>
                <a:gd name="T92" fmla="*/ 414 w 579"/>
                <a:gd name="T93" fmla="*/ 193 h 765"/>
                <a:gd name="T94" fmla="*/ 453 w 579"/>
                <a:gd name="T95" fmla="*/ 141 h 765"/>
                <a:gd name="T96" fmla="*/ 237 w 579"/>
                <a:gd name="T97" fmla="*/ 348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9" h="765">
                  <a:moveTo>
                    <a:pt x="14" y="765"/>
                  </a:moveTo>
                  <a:lnTo>
                    <a:pt x="14" y="765"/>
                  </a:lnTo>
                  <a:lnTo>
                    <a:pt x="14" y="765"/>
                  </a:lnTo>
                  <a:lnTo>
                    <a:pt x="9" y="764"/>
                  </a:lnTo>
                  <a:lnTo>
                    <a:pt x="6" y="763"/>
                  </a:lnTo>
                  <a:lnTo>
                    <a:pt x="3" y="760"/>
                  </a:lnTo>
                  <a:lnTo>
                    <a:pt x="1" y="757"/>
                  </a:lnTo>
                  <a:lnTo>
                    <a:pt x="0" y="752"/>
                  </a:lnTo>
                  <a:lnTo>
                    <a:pt x="2" y="746"/>
                  </a:lnTo>
                  <a:lnTo>
                    <a:pt x="2" y="746"/>
                  </a:lnTo>
                  <a:lnTo>
                    <a:pt x="2" y="744"/>
                  </a:lnTo>
                  <a:lnTo>
                    <a:pt x="3" y="744"/>
                  </a:lnTo>
                  <a:lnTo>
                    <a:pt x="3" y="744"/>
                  </a:lnTo>
                  <a:lnTo>
                    <a:pt x="214" y="333"/>
                  </a:lnTo>
                  <a:lnTo>
                    <a:pt x="215" y="332"/>
                  </a:lnTo>
                  <a:lnTo>
                    <a:pt x="217" y="330"/>
                  </a:lnTo>
                  <a:lnTo>
                    <a:pt x="557" y="5"/>
                  </a:lnTo>
                  <a:lnTo>
                    <a:pt x="561" y="2"/>
                  </a:lnTo>
                  <a:lnTo>
                    <a:pt x="566" y="0"/>
                  </a:lnTo>
                  <a:lnTo>
                    <a:pt x="571" y="2"/>
                  </a:lnTo>
                  <a:lnTo>
                    <a:pt x="575" y="4"/>
                  </a:lnTo>
                  <a:lnTo>
                    <a:pt x="578" y="8"/>
                  </a:lnTo>
                  <a:lnTo>
                    <a:pt x="579" y="12"/>
                  </a:lnTo>
                  <a:lnTo>
                    <a:pt x="579" y="18"/>
                  </a:lnTo>
                  <a:lnTo>
                    <a:pt x="577" y="22"/>
                  </a:lnTo>
                  <a:lnTo>
                    <a:pt x="553" y="54"/>
                  </a:lnTo>
                  <a:lnTo>
                    <a:pt x="493" y="134"/>
                  </a:lnTo>
                  <a:lnTo>
                    <a:pt x="408" y="247"/>
                  </a:lnTo>
                  <a:lnTo>
                    <a:pt x="309" y="376"/>
                  </a:lnTo>
                  <a:lnTo>
                    <a:pt x="211" y="508"/>
                  </a:lnTo>
                  <a:lnTo>
                    <a:pt x="123" y="626"/>
                  </a:lnTo>
                  <a:lnTo>
                    <a:pt x="57" y="713"/>
                  </a:lnTo>
                  <a:lnTo>
                    <a:pt x="25" y="757"/>
                  </a:lnTo>
                  <a:lnTo>
                    <a:pt x="23" y="760"/>
                  </a:lnTo>
                  <a:lnTo>
                    <a:pt x="21" y="763"/>
                  </a:lnTo>
                  <a:lnTo>
                    <a:pt x="17" y="764"/>
                  </a:lnTo>
                  <a:lnTo>
                    <a:pt x="14" y="765"/>
                  </a:lnTo>
                  <a:close/>
                  <a:moveTo>
                    <a:pt x="237" y="348"/>
                  </a:moveTo>
                  <a:lnTo>
                    <a:pt x="237" y="348"/>
                  </a:lnTo>
                  <a:lnTo>
                    <a:pt x="105" y="603"/>
                  </a:lnTo>
                  <a:lnTo>
                    <a:pt x="145" y="550"/>
                  </a:lnTo>
                  <a:lnTo>
                    <a:pt x="187" y="493"/>
                  </a:lnTo>
                  <a:lnTo>
                    <a:pt x="233" y="433"/>
                  </a:lnTo>
                  <a:lnTo>
                    <a:pt x="279" y="371"/>
                  </a:lnTo>
                  <a:lnTo>
                    <a:pt x="326" y="309"/>
                  </a:lnTo>
                  <a:lnTo>
                    <a:pt x="371" y="250"/>
                  </a:lnTo>
                  <a:lnTo>
                    <a:pt x="414" y="193"/>
                  </a:lnTo>
                  <a:lnTo>
                    <a:pt x="453" y="141"/>
                  </a:lnTo>
                  <a:lnTo>
                    <a:pt x="237" y="348"/>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212"/>
            <p:cNvSpPr>
              <a:spLocks noEditPoints="1"/>
            </p:cNvSpPr>
            <p:nvPr userDrawn="1"/>
          </p:nvSpPr>
          <p:spPr bwMode="auto">
            <a:xfrm>
              <a:off x="3675063" y="2117725"/>
              <a:ext cx="300038" cy="398463"/>
            </a:xfrm>
            <a:custGeom>
              <a:avLst/>
              <a:gdLst>
                <a:gd name="T0" fmla="*/ 13 w 567"/>
                <a:gd name="T1" fmla="*/ 752 h 752"/>
                <a:gd name="T2" fmla="*/ 9 w 567"/>
                <a:gd name="T3" fmla="*/ 751 h 752"/>
                <a:gd name="T4" fmla="*/ 5 w 567"/>
                <a:gd name="T5" fmla="*/ 749 h 752"/>
                <a:gd name="T6" fmla="*/ 3 w 567"/>
                <a:gd name="T7" fmla="*/ 746 h 752"/>
                <a:gd name="T8" fmla="*/ 1 w 567"/>
                <a:gd name="T9" fmla="*/ 744 h 752"/>
                <a:gd name="T10" fmla="*/ 0 w 567"/>
                <a:gd name="T11" fmla="*/ 741 h 752"/>
                <a:gd name="T12" fmla="*/ 0 w 567"/>
                <a:gd name="T13" fmla="*/ 739 h 752"/>
                <a:gd name="T14" fmla="*/ 1 w 567"/>
                <a:gd name="T15" fmla="*/ 735 h 752"/>
                <a:gd name="T16" fmla="*/ 9 w 567"/>
                <a:gd name="T17" fmla="*/ 722 h 752"/>
                <a:gd name="T18" fmla="*/ 28 w 567"/>
                <a:gd name="T19" fmla="*/ 691 h 752"/>
                <a:gd name="T20" fmla="*/ 68 w 567"/>
                <a:gd name="T21" fmla="*/ 636 h 752"/>
                <a:gd name="T22" fmla="*/ 133 w 567"/>
                <a:gd name="T23" fmla="*/ 549 h 752"/>
                <a:gd name="T24" fmla="*/ 229 w 567"/>
                <a:gd name="T25" fmla="*/ 419 h 752"/>
                <a:gd name="T26" fmla="*/ 364 w 567"/>
                <a:gd name="T27" fmla="*/ 241 h 752"/>
                <a:gd name="T28" fmla="*/ 543 w 567"/>
                <a:gd name="T29" fmla="*/ 5 h 752"/>
                <a:gd name="T30" fmla="*/ 547 w 567"/>
                <a:gd name="T31" fmla="*/ 2 h 752"/>
                <a:gd name="T32" fmla="*/ 552 w 567"/>
                <a:gd name="T33" fmla="*/ 0 h 752"/>
                <a:gd name="T34" fmla="*/ 556 w 567"/>
                <a:gd name="T35" fmla="*/ 0 h 752"/>
                <a:gd name="T36" fmla="*/ 561 w 567"/>
                <a:gd name="T37" fmla="*/ 2 h 752"/>
                <a:gd name="T38" fmla="*/ 565 w 567"/>
                <a:gd name="T39" fmla="*/ 5 h 752"/>
                <a:gd name="T40" fmla="*/ 567 w 567"/>
                <a:gd name="T41" fmla="*/ 9 h 752"/>
                <a:gd name="T42" fmla="*/ 567 w 567"/>
                <a:gd name="T43" fmla="*/ 15 h 752"/>
                <a:gd name="T44" fmla="*/ 566 w 567"/>
                <a:gd name="T45" fmla="*/ 19 h 752"/>
                <a:gd name="T46" fmla="*/ 263 w 567"/>
                <a:gd name="T47" fmla="*/ 714 h 752"/>
                <a:gd name="T48" fmla="*/ 261 w 567"/>
                <a:gd name="T49" fmla="*/ 717 h 752"/>
                <a:gd name="T50" fmla="*/ 258 w 567"/>
                <a:gd name="T51" fmla="*/ 719 h 752"/>
                <a:gd name="T52" fmla="*/ 255 w 567"/>
                <a:gd name="T53" fmla="*/ 722 h 752"/>
                <a:gd name="T54" fmla="*/ 252 w 567"/>
                <a:gd name="T55" fmla="*/ 723 h 752"/>
                <a:gd name="T56" fmla="*/ 15 w 567"/>
                <a:gd name="T57" fmla="*/ 752 h 752"/>
                <a:gd name="T58" fmla="*/ 14 w 567"/>
                <a:gd name="T59" fmla="*/ 752 h 752"/>
                <a:gd name="T60" fmla="*/ 13 w 567"/>
                <a:gd name="T61" fmla="*/ 752 h 752"/>
                <a:gd name="T62" fmla="*/ 497 w 567"/>
                <a:gd name="T63" fmla="*/ 112 h 752"/>
                <a:gd name="T64" fmla="*/ 497 w 567"/>
                <a:gd name="T65" fmla="*/ 112 h 752"/>
                <a:gd name="T66" fmla="*/ 428 w 567"/>
                <a:gd name="T67" fmla="*/ 202 h 752"/>
                <a:gd name="T68" fmla="*/ 358 w 567"/>
                <a:gd name="T69" fmla="*/ 295 h 752"/>
                <a:gd name="T70" fmla="*/ 288 w 567"/>
                <a:gd name="T71" fmla="*/ 387 h 752"/>
                <a:gd name="T72" fmla="*/ 222 w 567"/>
                <a:gd name="T73" fmla="*/ 474 h 752"/>
                <a:gd name="T74" fmla="*/ 162 w 567"/>
                <a:gd name="T75" fmla="*/ 554 h 752"/>
                <a:gd name="T76" fmla="*/ 109 w 567"/>
                <a:gd name="T77" fmla="*/ 624 h 752"/>
                <a:gd name="T78" fmla="*/ 68 w 567"/>
                <a:gd name="T79" fmla="*/ 682 h 752"/>
                <a:gd name="T80" fmla="*/ 39 w 567"/>
                <a:gd name="T81" fmla="*/ 722 h 752"/>
                <a:gd name="T82" fmla="*/ 241 w 567"/>
                <a:gd name="T83" fmla="*/ 697 h 752"/>
                <a:gd name="T84" fmla="*/ 497 w 567"/>
                <a:gd name="T85" fmla="*/ 11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752">
                  <a:moveTo>
                    <a:pt x="13" y="752"/>
                  </a:moveTo>
                  <a:lnTo>
                    <a:pt x="9" y="751"/>
                  </a:lnTo>
                  <a:lnTo>
                    <a:pt x="5" y="749"/>
                  </a:lnTo>
                  <a:lnTo>
                    <a:pt x="3" y="746"/>
                  </a:lnTo>
                  <a:lnTo>
                    <a:pt x="1" y="744"/>
                  </a:lnTo>
                  <a:lnTo>
                    <a:pt x="0" y="741"/>
                  </a:lnTo>
                  <a:lnTo>
                    <a:pt x="0" y="739"/>
                  </a:lnTo>
                  <a:lnTo>
                    <a:pt x="1" y="735"/>
                  </a:lnTo>
                  <a:lnTo>
                    <a:pt x="9" y="722"/>
                  </a:lnTo>
                  <a:lnTo>
                    <a:pt x="28" y="691"/>
                  </a:lnTo>
                  <a:lnTo>
                    <a:pt x="68" y="636"/>
                  </a:lnTo>
                  <a:lnTo>
                    <a:pt x="133" y="549"/>
                  </a:lnTo>
                  <a:lnTo>
                    <a:pt x="229" y="419"/>
                  </a:lnTo>
                  <a:lnTo>
                    <a:pt x="364" y="241"/>
                  </a:lnTo>
                  <a:lnTo>
                    <a:pt x="543" y="5"/>
                  </a:lnTo>
                  <a:lnTo>
                    <a:pt x="547" y="2"/>
                  </a:lnTo>
                  <a:lnTo>
                    <a:pt x="552" y="0"/>
                  </a:lnTo>
                  <a:lnTo>
                    <a:pt x="556" y="0"/>
                  </a:lnTo>
                  <a:lnTo>
                    <a:pt x="561" y="2"/>
                  </a:lnTo>
                  <a:lnTo>
                    <a:pt x="565" y="5"/>
                  </a:lnTo>
                  <a:lnTo>
                    <a:pt x="567" y="9"/>
                  </a:lnTo>
                  <a:lnTo>
                    <a:pt x="567" y="15"/>
                  </a:lnTo>
                  <a:lnTo>
                    <a:pt x="566" y="19"/>
                  </a:lnTo>
                  <a:lnTo>
                    <a:pt x="263" y="714"/>
                  </a:lnTo>
                  <a:lnTo>
                    <a:pt x="261" y="717"/>
                  </a:lnTo>
                  <a:lnTo>
                    <a:pt x="258" y="719"/>
                  </a:lnTo>
                  <a:lnTo>
                    <a:pt x="255" y="722"/>
                  </a:lnTo>
                  <a:lnTo>
                    <a:pt x="252" y="723"/>
                  </a:lnTo>
                  <a:lnTo>
                    <a:pt x="15" y="752"/>
                  </a:lnTo>
                  <a:lnTo>
                    <a:pt x="14" y="752"/>
                  </a:lnTo>
                  <a:lnTo>
                    <a:pt x="13" y="752"/>
                  </a:lnTo>
                  <a:close/>
                  <a:moveTo>
                    <a:pt x="497" y="112"/>
                  </a:moveTo>
                  <a:lnTo>
                    <a:pt x="497" y="112"/>
                  </a:lnTo>
                  <a:lnTo>
                    <a:pt x="428" y="202"/>
                  </a:lnTo>
                  <a:lnTo>
                    <a:pt x="358" y="295"/>
                  </a:lnTo>
                  <a:lnTo>
                    <a:pt x="288" y="387"/>
                  </a:lnTo>
                  <a:lnTo>
                    <a:pt x="222" y="474"/>
                  </a:lnTo>
                  <a:lnTo>
                    <a:pt x="162" y="554"/>
                  </a:lnTo>
                  <a:lnTo>
                    <a:pt x="109" y="624"/>
                  </a:lnTo>
                  <a:lnTo>
                    <a:pt x="68" y="682"/>
                  </a:lnTo>
                  <a:lnTo>
                    <a:pt x="39" y="722"/>
                  </a:lnTo>
                  <a:lnTo>
                    <a:pt x="241" y="697"/>
                  </a:lnTo>
                  <a:lnTo>
                    <a:pt x="497" y="112"/>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13"/>
            <p:cNvSpPr>
              <a:spLocks noEditPoints="1"/>
            </p:cNvSpPr>
            <p:nvPr userDrawn="1"/>
          </p:nvSpPr>
          <p:spPr bwMode="auto">
            <a:xfrm>
              <a:off x="3516313" y="2173288"/>
              <a:ext cx="393700" cy="320675"/>
            </a:xfrm>
            <a:custGeom>
              <a:avLst/>
              <a:gdLst>
                <a:gd name="T0" fmla="*/ 13 w 744"/>
                <a:gd name="T1" fmla="*/ 607 h 607"/>
                <a:gd name="T2" fmla="*/ 10 w 744"/>
                <a:gd name="T3" fmla="*/ 606 h 607"/>
                <a:gd name="T4" fmla="*/ 7 w 744"/>
                <a:gd name="T5" fmla="*/ 605 h 607"/>
                <a:gd name="T6" fmla="*/ 3 w 744"/>
                <a:gd name="T7" fmla="*/ 603 h 607"/>
                <a:gd name="T8" fmla="*/ 1 w 744"/>
                <a:gd name="T9" fmla="*/ 600 h 607"/>
                <a:gd name="T10" fmla="*/ 0 w 744"/>
                <a:gd name="T11" fmla="*/ 595 h 607"/>
                <a:gd name="T12" fmla="*/ 0 w 744"/>
                <a:gd name="T13" fmla="*/ 591 h 607"/>
                <a:gd name="T14" fmla="*/ 1 w 744"/>
                <a:gd name="T15" fmla="*/ 586 h 607"/>
                <a:gd name="T16" fmla="*/ 4 w 744"/>
                <a:gd name="T17" fmla="*/ 582 h 607"/>
                <a:gd name="T18" fmla="*/ 723 w 744"/>
                <a:gd name="T19" fmla="*/ 3 h 607"/>
                <a:gd name="T20" fmla="*/ 727 w 744"/>
                <a:gd name="T21" fmla="*/ 1 h 607"/>
                <a:gd name="T22" fmla="*/ 731 w 744"/>
                <a:gd name="T23" fmla="*/ 0 h 607"/>
                <a:gd name="T24" fmla="*/ 737 w 744"/>
                <a:gd name="T25" fmla="*/ 1 h 607"/>
                <a:gd name="T26" fmla="*/ 741 w 744"/>
                <a:gd name="T27" fmla="*/ 3 h 607"/>
                <a:gd name="T28" fmla="*/ 743 w 744"/>
                <a:gd name="T29" fmla="*/ 8 h 607"/>
                <a:gd name="T30" fmla="*/ 744 w 744"/>
                <a:gd name="T31" fmla="*/ 12 h 607"/>
                <a:gd name="T32" fmla="*/ 744 w 744"/>
                <a:gd name="T33" fmla="*/ 17 h 607"/>
                <a:gd name="T34" fmla="*/ 742 w 744"/>
                <a:gd name="T35" fmla="*/ 22 h 607"/>
                <a:gd name="T36" fmla="*/ 475 w 744"/>
                <a:gd name="T37" fmla="*/ 402 h 607"/>
                <a:gd name="T38" fmla="*/ 473 w 744"/>
                <a:gd name="T39" fmla="*/ 404 h 607"/>
                <a:gd name="T40" fmla="*/ 470 w 744"/>
                <a:gd name="T41" fmla="*/ 406 h 607"/>
                <a:gd name="T42" fmla="*/ 19 w 744"/>
                <a:gd name="T43" fmla="*/ 606 h 607"/>
                <a:gd name="T44" fmla="*/ 15 w 744"/>
                <a:gd name="T45" fmla="*/ 606 h 607"/>
                <a:gd name="T46" fmla="*/ 13 w 744"/>
                <a:gd name="T47" fmla="*/ 607 h 607"/>
                <a:gd name="T48" fmla="*/ 665 w 744"/>
                <a:gd name="T49" fmla="*/ 84 h 607"/>
                <a:gd name="T50" fmla="*/ 665 w 744"/>
                <a:gd name="T51" fmla="*/ 84 h 607"/>
                <a:gd name="T52" fmla="*/ 101 w 744"/>
                <a:gd name="T53" fmla="*/ 540 h 607"/>
                <a:gd name="T54" fmla="*/ 456 w 744"/>
                <a:gd name="T55" fmla="*/ 383 h 607"/>
                <a:gd name="T56" fmla="*/ 665 w 744"/>
                <a:gd name="T57" fmla="*/ 8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4" h="607">
                  <a:moveTo>
                    <a:pt x="13" y="607"/>
                  </a:moveTo>
                  <a:lnTo>
                    <a:pt x="10" y="606"/>
                  </a:lnTo>
                  <a:lnTo>
                    <a:pt x="7" y="605"/>
                  </a:lnTo>
                  <a:lnTo>
                    <a:pt x="3" y="603"/>
                  </a:lnTo>
                  <a:lnTo>
                    <a:pt x="1" y="600"/>
                  </a:lnTo>
                  <a:lnTo>
                    <a:pt x="0" y="595"/>
                  </a:lnTo>
                  <a:lnTo>
                    <a:pt x="0" y="591"/>
                  </a:lnTo>
                  <a:lnTo>
                    <a:pt x="1" y="586"/>
                  </a:lnTo>
                  <a:lnTo>
                    <a:pt x="4" y="582"/>
                  </a:lnTo>
                  <a:lnTo>
                    <a:pt x="723" y="3"/>
                  </a:lnTo>
                  <a:lnTo>
                    <a:pt x="727" y="1"/>
                  </a:lnTo>
                  <a:lnTo>
                    <a:pt x="731" y="0"/>
                  </a:lnTo>
                  <a:lnTo>
                    <a:pt x="737" y="1"/>
                  </a:lnTo>
                  <a:lnTo>
                    <a:pt x="741" y="3"/>
                  </a:lnTo>
                  <a:lnTo>
                    <a:pt x="743" y="8"/>
                  </a:lnTo>
                  <a:lnTo>
                    <a:pt x="744" y="12"/>
                  </a:lnTo>
                  <a:lnTo>
                    <a:pt x="744" y="17"/>
                  </a:lnTo>
                  <a:lnTo>
                    <a:pt x="742" y="22"/>
                  </a:lnTo>
                  <a:lnTo>
                    <a:pt x="475" y="402"/>
                  </a:lnTo>
                  <a:lnTo>
                    <a:pt x="473" y="404"/>
                  </a:lnTo>
                  <a:lnTo>
                    <a:pt x="470" y="406"/>
                  </a:lnTo>
                  <a:lnTo>
                    <a:pt x="19" y="606"/>
                  </a:lnTo>
                  <a:lnTo>
                    <a:pt x="15" y="606"/>
                  </a:lnTo>
                  <a:lnTo>
                    <a:pt x="13" y="607"/>
                  </a:lnTo>
                  <a:close/>
                  <a:moveTo>
                    <a:pt x="665" y="84"/>
                  </a:moveTo>
                  <a:lnTo>
                    <a:pt x="665" y="84"/>
                  </a:lnTo>
                  <a:lnTo>
                    <a:pt x="101" y="540"/>
                  </a:lnTo>
                  <a:lnTo>
                    <a:pt x="456" y="383"/>
                  </a:lnTo>
                  <a:lnTo>
                    <a:pt x="665" y="8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214"/>
            <p:cNvSpPr>
              <a:spLocks noEditPoints="1"/>
            </p:cNvSpPr>
            <p:nvPr userDrawn="1"/>
          </p:nvSpPr>
          <p:spPr bwMode="auto">
            <a:xfrm>
              <a:off x="3692525" y="1847850"/>
              <a:ext cx="152400" cy="212725"/>
            </a:xfrm>
            <a:custGeom>
              <a:avLst/>
              <a:gdLst>
                <a:gd name="T0" fmla="*/ 13 w 288"/>
                <a:gd name="T1" fmla="*/ 400 h 400"/>
                <a:gd name="T2" fmla="*/ 9 w 288"/>
                <a:gd name="T3" fmla="*/ 399 h 400"/>
                <a:gd name="T4" fmla="*/ 7 w 288"/>
                <a:gd name="T5" fmla="*/ 399 h 400"/>
                <a:gd name="T6" fmla="*/ 3 w 288"/>
                <a:gd name="T7" fmla="*/ 396 h 400"/>
                <a:gd name="T8" fmla="*/ 1 w 288"/>
                <a:gd name="T9" fmla="*/ 392 h 400"/>
                <a:gd name="T10" fmla="*/ 0 w 288"/>
                <a:gd name="T11" fmla="*/ 388 h 400"/>
                <a:gd name="T12" fmla="*/ 0 w 288"/>
                <a:gd name="T13" fmla="*/ 383 h 400"/>
                <a:gd name="T14" fmla="*/ 111 w 288"/>
                <a:gd name="T15" fmla="*/ 10 h 400"/>
                <a:gd name="T16" fmla="*/ 113 w 288"/>
                <a:gd name="T17" fmla="*/ 5 h 400"/>
                <a:gd name="T18" fmla="*/ 116 w 288"/>
                <a:gd name="T19" fmla="*/ 2 h 400"/>
                <a:gd name="T20" fmla="*/ 120 w 288"/>
                <a:gd name="T21" fmla="*/ 0 h 400"/>
                <a:gd name="T22" fmla="*/ 124 w 288"/>
                <a:gd name="T23" fmla="*/ 0 h 400"/>
                <a:gd name="T24" fmla="*/ 275 w 288"/>
                <a:gd name="T25" fmla="*/ 5 h 400"/>
                <a:gd name="T26" fmla="*/ 279 w 288"/>
                <a:gd name="T27" fmla="*/ 6 h 400"/>
                <a:gd name="T28" fmla="*/ 283 w 288"/>
                <a:gd name="T29" fmla="*/ 8 h 400"/>
                <a:gd name="T30" fmla="*/ 285 w 288"/>
                <a:gd name="T31" fmla="*/ 10 h 400"/>
                <a:gd name="T32" fmla="*/ 287 w 288"/>
                <a:gd name="T33" fmla="*/ 13 h 400"/>
                <a:gd name="T34" fmla="*/ 288 w 288"/>
                <a:gd name="T35" fmla="*/ 16 h 400"/>
                <a:gd name="T36" fmla="*/ 288 w 288"/>
                <a:gd name="T37" fmla="*/ 20 h 400"/>
                <a:gd name="T38" fmla="*/ 288 w 288"/>
                <a:gd name="T39" fmla="*/ 24 h 400"/>
                <a:gd name="T40" fmla="*/ 286 w 288"/>
                <a:gd name="T41" fmla="*/ 27 h 400"/>
                <a:gd name="T42" fmla="*/ 23 w 288"/>
                <a:gd name="T43" fmla="*/ 395 h 400"/>
                <a:gd name="T44" fmla="*/ 21 w 288"/>
                <a:gd name="T45" fmla="*/ 397 h 400"/>
                <a:gd name="T46" fmla="*/ 19 w 288"/>
                <a:gd name="T47" fmla="*/ 398 h 400"/>
                <a:gd name="T48" fmla="*/ 16 w 288"/>
                <a:gd name="T49" fmla="*/ 399 h 400"/>
                <a:gd name="T50" fmla="*/ 13 w 288"/>
                <a:gd name="T51" fmla="*/ 400 h 400"/>
                <a:gd name="T52" fmla="*/ 134 w 288"/>
                <a:gd name="T53" fmla="*/ 27 h 400"/>
                <a:gd name="T54" fmla="*/ 134 w 288"/>
                <a:gd name="T55" fmla="*/ 27 h 400"/>
                <a:gd name="T56" fmla="*/ 48 w 288"/>
                <a:gd name="T57" fmla="*/ 313 h 400"/>
                <a:gd name="T58" fmla="*/ 249 w 288"/>
                <a:gd name="T59" fmla="*/ 31 h 400"/>
                <a:gd name="T60" fmla="*/ 134 w 288"/>
                <a:gd name="T61" fmla="*/ 2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400">
                  <a:moveTo>
                    <a:pt x="13" y="400"/>
                  </a:moveTo>
                  <a:lnTo>
                    <a:pt x="9" y="399"/>
                  </a:lnTo>
                  <a:lnTo>
                    <a:pt x="7" y="399"/>
                  </a:lnTo>
                  <a:lnTo>
                    <a:pt x="3" y="396"/>
                  </a:lnTo>
                  <a:lnTo>
                    <a:pt x="1" y="392"/>
                  </a:lnTo>
                  <a:lnTo>
                    <a:pt x="0" y="388"/>
                  </a:lnTo>
                  <a:lnTo>
                    <a:pt x="0" y="383"/>
                  </a:lnTo>
                  <a:lnTo>
                    <a:pt x="111" y="10"/>
                  </a:lnTo>
                  <a:lnTo>
                    <a:pt x="113" y="5"/>
                  </a:lnTo>
                  <a:lnTo>
                    <a:pt x="116" y="2"/>
                  </a:lnTo>
                  <a:lnTo>
                    <a:pt x="120" y="0"/>
                  </a:lnTo>
                  <a:lnTo>
                    <a:pt x="124" y="0"/>
                  </a:lnTo>
                  <a:lnTo>
                    <a:pt x="275" y="5"/>
                  </a:lnTo>
                  <a:lnTo>
                    <a:pt x="279" y="6"/>
                  </a:lnTo>
                  <a:lnTo>
                    <a:pt x="283" y="8"/>
                  </a:lnTo>
                  <a:lnTo>
                    <a:pt x="285" y="10"/>
                  </a:lnTo>
                  <a:lnTo>
                    <a:pt x="287" y="13"/>
                  </a:lnTo>
                  <a:lnTo>
                    <a:pt x="288" y="16"/>
                  </a:lnTo>
                  <a:lnTo>
                    <a:pt x="288" y="20"/>
                  </a:lnTo>
                  <a:lnTo>
                    <a:pt x="288" y="24"/>
                  </a:lnTo>
                  <a:lnTo>
                    <a:pt x="286" y="27"/>
                  </a:lnTo>
                  <a:lnTo>
                    <a:pt x="23" y="395"/>
                  </a:lnTo>
                  <a:lnTo>
                    <a:pt x="21" y="397"/>
                  </a:lnTo>
                  <a:lnTo>
                    <a:pt x="19" y="398"/>
                  </a:lnTo>
                  <a:lnTo>
                    <a:pt x="16" y="399"/>
                  </a:lnTo>
                  <a:lnTo>
                    <a:pt x="13" y="400"/>
                  </a:lnTo>
                  <a:close/>
                  <a:moveTo>
                    <a:pt x="134" y="27"/>
                  </a:moveTo>
                  <a:lnTo>
                    <a:pt x="134" y="27"/>
                  </a:lnTo>
                  <a:lnTo>
                    <a:pt x="48" y="313"/>
                  </a:lnTo>
                  <a:lnTo>
                    <a:pt x="249" y="31"/>
                  </a:lnTo>
                  <a:lnTo>
                    <a:pt x="134" y="2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215"/>
            <p:cNvSpPr>
              <a:spLocks noEditPoints="1"/>
            </p:cNvSpPr>
            <p:nvPr userDrawn="1"/>
          </p:nvSpPr>
          <p:spPr bwMode="auto">
            <a:xfrm>
              <a:off x="3998913" y="1905000"/>
              <a:ext cx="277813" cy="344488"/>
            </a:xfrm>
            <a:custGeom>
              <a:avLst/>
              <a:gdLst>
                <a:gd name="T0" fmla="*/ 12 w 525"/>
                <a:gd name="T1" fmla="*/ 652 h 652"/>
                <a:gd name="T2" fmla="*/ 8 w 525"/>
                <a:gd name="T3" fmla="*/ 652 h 652"/>
                <a:gd name="T4" fmla="*/ 5 w 525"/>
                <a:gd name="T5" fmla="*/ 650 h 652"/>
                <a:gd name="T6" fmla="*/ 2 w 525"/>
                <a:gd name="T7" fmla="*/ 646 h 652"/>
                <a:gd name="T8" fmla="*/ 0 w 525"/>
                <a:gd name="T9" fmla="*/ 642 h 652"/>
                <a:gd name="T10" fmla="*/ 0 w 525"/>
                <a:gd name="T11" fmla="*/ 638 h 652"/>
                <a:gd name="T12" fmla="*/ 1 w 525"/>
                <a:gd name="T13" fmla="*/ 632 h 652"/>
                <a:gd name="T14" fmla="*/ 308 w 525"/>
                <a:gd name="T15" fmla="*/ 7 h 652"/>
                <a:gd name="T16" fmla="*/ 312 w 525"/>
                <a:gd name="T17" fmla="*/ 3 h 652"/>
                <a:gd name="T18" fmla="*/ 315 w 525"/>
                <a:gd name="T19" fmla="*/ 1 h 652"/>
                <a:gd name="T20" fmla="*/ 320 w 525"/>
                <a:gd name="T21" fmla="*/ 0 h 652"/>
                <a:gd name="T22" fmla="*/ 325 w 525"/>
                <a:gd name="T23" fmla="*/ 0 h 652"/>
                <a:gd name="T24" fmla="*/ 334 w 525"/>
                <a:gd name="T25" fmla="*/ 3 h 652"/>
                <a:gd name="T26" fmla="*/ 356 w 525"/>
                <a:gd name="T27" fmla="*/ 9 h 652"/>
                <a:gd name="T28" fmla="*/ 385 w 525"/>
                <a:gd name="T29" fmla="*/ 18 h 652"/>
                <a:gd name="T30" fmla="*/ 418 w 525"/>
                <a:gd name="T31" fmla="*/ 28 h 652"/>
                <a:gd name="T32" fmla="*/ 452 w 525"/>
                <a:gd name="T33" fmla="*/ 39 h 652"/>
                <a:gd name="T34" fmla="*/ 482 w 525"/>
                <a:gd name="T35" fmla="*/ 47 h 652"/>
                <a:gd name="T36" fmla="*/ 505 w 525"/>
                <a:gd name="T37" fmla="*/ 54 h 652"/>
                <a:gd name="T38" fmla="*/ 517 w 525"/>
                <a:gd name="T39" fmla="*/ 58 h 652"/>
                <a:gd name="T40" fmla="*/ 519 w 525"/>
                <a:gd name="T41" fmla="*/ 59 h 652"/>
                <a:gd name="T42" fmla="*/ 522 w 525"/>
                <a:gd name="T43" fmla="*/ 61 h 652"/>
                <a:gd name="T44" fmla="*/ 523 w 525"/>
                <a:gd name="T45" fmla="*/ 65 h 652"/>
                <a:gd name="T46" fmla="*/ 525 w 525"/>
                <a:gd name="T47" fmla="*/ 67 h 652"/>
                <a:gd name="T48" fmla="*/ 525 w 525"/>
                <a:gd name="T49" fmla="*/ 71 h 652"/>
                <a:gd name="T50" fmla="*/ 525 w 525"/>
                <a:gd name="T51" fmla="*/ 74 h 652"/>
                <a:gd name="T52" fmla="*/ 524 w 525"/>
                <a:gd name="T53" fmla="*/ 76 h 652"/>
                <a:gd name="T54" fmla="*/ 522 w 525"/>
                <a:gd name="T55" fmla="*/ 80 h 652"/>
                <a:gd name="T56" fmla="*/ 22 w 525"/>
                <a:gd name="T57" fmla="*/ 647 h 652"/>
                <a:gd name="T58" fmla="*/ 20 w 525"/>
                <a:gd name="T59" fmla="*/ 650 h 652"/>
                <a:gd name="T60" fmla="*/ 18 w 525"/>
                <a:gd name="T61" fmla="*/ 651 h 652"/>
                <a:gd name="T62" fmla="*/ 16 w 525"/>
                <a:gd name="T63" fmla="*/ 652 h 652"/>
                <a:gd name="T64" fmla="*/ 12 w 525"/>
                <a:gd name="T65" fmla="*/ 652 h 652"/>
                <a:gd name="T66" fmla="*/ 328 w 525"/>
                <a:gd name="T67" fmla="*/ 29 h 652"/>
                <a:gd name="T68" fmla="*/ 328 w 525"/>
                <a:gd name="T69" fmla="*/ 29 h 652"/>
                <a:gd name="T70" fmla="*/ 70 w 525"/>
                <a:gd name="T71" fmla="*/ 552 h 652"/>
                <a:gd name="T72" fmla="*/ 488 w 525"/>
                <a:gd name="T73" fmla="*/ 77 h 652"/>
                <a:gd name="T74" fmla="*/ 453 w 525"/>
                <a:gd name="T75" fmla="*/ 67 h 652"/>
                <a:gd name="T76" fmla="*/ 410 w 525"/>
                <a:gd name="T77" fmla="*/ 54 h 652"/>
                <a:gd name="T78" fmla="*/ 366 w 525"/>
                <a:gd name="T79" fmla="*/ 41 h 652"/>
                <a:gd name="T80" fmla="*/ 328 w 525"/>
                <a:gd name="T81" fmla="*/ 2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5" h="652">
                  <a:moveTo>
                    <a:pt x="12" y="652"/>
                  </a:moveTo>
                  <a:lnTo>
                    <a:pt x="8" y="652"/>
                  </a:lnTo>
                  <a:lnTo>
                    <a:pt x="5" y="650"/>
                  </a:lnTo>
                  <a:lnTo>
                    <a:pt x="2" y="646"/>
                  </a:lnTo>
                  <a:lnTo>
                    <a:pt x="0" y="642"/>
                  </a:lnTo>
                  <a:lnTo>
                    <a:pt x="0" y="638"/>
                  </a:lnTo>
                  <a:lnTo>
                    <a:pt x="1" y="632"/>
                  </a:lnTo>
                  <a:lnTo>
                    <a:pt x="308" y="7"/>
                  </a:lnTo>
                  <a:lnTo>
                    <a:pt x="312" y="3"/>
                  </a:lnTo>
                  <a:lnTo>
                    <a:pt x="315" y="1"/>
                  </a:lnTo>
                  <a:lnTo>
                    <a:pt x="320" y="0"/>
                  </a:lnTo>
                  <a:lnTo>
                    <a:pt x="325" y="0"/>
                  </a:lnTo>
                  <a:lnTo>
                    <a:pt x="334" y="3"/>
                  </a:lnTo>
                  <a:lnTo>
                    <a:pt x="356" y="9"/>
                  </a:lnTo>
                  <a:lnTo>
                    <a:pt x="385" y="18"/>
                  </a:lnTo>
                  <a:lnTo>
                    <a:pt x="418" y="28"/>
                  </a:lnTo>
                  <a:lnTo>
                    <a:pt x="452" y="39"/>
                  </a:lnTo>
                  <a:lnTo>
                    <a:pt x="482" y="47"/>
                  </a:lnTo>
                  <a:lnTo>
                    <a:pt x="505" y="54"/>
                  </a:lnTo>
                  <a:lnTo>
                    <a:pt x="517" y="58"/>
                  </a:lnTo>
                  <a:lnTo>
                    <a:pt x="519" y="59"/>
                  </a:lnTo>
                  <a:lnTo>
                    <a:pt x="522" y="61"/>
                  </a:lnTo>
                  <a:lnTo>
                    <a:pt x="523" y="65"/>
                  </a:lnTo>
                  <a:lnTo>
                    <a:pt x="525" y="67"/>
                  </a:lnTo>
                  <a:lnTo>
                    <a:pt x="525" y="71"/>
                  </a:lnTo>
                  <a:lnTo>
                    <a:pt x="525" y="74"/>
                  </a:lnTo>
                  <a:lnTo>
                    <a:pt x="524" y="76"/>
                  </a:lnTo>
                  <a:lnTo>
                    <a:pt x="522" y="80"/>
                  </a:lnTo>
                  <a:lnTo>
                    <a:pt x="22" y="647"/>
                  </a:lnTo>
                  <a:lnTo>
                    <a:pt x="20" y="650"/>
                  </a:lnTo>
                  <a:lnTo>
                    <a:pt x="18" y="651"/>
                  </a:lnTo>
                  <a:lnTo>
                    <a:pt x="16" y="652"/>
                  </a:lnTo>
                  <a:lnTo>
                    <a:pt x="12" y="652"/>
                  </a:lnTo>
                  <a:close/>
                  <a:moveTo>
                    <a:pt x="328" y="29"/>
                  </a:moveTo>
                  <a:lnTo>
                    <a:pt x="328" y="29"/>
                  </a:lnTo>
                  <a:lnTo>
                    <a:pt x="70" y="552"/>
                  </a:lnTo>
                  <a:lnTo>
                    <a:pt x="488" y="77"/>
                  </a:lnTo>
                  <a:lnTo>
                    <a:pt x="453" y="67"/>
                  </a:lnTo>
                  <a:lnTo>
                    <a:pt x="410" y="54"/>
                  </a:lnTo>
                  <a:lnTo>
                    <a:pt x="366" y="41"/>
                  </a:lnTo>
                  <a:lnTo>
                    <a:pt x="328" y="2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216"/>
            <p:cNvSpPr>
              <a:spLocks noEditPoints="1"/>
            </p:cNvSpPr>
            <p:nvPr userDrawn="1"/>
          </p:nvSpPr>
          <p:spPr bwMode="auto">
            <a:xfrm>
              <a:off x="4137025" y="1978025"/>
              <a:ext cx="241300" cy="515938"/>
            </a:xfrm>
            <a:custGeom>
              <a:avLst/>
              <a:gdLst>
                <a:gd name="T0" fmla="*/ 13 w 456"/>
                <a:gd name="T1" fmla="*/ 976 h 976"/>
                <a:gd name="T2" fmla="*/ 12 w 456"/>
                <a:gd name="T3" fmla="*/ 975 h 976"/>
                <a:gd name="T4" fmla="*/ 10 w 456"/>
                <a:gd name="T5" fmla="*/ 975 h 976"/>
                <a:gd name="T6" fmla="*/ 5 w 456"/>
                <a:gd name="T7" fmla="*/ 973 h 976"/>
                <a:gd name="T8" fmla="*/ 2 w 456"/>
                <a:gd name="T9" fmla="*/ 969 h 976"/>
                <a:gd name="T10" fmla="*/ 0 w 456"/>
                <a:gd name="T11" fmla="*/ 965 h 976"/>
                <a:gd name="T12" fmla="*/ 0 w 456"/>
                <a:gd name="T13" fmla="*/ 961 h 976"/>
                <a:gd name="T14" fmla="*/ 76 w 456"/>
                <a:gd name="T15" fmla="*/ 207 h 976"/>
                <a:gd name="T16" fmla="*/ 77 w 456"/>
                <a:gd name="T17" fmla="*/ 204 h 976"/>
                <a:gd name="T18" fmla="*/ 78 w 456"/>
                <a:gd name="T19" fmla="*/ 202 h 976"/>
                <a:gd name="T20" fmla="*/ 80 w 456"/>
                <a:gd name="T21" fmla="*/ 199 h 976"/>
                <a:gd name="T22" fmla="*/ 83 w 456"/>
                <a:gd name="T23" fmla="*/ 198 h 976"/>
                <a:gd name="T24" fmla="*/ 436 w 456"/>
                <a:gd name="T25" fmla="*/ 2 h 976"/>
                <a:gd name="T26" fmla="*/ 440 w 456"/>
                <a:gd name="T27" fmla="*/ 0 h 976"/>
                <a:gd name="T28" fmla="*/ 444 w 456"/>
                <a:gd name="T29" fmla="*/ 0 h 976"/>
                <a:gd name="T30" fmla="*/ 448 w 456"/>
                <a:gd name="T31" fmla="*/ 1 h 976"/>
                <a:gd name="T32" fmla="*/ 451 w 456"/>
                <a:gd name="T33" fmla="*/ 3 h 976"/>
                <a:gd name="T34" fmla="*/ 455 w 456"/>
                <a:gd name="T35" fmla="*/ 6 h 976"/>
                <a:gd name="T36" fmla="*/ 456 w 456"/>
                <a:gd name="T37" fmla="*/ 11 h 976"/>
                <a:gd name="T38" fmla="*/ 456 w 456"/>
                <a:gd name="T39" fmla="*/ 15 h 976"/>
                <a:gd name="T40" fmla="*/ 455 w 456"/>
                <a:gd name="T41" fmla="*/ 19 h 976"/>
                <a:gd name="T42" fmla="*/ 26 w 456"/>
                <a:gd name="T43" fmla="*/ 967 h 976"/>
                <a:gd name="T44" fmla="*/ 24 w 456"/>
                <a:gd name="T45" fmla="*/ 970 h 976"/>
                <a:gd name="T46" fmla="*/ 20 w 456"/>
                <a:gd name="T47" fmla="*/ 974 h 976"/>
                <a:gd name="T48" fmla="*/ 17 w 456"/>
                <a:gd name="T49" fmla="*/ 975 h 976"/>
                <a:gd name="T50" fmla="*/ 13 w 456"/>
                <a:gd name="T51" fmla="*/ 976 h 976"/>
                <a:gd name="T52" fmla="*/ 101 w 456"/>
                <a:gd name="T53" fmla="*/ 217 h 976"/>
                <a:gd name="T54" fmla="*/ 101 w 456"/>
                <a:gd name="T55" fmla="*/ 217 h 976"/>
                <a:gd name="T56" fmla="*/ 34 w 456"/>
                <a:gd name="T57" fmla="*/ 881 h 976"/>
                <a:gd name="T58" fmla="*/ 413 w 456"/>
                <a:gd name="T59" fmla="*/ 45 h 976"/>
                <a:gd name="T60" fmla="*/ 101 w 456"/>
                <a:gd name="T61" fmla="*/ 217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976">
                  <a:moveTo>
                    <a:pt x="13" y="976"/>
                  </a:moveTo>
                  <a:lnTo>
                    <a:pt x="12" y="975"/>
                  </a:lnTo>
                  <a:lnTo>
                    <a:pt x="10" y="975"/>
                  </a:lnTo>
                  <a:lnTo>
                    <a:pt x="5" y="973"/>
                  </a:lnTo>
                  <a:lnTo>
                    <a:pt x="2" y="969"/>
                  </a:lnTo>
                  <a:lnTo>
                    <a:pt x="0" y="965"/>
                  </a:lnTo>
                  <a:lnTo>
                    <a:pt x="0" y="961"/>
                  </a:lnTo>
                  <a:lnTo>
                    <a:pt x="76" y="207"/>
                  </a:lnTo>
                  <a:lnTo>
                    <a:pt x="77" y="204"/>
                  </a:lnTo>
                  <a:lnTo>
                    <a:pt x="78" y="202"/>
                  </a:lnTo>
                  <a:lnTo>
                    <a:pt x="80" y="199"/>
                  </a:lnTo>
                  <a:lnTo>
                    <a:pt x="83" y="198"/>
                  </a:lnTo>
                  <a:lnTo>
                    <a:pt x="436" y="2"/>
                  </a:lnTo>
                  <a:lnTo>
                    <a:pt x="440" y="0"/>
                  </a:lnTo>
                  <a:lnTo>
                    <a:pt x="444" y="0"/>
                  </a:lnTo>
                  <a:lnTo>
                    <a:pt x="448" y="1"/>
                  </a:lnTo>
                  <a:lnTo>
                    <a:pt x="451" y="3"/>
                  </a:lnTo>
                  <a:lnTo>
                    <a:pt x="455" y="6"/>
                  </a:lnTo>
                  <a:lnTo>
                    <a:pt x="456" y="11"/>
                  </a:lnTo>
                  <a:lnTo>
                    <a:pt x="456" y="15"/>
                  </a:lnTo>
                  <a:lnTo>
                    <a:pt x="455" y="19"/>
                  </a:lnTo>
                  <a:lnTo>
                    <a:pt x="26" y="967"/>
                  </a:lnTo>
                  <a:lnTo>
                    <a:pt x="24" y="970"/>
                  </a:lnTo>
                  <a:lnTo>
                    <a:pt x="20" y="974"/>
                  </a:lnTo>
                  <a:lnTo>
                    <a:pt x="17" y="975"/>
                  </a:lnTo>
                  <a:lnTo>
                    <a:pt x="13" y="976"/>
                  </a:lnTo>
                  <a:close/>
                  <a:moveTo>
                    <a:pt x="101" y="217"/>
                  </a:moveTo>
                  <a:lnTo>
                    <a:pt x="101" y="217"/>
                  </a:lnTo>
                  <a:lnTo>
                    <a:pt x="34" y="881"/>
                  </a:lnTo>
                  <a:lnTo>
                    <a:pt x="413" y="45"/>
                  </a:lnTo>
                  <a:lnTo>
                    <a:pt x="101" y="21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217"/>
            <p:cNvSpPr>
              <a:spLocks noEditPoints="1"/>
            </p:cNvSpPr>
            <p:nvPr userDrawn="1"/>
          </p:nvSpPr>
          <p:spPr bwMode="auto">
            <a:xfrm>
              <a:off x="3938588" y="2081213"/>
              <a:ext cx="254000" cy="419100"/>
            </a:xfrm>
            <a:custGeom>
              <a:avLst/>
              <a:gdLst>
                <a:gd name="T0" fmla="*/ 14 w 480"/>
                <a:gd name="T1" fmla="*/ 792 h 792"/>
                <a:gd name="T2" fmla="*/ 11 w 480"/>
                <a:gd name="T3" fmla="*/ 791 h 792"/>
                <a:gd name="T4" fmla="*/ 8 w 480"/>
                <a:gd name="T5" fmla="*/ 790 h 792"/>
                <a:gd name="T6" fmla="*/ 4 w 480"/>
                <a:gd name="T7" fmla="*/ 787 h 792"/>
                <a:gd name="T8" fmla="*/ 2 w 480"/>
                <a:gd name="T9" fmla="*/ 785 h 792"/>
                <a:gd name="T10" fmla="*/ 1 w 480"/>
                <a:gd name="T11" fmla="*/ 782 h 792"/>
                <a:gd name="T12" fmla="*/ 0 w 480"/>
                <a:gd name="T13" fmla="*/ 778 h 792"/>
                <a:gd name="T14" fmla="*/ 1 w 480"/>
                <a:gd name="T15" fmla="*/ 774 h 792"/>
                <a:gd name="T16" fmla="*/ 2 w 480"/>
                <a:gd name="T17" fmla="*/ 771 h 792"/>
                <a:gd name="T18" fmla="*/ 455 w 480"/>
                <a:gd name="T19" fmla="*/ 7 h 792"/>
                <a:gd name="T20" fmla="*/ 458 w 480"/>
                <a:gd name="T21" fmla="*/ 4 h 792"/>
                <a:gd name="T22" fmla="*/ 462 w 480"/>
                <a:gd name="T23" fmla="*/ 1 h 792"/>
                <a:gd name="T24" fmla="*/ 468 w 480"/>
                <a:gd name="T25" fmla="*/ 0 h 792"/>
                <a:gd name="T26" fmla="*/ 472 w 480"/>
                <a:gd name="T27" fmla="*/ 1 h 792"/>
                <a:gd name="T28" fmla="*/ 476 w 480"/>
                <a:gd name="T29" fmla="*/ 5 h 792"/>
                <a:gd name="T30" fmla="*/ 478 w 480"/>
                <a:gd name="T31" fmla="*/ 9 h 792"/>
                <a:gd name="T32" fmla="*/ 480 w 480"/>
                <a:gd name="T33" fmla="*/ 13 h 792"/>
                <a:gd name="T34" fmla="*/ 478 w 480"/>
                <a:gd name="T35" fmla="*/ 19 h 792"/>
                <a:gd name="T36" fmla="*/ 178 w 480"/>
                <a:gd name="T37" fmla="*/ 779 h 792"/>
                <a:gd name="T38" fmla="*/ 177 w 480"/>
                <a:gd name="T39" fmla="*/ 782 h 792"/>
                <a:gd name="T40" fmla="*/ 174 w 480"/>
                <a:gd name="T41" fmla="*/ 784 h 792"/>
                <a:gd name="T42" fmla="*/ 171 w 480"/>
                <a:gd name="T43" fmla="*/ 786 h 792"/>
                <a:gd name="T44" fmla="*/ 166 w 480"/>
                <a:gd name="T45" fmla="*/ 787 h 792"/>
                <a:gd name="T46" fmla="*/ 14 w 480"/>
                <a:gd name="T47" fmla="*/ 792 h 792"/>
                <a:gd name="T48" fmla="*/ 14 w 480"/>
                <a:gd name="T49" fmla="*/ 792 h 792"/>
                <a:gd name="T50" fmla="*/ 14 w 480"/>
                <a:gd name="T51" fmla="*/ 792 h 792"/>
                <a:gd name="T52" fmla="*/ 391 w 480"/>
                <a:gd name="T53" fmla="*/ 168 h 792"/>
                <a:gd name="T54" fmla="*/ 391 w 480"/>
                <a:gd name="T55" fmla="*/ 168 h 792"/>
                <a:gd name="T56" fmla="*/ 38 w 480"/>
                <a:gd name="T57" fmla="*/ 764 h 792"/>
                <a:gd name="T58" fmla="*/ 157 w 480"/>
                <a:gd name="T59" fmla="*/ 760 h 792"/>
                <a:gd name="T60" fmla="*/ 391 w 480"/>
                <a:gd name="T61" fmla="*/ 16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0" h="792">
                  <a:moveTo>
                    <a:pt x="14" y="792"/>
                  </a:moveTo>
                  <a:lnTo>
                    <a:pt x="11" y="791"/>
                  </a:lnTo>
                  <a:lnTo>
                    <a:pt x="8" y="790"/>
                  </a:lnTo>
                  <a:lnTo>
                    <a:pt x="4" y="787"/>
                  </a:lnTo>
                  <a:lnTo>
                    <a:pt x="2" y="785"/>
                  </a:lnTo>
                  <a:lnTo>
                    <a:pt x="1" y="782"/>
                  </a:lnTo>
                  <a:lnTo>
                    <a:pt x="0" y="778"/>
                  </a:lnTo>
                  <a:lnTo>
                    <a:pt x="1" y="774"/>
                  </a:lnTo>
                  <a:lnTo>
                    <a:pt x="2" y="771"/>
                  </a:lnTo>
                  <a:lnTo>
                    <a:pt x="455" y="7"/>
                  </a:lnTo>
                  <a:lnTo>
                    <a:pt x="458" y="4"/>
                  </a:lnTo>
                  <a:lnTo>
                    <a:pt x="462" y="1"/>
                  </a:lnTo>
                  <a:lnTo>
                    <a:pt x="468" y="0"/>
                  </a:lnTo>
                  <a:lnTo>
                    <a:pt x="472" y="1"/>
                  </a:lnTo>
                  <a:lnTo>
                    <a:pt x="476" y="5"/>
                  </a:lnTo>
                  <a:lnTo>
                    <a:pt x="478" y="9"/>
                  </a:lnTo>
                  <a:lnTo>
                    <a:pt x="480" y="13"/>
                  </a:lnTo>
                  <a:lnTo>
                    <a:pt x="478" y="19"/>
                  </a:lnTo>
                  <a:lnTo>
                    <a:pt x="178" y="779"/>
                  </a:lnTo>
                  <a:lnTo>
                    <a:pt x="177" y="782"/>
                  </a:lnTo>
                  <a:lnTo>
                    <a:pt x="174" y="784"/>
                  </a:lnTo>
                  <a:lnTo>
                    <a:pt x="171" y="786"/>
                  </a:lnTo>
                  <a:lnTo>
                    <a:pt x="166" y="787"/>
                  </a:lnTo>
                  <a:lnTo>
                    <a:pt x="14" y="792"/>
                  </a:lnTo>
                  <a:lnTo>
                    <a:pt x="14" y="792"/>
                  </a:lnTo>
                  <a:lnTo>
                    <a:pt x="14" y="792"/>
                  </a:lnTo>
                  <a:close/>
                  <a:moveTo>
                    <a:pt x="391" y="168"/>
                  </a:moveTo>
                  <a:lnTo>
                    <a:pt x="391" y="168"/>
                  </a:lnTo>
                  <a:lnTo>
                    <a:pt x="38" y="764"/>
                  </a:lnTo>
                  <a:lnTo>
                    <a:pt x="157" y="760"/>
                  </a:lnTo>
                  <a:lnTo>
                    <a:pt x="391" y="168"/>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218"/>
            <p:cNvSpPr>
              <a:spLocks noEditPoints="1"/>
            </p:cNvSpPr>
            <p:nvPr userDrawn="1"/>
          </p:nvSpPr>
          <p:spPr bwMode="auto">
            <a:xfrm>
              <a:off x="4137025" y="1978025"/>
              <a:ext cx="319088" cy="515938"/>
            </a:xfrm>
            <a:custGeom>
              <a:avLst/>
              <a:gdLst>
                <a:gd name="T0" fmla="*/ 13 w 602"/>
                <a:gd name="T1" fmla="*/ 976 h 976"/>
                <a:gd name="T2" fmla="*/ 10 w 602"/>
                <a:gd name="T3" fmla="*/ 975 h 976"/>
                <a:gd name="T4" fmla="*/ 6 w 602"/>
                <a:gd name="T5" fmla="*/ 974 h 976"/>
                <a:gd name="T6" fmla="*/ 2 w 602"/>
                <a:gd name="T7" fmla="*/ 970 h 976"/>
                <a:gd name="T8" fmla="*/ 0 w 602"/>
                <a:gd name="T9" fmla="*/ 966 h 976"/>
                <a:gd name="T10" fmla="*/ 0 w 602"/>
                <a:gd name="T11" fmla="*/ 962 h 976"/>
                <a:gd name="T12" fmla="*/ 1 w 602"/>
                <a:gd name="T13" fmla="*/ 956 h 976"/>
                <a:gd name="T14" fmla="*/ 431 w 602"/>
                <a:gd name="T15" fmla="*/ 8 h 976"/>
                <a:gd name="T16" fmla="*/ 432 w 602"/>
                <a:gd name="T17" fmla="*/ 5 h 976"/>
                <a:gd name="T18" fmla="*/ 434 w 602"/>
                <a:gd name="T19" fmla="*/ 3 h 976"/>
                <a:gd name="T20" fmla="*/ 436 w 602"/>
                <a:gd name="T21" fmla="*/ 2 h 976"/>
                <a:gd name="T22" fmla="*/ 438 w 602"/>
                <a:gd name="T23" fmla="*/ 1 h 976"/>
                <a:gd name="T24" fmla="*/ 442 w 602"/>
                <a:gd name="T25" fmla="*/ 0 h 976"/>
                <a:gd name="T26" fmla="*/ 444 w 602"/>
                <a:gd name="T27" fmla="*/ 0 h 976"/>
                <a:gd name="T28" fmla="*/ 447 w 602"/>
                <a:gd name="T29" fmla="*/ 1 h 976"/>
                <a:gd name="T30" fmla="*/ 449 w 602"/>
                <a:gd name="T31" fmla="*/ 2 h 976"/>
                <a:gd name="T32" fmla="*/ 596 w 602"/>
                <a:gd name="T33" fmla="*/ 91 h 976"/>
                <a:gd name="T34" fmla="*/ 598 w 602"/>
                <a:gd name="T35" fmla="*/ 92 h 976"/>
                <a:gd name="T36" fmla="*/ 600 w 602"/>
                <a:gd name="T37" fmla="*/ 94 h 976"/>
                <a:gd name="T38" fmla="*/ 601 w 602"/>
                <a:gd name="T39" fmla="*/ 96 h 976"/>
                <a:gd name="T40" fmla="*/ 602 w 602"/>
                <a:gd name="T41" fmla="*/ 99 h 976"/>
                <a:gd name="T42" fmla="*/ 602 w 602"/>
                <a:gd name="T43" fmla="*/ 101 h 976"/>
                <a:gd name="T44" fmla="*/ 602 w 602"/>
                <a:gd name="T45" fmla="*/ 105 h 976"/>
                <a:gd name="T46" fmla="*/ 601 w 602"/>
                <a:gd name="T47" fmla="*/ 107 h 976"/>
                <a:gd name="T48" fmla="*/ 600 w 602"/>
                <a:gd name="T49" fmla="*/ 109 h 976"/>
                <a:gd name="T50" fmla="*/ 25 w 602"/>
                <a:gd name="T51" fmla="*/ 969 h 976"/>
                <a:gd name="T52" fmla="*/ 23 w 602"/>
                <a:gd name="T53" fmla="*/ 972 h 976"/>
                <a:gd name="T54" fmla="*/ 19 w 602"/>
                <a:gd name="T55" fmla="*/ 974 h 976"/>
                <a:gd name="T56" fmla="*/ 16 w 602"/>
                <a:gd name="T57" fmla="*/ 975 h 976"/>
                <a:gd name="T58" fmla="*/ 13 w 602"/>
                <a:gd name="T59" fmla="*/ 976 h 976"/>
                <a:gd name="T60" fmla="*/ 449 w 602"/>
                <a:gd name="T61" fmla="*/ 33 h 976"/>
                <a:gd name="T62" fmla="*/ 449 w 602"/>
                <a:gd name="T63" fmla="*/ 33 h 976"/>
                <a:gd name="T64" fmla="*/ 93 w 602"/>
                <a:gd name="T65" fmla="*/ 818 h 976"/>
                <a:gd name="T66" fmla="*/ 570 w 602"/>
                <a:gd name="T67" fmla="*/ 106 h 976"/>
                <a:gd name="T68" fmla="*/ 449 w 602"/>
                <a:gd name="T69" fmla="*/ 33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2" h="976">
                  <a:moveTo>
                    <a:pt x="13" y="976"/>
                  </a:moveTo>
                  <a:lnTo>
                    <a:pt x="10" y="975"/>
                  </a:lnTo>
                  <a:lnTo>
                    <a:pt x="6" y="974"/>
                  </a:lnTo>
                  <a:lnTo>
                    <a:pt x="2" y="970"/>
                  </a:lnTo>
                  <a:lnTo>
                    <a:pt x="0" y="966"/>
                  </a:lnTo>
                  <a:lnTo>
                    <a:pt x="0" y="962"/>
                  </a:lnTo>
                  <a:lnTo>
                    <a:pt x="1" y="956"/>
                  </a:lnTo>
                  <a:lnTo>
                    <a:pt x="431" y="8"/>
                  </a:lnTo>
                  <a:lnTo>
                    <a:pt x="432" y="5"/>
                  </a:lnTo>
                  <a:lnTo>
                    <a:pt x="434" y="3"/>
                  </a:lnTo>
                  <a:lnTo>
                    <a:pt x="436" y="2"/>
                  </a:lnTo>
                  <a:lnTo>
                    <a:pt x="438" y="1"/>
                  </a:lnTo>
                  <a:lnTo>
                    <a:pt x="442" y="0"/>
                  </a:lnTo>
                  <a:lnTo>
                    <a:pt x="444" y="0"/>
                  </a:lnTo>
                  <a:lnTo>
                    <a:pt x="447" y="1"/>
                  </a:lnTo>
                  <a:lnTo>
                    <a:pt x="449" y="2"/>
                  </a:lnTo>
                  <a:lnTo>
                    <a:pt x="596" y="91"/>
                  </a:lnTo>
                  <a:lnTo>
                    <a:pt x="598" y="92"/>
                  </a:lnTo>
                  <a:lnTo>
                    <a:pt x="600" y="94"/>
                  </a:lnTo>
                  <a:lnTo>
                    <a:pt x="601" y="96"/>
                  </a:lnTo>
                  <a:lnTo>
                    <a:pt x="602" y="99"/>
                  </a:lnTo>
                  <a:lnTo>
                    <a:pt x="602" y="101"/>
                  </a:lnTo>
                  <a:lnTo>
                    <a:pt x="602" y="105"/>
                  </a:lnTo>
                  <a:lnTo>
                    <a:pt x="601" y="107"/>
                  </a:lnTo>
                  <a:lnTo>
                    <a:pt x="600" y="109"/>
                  </a:lnTo>
                  <a:lnTo>
                    <a:pt x="25" y="969"/>
                  </a:lnTo>
                  <a:lnTo>
                    <a:pt x="23" y="972"/>
                  </a:lnTo>
                  <a:lnTo>
                    <a:pt x="19" y="974"/>
                  </a:lnTo>
                  <a:lnTo>
                    <a:pt x="16" y="975"/>
                  </a:lnTo>
                  <a:lnTo>
                    <a:pt x="13" y="976"/>
                  </a:lnTo>
                  <a:close/>
                  <a:moveTo>
                    <a:pt x="449" y="33"/>
                  </a:moveTo>
                  <a:lnTo>
                    <a:pt x="449" y="33"/>
                  </a:lnTo>
                  <a:lnTo>
                    <a:pt x="93" y="818"/>
                  </a:lnTo>
                  <a:lnTo>
                    <a:pt x="570" y="106"/>
                  </a:lnTo>
                  <a:lnTo>
                    <a:pt x="449" y="3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219"/>
            <p:cNvSpPr>
              <a:spLocks noEditPoints="1"/>
            </p:cNvSpPr>
            <p:nvPr userDrawn="1"/>
          </p:nvSpPr>
          <p:spPr bwMode="auto">
            <a:xfrm>
              <a:off x="4137025" y="2214563"/>
              <a:ext cx="192088" cy="301625"/>
            </a:xfrm>
            <a:custGeom>
              <a:avLst/>
              <a:gdLst>
                <a:gd name="T0" fmla="*/ 214 w 362"/>
                <a:gd name="T1" fmla="*/ 568 h 568"/>
                <a:gd name="T2" fmla="*/ 213 w 362"/>
                <a:gd name="T3" fmla="*/ 568 h 568"/>
                <a:gd name="T4" fmla="*/ 210 w 362"/>
                <a:gd name="T5" fmla="*/ 568 h 568"/>
                <a:gd name="T6" fmla="*/ 11 w 362"/>
                <a:gd name="T7" fmla="*/ 527 h 568"/>
                <a:gd name="T8" fmla="*/ 7 w 362"/>
                <a:gd name="T9" fmla="*/ 526 h 568"/>
                <a:gd name="T10" fmla="*/ 4 w 362"/>
                <a:gd name="T11" fmla="*/ 525 h 568"/>
                <a:gd name="T12" fmla="*/ 2 w 362"/>
                <a:gd name="T13" fmla="*/ 522 h 568"/>
                <a:gd name="T14" fmla="*/ 1 w 362"/>
                <a:gd name="T15" fmla="*/ 519 h 568"/>
                <a:gd name="T16" fmla="*/ 0 w 362"/>
                <a:gd name="T17" fmla="*/ 516 h 568"/>
                <a:gd name="T18" fmla="*/ 0 w 362"/>
                <a:gd name="T19" fmla="*/ 513 h 568"/>
                <a:gd name="T20" fmla="*/ 0 w 362"/>
                <a:gd name="T21" fmla="*/ 510 h 568"/>
                <a:gd name="T22" fmla="*/ 2 w 362"/>
                <a:gd name="T23" fmla="*/ 506 h 568"/>
                <a:gd name="T24" fmla="*/ 337 w 362"/>
                <a:gd name="T25" fmla="*/ 6 h 568"/>
                <a:gd name="T26" fmla="*/ 340 w 362"/>
                <a:gd name="T27" fmla="*/ 2 h 568"/>
                <a:gd name="T28" fmla="*/ 344 w 362"/>
                <a:gd name="T29" fmla="*/ 1 h 568"/>
                <a:gd name="T30" fmla="*/ 349 w 362"/>
                <a:gd name="T31" fmla="*/ 0 h 568"/>
                <a:gd name="T32" fmla="*/ 354 w 362"/>
                <a:gd name="T33" fmla="*/ 1 h 568"/>
                <a:gd name="T34" fmla="*/ 357 w 362"/>
                <a:gd name="T35" fmla="*/ 4 h 568"/>
                <a:gd name="T36" fmla="*/ 361 w 362"/>
                <a:gd name="T37" fmla="*/ 8 h 568"/>
                <a:gd name="T38" fmla="*/ 362 w 362"/>
                <a:gd name="T39" fmla="*/ 12 h 568"/>
                <a:gd name="T40" fmla="*/ 362 w 362"/>
                <a:gd name="T41" fmla="*/ 17 h 568"/>
                <a:gd name="T42" fmla="*/ 227 w 362"/>
                <a:gd name="T43" fmla="*/ 558 h 568"/>
                <a:gd name="T44" fmla="*/ 225 w 362"/>
                <a:gd name="T45" fmla="*/ 562 h 568"/>
                <a:gd name="T46" fmla="*/ 222 w 362"/>
                <a:gd name="T47" fmla="*/ 566 h 568"/>
                <a:gd name="T48" fmla="*/ 218 w 362"/>
                <a:gd name="T49" fmla="*/ 567 h 568"/>
                <a:gd name="T50" fmla="*/ 214 w 362"/>
                <a:gd name="T51" fmla="*/ 568 h 568"/>
                <a:gd name="T52" fmla="*/ 36 w 362"/>
                <a:gd name="T53" fmla="*/ 505 h 568"/>
                <a:gd name="T54" fmla="*/ 36 w 362"/>
                <a:gd name="T55" fmla="*/ 505 h 568"/>
                <a:gd name="T56" fmla="*/ 204 w 362"/>
                <a:gd name="T57" fmla="*/ 539 h 568"/>
                <a:gd name="T58" fmla="*/ 316 w 362"/>
                <a:gd name="T59" fmla="*/ 85 h 568"/>
                <a:gd name="T60" fmla="*/ 36 w 362"/>
                <a:gd name="T61" fmla="*/ 505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2" h="568">
                  <a:moveTo>
                    <a:pt x="214" y="568"/>
                  </a:moveTo>
                  <a:lnTo>
                    <a:pt x="213" y="568"/>
                  </a:lnTo>
                  <a:lnTo>
                    <a:pt x="210" y="568"/>
                  </a:lnTo>
                  <a:lnTo>
                    <a:pt x="11" y="527"/>
                  </a:lnTo>
                  <a:lnTo>
                    <a:pt x="7" y="526"/>
                  </a:lnTo>
                  <a:lnTo>
                    <a:pt x="4" y="525"/>
                  </a:lnTo>
                  <a:lnTo>
                    <a:pt x="2" y="522"/>
                  </a:lnTo>
                  <a:lnTo>
                    <a:pt x="1" y="519"/>
                  </a:lnTo>
                  <a:lnTo>
                    <a:pt x="0" y="516"/>
                  </a:lnTo>
                  <a:lnTo>
                    <a:pt x="0" y="513"/>
                  </a:lnTo>
                  <a:lnTo>
                    <a:pt x="0" y="510"/>
                  </a:lnTo>
                  <a:lnTo>
                    <a:pt x="2" y="506"/>
                  </a:lnTo>
                  <a:lnTo>
                    <a:pt x="337" y="6"/>
                  </a:lnTo>
                  <a:lnTo>
                    <a:pt x="340" y="2"/>
                  </a:lnTo>
                  <a:lnTo>
                    <a:pt x="344" y="1"/>
                  </a:lnTo>
                  <a:lnTo>
                    <a:pt x="349" y="0"/>
                  </a:lnTo>
                  <a:lnTo>
                    <a:pt x="354" y="1"/>
                  </a:lnTo>
                  <a:lnTo>
                    <a:pt x="357" y="4"/>
                  </a:lnTo>
                  <a:lnTo>
                    <a:pt x="361" y="8"/>
                  </a:lnTo>
                  <a:lnTo>
                    <a:pt x="362" y="12"/>
                  </a:lnTo>
                  <a:lnTo>
                    <a:pt x="362" y="17"/>
                  </a:lnTo>
                  <a:lnTo>
                    <a:pt x="227" y="558"/>
                  </a:lnTo>
                  <a:lnTo>
                    <a:pt x="225" y="562"/>
                  </a:lnTo>
                  <a:lnTo>
                    <a:pt x="222" y="566"/>
                  </a:lnTo>
                  <a:lnTo>
                    <a:pt x="218" y="567"/>
                  </a:lnTo>
                  <a:lnTo>
                    <a:pt x="214" y="568"/>
                  </a:lnTo>
                  <a:close/>
                  <a:moveTo>
                    <a:pt x="36" y="505"/>
                  </a:moveTo>
                  <a:lnTo>
                    <a:pt x="36" y="505"/>
                  </a:lnTo>
                  <a:lnTo>
                    <a:pt x="204" y="539"/>
                  </a:lnTo>
                  <a:lnTo>
                    <a:pt x="316" y="85"/>
                  </a:lnTo>
                  <a:lnTo>
                    <a:pt x="36" y="50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220"/>
            <p:cNvSpPr>
              <a:spLocks noEditPoints="1"/>
            </p:cNvSpPr>
            <p:nvPr userDrawn="1"/>
          </p:nvSpPr>
          <p:spPr bwMode="auto">
            <a:xfrm>
              <a:off x="4451350" y="2109788"/>
              <a:ext cx="134938" cy="269875"/>
            </a:xfrm>
            <a:custGeom>
              <a:avLst/>
              <a:gdLst>
                <a:gd name="T0" fmla="*/ 13 w 256"/>
                <a:gd name="T1" fmla="*/ 510 h 510"/>
                <a:gd name="T2" fmla="*/ 9 w 256"/>
                <a:gd name="T3" fmla="*/ 509 h 510"/>
                <a:gd name="T4" fmla="*/ 6 w 256"/>
                <a:gd name="T5" fmla="*/ 508 h 510"/>
                <a:gd name="T6" fmla="*/ 3 w 256"/>
                <a:gd name="T7" fmla="*/ 505 h 510"/>
                <a:gd name="T8" fmla="*/ 1 w 256"/>
                <a:gd name="T9" fmla="*/ 501 h 510"/>
                <a:gd name="T10" fmla="*/ 0 w 256"/>
                <a:gd name="T11" fmla="*/ 497 h 510"/>
                <a:gd name="T12" fmla="*/ 0 w 256"/>
                <a:gd name="T13" fmla="*/ 493 h 510"/>
                <a:gd name="T14" fmla="*/ 152 w 256"/>
                <a:gd name="T15" fmla="*/ 10 h 510"/>
                <a:gd name="T16" fmla="*/ 153 w 256"/>
                <a:gd name="T17" fmla="*/ 6 h 510"/>
                <a:gd name="T18" fmla="*/ 156 w 256"/>
                <a:gd name="T19" fmla="*/ 4 h 510"/>
                <a:gd name="T20" fmla="*/ 159 w 256"/>
                <a:gd name="T21" fmla="*/ 1 h 510"/>
                <a:gd name="T22" fmla="*/ 164 w 256"/>
                <a:gd name="T23" fmla="*/ 0 h 510"/>
                <a:gd name="T24" fmla="*/ 168 w 256"/>
                <a:gd name="T25" fmla="*/ 0 h 510"/>
                <a:gd name="T26" fmla="*/ 171 w 256"/>
                <a:gd name="T27" fmla="*/ 2 h 510"/>
                <a:gd name="T28" fmla="*/ 175 w 256"/>
                <a:gd name="T29" fmla="*/ 5 h 510"/>
                <a:gd name="T30" fmla="*/ 177 w 256"/>
                <a:gd name="T31" fmla="*/ 8 h 510"/>
                <a:gd name="T32" fmla="*/ 254 w 256"/>
                <a:gd name="T33" fmla="*/ 174 h 510"/>
                <a:gd name="T34" fmla="*/ 256 w 256"/>
                <a:gd name="T35" fmla="*/ 177 h 510"/>
                <a:gd name="T36" fmla="*/ 256 w 256"/>
                <a:gd name="T37" fmla="*/ 181 h 510"/>
                <a:gd name="T38" fmla="*/ 254 w 256"/>
                <a:gd name="T39" fmla="*/ 184 h 510"/>
                <a:gd name="T40" fmla="*/ 252 w 256"/>
                <a:gd name="T41" fmla="*/ 187 h 510"/>
                <a:gd name="T42" fmla="*/ 23 w 256"/>
                <a:gd name="T43" fmla="*/ 504 h 510"/>
                <a:gd name="T44" fmla="*/ 21 w 256"/>
                <a:gd name="T45" fmla="*/ 507 h 510"/>
                <a:gd name="T46" fmla="*/ 19 w 256"/>
                <a:gd name="T47" fmla="*/ 508 h 510"/>
                <a:gd name="T48" fmla="*/ 16 w 256"/>
                <a:gd name="T49" fmla="*/ 509 h 510"/>
                <a:gd name="T50" fmla="*/ 13 w 256"/>
                <a:gd name="T51" fmla="*/ 510 h 510"/>
                <a:gd name="T52" fmla="*/ 167 w 256"/>
                <a:gd name="T53" fmla="*/ 51 h 510"/>
                <a:gd name="T54" fmla="*/ 167 w 256"/>
                <a:gd name="T55" fmla="*/ 51 h 510"/>
                <a:gd name="T56" fmla="*/ 50 w 256"/>
                <a:gd name="T57" fmla="*/ 420 h 510"/>
                <a:gd name="T58" fmla="*/ 226 w 256"/>
                <a:gd name="T59" fmla="*/ 178 h 510"/>
                <a:gd name="T60" fmla="*/ 167 w 256"/>
                <a:gd name="T61" fmla="*/ 5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6" h="510">
                  <a:moveTo>
                    <a:pt x="13" y="510"/>
                  </a:moveTo>
                  <a:lnTo>
                    <a:pt x="9" y="509"/>
                  </a:lnTo>
                  <a:lnTo>
                    <a:pt x="6" y="508"/>
                  </a:lnTo>
                  <a:lnTo>
                    <a:pt x="3" y="505"/>
                  </a:lnTo>
                  <a:lnTo>
                    <a:pt x="1" y="501"/>
                  </a:lnTo>
                  <a:lnTo>
                    <a:pt x="0" y="497"/>
                  </a:lnTo>
                  <a:lnTo>
                    <a:pt x="0" y="493"/>
                  </a:lnTo>
                  <a:lnTo>
                    <a:pt x="152" y="10"/>
                  </a:lnTo>
                  <a:lnTo>
                    <a:pt x="153" y="6"/>
                  </a:lnTo>
                  <a:lnTo>
                    <a:pt x="156" y="4"/>
                  </a:lnTo>
                  <a:lnTo>
                    <a:pt x="159" y="1"/>
                  </a:lnTo>
                  <a:lnTo>
                    <a:pt x="164" y="0"/>
                  </a:lnTo>
                  <a:lnTo>
                    <a:pt x="168" y="0"/>
                  </a:lnTo>
                  <a:lnTo>
                    <a:pt x="171" y="2"/>
                  </a:lnTo>
                  <a:lnTo>
                    <a:pt x="175" y="5"/>
                  </a:lnTo>
                  <a:lnTo>
                    <a:pt x="177" y="8"/>
                  </a:lnTo>
                  <a:lnTo>
                    <a:pt x="254" y="174"/>
                  </a:lnTo>
                  <a:lnTo>
                    <a:pt x="256" y="177"/>
                  </a:lnTo>
                  <a:lnTo>
                    <a:pt x="256" y="181"/>
                  </a:lnTo>
                  <a:lnTo>
                    <a:pt x="254" y="184"/>
                  </a:lnTo>
                  <a:lnTo>
                    <a:pt x="252" y="187"/>
                  </a:lnTo>
                  <a:lnTo>
                    <a:pt x="23" y="504"/>
                  </a:lnTo>
                  <a:lnTo>
                    <a:pt x="21" y="507"/>
                  </a:lnTo>
                  <a:lnTo>
                    <a:pt x="19" y="508"/>
                  </a:lnTo>
                  <a:lnTo>
                    <a:pt x="16" y="509"/>
                  </a:lnTo>
                  <a:lnTo>
                    <a:pt x="13" y="510"/>
                  </a:lnTo>
                  <a:close/>
                  <a:moveTo>
                    <a:pt x="167" y="51"/>
                  </a:moveTo>
                  <a:lnTo>
                    <a:pt x="167" y="51"/>
                  </a:lnTo>
                  <a:lnTo>
                    <a:pt x="50" y="420"/>
                  </a:lnTo>
                  <a:lnTo>
                    <a:pt x="226" y="178"/>
                  </a:lnTo>
                  <a:lnTo>
                    <a:pt x="167" y="5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221"/>
            <p:cNvSpPr>
              <a:spLocks noEditPoints="1"/>
            </p:cNvSpPr>
            <p:nvPr userDrawn="1"/>
          </p:nvSpPr>
          <p:spPr bwMode="auto">
            <a:xfrm>
              <a:off x="4302125" y="2211388"/>
              <a:ext cx="212725" cy="363538"/>
            </a:xfrm>
            <a:custGeom>
              <a:avLst/>
              <a:gdLst>
                <a:gd name="T0" fmla="*/ 173 w 403"/>
                <a:gd name="T1" fmla="*/ 687 h 687"/>
                <a:gd name="T2" fmla="*/ 169 w 403"/>
                <a:gd name="T3" fmla="*/ 686 h 687"/>
                <a:gd name="T4" fmla="*/ 167 w 403"/>
                <a:gd name="T5" fmla="*/ 686 h 687"/>
                <a:gd name="T6" fmla="*/ 7 w 403"/>
                <a:gd name="T7" fmla="*/ 616 h 687"/>
                <a:gd name="T8" fmla="*/ 5 w 403"/>
                <a:gd name="T9" fmla="*/ 614 h 687"/>
                <a:gd name="T10" fmla="*/ 3 w 403"/>
                <a:gd name="T11" fmla="*/ 611 h 687"/>
                <a:gd name="T12" fmla="*/ 1 w 403"/>
                <a:gd name="T13" fmla="*/ 609 h 687"/>
                <a:gd name="T14" fmla="*/ 0 w 403"/>
                <a:gd name="T15" fmla="*/ 607 h 687"/>
                <a:gd name="T16" fmla="*/ 0 w 403"/>
                <a:gd name="T17" fmla="*/ 604 h 687"/>
                <a:gd name="T18" fmla="*/ 0 w 403"/>
                <a:gd name="T19" fmla="*/ 601 h 687"/>
                <a:gd name="T20" fmla="*/ 0 w 403"/>
                <a:gd name="T21" fmla="*/ 598 h 687"/>
                <a:gd name="T22" fmla="*/ 2 w 403"/>
                <a:gd name="T23" fmla="*/ 595 h 687"/>
                <a:gd name="T24" fmla="*/ 378 w 403"/>
                <a:gd name="T25" fmla="*/ 7 h 687"/>
                <a:gd name="T26" fmla="*/ 381 w 403"/>
                <a:gd name="T27" fmla="*/ 4 h 687"/>
                <a:gd name="T28" fmla="*/ 385 w 403"/>
                <a:gd name="T29" fmla="*/ 2 h 687"/>
                <a:gd name="T30" fmla="*/ 390 w 403"/>
                <a:gd name="T31" fmla="*/ 0 h 687"/>
                <a:gd name="T32" fmla="*/ 395 w 403"/>
                <a:gd name="T33" fmla="*/ 2 h 687"/>
                <a:gd name="T34" fmla="*/ 398 w 403"/>
                <a:gd name="T35" fmla="*/ 5 h 687"/>
                <a:gd name="T36" fmla="*/ 402 w 403"/>
                <a:gd name="T37" fmla="*/ 9 h 687"/>
                <a:gd name="T38" fmla="*/ 403 w 403"/>
                <a:gd name="T39" fmla="*/ 13 h 687"/>
                <a:gd name="T40" fmla="*/ 402 w 403"/>
                <a:gd name="T41" fmla="*/ 19 h 687"/>
                <a:gd name="T42" fmla="*/ 186 w 403"/>
                <a:gd name="T43" fmla="*/ 677 h 687"/>
                <a:gd name="T44" fmla="*/ 183 w 403"/>
                <a:gd name="T45" fmla="*/ 679 h 687"/>
                <a:gd name="T46" fmla="*/ 182 w 403"/>
                <a:gd name="T47" fmla="*/ 682 h 687"/>
                <a:gd name="T48" fmla="*/ 180 w 403"/>
                <a:gd name="T49" fmla="*/ 684 h 687"/>
                <a:gd name="T50" fmla="*/ 178 w 403"/>
                <a:gd name="T51" fmla="*/ 686 h 687"/>
                <a:gd name="T52" fmla="*/ 175 w 403"/>
                <a:gd name="T53" fmla="*/ 686 h 687"/>
                <a:gd name="T54" fmla="*/ 173 w 403"/>
                <a:gd name="T55" fmla="*/ 687 h 687"/>
                <a:gd name="T56" fmla="*/ 33 w 403"/>
                <a:gd name="T57" fmla="*/ 597 h 687"/>
                <a:gd name="T58" fmla="*/ 33 w 403"/>
                <a:gd name="T59" fmla="*/ 597 h 687"/>
                <a:gd name="T60" fmla="*/ 164 w 403"/>
                <a:gd name="T61" fmla="*/ 655 h 687"/>
                <a:gd name="T62" fmla="*/ 342 w 403"/>
                <a:gd name="T63" fmla="*/ 112 h 687"/>
                <a:gd name="T64" fmla="*/ 33 w 403"/>
                <a:gd name="T65" fmla="*/ 597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3" h="687">
                  <a:moveTo>
                    <a:pt x="173" y="687"/>
                  </a:moveTo>
                  <a:lnTo>
                    <a:pt x="169" y="686"/>
                  </a:lnTo>
                  <a:lnTo>
                    <a:pt x="167" y="686"/>
                  </a:lnTo>
                  <a:lnTo>
                    <a:pt x="7" y="616"/>
                  </a:lnTo>
                  <a:lnTo>
                    <a:pt x="5" y="614"/>
                  </a:lnTo>
                  <a:lnTo>
                    <a:pt x="3" y="611"/>
                  </a:lnTo>
                  <a:lnTo>
                    <a:pt x="1" y="609"/>
                  </a:lnTo>
                  <a:lnTo>
                    <a:pt x="0" y="607"/>
                  </a:lnTo>
                  <a:lnTo>
                    <a:pt x="0" y="604"/>
                  </a:lnTo>
                  <a:lnTo>
                    <a:pt x="0" y="601"/>
                  </a:lnTo>
                  <a:lnTo>
                    <a:pt x="0" y="598"/>
                  </a:lnTo>
                  <a:lnTo>
                    <a:pt x="2" y="595"/>
                  </a:lnTo>
                  <a:lnTo>
                    <a:pt x="378" y="7"/>
                  </a:lnTo>
                  <a:lnTo>
                    <a:pt x="381" y="4"/>
                  </a:lnTo>
                  <a:lnTo>
                    <a:pt x="385" y="2"/>
                  </a:lnTo>
                  <a:lnTo>
                    <a:pt x="390" y="0"/>
                  </a:lnTo>
                  <a:lnTo>
                    <a:pt x="395" y="2"/>
                  </a:lnTo>
                  <a:lnTo>
                    <a:pt x="398" y="5"/>
                  </a:lnTo>
                  <a:lnTo>
                    <a:pt x="402" y="9"/>
                  </a:lnTo>
                  <a:lnTo>
                    <a:pt x="403" y="13"/>
                  </a:lnTo>
                  <a:lnTo>
                    <a:pt x="402" y="19"/>
                  </a:lnTo>
                  <a:lnTo>
                    <a:pt x="186" y="677"/>
                  </a:lnTo>
                  <a:lnTo>
                    <a:pt x="183" y="679"/>
                  </a:lnTo>
                  <a:lnTo>
                    <a:pt x="182" y="682"/>
                  </a:lnTo>
                  <a:lnTo>
                    <a:pt x="180" y="684"/>
                  </a:lnTo>
                  <a:lnTo>
                    <a:pt x="178" y="686"/>
                  </a:lnTo>
                  <a:lnTo>
                    <a:pt x="175" y="686"/>
                  </a:lnTo>
                  <a:lnTo>
                    <a:pt x="173" y="687"/>
                  </a:lnTo>
                  <a:close/>
                  <a:moveTo>
                    <a:pt x="33" y="597"/>
                  </a:moveTo>
                  <a:lnTo>
                    <a:pt x="33" y="597"/>
                  </a:lnTo>
                  <a:lnTo>
                    <a:pt x="164" y="655"/>
                  </a:lnTo>
                  <a:lnTo>
                    <a:pt x="342" y="112"/>
                  </a:lnTo>
                  <a:lnTo>
                    <a:pt x="33" y="59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222"/>
            <p:cNvSpPr>
              <a:spLocks/>
            </p:cNvSpPr>
            <p:nvPr userDrawn="1"/>
          </p:nvSpPr>
          <p:spPr bwMode="auto">
            <a:xfrm>
              <a:off x="4473575" y="2336800"/>
              <a:ext cx="152400" cy="268288"/>
            </a:xfrm>
            <a:custGeom>
              <a:avLst/>
              <a:gdLst>
                <a:gd name="T0" fmla="*/ 13 w 290"/>
                <a:gd name="T1" fmla="*/ 509 h 509"/>
                <a:gd name="T2" fmla="*/ 9 w 290"/>
                <a:gd name="T3" fmla="*/ 509 h 509"/>
                <a:gd name="T4" fmla="*/ 6 w 290"/>
                <a:gd name="T5" fmla="*/ 508 h 509"/>
                <a:gd name="T6" fmla="*/ 3 w 290"/>
                <a:gd name="T7" fmla="*/ 504 h 509"/>
                <a:gd name="T8" fmla="*/ 0 w 290"/>
                <a:gd name="T9" fmla="*/ 500 h 509"/>
                <a:gd name="T10" fmla="*/ 0 w 290"/>
                <a:gd name="T11" fmla="*/ 494 h 509"/>
                <a:gd name="T12" fmla="*/ 1 w 290"/>
                <a:gd name="T13" fmla="*/ 490 h 509"/>
                <a:gd name="T14" fmla="*/ 264 w 290"/>
                <a:gd name="T15" fmla="*/ 6 h 509"/>
                <a:gd name="T16" fmla="*/ 269 w 290"/>
                <a:gd name="T17" fmla="*/ 3 h 509"/>
                <a:gd name="T18" fmla="*/ 273 w 290"/>
                <a:gd name="T19" fmla="*/ 0 h 509"/>
                <a:gd name="T20" fmla="*/ 278 w 290"/>
                <a:gd name="T21" fmla="*/ 0 h 509"/>
                <a:gd name="T22" fmla="*/ 283 w 290"/>
                <a:gd name="T23" fmla="*/ 1 h 509"/>
                <a:gd name="T24" fmla="*/ 287 w 290"/>
                <a:gd name="T25" fmla="*/ 5 h 509"/>
                <a:gd name="T26" fmla="*/ 289 w 290"/>
                <a:gd name="T27" fmla="*/ 10 h 509"/>
                <a:gd name="T28" fmla="*/ 290 w 290"/>
                <a:gd name="T29" fmla="*/ 15 h 509"/>
                <a:gd name="T30" fmla="*/ 288 w 290"/>
                <a:gd name="T31" fmla="*/ 19 h 509"/>
                <a:gd name="T32" fmla="*/ 25 w 290"/>
                <a:gd name="T33" fmla="*/ 503 h 509"/>
                <a:gd name="T34" fmla="*/ 22 w 290"/>
                <a:gd name="T35" fmla="*/ 505 h 509"/>
                <a:gd name="T36" fmla="*/ 20 w 290"/>
                <a:gd name="T37" fmla="*/ 507 h 509"/>
                <a:gd name="T38" fmla="*/ 17 w 290"/>
                <a:gd name="T39" fmla="*/ 509 h 509"/>
                <a:gd name="T40" fmla="*/ 13 w 290"/>
                <a:gd name="T41" fmla="*/ 50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0" h="509">
                  <a:moveTo>
                    <a:pt x="13" y="509"/>
                  </a:moveTo>
                  <a:lnTo>
                    <a:pt x="9" y="509"/>
                  </a:lnTo>
                  <a:lnTo>
                    <a:pt x="6" y="508"/>
                  </a:lnTo>
                  <a:lnTo>
                    <a:pt x="3" y="504"/>
                  </a:lnTo>
                  <a:lnTo>
                    <a:pt x="0" y="500"/>
                  </a:lnTo>
                  <a:lnTo>
                    <a:pt x="0" y="494"/>
                  </a:lnTo>
                  <a:lnTo>
                    <a:pt x="1" y="490"/>
                  </a:lnTo>
                  <a:lnTo>
                    <a:pt x="264" y="6"/>
                  </a:lnTo>
                  <a:lnTo>
                    <a:pt x="269" y="3"/>
                  </a:lnTo>
                  <a:lnTo>
                    <a:pt x="273" y="0"/>
                  </a:lnTo>
                  <a:lnTo>
                    <a:pt x="278" y="0"/>
                  </a:lnTo>
                  <a:lnTo>
                    <a:pt x="283" y="1"/>
                  </a:lnTo>
                  <a:lnTo>
                    <a:pt x="287" y="5"/>
                  </a:lnTo>
                  <a:lnTo>
                    <a:pt x="289" y="10"/>
                  </a:lnTo>
                  <a:lnTo>
                    <a:pt x="290" y="15"/>
                  </a:lnTo>
                  <a:lnTo>
                    <a:pt x="288" y="19"/>
                  </a:lnTo>
                  <a:lnTo>
                    <a:pt x="25" y="503"/>
                  </a:lnTo>
                  <a:lnTo>
                    <a:pt x="22" y="505"/>
                  </a:lnTo>
                  <a:lnTo>
                    <a:pt x="20" y="507"/>
                  </a:lnTo>
                  <a:lnTo>
                    <a:pt x="17" y="509"/>
                  </a:lnTo>
                  <a:lnTo>
                    <a:pt x="13" y="50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223"/>
            <p:cNvSpPr>
              <a:spLocks noEditPoints="1"/>
            </p:cNvSpPr>
            <p:nvPr userDrawn="1"/>
          </p:nvSpPr>
          <p:spPr bwMode="auto">
            <a:xfrm>
              <a:off x="3086100" y="2016125"/>
              <a:ext cx="115888" cy="392113"/>
            </a:xfrm>
            <a:custGeom>
              <a:avLst/>
              <a:gdLst>
                <a:gd name="T0" fmla="*/ 102 w 218"/>
                <a:gd name="T1" fmla="*/ 740 h 740"/>
                <a:gd name="T2" fmla="*/ 96 w 218"/>
                <a:gd name="T3" fmla="*/ 739 h 740"/>
                <a:gd name="T4" fmla="*/ 93 w 218"/>
                <a:gd name="T5" fmla="*/ 737 h 740"/>
                <a:gd name="T6" fmla="*/ 90 w 218"/>
                <a:gd name="T7" fmla="*/ 733 h 740"/>
                <a:gd name="T8" fmla="*/ 88 w 218"/>
                <a:gd name="T9" fmla="*/ 729 h 740"/>
                <a:gd name="T10" fmla="*/ 1 w 218"/>
                <a:gd name="T11" fmla="*/ 274 h 740"/>
                <a:gd name="T12" fmla="*/ 0 w 218"/>
                <a:gd name="T13" fmla="*/ 271 h 740"/>
                <a:gd name="T14" fmla="*/ 1 w 218"/>
                <a:gd name="T15" fmla="*/ 268 h 740"/>
                <a:gd name="T16" fmla="*/ 1 w 218"/>
                <a:gd name="T17" fmla="*/ 266 h 740"/>
                <a:gd name="T18" fmla="*/ 3 w 218"/>
                <a:gd name="T19" fmla="*/ 263 h 740"/>
                <a:gd name="T20" fmla="*/ 195 w 218"/>
                <a:gd name="T21" fmla="*/ 7 h 740"/>
                <a:gd name="T22" fmla="*/ 198 w 218"/>
                <a:gd name="T23" fmla="*/ 4 h 740"/>
                <a:gd name="T24" fmla="*/ 202 w 218"/>
                <a:gd name="T25" fmla="*/ 2 h 740"/>
                <a:gd name="T26" fmla="*/ 206 w 218"/>
                <a:gd name="T27" fmla="*/ 0 h 740"/>
                <a:gd name="T28" fmla="*/ 211 w 218"/>
                <a:gd name="T29" fmla="*/ 2 h 740"/>
                <a:gd name="T30" fmla="*/ 214 w 218"/>
                <a:gd name="T31" fmla="*/ 5 h 740"/>
                <a:gd name="T32" fmla="*/ 217 w 218"/>
                <a:gd name="T33" fmla="*/ 8 h 740"/>
                <a:gd name="T34" fmla="*/ 218 w 218"/>
                <a:gd name="T35" fmla="*/ 12 h 740"/>
                <a:gd name="T36" fmla="*/ 218 w 218"/>
                <a:gd name="T37" fmla="*/ 17 h 740"/>
                <a:gd name="T38" fmla="*/ 115 w 218"/>
                <a:gd name="T39" fmla="*/ 729 h 740"/>
                <a:gd name="T40" fmla="*/ 114 w 218"/>
                <a:gd name="T41" fmla="*/ 733 h 740"/>
                <a:gd name="T42" fmla="*/ 110 w 218"/>
                <a:gd name="T43" fmla="*/ 737 h 740"/>
                <a:gd name="T44" fmla="*/ 106 w 218"/>
                <a:gd name="T45" fmla="*/ 739 h 740"/>
                <a:gd name="T46" fmla="*/ 102 w 218"/>
                <a:gd name="T47" fmla="*/ 740 h 740"/>
                <a:gd name="T48" fmla="*/ 102 w 218"/>
                <a:gd name="T49" fmla="*/ 740 h 740"/>
                <a:gd name="T50" fmla="*/ 102 w 218"/>
                <a:gd name="T51" fmla="*/ 740 h 740"/>
                <a:gd name="T52" fmla="*/ 28 w 218"/>
                <a:gd name="T53" fmla="*/ 275 h 740"/>
                <a:gd name="T54" fmla="*/ 28 w 218"/>
                <a:gd name="T55" fmla="*/ 275 h 740"/>
                <a:gd name="T56" fmla="*/ 99 w 218"/>
                <a:gd name="T57" fmla="*/ 646 h 740"/>
                <a:gd name="T58" fmla="*/ 184 w 218"/>
                <a:gd name="T59" fmla="*/ 65 h 740"/>
                <a:gd name="T60" fmla="*/ 28 w 218"/>
                <a:gd name="T61" fmla="*/ 275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740">
                  <a:moveTo>
                    <a:pt x="102" y="740"/>
                  </a:moveTo>
                  <a:lnTo>
                    <a:pt x="96" y="739"/>
                  </a:lnTo>
                  <a:lnTo>
                    <a:pt x="93" y="737"/>
                  </a:lnTo>
                  <a:lnTo>
                    <a:pt x="90" y="733"/>
                  </a:lnTo>
                  <a:lnTo>
                    <a:pt x="88" y="729"/>
                  </a:lnTo>
                  <a:lnTo>
                    <a:pt x="1" y="274"/>
                  </a:lnTo>
                  <a:lnTo>
                    <a:pt x="0" y="271"/>
                  </a:lnTo>
                  <a:lnTo>
                    <a:pt x="1" y="268"/>
                  </a:lnTo>
                  <a:lnTo>
                    <a:pt x="1" y="266"/>
                  </a:lnTo>
                  <a:lnTo>
                    <a:pt x="3" y="263"/>
                  </a:lnTo>
                  <a:lnTo>
                    <a:pt x="195" y="7"/>
                  </a:lnTo>
                  <a:lnTo>
                    <a:pt x="198" y="4"/>
                  </a:lnTo>
                  <a:lnTo>
                    <a:pt x="202" y="2"/>
                  </a:lnTo>
                  <a:lnTo>
                    <a:pt x="206" y="0"/>
                  </a:lnTo>
                  <a:lnTo>
                    <a:pt x="211" y="2"/>
                  </a:lnTo>
                  <a:lnTo>
                    <a:pt x="214" y="5"/>
                  </a:lnTo>
                  <a:lnTo>
                    <a:pt x="217" y="8"/>
                  </a:lnTo>
                  <a:lnTo>
                    <a:pt x="218" y="12"/>
                  </a:lnTo>
                  <a:lnTo>
                    <a:pt x="218" y="17"/>
                  </a:lnTo>
                  <a:lnTo>
                    <a:pt x="115" y="729"/>
                  </a:lnTo>
                  <a:lnTo>
                    <a:pt x="114" y="733"/>
                  </a:lnTo>
                  <a:lnTo>
                    <a:pt x="110" y="737"/>
                  </a:lnTo>
                  <a:lnTo>
                    <a:pt x="106" y="739"/>
                  </a:lnTo>
                  <a:lnTo>
                    <a:pt x="102" y="740"/>
                  </a:lnTo>
                  <a:lnTo>
                    <a:pt x="102" y="740"/>
                  </a:lnTo>
                  <a:lnTo>
                    <a:pt x="102" y="740"/>
                  </a:lnTo>
                  <a:close/>
                  <a:moveTo>
                    <a:pt x="28" y="275"/>
                  </a:moveTo>
                  <a:lnTo>
                    <a:pt x="28" y="275"/>
                  </a:lnTo>
                  <a:lnTo>
                    <a:pt x="99" y="646"/>
                  </a:lnTo>
                  <a:lnTo>
                    <a:pt x="184" y="65"/>
                  </a:lnTo>
                  <a:lnTo>
                    <a:pt x="28" y="2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224"/>
            <p:cNvSpPr>
              <a:spLocks noEditPoints="1"/>
            </p:cNvSpPr>
            <p:nvPr userDrawn="1"/>
          </p:nvSpPr>
          <p:spPr bwMode="auto">
            <a:xfrm>
              <a:off x="2973388" y="2178050"/>
              <a:ext cx="88900" cy="407988"/>
            </a:xfrm>
            <a:custGeom>
              <a:avLst/>
              <a:gdLst>
                <a:gd name="T0" fmla="*/ 19 w 167"/>
                <a:gd name="T1" fmla="*/ 770 h 770"/>
                <a:gd name="T2" fmla="*/ 18 w 167"/>
                <a:gd name="T3" fmla="*/ 770 h 770"/>
                <a:gd name="T4" fmla="*/ 18 w 167"/>
                <a:gd name="T5" fmla="*/ 770 h 770"/>
                <a:gd name="T6" fmla="*/ 12 w 167"/>
                <a:gd name="T7" fmla="*/ 767 h 770"/>
                <a:gd name="T8" fmla="*/ 9 w 167"/>
                <a:gd name="T9" fmla="*/ 765 h 770"/>
                <a:gd name="T10" fmla="*/ 6 w 167"/>
                <a:gd name="T11" fmla="*/ 761 h 770"/>
                <a:gd name="T12" fmla="*/ 5 w 167"/>
                <a:gd name="T13" fmla="*/ 756 h 770"/>
                <a:gd name="T14" fmla="*/ 0 w 167"/>
                <a:gd name="T15" fmla="*/ 169 h 770"/>
                <a:gd name="T16" fmla="*/ 1 w 167"/>
                <a:gd name="T17" fmla="*/ 165 h 770"/>
                <a:gd name="T18" fmla="*/ 4 w 167"/>
                <a:gd name="T19" fmla="*/ 161 h 770"/>
                <a:gd name="T20" fmla="*/ 143 w 167"/>
                <a:gd name="T21" fmla="*/ 4 h 770"/>
                <a:gd name="T22" fmla="*/ 146 w 167"/>
                <a:gd name="T23" fmla="*/ 1 h 770"/>
                <a:gd name="T24" fmla="*/ 150 w 167"/>
                <a:gd name="T25" fmla="*/ 0 h 770"/>
                <a:gd name="T26" fmla="*/ 155 w 167"/>
                <a:gd name="T27" fmla="*/ 0 h 770"/>
                <a:gd name="T28" fmla="*/ 159 w 167"/>
                <a:gd name="T29" fmla="*/ 1 h 770"/>
                <a:gd name="T30" fmla="*/ 162 w 167"/>
                <a:gd name="T31" fmla="*/ 3 h 770"/>
                <a:gd name="T32" fmla="*/ 166 w 167"/>
                <a:gd name="T33" fmla="*/ 7 h 770"/>
                <a:gd name="T34" fmla="*/ 167 w 167"/>
                <a:gd name="T35" fmla="*/ 11 h 770"/>
                <a:gd name="T36" fmla="*/ 167 w 167"/>
                <a:gd name="T37" fmla="*/ 15 h 770"/>
                <a:gd name="T38" fmla="*/ 32 w 167"/>
                <a:gd name="T39" fmla="*/ 758 h 770"/>
                <a:gd name="T40" fmla="*/ 31 w 167"/>
                <a:gd name="T41" fmla="*/ 762 h 770"/>
                <a:gd name="T42" fmla="*/ 27 w 167"/>
                <a:gd name="T43" fmla="*/ 766 h 770"/>
                <a:gd name="T44" fmla="*/ 23 w 167"/>
                <a:gd name="T45" fmla="*/ 769 h 770"/>
                <a:gd name="T46" fmla="*/ 19 w 167"/>
                <a:gd name="T47" fmla="*/ 770 h 770"/>
                <a:gd name="T48" fmla="*/ 27 w 167"/>
                <a:gd name="T49" fmla="*/ 175 h 770"/>
                <a:gd name="T50" fmla="*/ 27 w 167"/>
                <a:gd name="T51" fmla="*/ 175 h 770"/>
                <a:gd name="T52" fmla="*/ 31 w 167"/>
                <a:gd name="T53" fmla="*/ 612 h 770"/>
                <a:gd name="T54" fmla="*/ 131 w 167"/>
                <a:gd name="T55" fmla="*/ 58 h 770"/>
                <a:gd name="T56" fmla="*/ 27 w 167"/>
                <a:gd name="T57" fmla="*/ 175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7" h="770">
                  <a:moveTo>
                    <a:pt x="19" y="770"/>
                  </a:moveTo>
                  <a:lnTo>
                    <a:pt x="18" y="770"/>
                  </a:lnTo>
                  <a:lnTo>
                    <a:pt x="18" y="770"/>
                  </a:lnTo>
                  <a:lnTo>
                    <a:pt x="12" y="767"/>
                  </a:lnTo>
                  <a:lnTo>
                    <a:pt x="9" y="765"/>
                  </a:lnTo>
                  <a:lnTo>
                    <a:pt x="6" y="761"/>
                  </a:lnTo>
                  <a:lnTo>
                    <a:pt x="5" y="756"/>
                  </a:lnTo>
                  <a:lnTo>
                    <a:pt x="0" y="169"/>
                  </a:lnTo>
                  <a:lnTo>
                    <a:pt x="1" y="165"/>
                  </a:lnTo>
                  <a:lnTo>
                    <a:pt x="4" y="161"/>
                  </a:lnTo>
                  <a:lnTo>
                    <a:pt x="143" y="4"/>
                  </a:lnTo>
                  <a:lnTo>
                    <a:pt x="146" y="1"/>
                  </a:lnTo>
                  <a:lnTo>
                    <a:pt x="150" y="0"/>
                  </a:lnTo>
                  <a:lnTo>
                    <a:pt x="155" y="0"/>
                  </a:lnTo>
                  <a:lnTo>
                    <a:pt x="159" y="1"/>
                  </a:lnTo>
                  <a:lnTo>
                    <a:pt x="162" y="3"/>
                  </a:lnTo>
                  <a:lnTo>
                    <a:pt x="166" y="7"/>
                  </a:lnTo>
                  <a:lnTo>
                    <a:pt x="167" y="11"/>
                  </a:lnTo>
                  <a:lnTo>
                    <a:pt x="167" y="15"/>
                  </a:lnTo>
                  <a:lnTo>
                    <a:pt x="32" y="758"/>
                  </a:lnTo>
                  <a:lnTo>
                    <a:pt x="31" y="762"/>
                  </a:lnTo>
                  <a:lnTo>
                    <a:pt x="27" y="766"/>
                  </a:lnTo>
                  <a:lnTo>
                    <a:pt x="23" y="769"/>
                  </a:lnTo>
                  <a:lnTo>
                    <a:pt x="19" y="770"/>
                  </a:lnTo>
                  <a:close/>
                  <a:moveTo>
                    <a:pt x="27" y="175"/>
                  </a:moveTo>
                  <a:lnTo>
                    <a:pt x="27" y="175"/>
                  </a:lnTo>
                  <a:lnTo>
                    <a:pt x="31" y="612"/>
                  </a:lnTo>
                  <a:lnTo>
                    <a:pt x="131" y="58"/>
                  </a:lnTo>
                  <a:lnTo>
                    <a:pt x="27" y="1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225"/>
            <p:cNvSpPr>
              <a:spLocks noEditPoints="1"/>
            </p:cNvSpPr>
            <p:nvPr userDrawn="1"/>
          </p:nvSpPr>
          <p:spPr bwMode="auto">
            <a:xfrm>
              <a:off x="2882900" y="2354263"/>
              <a:ext cx="111125" cy="349250"/>
            </a:xfrm>
            <a:custGeom>
              <a:avLst/>
              <a:gdLst>
                <a:gd name="T0" fmla="*/ 14 w 209"/>
                <a:gd name="T1" fmla="*/ 661 h 661"/>
                <a:gd name="T2" fmla="*/ 10 w 209"/>
                <a:gd name="T3" fmla="*/ 661 h 661"/>
                <a:gd name="T4" fmla="*/ 7 w 209"/>
                <a:gd name="T5" fmla="*/ 660 h 661"/>
                <a:gd name="T6" fmla="*/ 4 w 209"/>
                <a:gd name="T7" fmla="*/ 657 h 661"/>
                <a:gd name="T8" fmla="*/ 1 w 209"/>
                <a:gd name="T9" fmla="*/ 653 h 661"/>
                <a:gd name="T10" fmla="*/ 0 w 209"/>
                <a:gd name="T11" fmla="*/ 649 h 661"/>
                <a:gd name="T12" fmla="*/ 1 w 209"/>
                <a:gd name="T13" fmla="*/ 645 h 661"/>
                <a:gd name="T14" fmla="*/ 182 w 209"/>
                <a:gd name="T15" fmla="*/ 10 h 661"/>
                <a:gd name="T16" fmla="*/ 184 w 209"/>
                <a:gd name="T17" fmla="*/ 6 h 661"/>
                <a:gd name="T18" fmla="*/ 188 w 209"/>
                <a:gd name="T19" fmla="*/ 3 h 661"/>
                <a:gd name="T20" fmla="*/ 192 w 209"/>
                <a:gd name="T21" fmla="*/ 0 h 661"/>
                <a:gd name="T22" fmla="*/ 197 w 209"/>
                <a:gd name="T23" fmla="*/ 0 h 661"/>
                <a:gd name="T24" fmla="*/ 202 w 209"/>
                <a:gd name="T25" fmla="*/ 1 h 661"/>
                <a:gd name="T26" fmla="*/ 206 w 209"/>
                <a:gd name="T27" fmla="*/ 5 h 661"/>
                <a:gd name="T28" fmla="*/ 208 w 209"/>
                <a:gd name="T29" fmla="*/ 9 h 661"/>
                <a:gd name="T30" fmla="*/ 209 w 209"/>
                <a:gd name="T31" fmla="*/ 13 h 661"/>
                <a:gd name="T32" fmla="*/ 199 w 209"/>
                <a:gd name="T33" fmla="*/ 435 h 661"/>
                <a:gd name="T34" fmla="*/ 199 w 209"/>
                <a:gd name="T35" fmla="*/ 440 h 661"/>
                <a:gd name="T36" fmla="*/ 197 w 209"/>
                <a:gd name="T37" fmla="*/ 443 h 661"/>
                <a:gd name="T38" fmla="*/ 23 w 209"/>
                <a:gd name="T39" fmla="*/ 657 h 661"/>
                <a:gd name="T40" fmla="*/ 21 w 209"/>
                <a:gd name="T41" fmla="*/ 659 h 661"/>
                <a:gd name="T42" fmla="*/ 19 w 209"/>
                <a:gd name="T43" fmla="*/ 660 h 661"/>
                <a:gd name="T44" fmla="*/ 16 w 209"/>
                <a:gd name="T45" fmla="*/ 661 h 661"/>
                <a:gd name="T46" fmla="*/ 14 w 209"/>
                <a:gd name="T47" fmla="*/ 661 h 661"/>
                <a:gd name="T48" fmla="*/ 179 w 209"/>
                <a:gd name="T49" fmla="*/ 117 h 661"/>
                <a:gd name="T50" fmla="*/ 179 w 209"/>
                <a:gd name="T51" fmla="*/ 117 h 661"/>
                <a:gd name="T52" fmla="*/ 45 w 209"/>
                <a:gd name="T53" fmla="*/ 588 h 661"/>
                <a:gd name="T54" fmla="*/ 172 w 209"/>
                <a:gd name="T55" fmla="*/ 430 h 661"/>
                <a:gd name="T56" fmla="*/ 179 w 209"/>
                <a:gd name="T57" fmla="*/ 11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661">
                  <a:moveTo>
                    <a:pt x="14" y="661"/>
                  </a:moveTo>
                  <a:lnTo>
                    <a:pt x="10" y="661"/>
                  </a:lnTo>
                  <a:lnTo>
                    <a:pt x="7" y="660"/>
                  </a:lnTo>
                  <a:lnTo>
                    <a:pt x="4" y="657"/>
                  </a:lnTo>
                  <a:lnTo>
                    <a:pt x="1" y="653"/>
                  </a:lnTo>
                  <a:lnTo>
                    <a:pt x="0" y="649"/>
                  </a:lnTo>
                  <a:lnTo>
                    <a:pt x="1" y="645"/>
                  </a:lnTo>
                  <a:lnTo>
                    <a:pt x="182" y="10"/>
                  </a:lnTo>
                  <a:lnTo>
                    <a:pt x="184" y="6"/>
                  </a:lnTo>
                  <a:lnTo>
                    <a:pt x="188" y="3"/>
                  </a:lnTo>
                  <a:lnTo>
                    <a:pt x="192" y="0"/>
                  </a:lnTo>
                  <a:lnTo>
                    <a:pt x="197" y="0"/>
                  </a:lnTo>
                  <a:lnTo>
                    <a:pt x="202" y="1"/>
                  </a:lnTo>
                  <a:lnTo>
                    <a:pt x="206" y="5"/>
                  </a:lnTo>
                  <a:lnTo>
                    <a:pt x="208" y="9"/>
                  </a:lnTo>
                  <a:lnTo>
                    <a:pt x="209" y="13"/>
                  </a:lnTo>
                  <a:lnTo>
                    <a:pt x="199" y="435"/>
                  </a:lnTo>
                  <a:lnTo>
                    <a:pt x="199" y="440"/>
                  </a:lnTo>
                  <a:lnTo>
                    <a:pt x="197" y="443"/>
                  </a:lnTo>
                  <a:lnTo>
                    <a:pt x="23" y="657"/>
                  </a:lnTo>
                  <a:lnTo>
                    <a:pt x="21" y="659"/>
                  </a:lnTo>
                  <a:lnTo>
                    <a:pt x="19" y="660"/>
                  </a:lnTo>
                  <a:lnTo>
                    <a:pt x="16" y="661"/>
                  </a:lnTo>
                  <a:lnTo>
                    <a:pt x="14" y="661"/>
                  </a:lnTo>
                  <a:close/>
                  <a:moveTo>
                    <a:pt x="179" y="117"/>
                  </a:moveTo>
                  <a:lnTo>
                    <a:pt x="179" y="117"/>
                  </a:lnTo>
                  <a:lnTo>
                    <a:pt x="45" y="588"/>
                  </a:lnTo>
                  <a:lnTo>
                    <a:pt x="172" y="430"/>
                  </a:lnTo>
                  <a:lnTo>
                    <a:pt x="179" y="11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226"/>
            <p:cNvSpPr>
              <a:spLocks noEditPoints="1"/>
            </p:cNvSpPr>
            <p:nvPr userDrawn="1"/>
          </p:nvSpPr>
          <p:spPr bwMode="auto">
            <a:xfrm>
              <a:off x="2768600" y="2425700"/>
              <a:ext cx="85725" cy="361950"/>
            </a:xfrm>
            <a:custGeom>
              <a:avLst/>
              <a:gdLst>
                <a:gd name="T0" fmla="*/ 81 w 162"/>
                <a:gd name="T1" fmla="*/ 684 h 684"/>
                <a:gd name="T2" fmla="*/ 76 w 162"/>
                <a:gd name="T3" fmla="*/ 683 h 684"/>
                <a:gd name="T4" fmla="*/ 72 w 162"/>
                <a:gd name="T5" fmla="*/ 680 h 684"/>
                <a:gd name="T6" fmla="*/ 69 w 162"/>
                <a:gd name="T7" fmla="*/ 677 h 684"/>
                <a:gd name="T8" fmla="*/ 68 w 162"/>
                <a:gd name="T9" fmla="*/ 672 h 684"/>
                <a:gd name="T10" fmla="*/ 0 w 162"/>
                <a:gd name="T11" fmla="*/ 177 h 684"/>
                <a:gd name="T12" fmla="*/ 0 w 162"/>
                <a:gd name="T13" fmla="*/ 174 h 684"/>
                <a:gd name="T14" fmla="*/ 1 w 162"/>
                <a:gd name="T15" fmla="*/ 172 h 684"/>
                <a:gd name="T16" fmla="*/ 2 w 162"/>
                <a:gd name="T17" fmla="*/ 169 h 684"/>
                <a:gd name="T18" fmla="*/ 3 w 162"/>
                <a:gd name="T19" fmla="*/ 167 h 684"/>
                <a:gd name="T20" fmla="*/ 138 w 162"/>
                <a:gd name="T21" fmla="*/ 5 h 684"/>
                <a:gd name="T22" fmla="*/ 141 w 162"/>
                <a:gd name="T23" fmla="*/ 3 h 684"/>
                <a:gd name="T24" fmla="*/ 145 w 162"/>
                <a:gd name="T25" fmla="*/ 0 h 684"/>
                <a:gd name="T26" fmla="*/ 150 w 162"/>
                <a:gd name="T27" fmla="*/ 0 h 684"/>
                <a:gd name="T28" fmla="*/ 154 w 162"/>
                <a:gd name="T29" fmla="*/ 1 h 684"/>
                <a:gd name="T30" fmla="*/ 157 w 162"/>
                <a:gd name="T31" fmla="*/ 4 h 684"/>
                <a:gd name="T32" fmla="*/ 161 w 162"/>
                <a:gd name="T33" fmla="*/ 7 h 684"/>
                <a:gd name="T34" fmla="*/ 162 w 162"/>
                <a:gd name="T35" fmla="*/ 11 h 684"/>
                <a:gd name="T36" fmla="*/ 162 w 162"/>
                <a:gd name="T37" fmla="*/ 16 h 684"/>
                <a:gd name="T38" fmla="*/ 95 w 162"/>
                <a:gd name="T39" fmla="*/ 672 h 684"/>
                <a:gd name="T40" fmla="*/ 93 w 162"/>
                <a:gd name="T41" fmla="*/ 676 h 684"/>
                <a:gd name="T42" fmla="*/ 90 w 162"/>
                <a:gd name="T43" fmla="*/ 680 h 684"/>
                <a:gd name="T44" fmla="*/ 86 w 162"/>
                <a:gd name="T45" fmla="*/ 683 h 684"/>
                <a:gd name="T46" fmla="*/ 82 w 162"/>
                <a:gd name="T47" fmla="*/ 684 h 684"/>
                <a:gd name="T48" fmla="*/ 81 w 162"/>
                <a:gd name="T49" fmla="*/ 684 h 684"/>
                <a:gd name="T50" fmla="*/ 81 w 162"/>
                <a:gd name="T51" fmla="*/ 684 h 684"/>
                <a:gd name="T52" fmla="*/ 28 w 162"/>
                <a:gd name="T53" fmla="*/ 180 h 684"/>
                <a:gd name="T54" fmla="*/ 28 w 162"/>
                <a:gd name="T55" fmla="*/ 180 h 684"/>
                <a:gd name="T56" fmla="*/ 80 w 162"/>
                <a:gd name="T57" fmla="*/ 556 h 684"/>
                <a:gd name="T58" fmla="*/ 130 w 162"/>
                <a:gd name="T59" fmla="*/ 57 h 684"/>
                <a:gd name="T60" fmla="*/ 28 w 162"/>
                <a:gd name="T61" fmla="*/ 18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2" h="684">
                  <a:moveTo>
                    <a:pt x="81" y="684"/>
                  </a:moveTo>
                  <a:lnTo>
                    <a:pt x="76" y="683"/>
                  </a:lnTo>
                  <a:lnTo>
                    <a:pt x="72" y="680"/>
                  </a:lnTo>
                  <a:lnTo>
                    <a:pt x="69" y="677"/>
                  </a:lnTo>
                  <a:lnTo>
                    <a:pt x="68" y="672"/>
                  </a:lnTo>
                  <a:lnTo>
                    <a:pt x="0" y="177"/>
                  </a:lnTo>
                  <a:lnTo>
                    <a:pt x="0" y="174"/>
                  </a:lnTo>
                  <a:lnTo>
                    <a:pt x="1" y="172"/>
                  </a:lnTo>
                  <a:lnTo>
                    <a:pt x="2" y="169"/>
                  </a:lnTo>
                  <a:lnTo>
                    <a:pt x="3" y="167"/>
                  </a:lnTo>
                  <a:lnTo>
                    <a:pt x="138" y="5"/>
                  </a:lnTo>
                  <a:lnTo>
                    <a:pt x="141" y="3"/>
                  </a:lnTo>
                  <a:lnTo>
                    <a:pt x="145" y="0"/>
                  </a:lnTo>
                  <a:lnTo>
                    <a:pt x="150" y="0"/>
                  </a:lnTo>
                  <a:lnTo>
                    <a:pt x="154" y="1"/>
                  </a:lnTo>
                  <a:lnTo>
                    <a:pt x="157" y="4"/>
                  </a:lnTo>
                  <a:lnTo>
                    <a:pt x="161" y="7"/>
                  </a:lnTo>
                  <a:lnTo>
                    <a:pt x="162" y="11"/>
                  </a:lnTo>
                  <a:lnTo>
                    <a:pt x="162" y="16"/>
                  </a:lnTo>
                  <a:lnTo>
                    <a:pt x="95" y="672"/>
                  </a:lnTo>
                  <a:lnTo>
                    <a:pt x="93" y="676"/>
                  </a:lnTo>
                  <a:lnTo>
                    <a:pt x="90" y="680"/>
                  </a:lnTo>
                  <a:lnTo>
                    <a:pt x="86" y="683"/>
                  </a:lnTo>
                  <a:lnTo>
                    <a:pt x="82" y="684"/>
                  </a:lnTo>
                  <a:lnTo>
                    <a:pt x="81" y="684"/>
                  </a:lnTo>
                  <a:lnTo>
                    <a:pt x="81" y="684"/>
                  </a:lnTo>
                  <a:close/>
                  <a:moveTo>
                    <a:pt x="28" y="180"/>
                  </a:moveTo>
                  <a:lnTo>
                    <a:pt x="28" y="180"/>
                  </a:lnTo>
                  <a:lnTo>
                    <a:pt x="80" y="556"/>
                  </a:lnTo>
                  <a:lnTo>
                    <a:pt x="130" y="57"/>
                  </a:lnTo>
                  <a:lnTo>
                    <a:pt x="28" y="18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227"/>
            <p:cNvSpPr>
              <a:spLocks noEditPoints="1"/>
            </p:cNvSpPr>
            <p:nvPr userDrawn="1"/>
          </p:nvSpPr>
          <p:spPr bwMode="auto">
            <a:xfrm>
              <a:off x="2701925" y="2595563"/>
              <a:ext cx="95250" cy="314325"/>
            </a:xfrm>
            <a:custGeom>
              <a:avLst/>
              <a:gdLst>
                <a:gd name="T0" fmla="*/ 13 w 181"/>
                <a:gd name="T1" fmla="*/ 595 h 595"/>
                <a:gd name="T2" fmla="*/ 9 w 181"/>
                <a:gd name="T3" fmla="*/ 594 h 595"/>
                <a:gd name="T4" fmla="*/ 5 w 181"/>
                <a:gd name="T5" fmla="*/ 591 h 595"/>
                <a:gd name="T6" fmla="*/ 1 w 181"/>
                <a:gd name="T7" fmla="*/ 587 h 595"/>
                <a:gd name="T8" fmla="*/ 0 w 181"/>
                <a:gd name="T9" fmla="*/ 583 h 595"/>
                <a:gd name="T10" fmla="*/ 0 w 181"/>
                <a:gd name="T11" fmla="*/ 578 h 595"/>
                <a:gd name="T12" fmla="*/ 3 w 181"/>
                <a:gd name="T13" fmla="*/ 574 h 595"/>
                <a:gd name="T14" fmla="*/ 8 w 181"/>
                <a:gd name="T15" fmla="*/ 551 h 595"/>
                <a:gd name="T16" fmla="*/ 17 w 181"/>
                <a:gd name="T17" fmla="*/ 505 h 595"/>
                <a:gd name="T18" fmla="*/ 30 w 181"/>
                <a:gd name="T19" fmla="*/ 441 h 595"/>
                <a:gd name="T20" fmla="*/ 44 w 181"/>
                <a:gd name="T21" fmla="*/ 363 h 595"/>
                <a:gd name="T22" fmla="*/ 59 w 181"/>
                <a:gd name="T23" fmla="*/ 276 h 595"/>
                <a:gd name="T24" fmla="*/ 75 w 181"/>
                <a:gd name="T25" fmla="*/ 186 h 595"/>
                <a:gd name="T26" fmla="*/ 90 w 181"/>
                <a:gd name="T27" fmla="*/ 95 h 595"/>
                <a:gd name="T28" fmla="*/ 105 w 181"/>
                <a:gd name="T29" fmla="*/ 11 h 595"/>
                <a:gd name="T30" fmla="*/ 106 w 181"/>
                <a:gd name="T31" fmla="*/ 6 h 595"/>
                <a:gd name="T32" fmla="*/ 109 w 181"/>
                <a:gd name="T33" fmla="*/ 2 h 595"/>
                <a:gd name="T34" fmla="*/ 114 w 181"/>
                <a:gd name="T35" fmla="*/ 0 h 595"/>
                <a:gd name="T36" fmla="*/ 118 w 181"/>
                <a:gd name="T37" fmla="*/ 0 h 595"/>
                <a:gd name="T38" fmla="*/ 123 w 181"/>
                <a:gd name="T39" fmla="*/ 0 h 595"/>
                <a:gd name="T40" fmla="*/ 127 w 181"/>
                <a:gd name="T41" fmla="*/ 3 h 595"/>
                <a:gd name="T42" fmla="*/ 130 w 181"/>
                <a:gd name="T43" fmla="*/ 6 h 595"/>
                <a:gd name="T44" fmla="*/ 131 w 181"/>
                <a:gd name="T45" fmla="*/ 11 h 595"/>
                <a:gd name="T46" fmla="*/ 181 w 181"/>
                <a:gd name="T47" fmla="*/ 397 h 595"/>
                <a:gd name="T48" fmla="*/ 181 w 181"/>
                <a:gd name="T49" fmla="*/ 399 h 595"/>
                <a:gd name="T50" fmla="*/ 181 w 181"/>
                <a:gd name="T51" fmla="*/ 402 h 595"/>
                <a:gd name="T52" fmla="*/ 180 w 181"/>
                <a:gd name="T53" fmla="*/ 405 h 595"/>
                <a:gd name="T54" fmla="*/ 179 w 181"/>
                <a:gd name="T55" fmla="*/ 408 h 595"/>
                <a:gd name="T56" fmla="*/ 24 w 181"/>
                <a:gd name="T57" fmla="*/ 589 h 595"/>
                <a:gd name="T58" fmla="*/ 24 w 181"/>
                <a:gd name="T59" fmla="*/ 589 h 595"/>
                <a:gd name="T60" fmla="*/ 24 w 181"/>
                <a:gd name="T61" fmla="*/ 589 h 595"/>
                <a:gd name="T62" fmla="*/ 22 w 181"/>
                <a:gd name="T63" fmla="*/ 591 h 595"/>
                <a:gd name="T64" fmla="*/ 20 w 181"/>
                <a:gd name="T65" fmla="*/ 594 h 595"/>
                <a:gd name="T66" fmla="*/ 17 w 181"/>
                <a:gd name="T67" fmla="*/ 595 h 595"/>
                <a:gd name="T68" fmla="*/ 13 w 181"/>
                <a:gd name="T69" fmla="*/ 595 h 595"/>
                <a:gd name="T70" fmla="*/ 116 w 181"/>
                <a:gd name="T71" fmla="*/ 105 h 595"/>
                <a:gd name="T72" fmla="*/ 116 w 181"/>
                <a:gd name="T73" fmla="*/ 105 h 595"/>
                <a:gd name="T74" fmla="*/ 102 w 181"/>
                <a:gd name="T75" fmla="*/ 191 h 595"/>
                <a:gd name="T76" fmla="*/ 88 w 181"/>
                <a:gd name="T77" fmla="*/ 265 h 595"/>
                <a:gd name="T78" fmla="*/ 77 w 181"/>
                <a:gd name="T79" fmla="*/ 330 h 595"/>
                <a:gd name="T80" fmla="*/ 67 w 181"/>
                <a:gd name="T81" fmla="*/ 386 h 595"/>
                <a:gd name="T82" fmla="*/ 59 w 181"/>
                <a:gd name="T83" fmla="*/ 433 h 595"/>
                <a:gd name="T84" fmla="*/ 51 w 181"/>
                <a:gd name="T85" fmla="*/ 473 h 595"/>
                <a:gd name="T86" fmla="*/ 45 w 181"/>
                <a:gd name="T87" fmla="*/ 504 h 595"/>
                <a:gd name="T88" fmla="*/ 39 w 181"/>
                <a:gd name="T89" fmla="*/ 530 h 595"/>
                <a:gd name="T90" fmla="*/ 154 w 181"/>
                <a:gd name="T91" fmla="*/ 395 h 595"/>
                <a:gd name="T92" fmla="*/ 116 w 181"/>
                <a:gd name="T93" fmla="*/ 105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 h="595">
                  <a:moveTo>
                    <a:pt x="13" y="595"/>
                  </a:moveTo>
                  <a:lnTo>
                    <a:pt x="9" y="594"/>
                  </a:lnTo>
                  <a:lnTo>
                    <a:pt x="5" y="591"/>
                  </a:lnTo>
                  <a:lnTo>
                    <a:pt x="1" y="587"/>
                  </a:lnTo>
                  <a:lnTo>
                    <a:pt x="0" y="583"/>
                  </a:lnTo>
                  <a:lnTo>
                    <a:pt x="0" y="578"/>
                  </a:lnTo>
                  <a:lnTo>
                    <a:pt x="3" y="574"/>
                  </a:lnTo>
                  <a:lnTo>
                    <a:pt x="8" y="551"/>
                  </a:lnTo>
                  <a:lnTo>
                    <a:pt x="17" y="505"/>
                  </a:lnTo>
                  <a:lnTo>
                    <a:pt x="30" y="441"/>
                  </a:lnTo>
                  <a:lnTo>
                    <a:pt x="44" y="363"/>
                  </a:lnTo>
                  <a:lnTo>
                    <a:pt x="59" y="276"/>
                  </a:lnTo>
                  <a:lnTo>
                    <a:pt x="75" y="186"/>
                  </a:lnTo>
                  <a:lnTo>
                    <a:pt x="90" y="95"/>
                  </a:lnTo>
                  <a:lnTo>
                    <a:pt x="105" y="11"/>
                  </a:lnTo>
                  <a:lnTo>
                    <a:pt x="106" y="6"/>
                  </a:lnTo>
                  <a:lnTo>
                    <a:pt x="109" y="2"/>
                  </a:lnTo>
                  <a:lnTo>
                    <a:pt x="114" y="0"/>
                  </a:lnTo>
                  <a:lnTo>
                    <a:pt x="118" y="0"/>
                  </a:lnTo>
                  <a:lnTo>
                    <a:pt x="123" y="0"/>
                  </a:lnTo>
                  <a:lnTo>
                    <a:pt x="127" y="3"/>
                  </a:lnTo>
                  <a:lnTo>
                    <a:pt x="130" y="6"/>
                  </a:lnTo>
                  <a:lnTo>
                    <a:pt x="131" y="11"/>
                  </a:lnTo>
                  <a:lnTo>
                    <a:pt x="181" y="397"/>
                  </a:lnTo>
                  <a:lnTo>
                    <a:pt x="181" y="399"/>
                  </a:lnTo>
                  <a:lnTo>
                    <a:pt x="181" y="402"/>
                  </a:lnTo>
                  <a:lnTo>
                    <a:pt x="180" y="405"/>
                  </a:lnTo>
                  <a:lnTo>
                    <a:pt x="179" y="408"/>
                  </a:lnTo>
                  <a:lnTo>
                    <a:pt x="24" y="589"/>
                  </a:lnTo>
                  <a:lnTo>
                    <a:pt x="24" y="589"/>
                  </a:lnTo>
                  <a:lnTo>
                    <a:pt x="24" y="589"/>
                  </a:lnTo>
                  <a:lnTo>
                    <a:pt x="22" y="591"/>
                  </a:lnTo>
                  <a:lnTo>
                    <a:pt x="20" y="594"/>
                  </a:lnTo>
                  <a:lnTo>
                    <a:pt x="17" y="595"/>
                  </a:lnTo>
                  <a:lnTo>
                    <a:pt x="13" y="595"/>
                  </a:lnTo>
                  <a:close/>
                  <a:moveTo>
                    <a:pt x="116" y="105"/>
                  </a:moveTo>
                  <a:lnTo>
                    <a:pt x="116" y="105"/>
                  </a:lnTo>
                  <a:lnTo>
                    <a:pt x="102" y="191"/>
                  </a:lnTo>
                  <a:lnTo>
                    <a:pt x="88" y="265"/>
                  </a:lnTo>
                  <a:lnTo>
                    <a:pt x="77" y="330"/>
                  </a:lnTo>
                  <a:lnTo>
                    <a:pt x="67" y="386"/>
                  </a:lnTo>
                  <a:lnTo>
                    <a:pt x="59" y="433"/>
                  </a:lnTo>
                  <a:lnTo>
                    <a:pt x="51" y="473"/>
                  </a:lnTo>
                  <a:lnTo>
                    <a:pt x="45" y="504"/>
                  </a:lnTo>
                  <a:lnTo>
                    <a:pt x="39" y="530"/>
                  </a:lnTo>
                  <a:lnTo>
                    <a:pt x="154" y="395"/>
                  </a:lnTo>
                  <a:lnTo>
                    <a:pt x="116" y="10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228"/>
            <p:cNvSpPr>
              <a:spLocks/>
            </p:cNvSpPr>
            <p:nvPr userDrawn="1"/>
          </p:nvSpPr>
          <p:spPr bwMode="auto">
            <a:xfrm>
              <a:off x="4337050" y="5413375"/>
              <a:ext cx="687388" cy="95250"/>
            </a:xfrm>
            <a:custGeom>
              <a:avLst/>
              <a:gdLst>
                <a:gd name="T0" fmla="*/ 11 w 1299"/>
                <a:gd name="T1" fmla="*/ 181 h 181"/>
                <a:gd name="T2" fmla="*/ 4 w 1299"/>
                <a:gd name="T3" fmla="*/ 178 h 181"/>
                <a:gd name="T4" fmla="*/ 0 w 1299"/>
                <a:gd name="T5" fmla="*/ 171 h 181"/>
                <a:gd name="T6" fmla="*/ 2 w 1299"/>
                <a:gd name="T7" fmla="*/ 161 h 181"/>
                <a:gd name="T8" fmla="*/ 11 w 1299"/>
                <a:gd name="T9" fmla="*/ 153 h 181"/>
                <a:gd name="T10" fmla="*/ 52 w 1299"/>
                <a:gd name="T11" fmla="*/ 130 h 181"/>
                <a:gd name="T12" fmla="*/ 108 w 1299"/>
                <a:gd name="T13" fmla="*/ 104 h 181"/>
                <a:gd name="T14" fmla="*/ 159 w 1299"/>
                <a:gd name="T15" fmla="*/ 83 h 181"/>
                <a:gd name="T16" fmla="*/ 218 w 1299"/>
                <a:gd name="T17" fmla="*/ 63 h 181"/>
                <a:gd name="T18" fmla="*/ 288 w 1299"/>
                <a:gd name="T19" fmla="*/ 44 h 181"/>
                <a:gd name="T20" fmla="*/ 368 w 1299"/>
                <a:gd name="T21" fmla="*/ 27 h 181"/>
                <a:gd name="T22" fmla="*/ 458 w 1299"/>
                <a:gd name="T23" fmla="*/ 13 h 181"/>
                <a:gd name="T24" fmla="*/ 558 w 1299"/>
                <a:gd name="T25" fmla="*/ 4 h 181"/>
                <a:gd name="T26" fmla="*/ 668 w 1299"/>
                <a:gd name="T27" fmla="*/ 0 h 181"/>
                <a:gd name="T28" fmla="*/ 788 w 1299"/>
                <a:gd name="T29" fmla="*/ 4 h 181"/>
                <a:gd name="T30" fmla="*/ 919 w 1299"/>
                <a:gd name="T31" fmla="*/ 15 h 181"/>
                <a:gd name="T32" fmla="*/ 1059 w 1299"/>
                <a:gd name="T33" fmla="*/ 37 h 181"/>
                <a:gd name="T34" fmla="*/ 1209 w 1299"/>
                <a:gd name="T35" fmla="*/ 68 h 181"/>
                <a:gd name="T36" fmla="*/ 1293 w 1299"/>
                <a:gd name="T37" fmla="*/ 91 h 181"/>
                <a:gd name="T38" fmla="*/ 1299 w 1299"/>
                <a:gd name="T39" fmla="*/ 99 h 181"/>
                <a:gd name="T40" fmla="*/ 1296 w 1299"/>
                <a:gd name="T41" fmla="*/ 110 h 181"/>
                <a:gd name="T42" fmla="*/ 1287 w 1299"/>
                <a:gd name="T43" fmla="*/ 114 h 181"/>
                <a:gd name="T44" fmla="*/ 1204 w 1299"/>
                <a:gd name="T45" fmla="*/ 95 h 181"/>
                <a:gd name="T46" fmla="*/ 1056 w 1299"/>
                <a:gd name="T47" fmla="*/ 64 h 181"/>
                <a:gd name="T48" fmla="*/ 918 w 1299"/>
                <a:gd name="T49" fmla="*/ 42 h 181"/>
                <a:gd name="T50" fmla="*/ 789 w 1299"/>
                <a:gd name="T51" fmla="*/ 31 h 181"/>
                <a:gd name="T52" fmla="*/ 672 w 1299"/>
                <a:gd name="T53" fmla="*/ 27 h 181"/>
                <a:gd name="T54" fmla="*/ 564 w 1299"/>
                <a:gd name="T55" fmla="*/ 30 h 181"/>
                <a:gd name="T56" fmla="*/ 465 w 1299"/>
                <a:gd name="T57" fmla="*/ 39 h 181"/>
                <a:gd name="T58" fmla="*/ 377 w 1299"/>
                <a:gd name="T59" fmla="*/ 53 h 181"/>
                <a:gd name="T60" fmla="*/ 298 w 1299"/>
                <a:gd name="T61" fmla="*/ 69 h 181"/>
                <a:gd name="T62" fmla="*/ 230 w 1299"/>
                <a:gd name="T63" fmla="*/ 87 h 181"/>
                <a:gd name="T64" fmla="*/ 170 w 1299"/>
                <a:gd name="T65" fmla="*/ 107 h 181"/>
                <a:gd name="T66" fmla="*/ 122 w 1299"/>
                <a:gd name="T67" fmla="*/ 126 h 181"/>
                <a:gd name="T68" fmla="*/ 67 w 1299"/>
                <a:gd name="T69" fmla="*/ 152 h 181"/>
                <a:gd name="T70" fmla="*/ 27 w 1299"/>
                <a:gd name="T71" fmla="*/ 175 h 181"/>
                <a:gd name="T72" fmla="*/ 17 w 1299"/>
                <a:gd name="T7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9" h="181">
                  <a:moveTo>
                    <a:pt x="13" y="181"/>
                  </a:moveTo>
                  <a:lnTo>
                    <a:pt x="11" y="181"/>
                  </a:lnTo>
                  <a:lnTo>
                    <a:pt x="7" y="180"/>
                  </a:lnTo>
                  <a:lnTo>
                    <a:pt x="4" y="178"/>
                  </a:lnTo>
                  <a:lnTo>
                    <a:pt x="2" y="176"/>
                  </a:lnTo>
                  <a:lnTo>
                    <a:pt x="0" y="171"/>
                  </a:lnTo>
                  <a:lnTo>
                    <a:pt x="0" y="166"/>
                  </a:lnTo>
                  <a:lnTo>
                    <a:pt x="2" y="161"/>
                  </a:lnTo>
                  <a:lnTo>
                    <a:pt x="5" y="158"/>
                  </a:lnTo>
                  <a:lnTo>
                    <a:pt x="11" y="153"/>
                  </a:lnTo>
                  <a:lnTo>
                    <a:pt x="27" y="144"/>
                  </a:lnTo>
                  <a:lnTo>
                    <a:pt x="52" y="130"/>
                  </a:lnTo>
                  <a:lnTo>
                    <a:pt x="87" y="112"/>
                  </a:lnTo>
                  <a:lnTo>
                    <a:pt x="108" y="104"/>
                  </a:lnTo>
                  <a:lnTo>
                    <a:pt x="132" y="93"/>
                  </a:lnTo>
                  <a:lnTo>
                    <a:pt x="159" y="83"/>
                  </a:lnTo>
                  <a:lnTo>
                    <a:pt x="187" y="73"/>
                  </a:lnTo>
                  <a:lnTo>
                    <a:pt x="218" y="63"/>
                  </a:lnTo>
                  <a:lnTo>
                    <a:pt x="251" y="53"/>
                  </a:lnTo>
                  <a:lnTo>
                    <a:pt x="288" y="44"/>
                  </a:lnTo>
                  <a:lnTo>
                    <a:pt x="327" y="35"/>
                  </a:lnTo>
                  <a:lnTo>
                    <a:pt x="368" y="27"/>
                  </a:lnTo>
                  <a:lnTo>
                    <a:pt x="411" y="19"/>
                  </a:lnTo>
                  <a:lnTo>
                    <a:pt x="458" y="13"/>
                  </a:lnTo>
                  <a:lnTo>
                    <a:pt x="506" y="8"/>
                  </a:lnTo>
                  <a:lnTo>
                    <a:pt x="558" y="4"/>
                  </a:lnTo>
                  <a:lnTo>
                    <a:pt x="612" y="1"/>
                  </a:lnTo>
                  <a:lnTo>
                    <a:pt x="668" y="0"/>
                  </a:lnTo>
                  <a:lnTo>
                    <a:pt x="727" y="1"/>
                  </a:lnTo>
                  <a:lnTo>
                    <a:pt x="788" y="4"/>
                  </a:lnTo>
                  <a:lnTo>
                    <a:pt x="852" y="9"/>
                  </a:lnTo>
                  <a:lnTo>
                    <a:pt x="919" y="15"/>
                  </a:lnTo>
                  <a:lnTo>
                    <a:pt x="987" y="25"/>
                  </a:lnTo>
                  <a:lnTo>
                    <a:pt x="1059" y="37"/>
                  </a:lnTo>
                  <a:lnTo>
                    <a:pt x="1133" y="51"/>
                  </a:lnTo>
                  <a:lnTo>
                    <a:pt x="1209" y="68"/>
                  </a:lnTo>
                  <a:lnTo>
                    <a:pt x="1288" y="89"/>
                  </a:lnTo>
                  <a:lnTo>
                    <a:pt x="1293" y="91"/>
                  </a:lnTo>
                  <a:lnTo>
                    <a:pt x="1297" y="95"/>
                  </a:lnTo>
                  <a:lnTo>
                    <a:pt x="1299" y="99"/>
                  </a:lnTo>
                  <a:lnTo>
                    <a:pt x="1298" y="105"/>
                  </a:lnTo>
                  <a:lnTo>
                    <a:pt x="1296" y="110"/>
                  </a:lnTo>
                  <a:lnTo>
                    <a:pt x="1291" y="113"/>
                  </a:lnTo>
                  <a:lnTo>
                    <a:pt x="1287" y="114"/>
                  </a:lnTo>
                  <a:lnTo>
                    <a:pt x="1282" y="114"/>
                  </a:lnTo>
                  <a:lnTo>
                    <a:pt x="1204" y="95"/>
                  </a:lnTo>
                  <a:lnTo>
                    <a:pt x="1128" y="78"/>
                  </a:lnTo>
                  <a:lnTo>
                    <a:pt x="1056" y="64"/>
                  </a:lnTo>
                  <a:lnTo>
                    <a:pt x="985" y="52"/>
                  </a:lnTo>
                  <a:lnTo>
                    <a:pt x="918" y="42"/>
                  </a:lnTo>
                  <a:lnTo>
                    <a:pt x="852" y="36"/>
                  </a:lnTo>
                  <a:lnTo>
                    <a:pt x="789" y="31"/>
                  </a:lnTo>
                  <a:lnTo>
                    <a:pt x="729" y="28"/>
                  </a:lnTo>
                  <a:lnTo>
                    <a:pt x="672" y="27"/>
                  </a:lnTo>
                  <a:lnTo>
                    <a:pt x="616" y="28"/>
                  </a:lnTo>
                  <a:lnTo>
                    <a:pt x="564" y="30"/>
                  </a:lnTo>
                  <a:lnTo>
                    <a:pt x="513" y="35"/>
                  </a:lnTo>
                  <a:lnTo>
                    <a:pt x="465" y="39"/>
                  </a:lnTo>
                  <a:lnTo>
                    <a:pt x="420" y="45"/>
                  </a:lnTo>
                  <a:lnTo>
                    <a:pt x="377" y="53"/>
                  </a:lnTo>
                  <a:lnTo>
                    <a:pt x="337" y="60"/>
                  </a:lnTo>
                  <a:lnTo>
                    <a:pt x="298" y="69"/>
                  </a:lnTo>
                  <a:lnTo>
                    <a:pt x="263" y="78"/>
                  </a:lnTo>
                  <a:lnTo>
                    <a:pt x="230" y="87"/>
                  </a:lnTo>
                  <a:lnTo>
                    <a:pt x="200" y="97"/>
                  </a:lnTo>
                  <a:lnTo>
                    <a:pt x="170" y="107"/>
                  </a:lnTo>
                  <a:lnTo>
                    <a:pt x="146" y="117"/>
                  </a:lnTo>
                  <a:lnTo>
                    <a:pt x="122" y="126"/>
                  </a:lnTo>
                  <a:lnTo>
                    <a:pt x="101" y="136"/>
                  </a:lnTo>
                  <a:lnTo>
                    <a:pt x="67" y="152"/>
                  </a:lnTo>
                  <a:lnTo>
                    <a:pt x="42" y="166"/>
                  </a:lnTo>
                  <a:lnTo>
                    <a:pt x="27" y="175"/>
                  </a:lnTo>
                  <a:lnTo>
                    <a:pt x="21" y="179"/>
                  </a:lnTo>
                  <a:lnTo>
                    <a:pt x="17" y="181"/>
                  </a:lnTo>
                  <a:lnTo>
                    <a:pt x="13" y="18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229"/>
            <p:cNvSpPr>
              <a:spLocks/>
            </p:cNvSpPr>
            <p:nvPr userDrawn="1"/>
          </p:nvSpPr>
          <p:spPr bwMode="auto">
            <a:xfrm>
              <a:off x="4265613" y="5286375"/>
              <a:ext cx="679450" cy="76200"/>
            </a:xfrm>
            <a:custGeom>
              <a:avLst/>
              <a:gdLst>
                <a:gd name="T0" fmla="*/ 1270 w 1285"/>
                <a:gd name="T1" fmla="*/ 144 h 144"/>
                <a:gd name="T2" fmla="*/ 1171 w 1285"/>
                <a:gd name="T3" fmla="*/ 122 h 144"/>
                <a:gd name="T4" fmla="*/ 994 w 1285"/>
                <a:gd name="T5" fmla="*/ 86 h 144"/>
                <a:gd name="T6" fmla="*/ 835 w 1285"/>
                <a:gd name="T7" fmla="*/ 60 h 144"/>
                <a:gd name="T8" fmla="*/ 694 w 1285"/>
                <a:gd name="T9" fmla="*/ 43 h 144"/>
                <a:gd name="T10" fmla="*/ 570 w 1285"/>
                <a:gd name="T11" fmla="*/ 32 h 144"/>
                <a:gd name="T12" fmla="*/ 462 w 1285"/>
                <a:gd name="T13" fmla="*/ 29 h 144"/>
                <a:gd name="T14" fmla="*/ 368 w 1285"/>
                <a:gd name="T15" fmla="*/ 31 h 144"/>
                <a:gd name="T16" fmla="*/ 287 w 1285"/>
                <a:gd name="T17" fmla="*/ 37 h 144"/>
                <a:gd name="T18" fmla="*/ 220 w 1285"/>
                <a:gd name="T19" fmla="*/ 47 h 144"/>
                <a:gd name="T20" fmla="*/ 165 w 1285"/>
                <a:gd name="T21" fmla="*/ 60 h 144"/>
                <a:gd name="T22" fmla="*/ 120 w 1285"/>
                <a:gd name="T23" fmla="*/ 74 h 144"/>
                <a:gd name="T24" fmla="*/ 85 w 1285"/>
                <a:gd name="T25" fmla="*/ 88 h 144"/>
                <a:gd name="T26" fmla="*/ 49 w 1285"/>
                <a:gd name="T27" fmla="*/ 107 h 144"/>
                <a:gd name="T28" fmla="*/ 27 w 1285"/>
                <a:gd name="T29" fmla="*/ 125 h 144"/>
                <a:gd name="T30" fmla="*/ 20 w 1285"/>
                <a:gd name="T31" fmla="*/ 131 h 144"/>
                <a:gd name="T32" fmla="*/ 9 w 1285"/>
                <a:gd name="T33" fmla="*/ 133 h 144"/>
                <a:gd name="T34" fmla="*/ 2 w 1285"/>
                <a:gd name="T35" fmla="*/ 127 h 144"/>
                <a:gd name="T36" fmla="*/ 0 w 1285"/>
                <a:gd name="T37" fmla="*/ 117 h 144"/>
                <a:gd name="T38" fmla="*/ 6 w 1285"/>
                <a:gd name="T39" fmla="*/ 107 h 144"/>
                <a:gd name="T40" fmla="*/ 21 w 1285"/>
                <a:gd name="T41" fmla="*/ 93 h 144"/>
                <a:gd name="T42" fmla="*/ 41 w 1285"/>
                <a:gd name="T43" fmla="*/ 80 h 144"/>
                <a:gd name="T44" fmla="*/ 68 w 1285"/>
                <a:gd name="T45" fmla="*/ 65 h 144"/>
                <a:gd name="T46" fmla="*/ 103 w 1285"/>
                <a:gd name="T47" fmla="*/ 50 h 144"/>
                <a:gd name="T48" fmla="*/ 149 w 1285"/>
                <a:gd name="T49" fmla="*/ 35 h 144"/>
                <a:gd name="T50" fmla="*/ 205 w 1285"/>
                <a:gd name="T51" fmla="*/ 21 h 144"/>
                <a:gd name="T52" fmla="*/ 274 w 1285"/>
                <a:gd name="T53" fmla="*/ 10 h 144"/>
                <a:gd name="T54" fmla="*/ 355 w 1285"/>
                <a:gd name="T55" fmla="*/ 4 h 144"/>
                <a:gd name="T56" fmla="*/ 451 w 1285"/>
                <a:gd name="T57" fmla="*/ 0 h 144"/>
                <a:gd name="T58" fmla="*/ 561 w 1285"/>
                <a:gd name="T59" fmla="*/ 4 h 144"/>
                <a:gd name="T60" fmla="*/ 689 w 1285"/>
                <a:gd name="T61" fmla="*/ 13 h 144"/>
                <a:gd name="T62" fmla="*/ 832 w 1285"/>
                <a:gd name="T63" fmla="*/ 32 h 144"/>
                <a:gd name="T64" fmla="*/ 994 w 1285"/>
                <a:gd name="T65" fmla="*/ 59 h 144"/>
                <a:gd name="T66" fmla="*/ 1176 w 1285"/>
                <a:gd name="T67" fmla="*/ 95 h 144"/>
                <a:gd name="T68" fmla="*/ 1279 w 1285"/>
                <a:gd name="T69" fmla="*/ 120 h 144"/>
                <a:gd name="T70" fmla="*/ 1285 w 1285"/>
                <a:gd name="T71" fmla="*/ 129 h 144"/>
                <a:gd name="T72" fmla="*/ 1283 w 1285"/>
                <a:gd name="T73" fmla="*/ 139 h 144"/>
                <a:gd name="T74" fmla="*/ 1275 w 1285"/>
                <a:gd name="T7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5" h="144">
                  <a:moveTo>
                    <a:pt x="1271" y="144"/>
                  </a:moveTo>
                  <a:lnTo>
                    <a:pt x="1270" y="144"/>
                  </a:lnTo>
                  <a:lnTo>
                    <a:pt x="1267" y="144"/>
                  </a:lnTo>
                  <a:lnTo>
                    <a:pt x="1171" y="122"/>
                  </a:lnTo>
                  <a:lnTo>
                    <a:pt x="1081" y="103"/>
                  </a:lnTo>
                  <a:lnTo>
                    <a:pt x="994" y="86"/>
                  </a:lnTo>
                  <a:lnTo>
                    <a:pt x="912" y="72"/>
                  </a:lnTo>
                  <a:lnTo>
                    <a:pt x="835" y="60"/>
                  </a:lnTo>
                  <a:lnTo>
                    <a:pt x="763" y="50"/>
                  </a:lnTo>
                  <a:lnTo>
                    <a:pt x="694" y="43"/>
                  </a:lnTo>
                  <a:lnTo>
                    <a:pt x="630" y="36"/>
                  </a:lnTo>
                  <a:lnTo>
                    <a:pt x="570" y="32"/>
                  </a:lnTo>
                  <a:lnTo>
                    <a:pt x="514" y="30"/>
                  </a:lnTo>
                  <a:lnTo>
                    <a:pt x="462" y="29"/>
                  </a:lnTo>
                  <a:lnTo>
                    <a:pt x="412" y="29"/>
                  </a:lnTo>
                  <a:lnTo>
                    <a:pt x="368" y="31"/>
                  </a:lnTo>
                  <a:lnTo>
                    <a:pt x="326" y="34"/>
                  </a:lnTo>
                  <a:lnTo>
                    <a:pt x="287" y="37"/>
                  </a:lnTo>
                  <a:lnTo>
                    <a:pt x="252" y="41"/>
                  </a:lnTo>
                  <a:lnTo>
                    <a:pt x="220" y="47"/>
                  </a:lnTo>
                  <a:lnTo>
                    <a:pt x="191" y="53"/>
                  </a:lnTo>
                  <a:lnTo>
                    <a:pt x="165" y="60"/>
                  </a:lnTo>
                  <a:lnTo>
                    <a:pt x="141" y="66"/>
                  </a:lnTo>
                  <a:lnTo>
                    <a:pt x="120" y="74"/>
                  </a:lnTo>
                  <a:lnTo>
                    <a:pt x="101" y="80"/>
                  </a:lnTo>
                  <a:lnTo>
                    <a:pt x="85" y="88"/>
                  </a:lnTo>
                  <a:lnTo>
                    <a:pt x="71" y="94"/>
                  </a:lnTo>
                  <a:lnTo>
                    <a:pt x="49" y="107"/>
                  </a:lnTo>
                  <a:lnTo>
                    <a:pt x="35" y="118"/>
                  </a:lnTo>
                  <a:lnTo>
                    <a:pt x="27" y="125"/>
                  </a:lnTo>
                  <a:lnTo>
                    <a:pt x="23" y="128"/>
                  </a:lnTo>
                  <a:lnTo>
                    <a:pt x="20" y="131"/>
                  </a:lnTo>
                  <a:lnTo>
                    <a:pt x="15" y="133"/>
                  </a:lnTo>
                  <a:lnTo>
                    <a:pt x="9" y="133"/>
                  </a:lnTo>
                  <a:lnTo>
                    <a:pt x="5" y="131"/>
                  </a:lnTo>
                  <a:lnTo>
                    <a:pt x="2" y="127"/>
                  </a:lnTo>
                  <a:lnTo>
                    <a:pt x="0" y="122"/>
                  </a:lnTo>
                  <a:lnTo>
                    <a:pt x="0" y="117"/>
                  </a:lnTo>
                  <a:lnTo>
                    <a:pt x="2" y="112"/>
                  </a:lnTo>
                  <a:lnTo>
                    <a:pt x="6" y="107"/>
                  </a:lnTo>
                  <a:lnTo>
                    <a:pt x="15" y="99"/>
                  </a:lnTo>
                  <a:lnTo>
                    <a:pt x="21" y="93"/>
                  </a:lnTo>
                  <a:lnTo>
                    <a:pt x="30" y="87"/>
                  </a:lnTo>
                  <a:lnTo>
                    <a:pt x="41" y="80"/>
                  </a:lnTo>
                  <a:lnTo>
                    <a:pt x="53" y="73"/>
                  </a:lnTo>
                  <a:lnTo>
                    <a:pt x="68" y="65"/>
                  </a:lnTo>
                  <a:lnTo>
                    <a:pt x="84" y="58"/>
                  </a:lnTo>
                  <a:lnTo>
                    <a:pt x="103" y="50"/>
                  </a:lnTo>
                  <a:lnTo>
                    <a:pt x="124" y="43"/>
                  </a:lnTo>
                  <a:lnTo>
                    <a:pt x="149" y="35"/>
                  </a:lnTo>
                  <a:lnTo>
                    <a:pt x="176" y="27"/>
                  </a:lnTo>
                  <a:lnTo>
                    <a:pt x="205" y="21"/>
                  </a:lnTo>
                  <a:lnTo>
                    <a:pt x="237" y="16"/>
                  </a:lnTo>
                  <a:lnTo>
                    <a:pt x="274" y="10"/>
                  </a:lnTo>
                  <a:lnTo>
                    <a:pt x="313" y="6"/>
                  </a:lnTo>
                  <a:lnTo>
                    <a:pt x="355" y="4"/>
                  </a:lnTo>
                  <a:lnTo>
                    <a:pt x="401" y="2"/>
                  </a:lnTo>
                  <a:lnTo>
                    <a:pt x="451" y="0"/>
                  </a:lnTo>
                  <a:lnTo>
                    <a:pt x="504" y="2"/>
                  </a:lnTo>
                  <a:lnTo>
                    <a:pt x="561" y="4"/>
                  </a:lnTo>
                  <a:lnTo>
                    <a:pt x="623" y="8"/>
                  </a:lnTo>
                  <a:lnTo>
                    <a:pt x="689" y="13"/>
                  </a:lnTo>
                  <a:lnTo>
                    <a:pt x="758" y="22"/>
                  </a:lnTo>
                  <a:lnTo>
                    <a:pt x="832" y="32"/>
                  </a:lnTo>
                  <a:lnTo>
                    <a:pt x="911" y="44"/>
                  </a:lnTo>
                  <a:lnTo>
                    <a:pt x="994" y="59"/>
                  </a:lnTo>
                  <a:lnTo>
                    <a:pt x="1083" y="76"/>
                  </a:lnTo>
                  <a:lnTo>
                    <a:pt x="1176" y="95"/>
                  </a:lnTo>
                  <a:lnTo>
                    <a:pt x="1274" y="118"/>
                  </a:lnTo>
                  <a:lnTo>
                    <a:pt x="1279" y="120"/>
                  </a:lnTo>
                  <a:lnTo>
                    <a:pt x="1283" y="123"/>
                  </a:lnTo>
                  <a:lnTo>
                    <a:pt x="1285" y="129"/>
                  </a:lnTo>
                  <a:lnTo>
                    <a:pt x="1284" y="134"/>
                  </a:lnTo>
                  <a:lnTo>
                    <a:pt x="1283" y="139"/>
                  </a:lnTo>
                  <a:lnTo>
                    <a:pt x="1279" y="142"/>
                  </a:lnTo>
                  <a:lnTo>
                    <a:pt x="1275" y="144"/>
                  </a:lnTo>
                  <a:lnTo>
                    <a:pt x="1271" y="14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230"/>
            <p:cNvSpPr>
              <a:spLocks/>
            </p:cNvSpPr>
            <p:nvPr userDrawn="1"/>
          </p:nvSpPr>
          <p:spPr bwMode="auto">
            <a:xfrm>
              <a:off x="4179888" y="5189538"/>
              <a:ext cx="679450" cy="76200"/>
            </a:xfrm>
            <a:custGeom>
              <a:avLst/>
              <a:gdLst>
                <a:gd name="T0" fmla="*/ 1270 w 1285"/>
                <a:gd name="T1" fmla="*/ 143 h 143"/>
                <a:gd name="T2" fmla="*/ 1173 w 1285"/>
                <a:gd name="T3" fmla="*/ 122 h 143"/>
                <a:gd name="T4" fmla="*/ 994 w 1285"/>
                <a:gd name="T5" fmla="*/ 85 h 143"/>
                <a:gd name="T6" fmla="*/ 836 w 1285"/>
                <a:gd name="T7" fmla="*/ 59 h 143"/>
                <a:gd name="T8" fmla="*/ 695 w 1285"/>
                <a:gd name="T9" fmla="*/ 42 h 143"/>
                <a:gd name="T10" fmla="*/ 570 w 1285"/>
                <a:gd name="T11" fmla="*/ 31 h 143"/>
                <a:gd name="T12" fmla="*/ 462 w 1285"/>
                <a:gd name="T13" fmla="*/ 28 h 143"/>
                <a:gd name="T14" fmla="*/ 368 w 1285"/>
                <a:gd name="T15" fmla="*/ 30 h 143"/>
                <a:gd name="T16" fmla="*/ 288 w 1285"/>
                <a:gd name="T17" fmla="*/ 37 h 143"/>
                <a:gd name="T18" fmla="*/ 220 w 1285"/>
                <a:gd name="T19" fmla="*/ 46 h 143"/>
                <a:gd name="T20" fmla="*/ 165 w 1285"/>
                <a:gd name="T21" fmla="*/ 59 h 143"/>
                <a:gd name="T22" fmla="*/ 121 w 1285"/>
                <a:gd name="T23" fmla="*/ 73 h 143"/>
                <a:gd name="T24" fmla="*/ 85 w 1285"/>
                <a:gd name="T25" fmla="*/ 87 h 143"/>
                <a:gd name="T26" fmla="*/ 49 w 1285"/>
                <a:gd name="T27" fmla="*/ 107 h 143"/>
                <a:gd name="T28" fmla="*/ 27 w 1285"/>
                <a:gd name="T29" fmla="*/ 124 h 143"/>
                <a:gd name="T30" fmla="*/ 20 w 1285"/>
                <a:gd name="T31" fmla="*/ 131 h 143"/>
                <a:gd name="T32" fmla="*/ 11 w 1285"/>
                <a:gd name="T33" fmla="*/ 133 h 143"/>
                <a:gd name="T34" fmla="*/ 2 w 1285"/>
                <a:gd name="T35" fmla="*/ 126 h 143"/>
                <a:gd name="T36" fmla="*/ 0 w 1285"/>
                <a:gd name="T37" fmla="*/ 117 h 143"/>
                <a:gd name="T38" fmla="*/ 6 w 1285"/>
                <a:gd name="T39" fmla="*/ 107 h 143"/>
                <a:gd name="T40" fmla="*/ 23 w 1285"/>
                <a:gd name="T41" fmla="*/ 93 h 143"/>
                <a:gd name="T42" fmla="*/ 41 w 1285"/>
                <a:gd name="T43" fmla="*/ 80 h 143"/>
                <a:gd name="T44" fmla="*/ 68 w 1285"/>
                <a:gd name="T45" fmla="*/ 65 h 143"/>
                <a:gd name="T46" fmla="*/ 103 w 1285"/>
                <a:gd name="T47" fmla="*/ 50 h 143"/>
                <a:gd name="T48" fmla="*/ 149 w 1285"/>
                <a:gd name="T49" fmla="*/ 34 h 143"/>
                <a:gd name="T50" fmla="*/ 205 w 1285"/>
                <a:gd name="T51" fmla="*/ 20 h 143"/>
                <a:gd name="T52" fmla="*/ 274 w 1285"/>
                <a:gd name="T53" fmla="*/ 10 h 143"/>
                <a:gd name="T54" fmla="*/ 355 w 1285"/>
                <a:gd name="T55" fmla="*/ 3 h 143"/>
                <a:gd name="T56" fmla="*/ 451 w 1285"/>
                <a:gd name="T57" fmla="*/ 0 h 143"/>
                <a:gd name="T58" fmla="*/ 561 w 1285"/>
                <a:gd name="T59" fmla="*/ 3 h 143"/>
                <a:gd name="T60" fmla="*/ 689 w 1285"/>
                <a:gd name="T61" fmla="*/ 13 h 143"/>
                <a:gd name="T62" fmla="*/ 832 w 1285"/>
                <a:gd name="T63" fmla="*/ 31 h 143"/>
                <a:gd name="T64" fmla="*/ 994 w 1285"/>
                <a:gd name="T65" fmla="*/ 58 h 143"/>
                <a:gd name="T66" fmla="*/ 1176 w 1285"/>
                <a:gd name="T67" fmla="*/ 95 h 143"/>
                <a:gd name="T68" fmla="*/ 1279 w 1285"/>
                <a:gd name="T69" fmla="*/ 120 h 143"/>
                <a:gd name="T70" fmla="*/ 1285 w 1285"/>
                <a:gd name="T71" fmla="*/ 128 h 143"/>
                <a:gd name="T72" fmla="*/ 1283 w 1285"/>
                <a:gd name="T73" fmla="*/ 138 h 143"/>
                <a:gd name="T74" fmla="*/ 1276 w 1285"/>
                <a:gd name="T75"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5" h="143">
                  <a:moveTo>
                    <a:pt x="1271" y="143"/>
                  </a:moveTo>
                  <a:lnTo>
                    <a:pt x="1270" y="143"/>
                  </a:lnTo>
                  <a:lnTo>
                    <a:pt x="1269" y="143"/>
                  </a:lnTo>
                  <a:lnTo>
                    <a:pt x="1173" y="122"/>
                  </a:lnTo>
                  <a:lnTo>
                    <a:pt x="1081" y="102"/>
                  </a:lnTo>
                  <a:lnTo>
                    <a:pt x="994" y="85"/>
                  </a:lnTo>
                  <a:lnTo>
                    <a:pt x="913" y="71"/>
                  </a:lnTo>
                  <a:lnTo>
                    <a:pt x="836" y="59"/>
                  </a:lnTo>
                  <a:lnTo>
                    <a:pt x="763" y="50"/>
                  </a:lnTo>
                  <a:lnTo>
                    <a:pt x="695" y="42"/>
                  </a:lnTo>
                  <a:lnTo>
                    <a:pt x="630" y="36"/>
                  </a:lnTo>
                  <a:lnTo>
                    <a:pt x="570" y="31"/>
                  </a:lnTo>
                  <a:lnTo>
                    <a:pt x="514" y="29"/>
                  </a:lnTo>
                  <a:lnTo>
                    <a:pt x="462" y="28"/>
                  </a:lnTo>
                  <a:lnTo>
                    <a:pt x="413" y="28"/>
                  </a:lnTo>
                  <a:lnTo>
                    <a:pt x="368" y="30"/>
                  </a:lnTo>
                  <a:lnTo>
                    <a:pt x="326" y="33"/>
                  </a:lnTo>
                  <a:lnTo>
                    <a:pt x="288" y="37"/>
                  </a:lnTo>
                  <a:lnTo>
                    <a:pt x="253" y="41"/>
                  </a:lnTo>
                  <a:lnTo>
                    <a:pt x="220" y="46"/>
                  </a:lnTo>
                  <a:lnTo>
                    <a:pt x="191" y="53"/>
                  </a:lnTo>
                  <a:lnTo>
                    <a:pt x="165" y="59"/>
                  </a:lnTo>
                  <a:lnTo>
                    <a:pt x="141" y="66"/>
                  </a:lnTo>
                  <a:lnTo>
                    <a:pt x="121" y="73"/>
                  </a:lnTo>
                  <a:lnTo>
                    <a:pt x="101" y="80"/>
                  </a:lnTo>
                  <a:lnTo>
                    <a:pt x="85" y="87"/>
                  </a:lnTo>
                  <a:lnTo>
                    <a:pt x="71" y="94"/>
                  </a:lnTo>
                  <a:lnTo>
                    <a:pt x="49" y="107"/>
                  </a:lnTo>
                  <a:lnTo>
                    <a:pt x="35" y="118"/>
                  </a:lnTo>
                  <a:lnTo>
                    <a:pt x="27" y="124"/>
                  </a:lnTo>
                  <a:lnTo>
                    <a:pt x="25" y="127"/>
                  </a:lnTo>
                  <a:lnTo>
                    <a:pt x="20" y="131"/>
                  </a:lnTo>
                  <a:lnTo>
                    <a:pt x="15" y="133"/>
                  </a:lnTo>
                  <a:lnTo>
                    <a:pt x="11" y="133"/>
                  </a:lnTo>
                  <a:lnTo>
                    <a:pt x="5" y="131"/>
                  </a:lnTo>
                  <a:lnTo>
                    <a:pt x="2" y="126"/>
                  </a:lnTo>
                  <a:lnTo>
                    <a:pt x="0" y="122"/>
                  </a:lnTo>
                  <a:lnTo>
                    <a:pt x="0" y="117"/>
                  </a:lnTo>
                  <a:lnTo>
                    <a:pt x="3" y="111"/>
                  </a:lnTo>
                  <a:lnTo>
                    <a:pt x="6" y="107"/>
                  </a:lnTo>
                  <a:lnTo>
                    <a:pt x="15" y="98"/>
                  </a:lnTo>
                  <a:lnTo>
                    <a:pt x="23" y="93"/>
                  </a:lnTo>
                  <a:lnTo>
                    <a:pt x="30" y="86"/>
                  </a:lnTo>
                  <a:lnTo>
                    <a:pt x="41" y="80"/>
                  </a:lnTo>
                  <a:lnTo>
                    <a:pt x="53" y="72"/>
                  </a:lnTo>
                  <a:lnTo>
                    <a:pt x="68" y="65"/>
                  </a:lnTo>
                  <a:lnTo>
                    <a:pt x="84" y="57"/>
                  </a:lnTo>
                  <a:lnTo>
                    <a:pt x="103" y="50"/>
                  </a:lnTo>
                  <a:lnTo>
                    <a:pt x="125" y="42"/>
                  </a:lnTo>
                  <a:lnTo>
                    <a:pt x="149" y="34"/>
                  </a:lnTo>
                  <a:lnTo>
                    <a:pt x="176" y="27"/>
                  </a:lnTo>
                  <a:lnTo>
                    <a:pt x="205" y="20"/>
                  </a:lnTo>
                  <a:lnTo>
                    <a:pt x="238" y="15"/>
                  </a:lnTo>
                  <a:lnTo>
                    <a:pt x="274" y="10"/>
                  </a:lnTo>
                  <a:lnTo>
                    <a:pt x="313" y="5"/>
                  </a:lnTo>
                  <a:lnTo>
                    <a:pt x="355" y="3"/>
                  </a:lnTo>
                  <a:lnTo>
                    <a:pt x="402" y="1"/>
                  </a:lnTo>
                  <a:lnTo>
                    <a:pt x="451" y="0"/>
                  </a:lnTo>
                  <a:lnTo>
                    <a:pt x="504" y="1"/>
                  </a:lnTo>
                  <a:lnTo>
                    <a:pt x="561" y="3"/>
                  </a:lnTo>
                  <a:lnTo>
                    <a:pt x="623" y="7"/>
                  </a:lnTo>
                  <a:lnTo>
                    <a:pt x="689" y="13"/>
                  </a:lnTo>
                  <a:lnTo>
                    <a:pt x="758" y="22"/>
                  </a:lnTo>
                  <a:lnTo>
                    <a:pt x="832" y="31"/>
                  </a:lnTo>
                  <a:lnTo>
                    <a:pt x="911" y="43"/>
                  </a:lnTo>
                  <a:lnTo>
                    <a:pt x="994" y="58"/>
                  </a:lnTo>
                  <a:lnTo>
                    <a:pt x="1083" y="75"/>
                  </a:lnTo>
                  <a:lnTo>
                    <a:pt x="1176" y="95"/>
                  </a:lnTo>
                  <a:lnTo>
                    <a:pt x="1274" y="118"/>
                  </a:lnTo>
                  <a:lnTo>
                    <a:pt x="1279" y="120"/>
                  </a:lnTo>
                  <a:lnTo>
                    <a:pt x="1283" y="123"/>
                  </a:lnTo>
                  <a:lnTo>
                    <a:pt x="1285" y="128"/>
                  </a:lnTo>
                  <a:lnTo>
                    <a:pt x="1285" y="134"/>
                  </a:lnTo>
                  <a:lnTo>
                    <a:pt x="1283" y="138"/>
                  </a:lnTo>
                  <a:lnTo>
                    <a:pt x="1279" y="141"/>
                  </a:lnTo>
                  <a:lnTo>
                    <a:pt x="1276" y="143"/>
                  </a:lnTo>
                  <a:lnTo>
                    <a:pt x="1271" y="14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231"/>
            <p:cNvSpPr>
              <a:spLocks/>
            </p:cNvSpPr>
            <p:nvPr userDrawn="1"/>
          </p:nvSpPr>
          <p:spPr bwMode="auto">
            <a:xfrm>
              <a:off x="4414838" y="5519738"/>
              <a:ext cx="747713" cy="138113"/>
            </a:xfrm>
            <a:custGeom>
              <a:avLst/>
              <a:gdLst>
                <a:gd name="T0" fmla="*/ 1399 w 1415"/>
                <a:gd name="T1" fmla="*/ 261 h 261"/>
                <a:gd name="T2" fmla="*/ 1390 w 1415"/>
                <a:gd name="T3" fmla="*/ 258 h 261"/>
                <a:gd name="T4" fmla="*/ 1351 w 1415"/>
                <a:gd name="T5" fmla="*/ 241 h 261"/>
                <a:gd name="T6" fmla="*/ 1280 w 1415"/>
                <a:gd name="T7" fmla="*/ 211 h 261"/>
                <a:gd name="T8" fmla="*/ 1181 w 1415"/>
                <a:gd name="T9" fmla="*/ 175 h 261"/>
                <a:gd name="T10" fmla="*/ 1059 w 1415"/>
                <a:gd name="T11" fmla="*/ 135 h 261"/>
                <a:gd name="T12" fmla="*/ 918 w 1415"/>
                <a:gd name="T13" fmla="*/ 96 h 261"/>
                <a:gd name="T14" fmla="*/ 805 w 1415"/>
                <a:gd name="T15" fmla="*/ 69 h 261"/>
                <a:gd name="T16" fmla="*/ 726 w 1415"/>
                <a:gd name="T17" fmla="*/ 54 h 261"/>
                <a:gd name="T18" fmla="*/ 645 w 1415"/>
                <a:gd name="T19" fmla="*/ 42 h 261"/>
                <a:gd name="T20" fmla="*/ 563 w 1415"/>
                <a:gd name="T21" fmla="*/ 32 h 261"/>
                <a:gd name="T22" fmla="*/ 494 w 1415"/>
                <a:gd name="T23" fmla="*/ 27 h 261"/>
                <a:gd name="T24" fmla="*/ 442 w 1415"/>
                <a:gd name="T25" fmla="*/ 27 h 261"/>
                <a:gd name="T26" fmla="*/ 392 w 1415"/>
                <a:gd name="T27" fmla="*/ 29 h 261"/>
                <a:gd name="T28" fmla="*/ 344 w 1415"/>
                <a:gd name="T29" fmla="*/ 33 h 261"/>
                <a:gd name="T30" fmla="*/ 277 w 1415"/>
                <a:gd name="T31" fmla="*/ 44 h 261"/>
                <a:gd name="T32" fmla="*/ 198 w 1415"/>
                <a:gd name="T33" fmla="*/ 62 h 261"/>
                <a:gd name="T34" fmla="*/ 131 w 1415"/>
                <a:gd name="T35" fmla="*/ 84 h 261"/>
                <a:gd name="T36" fmla="*/ 78 w 1415"/>
                <a:gd name="T37" fmla="*/ 105 h 261"/>
                <a:gd name="T38" fmla="*/ 30 w 1415"/>
                <a:gd name="T39" fmla="*/ 128 h 261"/>
                <a:gd name="T40" fmla="*/ 15 w 1415"/>
                <a:gd name="T41" fmla="*/ 136 h 261"/>
                <a:gd name="T42" fmla="*/ 5 w 1415"/>
                <a:gd name="T43" fmla="*/ 134 h 261"/>
                <a:gd name="T44" fmla="*/ 0 w 1415"/>
                <a:gd name="T45" fmla="*/ 124 h 261"/>
                <a:gd name="T46" fmla="*/ 2 w 1415"/>
                <a:gd name="T47" fmla="*/ 114 h 261"/>
                <a:gd name="T48" fmla="*/ 18 w 1415"/>
                <a:gd name="T49" fmla="*/ 103 h 261"/>
                <a:gd name="T50" fmla="*/ 70 w 1415"/>
                <a:gd name="T51" fmla="*/ 79 h 261"/>
                <a:gd name="T52" fmla="*/ 124 w 1415"/>
                <a:gd name="T53" fmla="*/ 57 h 261"/>
                <a:gd name="T54" fmla="*/ 192 w 1415"/>
                <a:gd name="T55" fmla="*/ 35 h 261"/>
                <a:gd name="T56" fmla="*/ 273 w 1415"/>
                <a:gd name="T57" fmla="*/ 17 h 261"/>
                <a:gd name="T58" fmla="*/ 342 w 1415"/>
                <a:gd name="T59" fmla="*/ 6 h 261"/>
                <a:gd name="T60" fmla="*/ 390 w 1415"/>
                <a:gd name="T61" fmla="*/ 2 h 261"/>
                <a:gd name="T62" fmla="*/ 442 w 1415"/>
                <a:gd name="T63" fmla="*/ 0 h 261"/>
                <a:gd name="T64" fmla="*/ 495 w 1415"/>
                <a:gd name="T65" fmla="*/ 0 h 261"/>
                <a:gd name="T66" fmla="*/ 565 w 1415"/>
                <a:gd name="T67" fmla="*/ 5 h 261"/>
                <a:gd name="T68" fmla="*/ 649 w 1415"/>
                <a:gd name="T69" fmla="*/ 15 h 261"/>
                <a:gd name="T70" fmla="*/ 731 w 1415"/>
                <a:gd name="T71" fmla="*/ 28 h 261"/>
                <a:gd name="T72" fmla="*/ 810 w 1415"/>
                <a:gd name="T73" fmla="*/ 43 h 261"/>
                <a:gd name="T74" fmla="*/ 925 w 1415"/>
                <a:gd name="T75" fmla="*/ 70 h 261"/>
                <a:gd name="T76" fmla="*/ 1066 w 1415"/>
                <a:gd name="T77" fmla="*/ 109 h 261"/>
                <a:gd name="T78" fmla="*/ 1191 w 1415"/>
                <a:gd name="T79" fmla="*/ 150 h 261"/>
                <a:gd name="T80" fmla="*/ 1290 w 1415"/>
                <a:gd name="T81" fmla="*/ 187 h 261"/>
                <a:gd name="T82" fmla="*/ 1362 w 1415"/>
                <a:gd name="T83" fmla="*/ 216 h 261"/>
                <a:gd name="T84" fmla="*/ 1401 w 1415"/>
                <a:gd name="T85" fmla="*/ 233 h 261"/>
                <a:gd name="T86" fmla="*/ 1412 w 1415"/>
                <a:gd name="T87" fmla="*/ 238 h 261"/>
                <a:gd name="T88" fmla="*/ 1415 w 1415"/>
                <a:gd name="T89" fmla="*/ 248 h 261"/>
                <a:gd name="T90" fmla="*/ 1412 w 1415"/>
                <a:gd name="T91" fmla="*/ 257 h 261"/>
                <a:gd name="T92" fmla="*/ 1405 w 1415"/>
                <a:gd name="T9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15" h="261">
                  <a:moveTo>
                    <a:pt x="1401" y="261"/>
                  </a:moveTo>
                  <a:lnTo>
                    <a:pt x="1399" y="261"/>
                  </a:lnTo>
                  <a:lnTo>
                    <a:pt x="1396" y="260"/>
                  </a:lnTo>
                  <a:lnTo>
                    <a:pt x="1390" y="258"/>
                  </a:lnTo>
                  <a:lnTo>
                    <a:pt x="1375" y="250"/>
                  </a:lnTo>
                  <a:lnTo>
                    <a:pt x="1351" y="241"/>
                  </a:lnTo>
                  <a:lnTo>
                    <a:pt x="1319" y="228"/>
                  </a:lnTo>
                  <a:lnTo>
                    <a:pt x="1280" y="211"/>
                  </a:lnTo>
                  <a:lnTo>
                    <a:pt x="1234" y="194"/>
                  </a:lnTo>
                  <a:lnTo>
                    <a:pt x="1181" y="175"/>
                  </a:lnTo>
                  <a:lnTo>
                    <a:pt x="1123" y="155"/>
                  </a:lnTo>
                  <a:lnTo>
                    <a:pt x="1059" y="135"/>
                  </a:lnTo>
                  <a:lnTo>
                    <a:pt x="991" y="115"/>
                  </a:lnTo>
                  <a:lnTo>
                    <a:pt x="918" y="96"/>
                  </a:lnTo>
                  <a:lnTo>
                    <a:pt x="844" y="78"/>
                  </a:lnTo>
                  <a:lnTo>
                    <a:pt x="805" y="69"/>
                  </a:lnTo>
                  <a:lnTo>
                    <a:pt x="765" y="61"/>
                  </a:lnTo>
                  <a:lnTo>
                    <a:pt x="726" y="54"/>
                  </a:lnTo>
                  <a:lnTo>
                    <a:pt x="685" y="47"/>
                  </a:lnTo>
                  <a:lnTo>
                    <a:pt x="645" y="42"/>
                  </a:lnTo>
                  <a:lnTo>
                    <a:pt x="604" y="37"/>
                  </a:lnTo>
                  <a:lnTo>
                    <a:pt x="563" y="32"/>
                  </a:lnTo>
                  <a:lnTo>
                    <a:pt x="521" y="29"/>
                  </a:lnTo>
                  <a:lnTo>
                    <a:pt x="494" y="27"/>
                  </a:lnTo>
                  <a:lnTo>
                    <a:pt x="468" y="27"/>
                  </a:lnTo>
                  <a:lnTo>
                    <a:pt x="442" y="27"/>
                  </a:lnTo>
                  <a:lnTo>
                    <a:pt x="416" y="27"/>
                  </a:lnTo>
                  <a:lnTo>
                    <a:pt x="392" y="29"/>
                  </a:lnTo>
                  <a:lnTo>
                    <a:pt x="368" y="31"/>
                  </a:lnTo>
                  <a:lnTo>
                    <a:pt x="344" y="33"/>
                  </a:lnTo>
                  <a:lnTo>
                    <a:pt x="321" y="37"/>
                  </a:lnTo>
                  <a:lnTo>
                    <a:pt x="277" y="44"/>
                  </a:lnTo>
                  <a:lnTo>
                    <a:pt x="236" y="53"/>
                  </a:lnTo>
                  <a:lnTo>
                    <a:pt x="198" y="62"/>
                  </a:lnTo>
                  <a:lnTo>
                    <a:pt x="163" y="73"/>
                  </a:lnTo>
                  <a:lnTo>
                    <a:pt x="131" y="84"/>
                  </a:lnTo>
                  <a:lnTo>
                    <a:pt x="103" y="95"/>
                  </a:lnTo>
                  <a:lnTo>
                    <a:pt x="78" y="105"/>
                  </a:lnTo>
                  <a:lnTo>
                    <a:pt x="58" y="114"/>
                  </a:lnTo>
                  <a:lnTo>
                    <a:pt x="30" y="128"/>
                  </a:lnTo>
                  <a:lnTo>
                    <a:pt x="20" y="134"/>
                  </a:lnTo>
                  <a:lnTo>
                    <a:pt x="15" y="136"/>
                  </a:lnTo>
                  <a:lnTo>
                    <a:pt x="9" y="136"/>
                  </a:lnTo>
                  <a:lnTo>
                    <a:pt x="5" y="134"/>
                  </a:lnTo>
                  <a:lnTo>
                    <a:pt x="2" y="129"/>
                  </a:lnTo>
                  <a:lnTo>
                    <a:pt x="0" y="124"/>
                  </a:lnTo>
                  <a:lnTo>
                    <a:pt x="0" y="120"/>
                  </a:lnTo>
                  <a:lnTo>
                    <a:pt x="2" y="114"/>
                  </a:lnTo>
                  <a:lnTo>
                    <a:pt x="6" y="111"/>
                  </a:lnTo>
                  <a:lnTo>
                    <a:pt x="18" y="103"/>
                  </a:lnTo>
                  <a:lnTo>
                    <a:pt x="48" y="88"/>
                  </a:lnTo>
                  <a:lnTo>
                    <a:pt x="70" y="79"/>
                  </a:lnTo>
                  <a:lnTo>
                    <a:pt x="95" y="69"/>
                  </a:lnTo>
                  <a:lnTo>
                    <a:pt x="124" y="57"/>
                  </a:lnTo>
                  <a:lnTo>
                    <a:pt x="156" y="46"/>
                  </a:lnTo>
                  <a:lnTo>
                    <a:pt x="192" y="35"/>
                  </a:lnTo>
                  <a:lnTo>
                    <a:pt x="231" y="26"/>
                  </a:lnTo>
                  <a:lnTo>
                    <a:pt x="273" y="17"/>
                  </a:lnTo>
                  <a:lnTo>
                    <a:pt x="318" y="10"/>
                  </a:lnTo>
                  <a:lnTo>
                    <a:pt x="342" y="6"/>
                  </a:lnTo>
                  <a:lnTo>
                    <a:pt x="366" y="3"/>
                  </a:lnTo>
                  <a:lnTo>
                    <a:pt x="390" y="2"/>
                  </a:lnTo>
                  <a:lnTo>
                    <a:pt x="415" y="0"/>
                  </a:lnTo>
                  <a:lnTo>
                    <a:pt x="442" y="0"/>
                  </a:lnTo>
                  <a:lnTo>
                    <a:pt x="468" y="0"/>
                  </a:lnTo>
                  <a:lnTo>
                    <a:pt x="495" y="0"/>
                  </a:lnTo>
                  <a:lnTo>
                    <a:pt x="523" y="2"/>
                  </a:lnTo>
                  <a:lnTo>
                    <a:pt x="565" y="5"/>
                  </a:lnTo>
                  <a:lnTo>
                    <a:pt x="606" y="10"/>
                  </a:lnTo>
                  <a:lnTo>
                    <a:pt x="649" y="15"/>
                  </a:lnTo>
                  <a:lnTo>
                    <a:pt x="690" y="20"/>
                  </a:lnTo>
                  <a:lnTo>
                    <a:pt x="731" y="28"/>
                  </a:lnTo>
                  <a:lnTo>
                    <a:pt x="771" y="34"/>
                  </a:lnTo>
                  <a:lnTo>
                    <a:pt x="810" y="43"/>
                  </a:lnTo>
                  <a:lnTo>
                    <a:pt x="849" y="52"/>
                  </a:lnTo>
                  <a:lnTo>
                    <a:pt x="925" y="70"/>
                  </a:lnTo>
                  <a:lnTo>
                    <a:pt x="998" y="89"/>
                  </a:lnTo>
                  <a:lnTo>
                    <a:pt x="1066" y="109"/>
                  </a:lnTo>
                  <a:lnTo>
                    <a:pt x="1131" y="129"/>
                  </a:lnTo>
                  <a:lnTo>
                    <a:pt x="1191" y="150"/>
                  </a:lnTo>
                  <a:lnTo>
                    <a:pt x="1243" y="169"/>
                  </a:lnTo>
                  <a:lnTo>
                    <a:pt x="1290" y="187"/>
                  </a:lnTo>
                  <a:lnTo>
                    <a:pt x="1330" y="203"/>
                  </a:lnTo>
                  <a:lnTo>
                    <a:pt x="1362" y="216"/>
                  </a:lnTo>
                  <a:lnTo>
                    <a:pt x="1386" y="227"/>
                  </a:lnTo>
                  <a:lnTo>
                    <a:pt x="1401" y="233"/>
                  </a:lnTo>
                  <a:lnTo>
                    <a:pt x="1408" y="235"/>
                  </a:lnTo>
                  <a:lnTo>
                    <a:pt x="1412" y="238"/>
                  </a:lnTo>
                  <a:lnTo>
                    <a:pt x="1414" y="243"/>
                  </a:lnTo>
                  <a:lnTo>
                    <a:pt x="1415" y="248"/>
                  </a:lnTo>
                  <a:lnTo>
                    <a:pt x="1414" y="254"/>
                  </a:lnTo>
                  <a:lnTo>
                    <a:pt x="1412" y="257"/>
                  </a:lnTo>
                  <a:lnTo>
                    <a:pt x="1409" y="259"/>
                  </a:lnTo>
                  <a:lnTo>
                    <a:pt x="1405" y="261"/>
                  </a:lnTo>
                  <a:lnTo>
                    <a:pt x="1401" y="26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232"/>
            <p:cNvSpPr>
              <a:spLocks/>
            </p:cNvSpPr>
            <p:nvPr userDrawn="1"/>
          </p:nvSpPr>
          <p:spPr bwMode="auto">
            <a:xfrm>
              <a:off x="4479925" y="5608638"/>
              <a:ext cx="733425" cy="163513"/>
            </a:xfrm>
            <a:custGeom>
              <a:avLst/>
              <a:gdLst>
                <a:gd name="T0" fmla="*/ 1371 w 1387"/>
                <a:gd name="T1" fmla="*/ 310 h 310"/>
                <a:gd name="T2" fmla="*/ 1336 w 1387"/>
                <a:gd name="T3" fmla="*/ 296 h 310"/>
                <a:gd name="T4" fmla="*/ 1264 w 1387"/>
                <a:gd name="T5" fmla="*/ 260 h 310"/>
                <a:gd name="T6" fmla="*/ 1146 w 1387"/>
                <a:gd name="T7" fmla="*/ 200 h 310"/>
                <a:gd name="T8" fmla="*/ 1021 w 1387"/>
                <a:gd name="T9" fmla="*/ 140 h 310"/>
                <a:gd name="T10" fmla="*/ 932 w 1387"/>
                <a:gd name="T11" fmla="*/ 104 h 310"/>
                <a:gd name="T12" fmla="*/ 838 w 1387"/>
                <a:gd name="T13" fmla="*/ 72 h 310"/>
                <a:gd name="T14" fmla="*/ 764 w 1387"/>
                <a:gd name="T15" fmla="*/ 52 h 310"/>
                <a:gd name="T16" fmla="*/ 714 w 1387"/>
                <a:gd name="T17" fmla="*/ 42 h 310"/>
                <a:gd name="T18" fmla="*/ 664 w 1387"/>
                <a:gd name="T19" fmla="*/ 35 h 310"/>
                <a:gd name="T20" fmla="*/ 613 w 1387"/>
                <a:gd name="T21" fmla="*/ 29 h 310"/>
                <a:gd name="T22" fmla="*/ 561 w 1387"/>
                <a:gd name="T23" fmla="*/ 28 h 310"/>
                <a:gd name="T24" fmla="*/ 509 w 1387"/>
                <a:gd name="T25" fmla="*/ 29 h 310"/>
                <a:gd name="T26" fmla="*/ 434 w 1387"/>
                <a:gd name="T27" fmla="*/ 37 h 310"/>
                <a:gd name="T28" fmla="*/ 340 w 1387"/>
                <a:gd name="T29" fmla="*/ 51 h 310"/>
                <a:gd name="T30" fmla="*/ 256 w 1387"/>
                <a:gd name="T31" fmla="*/ 67 h 310"/>
                <a:gd name="T32" fmla="*/ 182 w 1387"/>
                <a:gd name="T33" fmla="*/ 84 h 310"/>
                <a:gd name="T34" fmla="*/ 95 w 1387"/>
                <a:gd name="T35" fmla="*/ 108 h 310"/>
                <a:gd name="T36" fmla="*/ 28 w 1387"/>
                <a:gd name="T37" fmla="*/ 130 h 310"/>
                <a:gd name="T38" fmla="*/ 13 w 1387"/>
                <a:gd name="T39" fmla="*/ 134 h 310"/>
                <a:gd name="T40" fmla="*/ 4 w 1387"/>
                <a:gd name="T41" fmla="*/ 131 h 310"/>
                <a:gd name="T42" fmla="*/ 0 w 1387"/>
                <a:gd name="T43" fmla="*/ 121 h 310"/>
                <a:gd name="T44" fmla="*/ 4 w 1387"/>
                <a:gd name="T45" fmla="*/ 111 h 310"/>
                <a:gd name="T46" fmla="*/ 18 w 1387"/>
                <a:gd name="T47" fmla="*/ 105 h 310"/>
                <a:gd name="T48" fmla="*/ 86 w 1387"/>
                <a:gd name="T49" fmla="*/ 82 h 310"/>
                <a:gd name="T50" fmla="*/ 175 w 1387"/>
                <a:gd name="T51" fmla="*/ 58 h 310"/>
                <a:gd name="T52" fmla="*/ 249 w 1387"/>
                <a:gd name="T53" fmla="*/ 41 h 310"/>
                <a:gd name="T54" fmla="*/ 334 w 1387"/>
                <a:gd name="T55" fmla="*/ 25 h 310"/>
                <a:gd name="T56" fmla="*/ 429 w 1387"/>
                <a:gd name="T57" fmla="*/ 11 h 310"/>
                <a:gd name="T58" fmla="*/ 507 w 1387"/>
                <a:gd name="T59" fmla="*/ 2 h 310"/>
                <a:gd name="T60" fmla="*/ 561 w 1387"/>
                <a:gd name="T61" fmla="*/ 0 h 310"/>
                <a:gd name="T62" fmla="*/ 614 w 1387"/>
                <a:gd name="T63" fmla="*/ 2 h 310"/>
                <a:gd name="T64" fmla="*/ 666 w 1387"/>
                <a:gd name="T65" fmla="*/ 8 h 310"/>
                <a:gd name="T66" fmla="*/ 718 w 1387"/>
                <a:gd name="T67" fmla="*/ 15 h 310"/>
                <a:gd name="T68" fmla="*/ 768 w 1387"/>
                <a:gd name="T69" fmla="*/ 25 h 310"/>
                <a:gd name="T70" fmla="*/ 843 w 1387"/>
                <a:gd name="T71" fmla="*/ 45 h 310"/>
                <a:gd name="T72" fmla="*/ 939 w 1387"/>
                <a:gd name="T73" fmla="*/ 78 h 310"/>
                <a:gd name="T74" fmla="*/ 1031 w 1387"/>
                <a:gd name="T75" fmla="*/ 116 h 310"/>
                <a:gd name="T76" fmla="*/ 1157 w 1387"/>
                <a:gd name="T77" fmla="*/ 176 h 310"/>
                <a:gd name="T78" fmla="*/ 1276 w 1387"/>
                <a:gd name="T79" fmla="*/ 235 h 310"/>
                <a:gd name="T80" fmla="*/ 1347 w 1387"/>
                <a:gd name="T81" fmla="*/ 271 h 310"/>
                <a:gd name="T82" fmla="*/ 1384 w 1387"/>
                <a:gd name="T83" fmla="*/ 287 h 310"/>
                <a:gd name="T84" fmla="*/ 1387 w 1387"/>
                <a:gd name="T85" fmla="*/ 297 h 310"/>
                <a:gd name="T86" fmla="*/ 1384 w 1387"/>
                <a:gd name="T87" fmla="*/ 306 h 310"/>
                <a:gd name="T88" fmla="*/ 1377 w 1387"/>
                <a:gd name="T8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87" h="310">
                  <a:moveTo>
                    <a:pt x="1374" y="310"/>
                  </a:moveTo>
                  <a:lnTo>
                    <a:pt x="1371" y="310"/>
                  </a:lnTo>
                  <a:lnTo>
                    <a:pt x="1369" y="310"/>
                  </a:lnTo>
                  <a:lnTo>
                    <a:pt x="1336" y="296"/>
                  </a:lnTo>
                  <a:lnTo>
                    <a:pt x="1302" y="279"/>
                  </a:lnTo>
                  <a:lnTo>
                    <a:pt x="1264" y="260"/>
                  </a:lnTo>
                  <a:lnTo>
                    <a:pt x="1223" y="239"/>
                  </a:lnTo>
                  <a:lnTo>
                    <a:pt x="1146" y="200"/>
                  </a:lnTo>
                  <a:lnTo>
                    <a:pt x="1064" y="161"/>
                  </a:lnTo>
                  <a:lnTo>
                    <a:pt x="1021" y="140"/>
                  </a:lnTo>
                  <a:lnTo>
                    <a:pt x="977" y="122"/>
                  </a:lnTo>
                  <a:lnTo>
                    <a:pt x="932" y="104"/>
                  </a:lnTo>
                  <a:lnTo>
                    <a:pt x="885" y="88"/>
                  </a:lnTo>
                  <a:lnTo>
                    <a:pt x="838" y="72"/>
                  </a:lnTo>
                  <a:lnTo>
                    <a:pt x="789" y="58"/>
                  </a:lnTo>
                  <a:lnTo>
                    <a:pt x="764" y="52"/>
                  </a:lnTo>
                  <a:lnTo>
                    <a:pt x="739" y="47"/>
                  </a:lnTo>
                  <a:lnTo>
                    <a:pt x="714" y="42"/>
                  </a:lnTo>
                  <a:lnTo>
                    <a:pt x="690" y="38"/>
                  </a:lnTo>
                  <a:lnTo>
                    <a:pt x="664" y="35"/>
                  </a:lnTo>
                  <a:lnTo>
                    <a:pt x="639" y="31"/>
                  </a:lnTo>
                  <a:lnTo>
                    <a:pt x="613" y="29"/>
                  </a:lnTo>
                  <a:lnTo>
                    <a:pt x="587" y="28"/>
                  </a:lnTo>
                  <a:lnTo>
                    <a:pt x="561" y="28"/>
                  </a:lnTo>
                  <a:lnTo>
                    <a:pt x="535" y="28"/>
                  </a:lnTo>
                  <a:lnTo>
                    <a:pt x="509" y="29"/>
                  </a:lnTo>
                  <a:lnTo>
                    <a:pt x="483" y="31"/>
                  </a:lnTo>
                  <a:lnTo>
                    <a:pt x="434" y="37"/>
                  </a:lnTo>
                  <a:lnTo>
                    <a:pt x="385" y="44"/>
                  </a:lnTo>
                  <a:lnTo>
                    <a:pt x="340" y="51"/>
                  </a:lnTo>
                  <a:lnTo>
                    <a:pt x="296" y="59"/>
                  </a:lnTo>
                  <a:lnTo>
                    <a:pt x="256" y="67"/>
                  </a:lnTo>
                  <a:lnTo>
                    <a:pt x="217" y="76"/>
                  </a:lnTo>
                  <a:lnTo>
                    <a:pt x="182" y="84"/>
                  </a:lnTo>
                  <a:lnTo>
                    <a:pt x="150" y="93"/>
                  </a:lnTo>
                  <a:lnTo>
                    <a:pt x="95" y="108"/>
                  </a:lnTo>
                  <a:lnTo>
                    <a:pt x="54" y="121"/>
                  </a:lnTo>
                  <a:lnTo>
                    <a:pt x="28" y="130"/>
                  </a:lnTo>
                  <a:lnTo>
                    <a:pt x="18" y="134"/>
                  </a:lnTo>
                  <a:lnTo>
                    <a:pt x="13" y="134"/>
                  </a:lnTo>
                  <a:lnTo>
                    <a:pt x="8" y="133"/>
                  </a:lnTo>
                  <a:lnTo>
                    <a:pt x="4" y="131"/>
                  </a:lnTo>
                  <a:lnTo>
                    <a:pt x="1" y="126"/>
                  </a:lnTo>
                  <a:lnTo>
                    <a:pt x="0" y="121"/>
                  </a:lnTo>
                  <a:lnTo>
                    <a:pt x="1" y="116"/>
                  </a:lnTo>
                  <a:lnTo>
                    <a:pt x="4" y="111"/>
                  </a:lnTo>
                  <a:lnTo>
                    <a:pt x="8" y="108"/>
                  </a:lnTo>
                  <a:lnTo>
                    <a:pt x="18" y="105"/>
                  </a:lnTo>
                  <a:lnTo>
                    <a:pt x="44" y="96"/>
                  </a:lnTo>
                  <a:lnTo>
                    <a:pt x="86" y="82"/>
                  </a:lnTo>
                  <a:lnTo>
                    <a:pt x="142" y="67"/>
                  </a:lnTo>
                  <a:lnTo>
                    <a:pt x="175" y="58"/>
                  </a:lnTo>
                  <a:lnTo>
                    <a:pt x="210" y="50"/>
                  </a:lnTo>
                  <a:lnTo>
                    <a:pt x="249" y="41"/>
                  </a:lnTo>
                  <a:lnTo>
                    <a:pt x="291" y="32"/>
                  </a:lnTo>
                  <a:lnTo>
                    <a:pt x="334" y="25"/>
                  </a:lnTo>
                  <a:lnTo>
                    <a:pt x="381" y="17"/>
                  </a:lnTo>
                  <a:lnTo>
                    <a:pt x="429" y="11"/>
                  </a:lnTo>
                  <a:lnTo>
                    <a:pt x="480" y="4"/>
                  </a:lnTo>
                  <a:lnTo>
                    <a:pt x="507" y="2"/>
                  </a:lnTo>
                  <a:lnTo>
                    <a:pt x="534" y="1"/>
                  </a:lnTo>
                  <a:lnTo>
                    <a:pt x="561" y="0"/>
                  </a:lnTo>
                  <a:lnTo>
                    <a:pt x="587" y="1"/>
                  </a:lnTo>
                  <a:lnTo>
                    <a:pt x="614" y="2"/>
                  </a:lnTo>
                  <a:lnTo>
                    <a:pt x="640" y="4"/>
                  </a:lnTo>
                  <a:lnTo>
                    <a:pt x="666" y="8"/>
                  </a:lnTo>
                  <a:lnTo>
                    <a:pt x="692" y="11"/>
                  </a:lnTo>
                  <a:lnTo>
                    <a:pt x="718" y="15"/>
                  </a:lnTo>
                  <a:lnTo>
                    <a:pt x="743" y="20"/>
                  </a:lnTo>
                  <a:lnTo>
                    <a:pt x="768" y="25"/>
                  </a:lnTo>
                  <a:lnTo>
                    <a:pt x="793" y="31"/>
                  </a:lnTo>
                  <a:lnTo>
                    <a:pt x="843" y="45"/>
                  </a:lnTo>
                  <a:lnTo>
                    <a:pt x="892" y="61"/>
                  </a:lnTo>
                  <a:lnTo>
                    <a:pt x="939" y="78"/>
                  </a:lnTo>
                  <a:lnTo>
                    <a:pt x="986" y="96"/>
                  </a:lnTo>
                  <a:lnTo>
                    <a:pt x="1031" y="116"/>
                  </a:lnTo>
                  <a:lnTo>
                    <a:pt x="1074" y="135"/>
                  </a:lnTo>
                  <a:lnTo>
                    <a:pt x="1157" y="176"/>
                  </a:lnTo>
                  <a:lnTo>
                    <a:pt x="1235" y="215"/>
                  </a:lnTo>
                  <a:lnTo>
                    <a:pt x="1276" y="235"/>
                  </a:lnTo>
                  <a:lnTo>
                    <a:pt x="1313" y="255"/>
                  </a:lnTo>
                  <a:lnTo>
                    <a:pt x="1347" y="271"/>
                  </a:lnTo>
                  <a:lnTo>
                    <a:pt x="1379" y="284"/>
                  </a:lnTo>
                  <a:lnTo>
                    <a:pt x="1384" y="287"/>
                  </a:lnTo>
                  <a:lnTo>
                    <a:pt x="1386" y="292"/>
                  </a:lnTo>
                  <a:lnTo>
                    <a:pt x="1387" y="297"/>
                  </a:lnTo>
                  <a:lnTo>
                    <a:pt x="1386" y="302"/>
                  </a:lnTo>
                  <a:lnTo>
                    <a:pt x="1384" y="306"/>
                  </a:lnTo>
                  <a:lnTo>
                    <a:pt x="1382" y="308"/>
                  </a:lnTo>
                  <a:lnTo>
                    <a:pt x="1377" y="310"/>
                  </a:lnTo>
                  <a:lnTo>
                    <a:pt x="1374" y="31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233"/>
            <p:cNvSpPr>
              <a:spLocks/>
            </p:cNvSpPr>
            <p:nvPr userDrawn="1"/>
          </p:nvSpPr>
          <p:spPr bwMode="auto">
            <a:xfrm>
              <a:off x="4672013" y="6067425"/>
              <a:ext cx="654050" cy="349250"/>
            </a:xfrm>
            <a:custGeom>
              <a:avLst/>
              <a:gdLst>
                <a:gd name="T0" fmla="*/ 1219 w 1234"/>
                <a:gd name="T1" fmla="*/ 661 h 661"/>
                <a:gd name="T2" fmla="*/ 1213 w 1234"/>
                <a:gd name="T3" fmla="*/ 658 h 661"/>
                <a:gd name="T4" fmla="*/ 1190 w 1234"/>
                <a:gd name="T5" fmla="*/ 647 h 661"/>
                <a:gd name="T6" fmla="*/ 1133 w 1234"/>
                <a:gd name="T7" fmla="*/ 610 h 661"/>
                <a:gd name="T8" fmla="*/ 1037 w 1234"/>
                <a:gd name="T9" fmla="*/ 539 h 661"/>
                <a:gd name="T10" fmla="*/ 950 w 1234"/>
                <a:gd name="T11" fmla="*/ 469 h 661"/>
                <a:gd name="T12" fmla="*/ 900 w 1234"/>
                <a:gd name="T13" fmla="*/ 437 h 661"/>
                <a:gd name="T14" fmla="*/ 841 w 1234"/>
                <a:gd name="T15" fmla="*/ 403 h 661"/>
                <a:gd name="T16" fmla="*/ 773 w 1234"/>
                <a:gd name="T17" fmla="*/ 366 h 661"/>
                <a:gd name="T18" fmla="*/ 660 w 1234"/>
                <a:gd name="T19" fmla="*/ 309 h 661"/>
                <a:gd name="T20" fmla="*/ 499 w 1234"/>
                <a:gd name="T21" fmla="*/ 233 h 661"/>
                <a:gd name="T22" fmla="*/ 339 w 1234"/>
                <a:gd name="T23" fmla="*/ 163 h 661"/>
                <a:gd name="T24" fmla="*/ 194 w 1234"/>
                <a:gd name="T25" fmla="*/ 101 h 661"/>
                <a:gd name="T26" fmla="*/ 83 w 1234"/>
                <a:gd name="T27" fmla="*/ 56 h 661"/>
                <a:gd name="T28" fmla="*/ 18 w 1234"/>
                <a:gd name="T29" fmla="*/ 29 h 661"/>
                <a:gd name="T30" fmla="*/ 4 w 1234"/>
                <a:gd name="T31" fmla="*/ 23 h 661"/>
                <a:gd name="T32" fmla="*/ 0 w 1234"/>
                <a:gd name="T33" fmla="*/ 13 h 661"/>
                <a:gd name="T34" fmla="*/ 3 w 1234"/>
                <a:gd name="T35" fmla="*/ 3 h 661"/>
                <a:gd name="T36" fmla="*/ 13 w 1234"/>
                <a:gd name="T37" fmla="*/ 0 h 661"/>
                <a:gd name="T38" fmla="*/ 32 w 1234"/>
                <a:gd name="T39" fmla="*/ 6 h 661"/>
                <a:gd name="T40" fmla="*/ 101 w 1234"/>
                <a:gd name="T41" fmla="*/ 34 h 661"/>
                <a:gd name="T42" fmla="*/ 216 w 1234"/>
                <a:gd name="T43" fmla="*/ 81 h 661"/>
                <a:gd name="T44" fmla="*/ 360 w 1234"/>
                <a:gd name="T45" fmla="*/ 142 h 661"/>
                <a:gd name="T46" fmla="*/ 519 w 1234"/>
                <a:gd name="T47" fmla="*/ 213 h 661"/>
                <a:gd name="T48" fmla="*/ 679 w 1234"/>
                <a:gd name="T49" fmla="*/ 287 h 661"/>
                <a:gd name="T50" fmla="*/ 791 w 1234"/>
                <a:gd name="T51" fmla="*/ 344 h 661"/>
                <a:gd name="T52" fmla="*/ 858 w 1234"/>
                <a:gd name="T53" fmla="*/ 381 h 661"/>
                <a:gd name="T54" fmla="*/ 916 w 1234"/>
                <a:gd name="T55" fmla="*/ 416 h 661"/>
                <a:gd name="T56" fmla="*/ 966 w 1234"/>
                <a:gd name="T57" fmla="*/ 449 h 661"/>
                <a:gd name="T58" fmla="*/ 1051 w 1234"/>
                <a:gd name="T59" fmla="*/ 516 h 661"/>
                <a:gd name="T60" fmla="*/ 1145 w 1234"/>
                <a:gd name="T61" fmla="*/ 586 h 661"/>
                <a:gd name="T62" fmla="*/ 1199 w 1234"/>
                <a:gd name="T63" fmla="*/ 621 h 661"/>
                <a:gd name="T64" fmla="*/ 1221 w 1234"/>
                <a:gd name="T65" fmla="*/ 632 h 661"/>
                <a:gd name="T66" fmla="*/ 1228 w 1234"/>
                <a:gd name="T67" fmla="*/ 637 h 661"/>
                <a:gd name="T68" fmla="*/ 1234 w 1234"/>
                <a:gd name="T69" fmla="*/ 645 h 661"/>
                <a:gd name="T70" fmla="*/ 1232 w 1234"/>
                <a:gd name="T71" fmla="*/ 655 h 661"/>
                <a:gd name="T72" fmla="*/ 1225 w 1234"/>
                <a:gd name="T73" fmla="*/ 65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4" h="661">
                  <a:moveTo>
                    <a:pt x="1221" y="661"/>
                  </a:moveTo>
                  <a:lnTo>
                    <a:pt x="1219" y="661"/>
                  </a:lnTo>
                  <a:lnTo>
                    <a:pt x="1218" y="661"/>
                  </a:lnTo>
                  <a:lnTo>
                    <a:pt x="1213" y="658"/>
                  </a:lnTo>
                  <a:lnTo>
                    <a:pt x="1205" y="655"/>
                  </a:lnTo>
                  <a:lnTo>
                    <a:pt x="1190" y="647"/>
                  </a:lnTo>
                  <a:lnTo>
                    <a:pt x="1166" y="632"/>
                  </a:lnTo>
                  <a:lnTo>
                    <a:pt x="1133" y="610"/>
                  </a:lnTo>
                  <a:lnTo>
                    <a:pt x="1091" y="580"/>
                  </a:lnTo>
                  <a:lnTo>
                    <a:pt x="1037" y="539"/>
                  </a:lnTo>
                  <a:lnTo>
                    <a:pt x="969" y="486"/>
                  </a:lnTo>
                  <a:lnTo>
                    <a:pt x="950" y="469"/>
                  </a:lnTo>
                  <a:lnTo>
                    <a:pt x="926" y="454"/>
                  </a:lnTo>
                  <a:lnTo>
                    <a:pt x="900" y="437"/>
                  </a:lnTo>
                  <a:lnTo>
                    <a:pt x="872" y="420"/>
                  </a:lnTo>
                  <a:lnTo>
                    <a:pt x="841" y="403"/>
                  </a:lnTo>
                  <a:lnTo>
                    <a:pt x="808" y="384"/>
                  </a:lnTo>
                  <a:lnTo>
                    <a:pt x="773" y="366"/>
                  </a:lnTo>
                  <a:lnTo>
                    <a:pt x="737" y="346"/>
                  </a:lnTo>
                  <a:lnTo>
                    <a:pt x="660" y="309"/>
                  </a:lnTo>
                  <a:lnTo>
                    <a:pt x="581" y="271"/>
                  </a:lnTo>
                  <a:lnTo>
                    <a:pt x="499" y="233"/>
                  </a:lnTo>
                  <a:lnTo>
                    <a:pt x="418" y="197"/>
                  </a:lnTo>
                  <a:lnTo>
                    <a:pt x="339" y="163"/>
                  </a:lnTo>
                  <a:lnTo>
                    <a:pt x="263" y="131"/>
                  </a:lnTo>
                  <a:lnTo>
                    <a:pt x="194" y="101"/>
                  </a:lnTo>
                  <a:lnTo>
                    <a:pt x="134" y="77"/>
                  </a:lnTo>
                  <a:lnTo>
                    <a:pt x="83" y="56"/>
                  </a:lnTo>
                  <a:lnTo>
                    <a:pt x="43" y="40"/>
                  </a:lnTo>
                  <a:lnTo>
                    <a:pt x="18" y="29"/>
                  </a:lnTo>
                  <a:lnTo>
                    <a:pt x="8" y="26"/>
                  </a:lnTo>
                  <a:lnTo>
                    <a:pt x="4" y="23"/>
                  </a:lnTo>
                  <a:lnTo>
                    <a:pt x="1" y="18"/>
                  </a:lnTo>
                  <a:lnTo>
                    <a:pt x="0" y="13"/>
                  </a:lnTo>
                  <a:lnTo>
                    <a:pt x="1" y="9"/>
                  </a:lnTo>
                  <a:lnTo>
                    <a:pt x="3" y="3"/>
                  </a:lnTo>
                  <a:lnTo>
                    <a:pt x="7" y="1"/>
                  </a:lnTo>
                  <a:lnTo>
                    <a:pt x="13" y="0"/>
                  </a:lnTo>
                  <a:lnTo>
                    <a:pt x="18" y="1"/>
                  </a:lnTo>
                  <a:lnTo>
                    <a:pt x="32" y="6"/>
                  </a:lnTo>
                  <a:lnTo>
                    <a:pt x="60" y="17"/>
                  </a:lnTo>
                  <a:lnTo>
                    <a:pt x="101" y="34"/>
                  </a:lnTo>
                  <a:lnTo>
                    <a:pt x="154" y="55"/>
                  </a:lnTo>
                  <a:lnTo>
                    <a:pt x="216" y="81"/>
                  </a:lnTo>
                  <a:lnTo>
                    <a:pt x="285" y="110"/>
                  </a:lnTo>
                  <a:lnTo>
                    <a:pt x="360" y="142"/>
                  </a:lnTo>
                  <a:lnTo>
                    <a:pt x="438" y="176"/>
                  </a:lnTo>
                  <a:lnTo>
                    <a:pt x="519" y="213"/>
                  </a:lnTo>
                  <a:lnTo>
                    <a:pt x="600" y="249"/>
                  </a:lnTo>
                  <a:lnTo>
                    <a:pt x="679" y="287"/>
                  </a:lnTo>
                  <a:lnTo>
                    <a:pt x="754" y="325"/>
                  </a:lnTo>
                  <a:lnTo>
                    <a:pt x="791" y="344"/>
                  </a:lnTo>
                  <a:lnTo>
                    <a:pt x="825" y="363"/>
                  </a:lnTo>
                  <a:lnTo>
                    <a:pt x="858" y="381"/>
                  </a:lnTo>
                  <a:lnTo>
                    <a:pt x="888" y="398"/>
                  </a:lnTo>
                  <a:lnTo>
                    <a:pt x="916" y="416"/>
                  </a:lnTo>
                  <a:lnTo>
                    <a:pt x="942" y="433"/>
                  </a:lnTo>
                  <a:lnTo>
                    <a:pt x="966" y="449"/>
                  </a:lnTo>
                  <a:lnTo>
                    <a:pt x="987" y="464"/>
                  </a:lnTo>
                  <a:lnTo>
                    <a:pt x="1051" y="516"/>
                  </a:lnTo>
                  <a:lnTo>
                    <a:pt x="1104" y="556"/>
                  </a:lnTo>
                  <a:lnTo>
                    <a:pt x="1145" y="586"/>
                  </a:lnTo>
                  <a:lnTo>
                    <a:pt x="1177" y="607"/>
                  </a:lnTo>
                  <a:lnTo>
                    <a:pt x="1199" y="621"/>
                  </a:lnTo>
                  <a:lnTo>
                    <a:pt x="1213" y="629"/>
                  </a:lnTo>
                  <a:lnTo>
                    <a:pt x="1221" y="632"/>
                  </a:lnTo>
                  <a:lnTo>
                    <a:pt x="1224" y="634"/>
                  </a:lnTo>
                  <a:lnTo>
                    <a:pt x="1228" y="637"/>
                  </a:lnTo>
                  <a:lnTo>
                    <a:pt x="1232" y="640"/>
                  </a:lnTo>
                  <a:lnTo>
                    <a:pt x="1234" y="645"/>
                  </a:lnTo>
                  <a:lnTo>
                    <a:pt x="1234" y="651"/>
                  </a:lnTo>
                  <a:lnTo>
                    <a:pt x="1232" y="655"/>
                  </a:lnTo>
                  <a:lnTo>
                    <a:pt x="1228" y="657"/>
                  </a:lnTo>
                  <a:lnTo>
                    <a:pt x="1225" y="659"/>
                  </a:lnTo>
                  <a:lnTo>
                    <a:pt x="1221" y="66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234"/>
            <p:cNvSpPr>
              <a:spLocks/>
            </p:cNvSpPr>
            <p:nvPr userDrawn="1"/>
          </p:nvSpPr>
          <p:spPr bwMode="auto">
            <a:xfrm>
              <a:off x="4641850" y="5997575"/>
              <a:ext cx="714375" cy="198438"/>
            </a:xfrm>
            <a:custGeom>
              <a:avLst/>
              <a:gdLst>
                <a:gd name="T0" fmla="*/ 1332 w 1350"/>
                <a:gd name="T1" fmla="*/ 374 h 375"/>
                <a:gd name="T2" fmla="*/ 1314 w 1350"/>
                <a:gd name="T3" fmla="*/ 361 h 375"/>
                <a:gd name="T4" fmla="*/ 1254 w 1350"/>
                <a:gd name="T5" fmla="*/ 315 h 375"/>
                <a:gd name="T6" fmla="*/ 1191 w 1350"/>
                <a:gd name="T7" fmla="*/ 271 h 375"/>
                <a:gd name="T8" fmla="*/ 1116 w 1350"/>
                <a:gd name="T9" fmla="*/ 223 h 375"/>
                <a:gd name="T10" fmla="*/ 1032 w 1350"/>
                <a:gd name="T11" fmla="*/ 172 h 375"/>
                <a:gd name="T12" fmla="*/ 940 w 1350"/>
                <a:gd name="T13" fmla="*/ 125 h 375"/>
                <a:gd name="T14" fmla="*/ 870 w 1350"/>
                <a:gd name="T15" fmla="*/ 96 h 375"/>
                <a:gd name="T16" fmla="*/ 823 w 1350"/>
                <a:gd name="T17" fmla="*/ 80 h 375"/>
                <a:gd name="T18" fmla="*/ 776 w 1350"/>
                <a:gd name="T19" fmla="*/ 66 h 375"/>
                <a:gd name="T20" fmla="*/ 723 w 1350"/>
                <a:gd name="T21" fmla="*/ 55 h 375"/>
                <a:gd name="T22" fmla="*/ 635 w 1350"/>
                <a:gd name="T23" fmla="*/ 43 h 375"/>
                <a:gd name="T24" fmla="*/ 509 w 1350"/>
                <a:gd name="T25" fmla="*/ 33 h 375"/>
                <a:gd name="T26" fmla="*/ 378 w 1350"/>
                <a:gd name="T27" fmla="*/ 28 h 375"/>
                <a:gd name="T28" fmla="*/ 256 w 1350"/>
                <a:gd name="T29" fmla="*/ 28 h 375"/>
                <a:gd name="T30" fmla="*/ 149 w 1350"/>
                <a:gd name="T31" fmla="*/ 29 h 375"/>
                <a:gd name="T32" fmla="*/ 67 w 1350"/>
                <a:gd name="T33" fmla="*/ 33 h 375"/>
                <a:gd name="T34" fmla="*/ 21 w 1350"/>
                <a:gd name="T35" fmla="*/ 35 h 375"/>
                <a:gd name="T36" fmla="*/ 9 w 1350"/>
                <a:gd name="T37" fmla="*/ 35 h 375"/>
                <a:gd name="T38" fmla="*/ 1 w 1350"/>
                <a:gd name="T39" fmla="*/ 27 h 375"/>
                <a:gd name="T40" fmla="*/ 0 w 1350"/>
                <a:gd name="T41" fmla="*/ 17 h 375"/>
                <a:gd name="T42" fmla="*/ 8 w 1350"/>
                <a:gd name="T43" fmla="*/ 10 h 375"/>
                <a:gd name="T44" fmla="*/ 23 w 1350"/>
                <a:gd name="T45" fmla="*/ 8 h 375"/>
                <a:gd name="T46" fmla="*/ 73 w 1350"/>
                <a:gd name="T47" fmla="*/ 6 h 375"/>
                <a:gd name="T48" fmla="*/ 156 w 1350"/>
                <a:gd name="T49" fmla="*/ 2 h 375"/>
                <a:gd name="T50" fmla="*/ 263 w 1350"/>
                <a:gd name="T51" fmla="*/ 0 h 375"/>
                <a:gd name="T52" fmla="*/ 386 w 1350"/>
                <a:gd name="T53" fmla="*/ 1 h 375"/>
                <a:gd name="T54" fmla="*/ 515 w 1350"/>
                <a:gd name="T55" fmla="*/ 7 h 375"/>
                <a:gd name="T56" fmla="*/ 642 w 1350"/>
                <a:gd name="T57" fmla="*/ 16 h 375"/>
                <a:gd name="T58" fmla="*/ 729 w 1350"/>
                <a:gd name="T59" fmla="*/ 29 h 375"/>
                <a:gd name="T60" fmla="*/ 782 w 1350"/>
                <a:gd name="T61" fmla="*/ 40 h 375"/>
                <a:gd name="T62" fmla="*/ 831 w 1350"/>
                <a:gd name="T63" fmla="*/ 54 h 375"/>
                <a:gd name="T64" fmla="*/ 878 w 1350"/>
                <a:gd name="T65" fmla="*/ 70 h 375"/>
                <a:gd name="T66" fmla="*/ 951 w 1350"/>
                <a:gd name="T67" fmla="*/ 101 h 375"/>
                <a:gd name="T68" fmla="*/ 1043 w 1350"/>
                <a:gd name="T69" fmla="*/ 148 h 375"/>
                <a:gd name="T70" fmla="*/ 1130 w 1350"/>
                <a:gd name="T71" fmla="*/ 199 h 375"/>
                <a:gd name="T72" fmla="*/ 1206 w 1350"/>
                <a:gd name="T73" fmla="*/ 249 h 375"/>
                <a:gd name="T74" fmla="*/ 1270 w 1350"/>
                <a:gd name="T75" fmla="*/ 293 h 375"/>
                <a:gd name="T76" fmla="*/ 1332 w 1350"/>
                <a:gd name="T77" fmla="*/ 339 h 375"/>
                <a:gd name="T78" fmla="*/ 1348 w 1350"/>
                <a:gd name="T79" fmla="*/ 354 h 375"/>
                <a:gd name="T80" fmla="*/ 1349 w 1350"/>
                <a:gd name="T81" fmla="*/ 365 h 375"/>
                <a:gd name="T82" fmla="*/ 1345 w 1350"/>
                <a:gd name="T83" fmla="*/ 372 h 375"/>
                <a:gd name="T84" fmla="*/ 1339 w 1350"/>
                <a:gd name="T85" fmla="*/ 37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0" h="375">
                  <a:moveTo>
                    <a:pt x="1336" y="375"/>
                  </a:moveTo>
                  <a:lnTo>
                    <a:pt x="1332" y="374"/>
                  </a:lnTo>
                  <a:lnTo>
                    <a:pt x="1327" y="372"/>
                  </a:lnTo>
                  <a:lnTo>
                    <a:pt x="1314" y="361"/>
                  </a:lnTo>
                  <a:lnTo>
                    <a:pt x="1279" y="334"/>
                  </a:lnTo>
                  <a:lnTo>
                    <a:pt x="1254" y="315"/>
                  </a:lnTo>
                  <a:lnTo>
                    <a:pt x="1225" y="294"/>
                  </a:lnTo>
                  <a:lnTo>
                    <a:pt x="1191" y="271"/>
                  </a:lnTo>
                  <a:lnTo>
                    <a:pt x="1156" y="247"/>
                  </a:lnTo>
                  <a:lnTo>
                    <a:pt x="1116" y="223"/>
                  </a:lnTo>
                  <a:lnTo>
                    <a:pt x="1075" y="197"/>
                  </a:lnTo>
                  <a:lnTo>
                    <a:pt x="1032" y="172"/>
                  </a:lnTo>
                  <a:lnTo>
                    <a:pt x="986" y="148"/>
                  </a:lnTo>
                  <a:lnTo>
                    <a:pt x="940" y="125"/>
                  </a:lnTo>
                  <a:lnTo>
                    <a:pt x="893" y="105"/>
                  </a:lnTo>
                  <a:lnTo>
                    <a:pt x="870" y="96"/>
                  </a:lnTo>
                  <a:lnTo>
                    <a:pt x="846" y="88"/>
                  </a:lnTo>
                  <a:lnTo>
                    <a:pt x="823" y="80"/>
                  </a:lnTo>
                  <a:lnTo>
                    <a:pt x="799" y="73"/>
                  </a:lnTo>
                  <a:lnTo>
                    <a:pt x="776" y="66"/>
                  </a:lnTo>
                  <a:lnTo>
                    <a:pt x="750" y="61"/>
                  </a:lnTo>
                  <a:lnTo>
                    <a:pt x="723" y="55"/>
                  </a:lnTo>
                  <a:lnTo>
                    <a:pt x="695" y="51"/>
                  </a:lnTo>
                  <a:lnTo>
                    <a:pt x="635" y="43"/>
                  </a:lnTo>
                  <a:lnTo>
                    <a:pt x="573" y="38"/>
                  </a:lnTo>
                  <a:lnTo>
                    <a:pt x="509" y="33"/>
                  </a:lnTo>
                  <a:lnTo>
                    <a:pt x="443" y="30"/>
                  </a:lnTo>
                  <a:lnTo>
                    <a:pt x="378" y="28"/>
                  </a:lnTo>
                  <a:lnTo>
                    <a:pt x="316" y="27"/>
                  </a:lnTo>
                  <a:lnTo>
                    <a:pt x="256" y="28"/>
                  </a:lnTo>
                  <a:lnTo>
                    <a:pt x="200" y="28"/>
                  </a:lnTo>
                  <a:lnTo>
                    <a:pt x="149" y="29"/>
                  </a:lnTo>
                  <a:lnTo>
                    <a:pt x="104" y="32"/>
                  </a:lnTo>
                  <a:lnTo>
                    <a:pt x="67" y="33"/>
                  </a:lnTo>
                  <a:lnTo>
                    <a:pt x="39" y="34"/>
                  </a:lnTo>
                  <a:lnTo>
                    <a:pt x="21" y="35"/>
                  </a:lnTo>
                  <a:lnTo>
                    <a:pt x="14" y="35"/>
                  </a:lnTo>
                  <a:lnTo>
                    <a:pt x="9" y="35"/>
                  </a:lnTo>
                  <a:lnTo>
                    <a:pt x="5" y="32"/>
                  </a:lnTo>
                  <a:lnTo>
                    <a:pt x="1" y="27"/>
                  </a:lnTo>
                  <a:lnTo>
                    <a:pt x="0" y="23"/>
                  </a:lnTo>
                  <a:lnTo>
                    <a:pt x="0" y="17"/>
                  </a:lnTo>
                  <a:lnTo>
                    <a:pt x="4" y="13"/>
                  </a:lnTo>
                  <a:lnTo>
                    <a:pt x="8" y="10"/>
                  </a:lnTo>
                  <a:lnTo>
                    <a:pt x="13" y="8"/>
                  </a:lnTo>
                  <a:lnTo>
                    <a:pt x="23" y="8"/>
                  </a:lnTo>
                  <a:lnTo>
                    <a:pt x="42" y="7"/>
                  </a:lnTo>
                  <a:lnTo>
                    <a:pt x="73" y="6"/>
                  </a:lnTo>
                  <a:lnTo>
                    <a:pt x="110" y="3"/>
                  </a:lnTo>
                  <a:lnTo>
                    <a:pt x="156" y="2"/>
                  </a:lnTo>
                  <a:lnTo>
                    <a:pt x="207" y="1"/>
                  </a:lnTo>
                  <a:lnTo>
                    <a:pt x="263" y="0"/>
                  </a:lnTo>
                  <a:lnTo>
                    <a:pt x="323" y="0"/>
                  </a:lnTo>
                  <a:lnTo>
                    <a:pt x="386" y="1"/>
                  </a:lnTo>
                  <a:lnTo>
                    <a:pt x="451" y="3"/>
                  </a:lnTo>
                  <a:lnTo>
                    <a:pt x="515" y="7"/>
                  </a:lnTo>
                  <a:lnTo>
                    <a:pt x="579" y="11"/>
                  </a:lnTo>
                  <a:lnTo>
                    <a:pt x="642" y="16"/>
                  </a:lnTo>
                  <a:lnTo>
                    <a:pt x="701" y="25"/>
                  </a:lnTo>
                  <a:lnTo>
                    <a:pt x="729" y="29"/>
                  </a:lnTo>
                  <a:lnTo>
                    <a:pt x="756" y="35"/>
                  </a:lnTo>
                  <a:lnTo>
                    <a:pt x="782" y="40"/>
                  </a:lnTo>
                  <a:lnTo>
                    <a:pt x="807" y="47"/>
                  </a:lnTo>
                  <a:lnTo>
                    <a:pt x="831" y="54"/>
                  </a:lnTo>
                  <a:lnTo>
                    <a:pt x="854" y="62"/>
                  </a:lnTo>
                  <a:lnTo>
                    <a:pt x="878" y="70"/>
                  </a:lnTo>
                  <a:lnTo>
                    <a:pt x="902" y="80"/>
                  </a:lnTo>
                  <a:lnTo>
                    <a:pt x="951" y="101"/>
                  </a:lnTo>
                  <a:lnTo>
                    <a:pt x="997" y="123"/>
                  </a:lnTo>
                  <a:lnTo>
                    <a:pt x="1043" y="148"/>
                  </a:lnTo>
                  <a:lnTo>
                    <a:pt x="1088" y="173"/>
                  </a:lnTo>
                  <a:lnTo>
                    <a:pt x="1130" y="199"/>
                  </a:lnTo>
                  <a:lnTo>
                    <a:pt x="1170" y="225"/>
                  </a:lnTo>
                  <a:lnTo>
                    <a:pt x="1206" y="249"/>
                  </a:lnTo>
                  <a:lnTo>
                    <a:pt x="1240" y="272"/>
                  </a:lnTo>
                  <a:lnTo>
                    <a:pt x="1270" y="293"/>
                  </a:lnTo>
                  <a:lnTo>
                    <a:pt x="1295" y="312"/>
                  </a:lnTo>
                  <a:lnTo>
                    <a:pt x="1332" y="339"/>
                  </a:lnTo>
                  <a:lnTo>
                    <a:pt x="1345" y="350"/>
                  </a:lnTo>
                  <a:lnTo>
                    <a:pt x="1348" y="354"/>
                  </a:lnTo>
                  <a:lnTo>
                    <a:pt x="1350" y="360"/>
                  </a:lnTo>
                  <a:lnTo>
                    <a:pt x="1349" y="365"/>
                  </a:lnTo>
                  <a:lnTo>
                    <a:pt x="1347" y="369"/>
                  </a:lnTo>
                  <a:lnTo>
                    <a:pt x="1345" y="372"/>
                  </a:lnTo>
                  <a:lnTo>
                    <a:pt x="1341" y="373"/>
                  </a:lnTo>
                  <a:lnTo>
                    <a:pt x="1339" y="374"/>
                  </a:lnTo>
                  <a:lnTo>
                    <a:pt x="1336" y="3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235"/>
            <p:cNvSpPr>
              <a:spLocks/>
            </p:cNvSpPr>
            <p:nvPr userDrawn="1"/>
          </p:nvSpPr>
          <p:spPr bwMode="auto">
            <a:xfrm>
              <a:off x="4608513" y="5822950"/>
              <a:ext cx="714375" cy="188913"/>
            </a:xfrm>
            <a:custGeom>
              <a:avLst/>
              <a:gdLst>
                <a:gd name="T0" fmla="*/ 1334 w 1352"/>
                <a:gd name="T1" fmla="*/ 355 h 355"/>
                <a:gd name="T2" fmla="*/ 1323 w 1352"/>
                <a:gd name="T3" fmla="*/ 350 h 355"/>
                <a:gd name="T4" fmla="*/ 1273 w 1352"/>
                <a:gd name="T5" fmla="*/ 323 h 355"/>
                <a:gd name="T6" fmla="*/ 1183 w 1352"/>
                <a:gd name="T7" fmla="*/ 277 h 355"/>
                <a:gd name="T8" fmla="*/ 1065 w 1352"/>
                <a:gd name="T9" fmla="*/ 221 h 355"/>
                <a:gd name="T10" fmla="*/ 930 w 1352"/>
                <a:gd name="T11" fmla="*/ 161 h 355"/>
                <a:gd name="T12" fmla="*/ 824 w 1352"/>
                <a:gd name="T13" fmla="*/ 118 h 355"/>
                <a:gd name="T14" fmla="*/ 752 w 1352"/>
                <a:gd name="T15" fmla="*/ 92 h 355"/>
                <a:gd name="T16" fmla="*/ 683 w 1352"/>
                <a:gd name="T17" fmla="*/ 69 h 355"/>
                <a:gd name="T18" fmla="*/ 617 w 1352"/>
                <a:gd name="T19" fmla="*/ 50 h 355"/>
                <a:gd name="T20" fmla="*/ 555 w 1352"/>
                <a:gd name="T21" fmla="*/ 37 h 355"/>
                <a:gd name="T22" fmla="*/ 498 w 1352"/>
                <a:gd name="T23" fmla="*/ 29 h 355"/>
                <a:gd name="T24" fmla="*/ 449 w 1352"/>
                <a:gd name="T25" fmla="*/ 27 h 355"/>
                <a:gd name="T26" fmla="*/ 400 w 1352"/>
                <a:gd name="T27" fmla="*/ 29 h 355"/>
                <a:gd name="T28" fmla="*/ 333 w 1352"/>
                <a:gd name="T29" fmla="*/ 37 h 355"/>
                <a:gd name="T30" fmla="*/ 251 w 1352"/>
                <a:gd name="T31" fmla="*/ 51 h 355"/>
                <a:gd name="T32" fmla="*/ 180 w 1352"/>
                <a:gd name="T33" fmla="*/ 70 h 355"/>
                <a:gd name="T34" fmla="*/ 119 w 1352"/>
                <a:gd name="T35" fmla="*/ 91 h 355"/>
                <a:gd name="T36" fmla="*/ 73 w 1352"/>
                <a:gd name="T37" fmla="*/ 110 h 355"/>
                <a:gd name="T38" fmla="*/ 30 w 1352"/>
                <a:gd name="T39" fmla="*/ 132 h 355"/>
                <a:gd name="T40" fmla="*/ 16 w 1352"/>
                <a:gd name="T41" fmla="*/ 138 h 355"/>
                <a:gd name="T42" fmla="*/ 5 w 1352"/>
                <a:gd name="T43" fmla="*/ 136 h 355"/>
                <a:gd name="T44" fmla="*/ 0 w 1352"/>
                <a:gd name="T45" fmla="*/ 126 h 355"/>
                <a:gd name="T46" fmla="*/ 3 w 1352"/>
                <a:gd name="T47" fmla="*/ 117 h 355"/>
                <a:gd name="T48" fmla="*/ 18 w 1352"/>
                <a:gd name="T49" fmla="*/ 107 h 355"/>
                <a:gd name="T50" fmla="*/ 63 w 1352"/>
                <a:gd name="T51" fmla="*/ 84 h 355"/>
                <a:gd name="T52" fmla="*/ 112 w 1352"/>
                <a:gd name="T53" fmla="*/ 65 h 355"/>
                <a:gd name="T54" fmla="*/ 173 w 1352"/>
                <a:gd name="T55" fmla="*/ 43 h 355"/>
                <a:gd name="T56" fmla="*/ 247 w 1352"/>
                <a:gd name="T57" fmla="*/ 25 h 355"/>
                <a:gd name="T58" fmla="*/ 330 w 1352"/>
                <a:gd name="T59" fmla="*/ 10 h 355"/>
                <a:gd name="T60" fmla="*/ 399 w 1352"/>
                <a:gd name="T61" fmla="*/ 2 h 355"/>
                <a:gd name="T62" fmla="*/ 448 w 1352"/>
                <a:gd name="T63" fmla="*/ 0 h 355"/>
                <a:gd name="T64" fmla="*/ 500 w 1352"/>
                <a:gd name="T65" fmla="*/ 2 h 355"/>
                <a:gd name="T66" fmla="*/ 557 w 1352"/>
                <a:gd name="T67" fmla="*/ 9 h 355"/>
                <a:gd name="T68" fmla="*/ 619 w 1352"/>
                <a:gd name="T69" fmla="*/ 23 h 355"/>
                <a:gd name="T70" fmla="*/ 686 w 1352"/>
                <a:gd name="T71" fmla="*/ 41 h 355"/>
                <a:gd name="T72" fmla="*/ 755 w 1352"/>
                <a:gd name="T73" fmla="*/ 64 h 355"/>
                <a:gd name="T74" fmla="*/ 826 w 1352"/>
                <a:gd name="T75" fmla="*/ 90 h 355"/>
                <a:gd name="T76" fmla="*/ 933 w 1352"/>
                <a:gd name="T77" fmla="*/ 132 h 355"/>
                <a:gd name="T78" fmla="*/ 1068 w 1352"/>
                <a:gd name="T79" fmla="*/ 192 h 355"/>
                <a:gd name="T80" fmla="*/ 1186 w 1352"/>
                <a:gd name="T81" fmla="*/ 248 h 355"/>
                <a:gd name="T82" fmla="*/ 1278 w 1352"/>
                <a:gd name="T83" fmla="*/ 295 h 355"/>
                <a:gd name="T84" fmla="*/ 1333 w 1352"/>
                <a:gd name="T85" fmla="*/ 324 h 355"/>
                <a:gd name="T86" fmla="*/ 1348 w 1352"/>
                <a:gd name="T87" fmla="*/ 334 h 355"/>
                <a:gd name="T88" fmla="*/ 1352 w 1352"/>
                <a:gd name="T89" fmla="*/ 343 h 355"/>
                <a:gd name="T90" fmla="*/ 1347 w 1352"/>
                <a:gd name="T91" fmla="*/ 352 h 355"/>
                <a:gd name="T92" fmla="*/ 1341 w 1352"/>
                <a:gd name="T9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2" h="355">
                  <a:moveTo>
                    <a:pt x="1337" y="355"/>
                  </a:moveTo>
                  <a:lnTo>
                    <a:pt x="1334" y="355"/>
                  </a:lnTo>
                  <a:lnTo>
                    <a:pt x="1331" y="354"/>
                  </a:lnTo>
                  <a:lnTo>
                    <a:pt x="1323" y="350"/>
                  </a:lnTo>
                  <a:lnTo>
                    <a:pt x="1303" y="339"/>
                  </a:lnTo>
                  <a:lnTo>
                    <a:pt x="1273" y="323"/>
                  </a:lnTo>
                  <a:lnTo>
                    <a:pt x="1232" y="302"/>
                  </a:lnTo>
                  <a:lnTo>
                    <a:pt x="1183" y="277"/>
                  </a:lnTo>
                  <a:lnTo>
                    <a:pt x="1127" y="251"/>
                  </a:lnTo>
                  <a:lnTo>
                    <a:pt x="1065" y="221"/>
                  </a:lnTo>
                  <a:lnTo>
                    <a:pt x="1000" y="191"/>
                  </a:lnTo>
                  <a:lnTo>
                    <a:pt x="930" y="161"/>
                  </a:lnTo>
                  <a:lnTo>
                    <a:pt x="859" y="132"/>
                  </a:lnTo>
                  <a:lnTo>
                    <a:pt x="824" y="118"/>
                  </a:lnTo>
                  <a:lnTo>
                    <a:pt x="788" y="104"/>
                  </a:lnTo>
                  <a:lnTo>
                    <a:pt x="752" y="92"/>
                  </a:lnTo>
                  <a:lnTo>
                    <a:pt x="718" y="80"/>
                  </a:lnTo>
                  <a:lnTo>
                    <a:pt x="683" y="69"/>
                  </a:lnTo>
                  <a:lnTo>
                    <a:pt x="650" y="58"/>
                  </a:lnTo>
                  <a:lnTo>
                    <a:pt x="617" y="50"/>
                  </a:lnTo>
                  <a:lnTo>
                    <a:pt x="586" y="42"/>
                  </a:lnTo>
                  <a:lnTo>
                    <a:pt x="555" y="37"/>
                  </a:lnTo>
                  <a:lnTo>
                    <a:pt x="527" y="31"/>
                  </a:lnTo>
                  <a:lnTo>
                    <a:pt x="498" y="29"/>
                  </a:lnTo>
                  <a:lnTo>
                    <a:pt x="473" y="27"/>
                  </a:lnTo>
                  <a:lnTo>
                    <a:pt x="449" y="27"/>
                  </a:lnTo>
                  <a:lnTo>
                    <a:pt x="424" y="28"/>
                  </a:lnTo>
                  <a:lnTo>
                    <a:pt x="400" y="29"/>
                  </a:lnTo>
                  <a:lnTo>
                    <a:pt x="378" y="31"/>
                  </a:lnTo>
                  <a:lnTo>
                    <a:pt x="333" y="37"/>
                  </a:lnTo>
                  <a:lnTo>
                    <a:pt x="291" y="43"/>
                  </a:lnTo>
                  <a:lnTo>
                    <a:pt x="251" y="51"/>
                  </a:lnTo>
                  <a:lnTo>
                    <a:pt x="213" y="61"/>
                  </a:lnTo>
                  <a:lnTo>
                    <a:pt x="180" y="70"/>
                  </a:lnTo>
                  <a:lnTo>
                    <a:pt x="148" y="80"/>
                  </a:lnTo>
                  <a:lnTo>
                    <a:pt x="119" y="91"/>
                  </a:lnTo>
                  <a:lnTo>
                    <a:pt x="95" y="100"/>
                  </a:lnTo>
                  <a:lnTo>
                    <a:pt x="73" y="110"/>
                  </a:lnTo>
                  <a:lnTo>
                    <a:pt x="55" y="119"/>
                  </a:lnTo>
                  <a:lnTo>
                    <a:pt x="30" y="132"/>
                  </a:lnTo>
                  <a:lnTo>
                    <a:pt x="20" y="136"/>
                  </a:lnTo>
                  <a:lnTo>
                    <a:pt x="16" y="138"/>
                  </a:lnTo>
                  <a:lnTo>
                    <a:pt x="10" y="138"/>
                  </a:lnTo>
                  <a:lnTo>
                    <a:pt x="5" y="136"/>
                  </a:lnTo>
                  <a:lnTo>
                    <a:pt x="2" y="132"/>
                  </a:lnTo>
                  <a:lnTo>
                    <a:pt x="0" y="126"/>
                  </a:lnTo>
                  <a:lnTo>
                    <a:pt x="1" y="122"/>
                  </a:lnTo>
                  <a:lnTo>
                    <a:pt x="3" y="117"/>
                  </a:lnTo>
                  <a:lnTo>
                    <a:pt x="6" y="113"/>
                  </a:lnTo>
                  <a:lnTo>
                    <a:pt x="18" y="107"/>
                  </a:lnTo>
                  <a:lnTo>
                    <a:pt x="45" y="93"/>
                  </a:lnTo>
                  <a:lnTo>
                    <a:pt x="63" y="84"/>
                  </a:lnTo>
                  <a:lnTo>
                    <a:pt x="86" y="75"/>
                  </a:lnTo>
                  <a:lnTo>
                    <a:pt x="112" y="65"/>
                  </a:lnTo>
                  <a:lnTo>
                    <a:pt x="141" y="54"/>
                  </a:lnTo>
                  <a:lnTo>
                    <a:pt x="173" y="43"/>
                  </a:lnTo>
                  <a:lnTo>
                    <a:pt x="209" y="34"/>
                  </a:lnTo>
                  <a:lnTo>
                    <a:pt x="247" y="25"/>
                  </a:lnTo>
                  <a:lnTo>
                    <a:pt x="287" y="16"/>
                  </a:lnTo>
                  <a:lnTo>
                    <a:pt x="330" y="10"/>
                  </a:lnTo>
                  <a:lnTo>
                    <a:pt x="375" y="4"/>
                  </a:lnTo>
                  <a:lnTo>
                    <a:pt x="399" y="2"/>
                  </a:lnTo>
                  <a:lnTo>
                    <a:pt x="424" y="1"/>
                  </a:lnTo>
                  <a:lnTo>
                    <a:pt x="448" y="0"/>
                  </a:lnTo>
                  <a:lnTo>
                    <a:pt x="474" y="0"/>
                  </a:lnTo>
                  <a:lnTo>
                    <a:pt x="500" y="2"/>
                  </a:lnTo>
                  <a:lnTo>
                    <a:pt x="528" y="4"/>
                  </a:lnTo>
                  <a:lnTo>
                    <a:pt x="557" y="9"/>
                  </a:lnTo>
                  <a:lnTo>
                    <a:pt x="588" y="15"/>
                  </a:lnTo>
                  <a:lnTo>
                    <a:pt x="619" y="23"/>
                  </a:lnTo>
                  <a:lnTo>
                    <a:pt x="653" y="31"/>
                  </a:lnTo>
                  <a:lnTo>
                    <a:pt x="686" y="41"/>
                  </a:lnTo>
                  <a:lnTo>
                    <a:pt x="721" y="52"/>
                  </a:lnTo>
                  <a:lnTo>
                    <a:pt x="755" y="64"/>
                  </a:lnTo>
                  <a:lnTo>
                    <a:pt x="791" y="76"/>
                  </a:lnTo>
                  <a:lnTo>
                    <a:pt x="826" y="90"/>
                  </a:lnTo>
                  <a:lnTo>
                    <a:pt x="861" y="103"/>
                  </a:lnTo>
                  <a:lnTo>
                    <a:pt x="933" y="132"/>
                  </a:lnTo>
                  <a:lnTo>
                    <a:pt x="1002" y="162"/>
                  </a:lnTo>
                  <a:lnTo>
                    <a:pt x="1068" y="192"/>
                  </a:lnTo>
                  <a:lnTo>
                    <a:pt x="1129" y="221"/>
                  </a:lnTo>
                  <a:lnTo>
                    <a:pt x="1186" y="248"/>
                  </a:lnTo>
                  <a:lnTo>
                    <a:pt x="1236" y="273"/>
                  </a:lnTo>
                  <a:lnTo>
                    <a:pt x="1278" y="295"/>
                  </a:lnTo>
                  <a:lnTo>
                    <a:pt x="1311" y="312"/>
                  </a:lnTo>
                  <a:lnTo>
                    <a:pt x="1333" y="324"/>
                  </a:lnTo>
                  <a:lnTo>
                    <a:pt x="1344" y="330"/>
                  </a:lnTo>
                  <a:lnTo>
                    <a:pt x="1348" y="334"/>
                  </a:lnTo>
                  <a:lnTo>
                    <a:pt x="1350" y="338"/>
                  </a:lnTo>
                  <a:lnTo>
                    <a:pt x="1352" y="343"/>
                  </a:lnTo>
                  <a:lnTo>
                    <a:pt x="1349" y="349"/>
                  </a:lnTo>
                  <a:lnTo>
                    <a:pt x="1347" y="352"/>
                  </a:lnTo>
                  <a:lnTo>
                    <a:pt x="1344" y="354"/>
                  </a:lnTo>
                  <a:lnTo>
                    <a:pt x="1341" y="355"/>
                  </a:lnTo>
                  <a:lnTo>
                    <a:pt x="1337" y="35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236"/>
            <p:cNvSpPr>
              <a:spLocks/>
            </p:cNvSpPr>
            <p:nvPr userDrawn="1"/>
          </p:nvSpPr>
          <p:spPr bwMode="auto">
            <a:xfrm>
              <a:off x="4672013" y="6053138"/>
              <a:ext cx="654050" cy="349250"/>
            </a:xfrm>
            <a:custGeom>
              <a:avLst/>
              <a:gdLst>
                <a:gd name="T0" fmla="*/ 1219 w 1234"/>
                <a:gd name="T1" fmla="*/ 661 h 661"/>
                <a:gd name="T2" fmla="*/ 1213 w 1234"/>
                <a:gd name="T3" fmla="*/ 658 h 661"/>
                <a:gd name="T4" fmla="*/ 1190 w 1234"/>
                <a:gd name="T5" fmla="*/ 647 h 661"/>
                <a:gd name="T6" fmla="*/ 1133 w 1234"/>
                <a:gd name="T7" fmla="*/ 610 h 661"/>
                <a:gd name="T8" fmla="*/ 1037 w 1234"/>
                <a:gd name="T9" fmla="*/ 539 h 661"/>
                <a:gd name="T10" fmla="*/ 950 w 1234"/>
                <a:gd name="T11" fmla="*/ 470 h 661"/>
                <a:gd name="T12" fmla="*/ 900 w 1234"/>
                <a:gd name="T13" fmla="*/ 437 h 661"/>
                <a:gd name="T14" fmla="*/ 841 w 1234"/>
                <a:gd name="T15" fmla="*/ 403 h 661"/>
                <a:gd name="T16" fmla="*/ 773 w 1234"/>
                <a:gd name="T17" fmla="*/ 366 h 661"/>
                <a:gd name="T18" fmla="*/ 660 w 1234"/>
                <a:gd name="T19" fmla="*/ 309 h 661"/>
                <a:gd name="T20" fmla="*/ 499 w 1234"/>
                <a:gd name="T21" fmla="*/ 233 h 661"/>
                <a:gd name="T22" fmla="*/ 339 w 1234"/>
                <a:gd name="T23" fmla="*/ 163 h 661"/>
                <a:gd name="T24" fmla="*/ 194 w 1234"/>
                <a:gd name="T25" fmla="*/ 101 h 661"/>
                <a:gd name="T26" fmla="*/ 83 w 1234"/>
                <a:gd name="T27" fmla="*/ 56 h 661"/>
                <a:gd name="T28" fmla="*/ 18 w 1234"/>
                <a:gd name="T29" fmla="*/ 29 h 661"/>
                <a:gd name="T30" fmla="*/ 4 w 1234"/>
                <a:gd name="T31" fmla="*/ 23 h 661"/>
                <a:gd name="T32" fmla="*/ 0 w 1234"/>
                <a:gd name="T33" fmla="*/ 13 h 661"/>
                <a:gd name="T34" fmla="*/ 3 w 1234"/>
                <a:gd name="T35" fmla="*/ 3 h 661"/>
                <a:gd name="T36" fmla="*/ 13 w 1234"/>
                <a:gd name="T37" fmla="*/ 0 h 661"/>
                <a:gd name="T38" fmla="*/ 32 w 1234"/>
                <a:gd name="T39" fmla="*/ 6 h 661"/>
                <a:gd name="T40" fmla="*/ 101 w 1234"/>
                <a:gd name="T41" fmla="*/ 34 h 661"/>
                <a:gd name="T42" fmla="*/ 216 w 1234"/>
                <a:gd name="T43" fmla="*/ 81 h 661"/>
                <a:gd name="T44" fmla="*/ 360 w 1234"/>
                <a:gd name="T45" fmla="*/ 142 h 661"/>
                <a:gd name="T46" fmla="*/ 519 w 1234"/>
                <a:gd name="T47" fmla="*/ 213 h 661"/>
                <a:gd name="T48" fmla="*/ 679 w 1234"/>
                <a:gd name="T49" fmla="*/ 287 h 661"/>
                <a:gd name="T50" fmla="*/ 791 w 1234"/>
                <a:gd name="T51" fmla="*/ 344 h 661"/>
                <a:gd name="T52" fmla="*/ 858 w 1234"/>
                <a:gd name="T53" fmla="*/ 381 h 661"/>
                <a:gd name="T54" fmla="*/ 916 w 1234"/>
                <a:gd name="T55" fmla="*/ 416 h 661"/>
                <a:gd name="T56" fmla="*/ 966 w 1234"/>
                <a:gd name="T57" fmla="*/ 449 h 661"/>
                <a:gd name="T58" fmla="*/ 1051 w 1234"/>
                <a:gd name="T59" fmla="*/ 516 h 661"/>
                <a:gd name="T60" fmla="*/ 1145 w 1234"/>
                <a:gd name="T61" fmla="*/ 586 h 661"/>
                <a:gd name="T62" fmla="*/ 1199 w 1234"/>
                <a:gd name="T63" fmla="*/ 621 h 661"/>
                <a:gd name="T64" fmla="*/ 1221 w 1234"/>
                <a:gd name="T65" fmla="*/ 633 h 661"/>
                <a:gd name="T66" fmla="*/ 1228 w 1234"/>
                <a:gd name="T67" fmla="*/ 637 h 661"/>
                <a:gd name="T68" fmla="*/ 1234 w 1234"/>
                <a:gd name="T69" fmla="*/ 645 h 661"/>
                <a:gd name="T70" fmla="*/ 1232 w 1234"/>
                <a:gd name="T71" fmla="*/ 654 h 661"/>
                <a:gd name="T72" fmla="*/ 1225 w 1234"/>
                <a:gd name="T73" fmla="*/ 65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4" h="661">
                  <a:moveTo>
                    <a:pt x="1221" y="661"/>
                  </a:moveTo>
                  <a:lnTo>
                    <a:pt x="1219" y="661"/>
                  </a:lnTo>
                  <a:lnTo>
                    <a:pt x="1218" y="661"/>
                  </a:lnTo>
                  <a:lnTo>
                    <a:pt x="1213" y="658"/>
                  </a:lnTo>
                  <a:lnTo>
                    <a:pt x="1205" y="655"/>
                  </a:lnTo>
                  <a:lnTo>
                    <a:pt x="1190" y="647"/>
                  </a:lnTo>
                  <a:lnTo>
                    <a:pt x="1166" y="633"/>
                  </a:lnTo>
                  <a:lnTo>
                    <a:pt x="1133" y="610"/>
                  </a:lnTo>
                  <a:lnTo>
                    <a:pt x="1091" y="580"/>
                  </a:lnTo>
                  <a:lnTo>
                    <a:pt x="1037" y="539"/>
                  </a:lnTo>
                  <a:lnTo>
                    <a:pt x="969" y="486"/>
                  </a:lnTo>
                  <a:lnTo>
                    <a:pt x="950" y="470"/>
                  </a:lnTo>
                  <a:lnTo>
                    <a:pt x="926" y="454"/>
                  </a:lnTo>
                  <a:lnTo>
                    <a:pt x="900" y="437"/>
                  </a:lnTo>
                  <a:lnTo>
                    <a:pt x="872" y="420"/>
                  </a:lnTo>
                  <a:lnTo>
                    <a:pt x="841" y="403"/>
                  </a:lnTo>
                  <a:lnTo>
                    <a:pt x="808" y="384"/>
                  </a:lnTo>
                  <a:lnTo>
                    <a:pt x="773" y="366"/>
                  </a:lnTo>
                  <a:lnTo>
                    <a:pt x="737" y="346"/>
                  </a:lnTo>
                  <a:lnTo>
                    <a:pt x="660" y="309"/>
                  </a:lnTo>
                  <a:lnTo>
                    <a:pt x="581" y="271"/>
                  </a:lnTo>
                  <a:lnTo>
                    <a:pt x="499" y="233"/>
                  </a:lnTo>
                  <a:lnTo>
                    <a:pt x="418" y="197"/>
                  </a:lnTo>
                  <a:lnTo>
                    <a:pt x="339" y="163"/>
                  </a:lnTo>
                  <a:lnTo>
                    <a:pt x="263" y="131"/>
                  </a:lnTo>
                  <a:lnTo>
                    <a:pt x="194" y="101"/>
                  </a:lnTo>
                  <a:lnTo>
                    <a:pt x="134" y="77"/>
                  </a:lnTo>
                  <a:lnTo>
                    <a:pt x="83" y="56"/>
                  </a:lnTo>
                  <a:lnTo>
                    <a:pt x="43" y="40"/>
                  </a:lnTo>
                  <a:lnTo>
                    <a:pt x="18" y="29"/>
                  </a:lnTo>
                  <a:lnTo>
                    <a:pt x="8" y="26"/>
                  </a:lnTo>
                  <a:lnTo>
                    <a:pt x="4" y="23"/>
                  </a:lnTo>
                  <a:lnTo>
                    <a:pt x="1" y="18"/>
                  </a:lnTo>
                  <a:lnTo>
                    <a:pt x="0" y="13"/>
                  </a:lnTo>
                  <a:lnTo>
                    <a:pt x="1" y="9"/>
                  </a:lnTo>
                  <a:lnTo>
                    <a:pt x="3" y="3"/>
                  </a:lnTo>
                  <a:lnTo>
                    <a:pt x="7" y="1"/>
                  </a:lnTo>
                  <a:lnTo>
                    <a:pt x="13" y="0"/>
                  </a:lnTo>
                  <a:lnTo>
                    <a:pt x="18" y="0"/>
                  </a:lnTo>
                  <a:lnTo>
                    <a:pt x="32" y="6"/>
                  </a:lnTo>
                  <a:lnTo>
                    <a:pt x="60" y="17"/>
                  </a:lnTo>
                  <a:lnTo>
                    <a:pt x="101" y="34"/>
                  </a:lnTo>
                  <a:lnTo>
                    <a:pt x="154" y="55"/>
                  </a:lnTo>
                  <a:lnTo>
                    <a:pt x="216" y="81"/>
                  </a:lnTo>
                  <a:lnTo>
                    <a:pt x="285" y="110"/>
                  </a:lnTo>
                  <a:lnTo>
                    <a:pt x="360" y="142"/>
                  </a:lnTo>
                  <a:lnTo>
                    <a:pt x="438" y="176"/>
                  </a:lnTo>
                  <a:lnTo>
                    <a:pt x="519" y="213"/>
                  </a:lnTo>
                  <a:lnTo>
                    <a:pt x="600" y="249"/>
                  </a:lnTo>
                  <a:lnTo>
                    <a:pt x="679" y="287"/>
                  </a:lnTo>
                  <a:lnTo>
                    <a:pt x="754" y="325"/>
                  </a:lnTo>
                  <a:lnTo>
                    <a:pt x="791" y="344"/>
                  </a:lnTo>
                  <a:lnTo>
                    <a:pt x="825" y="363"/>
                  </a:lnTo>
                  <a:lnTo>
                    <a:pt x="858" y="381"/>
                  </a:lnTo>
                  <a:lnTo>
                    <a:pt x="888" y="398"/>
                  </a:lnTo>
                  <a:lnTo>
                    <a:pt x="916" y="416"/>
                  </a:lnTo>
                  <a:lnTo>
                    <a:pt x="942" y="433"/>
                  </a:lnTo>
                  <a:lnTo>
                    <a:pt x="966" y="449"/>
                  </a:lnTo>
                  <a:lnTo>
                    <a:pt x="987" y="464"/>
                  </a:lnTo>
                  <a:lnTo>
                    <a:pt x="1051" y="516"/>
                  </a:lnTo>
                  <a:lnTo>
                    <a:pt x="1104" y="556"/>
                  </a:lnTo>
                  <a:lnTo>
                    <a:pt x="1145" y="586"/>
                  </a:lnTo>
                  <a:lnTo>
                    <a:pt x="1177" y="607"/>
                  </a:lnTo>
                  <a:lnTo>
                    <a:pt x="1199" y="621"/>
                  </a:lnTo>
                  <a:lnTo>
                    <a:pt x="1213" y="629"/>
                  </a:lnTo>
                  <a:lnTo>
                    <a:pt x="1221" y="633"/>
                  </a:lnTo>
                  <a:lnTo>
                    <a:pt x="1224" y="634"/>
                  </a:lnTo>
                  <a:lnTo>
                    <a:pt x="1228" y="637"/>
                  </a:lnTo>
                  <a:lnTo>
                    <a:pt x="1232" y="640"/>
                  </a:lnTo>
                  <a:lnTo>
                    <a:pt x="1234" y="645"/>
                  </a:lnTo>
                  <a:lnTo>
                    <a:pt x="1234" y="651"/>
                  </a:lnTo>
                  <a:lnTo>
                    <a:pt x="1232" y="654"/>
                  </a:lnTo>
                  <a:lnTo>
                    <a:pt x="1228" y="657"/>
                  </a:lnTo>
                  <a:lnTo>
                    <a:pt x="1225" y="659"/>
                  </a:lnTo>
                  <a:lnTo>
                    <a:pt x="1221" y="66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237"/>
            <p:cNvSpPr>
              <a:spLocks/>
            </p:cNvSpPr>
            <p:nvPr userDrawn="1"/>
          </p:nvSpPr>
          <p:spPr bwMode="auto">
            <a:xfrm>
              <a:off x="4641850" y="5983288"/>
              <a:ext cx="714375" cy="198438"/>
            </a:xfrm>
            <a:custGeom>
              <a:avLst/>
              <a:gdLst>
                <a:gd name="T0" fmla="*/ 1332 w 1350"/>
                <a:gd name="T1" fmla="*/ 374 h 375"/>
                <a:gd name="T2" fmla="*/ 1314 w 1350"/>
                <a:gd name="T3" fmla="*/ 361 h 375"/>
                <a:gd name="T4" fmla="*/ 1254 w 1350"/>
                <a:gd name="T5" fmla="*/ 315 h 375"/>
                <a:gd name="T6" fmla="*/ 1191 w 1350"/>
                <a:gd name="T7" fmla="*/ 271 h 375"/>
                <a:gd name="T8" fmla="*/ 1116 w 1350"/>
                <a:gd name="T9" fmla="*/ 223 h 375"/>
                <a:gd name="T10" fmla="*/ 1032 w 1350"/>
                <a:gd name="T11" fmla="*/ 172 h 375"/>
                <a:gd name="T12" fmla="*/ 940 w 1350"/>
                <a:gd name="T13" fmla="*/ 125 h 375"/>
                <a:gd name="T14" fmla="*/ 870 w 1350"/>
                <a:gd name="T15" fmla="*/ 96 h 375"/>
                <a:gd name="T16" fmla="*/ 823 w 1350"/>
                <a:gd name="T17" fmla="*/ 80 h 375"/>
                <a:gd name="T18" fmla="*/ 776 w 1350"/>
                <a:gd name="T19" fmla="*/ 66 h 375"/>
                <a:gd name="T20" fmla="*/ 723 w 1350"/>
                <a:gd name="T21" fmla="*/ 55 h 375"/>
                <a:gd name="T22" fmla="*/ 635 w 1350"/>
                <a:gd name="T23" fmla="*/ 43 h 375"/>
                <a:gd name="T24" fmla="*/ 509 w 1350"/>
                <a:gd name="T25" fmla="*/ 33 h 375"/>
                <a:gd name="T26" fmla="*/ 378 w 1350"/>
                <a:gd name="T27" fmla="*/ 28 h 375"/>
                <a:gd name="T28" fmla="*/ 256 w 1350"/>
                <a:gd name="T29" fmla="*/ 28 h 375"/>
                <a:gd name="T30" fmla="*/ 149 w 1350"/>
                <a:gd name="T31" fmla="*/ 29 h 375"/>
                <a:gd name="T32" fmla="*/ 67 w 1350"/>
                <a:gd name="T33" fmla="*/ 33 h 375"/>
                <a:gd name="T34" fmla="*/ 21 w 1350"/>
                <a:gd name="T35" fmla="*/ 35 h 375"/>
                <a:gd name="T36" fmla="*/ 12 w 1350"/>
                <a:gd name="T37" fmla="*/ 35 h 375"/>
                <a:gd name="T38" fmla="*/ 7 w 1350"/>
                <a:gd name="T39" fmla="*/ 34 h 375"/>
                <a:gd name="T40" fmla="*/ 1 w 1350"/>
                <a:gd name="T41" fmla="*/ 27 h 375"/>
                <a:gd name="T42" fmla="*/ 0 w 1350"/>
                <a:gd name="T43" fmla="*/ 18 h 375"/>
                <a:gd name="T44" fmla="*/ 8 w 1350"/>
                <a:gd name="T45" fmla="*/ 10 h 375"/>
                <a:gd name="T46" fmla="*/ 23 w 1350"/>
                <a:gd name="T47" fmla="*/ 8 h 375"/>
                <a:gd name="T48" fmla="*/ 73 w 1350"/>
                <a:gd name="T49" fmla="*/ 6 h 375"/>
                <a:gd name="T50" fmla="*/ 156 w 1350"/>
                <a:gd name="T51" fmla="*/ 2 h 375"/>
                <a:gd name="T52" fmla="*/ 263 w 1350"/>
                <a:gd name="T53" fmla="*/ 0 h 375"/>
                <a:gd name="T54" fmla="*/ 386 w 1350"/>
                <a:gd name="T55" fmla="*/ 1 h 375"/>
                <a:gd name="T56" fmla="*/ 515 w 1350"/>
                <a:gd name="T57" fmla="*/ 6 h 375"/>
                <a:gd name="T58" fmla="*/ 642 w 1350"/>
                <a:gd name="T59" fmla="*/ 16 h 375"/>
                <a:gd name="T60" fmla="*/ 729 w 1350"/>
                <a:gd name="T61" fmla="*/ 29 h 375"/>
                <a:gd name="T62" fmla="*/ 782 w 1350"/>
                <a:gd name="T63" fmla="*/ 40 h 375"/>
                <a:gd name="T64" fmla="*/ 831 w 1350"/>
                <a:gd name="T65" fmla="*/ 54 h 375"/>
                <a:gd name="T66" fmla="*/ 878 w 1350"/>
                <a:gd name="T67" fmla="*/ 70 h 375"/>
                <a:gd name="T68" fmla="*/ 951 w 1350"/>
                <a:gd name="T69" fmla="*/ 101 h 375"/>
                <a:gd name="T70" fmla="*/ 1043 w 1350"/>
                <a:gd name="T71" fmla="*/ 148 h 375"/>
                <a:gd name="T72" fmla="*/ 1130 w 1350"/>
                <a:gd name="T73" fmla="*/ 199 h 375"/>
                <a:gd name="T74" fmla="*/ 1206 w 1350"/>
                <a:gd name="T75" fmla="*/ 249 h 375"/>
                <a:gd name="T76" fmla="*/ 1270 w 1350"/>
                <a:gd name="T77" fmla="*/ 293 h 375"/>
                <a:gd name="T78" fmla="*/ 1332 w 1350"/>
                <a:gd name="T79" fmla="*/ 339 h 375"/>
                <a:gd name="T80" fmla="*/ 1348 w 1350"/>
                <a:gd name="T81" fmla="*/ 354 h 375"/>
                <a:gd name="T82" fmla="*/ 1349 w 1350"/>
                <a:gd name="T83" fmla="*/ 365 h 375"/>
                <a:gd name="T84" fmla="*/ 1345 w 1350"/>
                <a:gd name="T85" fmla="*/ 372 h 375"/>
                <a:gd name="T86" fmla="*/ 1339 w 1350"/>
                <a:gd name="T87" fmla="*/ 37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0" h="375">
                  <a:moveTo>
                    <a:pt x="1336" y="375"/>
                  </a:moveTo>
                  <a:lnTo>
                    <a:pt x="1332" y="374"/>
                  </a:lnTo>
                  <a:lnTo>
                    <a:pt x="1327" y="372"/>
                  </a:lnTo>
                  <a:lnTo>
                    <a:pt x="1314" y="361"/>
                  </a:lnTo>
                  <a:lnTo>
                    <a:pt x="1279" y="334"/>
                  </a:lnTo>
                  <a:lnTo>
                    <a:pt x="1254" y="315"/>
                  </a:lnTo>
                  <a:lnTo>
                    <a:pt x="1225" y="294"/>
                  </a:lnTo>
                  <a:lnTo>
                    <a:pt x="1191" y="271"/>
                  </a:lnTo>
                  <a:lnTo>
                    <a:pt x="1156" y="247"/>
                  </a:lnTo>
                  <a:lnTo>
                    <a:pt x="1116" y="223"/>
                  </a:lnTo>
                  <a:lnTo>
                    <a:pt x="1075" y="197"/>
                  </a:lnTo>
                  <a:lnTo>
                    <a:pt x="1032" y="172"/>
                  </a:lnTo>
                  <a:lnTo>
                    <a:pt x="986" y="148"/>
                  </a:lnTo>
                  <a:lnTo>
                    <a:pt x="940" y="125"/>
                  </a:lnTo>
                  <a:lnTo>
                    <a:pt x="893" y="105"/>
                  </a:lnTo>
                  <a:lnTo>
                    <a:pt x="870" y="96"/>
                  </a:lnTo>
                  <a:lnTo>
                    <a:pt x="846" y="88"/>
                  </a:lnTo>
                  <a:lnTo>
                    <a:pt x="823" y="80"/>
                  </a:lnTo>
                  <a:lnTo>
                    <a:pt x="799" y="73"/>
                  </a:lnTo>
                  <a:lnTo>
                    <a:pt x="776" y="66"/>
                  </a:lnTo>
                  <a:lnTo>
                    <a:pt x="750" y="61"/>
                  </a:lnTo>
                  <a:lnTo>
                    <a:pt x="723" y="55"/>
                  </a:lnTo>
                  <a:lnTo>
                    <a:pt x="695" y="51"/>
                  </a:lnTo>
                  <a:lnTo>
                    <a:pt x="635" y="43"/>
                  </a:lnTo>
                  <a:lnTo>
                    <a:pt x="573" y="37"/>
                  </a:lnTo>
                  <a:lnTo>
                    <a:pt x="509" y="33"/>
                  </a:lnTo>
                  <a:lnTo>
                    <a:pt x="443" y="30"/>
                  </a:lnTo>
                  <a:lnTo>
                    <a:pt x="378" y="28"/>
                  </a:lnTo>
                  <a:lnTo>
                    <a:pt x="316" y="27"/>
                  </a:lnTo>
                  <a:lnTo>
                    <a:pt x="256" y="28"/>
                  </a:lnTo>
                  <a:lnTo>
                    <a:pt x="200" y="28"/>
                  </a:lnTo>
                  <a:lnTo>
                    <a:pt x="149" y="29"/>
                  </a:lnTo>
                  <a:lnTo>
                    <a:pt x="104" y="32"/>
                  </a:lnTo>
                  <a:lnTo>
                    <a:pt x="67" y="33"/>
                  </a:lnTo>
                  <a:lnTo>
                    <a:pt x="39" y="34"/>
                  </a:lnTo>
                  <a:lnTo>
                    <a:pt x="21" y="35"/>
                  </a:lnTo>
                  <a:lnTo>
                    <a:pt x="14" y="35"/>
                  </a:lnTo>
                  <a:lnTo>
                    <a:pt x="12" y="35"/>
                  </a:lnTo>
                  <a:lnTo>
                    <a:pt x="9" y="35"/>
                  </a:lnTo>
                  <a:lnTo>
                    <a:pt x="7" y="34"/>
                  </a:lnTo>
                  <a:lnTo>
                    <a:pt x="5" y="32"/>
                  </a:lnTo>
                  <a:lnTo>
                    <a:pt x="1" y="27"/>
                  </a:lnTo>
                  <a:lnTo>
                    <a:pt x="0" y="23"/>
                  </a:lnTo>
                  <a:lnTo>
                    <a:pt x="0" y="18"/>
                  </a:lnTo>
                  <a:lnTo>
                    <a:pt x="4" y="13"/>
                  </a:lnTo>
                  <a:lnTo>
                    <a:pt x="8" y="10"/>
                  </a:lnTo>
                  <a:lnTo>
                    <a:pt x="13" y="8"/>
                  </a:lnTo>
                  <a:lnTo>
                    <a:pt x="23" y="8"/>
                  </a:lnTo>
                  <a:lnTo>
                    <a:pt x="42" y="7"/>
                  </a:lnTo>
                  <a:lnTo>
                    <a:pt x="73" y="6"/>
                  </a:lnTo>
                  <a:lnTo>
                    <a:pt x="110" y="3"/>
                  </a:lnTo>
                  <a:lnTo>
                    <a:pt x="156" y="2"/>
                  </a:lnTo>
                  <a:lnTo>
                    <a:pt x="207" y="1"/>
                  </a:lnTo>
                  <a:lnTo>
                    <a:pt x="263" y="0"/>
                  </a:lnTo>
                  <a:lnTo>
                    <a:pt x="323" y="0"/>
                  </a:lnTo>
                  <a:lnTo>
                    <a:pt x="386" y="1"/>
                  </a:lnTo>
                  <a:lnTo>
                    <a:pt x="451" y="3"/>
                  </a:lnTo>
                  <a:lnTo>
                    <a:pt x="515" y="6"/>
                  </a:lnTo>
                  <a:lnTo>
                    <a:pt x="579" y="11"/>
                  </a:lnTo>
                  <a:lnTo>
                    <a:pt x="642" y="16"/>
                  </a:lnTo>
                  <a:lnTo>
                    <a:pt x="701" y="25"/>
                  </a:lnTo>
                  <a:lnTo>
                    <a:pt x="729" y="29"/>
                  </a:lnTo>
                  <a:lnTo>
                    <a:pt x="756" y="35"/>
                  </a:lnTo>
                  <a:lnTo>
                    <a:pt x="782" y="40"/>
                  </a:lnTo>
                  <a:lnTo>
                    <a:pt x="807" y="47"/>
                  </a:lnTo>
                  <a:lnTo>
                    <a:pt x="831" y="54"/>
                  </a:lnTo>
                  <a:lnTo>
                    <a:pt x="854" y="62"/>
                  </a:lnTo>
                  <a:lnTo>
                    <a:pt x="878" y="70"/>
                  </a:lnTo>
                  <a:lnTo>
                    <a:pt x="902" y="80"/>
                  </a:lnTo>
                  <a:lnTo>
                    <a:pt x="951" y="101"/>
                  </a:lnTo>
                  <a:lnTo>
                    <a:pt x="997" y="123"/>
                  </a:lnTo>
                  <a:lnTo>
                    <a:pt x="1043" y="148"/>
                  </a:lnTo>
                  <a:lnTo>
                    <a:pt x="1088" y="173"/>
                  </a:lnTo>
                  <a:lnTo>
                    <a:pt x="1130" y="199"/>
                  </a:lnTo>
                  <a:lnTo>
                    <a:pt x="1170" y="225"/>
                  </a:lnTo>
                  <a:lnTo>
                    <a:pt x="1206" y="249"/>
                  </a:lnTo>
                  <a:lnTo>
                    <a:pt x="1240" y="272"/>
                  </a:lnTo>
                  <a:lnTo>
                    <a:pt x="1270" y="293"/>
                  </a:lnTo>
                  <a:lnTo>
                    <a:pt x="1295" y="312"/>
                  </a:lnTo>
                  <a:lnTo>
                    <a:pt x="1332" y="339"/>
                  </a:lnTo>
                  <a:lnTo>
                    <a:pt x="1345" y="350"/>
                  </a:lnTo>
                  <a:lnTo>
                    <a:pt x="1348" y="354"/>
                  </a:lnTo>
                  <a:lnTo>
                    <a:pt x="1350" y="360"/>
                  </a:lnTo>
                  <a:lnTo>
                    <a:pt x="1349" y="365"/>
                  </a:lnTo>
                  <a:lnTo>
                    <a:pt x="1347" y="369"/>
                  </a:lnTo>
                  <a:lnTo>
                    <a:pt x="1345" y="372"/>
                  </a:lnTo>
                  <a:lnTo>
                    <a:pt x="1341" y="373"/>
                  </a:lnTo>
                  <a:lnTo>
                    <a:pt x="1339" y="374"/>
                  </a:lnTo>
                  <a:lnTo>
                    <a:pt x="1336" y="3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238"/>
            <p:cNvSpPr>
              <a:spLocks/>
            </p:cNvSpPr>
            <p:nvPr userDrawn="1"/>
          </p:nvSpPr>
          <p:spPr bwMode="auto">
            <a:xfrm>
              <a:off x="4608513" y="5818188"/>
              <a:ext cx="714375" cy="179388"/>
            </a:xfrm>
            <a:custGeom>
              <a:avLst/>
              <a:gdLst>
                <a:gd name="T0" fmla="*/ 1334 w 1352"/>
                <a:gd name="T1" fmla="*/ 339 h 339"/>
                <a:gd name="T2" fmla="*/ 1323 w 1352"/>
                <a:gd name="T3" fmla="*/ 334 h 339"/>
                <a:gd name="T4" fmla="*/ 1271 w 1352"/>
                <a:gd name="T5" fmla="*/ 309 h 339"/>
                <a:gd name="T6" fmla="*/ 1179 w 1352"/>
                <a:gd name="T7" fmla="*/ 266 h 339"/>
                <a:gd name="T8" fmla="*/ 1058 w 1352"/>
                <a:gd name="T9" fmla="*/ 212 h 339"/>
                <a:gd name="T10" fmla="*/ 920 w 1352"/>
                <a:gd name="T11" fmla="*/ 155 h 339"/>
                <a:gd name="T12" fmla="*/ 775 w 1352"/>
                <a:gd name="T13" fmla="*/ 101 h 339"/>
                <a:gd name="T14" fmla="*/ 668 w 1352"/>
                <a:gd name="T15" fmla="*/ 66 h 339"/>
                <a:gd name="T16" fmla="*/ 600 w 1352"/>
                <a:gd name="T17" fmla="*/ 49 h 339"/>
                <a:gd name="T18" fmla="*/ 537 w 1352"/>
                <a:gd name="T19" fmla="*/ 36 h 339"/>
                <a:gd name="T20" fmla="*/ 481 w 1352"/>
                <a:gd name="T21" fmla="*/ 28 h 339"/>
                <a:gd name="T22" fmla="*/ 448 w 1352"/>
                <a:gd name="T23" fmla="*/ 27 h 339"/>
                <a:gd name="T24" fmla="*/ 394 w 1352"/>
                <a:gd name="T25" fmla="*/ 28 h 339"/>
                <a:gd name="T26" fmla="*/ 306 w 1352"/>
                <a:gd name="T27" fmla="*/ 36 h 339"/>
                <a:gd name="T28" fmla="*/ 230 w 1352"/>
                <a:gd name="T29" fmla="*/ 49 h 339"/>
                <a:gd name="T30" fmla="*/ 164 w 1352"/>
                <a:gd name="T31" fmla="*/ 65 h 339"/>
                <a:gd name="T32" fmla="*/ 109 w 1352"/>
                <a:gd name="T33" fmla="*/ 82 h 339"/>
                <a:gd name="T34" fmla="*/ 67 w 1352"/>
                <a:gd name="T35" fmla="*/ 99 h 339"/>
                <a:gd name="T36" fmla="*/ 28 w 1352"/>
                <a:gd name="T37" fmla="*/ 116 h 339"/>
                <a:gd name="T38" fmla="*/ 15 w 1352"/>
                <a:gd name="T39" fmla="*/ 122 h 339"/>
                <a:gd name="T40" fmla="*/ 5 w 1352"/>
                <a:gd name="T41" fmla="*/ 120 h 339"/>
                <a:gd name="T42" fmla="*/ 0 w 1352"/>
                <a:gd name="T43" fmla="*/ 110 h 339"/>
                <a:gd name="T44" fmla="*/ 3 w 1352"/>
                <a:gd name="T45" fmla="*/ 101 h 339"/>
                <a:gd name="T46" fmla="*/ 17 w 1352"/>
                <a:gd name="T47" fmla="*/ 92 h 339"/>
                <a:gd name="T48" fmla="*/ 59 w 1352"/>
                <a:gd name="T49" fmla="*/ 73 h 339"/>
                <a:gd name="T50" fmla="*/ 104 w 1352"/>
                <a:gd name="T51" fmla="*/ 55 h 339"/>
                <a:gd name="T52" fmla="*/ 162 w 1352"/>
                <a:gd name="T53" fmla="*/ 37 h 339"/>
                <a:gd name="T54" fmla="*/ 232 w 1352"/>
                <a:gd name="T55" fmla="*/ 21 h 339"/>
                <a:gd name="T56" fmla="*/ 314 w 1352"/>
                <a:gd name="T57" fmla="*/ 8 h 339"/>
                <a:gd name="T58" fmla="*/ 406 w 1352"/>
                <a:gd name="T59" fmla="*/ 0 h 339"/>
                <a:gd name="T60" fmla="*/ 481 w 1352"/>
                <a:gd name="T61" fmla="*/ 1 h 339"/>
                <a:gd name="T62" fmla="*/ 540 w 1352"/>
                <a:gd name="T63" fmla="*/ 9 h 339"/>
                <a:gd name="T64" fmla="*/ 602 w 1352"/>
                <a:gd name="T65" fmla="*/ 21 h 339"/>
                <a:gd name="T66" fmla="*/ 670 w 1352"/>
                <a:gd name="T67" fmla="*/ 39 h 339"/>
                <a:gd name="T68" fmla="*/ 740 w 1352"/>
                <a:gd name="T69" fmla="*/ 61 h 339"/>
                <a:gd name="T70" fmla="*/ 813 w 1352"/>
                <a:gd name="T71" fmla="*/ 84 h 339"/>
                <a:gd name="T72" fmla="*/ 921 w 1352"/>
                <a:gd name="T73" fmla="*/ 125 h 339"/>
                <a:gd name="T74" fmla="*/ 1060 w 1352"/>
                <a:gd name="T75" fmla="*/ 183 h 339"/>
                <a:gd name="T76" fmla="*/ 1181 w 1352"/>
                <a:gd name="T77" fmla="*/ 237 h 339"/>
                <a:gd name="T78" fmla="*/ 1276 w 1352"/>
                <a:gd name="T79" fmla="*/ 281 h 339"/>
                <a:gd name="T80" fmla="*/ 1332 w 1352"/>
                <a:gd name="T81" fmla="*/ 308 h 339"/>
                <a:gd name="T82" fmla="*/ 1348 w 1352"/>
                <a:gd name="T83" fmla="*/ 318 h 339"/>
                <a:gd name="T84" fmla="*/ 1352 w 1352"/>
                <a:gd name="T85" fmla="*/ 327 h 339"/>
                <a:gd name="T86" fmla="*/ 1347 w 1352"/>
                <a:gd name="T87" fmla="*/ 335 h 339"/>
                <a:gd name="T88" fmla="*/ 1341 w 1352"/>
                <a:gd name="T89"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2" h="339">
                  <a:moveTo>
                    <a:pt x="1337" y="339"/>
                  </a:moveTo>
                  <a:lnTo>
                    <a:pt x="1334" y="339"/>
                  </a:lnTo>
                  <a:lnTo>
                    <a:pt x="1331" y="338"/>
                  </a:lnTo>
                  <a:lnTo>
                    <a:pt x="1323" y="334"/>
                  </a:lnTo>
                  <a:lnTo>
                    <a:pt x="1303" y="324"/>
                  </a:lnTo>
                  <a:lnTo>
                    <a:pt x="1271" y="309"/>
                  </a:lnTo>
                  <a:lnTo>
                    <a:pt x="1230" y="288"/>
                  </a:lnTo>
                  <a:lnTo>
                    <a:pt x="1179" y="266"/>
                  </a:lnTo>
                  <a:lnTo>
                    <a:pt x="1122" y="239"/>
                  </a:lnTo>
                  <a:lnTo>
                    <a:pt x="1058" y="212"/>
                  </a:lnTo>
                  <a:lnTo>
                    <a:pt x="990" y="183"/>
                  </a:lnTo>
                  <a:lnTo>
                    <a:pt x="920" y="155"/>
                  </a:lnTo>
                  <a:lnTo>
                    <a:pt x="847" y="127"/>
                  </a:lnTo>
                  <a:lnTo>
                    <a:pt x="775" y="101"/>
                  </a:lnTo>
                  <a:lnTo>
                    <a:pt x="703" y="77"/>
                  </a:lnTo>
                  <a:lnTo>
                    <a:pt x="668" y="66"/>
                  </a:lnTo>
                  <a:lnTo>
                    <a:pt x="633" y="57"/>
                  </a:lnTo>
                  <a:lnTo>
                    <a:pt x="600" y="49"/>
                  </a:lnTo>
                  <a:lnTo>
                    <a:pt x="569" y="41"/>
                  </a:lnTo>
                  <a:lnTo>
                    <a:pt x="537" y="36"/>
                  </a:lnTo>
                  <a:lnTo>
                    <a:pt x="508" y="32"/>
                  </a:lnTo>
                  <a:lnTo>
                    <a:pt x="481" y="28"/>
                  </a:lnTo>
                  <a:lnTo>
                    <a:pt x="455" y="27"/>
                  </a:lnTo>
                  <a:lnTo>
                    <a:pt x="448" y="27"/>
                  </a:lnTo>
                  <a:lnTo>
                    <a:pt x="440" y="27"/>
                  </a:lnTo>
                  <a:lnTo>
                    <a:pt x="394" y="28"/>
                  </a:lnTo>
                  <a:lnTo>
                    <a:pt x="349" y="32"/>
                  </a:lnTo>
                  <a:lnTo>
                    <a:pt x="306" y="36"/>
                  </a:lnTo>
                  <a:lnTo>
                    <a:pt x="267" y="41"/>
                  </a:lnTo>
                  <a:lnTo>
                    <a:pt x="230" y="49"/>
                  </a:lnTo>
                  <a:lnTo>
                    <a:pt x="195" y="56"/>
                  </a:lnTo>
                  <a:lnTo>
                    <a:pt x="164" y="65"/>
                  </a:lnTo>
                  <a:lnTo>
                    <a:pt x="135" y="74"/>
                  </a:lnTo>
                  <a:lnTo>
                    <a:pt x="109" y="82"/>
                  </a:lnTo>
                  <a:lnTo>
                    <a:pt x="86" y="91"/>
                  </a:lnTo>
                  <a:lnTo>
                    <a:pt x="67" y="99"/>
                  </a:lnTo>
                  <a:lnTo>
                    <a:pt x="50" y="106"/>
                  </a:lnTo>
                  <a:lnTo>
                    <a:pt x="28" y="116"/>
                  </a:lnTo>
                  <a:lnTo>
                    <a:pt x="20" y="120"/>
                  </a:lnTo>
                  <a:lnTo>
                    <a:pt x="15" y="122"/>
                  </a:lnTo>
                  <a:lnTo>
                    <a:pt x="9" y="122"/>
                  </a:lnTo>
                  <a:lnTo>
                    <a:pt x="5" y="120"/>
                  </a:lnTo>
                  <a:lnTo>
                    <a:pt x="2" y="116"/>
                  </a:lnTo>
                  <a:lnTo>
                    <a:pt x="0" y="110"/>
                  </a:lnTo>
                  <a:lnTo>
                    <a:pt x="1" y="105"/>
                  </a:lnTo>
                  <a:lnTo>
                    <a:pt x="3" y="101"/>
                  </a:lnTo>
                  <a:lnTo>
                    <a:pt x="6" y="97"/>
                  </a:lnTo>
                  <a:lnTo>
                    <a:pt x="17" y="92"/>
                  </a:lnTo>
                  <a:lnTo>
                    <a:pt x="42" y="80"/>
                  </a:lnTo>
                  <a:lnTo>
                    <a:pt x="59" y="73"/>
                  </a:lnTo>
                  <a:lnTo>
                    <a:pt x="80" y="64"/>
                  </a:lnTo>
                  <a:lnTo>
                    <a:pt x="104" y="55"/>
                  </a:lnTo>
                  <a:lnTo>
                    <a:pt x="131" y="46"/>
                  </a:lnTo>
                  <a:lnTo>
                    <a:pt x="162" y="37"/>
                  </a:lnTo>
                  <a:lnTo>
                    <a:pt x="196" y="28"/>
                  </a:lnTo>
                  <a:lnTo>
                    <a:pt x="232" y="21"/>
                  </a:lnTo>
                  <a:lnTo>
                    <a:pt x="272" y="13"/>
                  </a:lnTo>
                  <a:lnTo>
                    <a:pt x="314" y="8"/>
                  </a:lnTo>
                  <a:lnTo>
                    <a:pt x="358" y="4"/>
                  </a:lnTo>
                  <a:lnTo>
                    <a:pt x="406" y="0"/>
                  </a:lnTo>
                  <a:lnTo>
                    <a:pt x="455" y="0"/>
                  </a:lnTo>
                  <a:lnTo>
                    <a:pt x="481" y="1"/>
                  </a:lnTo>
                  <a:lnTo>
                    <a:pt x="509" y="5"/>
                  </a:lnTo>
                  <a:lnTo>
                    <a:pt x="540" y="9"/>
                  </a:lnTo>
                  <a:lnTo>
                    <a:pt x="571" y="14"/>
                  </a:lnTo>
                  <a:lnTo>
                    <a:pt x="602" y="21"/>
                  </a:lnTo>
                  <a:lnTo>
                    <a:pt x="636" y="29"/>
                  </a:lnTo>
                  <a:lnTo>
                    <a:pt x="670" y="39"/>
                  </a:lnTo>
                  <a:lnTo>
                    <a:pt x="705" y="49"/>
                  </a:lnTo>
                  <a:lnTo>
                    <a:pt x="740" y="61"/>
                  </a:lnTo>
                  <a:lnTo>
                    <a:pt x="776" y="73"/>
                  </a:lnTo>
                  <a:lnTo>
                    <a:pt x="813" y="84"/>
                  </a:lnTo>
                  <a:lnTo>
                    <a:pt x="849" y="97"/>
                  </a:lnTo>
                  <a:lnTo>
                    <a:pt x="921" y="125"/>
                  </a:lnTo>
                  <a:lnTo>
                    <a:pt x="992" y="154"/>
                  </a:lnTo>
                  <a:lnTo>
                    <a:pt x="1060" y="183"/>
                  </a:lnTo>
                  <a:lnTo>
                    <a:pt x="1123" y="210"/>
                  </a:lnTo>
                  <a:lnTo>
                    <a:pt x="1181" y="237"/>
                  </a:lnTo>
                  <a:lnTo>
                    <a:pt x="1233" y="260"/>
                  </a:lnTo>
                  <a:lnTo>
                    <a:pt x="1276" y="281"/>
                  </a:lnTo>
                  <a:lnTo>
                    <a:pt x="1309" y="297"/>
                  </a:lnTo>
                  <a:lnTo>
                    <a:pt x="1332" y="308"/>
                  </a:lnTo>
                  <a:lnTo>
                    <a:pt x="1344" y="314"/>
                  </a:lnTo>
                  <a:lnTo>
                    <a:pt x="1348" y="318"/>
                  </a:lnTo>
                  <a:lnTo>
                    <a:pt x="1350" y="322"/>
                  </a:lnTo>
                  <a:lnTo>
                    <a:pt x="1352" y="327"/>
                  </a:lnTo>
                  <a:lnTo>
                    <a:pt x="1349" y="332"/>
                  </a:lnTo>
                  <a:lnTo>
                    <a:pt x="1347" y="335"/>
                  </a:lnTo>
                  <a:lnTo>
                    <a:pt x="1345" y="338"/>
                  </a:lnTo>
                  <a:lnTo>
                    <a:pt x="1341" y="339"/>
                  </a:lnTo>
                  <a:lnTo>
                    <a:pt x="1337" y="33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239"/>
            <p:cNvSpPr>
              <a:spLocks/>
            </p:cNvSpPr>
            <p:nvPr userDrawn="1"/>
          </p:nvSpPr>
          <p:spPr bwMode="auto">
            <a:xfrm>
              <a:off x="1030288" y="5040313"/>
              <a:ext cx="1006475" cy="898525"/>
            </a:xfrm>
            <a:custGeom>
              <a:avLst/>
              <a:gdLst>
                <a:gd name="T0" fmla="*/ 708 w 1904"/>
                <a:gd name="T1" fmla="*/ 1696 h 1699"/>
                <a:gd name="T2" fmla="*/ 639 w 1904"/>
                <a:gd name="T3" fmla="*/ 1686 h 1699"/>
                <a:gd name="T4" fmla="*/ 572 w 1904"/>
                <a:gd name="T5" fmla="*/ 1672 h 1699"/>
                <a:gd name="T6" fmla="*/ 507 w 1904"/>
                <a:gd name="T7" fmla="*/ 1651 h 1699"/>
                <a:gd name="T8" fmla="*/ 445 w 1904"/>
                <a:gd name="T9" fmla="*/ 1624 h 1699"/>
                <a:gd name="T10" fmla="*/ 383 w 1904"/>
                <a:gd name="T11" fmla="*/ 1588 h 1699"/>
                <a:gd name="T12" fmla="*/ 325 w 1904"/>
                <a:gd name="T13" fmla="*/ 1545 h 1699"/>
                <a:gd name="T14" fmla="*/ 269 w 1904"/>
                <a:gd name="T15" fmla="*/ 1493 h 1699"/>
                <a:gd name="T16" fmla="*/ 215 w 1904"/>
                <a:gd name="T17" fmla="*/ 1433 h 1699"/>
                <a:gd name="T18" fmla="*/ 165 w 1904"/>
                <a:gd name="T19" fmla="*/ 1362 h 1699"/>
                <a:gd name="T20" fmla="*/ 81 w 1904"/>
                <a:gd name="T21" fmla="*/ 1207 h 1699"/>
                <a:gd name="T22" fmla="*/ 20 w 1904"/>
                <a:gd name="T23" fmla="*/ 1016 h 1699"/>
                <a:gd name="T24" fmla="*/ 0 w 1904"/>
                <a:gd name="T25" fmla="*/ 835 h 1699"/>
                <a:gd name="T26" fmla="*/ 12 w 1904"/>
                <a:gd name="T27" fmla="*/ 663 h 1699"/>
                <a:gd name="T28" fmla="*/ 48 w 1904"/>
                <a:gd name="T29" fmla="*/ 506 h 1699"/>
                <a:gd name="T30" fmla="*/ 102 w 1904"/>
                <a:gd name="T31" fmla="*/ 365 h 1699"/>
                <a:gd name="T32" fmla="*/ 165 w 1904"/>
                <a:gd name="T33" fmla="*/ 244 h 1699"/>
                <a:gd name="T34" fmla="*/ 228 w 1904"/>
                <a:gd name="T35" fmla="*/ 144 h 1699"/>
                <a:gd name="T36" fmla="*/ 312 w 1904"/>
                <a:gd name="T37" fmla="*/ 35 h 1699"/>
                <a:gd name="T38" fmla="*/ 343 w 1904"/>
                <a:gd name="T39" fmla="*/ 1 h 1699"/>
                <a:gd name="T40" fmla="*/ 358 w 1904"/>
                <a:gd name="T41" fmla="*/ 3 h 1699"/>
                <a:gd name="T42" fmla="*/ 360 w 1904"/>
                <a:gd name="T43" fmla="*/ 18 h 1699"/>
                <a:gd name="T44" fmla="*/ 331 w 1904"/>
                <a:gd name="T45" fmla="*/ 52 h 1699"/>
                <a:gd name="T46" fmla="*/ 249 w 1904"/>
                <a:gd name="T47" fmla="*/ 160 h 1699"/>
                <a:gd name="T48" fmla="*/ 188 w 1904"/>
                <a:gd name="T49" fmla="*/ 257 h 1699"/>
                <a:gd name="T50" fmla="*/ 127 w 1904"/>
                <a:gd name="T51" fmla="*/ 376 h 1699"/>
                <a:gd name="T52" fmla="*/ 74 w 1904"/>
                <a:gd name="T53" fmla="*/ 513 h 1699"/>
                <a:gd name="T54" fmla="*/ 39 w 1904"/>
                <a:gd name="T55" fmla="*/ 666 h 1699"/>
                <a:gd name="T56" fmla="*/ 27 w 1904"/>
                <a:gd name="T57" fmla="*/ 833 h 1699"/>
                <a:gd name="T58" fmla="*/ 46 w 1904"/>
                <a:gd name="T59" fmla="*/ 1010 h 1699"/>
                <a:gd name="T60" fmla="*/ 107 w 1904"/>
                <a:gd name="T61" fmla="*/ 1196 h 1699"/>
                <a:gd name="T62" fmla="*/ 200 w 1904"/>
                <a:gd name="T63" fmla="*/ 1367 h 1699"/>
                <a:gd name="T64" fmla="*/ 289 w 1904"/>
                <a:gd name="T65" fmla="*/ 1476 h 1699"/>
                <a:gd name="T66" fmla="*/ 389 w 1904"/>
                <a:gd name="T67" fmla="*/ 1558 h 1699"/>
                <a:gd name="T68" fmla="*/ 494 w 1904"/>
                <a:gd name="T69" fmla="*/ 1615 h 1699"/>
                <a:gd name="T70" fmla="*/ 607 w 1904"/>
                <a:gd name="T71" fmla="*/ 1652 h 1699"/>
                <a:gd name="T72" fmla="*/ 724 w 1904"/>
                <a:gd name="T73" fmla="*/ 1669 h 1699"/>
                <a:gd name="T74" fmla="*/ 846 w 1904"/>
                <a:gd name="T75" fmla="*/ 1671 h 1699"/>
                <a:gd name="T76" fmla="*/ 971 w 1904"/>
                <a:gd name="T77" fmla="*/ 1661 h 1699"/>
                <a:gd name="T78" fmla="*/ 1096 w 1904"/>
                <a:gd name="T79" fmla="*/ 1641 h 1699"/>
                <a:gd name="T80" fmla="*/ 1221 w 1904"/>
                <a:gd name="T81" fmla="*/ 1615 h 1699"/>
                <a:gd name="T82" fmla="*/ 1455 w 1904"/>
                <a:gd name="T83" fmla="*/ 1560 h 1699"/>
                <a:gd name="T84" fmla="*/ 1656 w 1904"/>
                <a:gd name="T85" fmla="*/ 1517 h 1699"/>
                <a:gd name="T86" fmla="*/ 1750 w 1904"/>
                <a:gd name="T87" fmla="*/ 1503 h 1699"/>
                <a:gd name="T88" fmla="*/ 1837 w 1904"/>
                <a:gd name="T89" fmla="*/ 1497 h 1699"/>
                <a:gd name="T90" fmla="*/ 1896 w 1904"/>
                <a:gd name="T91" fmla="*/ 1502 h 1699"/>
                <a:gd name="T92" fmla="*/ 1904 w 1904"/>
                <a:gd name="T93" fmla="*/ 1515 h 1699"/>
                <a:gd name="T94" fmla="*/ 1894 w 1904"/>
                <a:gd name="T95" fmla="*/ 1526 h 1699"/>
                <a:gd name="T96" fmla="*/ 1837 w 1904"/>
                <a:gd name="T97" fmla="*/ 1525 h 1699"/>
                <a:gd name="T98" fmla="*/ 1751 w 1904"/>
                <a:gd name="T99" fmla="*/ 1530 h 1699"/>
                <a:gd name="T100" fmla="*/ 1659 w 1904"/>
                <a:gd name="T101" fmla="*/ 1544 h 1699"/>
                <a:gd name="T102" fmla="*/ 1462 w 1904"/>
                <a:gd name="T103" fmla="*/ 1586 h 1699"/>
                <a:gd name="T104" fmla="*/ 1246 w 1904"/>
                <a:gd name="T105" fmla="*/ 1638 h 1699"/>
                <a:gd name="T106" fmla="*/ 1059 w 1904"/>
                <a:gd name="T107" fmla="*/ 1675 h 1699"/>
                <a:gd name="T108" fmla="*/ 948 w 1904"/>
                <a:gd name="T109" fmla="*/ 1691 h 1699"/>
                <a:gd name="T110" fmla="*/ 838 w 1904"/>
                <a:gd name="T111" fmla="*/ 1699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04" h="1699">
                  <a:moveTo>
                    <a:pt x="801" y="1699"/>
                  </a:moveTo>
                  <a:lnTo>
                    <a:pt x="755" y="1698"/>
                  </a:lnTo>
                  <a:lnTo>
                    <a:pt x="708" y="1696"/>
                  </a:lnTo>
                  <a:lnTo>
                    <a:pt x="684" y="1693"/>
                  </a:lnTo>
                  <a:lnTo>
                    <a:pt x="662" y="1691"/>
                  </a:lnTo>
                  <a:lnTo>
                    <a:pt x="639" y="1686"/>
                  </a:lnTo>
                  <a:lnTo>
                    <a:pt x="617" y="1682"/>
                  </a:lnTo>
                  <a:lnTo>
                    <a:pt x="595" y="1678"/>
                  </a:lnTo>
                  <a:lnTo>
                    <a:pt x="572" y="1672"/>
                  </a:lnTo>
                  <a:lnTo>
                    <a:pt x="551" y="1666"/>
                  </a:lnTo>
                  <a:lnTo>
                    <a:pt x="529" y="1658"/>
                  </a:lnTo>
                  <a:lnTo>
                    <a:pt x="507" y="1651"/>
                  </a:lnTo>
                  <a:lnTo>
                    <a:pt x="486" y="1642"/>
                  </a:lnTo>
                  <a:lnTo>
                    <a:pt x="465" y="1633"/>
                  </a:lnTo>
                  <a:lnTo>
                    <a:pt x="445" y="1624"/>
                  </a:lnTo>
                  <a:lnTo>
                    <a:pt x="423" y="1612"/>
                  </a:lnTo>
                  <a:lnTo>
                    <a:pt x="404" y="1601"/>
                  </a:lnTo>
                  <a:lnTo>
                    <a:pt x="383" y="1588"/>
                  </a:lnTo>
                  <a:lnTo>
                    <a:pt x="364" y="1575"/>
                  </a:lnTo>
                  <a:lnTo>
                    <a:pt x="343" y="1560"/>
                  </a:lnTo>
                  <a:lnTo>
                    <a:pt x="325" y="1545"/>
                  </a:lnTo>
                  <a:lnTo>
                    <a:pt x="305" y="1529"/>
                  </a:lnTo>
                  <a:lnTo>
                    <a:pt x="287" y="1511"/>
                  </a:lnTo>
                  <a:lnTo>
                    <a:pt x="269" y="1493"/>
                  </a:lnTo>
                  <a:lnTo>
                    <a:pt x="250" y="1475"/>
                  </a:lnTo>
                  <a:lnTo>
                    <a:pt x="232" y="1454"/>
                  </a:lnTo>
                  <a:lnTo>
                    <a:pt x="215" y="1433"/>
                  </a:lnTo>
                  <a:lnTo>
                    <a:pt x="199" y="1411"/>
                  </a:lnTo>
                  <a:lnTo>
                    <a:pt x="181" y="1387"/>
                  </a:lnTo>
                  <a:lnTo>
                    <a:pt x="165" y="1362"/>
                  </a:lnTo>
                  <a:lnTo>
                    <a:pt x="149" y="1338"/>
                  </a:lnTo>
                  <a:lnTo>
                    <a:pt x="112" y="1272"/>
                  </a:lnTo>
                  <a:lnTo>
                    <a:pt x="81" y="1207"/>
                  </a:lnTo>
                  <a:lnTo>
                    <a:pt x="56" y="1142"/>
                  </a:lnTo>
                  <a:lnTo>
                    <a:pt x="35" y="1080"/>
                  </a:lnTo>
                  <a:lnTo>
                    <a:pt x="20" y="1016"/>
                  </a:lnTo>
                  <a:lnTo>
                    <a:pt x="8" y="954"/>
                  </a:lnTo>
                  <a:lnTo>
                    <a:pt x="2" y="894"/>
                  </a:lnTo>
                  <a:lnTo>
                    <a:pt x="0" y="835"/>
                  </a:lnTo>
                  <a:lnTo>
                    <a:pt x="0" y="776"/>
                  </a:lnTo>
                  <a:lnTo>
                    <a:pt x="4" y="719"/>
                  </a:lnTo>
                  <a:lnTo>
                    <a:pt x="12" y="663"/>
                  </a:lnTo>
                  <a:lnTo>
                    <a:pt x="21" y="609"/>
                  </a:lnTo>
                  <a:lnTo>
                    <a:pt x="34" y="557"/>
                  </a:lnTo>
                  <a:lnTo>
                    <a:pt x="48" y="506"/>
                  </a:lnTo>
                  <a:lnTo>
                    <a:pt x="65" y="457"/>
                  </a:lnTo>
                  <a:lnTo>
                    <a:pt x="83" y="410"/>
                  </a:lnTo>
                  <a:lnTo>
                    <a:pt x="102" y="365"/>
                  </a:lnTo>
                  <a:lnTo>
                    <a:pt x="123" y="323"/>
                  </a:lnTo>
                  <a:lnTo>
                    <a:pt x="143" y="282"/>
                  </a:lnTo>
                  <a:lnTo>
                    <a:pt x="165" y="244"/>
                  </a:lnTo>
                  <a:lnTo>
                    <a:pt x="186" y="208"/>
                  </a:lnTo>
                  <a:lnTo>
                    <a:pt x="207" y="175"/>
                  </a:lnTo>
                  <a:lnTo>
                    <a:pt x="228" y="144"/>
                  </a:lnTo>
                  <a:lnTo>
                    <a:pt x="247" y="117"/>
                  </a:lnTo>
                  <a:lnTo>
                    <a:pt x="283" y="69"/>
                  </a:lnTo>
                  <a:lnTo>
                    <a:pt x="312" y="35"/>
                  </a:lnTo>
                  <a:lnTo>
                    <a:pt x="331" y="12"/>
                  </a:lnTo>
                  <a:lnTo>
                    <a:pt x="339" y="3"/>
                  </a:lnTo>
                  <a:lnTo>
                    <a:pt x="343" y="1"/>
                  </a:lnTo>
                  <a:lnTo>
                    <a:pt x="349" y="0"/>
                  </a:lnTo>
                  <a:lnTo>
                    <a:pt x="353" y="1"/>
                  </a:lnTo>
                  <a:lnTo>
                    <a:pt x="358" y="3"/>
                  </a:lnTo>
                  <a:lnTo>
                    <a:pt x="360" y="8"/>
                  </a:lnTo>
                  <a:lnTo>
                    <a:pt x="362" y="13"/>
                  </a:lnTo>
                  <a:lnTo>
                    <a:pt x="360" y="18"/>
                  </a:lnTo>
                  <a:lnTo>
                    <a:pt x="358" y="23"/>
                  </a:lnTo>
                  <a:lnTo>
                    <a:pt x="351" y="31"/>
                  </a:lnTo>
                  <a:lnTo>
                    <a:pt x="331" y="52"/>
                  </a:lnTo>
                  <a:lnTo>
                    <a:pt x="303" y="86"/>
                  </a:lnTo>
                  <a:lnTo>
                    <a:pt x="269" y="133"/>
                  </a:lnTo>
                  <a:lnTo>
                    <a:pt x="249" y="160"/>
                  </a:lnTo>
                  <a:lnTo>
                    <a:pt x="230" y="190"/>
                  </a:lnTo>
                  <a:lnTo>
                    <a:pt x="208" y="222"/>
                  </a:lnTo>
                  <a:lnTo>
                    <a:pt x="188" y="257"/>
                  </a:lnTo>
                  <a:lnTo>
                    <a:pt x="167" y="295"/>
                  </a:lnTo>
                  <a:lnTo>
                    <a:pt x="147" y="334"/>
                  </a:lnTo>
                  <a:lnTo>
                    <a:pt x="127" y="376"/>
                  </a:lnTo>
                  <a:lnTo>
                    <a:pt x="109" y="419"/>
                  </a:lnTo>
                  <a:lnTo>
                    <a:pt x="91" y="465"/>
                  </a:lnTo>
                  <a:lnTo>
                    <a:pt x="74" y="513"/>
                  </a:lnTo>
                  <a:lnTo>
                    <a:pt x="60" y="563"/>
                  </a:lnTo>
                  <a:lnTo>
                    <a:pt x="48" y="613"/>
                  </a:lnTo>
                  <a:lnTo>
                    <a:pt x="39" y="666"/>
                  </a:lnTo>
                  <a:lnTo>
                    <a:pt x="31" y="720"/>
                  </a:lnTo>
                  <a:lnTo>
                    <a:pt x="28" y="776"/>
                  </a:lnTo>
                  <a:lnTo>
                    <a:pt x="27" y="833"/>
                  </a:lnTo>
                  <a:lnTo>
                    <a:pt x="29" y="891"/>
                  </a:lnTo>
                  <a:lnTo>
                    <a:pt x="35" y="950"/>
                  </a:lnTo>
                  <a:lnTo>
                    <a:pt x="46" y="1010"/>
                  </a:lnTo>
                  <a:lnTo>
                    <a:pt x="61" y="1072"/>
                  </a:lnTo>
                  <a:lnTo>
                    <a:pt x="82" y="1134"/>
                  </a:lnTo>
                  <a:lnTo>
                    <a:pt x="107" y="1196"/>
                  </a:lnTo>
                  <a:lnTo>
                    <a:pt x="136" y="1260"/>
                  </a:lnTo>
                  <a:lnTo>
                    <a:pt x="173" y="1324"/>
                  </a:lnTo>
                  <a:lnTo>
                    <a:pt x="200" y="1367"/>
                  </a:lnTo>
                  <a:lnTo>
                    <a:pt x="229" y="1406"/>
                  </a:lnTo>
                  <a:lnTo>
                    <a:pt x="259" y="1442"/>
                  </a:lnTo>
                  <a:lnTo>
                    <a:pt x="289" y="1476"/>
                  </a:lnTo>
                  <a:lnTo>
                    <a:pt x="322" y="1506"/>
                  </a:lnTo>
                  <a:lnTo>
                    <a:pt x="354" y="1533"/>
                  </a:lnTo>
                  <a:lnTo>
                    <a:pt x="389" y="1558"/>
                  </a:lnTo>
                  <a:lnTo>
                    <a:pt x="423" y="1579"/>
                  </a:lnTo>
                  <a:lnTo>
                    <a:pt x="458" y="1599"/>
                  </a:lnTo>
                  <a:lnTo>
                    <a:pt x="494" y="1615"/>
                  </a:lnTo>
                  <a:lnTo>
                    <a:pt x="531" y="1630"/>
                  </a:lnTo>
                  <a:lnTo>
                    <a:pt x="569" y="1642"/>
                  </a:lnTo>
                  <a:lnTo>
                    <a:pt x="607" y="1652"/>
                  </a:lnTo>
                  <a:lnTo>
                    <a:pt x="646" y="1659"/>
                  </a:lnTo>
                  <a:lnTo>
                    <a:pt x="686" y="1665"/>
                  </a:lnTo>
                  <a:lnTo>
                    <a:pt x="724" y="1669"/>
                  </a:lnTo>
                  <a:lnTo>
                    <a:pt x="765" y="1671"/>
                  </a:lnTo>
                  <a:lnTo>
                    <a:pt x="805" y="1672"/>
                  </a:lnTo>
                  <a:lnTo>
                    <a:pt x="846" y="1671"/>
                  </a:lnTo>
                  <a:lnTo>
                    <a:pt x="887" y="1669"/>
                  </a:lnTo>
                  <a:lnTo>
                    <a:pt x="928" y="1666"/>
                  </a:lnTo>
                  <a:lnTo>
                    <a:pt x="971" y="1661"/>
                  </a:lnTo>
                  <a:lnTo>
                    <a:pt x="1013" y="1655"/>
                  </a:lnTo>
                  <a:lnTo>
                    <a:pt x="1054" y="1648"/>
                  </a:lnTo>
                  <a:lnTo>
                    <a:pt x="1096" y="1641"/>
                  </a:lnTo>
                  <a:lnTo>
                    <a:pt x="1138" y="1633"/>
                  </a:lnTo>
                  <a:lnTo>
                    <a:pt x="1180" y="1625"/>
                  </a:lnTo>
                  <a:lnTo>
                    <a:pt x="1221" y="1615"/>
                  </a:lnTo>
                  <a:lnTo>
                    <a:pt x="1304" y="1597"/>
                  </a:lnTo>
                  <a:lnTo>
                    <a:pt x="1386" y="1576"/>
                  </a:lnTo>
                  <a:lnTo>
                    <a:pt x="1455" y="1560"/>
                  </a:lnTo>
                  <a:lnTo>
                    <a:pt x="1525" y="1544"/>
                  </a:lnTo>
                  <a:lnTo>
                    <a:pt x="1591" y="1529"/>
                  </a:lnTo>
                  <a:lnTo>
                    <a:pt x="1656" y="1517"/>
                  </a:lnTo>
                  <a:lnTo>
                    <a:pt x="1688" y="1511"/>
                  </a:lnTo>
                  <a:lnTo>
                    <a:pt x="1719" y="1507"/>
                  </a:lnTo>
                  <a:lnTo>
                    <a:pt x="1750" y="1503"/>
                  </a:lnTo>
                  <a:lnTo>
                    <a:pt x="1779" y="1501"/>
                  </a:lnTo>
                  <a:lnTo>
                    <a:pt x="1809" y="1498"/>
                  </a:lnTo>
                  <a:lnTo>
                    <a:pt x="1837" y="1497"/>
                  </a:lnTo>
                  <a:lnTo>
                    <a:pt x="1865" y="1498"/>
                  </a:lnTo>
                  <a:lnTo>
                    <a:pt x="1892" y="1501"/>
                  </a:lnTo>
                  <a:lnTo>
                    <a:pt x="1896" y="1502"/>
                  </a:lnTo>
                  <a:lnTo>
                    <a:pt x="1900" y="1505"/>
                  </a:lnTo>
                  <a:lnTo>
                    <a:pt x="1902" y="1509"/>
                  </a:lnTo>
                  <a:lnTo>
                    <a:pt x="1904" y="1515"/>
                  </a:lnTo>
                  <a:lnTo>
                    <a:pt x="1902" y="1520"/>
                  </a:lnTo>
                  <a:lnTo>
                    <a:pt x="1899" y="1524"/>
                  </a:lnTo>
                  <a:lnTo>
                    <a:pt x="1894" y="1526"/>
                  </a:lnTo>
                  <a:lnTo>
                    <a:pt x="1888" y="1526"/>
                  </a:lnTo>
                  <a:lnTo>
                    <a:pt x="1862" y="1525"/>
                  </a:lnTo>
                  <a:lnTo>
                    <a:pt x="1837" y="1525"/>
                  </a:lnTo>
                  <a:lnTo>
                    <a:pt x="1809" y="1525"/>
                  </a:lnTo>
                  <a:lnTo>
                    <a:pt x="1780" y="1528"/>
                  </a:lnTo>
                  <a:lnTo>
                    <a:pt x="1751" y="1530"/>
                  </a:lnTo>
                  <a:lnTo>
                    <a:pt x="1721" y="1534"/>
                  </a:lnTo>
                  <a:lnTo>
                    <a:pt x="1691" y="1538"/>
                  </a:lnTo>
                  <a:lnTo>
                    <a:pt x="1659" y="1544"/>
                  </a:lnTo>
                  <a:lnTo>
                    <a:pt x="1595" y="1556"/>
                  </a:lnTo>
                  <a:lnTo>
                    <a:pt x="1529" y="1570"/>
                  </a:lnTo>
                  <a:lnTo>
                    <a:pt x="1462" y="1586"/>
                  </a:lnTo>
                  <a:lnTo>
                    <a:pt x="1393" y="1603"/>
                  </a:lnTo>
                  <a:lnTo>
                    <a:pt x="1319" y="1620"/>
                  </a:lnTo>
                  <a:lnTo>
                    <a:pt x="1246" y="1638"/>
                  </a:lnTo>
                  <a:lnTo>
                    <a:pt x="1171" y="1654"/>
                  </a:lnTo>
                  <a:lnTo>
                    <a:pt x="1097" y="1669"/>
                  </a:lnTo>
                  <a:lnTo>
                    <a:pt x="1059" y="1675"/>
                  </a:lnTo>
                  <a:lnTo>
                    <a:pt x="1022" y="1681"/>
                  </a:lnTo>
                  <a:lnTo>
                    <a:pt x="985" y="1686"/>
                  </a:lnTo>
                  <a:lnTo>
                    <a:pt x="948" y="1691"/>
                  </a:lnTo>
                  <a:lnTo>
                    <a:pt x="911" y="1695"/>
                  </a:lnTo>
                  <a:lnTo>
                    <a:pt x="874" y="1697"/>
                  </a:lnTo>
                  <a:lnTo>
                    <a:pt x="838" y="1699"/>
                  </a:lnTo>
                  <a:lnTo>
                    <a:pt x="801" y="169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240"/>
            <p:cNvSpPr>
              <a:spLocks/>
            </p:cNvSpPr>
            <p:nvPr userDrawn="1"/>
          </p:nvSpPr>
          <p:spPr bwMode="auto">
            <a:xfrm>
              <a:off x="1004888" y="5275263"/>
              <a:ext cx="1135063" cy="647700"/>
            </a:xfrm>
            <a:custGeom>
              <a:avLst/>
              <a:gdLst>
                <a:gd name="T0" fmla="*/ 495 w 2146"/>
                <a:gd name="T1" fmla="*/ 1223 h 1224"/>
                <a:gd name="T2" fmla="*/ 420 w 2146"/>
                <a:gd name="T3" fmla="*/ 1214 h 1224"/>
                <a:gd name="T4" fmla="*/ 351 w 2146"/>
                <a:gd name="T5" fmla="*/ 1197 h 1224"/>
                <a:gd name="T6" fmla="*/ 285 w 2146"/>
                <a:gd name="T7" fmla="*/ 1171 h 1224"/>
                <a:gd name="T8" fmla="*/ 226 w 2146"/>
                <a:gd name="T9" fmla="*/ 1134 h 1224"/>
                <a:gd name="T10" fmla="*/ 153 w 2146"/>
                <a:gd name="T11" fmla="*/ 1065 h 1224"/>
                <a:gd name="T12" fmla="*/ 67 w 2146"/>
                <a:gd name="T13" fmla="*/ 943 h 1224"/>
                <a:gd name="T14" fmla="*/ 19 w 2146"/>
                <a:gd name="T15" fmla="*/ 812 h 1224"/>
                <a:gd name="T16" fmla="*/ 0 w 2146"/>
                <a:gd name="T17" fmla="*/ 676 h 1224"/>
                <a:gd name="T18" fmla="*/ 6 w 2146"/>
                <a:gd name="T19" fmla="*/ 540 h 1224"/>
                <a:gd name="T20" fmla="*/ 28 w 2146"/>
                <a:gd name="T21" fmla="*/ 409 h 1224"/>
                <a:gd name="T22" fmla="*/ 62 w 2146"/>
                <a:gd name="T23" fmla="*/ 289 h 1224"/>
                <a:gd name="T24" fmla="*/ 101 w 2146"/>
                <a:gd name="T25" fmla="*/ 184 h 1224"/>
                <a:gd name="T26" fmla="*/ 149 w 2146"/>
                <a:gd name="T27" fmla="*/ 76 h 1224"/>
                <a:gd name="T28" fmla="*/ 187 w 2146"/>
                <a:gd name="T29" fmla="*/ 6 h 1224"/>
                <a:gd name="T30" fmla="*/ 201 w 2146"/>
                <a:gd name="T31" fmla="*/ 0 h 1224"/>
                <a:gd name="T32" fmla="*/ 212 w 2146"/>
                <a:gd name="T33" fmla="*/ 11 h 1224"/>
                <a:gd name="T34" fmla="*/ 205 w 2146"/>
                <a:gd name="T35" fmla="*/ 29 h 1224"/>
                <a:gd name="T36" fmla="*/ 150 w 2146"/>
                <a:gd name="T37" fmla="*/ 136 h 1224"/>
                <a:gd name="T38" fmla="*/ 113 w 2146"/>
                <a:gd name="T39" fmla="*/ 225 h 1224"/>
                <a:gd name="T40" fmla="*/ 76 w 2146"/>
                <a:gd name="T41" fmla="*/ 332 h 1224"/>
                <a:gd name="T42" fmla="*/ 46 w 2146"/>
                <a:gd name="T43" fmla="*/ 453 h 1224"/>
                <a:gd name="T44" fmla="*/ 28 w 2146"/>
                <a:gd name="T45" fmla="*/ 582 h 1224"/>
                <a:gd name="T46" fmla="*/ 31 w 2146"/>
                <a:gd name="T47" fmla="*/ 714 h 1224"/>
                <a:gd name="T48" fmla="*/ 56 w 2146"/>
                <a:gd name="T49" fmla="*/ 845 h 1224"/>
                <a:gd name="T50" fmla="*/ 114 w 2146"/>
                <a:gd name="T51" fmla="*/ 970 h 1224"/>
                <a:gd name="T52" fmla="*/ 208 w 2146"/>
                <a:gd name="T53" fmla="*/ 1084 h 1224"/>
                <a:gd name="T54" fmla="*/ 275 w 2146"/>
                <a:gd name="T55" fmla="*/ 1133 h 1224"/>
                <a:gd name="T56" fmla="*/ 349 w 2146"/>
                <a:gd name="T57" fmla="*/ 1168 h 1224"/>
                <a:gd name="T58" fmla="*/ 432 w 2146"/>
                <a:gd name="T59" fmla="*/ 1188 h 1224"/>
                <a:gd name="T60" fmla="*/ 522 w 2146"/>
                <a:gd name="T61" fmla="*/ 1197 h 1224"/>
                <a:gd name="T62" fmla="*/ 617 w 2146"/>
                <a:gd name="T63" fmla="*/ 1195 h 1224"/>
                <a:gd name="T64" fmla="*/ 717 w 2146"/>
                <a:gd name="T65" fmla="*/ 1183 h 1224"/>
                <a:gd name="T66" fmla="*/ 856 w 2146"/>
                <a:gd name="T67" fmla="*/ 1157 h 1224"/>
                <a:gd name="T68" fmla="*/ 1071 w 2146"/>
                <a:gd name="T69" fmla="*/ 1102 h 1224"/>
                <a:gd name="T70" fmla="*/ 1281 w 2146"/>
                <a:gd name="T71" fmla="*/ 1042 h 1224"/>
                <a:gd name="T72" fmla="*/ 1471 w 2146"/>
                <a:gd name="T73" fmla="*/ 990 h 1224"/>
                <a:gd name="T74" fmla="*/ 1657 w 2146"/>
                <a:gd name="T75" fmla="*/ 948 h 1224"/>
                <a:gd name="T76" fmla="*/ 1776 w 2146"/>
                <a:gd name="T77" fmla="*/ 930 h 1224"/>
                <a:gd name="T78" fmla="*/ 1862 w 2146"/>
                <a:gd name="T79" fmla="*/ 924 h 1224"/>
                <a:gd name="T80" fmla="*/ 1944 w 2146"/>
                <a:gd name="T81" fmla="*/ 925 h 1224"/>
                <a:gd name="T82" fmla="*/ 2021 w 2146"/>
                <a:gd name="T83" fmla="*/ 935 h 1224"/>
                <a:gd name="T84" fmla="*/ 2093 w 2146"/>
                <a:gd name="T85" fmla="*/ 954 h 1224"/>
                <a:gd name="T86" fmla="*/ 2143 w 2146"/>
                <a:gd name="T87" fmla="*/ 976 h 1224"/>
                <a:gd name="T88" fmla="*/ 2145 w 2146"/>
                <a:gd name="T89" fmla="*/ 991 h 1224"/>
                <a:gd name="T90" fmla="*/ 2132 w 2146"/>
                <a:gd name="T91" fmla="*/ 998 h 1224"/>
                <a:gd name="T92" fmla="*/ 2083 w 2146"/>
                <a:gd name="T93" fmla="*/ 979 h 1224"/>
                <a:gd name="T94" fmla="*/ 2013 w 2146"/>
                <a:gd name="T95" fmla="*/ 961 h 1224"/>
                <a:gd name="T96" fmla="*/ 1939 w 2146"/>
                <a:gd name="T97" fmla="*/ 952 h 1224"/>
                <a:gd name="T98" fmla="*/ 1859 w 2146"/>
                <a:gd name="T99" fmla="*/ 951 h 1224"/>
                <a:gd name="T100" fmla="*/ 1774 w 2146"/>
                <a:gd name="T101" fmla="*/ 957 h 1224"/>
                <a:gd name="T102" fmla="*/ 1658 w 2146"/>
                <a:gd name="T103" fmla="*/ 975 h 1224"/>
                <a:gd name="T104" fmla="*/ 1475 w 2146"/>
                <a:gd name="T105" fmla="*/ 1017 h 1224"/>
                <a:gd name="T106" fmla="*/ 1287 w 2146"/>
                <a:gd name="T107" fmla="*/ 1069 h 1224"/>
                <a:gd name="T108" fmla="*/ 1049 w 2146"/>
                <a:gd name="T109" fmla="*/ 1137 h 1224"/>
                <a:gd name="T110" fmla="*/ 832 w 2146"/>
                <a:gd name="T111" fmla="*/ 1191 h 1224"/>
                <a:gd name="T112" fmla="*/ 705 w 2146"/>
                <a:gd name="T113" fmla="*/ 1212 h 1224"/>
                <a:gd name="T114" fmla="*/ 586 w 2146"/>
                <a:gd name="T115" fmla="*/ 1223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6" h="1224">
                  <a:moveTo>
                    <a:pt x="547" y="1224"/>
                  </a:moveTo>
                  <a:lnTo>
                    <a:pt x="521" y="1224"/>
                  </a:lnTo>
                  <a:lnTo>
                    <a:pt x="495" y="1223"/>
                  </a:lnTo>
                  <a:lnTo>
                    <a:pt x="470" y="1221"/>
                  </a:lnTo>
                  <a:lnTo>
                    <a:pt x="445" y="1217"/>
                  </a:lnTo>
                  <a:lnTo>
                    <a:pt x="420" y="1214"/>
                  </a:lnTo>
                  <a:lnTo>
                    <a:pt x="397" y="1209"/>
                  </a:lnTo>
                  <a:lnTo>
                    <a:pt x="374" y="1203"/>
                  </a:lnTo>
                  <a:lnTo>
                    <a:pt x="351" y="1197"/>
                  </a:lnTo>
                  <a:lnTo>
                    <a:pt x="329" y="1189"/>
                  </a:lnTo>
                  <a:lnTo>
                    <a:pt x="307" y="1181"/>
                  </a:lnTo>
                  <a:lnTo>
                    <a:pt x="285" y="1171"/>
                  </a:lnTo>
                  <a:lnTo>
                    <a:pt x="265" y="1159"/>
                  </a:lnTo>
                  <a:lnTo>
                    <a:pt x="245" y="1147"/>
                  </a:lnTo>
                  <a:lnTo>
                    <a:pt x="226" y="1134"/>
                  </a:lnTo>
                  <a:lnTo>
                    <a:pt x="208" y="1119"/>
                  </a:lnTo>
                  <a:lnTo>
                    <a:pt x="189" y="1103"/>
                  </a:lnTo>
                  <a:lnTo>
                    <a:pt x="153" y="1065"/>
                  </a:lnTo>
                  <a:lnTo>
                    <a:pt x="119" y="1026"/>
                  </a:lnTo>
                  <a:lnTo>
                    <a:pt x="91" y="985"/>
                  </a:lnTo>
                  <a:lnTo>
                    <a:pt x="67" y="943"/>
                  </a:lnTo>
                  <a:lnTo>
                    <a:pt x="48" y="900"/>
                  </a:lnTo>
                  <a:lnTo>
                    <a:pt x="32" y="856"/>
                  </a:lnTo>
                  <a:lnTo>
                    <a:pt x="19" y="812"/>
                  </a:lnTo>
                  <a:lnTo>
                    <a:pt x="10" y="766"/>
                  </a:lnTo>
                  <a:lnTo>
                    <a:pt x="4" y="721"/>
                  </a:lnTo>
                  <a:lnTo>
                    <a:pt x="0" y="676"/>
                  </a:lnTo>
                  <a:lnTo>
                    <a:pt x="0" y="629"/>
                  </a:lnTo>
                  <a:lnTo>
                    <a:pt x="1" y="584"/>
                  </a:lnTo>
                  <a:lnTo>
                    <a:pt x="6" y="540"/>
                  </a:lnTo>
                  <a:lnTo>
                    <a:pt x="11" y="495"/>
                  </a:lnTo>
                  <a:lnTo>
                    <a:pt x="19" y="452"/>
                  </a:lnTo>
                  <a:lnTo>
                    <a:pt x="28" y="409"/>
                  </a:lnTo>
                  <a:lnTo>
                    <a:pt x="38" y="368"/>
                  </a:lnTo>
                  <a:lnTo>
                    <a:pt x="50" y="328"/>
                  </a:lnTo>
                  <a:lnTo>
                    <a:pt x="62" y="289"/>
                  </a:lnTo>
                  <a:lnTo>
                    <a:pt x="75" y="252"/>
                  </a:lnTo>
                  <a:lnTo>
                    <a:pt x="88" y="217"/>
                  </a:lnTo>
                  <a:lnTo>
                    <a:pt x="101" y="184"/>
                  </a:lnTo>
                  <a:lnTo>
                    <a:pt x="114" y="153"/>
                  </a:lnTo>
                  <a:lnTo>
                    <a:pt x="127" y="125"/>
                  </a:lnTo>
                  <a:lnTo>
                    <a:pt x="149" y="76"/>
                  </a:lnTo>
                  <a:lnTo>
                    <a:pt x="169" y="39"/>
                  </a:lnTo>
                  <a:lnTo>
                    <a:pt x="182" y="15"/>
                  </a:lnTo>
                  <a:lnTo>
                    <a:pt x="187" y="6"/>
                  </a:lnTo>
                  <a:lnTo>
                    <a:pt x="190" y="2"/>
                  </a:lnTo>
                  <a:lnTo>
                    <a:pt x="196" y="0"/>
                  </a:lnTo>
                  <a:lnTo>
                    <a:pt x="201" y="0"/>
                  </a:lnTo>
                  <a:lnTo>
                    <a:pt x="205" y="2"/>
                  </a:lnTo>
                  <a:lnTo>
                    <a:pt x="210" y="5"/>
                  </a:lnTo>
                  <a:lnTo>
                    <a:pt x="212" y="11"/>
                  </a:lnTo>
                  <a:lnTo>
                    <a:pt x="212" y="15"/>
                  </a:lnTo>
                  <a:lnTo>
                    <a:pt x="210" y="20"/>
                  </a:lnTo>
                  <a:lnTo>
                    <a:pt x="205" y="29"/>
                  </a:lnTo>
                  <a:lnTo>
                    <a:pt x="193" y="53"/>
                  </a:lnTo>
                  <a:lnTo>
                    <a:pt x="173" y="88"/>
                  </a:lnTo>
                  <a:lnTo>
                    <a:pt x="150" y="136"/>
                  </a:lnTo>
                  <a:lnTo>
                    <a:pt x="139" y="164"/>
                  </a:lnTo>
                  <a:lnTo>
                    <a:pt x="126" y="193"/>
                  </a:lnTo>
                  <a:lnTo>
                    <a:pt x="113" y="225"/>
                  </a:lnTo>
                  <a:lnTo>
                    <a:pt x="101" y="260"/>
                  </a:lnTo>
                  <a:lnTo>
                    <a:pt x="88" y="296"/>
                  </a:lnTo>
                  <a:lnTo>
                    <a:pt x="76" y="332"/>
                  </a:lnTo>
                  <a:lnTo>
                    <a:pt x="65" y="371"/>
                  </a:lnTo>
                  <a:lnTo>
                    <a:pt x="55" y="412"/>
                  </a:lnTo>
                  <a:lnTo>
                    <a:pt x="46" y="453"/>
                  </a:lnTo>
                  <a:lnTo>
                    <a:pt x="38" y="495"/>
                  </a:lnTo>
                  <a:lnTo>
                    <a:pt x="33" y="539"/>
                  </a:lnTo>
                  <a:lnTo>
                    <a:pt x="28" y="582"/>
                  </a:lnTo>
                  <a:lnTo>
                    <a:pt x="27" y="626"/>
                  </a:lnTo>
                  <a:lnTo>
                    <a:pt x="27" y="670"/>
                  </a:lnTo>
                  <a:lnTo>
                    <a:pt x="31" y="714"/>
                  </a:lnTo>
                  <a:lnTo>
                    <a:pt x="36" y="758"/>
                  </a:lnTo>
                  <a:lnTo>
                    <a:pt x="45" y="802"/>
                  </a:lnTo>
                  <a:lnTo>
                    <a:pt x="56" y="845"/>
                  </a:lnTo>
                  <a:lnTo>
                    <a:pt x="72" y="887"/>
                  </a:lnTo>
                  <a:lnTo>
                    <a:pt x="91" y="929"/>
                  </a:lnTo>
                  <a:lnTo>
                    <a:pt x="114" y="970"/>
                  </a:lnTo>
                  <a:lnTo>
                    <a:pt x="141" y="1009"/>
                  </a:lnTo>
                  <a:lnTo>
                    <a:pt x="172" y="1047"/>
                  </a:lnTo>
                  <a:lnTo>
                    <a:pt x="208" y="1084"/>
                  </a:lnTo>
                  <a:lnTo>
                    <a:pt x="229" y="1102"/>
                  </a:lnTo>
                  <a:lnTo>
                    <a:pt x="251" y="1119"/>
                  </a:lnTo>
                  <a:lnTo>
                    <a:pt x="275" y="1133"/>
                  </a:lnTo>
                  <a:lnTo>
                    <a:pt x="298" y="1146"/>
                  </a:lnTo>
                  <a:lnTo>
                    <a:pt x="323" y="1158"/>
                  </a:lnTo>
                  <a:lnTo>
                    <a:pt x="349" y="1168"/>
                  </a:lnTo>
                  <a:lnTo>
                    <a:pt x="376" y="1176"/>
                  </a:lnTo>
                  <a:lnTo>
                    <a:pt x="404" y="1183"/>
                  </a:lnTo>
                  <a:lnTo>
                    <a:pt x="432" y="1188"/>
                  </a:lnTo>
                  <a:lnTo>
                    <a:pt x="461" y="1193"/>
                  </a:lnTo>
                  <a:lnTo>
                    <a:pt x="492" y="1195"/>
                  </a:lnTo>
                  <a:lnTo>
                    <a:pt x="522" y="1197"/>
                  </a:lnTo>
                  <a:lnTo>
                    <a:pt x="553" y="1197"/>
                  </a:lnTo>
                  <a:lnTo>
                    <a:pt x="584" y="1196"/>
                  </a:lnTo>
                  <a:lnTo>
                    <a:pt x="617" y="1195"/>
                  </a:lnTo>
                  <a:lnTo>
                    <a:pt x="649" y="1192"/>
                  </a:lnTo>
                  <a:lnTo>
                    <a:pt x="683" y="1188"/>
                  </a:lnTo>
                  <a:lnTo>
                    <a:pt x="717" y="1183"/>
                  </a:lnTo>
                  <a:lnTo>
                    <a:pt x="751" y="1178"/>
                  </a:lnTo>
                  <a:lnTo>
                    <a:pt x="785" y="1172"/>
                  </a:lnTo>
                  <a:lnTo>
                    <a:pt x="856" y="1157"/>
                  </a:lnTo>
                  <a:lnTo>
                    <a:pt x="927" y="1141"/>
                  </a:lnTo>
                  <a:lnTo>
                    <a:pt x="999" y="1123"/>
                  </a:lnTo>
                  <a:lnTo>
                    <a:pt x="1071" y="1102"/>
                  </a:lnTo>
                  <a:lnTo>
                    <a:pt x="1145" y="1081"/>
                  </a:lnTo>
                  <a:lnTo>
                    <a:pt x="1217" y="1061"/>
                  </a:lnTo>
                  <a:lnTo>
                    <a:pt x="1281" y="1042"/>
                  </a:lnTo>
                  <a:lnTo>
                    <a:pt x="1345" y="1024"/>
                  </a:lnTo>
                  <a:lnTo>
                    <a:pt x="1408" y="1006"/>
                  </a:lnTo>
                  <a:lnTo>
                    <a:pt x="1471" y="990"/>
                  </a:lnTo>
                  <a:lnTo>
                    <a:pt x="1534" y="974"/>
                  </a:lnTo>
                  <a:lnTo>
                    <a:pt x="1596" y="960"/>
                  </a:lnTo>
                  <a:lnTo>
                    <a:pt x="1657" y="948"/>
                  </a:lnTo>
                  <a:lnTo>
                    <a:pt x="1717" y="938"/>
                  </a:lnTo>
                  <a:lnTo>
                    <a:pt x="1746" y="934"/>
                  </a:lnTo>
                  <a:lnTo>
                    <a:pt x="1776" y="930"/>
                  </a:lnTo>
                  <a:lnTo>
                    <a:pt x="1805" y="927"/>
                  </a:lnTo>
                  <a:lnTo>
                    <a:pt x="1834" y="925"/>
                  </a:lnTo>
                  <a:lnTo>
                    <a:pt x="1862" y="924"/>
                  </a:lnTo>
                  <a:lnTo>
                    <a:pt x="1889" y="924"/>
                  </a:lnTo>
                  <a:lnTo>
                    <a:pt x="1917" y="924"/>
                  </a:lnTo>
                  <a:lnTo>
                    <a:pt x="1944" y="925"/>
                  </a:lnTo>
                  <a:lnTo>
                    <a:pt x="1970" y="927"/>
                  </a:lnTo>
                  <a:lnTo>
                    <a:pt x="1996" y="930"/>
                  </a:lnTo>
                  <a:lnTo>
                    <a:pt x="2021" y="935"/>
                  </a:lnTo>
                  <a:lnTo>
                    <a:pt x="2045" y="940"/>
                  </a:lnTo>
                  <a:lnTo>
                    <a:pt x="2069" y="947"/>
                  </a:lnTo>
                  <a:lnTo>
                    <a:pt x="2093" y="954"/>
                  </a:lnTo>
                  <a:lnTo>
                    <a:pt x="2116" y="963"/>
                  </a:lnTo>
                  <a:lnTo>
                    <a:pt x="2138" y="972"/>
                  </a:lnTo>
                  <a:lnTo>
                    <a:pt x="2143" y="976"/>
                  </a:lnTo>
                  <a:lnTo>
                    <a:pt x="2145" y="980"/>
                  </a:lnTo>
                  <a:lnTo>
                    <a:pt x="2146" y="985"/>
                  </a:lnTo>
                  <a:lnTo>
                    <a:pt x="2145" y="991"/>
                  </a:lnTo>
                  <a:lnTo>
                    <a:pt x="2142" y="995"/>
                  </a:lnTo>
                  <a:lnTo>
                    <a:pt x="2137" y="997"/>
                  </a:lnTo>
                  <a:lnTo>
                    <a:pt x="2132" y="998"/>
                  </a:lnTo>
                  <a:lnTo>
                    <a:pt x="2126" y="997"/>
                  </a:lnTo>
                  <a:lnTo>
                    <a:pt x="2105" y="988"/>
                  </a:lnTo>
                  <a:lnTo>
                    <a:pt x="2083" y="979"/>
                  </a:lnTo>
                  <a:lnTo>
                    <a:pt x="2061" y="972"/>
                  </a:lnTo>
                  <a:lnTo>
                    <a:pt x="2037" y="966"/>
                  </a:lnTo>
                  <a:lnTo>
                    <a:pt x="2013" y="961"/>
                  </a:lnTo>
                  <a:lnTo>
                    <a:pt x="1988" y="957"/>
                  </a:lnTo>
                  <a:lnTo>
                    <a:pt x="1963" y="954"/>
                  </a:lnTo>
                  <a:lnTo>
                    <a:pt x="1939" y="952"/>
                  </a:lnTo>
                  <a:lnTo>
                    <a:pt x="1912" y="951"/>
                  </a:lnTo>
                  <a:lnTo>
                    <a:pt x="1886" y="951"/>
                  </a:lnTo>
                  <a:lnTo>
                    <a:pt x="1859" y="951"/>
                  </a:lnTo>
                  <a:lnTo>
                    <a:pt x="1831" y="952"/>
                  </a:lnTo>
                  <a:lnTo>
                    <a:pt x="1803" y="954"/>
                  </a:lnTo>
                  <a:lnTo>
                    <a:pt x="1774" y="957"/>
                  </a:lnTo>
                  <a:lnTo>
                    <a:pt x="1745" y="961"/>
                  </a:lnTo>
                  <a:lnTo>
                    <a:pt x="1717" y="965"/>
                  </a:lnTo>
                  <a:lnTo>
                    <a:pt x="1658" y="975"/>
                  </a:lnTo>
                  <a:lnTo>
                    <a:pt x="1597" y="988"/>
                  </a:lnTo>
                  <a:lnTo>
                    <a:pt x="1537" y="1002"/>
                  </a:lnTo>
                  <a:lnTo>
                    <a:pt x="1475" y="1017"/>
                  </a:lnTo>
                  <a:lnTo>
                    <a:pt x="1413" y="1033"/>
                  </a:lnTo>
                  <a:lnTo>
                    <a:pt x="1350" y="1050"/>
                  </a:lnTo>
                  <a:lnTo>
                    <a:pt x="1287" y="1069"/>
                  </a:lnTo>
                  <a:lnTo>
                    <a:pt x="1225" y="1087"/>
                  </a:lnTo>
                  <a:lnTo>
                    <a:pt x="1137" y="1112"/>
                  </a:lnTo>
                  <a:lnTo>
                    <a:pt x="1049" y="1137"/>
                  </a:lnTo>
                  <a:lnTo>
                    <a:pt x="961" y="1160"/>
                  </a:lnTo>
                  <a:lnTo>
                    <a:pt x="875" y="1181"/>
                  </a:lnTo>
                  <a:lnTo>
                    <a:pt x="832" y="1191"/>
                  </a:lnTo>
                  <a:lnTo>
                    <a:pt x="790" y="1198"/>
                  </a:lnTo>
                  <a:lnTo>
                    <a:pt x="748" y="1206"/>
                  </a:lnTo>
                  <a:lnTo>
                    <a:pt x="705" y="1212"/>
                  </a:lnTo>
                  <a:lnTo>
                    <a:pt x="665" y="1217"/>
                  </a:lnTo>
                  <a:lnTo>
                    <a:pt x="624" y="1221"/>
                  </a:lnTo>
                  <a:lnTo>
                    <a:pt x="586" y="1223"/>
                  </a:lnTo>
                  <a:lnTo>
                    <a:pt x="547" y="122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241"/>
            <p:cNvSpPr>
              <a:spLocks/>
            </p:cNvSpPr>
            <p:nvPr userDrawn="1"/>
          </p:nvSpPr>
          <p:spPr bwMode="auto">
            <a:xfrm>
              <a:off x="1611313" y="5965825"/>
              <a:ext cx="277813" cy="892175"/>
            </a:xfrm>
            <a:custGeom>
              <a:avLst/>
              <a:gdLst>
                <a:gd name="T0" fmla="*/ 19 w 527"/>
                <a:gd name="T1" fmla="*/ 1664 h 1685"/>
                <a:gd name="T2" fmla="*/ 60 w 527"/>
                <a:gd name="T3" fmla="*/ 1620 h 1685"/>
                <a:gd name="T4" fmla="*/ 103 w 527"/>
                <a:gd name="T5" fmla="*/ 1571 h 1685"/>
                <a:gd name="T6" fmla="*/ 145 w 527"/>
                <a:gd name="T7" fmla="*/ 1517 h 1685"/>
                <a:gd name="T8" fmla="*/ 188 w 527"/>
                <a:gd name="T9" fmla="*/ 1458 h 1685"/>
                <a:gd name="T10" fmla="*/ 231 w 527"/>
                <a:gd name="T11" fmla="*/ 1395 h 1685"/>
                <a:gd name="T12" fmla="*/ 274 w 527"/>
                <a:gd name="T13" fmla="*/ 1326 h 1685"/>
                <a:gd name="T14" fmla="*/ 317 w 527"/>
                <a:gd name="T15" fmla="*/ 1251 h 1685"/>
                <a:gd name="T16" fmla="*/ 368 w 527"/>
                <a:gd name="T17" fmla="*/ 1154 h 1685"/>
                <a:gd name="T18" fmla="*/ 417 w 527"/>
                <a:gd name="T19" fmla="*/ 1038 h 1685"/>
                <a:gd name="T20" fmla="*/ 452 w 527"/>
                <a:gd name="T21" fmla="*/ 926 h 1685"/>
                <a:gd name="T22" fmla="*/ 478 w 527"/>
                <a:gd name="T23" fmla="*/ 817 h 1685"/>
                <a:gd name="T24" fmla="*/ 493 w 527"/>
                <a:gd name="T25" fmla="*/ 712 h 1685"/>
                <a:gd name="T26" fmla="*/ 500 w 527"/>
                <a:gd name="T27" fmla="*/ 612 h 1685"/>
                <a:gd name="T28" fmla="*/ 499 w 527"/>
                <a:gd name="T29" fmla="*/ 516 h 1685"/>
                <a:gd name="T30" fmla="*/ 492 w 527"/>
                <a:gd name="T31" fmla="*/ 427 h 1685"/>
                <a:gd name="T32" fmla="*/ 482 w 527"/>
                <a:gd name="T33" fmla="*/ 345 h 1685"/>
                <a:gd name="T34" fmla="*/ 466 w 527"/>
                <a:gd name="T35" fmla="*/ 270 h 1685"/>
                <a:gd name="T36" fmla="*/ 450 w 527"/>
                <a:gd name="T37" fmla="*/ 204 h 1685"/>
                <a:gd name="T38" fmla="*/ 433 w 527"/>
                <a:gd name="T39" fmla="*/ 147 h 1685"/>
                <a:gd name="T40" fmla="*/ 409 w 527"/>
                <a:gd name="T41" fmla="*/ 79 h 1685"/>
                <a:gd name="T42" fmla="*/ 388 w 527"/>
                <a:gd name="T43" fmla="*/ 27 h 1685"/>
                <a:gd name="T44" fmla="*/ 382 w 527"/>
                <a:gd name="T45" fmla="*/ 15 h 1685"/>
                <a:gd name="T46" fmla="*/ 385 w 527"/>
                <a:gd name="T47" fmla="*/ 5 h 1685"/>
                <a:gd name="T48" fmla="*/ 395 w 527"/>
                <a:gd name="T49" fmla="*/ 0 h 1685"/>
                <a:gd name="T50" fmla="*/ 405 w 527"/>
                <a:gd name="T51" fmla="*/ 3 h 1685"/>
                <a:gd name="T52" fmla="*/ 411 w 527"/>
                <a:gd name="T53" fmla="*/ 15 h 1685"/>
                <a:gd name="T54" fmla="*/ 434 w 527"/>
                <a:gd name="T55" fmla="*/ 68 h 1685"/>
                <a:gd name="T56" fmla="*/ 459 w 527"/>
                <a:gd name="T57" fmla="*/ 137 h 1685"/>
                <a:gd name="T58" fmla="*/ 476 w 527"/>
                <a:gd name="T59" fmla="*/ 195 h 1685"/>
                <a:gd name="T60" fmla="*/ 492 w 527"/>
                <a:gd name="T61" fmla="*/ 263 h 1685"/>
                <a:gd name="T62" fmla="*/ 508 w 527"/>
                <a:gd name="T63" fmla="*/ 340 h 1685"/>
                <a:gd name="T64" fmla="*/ 519 w 527"/>
                <a:gd name="T65" fmla="*/ 424 h 1685"/>
                <a:gd name="T66" fmla="*/ 526 w 527"/>
                <a:gd name="T67" fmla="*/ 515 h 1685"/>
                <a:gd name="T68" fmla="*/ 526 w 527"/>
                <a:gd name="T69" fmla="*/ 612 h 1685"/>
                <a:gd name="T70" fmla="*/ 519 w 527"/>
                <a:gd name="T71" fmla="*/ 715 h 1685"/>
                <a:gd name="T72" fmla="*/ 504 w 527"/>
                <a:gd name="T73" fmla="*/ 822 h 1685"/>
                <a:gd name="T74" fmla="*/ 479 w 527"/>
                <a:gd name="T75" fmla="*/ 934 h 1685"/>
                <a:gd name="T76" fmla="*/ 442 w 527"/>
                <a:gd name="T77" fmla="*/ 1048 h 1685"/>
                <a:gd name="T78" fmla="*/ 393 w 527"/>
                <a:gd name="T79" fmla="*/ 1165 h 1685"/>
                <a:gd name="T80" fmla="*/ 342 w 527"/>
                <a:gd name="T81" fmla="*/ 1262 h 1685"/>
                <a:gd name="T82" fmla="*/ 301 w 527"/>
                <a:gd name="T83" fmla="*/ 1333 h 1685"/>
                <a:gd name="T84" fmla="*/ 259 w 527"/>
                <a:gd name="T85" fmla="*/ 1400 h 1685"/>
                <a:gd name="T86" fmla="*/ 218 w 527"/>
                <a:gd name="T87" fmla="*/ 1462 h 1685"/>
                <a:gd name="T88" fmla="*/ 177 w 527"/>
                <a:gd name="T89" fmla="*/ 1519 h 1685"/>
                <a:gd name="T90" fmla="*/ 137 w 527"/>
                <a:gd name="T91" fmla="*/ 1572 h 1685"/>
                <a:gd name="T92" fmla="*/ 78 w 527"/>
                <a:gd name="T93" fmla="*/ 1643 h 1685"/>
                <a:gd name="T94" fmla="*/ 0 w 527"/>
                <a:gd name="T95" fmla="*/ 1685 h 1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7" h="1685">
                  <a:moveTo>
                    <a:pt x="0" y="1685"/>
                  </a:moveTo>
                  <a:lnTo>
                    <a:pt x="19" y="1664"/>
                  </a:lnTo>
                  <a:lnTo>
                    <a:pt x="40" y="1643"/>
                  </a:lnTo>
                  <a:lnTo>
                    <a:pt x="60" y="1620"/>
                  </a:lnTo>
                  <a:lnTo>
                    <a:pt x="81" y="1595"/>
                  </a:lnTo>
                  <a:lnTo>
                    <a:pt x="103" y="1571"/>
                  </a:lnTo>
                  <a:lnTo>
                    <a:pt x="123" y="1545"/>
                  </a:lnTo>
                  <a:lnTo>
                    <a:pt x="145" y="1517"/>
                  </a:lnTo>
                  <a:lnTo>
                    <a:pt x="166" y="1489"/>
                  </a:lnTo>
                  <a:lnTo>
                    <a:pt x="188" y="1458"/>
                  </a:lnTo>
                  <a:lnTo>
                    <a:pt x="209" y="1427"/>
                  </a:lnTo>
                  <a:lnTo>
                    <a:pt x="231" y="1395"/>
                  </a:lnTo>
                  <a:lnTo>
                    <a:pt x="253" y="1361"/>
                  </a:lnTo>
                  <a:lnTo>
                    <a:pt x="274" y="1326"/>
                  </a:lnTo>
                  <a:lnTo>
                    <a:pt x="296" y="1289"/>
                  </a:lnTo>
                  <a:lnTo>
                    <a:pt x="317" y="1251"/>
                  </a:lnTo>
                  <a:lnTo>
                    <a:pt x="339" y="1211"/>
                  </a:lnTo>
                  <a:lnTo>
                    <a:pt x="368" y="1154"/>
                  </a:lnTo>
                  <a:lnTo>
                    <a:pt x="394" y="1096"/>
                  </a:lnTo>
                  <a:lnTo>
                    <a:pt x="417" y="1038"/>
                  </a:lnTo>
                  <a:lnTo>
                    <a:pt x="436" y="982"/>
                  </a:lnTo>
                  <a:lnTo>
                    <a:pt x="452" y="926"/>
                  </a:lnTo>
                  <a:lnTo>
                    <a:pt x="466" y="871"/>
                  </a:lnTo>
                  <a:lnTo>
                    <a:pt x="478" y="817"/>
                  </a:lnTo>
                  <a:lnTo>
                    <a:pt x="487" y="764"/>
                  </a:lnTo>
                  <a:lnTo>
                    <a:pt x="493" y="712"/>
                  </a:lnTo>
                  <a:lnTo>
                    <a:pt x="497" y="662"/>
                  </a:lnTo>
                  <a:lnTo>
                    <a:pt x="500" y="612"/>
                  </a:lnTo>
                  <a:lnTo>
                    <a:pt x="500" y="563"/>
                  </a:lnTo>
                  <a:lnTo>
                    <a:pt x="499" y="516"/>
                  </a:lnTo>
                  <a:lnTo>
                    <a:pt x="497" y="471"/>
                  </a:lnTo>
                  <a:lnTo>
                    <a:pt x="492" y="427"/>
                  </a:lnTo>
                  <a:lnTo>
                    <a:pt x="487" y="385"/>
                  </a:lnTo>
                  <a:lnTo>
                    <a:pt x="482" y="345"/>
                  </a:lnTo>
                  <a:lnTo>
                    <a:pt x="474" y="307"/>
                  </a:lnTo>
                  <a:lnTo>
                    <a:pt x="466" y="270"/>
                  </a:lnTo>
                  <a:lnTo>
                    <a:pt x="459" y="235"/>
                  </a:lnTo>
                  <a:lnTo>
                    <a:pt x="450" y="204"/>
                  </a:lnTo>
                  <a:lnTo>
                    <a:pt x="442" y="174"/>
                  </a:lnTo>
                  <a:lnTo>
                    <a:pt x="433" y="147"/>
                  </a:lnTo>
                  <a:lnTo>
                    <a:pt x="425" y="121"/>
                  </a:lnTo>
                  <a:lnTo>
                    <a:pt x="409" y="79"/>
                  </a:lnTo>
                  <a:lnTo>
                    <a:pt x="396" y="47"/>
                  </a:lnTo>
                  <a:lnTo>
                    <a:pt x="388" y="27"/>
                  </a:lnTo>
                  <a:lnTo>
                    <a:pt x="384" y="19"/>
                  </a:lnTo>
                  <a:lnTo>
                    <a:pt x="382" y="15"/>
                  </a:lnTo>
                  <a:lnTo>
                    <a:pt x="383" y="10"/>
                  </a:lnTo>
                  <a:lnTo>
                    <a:pt x="385" y="5"/>
                  </a:lnTo>
                  <a:lnTo>
                    <a:pt x="390" y="2"/>
                  </a:lnTo>
                  <a:lnTo>
                    <a:pt x="395" y="0"/>
                  </a:lnTo>
                  <a:lnTo>
                    <a:pt x="401" y="1"/>
                  </a:lnTo>
                  <a:lnTo>
                    <a:pt x="405" y="3"/>
                  </a:lnTo>
                  <a:lnTo>
                    <a:pt x="408" y="7"/>
                  </a:lnTo>
                  <a:lnTo>
                    <a:pt x="411" y="15"/>
                  </a:lnTo>
                  <a:lnTo>
                    <a:pt x="421" y="36"/>
                  </a:lnTo>
                  <a:lnTo>
                    <a:pt x="434" y="68"/>
                  </a:lnTo>
                  <a:lnTo>
                    <a:pt x="450" y="111"/>
                  </a:lnTo>
                  <a:lnTo>
                    <a:pt x="459" y="137"/>
                  </a:lnTo>
                  <a:lnTo>
                    <a:pt x="468" y="165"/>
                  </a:lnTo>
                  <a:lnTo>
                    <a:pt x="476" y="195"/>
                  </a:lnTo>
                  <a:lnTo>
                    <a:pt x="485" y="228"/>
                  </a:lnTo>
                  <a:lnTo>
                    <a:pt x="492" y="263"/>
                  </a:lnTo>
                  <a:lnTo>
                    <a:pt x="500" y="300"/>
                  </a:lnTo>
                  <a:lnTo>
                    <a:pt x="508" y="340"/>
                  </a:lnTo>
                  <a:lnTo>
                    <a:pt x="514" y="381"/>
                  </a:lnTo>
                  <a:lnTo>
                    <a:pt x="519" y="424"/>
                  </a:lnTo>
                  <a:lnTo>
                    <a:pt x="523" y="468"/>
                  </a:lnTo>
                  <a:lnTo>
                    <a:pt x="526" y="515"/>
                  </a:lnTo>
                  <a:lnTo>
                    <a:pt x="527" y="562"/>
                  </a:lnTo>
                  <a:lnTo>
                    <a:pt x="526" y="612"/>
                  </a:lnTo>
                  <a:lnTo>
                    <a:pt x="524" y="663"/>
                  </a:lnTo>
                  <a:lnTo>
                    <a:pt x="519" y="715"/>
                  </a:lnTo>
                  <a:lnTo>
                    <a:pt x="513" y="769"/>
                  </a:lnTo>
                  <a:lnTo>
                    <a:pt x="504" y="822"/>
                  </a:lnTo>
                  <a:lnTo>
                    <a:pt x="493" y="878"/>
                  </a:lnTo>
                  <a:lnTo>
                    <a:pt x="479" y="934"/>
                  </a:lnTo>
                  <a:lnTo>
                    <a:pt x="462" y="991"/>
                  </a:lnTo>
                  <a:lnTo>
                    <a:pt x="442" y="1048"/>
                  </a:lnTo>
                  <a:lnTo>
                    <a:pt x="419" y="1106"/>
                  </a:lnTo>
                  <a:lnTo>
                    <a:pt x="393" y="1165"/>
                  </a:lnTo>
                  <a:lnTo>
                    <a:pt x="363" y="1224"/>
                  </a:lnTo>
                  <a:lnTo>
                    <a:pt x="342" y="1262"/>
                  </a:lnTo>
                  <a:lnTo>
                    <a:pt x="322" y="1299"/>
                  </a:lnTo>
                  <a:lnTo>
                    <a:pt x="301" y="1333"/>
                  </a:lnTo>
                  <a:lnTo>
                    <a:pt x="280" y="1368"/>
                  </a:lnTo>
                  <a:lnTo>
                    <a:pt x="259" y="1400"/>
                  </a:lnTo>
                  <a:lnTo>
                    <a:pt x="239" y="1431"/>
                  </a:lnTo>
                  <a:lnTo>
                    <a:pt x="218" y="1462"/>
                  </a:lnTo>
                  <a:lnTo>
                    <a:pt x="198" y="1491"/>
                  </a:lnTo>
                  <a:lnTo>
                    <a:pt x="177" y="1519"/>
                  </a:lnTo>
                  <a:lnTo>
                    <a:pt x="158" y="1546"/>
                  </a:lnTo>
                  <a:lnTo>
                    <a:pt x="137" y="1572"/>
                  </a:lnTo>
                  <a:lnTo>
                    <a:pt x="118" y="1596"/>
                  </a:lnTo>
                  <a:lnTo>
                    <a:pt x="78" y="1643"/>
                  </a:lnTo>
                  <a:lnTo>
                    <a:pt x="39" y="1685"/>
                  </a:lnTo>
                  <a:lnTo>
                    <a:pt x="0" y="168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242"/>
            <p:cNvSpPr>
              <a:spLocks/>
            </p:cNvSpPr>
            <p:nvPr userDrawn="1"/>
          </p:nvSpPr>
          <p:spPr bwMode="auto">
            <a:xfrm>
              <a:off x="1928813" y="5738813"/>
              <a:ext cx="3484563" cy="712788"/>
            </a:xfrm>
            <a:custGeom>
              <a:avLst/>
              <a:gdLst>
                <a:gd name="T0" fmla="*/ 6570 w 6584"/>
                <a:gd name="T1" fmla="*/ 1345 h 1345"/>
                <a:gd name="T2" fmla="*/ 6568 w 6584"/>
                <a:gd name="T3" fmla="*/ 1345 h 1345"/>
                <a:gd name="T4" fmla="*/ 6565 w 6584"/>
                <a:gd name="T5" fmla="*/ 1344 h 1345"/>
                <a:gd name="T6" fmla="*/ 5371 w 6584"/>
                <a:gd name="T7" fmla="*/ 848 h 1345"/>
                <a:gd name="T8" fmla="*/ 2178 w 6584"/>
                <a:gd name="T9" fmla="*/ 707 h 1345"/>
                <a:gd name="T10" fmla="*/ 2176 w 6584"/>
                <a:gd name="T11" fmla="*/ 707 h 1345"/>
                <a:gd name="T12" fmla="*/ 2175 w 6584"/>
                <a:gd name="T13" fmla="*/ 707 h 1345"/>
                <a:gd name="T14" fmla="*/ 10 w 6584"/>
                <a:gd name="T15" fmla="*/ 26 h 1345"/>
                <a:gd name="T16" fmla="*/ 6 w 6584"/>
                <a:gd name="T17" fmla="*/ 24 h 1345"/>
                <a:gd name="T18" fmla="*/ 3 w 6584"/>
                <a:gd name="T19" fmla="*/ 20 h 1345"/>
                <a:gd name="T20" fmla="*/ 0 w 6584"/>
                <a:gd name="T21" fmla="*/ 14 h 1345"/>
                <a:gd name="T22" fmla="*/ 2 w 6584"/>
                <a:gd name="T23" fmla="*/ 9 h 1345"/>
                <a:gd name="T24" fmla="*/ 4 w 6584"/>
                <a:gd name="T25" fmla="*/ 5 h 1345"/>
                <a:gd name="T26" fmla="*/ 8 w 6584"/>
                <a:gd name="T27" fmla="*/ 1 h 1345"/>
                <a:gd name="T28" fmla="*/ 13 w 6584"/>
                <a:gd name="T29" fmla="*/ 0 h 1345"/>
                <a:gd name="T30" fmla="*/ 19 w 6584"/>
                <a:gd name="T31" fmla="*/ 0 h 1345"/>
                <a:gd name="T32" fmla="*/ 2182 w 6584"/>
                <a:gd name="T33" fmla="*/ 680 h 1345"/>
                <a:gd name="T34" fmla="*/ 5375 w 6584"/>
                <a:gd name="T35" fmla="*/ 821 h 1345"/>
                <a:gd name="T36" fmla="*/ 5378 w 6584"/>
                <a:gd name="T37" fmla="*/ 822 h 1345"/>
                <a:gd name="T38" fmla="*/ 5380 w 6584"/>
                <a:gd name="T39" fmla="*/ 822 h 1345"/>
                <a:gd name="T40" fmla="*/ 6575 w 6584"/>
                <a:gd name="T41" fmla="*/ 1320 h 1345"/>
                <a:gd name="T42" fmla="*/ 6580 w 6584"/>
                <a:gd name="T43" fmla="*/ 1323 h 1345"/>
                <a:gd name="T44" fmla="*/ 6583 w 6584"/>
                <a:gd name="T45" fmla="*/ 1327 h 1345"/>
                <a:gd name="T46" fmla="*/ 6584 w 6584"/>
                <a:gd name="T47" fmla="*/ 1332 h 1345"/>
                <a:gd name="T48" fmla="*/ 6583 w 6584"/>
                <a:gd name="T49" fmla="*/ 1338 h 1345"/>
                <a:gd name="T50" fmla="*/ 6581 w 6584"/>
                <a:gd name="T51" fmla="*/ 1341 h 1345"/>
                <a:gd name="T52" fmla="*/ 6578 w 6584"/>
                <a:gd name="T53" fmla="*/ 1343 h 1345"/>
                <a:gd name="T54" fmla="*/ 6574 w 6584"/>
                <a:gd name="T55" fmla="*/ 1345 h 1345"/>
                <a:gd name="T56" fmla="*/ 6570 w 6584"/>
                <a:gd name="T57" fmla="*/ 134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84" h="1345">
                  <a:moveTo>
                    <a:pt x="6570" y="1345"/>
                  </a:moveTo>
                  <a:lnTo>
                    <a:pt x="6568" y="1345"/>
                  </a:lnTo>
                  <a:lnTo>
                    <a:pt x="6565" y="1344"/>
                  </a:lnTo>
                  <a:lnTo>
                    <a:pt x="5371" y="848"/>
                  </a:lnTo>
                  <a:lnTo>
                    <a:pt x="2178" y="707"/>
                  </a:lnTo>
                  <a:lnTo>
                    <a:pt x="2176" y="707"/>
                  </a:lnTo>
                  <a:lnTo>
                    <a:pt x="2175" y="707"/>
                  </a:lnTo>
                  <a:lnTo>
                    <a:pt x="10" y="26"/>
                  </a:lnTo>
                  <a:lnTo>
                    <a:pt x="6" y="24"/>
                  </a:lnTo>
                  <a:lnTo>
                    <a:pt x="3" y="20"/>
                  </a:lnTo>
                  <a:lnTo>
                    <a:pt x="0" y="14"/>
                  </a:lnTo>
                  <a:lnTo>
                    <a:pt x="2" y="9"/>
                  </a:lnTo>
                  <a:lnTo>
                    <a:pt x="4" y="5"/>
                  </a:lnTo>
                  <a:lnTo>
                    <a:pt x="8" y="1"/>
                  </a:lnTo>
                  <a:lnTo>
                    <a:pt x="13" y="0"/>
                  </a:lnTo>
                  <a:lnTo>
                    <a:pt x="19" y="0"/>
                  </a:lnTo>
                  <a:lnTo>
                    <a:pt x="2182" y="680"/>
                  </a:lnTo>
                  <a:lnTo>
                    <a:pt x="5375" y="821"/>
                  </a:lnTo>
                  <a:lnTo>
                    <a:pt x="5378" y="822"/>
                  </a:lnTo>
                  <a:lnTo>
                    <a:pt x="5380" y="822"/>
                  </a:lnTo>
                  <a:lnTo>
                    <a:pt x="6575" y="1320"/>
                  </a:lnTo>
                  <a:lnTo>
                    <a:pt x="6580" y="1323"/>
                  </a:lnTo>
                  <a:lnTo>
                    <a:pt x="6583" y="1327"/>
                  </a:lnTo>
                  <a:lnTo>
                    <a:pt x="6584" y="1332"/>
                  </a:lnTo>
                  <a:lnTo>
                    <a:pt x="6583" y="1338"/>
                  </a:lnTo>
                  <a:lnTo>
                    <a:pt x="6581" y="1341"/>
                  </a:lnTo>
                  <a:lnTo>
                    <a:pt x="6578" y="1343"/>
                  </a:lnTo>
                  <a:lnTo>
                    <a:pt x="6574" y="1345"/>
                  </a:lnTo>
                  <a:lnTo>
                    <a:pt x="6570" y="134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243"/>
            <p:cNvSpPr>
              <a:spLocks/>
            </p:cNvSpPr>
            <p:nvPr userDrawn="1"/>
          </p:nvSpPr>
          <p:spPr bwMode="auto">
            <a:xfrm>
              <a:off x="644525" y="5738813"/>
              <a:ext cx="4768850" cy="1119188"/>
            </a:xfrm>
            <a:custGeom>
              <a:avLst/>
              <a:gdLst>
                <a:gd name="T0" fmla="*/ 4 w 9010"/>
                <a:gd name="T1" fmla="*/ 1494 h 2114"/>
                <a:gd name="T2" fmla="*/ 1 w 9010"/>
                <a:gd name="T3" fmla="*/ 1487 h 2114"/>
                <a:gd name="T4" fmla="*/ 1 w 9010"/>
                <a:gd name="T5" fmla="*/ 1479 h 2114"/>
                <a:gd name="T6" fmla="*/ 57 w 9010"/>
                <a:gd name="T7" fmla="*/ 1335 h 2114"/>
                <a:gd name="T8" fmla="*/ 63 w 9010"/>
                <a:gd name="T9" fmla="*/ 1330 h 2114"/>
                <a:gd name="T10" fmla="*/ 69 w 9010"/>
                <a:gd name="T11" fmla="*/ 1329 h 2114"/>
                <a:gd name="T12" fmla="*/ 76 w 9010"/>
                <a:gd name="T13" fmla="*/ 1331 h 2114"/>
                <a:gd name="T14" fmla="*/ 815 w 9010"/>
                <a:gd name="T15" fmla="*/ 2076 h 2114"/>
                <a:gd name="T16" fmla="*/ 2433 w 9010"/>
                <a:gd name="T17" fmla="*/ 3 h 2114"/>
                <a:gd name="T18" fmla="*/ 2440 w 9010"/>
                <a:gd name="T19" fmla="*/ 0 h 2114"/>
                <a:gd name="T20" fmla="*/ 2541 w 9010"/>
                <a:gd name="T21" fmla="*/ 36 h 2114"/>
                <a:gd name="T22" fmla="*/ 2547 w 9010"/>
                <a:gd name="T23" fmla="*/ 32 h 2114"/>
                <a:gd name="T24" fmla="*/ 2558 w 9010"/>
                <a:gd name="T25" fmla="*/ 33 h 2114"/>
                <a:gd name="T26" fmla="*/ 2564 w 9010"/>
                <a:gd name="T27" fmla="*/ 41 h 2114"/>
                <a:gd name="T28" fmla="*/ 2564 w 9010"/>
                <a:gd name="T29" fmla="*/ 45 h 2114"/>
                <a:gd name="T30" fmla="*/ 7624 w 9010"/>
                <a:gd name="T31" fmla="*/ 655 h 2114"/>
                <a:gd name="T32" fmla="*/ 7630 w 9010"/>
                <a:gd name="T33" fmla="*/ 656 h 2114"/>
                <a:gd name="T34" fmla="*/ 9006 w 9010"/>
                <a:gd name="T35" fmla="*/ 1280 h 2114"/>
                <a:gd name="T36" fmla="*/ 9010 w 9010"/>
                <a:gd name="T37" fmla="*/ 1288 h 2114"/>
                <a:gd name="T38" fmla="*/ 9006 w 9010"/>
                <a:gd name="T39" fmla="*/ 1298 h 2114"/>
                <a:gd name="T40" fmla="*/ 8996 w 9010"/>
                <a:gd name="T41" fmla="*/ 1302 h 2114"/>
                <a:gd name="T42" fmla="*/ 7639 w 9010"/>
                <a:gd name="T43" fmla="*/ 706 h 2114"/>
                <a:gd name="T44" fmla="*/ 4907 w 9010"/>
                <a:gd name="T45" fmla="*/ 1024 h 2114"/>
                <a:gd name="T46" fmla="*/ 2731 w 9010"/>
                <a:gd name="T47" fmla="*/ 266 h 2114"/>
                <a:gd name="T48" fmla="*/ 2723 w 9010"/>
                <a:gd name="T49" fmla="*/ 259 h 2114"/>
                <a:gd name="T50" fmla="*/ 2722 w 9010"/>
                <a:gd name="T51" fmla="*/ 249 h 2114"/>
                <a:gd name="T52" fmla="*/ 2730 w 9010"/>
                <a:gd name="T53" fmla="*/ 241 h 2114"/>
                <a:gd name="T54" fmla="*/ 2740 w 9010"/>
                <a:gd name="T55" fmla="*/ 240 h 2114"/>
                <a:gd name="T56" fmla="*/ 7612 w 9010"/>
                <a:gd name="T57" fmla="*/ 683 h 2114"/>
                <a:gd name="T58" fmla="*/ 4738 w 9010"/>
                <a:gd name="T59" fmla="*/ 879 h 2114"/>
                <a:gd name="T60" fmla="*/ 2554 w 9010"/>
                <a:gd name="T61" fmla="*/ 69 h 2114"/>
                <a:gd name="T62" fmla="*/ 2520 w 9010"/>
                <a:gd name="T63" fmla="*/ 122 h 2114"/>
                <a:gd name="T64" fmla="*/ 2469 w 9010"/>
                <a:gd name="T65" fmla="*/ 199 h 2114"/>
                <a:gd name="T66" fmla="*/ 2314 w 9010"/>
                <a:gd name="T67" fmla="*/ 407 h 2114"/>
                <a:gd name="T68" fmla="*/ 2110 w 9010"/>
                <a:gd name="T69" fmla="*/ 675 h 2114"/>
                <a:gd name="T70" fmla="*/ 1873 w 9010"/>
                <a:gd name="T71" fmla="*/ 978 h 2114"/>
                <a:gd name="T72" fmla="*/ 1621 w 9010"/>
                <a:gd name="T73" fmla="*/ 1297 h 2114"/>
                <a:gd name="T74" fmla="*/ 1374 w 9010"/>
                <a:gd name="T75" fmla="*/ 1607 h 2114"/>
                <a:gd name="T76" fmla="*/ 1149 w 9010"/>
                <a:gd name="T77" fmla="*/ 1886 h 2114"/>
                <a:gd name="T78" fmla="*/ 965 w 9010"/>
                <a:gd name="T79" fmla="*/ 2114 h 2114"/>
                <a:gd name="T80" fmla="*/ 1051 w 9010"/>
                <a:gd name="T81" fmla="*/ 1965 h 2114"/>
                <a:gd name="T82" fmla="*/ 1303 w 9010"/>
                <a:gd name="T83" fmla="*/ 1650 h 2114"/>
                <a:gd name="T84" fmla="*/ 1562 w 9010"/>
                <a:gd name="T85" fmla="*/ 1327 h 2114"/>
                <a:gd name="T86" fmla="*/ 1813 w 9010"/>
                <a:gd name="T87" fmla="*/ 1009 h 2114"/>
                <a:gd name="T88" fmla="*/ 2046 w 9010"/>
                <a:gd name="T89" fmla="*/ 713 h 2114"/>
                <a:gd name="T90" fmla="*/ 2247 w 9010"/>
                <a:gd name="T91" fmla="*/ 453 h 2114"/>
                <a:gd name="T92" fmla="*/ 2405 w 9010"/>
                <a:gd name="T93" fmla="*/ 244 h 2114"/>
                <a:gd name="T94" fmla="*/ 2486 w 9010"/>
                <a:gd name="T95" fmla="*/ 131 h 2114"/>
                <a:gd name="T96" fmla="*/ 2520 w 9010"/>
                <a:gd name="T97" fmla="*/ 79 h 2114"/>
                <a:gd name="T98" fmla="*/ 2445 w 9010"/>
                <a:gd name="T99" fmla="*/ 30 h 2114"/>
                <a:gd name="T100" fmla="*/ 835 w 9010"/>
                <a:gd name="T101" fmla="*/ 2096 h 2114"/>
                <a:gd name="T102" fmla="*/ 786 w 9010"/>
                <a:gd name="T103" fmla="*/ 2114 h 2114"/>
                <a:gd name="T104" fmla="*/ 74 w 9010"/>
                <a:gd name="T105" fmla="*/ 1367 h 2114"/>
                <a:gd name="T106" fmla="*/ 29 w 9010"/>
                <a:gd name="T107" fmla="*/ 1480 h 2114"/>
                <a:gd name="T108" fmla="*/ 643 w 9010"/>
                <a:gd name="T109" fmla="*/ 2114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10" h="2114">
                  <a:moveTo>
                    <a:pt x="643" y="2114"/>
                  </a:moveTo>
                  <a:lnTo>
                    <a:pt x="4" y="1494"/>
                  </a:lnTo>
                  <a:lnTo>
                    <a:pt x="2" y="1491"/>
                  </a:lnTo>
                  <a:lnTo>
                    <a:pt x="1" y="1487"/>
                  </a:lnTo>
                  <a:lnTo>
                    <a:pt x="0" y="1484"/>
                  </a:lnTo>
                  <a:lnTo>
                    <a:pt x="1" y="1479"/>
                  </a:lnTo>
                  <a:lnTo>
                    <a:pt x="55" y="1338"/>
                  </a:lnTo>
                  <a:lnTo>
                    <a:pt x="57" y="1335"/>
                  </a:lnTo>
                  <a:lnTo>
                    <a:pt x="59" y="1332"/>
                  </a:lnTo>
                  <a:lnTo>
                    <a:pt x="63" y="1330"/>
                  </a:lnTo>
                  <a:lnTo>
                    <a:pt x="66" y="1329"/>
                  </a:lnTo>
                  <a:lnTo>
                    <a:pt x="69" y="1329"/>
                  </a:lnTo>
                  <a:lnTo>
                    <a:pt x="72" y="1330"/>
                  </a:lnTo>
                  <a:lnTo>
                    <a:pt x="76" y="1331"/>
                  </a:lnTo>
                  <a:lnTo>
                    <a:pt x="78" y="1334"/>
                  </a:lnTo>
                  <a:lnTo>
                    <a:pt x="815" y="2076"/>
                  </a:lnTo>
                  <a:lnTo>
                    <a:pt x="2430" y="5"/>
                  </a:lnTo>
                  <a:lnTo>
                    <a:pt x="2433" y="3"/>
                  </a:lnTo>
                  <a:lnTo>
                    <a:pt x="2436" y="0"/>
                  </a:lnTo>
                  <a:lnTo>
                    <a:pt x="2440" y="0"/>
                  </a:lnTo>
                  <a:lnTo>
                    <a:pt x="2445" y="0"/>
                  </a:lnTo>
                  <a:lnTo>
                    <a:pt x="2541" y="36"/>
                  </a:lnTo>
                  <a:lnTo>
                    <a:pt x="2543" y="34"/>
                  </a:lnTo>
                  <a:lnTo>
                    <a:pt x="2547" y="32"/>
                  </a:lnTo>
                  <a:lnTo>
                    <a:pt x="2553" y="32"/>
                  </a:lnTo>
                  <a:lnTo>
                    <a:pt x="2558" y="33"/>
                  </a:lnTo>
                  <a:lnTo>
                    <a:pt x="2561" y="37"/>
                  </a:lnTo>
                  <a:lnTo>
                    <a:pt x="2564" y="41"/>
                  </a:lnTo>
                  <a:lnTo>
                    <a:pt x="2565" y="42"/>
                  </a:lnTo>
                  <a:lnTo>
                    <a:pt x="2564" y="45"/>
                  </a:lnTo>
                  <a:lnTo>
                    <a:pt x="4742" y="852"/>
                  </a:lnTo>
                  <a:lnTo>
                    <a:pt x="7624" y="655"/>
                  </a:lnTo>
                  <a:lnTo>
                    <a:pt x="7627" y="655"/>
                  </a:lnTo>
                  <a:lnTo>
                    <a:pt x="7630" y="656"/>
                  </a:lnTo>
                  <a:lnTo>
                    <a:pt x="9001" y="1276"/>
                  </a:lnTo>
                  <a:lnTo>
                    <a:pt x="9006" y="1280"/>
                  </a:lnTo>
                  <a:lnTo>
                    <a:pt x="9009" y="1284"/>
                  </a:lnTo>
                  <a:lnTo>
                    <a:pt x="9010" y="1288"/>
                  </a:lnTo>
                  <a:lnTo>
                    <a:pt x="9009" y="1294"/>
                  </a:lnTo>
                  <a:lnTo>
                    <a:pt x="9006" y="1298"/>
                  </a:lnTo>
                  <a:lnTo>
                    <a:pt x="9001" y="1301"/>
                  </a:lnTo>
                  <a:lnTo>
                    <a:pt x="8996" y="1302"/>
                  </a:lnTo>
                  <a:lnTo>
                    <a:pt x="8991" y="1301"/>
                  </a:lnTo>
                  <a:lnTo>
                    <a:pt x="7639" y="706"/>
                  </a:lnTo>
                  <a:lnTo>
                    <a:pt x="4910" y="1024"/>
                  </a:lnTo>
                  <a:lnTo>
                    <a:pt x="4907" y="1024"/>
                  </a:lnTo>
                  <a:lnTo>
                    <a:pt x="4905" y="1023"/>
                  </a:lnTo>
                  <a:lnTo>
                    <a:pt x="2731" y="266"/>
                  </a:lnTo>
                  <a:lnTo>
                    <a:pt x="2727" y="264"/>
                  </a:lnTo>
                  <a:lnTo>
                    <a:pt x="2723" y="259"/>
                  </a:lnTo>
                  <a:lnTo>
                    <a:pt x="2722" y="254"/>
                  </a:lnTo>
                  <a:lnTo>
                    <a:pt x="2722" y="249"/>
                  </a:lnTo>
                  <a:lnTo>
                    <a:pt x="2726" y="244"/>
                  </a:lnTo>
                  <a:lnTo>
                    <a:pt x="2730" y="241"/>
                  </a:lnTo>
                  <a:lnTo>
                    <a:pt x="2734" y="240"/>
                  </a:lnTo>
                  <a:lnTo>
                    <a:pt x="2740" y="240"/>
                  </a:lnTo>
                  <a:lnTo>
                    <a:pt x="4910" y="997"/>
                  </a:lnTo>
                  <a:lnTo>
                    <a:pt x="7612" y="683"/>
                  </a:lnTo>
                  <a:lnTo>
                    <a:pt x="4740" y="879"/>
                  </a:lnTo>
                  <a:lnTo>
                    <a:pt x="4738" y="879"/>
                  </a:lnTo>
                  <a:lnTo>
                    <a:pt x="4735" y="878"/>
                  </a:lnTo>
                  <a:lnTo>
                    <a:pt x="2554" y="69"/>
                  </a:lnTo>
                  <a:lnTo>
                    <a:pt x="2540" y="93"/>
                  </a:lnTo>
                  <a:lnTo>
                    <a:pt x="2520" y="122"/>
                  </a:lnTo>
                  <a:lnTo>
                    <a:pt x="2497" y="158"/>
                  </a:lnTo>
                  <a:lnTo>
                    <a:pt x="2469" y="199"/>
                  </a:lnTo>
                  <a:lnTo>
                    <a:pt x="2399" y="294"/>
                  </a:lnTo>
                  <a:lnTo>
                    <a:pt x="2314" y="407"/>
                  </a:lnTo>
                  <a:lnTo>
                    <a:pt x="2217" y="536"/>
                  </a:lnTo>
                  <a:lnTo>
                    <a:pt x="2110" y="675"/>
                  </a:lnTo>
                  <a:lnTo>
                    <a:pt x="1993" y="824"/>
                  </a:lnTo>
                  <a:lnTo>
                    <a:pt x="1873" y="978"/>
                  </a:lnTo>
                  <a:lnTo>
                    <a:pt x="1747" y="1137"/>
                  </a:lnTo>
                  <a:lnTo>
                    <a:pt x="1621" y="1297"/>
                  </a:lnTo>
                  <a:lnTo>
                    <a:pt x="1496" y="1454"/>
                  </a:lnTo>
                  <a:lnTo>
                    <a:pt x="1374" y="1607"/>
                  </a:lnTo>
                  <a:lnTo>
                    <a:pt x="1257" y="1751"/>
                  </a:lnTo>
                  <a:lnTo>
                    <a:pt x="1149" y="1886"/>
                  </a:lnTo>
                  <a:lnTo>
                    <a:pt x="1051" y="2008"/>
                  </a:lnTo>
                  <a:lnTo>
                    <a:pt x="965" y="2114"/>
                  </a:lnTo>
                  <a:lnTo>
                    <a:pt x="930" y="2114"/>
                  </a:lnTo>
                  <a:lnTo>
                    <a:pt x="1051" y="1965"/>
                  </a:lnTo>
                  <a:lnTo>
                    <a:pt x="1176" y="1810"/>
                  </a:lnTo>
                  <a:lnTo>
                    <a:pt x="1303" y="1650"/>
                  </a:lnTo>
                  <a:lnTo>
                    <a:pt x="1433" y="1489"/>
                  </a:lnTo>
                  <a:lnTo>
                    <a:pt x="1562" y="1327"/>
                  </a:lnTo>
                  <a:lnTo>
                    <a:pt x="1689" y="1166"/>
                  </a:lnTo>
                  <a:lnTo>
                    <a:pt x="1813" y="1009"/>
                  </a:lnTo>
                  <a:lnTo>
                    <a:pt x="1933" y="857"/>
                  </a:lnTo>
                  <a:lnTo>
                    <a:pt x="2046" y="713"/>
                  </a:lnTo>
                  <a:lnTo>
                    <a:pt x="2151" y="577"/>
                  </a:lnTo>
                  <a:lnTo>
                    <a:pt x="2247" y="453"/>
                  </a:lnTo>
                  <a:lnTo>
                    <a:pt x="2333" y="340"/>
                  </a:lnTo>
                  <a:lnTo>
                    <a:pt x="2405" y="244"/>
                  </a:lnTo>
                  <a:lnTo>
                    <a:pt x="2462" y="164"/>
                  </a:lnTo>
                  <a:lnTo>
                    <a:pt x="2486" y="131"/>
                  </a:lnTo>
                  <a:lnTo>
                    <a:pt x="2505" y="103"/>
                  </a:lnTo>
                  <a:lnTo>
                    <a:pt x="2520" y="79"/>
                  </a:lnTo>
                  <a:lnTo>
                    <a:pt x="2531" y="61"/>
                  </a:lnTo>
                  <a:lnTo>
                    <a:pt x="2445" y="30"/>
                  </a:lnTo>
                  <a:lnTo>
                    <a:pt x="835" y="2096"/>
                  </a:lnTo>
                  <a:lnTo>
                    <a:pt x="835" y="2096"/>
                  </a:lnTo>
                  <a:lnTo>
                    <a:pt x="853" y="2114"/>
                  </a:lnTo>
                  <a:lnTo>
                    <a:pt x="786" y="2114"/>
                  </a:lnTo>
                  <a:lnTo>
                    <a:pt x="799" y="2098"/>
                  </a:lnTo>
                  <a:lnTo>
                    <a:pt x="74" y="1367"/>
                  </a:lnTo>
                  <a:lnTo>
                    <a:pt x="29" y="1480"/>
                  </a:lnTo>
                  <a:lnTo>
                    <a:pt x="29" y="1480"/>
                  </a:lnTo>
                  <a:lnTo>
                    <a:pt x="681" y="2114"/>
                  </a:lnTo>
                  <a:lnTo>
                    <a:pt x="643" y="211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244"/>
            <p:cNvSpPr>
              <a:spLocks/>
            </p:cNvSpPr>
            <p:nvPr userDrawn="1"/>
          </p:nvSpPr>
          <p:spPr bwMode="auto">
            <a:xfrm>
              <a:off x="1871663" y="5695950"/>
              <a:ext cx="3484563" cy="712788"/>
            </a:xfrm>
            <a:custGeom>
              <a:avLst/>
              <a:gdLst>
                <a:gd name="T0" fmla="*/ 6570 w 6584"/>
                <a:gd name="T1" fmla="*/ 1345 h 1345"/>
                <a:gd name="T2" fmla="*/ 6568 w 6584"/>
                <a:gd name="T3" fmla="*/ 1345 h 1345"/>
                <a:gd name="T4" fmla="*/ 6565 w 6584"/>
                <a:gd name="T5" fmla="*/ 1344 h 1345"/>
                <a:gd name="T6" fmla="*/ 5371 w 6584"/>
                <a:gd name="T7" fmla="*/ 848 h 1345"/>
                <a:gd name="T8" fmla="*/ 2178 w 6584"/>
                <a:gd name="T9" fmla="*/ 707 h 1345"/>
                <a:gd name="T10" fmla="*/ 2176 w 6584"/>
                <a:gd name="T11" fmla="*/ 707 h 1345"/>
                <a:gd name="T12" fmla="*/ 2175 w 6584"/>
                <a:gd name="T13" fmla="*/ 706 h 1345"/>
                <a:gd name="T14" fmla="*/ 10 w 6584"/>
                <a:gd name="T15" fmla="*/ 26 h 1345"/>
                <a:gd name="T16" fmla="*/ 6 w 6584"/>
                <a:gd name="T17" fmla="*/ 24 h 1345"/>
                <a:gd name="T18" fmla="*/ 3 w 6584"/>
                <a:gd name="T19" fmla="*/ 20 h 1345"/>
                <a:gd name="T20" fmla="*/ 0 w 6584"/>
                <a:gd name="T21" fmla="*/ 14 h 1345"/>
                <a:gd name="T22" fmla="*/ 2 w 6584"/>
                <a:gd name="T23" fmla="*/ 9 h 1345"/>
                <a:gd name="T24" fmla="*/ 4 w 6584"/>
                <a:gd name="T25" fmla="*/ 5 h 1345"/>
                <a:gd name="T26" fmla="*/ 8 w 6584"/>
                <a:gd name="T27" fmla="*/ 2 h 1345"/>
                <a:gd name="T28" fmla="*/ 13 w 6584"/>
                <a:gd name="T29" fmla="*/ 0 h 1345"/>
                <a:gd name="T30" fmla="*/ 18 w 6584"/>
                <a:gd name="T31" fmla="*/ 0 h 1345"/>
                <a:gd name="T32" fmla="*/ 2182 w 6584"/>
                <a:gd name="T33" fmla="*/ 680 h 1345"/>
                <a:gd name="T34" fmla="*/ 5375 w 6584"/>
                <a:gd name="T35" fmla="*/ 821 h 1345"/>
                <a:gd name="T36" fmla="*/ 5377 w 6584"/>
                <a:gd name="T37" fmla="*/ 822 h 1345"/>
                <a:gd name="T38" fmla="*/ 5380 w 6584"/>
                <a:gd name="T39" fmla="*/ 822 h 1345"/>
                <a:gd name="T40" fmla="*/ 6575 w 6584"/>
                <a:gd name="T41" fmla="*/ 1320 h 1345"/>
                <a:gd name="T42" fmla="*/ 6580 w 6584"/>
                <a:gd name="T43" fmla="*/ 1323 h 1345"/>
                <a:gd name="T44" fmla="*/ 6583 w 6584"/>
                <a:gd name="T45" fmla="*/ 1327 h 1345"/>
                <a:gd name="T46" fmla="*/ 6584 w 6584"/>
                <a:gd name="T47" fmla="*/ 1332 h 1345"/>
                <a:gd name="T48" fmla="*/ 6583 w 6584"/>
                <a:gd name="T49" fmla="*/ 1338 h 1345"/>
                <a:gd name="T50" fmla="*/ 6581 w 6584"/>
                <a:gd name="T51" fmla="*/ 1341 h 1345"/>
                <a:gd name="T52" fmla="*/ 6578 w 6584"/>
                <a:gd name="T53" fmla="*/ 1343 h 1345"/>
                <a:gd name="T54" fmla="*/ 6574 w 6584"/>
                <a:gd name="T55" fmla="*/ 1345 h 1345"/>
                <a:gd name="T56" fmla="*/ 6570 w 6584"/>
                <a:gd name="T57" fmla="*/ 134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84" h="1345">
                  <a:moveTo>
                    <a:pt x="6570" y="1345"/>
                  </a:moveTo>
                  <a:lnTo>
                    <a:pt x="6568" y="1345"/>
                  </a:lnTo>
                  <a:lnTo>
                    <a:pt x="6565" y="1344"/>
                  </a:lnTo>
                  <a:lnTo>
                    <a:pt x="5371" y="848"/>
                  </a:lnTo>
                  <a:lnTo>
                    <a:pt x="2178" y="707"/>
                  </a:lnTo>
                  <a:lnTo>
                    <a:pt x="2176" y="707"/>
                  </a:lnTo>
                  <a:lnTo>
                    <a:pt x="2175" y="706"/>
                  </a:lnTo>
                  <a:lnTo>
                    <a:pt x="10" y="26"/>
                  </a:lnTo>
                  <a:lnTo>
                    <a:pt x="6" y="24"/>
                  </a:lnTo>
                  <a:lnTo>
                    <a:pt x="3" y="20"/>
                  </a:lnTo>
                  <a:lnTo>
                    <a:pt x="0" y="14"/>
                  </a:lnTo>
                  <a:lnTo>
                    <a:pt x="2" y="9"/>
                  </a:lnTo>
                  <a:lnTo>
                    <a:pt x="4" y="5"/>
                  </a:lnTo>
                  <a:lnTo>
                    <a:pt x="8" y="2"/>
                  </a:lnTo>
                  <a:lnTo>
                    <a:pt x="13" y="0"/>
                  </a:lnTo>
                  <a:lnTo>
                    <a:pt x="18" y="0"/>
                  </a:lnTo>
                  <a:lnTo>
                    <a:pt x="2182" y="680"/>
                  </a:lnTo>
                  <a:lnTo>
                    <a:pt x="5375" y="821"/>
                  </a:lnTo>
                  <a:lnTo>
                    <a:pt x="5377" y="822"/>
                  </a:lnTo>
                  <a:lnTo>
                    <a:pt x="5380" y="822"/>
                  </a:lnTo>
                  <a:lnTo>
                    <a:pt x="6575" y="1320"/>
                  </a:lnTo>
                  <a:lnTo>
                    <a:pt x="6580" y="1323"/>
                  </a:lnTo>
                  <a:lnTo>
                    <a:pt x="6583" y="1327"/>
                  </a:lnTo>
                  <a:lnTo>
                    <a:pt x="6584" y="1332"/>
                  </a:lnTo>
                  <a:lnTo>
                    <a:pt x="6583" y="1338"/>
                  </a:lnTo>
                  <a:lnTo>
                    <a:pt x="6581" y="1341"/>
                  </a:lnTo>
                  <a:lnTo>
                    <a:pt x="6578" y="1343"/>
                  </a:lnTo>
                  <a:lnTo>
                    <a:pt x="6574" y="1345"/>
                  </a:lnTo>
                  <a:lnTo>
                    <a:pt x="6570" y="134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245"/>
            <p:cNvSpPr>
              <a:spLocks noEditPoints="1"/>
            </p:cNvSpPr>
            <p:nvPr userDrawn="1"/>
          </p:nvSpPr>
          <p:spPr bwMode="auto">
            <a:xfrm>
              <a:off x="587375" y="5695950"/>
              <a:ext cx="4838700" cy="1162050"/>
            </a:xfrm>
            <a:custGeom>
              <a:avLst/>
              <a:gdLst>
                <a:gd name="T0" fmla="*/ 2 w 9143"/>
                <a:gd name="T1" fmla="*/ 1491 h 2195"/>
                <a:gd name="T2" fmla="*/ 1 w 9143"/>
                <a:gd name="T3" fmla="*/ 1479 h 2195"/>
                <a:gd name="T4" fmla="*/ 60 w 9143"/>
                <a:gd name="T5" fmla="*/ 1332 h 2195"/>
                <a:gd name="T6" fmla="*/ 69 w 9143"/>
                <a:gd name="T7" fmla="*/ 1329 h 2195"/>
                <a:gd name="T8" fmla="*/ 78 w 9143"/>
                <a:gd name="T9" fmla="*/ 1334 h 2195"/>
                <a:gd name="T10" fmla="*/ 2433 w 9143"/>
                <a:gd name="T11" fmla="*/ 3 h 2195"/>
                <a:gd name="T12" fmla="*/ 2445 w 9143"/>
                <a:gd name="T13" fmla="*/ 0 h 2195"/>
                <a:gd name="T14" fmla="*/ 2547 w 9143"/>
                <a:gd name="T15" fmla="*/ 32 h 2195"/>
                <a:gd name="T16" fmla="*/ 2561 w 9143"/>
                <a:gd name="T17" fmla="*/ 36 h 2195"/>
                <a:gd name="T18" fmla="*/ 2564 w 9143"/>
                <a:gd name="T19" fmla="*/ 45 h 2195"/>
                <a:gd name="T20" fmla="*/ 7681 w 9143"/>
                <a:gd name="T21" fmla="*/ 655 h 2195"/>
                <a:gd name="T22" fmla="*/ 9135 w 9143"/>
                <a:gd name="T23" fmla="*/ 1379 h 2195"/>
                <a:gd name="T24" fmla="*/ 9143 w 9143"/>
                <a:gd name="T25" fmla="*/ 1392 h 2195"/>
                <a:gd name="T26" fmla="*/ 9134 w 9143"/>
                <a:gd name="T27" fmla="*/ 1404 h 2195"/>
                <a:gd name="T28" fmla="*/ 7702 w 9143"/>
                <a:gd name="T29" fmla="*/ 723 h 2195"/>
                <a:gd name="T30" fmla="*/ 4907 w 9143"/>
                <a:gd name="T31" fmla="*/ 1024 h 2195"/>
                <a:gd name="T32" fmla="*/ 2727 w 9143"/>
                <a:gd name="T33" fmla="*/ 263 h 2195"/>
                <a:gd name="T34" fmla="*/ 2722 w 9143"/>
                <a:gd name="T35" fmla="*/ 249 h 2195"/>
                <a:gd name="T36" fmla="*/ 2734 w 9143"/>
                <a:gd name="T37" fmla="*/ 240 h 2195"/>
                <a:gd name="T38" fmla="*/ 6710 w 9143"/>
                <a:gd name="T39" fmla="*/ 774 h 2195"/>
                <a:gd name="T40" fmla="*/ 4735 w 9143"/>
                <a:gd name="T41" fmla="*/ 878 h 2195"/>
                <a:gd name="T42" fmla="*/ 2518 w 9143"/>
                <a:gd name="T43" fmla="*/ 126 h 2195"/>
                <a:gd name="T44" fmla="*/ 2388 w 9143"/>
                <a:gd name="T45" fmla="*/ 310 h 2195"/>
                <a:gd name="T46" fmla="*/ 2076 w 9143"/>
                <a:gd name="T47" fmla="*/ 718 h 2195"/>
                <a:gd name="T48" fmla="*/ 1690 w 9143"/>
                <a:gd name="T49" fmla="*/ 1208 h 2195"/>
                <a:gd name="T50" fmla="*/ 1303 w 9143"/>
                <a:gd name="T51" fmla="*/ 1694 h 2195"/>
                <a:gd name="T52" fmla="*/ 985 w 9143"/>
                <a:gd name="T53" fmla="*/ 2089 h 2195"/>
                <a:gd name="T54" fmla="*/ 903 w 9143"/>
                <a:gd name="T55" fmla="*/ 2189 h 2195"/>
                <a:gd name="T56" fmla="*/ 894 w 9143"/>
                <a:gd name="T57" fmla="*/ 2191 h 2195"/>
                <a:gd name="T58" fmla="*/ 888 w 9143"/>
                <a:gd name="T59" fmla="*/ 2186 h 2195"/>
                <a:gd name="T60" fmla="*/ 727 w 9143"/>
                <a:gd name="T61" fmla="*/ 2195 h 2195"/>
                <a:gd name="T62" fmla="*/ 741 w 9143"/>
                <a:gd name="T63" fmla="*/ 2171 h 2195"/>
                <a:gd name="T64" fmla="*/ 29 w 9143"/>
                <a:gd name="T65" fmla="*/ 1480 h 2195"/>
                <a:gd name="T66" fmla="*/ 895 w 9143"/>
                <a:gd name="T67" fmla="*/ 2156 h 2195"/>
                <a:gd name="T68" fmla="*/ 1272 w 9143"/>
                <a:gd name="T69" fmla="*/ 1689 h 2195"/>
                <a:gd name="T70" fmla="*/ 1666 w 9143"/>
                <a:gd name="T71" fmla="*/ 1195 h 2195"/>
                <a:gd name="T72" fmla="*/ 2032 w 9143"/>
                <a:gd name="T73" fmla="*/ 731 h 2195"/>
                <a:gd name="T74" fmla="*/ 2326 w 9143"/>
                <a:gd name="T75" fmla="*/ 349 h 2195"/>
                <a:gd name="T76" fmla="*/ 2485 w 9143"/>
                <a:gd name="T77" fmla="*/ 132 h 2195"/>
                <a:gd name="T78" fmla="*/ 2530 w 9143"/>
                <a:gd name="T79" fmla="*/ 61 h 2195"/>
                <a:gd name="T80" fmla="*/ 7681 w 9143"/>
                <a:gd name="T81" fmla="*/ 683 h 2195"/>
                <a:gd name="T82" fmla="*/ 7705 w 9143"/>
                <a:gd name="T83" fmla="*/ 695 h 2195"/>
                <a:gd name="T84" fmla="*/ 7681 w 9143"/>
                <a:gd name="T85" fmla="*/ 683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43" h="2195">
                  <a:moveTo>
                    <a:pt x="727" y="2195"/>
                  </a:moveTo>
                  <a:lnTo>
                    <a:pt x="4" y="1494"/>
                  </a:lnTo>
                  <a:lnTo>
                    <a:pt x="2" y="1491"/>
                  </a:lnTo>
                  <a:lnTo>
                    <a:pt x="0" y="1487"/>
                  </a:lnTo>
                  <a:lnTo>
                    <a:pt x="0" y="1484"/>
                  </a:lnTo>
                  <a:lnTo>
                    <a:pt x="1" y="1479"/>
                  </a:lnTo>
                  <a:lnTo>
                    <a:pt x="55" y="1338"/>
                  </a:lnTo>
                  <a:lnTo>
                    <a:pt x="57" y="1335"/>
                  </a:lnTo>
                  <a:lnTo>
                    <a:pt x="60" y="1332"/>
                  </a:lnTo>
                  <a:lnTo>
                    <a:pt x="62" y="1330"/>
                  </a:lnTo>
                  <a:lnTo>
                    <a:pt x="65" y="1329"/>
                  </a:lnTo>
                  <a:lnTo>
                    <a:pt x="69" y="1329"/>
                  </a:lnTo>
                  <a:lnTo>
                    <a:pt x="72" y="1329"/>
                  </a:lnTo>
                  <a:lnTo>
                    <a:pt x="75" y="1331"/>
                  </a:lnTo>
                  <a:lnTo>
                    <a:pt x="78" y="1334"/>
                  </a:lnTo>
                  <a:lnTo>
                    <a:pt x="815" y="2076"/>
                  </a:lnTo>
                  <a:lnTo>
                    <a:pt x="2430" y="5"/>
                  </a:lnTo>
                  <a:lnTo>
                    <a:pt x="2433" y="3"/>
                  </a:lnTo>
                  <a:lnTo>
                    <a:pt x="2436" y="0"/>
                  </a:lnTo>
                  <a:lnTo>
                    <a:pt x="2441" y="0"/>
                  </a:lnTo>
                  <a:lnTo>
                    <a:pt x="2445" y="0"/>
                  </a:lnTo>
                  <a:lnTo>
                    <a:pt x="2541" y="36"/>
                  </a:lnTo>
                  <a:lnTo>
                    <a:pt x="2543" y="34"/>
                  </a:lnTo>
                  <a:lnTo>
                    <a:pt x="2547" y="32"/>
                  </a:lnTo>
                  <a:lnTo>
                    <a:pt x="2553" y="32"/>
                  </a:lnTo>
                  <a:lnTo>
                    <a:pt x="2558" y="33"/>
                  </a:lnTo>
                  <a:lnTo>
                    <a:pt x="2561" y="36"/>
                  </a:lnTo>
                  <a:lnTo>
                    <a:pt x="2564" y="41"/>
                  </a:lnTo>
                  <a:lnTo>
                    <a:pt x="2564" y="43"/>
                  </a:lnTo>
                  <a:lnTo>
                    <a:pt x="2564" y="45"/>
                  </a:lnTo>
                  <a:lnTo>
                    <a:pt x="4742" y="852"/>
                  </a:lnTo>
                  <a:lnTo>
                    <a:pt x="7094" y="727"/>
                  </a:lnTo>
                  <a:lnTo>
                    <a:pt x="7681" y="655"/>
                  </a:lnTo>
                  <a:lnTo>
                    <a:pt x="7685" y="655"/>
                  </a:lnTo>
                  <a:lnTo>
                    <a:pt x="7688" y="657"/>
                  </a:lnTo>
                  <a:lnTo>
                    <a:pt x="9135" y="1379"/>
                  </a:lnTo>
                  <a:lnTo>
                    <a:pt x="9140" y="1382"/>
                  </a:lnTo>
                  <a:lnTo>
                    <a:pt x="9143" y="1386"/>
                  </a:lnTo>
                  <a:lnTo>
                    <a:pt x="9143" y="1392"/>
                  </a:lnTo>
                  <a:lnTo>
                    <a:pt x="9142" y="1397"/>
                  </a:lnTo>
                  <a:lnTo>
                    <a:pt x="9139" y="1402"/>
                  </a:lnTo>
                  <a:lnTo>
                    <a:pt x="9134" y="1404"/>
                  </a:lnTo>
                  <a:lnTo>
                    <a:pt x="9129" y="1405"/>
                  </a:lnTo>
                  <a:lnTo>
                    <a:pt x="9123" y="1403"/>
                  </a:lnTo>
                  <a:lnTo>
                    <a:pt x="7702" y="723"/>
                  </a:lnTo>
                  <a:lnTo>
                    <a:pt x="7097" y="754"/>
                  </a:lnTo>
                  <a:lnTo>
                    <a:pt x="4910" y="1024"/>
                  </a:lnTo>
                  <a:lnTo>
                    <a:pt x="4907" y="1024"/>
                  </a:lnTo>
                  <a:lnTo>
                    <a:pt x="4904" y="1023"/>
                  </a:lnTo>
                  <a:lnTo>
                    <a:pt x="2731" y="266"/>
                  </a:lnTo>
                  <a:lnTo>
                    <a:pt x="2727" y="263"/>
                  </a:lnTo>
                  <a:lnTo>
                    <a:pt x="2723" y="259"/>
                  </a:lnTo>
                  <a:lnTo>
                    <a:pt x="2722" y="254"/>
                  </a:lnTo>
                  <a:lnTo>
                    <a:pt x="2722" y="249"/>
                  </a:lnTo>
                  <a:lnTo>
                    <a:pt x="2726" y="244"/>
                  </a:lnTo>
                  <a:lnTo>
                    <a:pt x="2730" y="241"/>
                  </a:lnTo>
                  <a:lnTo>
                    <a:pt x="2734" y="240"/>
                  </a:lnTo>
                  <a:lnTo>
                    <a:pt x="2740" y="240"/>
                  </a:lnTo>
                  <a:lnTo>
                    <a:pt x="4910" y="997"/>
                  </a:lnTo>
                  <a:lnTo>
                    <a:pt x="6710" y="774"/>
                  </a:lnTo>
                  <a:lnTo>
                    <a:pt x="4741" y="879"/>
                  </a:lnTo>
                  <a:lnTo>
                    <a:pt x="4737" y="879"/>
                  </a:lnTo>
                  <a:lnTo>
                    <a:pt x="4735" y="878"/>
                  </a:lnTo>
                  <a:lnTo>
                    <a:pt x="2554" y="70"/>
                  </a:lnTo>
                  <a:lnTo>
                    <a:pt x="2539" y="94"/>
                  </a:lnTo>
                  <a:lnTo>
                    <a:pt x="2518" y="126"/>
                  </a:lnTo>
                  <a:lnTo>
                    <a:pt x="2493" y="163"/>
                  </a:lnTo>
                  <a:lnTo>
                    <a:pt x="2462" y="208"/>
                  </a:lnTo>
                  <a:lnTo>
                    <a:pt x="2388" y="310"/>
                  </a:lnTo>
                  <a:lnTo>
                    <a:pt x="2296" y="432"/>
                  </a:lnTo>
                  <a:lnTo>
                    <a:pt x="2191" y="569"/>
                  </a:lnTo>
                  <a:lnTo>
                    <a:pt x="2076" y="718"/>
                  </a:lnTo>
                  <a:lnTo>
                    <a:pt x="1951" y="877"/>
                  </a:lnTo>
                  <a:lnTo>
                    <a:pt x="1823" y="1042"/>
                  </a:lnTo>
                  <a:lnTo>
                    <a:pt x="1690" y="1208"/>
                  </a:lnTo>
                  <a:lnTo>
                    <a:pt x="1558" y="1376"/>
                  </a:lnTo>
                  <a:lnTo>
                    <a:pt x="1428" y="1539"/>
                  </a:lnTo>
                  <a:lnTo>
                    <a:pt x="1303" y="1694"/>
                  </a:lnTo>
                  <a:lnTo>
                    <a:pt x="1186" y="1840"/>
                  </a:lnTo>
                  <a:lnTo>
                    <a:pt x="1079" y="1973"/>
                  </a:lnTo>
                  <a:lnTo>
                    <a:pt x="985" y="2089"/>
                  </a:lnTo>
                  <a:lnTo>
                    <a:pt x="907" y="2185"/>
                  </a:lnTo>
                  <a:lnTo>
                    <a:pt x="905" y="2187"/>
                  </a:lnTo>
                  <a:lnTo>
                    <a:pt x="903" y="2189"/>
                  </a:lnTo>
                  <a:lnTo>
                    <a:pt x="901" y="2190"/>
                  </a:lnTo>
                  <a:lnTo>
                    <a:pt x="897" y="2191"/>
                  </a:lnTo>
                  <a:lnTo>
                    <a:pt x="894" y="2191"/>
                  </a:lnTo>
                  <a:lnTo>
                    <a:pt x="892" y="2190"/>
                  </a:lnTo>
                  <a:lnTo>
                    <a:pt x="890" y="2189"/>
                  </a:lnTo>
                  <a:lnTo>
                    <a:pt x="888" y="2186"/>
                  </a:lnTo>
                  <a:lnTo>
                    <a:pt x="819" y="2117"/>
                  </a:lnTo>
                  <a:lnTo>
                    <a:pt x="757" y="2195"/>
                  </a:lnTo>
                  <a:lnTo>
                    <a:pt x="727" y="2195"/>
                  </a:lnTo>
                  <a:close/>
                  <a:moveTo>
                    <a:pt x="29" y="1480"/>
                  </a:moveTo>
                  <a:lnTo>
                    <a:pt x="29" y="1480"/>
                  </a:lnTo>
                  <a:lnTo>
                    <a:pt x="741" y="2171"/>
                  </a:lnTo>
                  <a:lnTo>
                    <a:pt x="799" y="2098"/>
                  </a:lnTo>
                  <a:lnTo>
                    <a:pt x="74" y="1367"/>
                  </a:lnTo>
                  <a:lnTo>
                    <a:pt x="29" y="1480"/>
                  </a:lnTo>
                  <a:close/>
                  <a:moveTo>
                    <a:pt x="835" y="2096"/>
                  </a:moveTo>
                  <a:lnTo>
                    <a:pt x="835" y="2096"/>
                  </a:lnTo>
                  <a:lnTo>
                    <a:pt x="895" y="2156"/>
                  </a:lnTo>
                  <a:lnTo>
                    <a:pt x="1016" y="2007"/>
                  </a:lnTo>
                  <a:lnTo>
                    <a:pt x="1143" y="1851"/>
                  </a:lnTo>
                  <a:lnTo>
                    <a:pt x="1272" y="1689"/>
                  </a:lnTo>
                  <a:lnTo>
                    <a:pt x="1404" y="1525"/>
                  </a:lnTo>
                  <a:lnTo>
                    <a:pt x="1536" y="1359"/>
                  </a:lnTo>
                  <a:lnTo>
                    <a:pt x="1666" y="1195"/>
                  </a:lnTo>
                  <a:lnTo>
                    <a:pt x="1793" y="1035"/>
                  </a:lnTo>
                  <a:lnTo>
                    <a:pt x="1916" y="879"/>
                  </a:lnTo>
                  <a:lnTo>
                    <a:pt x="2032" y="731"/>
                  </a:lnTo>
                  <a:lnTo>
                    <a:pt x="2140" y="592"/>
                  </a:lnTo>
                  <a:lnTo>
                    <a:pt x="2239" y="464"/>
                  </a:lnTo>
                  <a:lnTo>
                    <a:pt x="2326" y="349"/>
                  </a:lnTo>
                  <a:lnTo>
                    <a:pt x="2401" y="249"/>
                  </a:lnTo>
                  <a:lnTo>
                    <a:pt x="2461" y="167"/>
                  </a:lnTo>
                  <a:lnTo>
                    <a:pt x="2485" y="132"/>
                  </a:lnTo>
                  <a:lnTo>
                    <a:pt x="2504" y="103"/>
                  </a:lnTo>
                  <a:lnTo>
                    <a:pt x="2520" y="79"/>
                  </a:lnTo>
                  <a:lnTo>
                    <a:pt x="2530" y="61"/>
                  </a:lnTo>
                  <a:lnTo>
                    <a:pt x="2445" y="30"/>
                  </a:lnTo>
                  <a:lnTo>
                    <a:pt x="835" y="2096"/>
                  </a:lnTo>
                  <a:close/>
                  <a:moveTo>
                    <a:pt x="7681" y="683"/>
                  </a:moveTo>
                  <a:lnTo>
                    <a:pt x="7681" y="683"/>
                  </a:lnTo>
                  <a:lnTo>
                    <a:pt x="7482" y="706"/>
                  </a:lnTo>
                  <a:lnTo>
                    <a:pt x="7705" y="695"/>
                  </a:lnTo>
                  <a:lnTo>
                    <a:pt x="7706" y="695"/>
                  </a:lnTo>
                  <a:lnTo>
                    <a:pt x="7706" y="695"/>
                  </a:lnTo>
                  <a:lnTo>
                    <a:pt x="7681" y="68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246"/>
            <p:cNvSpPr>
              <a:spLocks/>
            </p:cNvSpPr>
            <p:nvPr userDrawn="1"/>
          </p:nvSpPr>
          <p:spPr bwMode="auto">
            <a:xfrm>
              <a:off x="1841500" y="5695950"/>
              <a:ext cx="3484563" cy="712788"/>
            </a:xfrm>
            <a:custGeom>
              <a:avLst/>
              <a:gdLst>
                <a:gd name="T0" fmla="*/ 6570 w 6583"/>
                <a:gd name="T1" fmla="*/ 1345 h 1345"/>
                <a:gd name="T2" fmla="*/ 6567 w 6583"/>
                <a:gd name="T3" fmla="*/ 1345 h 1345"/>
                <a:gd name="T4" fmla="*/ 6564 w 6583"/>
                <a:gd name="T5" fmla="*/ 1344 h 1345"/>
                <a:gd name="T6" fmla="*/ 5370 w 6583"/>
                <a:gd name="T7" fmla="*/ 848 h 1345"/>
                <a:gd name="T8" fmla="*/ 2177 w 6583"/>
                <a:gd name="T9" fmla="*/ 707 h 1345"/>
                <a:gd name="T10" fmla="*/ 2176 w 6583"/>
                <a:gd name="T11" fmla="*/ 707 h 1345"/>
                <a:gd name="T12" fmla="*/ 2174 w 6583"/>
                <a:gd name="T13" fmla="*/ 706 h 1345"/>
                <a:gd name="T14" fmla="*/ 9 w 6583"/>
                <a:gd name="T15" fmla="*/ 26 h 1345"/>
                <a:gd name="T16" fmla="*/ 5 w 6583"/>
                <a:gd name="T17" fmla="*/ 24 h 1345"/>
                <a:gd name="T18" fmla="*/ 1 w 6583"/>
                <a:gd name="T19" fmla="*/ 20 h 1345"/>
                <a:gd name="T20" fmla="*/ 0 w 6583"/>
                <a:gd name="T21" fmla="*/ 14 h 1345"/>
                <a:gd name="T22" fmla="*/ 0 w 6583"/>
                <a:gd name="T23" fmla="*/ 9 h 1345"/>
                <a:gd name="T24" fmla="*/ 4 w 6583"/>
                <a:gd name="T25" fmla="*/ 5 h 1345"/>
                <a:gd name="T26" fmla="*/ 7 w 6583"/>
                <a:gd name="T27" fmla="*/ 2 h 1345"/>
                <a:gd name="T28" fmla="*/ 12 w 6583"/>
                <a:gd name="T29" fmla="*/ 0 h 1345"/>
                <a:gd name="T30" fmla="*/ 18 w 6583"/>
                <a:gd name="T31" fmla="*/ 0 h 1345"/>
                <a:gd name="T32" fmla="*/ 2180 w 6583"/>
                <a:gd name="T33" fmla="*/ 680 h 1345"/>
                <a:gd name="T34" fmla="*/ 5375 w 6583"/>
                <a:gd name="T35" fmla="*/ 821 h 1345"/>
                <a:gd name="T36" fmla="*/ 5377 w 6583"/>
                <a:gd name="T37" fmla="*/ 822 h 1345"/>
                <a:gd name="T38" fmla="*/ 5379 w 6583"/>
                <a:gd name="T39" fmla="*/ 822 h 1345"/>
                <a:gd name="T40" fmla="*/ 6574 w 6583"/>
                <a:gd name="T41" fmla="*/ 1320 h 1345"/>
                <a:gd name="T42" fmla="*/ 6580 w 6583"/>
                <a:gd name="T43" fmla="*/ 1323 h 1345"/>
                <a:gd name="T44" fmla="*/ 6582 w 6583"/>
                <a:gd name="T45" fmla="*/ 1327 h 1345"/>
                <a:gd name="T46" fmla="*/ 6583 w 6583"/>
                <a:gd name="T47" fmla="*/ 1332 h 1345"/>
                <a:gd name="T48" fmla="*/ 6582 w 6583"/>
                <a:gd name="T49" fmla="*/ 1338 h 1345"/>
                <a:gd name="T50" fmla="*/ 6580 w 6583"/>
                <a:gd name="T51" fmla="*/ 1341 h 1345"/>
                <a:gd name="T52" fmla="*/ 6577 w 6583"/>
                <a:gd name="T53" fmla="*/ 1343 h 1345"/>
                <a:gd name="T54" fmla="*/ 6573 w 6583"/>
                <a:gd name="T55" fmla="*/ 1345 h 1345"/>
                <a:gd name="T56" fmla="*/ 6570 w 6583"/>
                <a:gd name="T57" fmla="*/ 134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83" h="1345">
                  <a:moveTo>
                    <a:pt x="6570" y="1345"/>
                  </a:moveTo>
                  <a:lnTo>
                    <a:pt x="6567" y="1345"/>
                  </a:lnTo>
                  <a:lnTo>
                    <a:pt x="6564" y="1344"/>
                  </a:lnTo>
                  <a:lnTo>
                    <a:pt x="5370" y="848"/>
                  </a:lnTo>
                  <a:lnTo>
                    <a:pt x="2177" y="707"/>
                  </a:lnTo>
                  <a:lnTo>
                    <a:pt x="2176" y="707"/>
                  </a:lnTo>
                  <a:lnTo>
                    <a:pt x="2174" y="706"/>
                  </a:lnTo>
                  <a:lnTo>
                    <a:pt x="9" y="26"/>
                  </a:lnTo>
                  <a:lnTo>
                    <a:pt x="5" y="24"/>
                  </a:lnTo>
                  <a:lnTo>
                    <a:pt x="1" y="20"/>
                  </a:lnTo>
                  <a:lnTo>
                    <a:pt x="0" y="14"/>
                  </a:lnTo>
                  <a:lnTo>
                    <a:pt x="0" y="9"/>
                  </a:lnTo>
                  <a:lnTo>
                    <a:pt x="4" y="5"/>
                  </a:lnTo>
                  <a:lnTo>
                    <a:pt x="7" y="2"/>
                  </a:lnTo>
                  <a:lnTo>
                    <a:pt x="12" y="0"/>
                  </a:lnTo>
                  <a:lnTo>
                    <a:pt x="18" y="0"/>
                  </a:lnTo>
                  <a:lnTo>
                    <a:pt x="2180" y="680"/>
                  </a:lnTo>
                  <a:lnTo>
                    <a:pt x="5375" y="821"/>
                  </a:lnTo>
                  <a:lnTo>
                    <a:pt x="5377" y="822"/>
                  </a:lnTo>
                  <a:lnTo>
                    <a:pt x="5379" y="822"/>
                  </a:lnTo>
                  <a:lnTo>
                    <a:pt x="6574" y="1320"/>
                  </a:lnTo>
                  <a:lnTo>
                    <a:pt x="6580" y="1323"/>
                  </a:lnTo>
                  <a:lnTo>
                    <a:pt x="6582" y="1327"/>
                  </a:lnTo>
                  <a:lnTo>
                    <a:pt x="6583" y="1332"/>
                  </a:lnTo>
                  <a:lnTo>
                    <a:pt x="6582" y="1338"/>
                  </a:lnTo>
                  <a:lnTo>
                    <a:pt x="6580" y="1341"/>
                  </a:lnTo>
                  <a:lnTo>
                    <a:pt x="6577" y="1343"/>
                  </a:lnTo>
                  <a:lnTo>
                    <a:pt x="6573" y="1345"/>
                  </a:lnTo>
                  <a:lnTo>
                    <a:pt x="6570" y="134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247"/>
            <p:cNvSpPr>
              <a:spLocks noEditPoints="1"/>
            </p:cNvSpPr>
            <p:nvPr userDrawn="1"/>
          </p:nvSpPr>
          <p:spPr bwMode="auto">
            <a:xfrm>
              <a:off x="558800" y="5695950"/>
              <a:ext cx="4837113" cy="1162050"/>
            </a:xfrm>
            <a:custGeom>
              <a:avLst/>
              <a:gdLst>
                <a:gd name="T0" fmla="*/ 1 w 9143"/>
                <a:gd name="T1" fmla="*/ 1491 h 2195"/>
                <a:gd name="T2" fmla="*/ 0 w 9143"/>
                <a:gd name="T3" fmla="*/ 1479 h 2195"/>
                <a:gd name="T4" fmla="*/ 58 w 9143"/>
                <a:gd name="T5" fmla="*/ 1332 h 2195"/>
                <a:gd name="T6" fmla="*/ 68 w 9143"/>
                <a:gd name="T7" fmla="*/ 1329 h 2195"/>
                <a:gd name="T8" fmla="*/ 77 w 9143"/>
                <a:gd name="T9" fmla="*/ 1334 h 2195"/>
                <a:gd name="T10" fmla="*/ 2432 w 9143"/>
                <a:gd name="T11" fmla="*/ 3 h 2195"/>
                <a:gd name="T12" fmla="*/ 2445 w 9143"/>
                <a:gd name="T13" fmla="*/ 0 h 2195"/>
                <a:gd name="T14" fmla="*/ 2547 w 9143"/>
                <a:gd name="T15" fmla="*/ 32 h 2195"/>
                <a:gd name="T16" fmla="*/ 2561 w 9143"/>
                <a:gd name="T17" fmla="*/ 36 h 2195"/>
                <a:gd name="T18" fmla="*/ 2563 w 9143"/>
                <a:gd name="T19" fmla="*/ 45 h 2195"/>
                <a:gd name="T20" fmla="*/ 7727 w 9143"/>
                <a:gd name="T21" fmla="*/ 631 h 2195"/>
                <a:gd name="T22" fmla="*/ 7876 w 9143"/>
                <a:gd name="T23" fmla="*/ 636 h 2195"/>
                <a:gd name="T24" fmla="*/ 9136 w 9143"/>
                <a:gd name="T25" fmla="*/ 1379 h 2195"/>
                <a:gd name="T26" fmla="*/ 9143 w 9143"/>
                <a:gd name="T27" fmla="*/ 1393 h 2195"/>
                <a:gd name="T28" fmla="*/ 9133 w 9143"/>
                <a:gd name="T29" fmla="*/ 1404 h 2195"/>
                <a:gd name="T30" fmla="*/ 7760 w 9143"/>
                <a:gd name="T31" fmla="*/ 677 h 2195"/>
                <a:gd name="T32" fmla="*/ 4903 w 9143"/>
                <a:gd name="T33" fmla="*/ 1023 h 2195"/>
                <a:gd name="T34" fmla="*/ 2722 w 9143"/>
                <a:gd name="T35" fmla="*/ 259 h 2195"/>
                <a:gd name="T36" fmla="*/ 2724 w 9143"/>
                <a:gd name="T37" fmla="*/ 244 h 2195"/>
                <a:gd name="T38" fmla="*/ 2739 w 9143"/>
                <a:gd name="T39" fmla="*/ 240 h 2195"/>
                <a:gd name="T40" fmla="*/ 4740 w 9143"/>
                <a:gd name="T41" fmla="*/ 879 h 2195"/>
                <a:gd name="T42" fmla="*/ 2553 w 9143"/>
                <a:gd name="T43" fmla="*/ 70 h 2195"/>
                <a:gd name="T44" fmla="*/ 2492 w 9143"/>
                <a:gd name="T45" fmla="*/ 163 h 2195"/>
                <a:gd name="T46" fmla="*/ 2296 w 9143"/>
                <a:gd name="T47" fmla="*/ 432 h 2195"/>
                <a:gd name="T48" fmla="*/ 1951 w 9143"/>
                <a:gd name="T49" fmla="*/ 877 h 2195"/>
                <a:gd name="T50" fmla="*/ 1557 w 9143"/>
                <a:gd name="T51" fmla="*/ 1376 h 2195"/>
                <a:gd name="T52" fmla="*/ 1185 w 9143"/>
                <a:gd name="T53" fmla="*/ 1840 h 2195"/>
                <a:gd name="T54" fmla="*/ 907 w 9143"/>
                <a:gd name="T55" fmla="*/ 2185 h 2195"/>
                <a:gd name="T56" fmla="*/ 899 w 9143"/>
                <a:gd name="T57" fmla="*/ 2190 h 2195"/>
                <a:gd name="T58" fmla="*/ 891 w 9143"/>
                <a:gd name="T59" fmla="*/ 2190 h 2195"/>
                <a:gd name="T60" fmla="*/ 817 w 9143"/>
                <a:gd name="T61" fmla="*/ 2117 h 2195"/>
                <a:gd name="T62" fmla="*/ 29 w 9143"/>
                <a:gd name="T63" fmla="*/ 1480 h 2195"/>
                <a:gd name="T64" fmla="*/ 798 w 9143"/>
                <a:gd name="T65" fmla="*/ 2098 h 2195"/>
                <a:gd name="T66" fmla="*/ 835 w 9143"/>
                <a:gd name="T67" fmla="*/ 2096 h 2195"/>
                <a:gd name="T68" fmla="*/ 1016 w 9143"/>
                <a:gd name="T69" fmla="*/ 2007 h 2195"/>
                <a:gd name="T70" fmla="*/ 1403 w 9143"/>
                <a:gd name="T71" fmla="*/ 1525 h 2195"/>
                <a:gd name="T72" fmla="*/ 1792 w 9143"/>
                <a:gd name="T73" fmla="*/ 1035 h 2195"/>
                <a:gd name="T74" fmla="*/ 2139 w 9143"/>
                <a:gd name="T75" fmla="*/ 592 h 2195"/>
                <a:gd name="T76" fmla="*/ 2400 w 9143"/>
                <a:gd name="T77" fmla="*/ 249 h 2195"/>
                <a:gd name="T78" fmla="*/ 2504 w 9143"/>
                <a:gd name="T79" fmla="*/ 103 h 2195"/>
                <a:gd name="T80" fmla="*/ 2444 w 9143"/>
                <a:gd name="T81" fmla="*/ 30 h 2195"/>
                <a:gd name="T82" fmla="*/ 7806 w 9143"/>
                <a:gd name="T83" fmla="*/ 672 h 2195"/>
                <a:gd name="T84" fmla="*/ 7806 w 9143"/>
                <a:gd name="T85" fmla="*/ 672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43" h="2195">
                  <a:moveTo>
                    <a:pt x="726" y="2195"/>
                  </a:moveTo>
                  <a:lnTo>
                    <a:pt x="3" y="1494"/>
                  </a:lnTo>
                  <a:lnTo>
                    <a:pt x="1" y="1491"/>
                  </a:lnTo>
                  <a:lnTo>
                    <a:pt x="0" y="1487"/>
                  </a:lnTo>
                  <a:lnTo>
                    <a:pt x="0" y="1484"/>
                  </a:lnTo>
                  <a:lnTo>
                    <a:pt x="0" y="1479"/>
                  </a:lnTo>
                  <a:lnTo>
                    <a:pt x="55" y="1338"/>
                  </a:lnTo>
                  <a:lnTo>
                    <a:pt x="56" y="1335"/>
                  </a:lnTo>
                  <a:lnTo>
                    <a:pt x="58" y="1332"/>
                  </a:lnTo>
                  <a:lnTo>
                    <a:pt x="62" y="1330"/>
                  </a:lnTo>
                  <a:lnTo>
                    <a:pt x="65" y="1329"/>
                  </a:lnTo>
                  <a:lnTo>
                    <a:pt x="68" y="1329"/>
                  </a:lnTo>
                  <a:lnTo>
                    <a:pt x="71" y="1329"/>
                  </a:lnTo>
                  <a:lnTo>
                    <a:pt x="74" y="1331"/>
                  </a:lnTo>
                  <a:lnTo>
                    <a:pt x="77" y="1334"/>
                  </a:lnTo>
                  <a:lnTo>
                    <a:pt x="815" y="2076"/>
                  </a:lnTo>
                  <a:lnTo>
                    <a:pt x="2428" y="5"/>
                  </a:lnTo>
                  <a:lnTo>
                    <a:pt x="2432" y="3"/>
                  </a:lnTo>
                  <a:lnTo>
                    <a:pt x="2436" y="0"/>
                  </a:lnTo>
                  <a:lnTo>
                    <a:pt x="2440" y="0"/>
                  </a:lnTo>
                  <a:lnTo>
                    <a:pt x="2445" y="0"/>
                  </a:lnTo>
                  <a:lnTo>
                    <a:pt x="2540" y="36"/>
                  </a:lnTo>
                  <a:lnTo>
                    <a:pt x="2543" y="34"/>
                  </a:lnTo>
                  <a:lnTo>
                    <a:pt x="2547" y="32"/>
                  </a:lnTo>
                  <a:lnTo>
                    <a:pt x="2552" y="32"/>
                  </a:lnTo>
                  <a:lnTo>
                    <a:pt x="2557" y="33"/>
                  </a:lnTo>
                  <a:lnTo>
                    <a:pt x="2561" y="36"/>
                  </a:lnTo>
                  <a:lnTo>
                    <a:pt x="2563" y="41"/>
                  </a:lnTo>
                  <a:lnTo>
                    <a:pt x="2563" y="43"/>
                  </a:lnTo>
                  <a:lnTo>
                    <a:pt x="2563" y="45"/>
                  </a:lnTo>
                  <a:lnTo>
                    <a:pt x="4741" y="852"/>
                  </a:lnTo>
                  <a:lnTo>
                    <a:pt x="7724" y="630"/>
                  </a:lnTo>
                  <a:lnTo>
                    <a:pt x="7727" y="631"/>
                  </a:lnTo>
                  <a:lnTo>
                    <a:pt x="7731" y="632"/>
                  </a:lnTo>
                  <a:lnTo>
                    <a:pt x="7764" y="649"/>
                  </a:lnTo>
                  <a:lnTo>
                    <a:pt x="7876" y="636"/>
                  </a:lnTo>
                  <a:lnTo>
                    <a:pt x="7880" y="636"/>
                  </a:lnTo>
                  <a:lnTo>
                    <a:pt x="7885" y="637"/>
                  </a:lnTo>
                  <a:lnTo>
                    <a:pt x="9136" y="1379"/>
                  </a:lnTo>
                  <a:lnTo>
                    <a:pt x="9140" y="1383"/>
                  </a:lnTo>
                  <a:lnTo>
                    <a:pt x="9142" y="1388"/>
                  </a:lnTo>
                  <a:lnTo>
                    <a:pt x="9143" y="1393"/>
                  </a:lnTo>
                  <a:lnTo>
                    <a:pt x="9141" y="1397"/>
                  </a:lnTo>
                  <a:lnTo>
                    <a:pt x="9137" y="1402"/>
                  </a:lnTo>
                  <a:lnTo>
                    <a:pt x="9133" y="1404"/>
                  </a:lnTo>
                  <a:lnTo>
                    <a:pt x="9128" y="1405"/>
                  </a:lnTo>
                  <a:lnTo>
                    <a:pt x="9122" y="1403"/>
                  </a:lnTo>
                  <a:lnTo>
                    <a:pt x="7760" y="677"/>
                  </a:lnTo>
                  <a:lnTo>
                    <a:pt x="4910" y="1024"/>
                  </a:lnTo>
                  <a:lnTo>
                    <a:pt x="4907" y="1024"/>
                  </a:lnTo>
                  <a:lnTo>
                    <a:pt x="4903" y="1023"/>
                  </a:lnTo>
                  <a:lnTo>
                    <a:pt x="2730" y="266"/>
                  </a:lnTo>
                  <a:lnTo>
                    <a:pt x="2725" y="263"/>
                  </a:lnTo>
                  <a:lnTo>
                    <a:pt x="2722" y="259"/>
                  </a:lnTo>
                  <a:lnTo>
                    <a:pt x="2721" y="254"/>
                  </a:lnTo>
                  <a:lnTo>
                    <a:pt x="2722" y="249"/>
                  </a:lnTo>
                  <a:lnTo>
                    <a:pt x="2724" y="244"/>
                  </a:lnTo>
                  <a:lnTo>
                    <a:pt x="2729" y="241"/>
                  </a:lnTo>
                  <a:lnTo>
                    <a:pt x="2734" y="240"/>
                  </a:lnTo>
                  <a:lnTo>
                    <a:pt x="2739" y="240"/>
                  </a:lnTo>
                  <a:lnTo>
                    <a:pt x="4909" y="997"/>
                  </a:lnTo>
                  <a:lnTo>
                    <a:pt x="7662" y="662"/>
                  </a:lnTo>
                  <a:lnTo>
                    <a:pt x="4740" y="879"/>
                  </a:lnTo>
                  <a:lnTo>
                    <a:pt x="4737" y="879"/>
                  </a:lnTo>
                  <a:lnTo>
                    <a:pt x="4734" y="878"/>
                  </a:lnTo>
                  <a:lnTo>
                    <a:pt x="2553" y="70"/>
                  </a:lnTo>
                  <a:lnTo>
                    <a:pt x="2538" y="94"/>
                  </a:lnTo>
                  <a:lnTo>
                    <a:pt x="2518" y="126"/>
                  </a:lnTo>
                  <a:lnTo>
                    <a:pt x="2492" y="163"/>
                  </a:lnTo>
                  <a:lnTo>
                    <a:pt x="2462" y="208"/>
                  </a:lnTo>
                  <a:lnTo>
                    <a:pt x="2386" y="310"/>
                  </a:lnTo>
                  <a:lnTo>
                    <a:pt x="2296" y="432"/>
                  </a:lnTo>
                  <a:lnTo>
                    <a:pt x="2191" y="569"/>
                  </a:lnTo>
                  <a:lnTo>
                    <a:pt x="2075" y="718"/>
                  </a:lnTo>
                  <a:lnTo>
                    <a:pt x="1951" y="877"/>
                  </a:lnTo>
                  <a:lnTo>
                    <a:pt x="1822" y="1042"/>
                  </a:lnTo>
                  <a:lnTo>
                    <a:pt x="1690" y="1208"/>
                  </a:lnTo>
                  <a:lnTo>
                    <a:pt x="1557" y="1376"/>
                  </a:lnTo>
                  <a:lnTo>
                    <a:pt x="1427" y="1539"/>
                  </a:lnTo>
                  <a:lnTo>
                    <a:pt x="1302" y="1694"/>
                  </a:lnTo>
                  <a:lnTo>
                    <a:pt x="1185" y="1840"/>
                  </a:lnTo>
                  <a:lnTo>
                    <a:pt x="1079" y="1973"/>
                  </a:lnTo>
                  <a:lnTo>
                    <a:pt x="985" y="2089"/>
                  </a:lnTo>
                  <a:lnTo>
                    <a:pt x="907" y="2185"/>
                  </a:lnTo>
                  <a:lnTo>
                    <a:pt x="905" y="2187"/>
                  </a:lnTo>
                  <a:lnTo>
                    <a:pt x="903" y="2189"/>
                  </a:lnTo>
                  <a:lnTo>
                    <a:pt x="899" y="2190"/>
                  </a:lnTo>
                  <a:lnTo>
                    <a:pt x="897" y="2191"/>
                  </a:lnTo>
                  <a:lnTo>
                    <a:pt x="894" y="2191"/>
                  </a:lnTo>
                  <a:lnTo>
                    <a:pt x="891" y="2190"/>
                  </a:lnTo>
                  <a:lnTo>
                    <a:pt x="889" y="2189"/>
                  </a:lnTo>
                  <a:lnTo>
                    <a:pt x="887" y="2186"/>
                  </a:lnTo>
                  <a:lnTo>
                    <a:pt x="817" y="2117"/>
                  </a:lnTo>
                  <a:lnTo>
                    <a:pt x="757" y="2195"/>
                  </a:lnTo>
                  <a:lnTo>
                    <a:pt x="726" y="2195"/>
                  </a:lnTo>
                  <a:close/>
                  <a:moveTo>
                    <a:pt x="29" y="1480"/>
                  </a:moveTo>
                  <a:lnTo>
                    <a:pt x="29" y="1480"/>
                  </a:lnTo>
                  <a:lnTo>
                    <a:pt x="741" y="2171"/>
                  </a:lnTo>
                  <a:lnTo>
                    <a:pt x="798" y="2098"/>
                  </a:lnTo>
                  <a:lnTo>
                    <a:pt x="72" y="1367"/>
                  </a:lnTo>
                  <a:lnTo>
                    <a:pt x="29" y="1480"/>
                  </a:lnTo>
                  <a:close/>
                  <a:moveTo>
                    <a:pt x="835" y="2096"/>
                  </a:moveTo>
                  <a:lnTo>
                    <a:pt x="835" y="2096"/>
                  </a:lnTo>
                  <a:lnTo>
                    <a:pt x="895" y="2156"/>
                  </a:lnTo>
                  <a:lnTo>
                    <a:pt x="1016" y="2007"/>
                  </a:lnTo>
                  <a:lnTo>
                    <a:pt x="1142" y="1851"/>
                  </a:lnTo>
                  <a:lnTo>
                    <a:pt x="1272" y="1689"/>
                  </a:lnTo>
                  <a:lnTo>
                    <a:pt x="1403" y="1525"/>
                  </a:lnTo>
                  <a:lnTo>
                    <a:pt x="1534" y="1359"/>
                  </a:lnTo>
                  <a:lnTo>
                    <a:pt x="1665" y="1195"/>
                  </a:lnTo>
                  <a:lnTo>
                    <a:pt x="1792" y="1035"/>
                  </a:lnTo>
                  <a:lnTo>
                    <a:pt x="1914" y="879"/>
                  </a:lnTo>
                  <a:lnTo>
                    <a:pt x="2031" y="731"/>
                  </a:lnTo>
                  <a:lnTo>
                    <a:pt x="2139" y="592"/>
                  </a:lnTo>
                  <a:lnTo>
                    <a:pt x="2238" y="464"/>
                  </a:lnTo>
                  <a:lnTo>
                    <a:pt x="2325" y="349"/>
                  </a:lnTo>
                  <a:lnTo>
                    <a:pt x="2400" y="249"/>
                  </a:lnTo>
                  <a:lnTo>
                    <a:pt x="2460" y="167"/>
                  </a:lnTo>
                  <a:lnTo>
                    <a:pt x="2484" y="132"/>
                  </a:lnTo>
                  <a:lnTo>
                    <a:pt x="2504" y="103"/>
                  </a:lnTo>
                  <a:lnTo>
                    <a:pt x="2519" y="79"/>
                  </a:lnTo>
                  <a:lnTo>
                    <a:pt x="2530" y="61"/>
                  </a:lnTo>
                  <a:lnTo>
                    <a:pt x="2444" y="30"/>
                  </a:lnTo>
                  <a:lnTo>
                    <a:pt x="835" y="2096"/>
                  </a:lnTo>
                  <a:close/>
                  <a:moveTo>
                    <a:pt x="7806" y="672"/>
                  </a:moveTo>
                  <a:lnTo>
                    <a:pt x="7806" y="672"/>
                  </a:lnTo>
                  <a:lnTo>
                    <a:pt x="8616" y="1103"/>
                  </a:lnTo>
                  <a:lnTo>
                    <a:pt x="7875" y="663"/>
                  </a:lnTo>
                  <a:lnTo>
                    <a:pt x="7806" y="672"/>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Rectangle 71"/>
            <p:cNvSpPr txBox="1">
              <a:spLocks noChangeArrowheads="1"/>
            </p:cNvSpPr>
            <p:nvPr userDrawn="1"/>
          </p:nvSpPr>
          <p:spPr bwMode="auto">
            <a:xfrm>
              <a:off x="4343400" y="6473952"/>
              <a:ext cx="663575" cy="3603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000">
                  <a:solidFill>
                    <a:srgbClr val="4E84C4"/>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3B55AB4-0D57-4FBE-946B-A81E4A9D2A4C}" type="slidenum">
                <a:rPr lang="en-US" sz="1000" b="1" kern="1200" noProof="0" smtClean="0">
                  <a:solidFill>
                    <a:schemeClr val="bg1"/>
                  </a:solidFill>
                  <a:latin typeface="Calibri" panose="020F0502020204030204" pitchFamily="34" charset="0"/>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r>
                <a:rPr lang="en-US" sz="1000" b="1" kern="1200" noProof="0" dirty="0">
                  <a:solidFill>
                    <a:schemeClr val="bg1"/>
                  </a:solidFill>
                  <a:latin typeface="Calibri" panose="020F0502020204030204" pitchFamily="34" charset="0"/>
                  <a:ea typeface="+mn-ea"/>
                  <a:cs typeface="Arial" pitchFamily="34" charset="0"/>
                </a:rPr>
                <a:t> </a:t>
              </a:r>
            </a:p>
          </p:txBody>
        </p:sp>
      </p:grpSp>
      <p:pic>
        <p:nvPicPr>
          <p:cNvPr id="272" name="Picture 27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45092" y="0"/>
            <a:ext cx="1898908" cy="569977"/>
          </a:xfrm>
          <a:prstGeom prst="rect">
            <a:avLst/>
          </a:prstGeom>
        </p:spPr>
      </p:pic>
    </p:spTree>
    <p:extLst>
      <p:ext uri="{BB962C8B-B14F-4D97-AF65-F5344CB8AC3E}">
        <p14:creationId xmlns:p14="http://schemas.microsoft.com/office/powerpoint/2010/main" val="3806777927"/>
      </p:ext>
    </p:extLst>
  </p:cSld>
  <p:clrMap bg1="lt1" tx1="dk1" bg2="lt2" tx2="dk2" accent1="accent1" accent2="accent2" accent3="accent3" accent4="accent4" accent5="accent5" accent6="accent6" hlink="hlink" folHlink="folHlink"/>
  <p:sldLayoutIdLst>
    <p:sldLayoutId id="2147483698" r:id="rId1"/>
    <p:sldLayoutId id="2147483736" r:id="rId2"/>
    <p:sldLayoutId id="2147483737" r:id="rId3"/>
    <p:sldLayoutId id="2147483738" r:id="rId4"/>
  </p:sldLayoutIdLst>
  <p:txStyles>
    <p:titleStyle>
      <a:lvl1pPr algn="l" defTabSz="685800" rtl="0" eaLnBrk="1" latinLnBrk="0" hangingPunct="1">
        <a:spcBef>
          <a:spcPct val="0"/>
        </a:spcBef>
        <a:buNone/>
        <a:defRPr sz="1800" kern="1200">
          <a:solidFill>
            <a:schemeClr val="bg1"/>
          </a:solidFill>
          <a:latin typeface="Arial" pitchFamily="34" charset="0"/>
          <a:ea typeface="+mj-ea"/>
          <a:cs typeface="Arial" pitchFamily="34" charset="0"/>
        </a:defRPr>
      </a:lvl1pPr>
    </p:titleStyle>
    <p:bodyStyle>
      <a:lvl1pPr marL="257175" indent="-257175" algn="l" defTabSz="685800" rtl="0" eaLnBrk="1" latinLnBrk="0" hangingPunct="1">
        <a:spcBef>
          <a:spcPct val="20000"/>
        </a:spcBef>
        <a:buClr>
          <a:srgbClr val="4E84C4"/>
        </a:buClr>
        <a:buFont typeface="Wingdings" pitchFamily="2" charset="2"/>
        <a:buChar char="§"/>
        <a:defRPr sz="1500" kern="1200">
          <a:solidFill>
            <a:schemeClr val="tx1"/>
          </a:solidFill>
          <a:latin typeface="Arial" pitchFamily="34" charset="0"/>
          <a:ea typeface="+mn-ea"/>
          <a:cs typeface="Arial" pitchFamily="34" charset="0"/>
        </a:defRPr>
      </a:lvl1pPr>
      <a:lvl2pPr marL="557213" indent="-214313" algn="l" defTabSz="685800" rtl="0" eaLnBrk="1" latinLnBrk="0" hangingPunct="1">
        <a:spcBef>
          <a:spcPct val="20000"/>
        </a:spcBef>
        <a:buClr>
          <a:srgbClr val="4E84C4"/>
        </a:buClr>
        <a:buFont typeface="Myriad Pro" pitchFamily="34" charset="0"/>
        <a:buChar char="–"/>
        <a:defRPr sz="1500" kern="1200">
          <a:solidFill>
            <a:schemeClr val="tx1"/>
          </a:solidFill>
          <a:latin typeface="Arial" pitchFamily="34" charset="0"/>
          <a:ea typeface="+mn-ea"/>
          <a:cs typeface="Arial" pitchFamily="34" charset="0"/>
        </a:defRPr>
      </a:lvl2pPr>
      <a:lvl3pPr marL="857250" indent="-171450" algn="l" defTabSz="685800" rtl="0" eaLnBrk="1" latinLnBrk="0" hangingPunct="1">
        <a:spcBef>
          <a:spcPct val="20000"/>
        </a:spcBef>
        <a:buClr>
          <a:srgbClr val="4E84C4"/>
        </a:buClr>
        <a:buFont typeface="Courier New" pitchFamily="49" charset="0"/>
        <a:buChar char="o"/>
        <a:defRPr sz="1400" kern="1200">
          <a:solidFill>
            <a:schemeClr val="tx1"/>
          </a:solidFill>
          <a:latin typeface="Arial" pitchFamily="34" charset="0"/>
          <a:ea typeface="+mn-ea"/>
          <a:cs typeface="Arial" pitchFamily="34" charset="0"/>
        </a:defRPr>
      </a:lvl3pPr>
      <a:lvl4pPr marL="1200150" indent="-171450" algn="l" defTabSz="685800" rtl="0" eaLnBrk="1" latinLnBrk="0" hangingPunct="1">
        <a:spcBef>
          <a:spcPct val="20000"/>
        </a:spcBef>
        <a:buClr>
          <a:srgbClr val="4E84C4"/>
        </a:buClr>
        <a:buFont typeface="Arial" pitchFamily="34" charset="0"/>
        <a:buChar char="•"/>
        <a:defRPr sz="1200" kern="1200" baseline="0">
          <a:solidFill>
            <a:schemeClr val="tx1"/>
          </a:solidFill>
          <a:latin typeface="Arial" pitchFamily="34" charset="0"/>
          <a:ea typeface="+mn-ea"/>
          <a:cs typeface="Arial" pitchFamily="34" charset="0"/>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yriad Pro"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1000">
              <a:srgbClr val="9F55A0"/>
            </a:gs>
            <a:gs pos="100000">
              <a:srgbClr val="6C499D"/>
            </a:gs>
          </a:gsLst>
          <a:lin ang="5400000" scaled="0"/>
        </a:gradFill>
        <a:effectLst/>
      </p:bgPr>
    </p:bg>
    <p:spTree>
      <p:nvGrpSpPr>
        <p:cNvPr id="1" name=""/>
        <p:cNvGrpSpPr/>
        <p:nvPr/>
      </p:nvGrpSpPr>
      <p:grpSpPr>
        <a:xfrm>
          <a:off x="0" y="0"/>
          <a:ext cx="0" cy="0"/>
          <a:chOff x="0" y="0"/>
          <a:chExt cx="0" cy="0"/>
        </a:xfrm>
      </p:grpSpPr>
      <p:grpSp>
        <p:nvGrpSpPr>
          <p:cNvPr id="15" name="Group 14"/>
          <p:cNvGrpSpPr/>
          <p:nvPr userDrawn="1"/>
        </p:nvGrpSpPr>
        <p:grpSpPr>
          <a:xfrm>
            <a:off x="0" y="1"/>
            <a:ext cx="9144000" cy="5154544"/>
            <a:chOff x="0" y="1733550"/>
            <a:chExt cx="9142413" cy="5124451"/>
          </a:xfrm>
        </p:grpSpPr>
        <p:grpSp>
          <p:nvGrpSpPr>
            <p:cNvPr id="17" name="Group 205"/>
            <p:cNvGrpSpPr>
              <a:grpSpLocks/>
            </p:cNvGrpSpPr>
            <p:nvPr userDrawn="1"/>
          </p:nvGrpSpPr>
          <p:grpSpPr bwMode="auto">
            <a:xfrm>
              <a:off x="0" y="1733550"/>
              <a:ext cx="9142413" cy="5124450"/>
              <a:chOff x="0" y="1092"/>
              <a:chExt cx="5759" cy="3228"/>
            </a:xfrm>
            <a:solidFill>
              <a:schemeClr val="bg1">
                <a:alpha val="20000"/>
              </a:schemeClr>
            </a:solidFill>
          </p:grpSpPr>
          <p:sp>
            <p:nvSpPr>
              <p:cNvPr id="72" name="Freeform 5"/>
              <p:cNvSpPr>
                <a:spLocks noEditPoints="1"/>
              </p:cNvSpPr>
              <p:nvPr userDrawn="1"/>
            </p:nvSpPr>
            <p:spPr bwMode="auto">
              <a:xfrm>
                <a:off x="585" y="2443"/>
                <a:ext cx="432" cy="434"/>
              </a:xfrm>
              <a:custGeom>
                <a:avLst/>
                <a:gdLst>
                  <a:gd name="T0" fmla="*/ 950 w 1297"/>
                  <a:gd name="T1" fmla="*/ 1302 h 1302"/>
                  <a:gd name="T2" fmla="*/ 945 w 1297"/>
                  <a:gd name="T3" fmla="*/ 1301 h 1302"/>
                  <a:gd name="T4" fmla="*/ 940 w 1297"/>
                  <a:gd name="T5" fmla="*/ 1298 h 1302"/>
                  <a:gd name="T6" fmla="*/ 3 w 1297"/>
                  <a:gd name="T7" fmla="*/ 373 h 1302"/>
                  <a:gd name="T8" fmla="*/ 1 w 1297"/>
                  <a:gd name="T9" fmla="*/ 370 h 1302"/>
                  <a:gd name="T10" fmla="*/ 0 w 1297"/>
                  <a:gd name="T11" fmla="*/ 366 h 1302"/>
                  <a:gd name="T12" fmla="*/ 0 w 1297"/>
                  <a:gd name="T13" fmla="*/ 363 h 1302"/>
                  <a:gd name="T14" fmla="*/ 0 w 1297"/>
                  <a:gd name="T15" fmla="*/ 360 h 1302"/>
                  <a:gd name="T16" fmla="*/ 1 w 1297"/>
                  <a:gd name="T17" fmla="*/ 356 h 1302"/>
                  <a:gd name="T18" fmla="*/ 3 w 1297"/>
                  <a:gd name="T19" fmla="*/ 353 h 1302"/>
                  <a:gd name="T20" fmla="*/ 6 w 1297"/>
                  <a:gd name="T21" fmla="*/ 351 h 1302"/>
                  <a:gd name="T22" fmla="*/ 9 w 1297"/>
                  <a:gd name="T23" fmla="*/ 350 h 1302"/>
                  <a:gd name="T24" fmla="*/ 1279 w 1297"/>
                  <a:gd name="T25" fmla="*/ 1 h 1302"/>
                  <a:gd name="T26" fmla="*/ 1283 w 1297"/>
                  <a:gd name="T27" fmla="*/ 0 h 1302"/>
                  <a:gd name="T28" fmla="*/ 1287 w 1297"/>
                  <a:gd name="T29" fmla="*/ 1 h 1302"/>
                  <a:gd name="T30" fmla="*/ 1290 w 1297"/>
                  <a:gd name="T31" fmla="*/ 3 h 1302"/>
                  <a:gd name="T32" fmla="*/ 1292 w 1297"/>
                  <a:gd name="T33" fmla="*/ 5 h 1302"/>
                  <a:gd name="T34" fmla="*/ 1294 w 1297"/>
                  <a:gd name="T35" fmla="*/ 8 h 1302"/>
                  <a:gd name="T36" fmla="*/ 1297 w 1297"/>
                  <a:gd name="T37" fmla="*/ 11 h 1302"/>
                  <a:gd name="T38" fmla="*/ 1297 w 1297"/>
                  <a:gd name="T39" fmla="*/ 14 h 1302"/>
                  <a:gd name="T40" fmla="*/ 1297 w 1297"/>
                  <a:gd name="T41" fmla="*/ 18 h 1302"/>
                  <a:gd name="T42" fmla="*/ 963 w 1297"/>
                  <a:gd name="T43" fmla="*/ 1291 h 1302"/>
                  <a:gd name="T44" fmla="*/ 962 w 1297"/>
                  <a:gd name="T45" fmla="*/ 1295 h 1302"/>
                  <a:gd name="T46" fmla="*/ 960 w 1297"/>
                  <a:gd name="T47" fmla="*/ 1298 h 1302"/>
                  <a:gd name="T48" fmla="*/ 956 w 1297"/>
                  <a:gd name="T49" fmla="*/ 1300 h 1302"/>
                  <a:gd name="T50" fmla="*/ 953 w 1297"/>
                  <a:gd name="T51" fmla="*/ 1301 h 1302"/>
                  <a:gd name="T52" fmla="*/ 951 w 1297"/>
                  <a:gd name="T53" fmla="*/ 1301 h 1302"/>
                  <a:gd name="T54" fmla="*/ 950 w 1297"/>
                  <a:gd name="T55" fmla="*/ 1302 h 1302"/>
                  <a:gd name="T56" fmla="*/ 39 w 1297"/>
                  <a:gd name="T57" fmla="*/ 370 h 1302"/>
                  <a:gd name="T58" fmla="*/ 39 w 1297"/>
                  <a:gd name="T59" fmla="*/ 370 h 1302"/>
                  <a:gd name="T60" fmla="*/ 942 w 1297"/>
                  <a:gd name="T61" fmla="*/ 1262 h 1302"/>
                  <a:gd name="T62" fmla="*/ 1264 w 1297"/>
                  <a:gd name="T63" fmla="*/ 34 h 1302"/>
                  <a:gd name="T64" fmla="*/ 39 w 1297"/>
                  <a:gd name="T65" fmla="*/ 370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7" h="1302">
                    <a:moveTo>
                      <a:pt x="950" y="1302"/>
                    </a:moveTo>
                    <a:lnTo>
                      <a:pt x="945" y="1301"/>
                    </a:lnTo>
                    <a:lnTo>
                      <a:pt x="940" y="1298"/>
                    </a:lnTo>
                    <a:lnTo>
                      <a:pt x="3" y="373"/>
                    </a:lnTo>
                    <a:lnTo>
                      <a:pt x="1" y="370"/>
                    </a:lnTo>
                    <a:lnTo>
                      <a:pt x="0" y="366"/>
                    </a:lnTo>
                    <a:lnTo>
                      <a:pt x="0" y="363"/>
                    </a:lnTo>
                    <a:lnTo>
                      <a:pt x="0" y="360"/>
                    </a:lnTo>
                    <a:lnTo>
                      <a:pt x="1" y="356"/>
                    </a:lnTo>
                    <a:lnTo>
                      <a:pt x="3" y="353"/>
                    </a:lnTo>
                    <a:lnTo>
                      <a:pt x="6" y="351"/>
                    </a:lnTo>
                    <a:lnTo>
                      <a:pt x="9" y="350"/>
                    </a:lnTo>
                    <a:lnTo>
                      <a:pt x="1279" y="1"/>
                    </a:lnTo>
                    <a:lnTo>
                      <a:pt x="1283" y="0"/>
                    </a:lnTo>
                    <a:lnTo>
                      <a:pt x="1287" y="1"/>
                    </a:lnTo>
                    <a:lnTo>
                      <a:pt x="1290" y="3"/>
                    </a:lnTo>
                    <a:lnTo>
                      <a:pt x="1292" y="5"/>
                    </a:lnTo>
                    <a:lnTo>
                      <a:pt x="1294" y="8"/>
                    </a:lnTo>
                    <a:lnTo>
                      <a:pt x="1297" y="11"/>
                    </a:lnTo>
                    <a:lnTo>
                      <a:pt x="1297" y="14"/>
                    </a:lnTo>
                    <a:lnTo>
                      <a:pt x="1297" y="18"/>
                    </a:lnTo>
                    <a:lnTo>
                      <a:pt x="963" y="1291"/>
                    </a:lnTo>
                    <a:lnTo>
                      <a:pt x="962" y="1295"/>
                    </a:lnTo>
                    <a:lnTo>
                      <a:pt x="960" y="1298"/>
                    </a:lnTo>
                    <a:lnTo>
                      <a:pt x="956" y="1300"/>
                    </a:lnTo>
                    <a:lnTo>
                      <a:pt x="953" y="1301"/>
                    </a:lnTo>
                    <a:lnTo>
                      <a:pt x="951" y="1301"/>
                    </a:lnTo>
                    <a:lnTo>
                      <a:pt x="950" y="1302"/>
                    </a:lnTo>
                    <a:close/>
                    <a:moveTo>
                      <a:pt x="39" y="370"/>
                    </a:moveTo>
                    <a:lnTo>
                      <a:pt x="39" y="370"/>
                    </a:lnTo>
                    <a:lnTo>
                      <a:pt x="942" y="1262"/>
                    </a:lnTo>
                    <a:lnTo>
                      <a:pt x="1264" y="34"/>
                    </a:lnTo>
                    <a:lnTo>
                      <a:pt x="39"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
              <p:cNvSpPr>
                <a:spLocks noEditPoints="1"/>
              </p:cNvSpPr>
              <p:nvPr userDrawn="1"/>
            </p:nvSpPr>
            <p:spPr bwMode="auto">
              <a:xfrm>
                <a:off x="580" y="2476"/>
                <a:ext cx="433" cy="433"/>
              </a:xfrm>
              <a:custGeom>
                <a:avLst/>
                <a:gdLst>
                  <a:gd name="T0" fmla="*/ 950 w 1297"/>
                  <a:gd name="T1" fmla="*/ 1300 h 1300"/>
                  <a:gd name="T2" fmla="*/ 944 w 1297"/>
                  <a:gd name="T3" fmla="*/ 1299 h 1300"/>
                  <a:gd name="T4" fmla="*/ 940 w 1297"/>
                  <a:gd name="T5" fmla="*/ 1296 h 1300"/>
                  <a:gd name="T6" fmla="*/ 3 w 1297"/>
                  <a:gd name="T7" fmla="*/ 371 h 1300"/>
                  <a:gd name="T8" fmla="*/ 1 w 1297"/>
                  <a:gd name="T9" fmla="*/ 368 h 1300"/>
                  <a:gd name="T10" fmla="*/ 0 w 1297"/>
                  <a:gd name="T11" fmla="*/ 365 h 1300"/>
                  <a:gd name="T12" fmla="*/ 0 w 1297"/>
                  <a:gd name="T13" fmla="*/ 361 h 1300"/>
                  <a:gd name="T14" fmla="*/ 0 w 1297"/>
                  <a:gd name="T15" fmla="*/ 358 h 1300"/>
                  <a:gd name="T16" fmla="*/ 1 w 1297"/>
                  <a:gd name="T17" fmla="*/ 355 h 1300"/>
                  <a:gd name="T18" fmla="*/ 3 w 1297"/>
                  <a:gd name="T19" fmla="*/ 352 h 1300"/>
                  <a:gd name="T20" fmla="*/ 6 w 1297"/>
                  <a:gd name="T21" fmla="*/ 349 h 1300"/>
                  <a:gd name="T22" fmla="*/ 9 w 1297"/>
                  <a:gd name="T23" fmla="*/ 348 h 1300"/>
                  <a:gd name="T24" fmla="*/ 1279 w 1297"/>
                  <a:gd name="T25" fmla="*/ 0 h 1300"/>
                  <a:gd name="T26" fmla="*/ 1282 w 1297"/>
                  <a:gd name="T27" fmla="*/ 0 h 1300"/>
                  <a:gd name="T28" fmla="*/ 1287 w 1297"/>
                  <a:gd name="T29" fmla="*/ 0 h 1300"/>
                  <a:gd name="T30" fmla="*/ 1290 w 1297"/>
                  <a:gd name="T31" fmla="*/ 1 h 1300"/>
                  <a:gd name="T32" fmla="*/ 1292 w 1297"/>
                  <a:gd name="T33" fmla="*/ 3 h 1300"/>
                  <a:gd name="T34" fmla="*/ 1294 w 1297"/>
                  <a:gd name="T35" fmla="*/ 6 h 1300"/>
                  <a:gd name="T36" fmla="*/ 1297 w 1297"/>
                  <a:gd name="T37" fmla="*/ 9 h 1300"/>
                  <a:gd name="T38" fmla="*/ 1297 w 1297"/>
                  <a:gd name="T39" fmla="*/ 13 h 1300"/>
                  <a:gd name="T40" fmla="*/ 1297 w 1297"/>
                  <a:gd name="T41" fmla="*/ 16 h 1300"/>
                  <a:gd name="T42" fmla="*/ 963 w 1297"/>
                  <a:gd name="T43" fmla="*/ 1290 h 1300"/>
                  <a:gd name="T44" fmla="*/ 962 w 1297"/>
                  <a:gd name="T45" fmla="*/ 1293 h 1300"/>
                  <a:gd name="T46" fmla="*/ 960 w 1297"/>
                  <a:gd name="T47" fmla="*/ 1296 h 1300"/>
                  <a:gd name="T48" fmla="*/ 956 w 1297"/>
                  <a:gd name="T49" fmla="*/ 1298 h 1300"/>
                  <a:gd name="T50" fmla="*/ 953 w 1297"/>
                  <a:gd name="T51" fmla="*/ 1299 h 1300"/>
                  <a:gd name="T52" fmla="*/ 952 w 1297"/>
                  <a:gd name="T53" fmla="*/ 1300 h 1300"/>
                  <a:gd name="T54" fmla="*/ 950 w 1297"/>
                  <a:gd name="T55" fmla="*/ 1300 h 1300"/>
                  <a:gd name="T56" fmla="*/ 39 w 1297"/>
                  <a:gd name="T57" fmla="*/ 368 h 1300"/>
                  <a:gd name="T58" fmla="*/ 39 w 1297"/>
                  <a:gd name="T59" fmla="*/ 368 h 1300"/>
                  <a:gd name="T60" fmla="*/ 942 w 1297"/>
                  <a:gd name="T61" fmla="*/ 1261 h 1300"/>
                  <a:gd name="T62" fmla="*/ 1264 w 1297"/>
                  <a:gd name="T63" fmla="*/ 32 h 1300"/>
                  <a:gd name="T64" fmla="*/ 39 w 1297"/>
                  <a:gd name="T65" fmla="*/ 368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7" h="1300">
                    <a:moveTo>
                      <a:pt x="950" y="1300"/>
                    </a:moveTo>
                    <a:lnTo>
                      <a:pt x="944" y="1299"/>
                    </a:lnTo>
                    <a:lnTo>
                      <a:pt x="940" y="1296"/>
                    </a:lnTo>
                    <a:lnTo>
                      <a:pt x="3" y="371"/>
                    </a:lnTo>
                    <a:lnTo>
                      <a:pt x="1" y="368"/>
                    </a:lnTo>
                    <a:lnTo>
                      <a:pt x="0" y="365"/>
                    </a:lnTo>
                    <a:lnTo>
                      <a:pt x="0" y="361"/>
                    </a:lnTo>
                    <a:lnTo>
                      <a:pt x="0" y="358"/>
                    </a:lnTo>
                    <a:lnTo>
                      <a:pt x="1" y="355"/>
                    </a:lnTo>
                    <a:lnTo>
                      <a:pt x="3" y="352"/>
                    </a:lnTo>
                    <a:lnTo>
                      <a:pt x="6" y="349"/>
                    </a:lnTo>
                    <a:lnTo>
                      <a:pt x="9" y="348"/>
                    </a:lnTo>
                    <a:lnTo>
                      <a:pt x="1279" y="0"/>
                    </a:lnTo>
                    <a:lnTo>
                      <a:pt x="1282" y="0"/>
                    </a:lnTo>
                    <a:lnTo>
                      <a:pt x="1287" y="0"/>
                    </a:lnTo>
                    <a:lnTo>
                      <a:pt x="1290" y="1"/>
                    </a:lnTo>
                    <a:lnTo>
                      <a:pt x="1292" y="3"/>
                    </a:lnTo>
                    <a:lnTo>
                      <a:pt x="1294" y="6"/>
                    </a:lnTo>
                    <a:lnTo>
                      <a:pt x="1297" y="9"/>
                    </a:lnTo>
                    <a:lnTo>
                      <a:pt x="1297" y="13"/>
                    </a:lnTo>
                    <a:lnTo>
                      <a:pt x="1297" y="16"/>
                    </a:lnTo>
                    <a:lnTo>
                      <a:pt x="963" y="1290"/>
                    </a:lnTo>
                    <a:lnTo>
                      <a:pt x="962" y="1293"/>
                    </a:lnTo>
                    <a:lnTo>
                      <a:pt x="960" y="1296"/>
                    </a:lnTo>
                    <a:lnTo>
                      <a:pt x="956" y="1298"/>
                    </a:lnTo>
                    <a:lnTo>
                      <a:pt x="953" y="1299"/>
                    </a:lnTo>
                    <a:lnTo>
                      <a:pt x="952" y="1300"/>
                    </a:lnTo>
                    <a:lnTo>
                      <a:pt x="950" y="1300"/>
                    </a:lnTo>
                    <a:close/>
                    <a:moveTo>
                      <a:pt x="39" y="368"/>
                    </a:moveTo>
                    <a:lnTo>
                      <a:pt x="39" y="368"/>
                    </a:lnTo>
                    <a:lnTo>
                      <a:pt x="942" y="1261"/>
                    </a:lnTo>
                    <a:lnTo>
                      <a:pt x="1264" y="32"/>
                    </a:lnTo>
                    <a:lnTo>
                      <a:pt x="39"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
              <p:cNvSpPr>
                <a:spLocks noEditPoints="1"/>
              </p:cNvSpPr>
              <p:nvPr userDrawn="1"/>
            </p:nvSpPr>
            <p:spPr bwMode="auto">
              <a:xfrm>
                <a:off x="4446" y="1619"/>
                <a:ext cx="460" cy="457"/>
              </a:xfrm>
              <a:custGeom>
                <a:avLst/>
                <a:gdLst>
                  <a:gd name="T0" fmla="*/ 991 w 1380"/>
                  <a:gd name="T1" fmla="*/ 1371 h 1371"/>
                  <a:gd name="T2" fmla="*/ 988 w 1380"/>
                  <a:gd name="T3" fmla="*/ 1370 h 1371"/>
                  <a:gd name="T4" fmla="*/ 985 w 1380"/>
                  <a:gd name="T5" fmla="*/ 1368 h 1371"/>
                  <a:gd name="T6" fmla="*/ 2 w 1380"/>
                  <a:gd name="T7" fmla="*/ 364 h 1371"/>
                  <a:gd name="T8" fmla="*/ 1 w 1380"/>
                  <a:gd name="T9" fmla="*/ 362 h 1371"/>
                  <a:gd name="T10" fmla="*/ 0 w 1380"/>
                  <a:gd name="T11" fmla="*/ 360 h 1371"/>
                  <a:gd name="T12" fmla="*/ 0 w 1380"/>
                  <a:gd name="T13" fmla="*/ 358 h 1371"/>
                  <a:gd name="T14" fmla="*/ 0 w 1380"/>
                  <a:gd name="T15" fmla="*/ 354 h 1371"/>
                  <a:gd name="T16" fmla="*/ 1 w 1380"/>
                  <a:gd name="T17" fmla="*/ 352 h 1371"/>
                  <a:gd name="T18" fmla="*/ 3 w 1380"/>
                  <a:gd name="T19" fmla="*/ 350 h 1371"/>
                  <a:gd name="T20" fmla="*/ 4 w 1380"/>
                  <a:gd name="T21" fmla="*/ 349 h 1371"/>
                  <a:gd name="T22" fmla="*/ 6 w 1380"/>
                  <a:gd name="T23" fmla="*/ 348 h 1371"/>
                  <a:gd name="T24" fmla="*/ 1368 w 1380"/>
                  <a:gd name="T25" fmla="*/ 0 h 1371"/>
                  <a:gd name="T26" fmla="*/ 1370 w 1380"/>
                  <a:gd name="T27" fmla="*/ 0 h 1371"/>
                  <a:gd name="T28" fmla="*/ 1372 w 1380"/>
                  <a:gd name="T29" fmla="*/ 0 h 1371"/>
                  <a:gd name="T30" fmla="*/ 1374 w 1380"/>
                  <a:gd name="T31" fmla="*/ 1 h 1371"/>
                  <a:gd name="T32" fmla="*/ 1377 w 1380"/>
                  <a:gd name="T33" fmla="*/ 3 h 1371"/>
                  <a:gd name="T34" fmla="*/ 1379 w 1380"/>
                  <a:gd name="T35" fmla="*/ 5 h 1371"/>
                  <a:gd name="T36" fmla="*/ 1380 w 1380"/>
                  <a:gd name="T37" fmla="*/ 7 h 1371"/>
                  <a:gd name="T38" fmla="*/ 1380 w 1380"/>
                  <a:gd name="T39" fmla="*/ 9 h 1371"/>
                  <a:gd name="T40" fmla="*/ 1379 w 1380"/>
                  <a:gd name="T41" fmla="*/ 12 h 1371"/>
                  <a:gd name="T42" fmla="*/ 1000 w 1380"/>
                  <a:gd name="T43" fmla="*/ 1364 h 1371"/>
                  <a:gd name="T44" fmla="*/ 999 w 1380"/>
                  <a:gd name="T45" fmla="*/ 1367 h 1371"/>
                  <a:gd name="T46" fmla="*/ 998 w 1380"/>
                  <a:gd name="T47" fmla="*/ 1368 h 1371"/>
                  <a:gd name="T48" fmla="*/ 995 w 1380"/>
                  <a:gd name="T49" fmla="*/ 1370 h 1371"/>
                  <a:gd name="T50" fmla="*/ 993 w 1380"/>
                  <a:gd name="T51" fmla="*/ 1371 h 1371"/>
                  <a:gd name="T52" fmla="*/ 992 w 1380"/>
                  <a:gd name="T53" fmla="*/ 1371 h 1371"/>
                  <a:gd name="T54" fmla="*/ 991 w 1380"/>
                  <a:gd name="T55" fmla="*/ 1371 h 1371"/>
                  <a:gd name="T56" fmla="*/ 27 w 1380"/>
                  <a:gd name="T57" fmla="*/ 362 h 1371"/>
                  <a:gd name="T58" fmla="*/ 27 w 1380"/>
                  <a:gd name="T59" fmla="*/ 362 h 1371"/>
                  <a:gd name="T60" fmla="*/ 987 w 1380"/>
                  <a:gd name="T61" fmla="*/ 1343 h 1371"/>
                  <a:gd name="T62" fmla="*/ 1357 w 1380"/>
                  <a:gd name="T63" fmla="*/ 23 h 1371"/>
                  <a:gd name="T64" fmla="*/ 27 w 1380"/>
                  <a:gd name="T65" fmla="*/ 362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0" h="1371">
                    <a:moveTo>
                      <a:pt x="991" y="1371"/>
                    </a:moveTo>
                    <a:lnTo>
                      <a:pt x="988" y="1370"/>
                    </a:lnTo>
                    <a:lnTo>
                      <a:pt x="985" y="1368"/>
                    </a:lnTo>
                    <a:lnTo>
                      <a:pt x="2" y="364"/>
                    </a:lnTo>
                    <a:lnTo>
                      <a:pt x="1" y="362"/>
                    </a:lnTo>
                    <a:lnTo>
                      <a:pt x="0" y="360"/>
                    </a:lnTo>
                    <a:lnTo>
                      <a:pt x="0" y="358"/>
                    </a:lnTo>
                    <a:lnTo>
                      <a:pt x="0" y="354"/>
                    </a:lnTo>
                    <a:lnTo>
                      <a:pt x="1" y="352"/>
                    </a:lnTo>
                    <a:lnTo>
                      <a:pt x="3" y="350"/>
                    </a:lnTo>
                    <a:lnTo>
                      <a:pt x="4" y="349"/>
                    </a:lnTo>
                    <a:lnTo>
                      <a:pt x="6" y="348"/>
                    </a:lnTo>
                    <a:lnTo>
                      <a:pt x="1368" y="0"/>
                    </a:lnTo>
                    <a:lnTo>
                      <a:pt x="1370" y="0"/>
                    </a:lnTo>
                    <a:lnTo>
                      <a:pt x="1372" y="0"/>
                    </a:lnTo>
                    <a:lnTo>
                      <a:pt x="1374" y="1"/>
                    </a:lnTo>
                    <a:lnTo>
                      <a:pt x="1377" y="3"/>
                    </a:lnTo>
                    <a:lnTo>
                      <a:pt x="1379" y="5"/>
                    </a:lnTo>
                    <a:lnTo>
                      <a:pt x="1380" y="7"/>
                    </a:lnTo>
                    <a:lnTo>
                      <a:pt x="1380" y="9"/>
                    </a:lnTo>
                    <a:lnTo>
                      <a:pt x="1379" y="12"/>
                    </a:lnTo>
                    <a:lnTo>
                      <a:pt x="1000" y="1364"/>
                    </a:lnTo>
                    <a:lnTo>
                      <a:pt x="999" y="1367"/>
                    </a:lnTo>
                    <a:lnTo>
                      <a:pt x="998" y="1368"/>
                    </a:lnTo>
                    <a:lnTo>
                      <a:pt x="995" y="1370"/>
                    </a:lnTo>
                    <a:lnTo>
                      <a:pt x="993" y="1371"/>
                    </a:lnTo>
                    <a:lnTo>
                      <a:pt x="992" y="1371"/>
                    </a:lnTo>
                    <a:lnTo>
                      <a:pt x="991" y="1371"/>
                    </a:lnTo>
                    <a:close/>
                    <a:moveTo>
                      <a:pt x="27" y="362"/>
                    </a:moveTo>
                    <a:lnTo>
                      <a:pt x="27" y="362"/>
                    </a:lnTo>
                    <a:lnTo>
                      <a:pt x="987" y="1343"/>
                    </a:lnTo>
                    <a:lnTo>
                      <a:pt x="1357" y="23"/>
                    </a:lnTo>
                    <a:lnTo>
                      <a:pt x="27"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8"/>
              <p:cNvSpPr>
                <a:spLocks noEditPoints="1"/>
              </p:cNvSpPr>
              <p:nvPr userDrawn="1"/>
            </p:nvSpPr>
            <p:spPr bwMode="auto">
              <a:xfrm>
                <a:off x="3771" y="3402"/>
                <a:ext cx="451" cy="462"/>
              </a:xfrm>
              <a:custGeom>
                <a:avLst/>
                <a:gdLst>
                  <a:gd name="T0" fmla="*/ 1039 w 1352"/>
                  <a:gd name="T1" fmla="*/ 1384 h 1384"/>
                  <a:gd name="T2" fmla="*/ 1034 w 1352"/>
                  <a:gd name="T3" fmla="*/ 1383 h 1384"/>
                  <a:gd name="T4" fmla="*/ 1029 w 1352"/>
                  <a:gd name="T5" fmla="*/ 1381 h 1384"/>
                  <a:gd name="T6" fmla="*/ 5 w 1352"/>
                  <a:gd name="T7" fmla="*/ 442 h 1384"/>
                  <a:gd name="T8" fmla="*/ 2 w 1352"/>
                  <a:gd name="T9" fmla="*/ 440 h 1384"/>
                  <a:gd name="T10" fmla="*/ 0 w 1352"/>
                  <a:gd name="T11" fmla="*/ 436 h 1384"/>
                  <a:gd name="T12" fmla="*/ 0 w 1352"/>
                  <a:gd name="T13" fmla="*/ 433 h 1384"/>
                  <a:gd name="T14" fmla="*/ 0 w 1352"/>
                  <a:gd name="T15" fmla="*/ 429 h 1384"/>
                  <a:gd name="T16" fmla="*/ 1 w 1352"/>
                  <a:gd name="T17" fmla="*/ 426 h 1384"/>
                  <a:gd name="T18" fmla="*/ 3 w 1352"/>
                  <a:gd name="T19" fmla="*/ 423 h 1384"/>
                  <a:gd name="T20" fmla="*/ 6 w 1352"/>
                  <a:gd name="T21" fmla="*/ 421 h 1384"/>
                  <a:gd name="T22" fmla="*/ 9 w 1352"/>
                  <a:gd name="T23" fmla="*/ 419 h 1384"/>
                  <a:gd name="T24" fmla="*/ 1335 w 1352"/>
                  <a:gd name="T25" fmla="*/ 1 h 1384"/>
                  <a:gd name="T26" fmla="*/ 1338 w 1352"/>
                  <a:gd name="T27" fmla="*/ 0 h 1384"/>
                  <a:gd name="T28" fmla="*/ 1342 w 1352"/>
                  <a:gd name="T29" fmla="*/ 0 h 1384"/>
                  <a:gd name="T30" fmla="*/ 1346 w 1352"/>
                  <a:gd name="T31" fmla="*/ 2 h 1384"/>
                  <a:gd name="T32" fmla="*/ 1348 w 1352"/>
                  <a:gd name="T33" fmla="*/ 4 h 1384"/>
                  <a:gd name="T34" fmla="*/ 1350 w 1352"/>
                  <a:gd name="T35" fmla="*/ 7 h 1384"/>
                  <a:gd name="T36" fmla="*/ 1352 w 1352"/>
                  <a:gd name="T37" fmla="*/ 10 h 1384"/>
                  <a:gd name="T38" fmla="*/ 1352 w 1352"/>
                  <a:gd name="T39" fmla="*/ 13 h 1384"/>
                  <a:gd name="T40" fmla="*/ 1352 w 1352"/>
                  <a:gd name="T41" fmla="*/ 17 h 1384"/>
                  <a:gd name="T42" fmla="*/ 1052 w 1352"/>
                  <a:gd name="T43" fmla="*/ 1373 h 1384"/>
                  <a:gd name="T44" fmla="*/ 1051 w 1352"/>
                  <a:gd name="T45" fmla="*/ 1377 h 1384"/>
                  <a:gd name="T46" fmla="*/ 1049 w 1352"/>
                  <a:gd name="T47" fmla="*/ 1380 h 1384"/>
                  <a:gd name="T48" fmla="*/ 1045 w 1352"/>
                  <a:gd name="T49" fmla="*/ 1382 h 1384"/>
                  <a:gd name="T50" fmla="*/ 1042 w 1352"/>
                  <a:gd name="T51" fmla="*/ 1384 h 1384"/>
                  <a:gd name="T52" fmla="*/ 1040 w 1352"/>
                  <a:gd name="T53" fmla="*/ 1384 h 1384"/>
                  <a:gd name="T54" fmla="*/ 1039 w 1352"/>
                  <a:gd name="T55" fmla="*/ 1384 h 1384"/>
                  <a:gd name="T56" fmla="*/ 40 w 1352"/>
                  <a:gd name="T57" fmla="*/ 439 h 1384"/>
                  <a:gd name="T58" fmla="*/ 40 w 1352"/>
                  <a:gd name="T59" fmla="*/ 439 h 1384"/>
                  <a:gd name="T60" fmla="*/ 1030 w 1352"/>
                  <a:gd name="T61" fmla="*/ 1345 h 1384"/>
                  <a:gd name="T62" fmla="*/ 1321 w 1352"/>
                  <a:gd name="T63" fmla="*/ 34 h 1384"/>
                  <a:gd name="T64" fmla="*/ 40 w 1352"/>
                  <a:gd name="T65" fmla="*/ 439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2" h="1384">
                    <a:moveTo>
                      <a:pt x="1039" y="1384"/>
                    </a:moveTo>
                    <a:lnTo>
                      <a:pt x="1034" y="1383"/>
                    </a:lnTo>
                    <a:lnTo>
                      <a:pt x="1029" y="1381"/>
                    </a:lnTo>
                    <a:lnTo>
                      <a:pt x="5" y="442"/>
                    </a:lnTo>
                    <a:lnTo>
                      <a:pt x="2" y="440"/>
                    </a:lnTo>
                    <a:lnTo>
                      <a:pt x="0" y="436"/>
                    </a:lnTo>
                    <a:lnTo>
                      <a:pt x="0" y="433"/>
                    </a:lnTo>
                    <a:lnTo>
                      <a:pt x="0" y="429"/>
                    </a:lnTo>
                    <a:lnTo>
                      <a:pt x="1" y="426"/>
                    </a:lnTo>
                    <a:lnTo>
                      <a:pt x="3" y="423"/>
                    </a:lnTo>
                    <a:lnTo>
                      <a:pt x="6" y="421"/>
                    </a:lnTo>
                    <a:lnTo>
                      <a:pt x="9" y="419"/>
                    </a:lnTo>
                    <a:lnTo>
                      <a:pt x="1335" y="1"/>
                    </a:lnTo>
                    <a:lnTo>
                      <a:pt x="1338" y="0"/>
                    </a:lnTo>
                    <a:lnTo>
                      <a:pt x="1342" y="0"/>
                    </a:lnTo>
                    <a:lnTo>
                      <a:pt x="1346" y="2"/>
                    </a:lnTo>
                    <a:lnTo>
                      <a:pt x="1348" y="4"/>
                    </a:lnTo>
                    <a:lnTo>
                      <a:pt x="1350" y="7"/>
                    </a:lnTo>
                    <a:lnTo>
                      <a:pt x="1352" y="10"/>
                    </a:lnTo>
                    <a:lnTo>
                      <a:pt x="1352" y="13"/>
                    </a:lnTo>
                    <a:lnTo>
                      <a:pt x="1352" y="17"/>
                    </a:lnTo>
                    <a:lnTo>
                      <a:pt x="1052" y="1373"/>
                    </a:lnTo>
                    <a:lnTo>
                      <a:pt x="1051" y="1377"/>
                    </a:lnTo>
                    <a:lnTo>
                      <a:pt x="1049" y="1380"/>
                    </a:lnTo>
                    <a:lnTo>
                      <a:pt x="1045" y="1382"/>
                    </a:lnTo>
                    <a:lnTo>
                      <a:pt x="1042" y="1384"/>
                    </a:lnTo>
                    <a:lnTo>
                      <a:pt x="1040" y="1384"/>
                    </a:lnTo>
                    <a:lnTo>
                      <a:pt x="1039" y="1384"/>
                    </a:lnTo>
                    <a:close/>
                    <a:moveTo>
                      <a:pt x="40" y="439"/>
                    </a:moveTo>
                    <a:lnTo>
                      <a:pt x="40" y="439"/>
                    </a:lnTo>
                    <a:lnTo>
                      <a:pt x="1030" y="1345"/>
                    </a:lnTo>
                    <a:lnTo>
                      <a:pt x="1321" y="34"/>
                    </a:lnTo>
                    <a:lnTo>
                      <a:pt x="4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9"/>
              <p:cNvSpPr>
                <a:spLocks noEditPoints="1"/>
              </p:cNvSpPr>
              <p:nvPr userDrawn="1"/>
            </p:nvSpPr>
            <p:spPr bwMode="auto">
              <a:xfrm>
                <a:off x="4391" y="1651"/>
                <a:ext cx="460" cy="457"/>
              </a:xfrm>
              <a:custGeom>
                <a:avLst/>
                <a:gdLst>
                  <a:gd name="T0" fmla="*/ 992 w 1380"/>
                  <a:gd name="T1" fmla="*/ 1370 h 1370"/>
                  <a:gd name="T2" fmla="*/ 988 w 1380"/>
                  <a:gd name="T3" fmla="*/ 1370 h 1370"/>
                  <a:gd name="T4" fmla="*/ 985 w 1380"/>
                  <a:gd name="T5" fmla="*/ 1368 h 1370"/>
                  <a:gd name="T6" fmla="*/ 3 w 1380"/>
                  <a:gd name="T7" fmla="*/ 363 h 1370"/>
                  <a:gd name="T8" fmla="*/ 2 w 1380"/>
                  <a:gd name="T9" fmla="*/ 361 h 1370"/>
                  <a:gd name="T10" fmla="*/ 1 w 1380"/>
                  <a:gd name="T11" fmla="*/ 359 h 1370"/>
                  <a:gd name="T12" fmla="*/ 0 w 1380"/>
                  <a:gd name="T13" fmla="*/ 357 h 1370"/>
                  <a:gd name="T14" fmla="*/ 1 w 1380"/>
                  <a:gd name="T15" fmla="*/ 355 h 1370"/>
                  <a:gd name="T16" fmla="*/ 2 w 1380"/>
                  <a:gd name="T17" fmla="*/ 352 h 1370"/>
                  <a:gd name="T18" fmla="*/ 3 w 1380"/>
                  <a:gd name="T19" fmla="*/ 350 h 1370"/>
                  <a:gd name="T20" fmla="*/ 5 w 1380"/>
                  <a:gd name="T21" fmla="*/ 348 h 1370"/>
                  <a:gd name="T22" fmla="*/ 7 w 1380"/>
                  <a:gd name="T23" fmla="*/ 348 h 1370"/>
                  <a:gd name="T24" fmla="*/ 1368 w 1380"/>
                  <a:gd name="T25" fmla="*/ 0 h 1370"/>
                  <a:gd name="T26" fmla="*/ 1371 w 1380"/>
                  <a:gd name="T27" fmla="*/ 0 h 1370"/>
                  <a:gd name="T28" fmla="*/ 1373 w 1380"/>
                  <a:gd name="T29" fmla="*/ 0 h 1370"/>
                  <a:gd name="T30" fmla="*/ 1375 w 1380"/>
                  <a:gd name="T31" fmla="*/ 1 h 1370"/>
                  <a:gd name="T32" fmla="*/ 1378 w 1380"/>
                  <a:gd name="T33" fmla="*/ 3 h 1370"/>
                  <a:gd name="T34" fmla="*/ 1379 w 1380"/>
                  <a:gd name="T35" fmla="*/ 4 h 1370"/>
                  <a:gd name="T36" fmla="*/ 1380 w 1380"/>
                  <a:gd name="T37" fmla="*/ 7 h 1370"/>
                  <a:gd name="T38" fmla="*/ 1380 w 1380"/>
                  <a:gd name="T39" fmla="*/ 9 h 1370"/>
                  <a:gd name="T40" fmla="*/ 1380 w 1380"/>
                  <a:gd name="T41" fmla="*/ 11 h 1370"/>
                  <a:gd name="T42" fmla="*/ 1001 w 1380"/>
                  <a:gd name="T43" fmla="*/ 1364 h 1370"/>
                  <a:gd name="T44" fmla="*/ 1000 w 1380"/>
                  <a:gd name="T45" fmla="*/ 1366 h 1370"/>
                  <a:gd name="T46" fmla="*/ 999 w 1380"/>
                  <a:gd name="T47" fmla="*/ 1368 h 1370"/>
                  <a:gd name="T48" fmla="*/ 996 w 1380"/>
                  <a:gd name="T49" fmla="*/ 1369 h 1370"/>
                  <a:gd name="T50" fmla="*/ 994 w 1380"/>
                  <a:gd name="T51" fmla="*/ 1370 h 1370"/>
                  <a:gd name="T52" fmla="*/ 993 w 1380"/>
                  <a:gd name="T53" fmla="*/ 1370 h 1370"/>
                  <a:gd name="T54" fmla="*/ 992 w 1380"/>
                  <a:gd name="T55" fmla="*/ 1370 h 1370"/>
                  <a:gd name="T56" fmla="*/ 28 w 1380"/>
                  <a:gd name="T57" fmla="*/ 362 h 1370"/>
                  <a:gd name="T58" fmla="*/ 28 w 1380"/>
                  <a:gd name="T59" fmla="*/ 362 h 1370"/>
                  <a:gd name="T60" fmla="*/ 987 w 1380"/>
                  <a:gd name="T61" fmla="*/ 1342 h 1370"/>
                  <a:gd name="T62" fmla="*/ 1357 w 1380"/>
                  <a:gd name="T63" fmla="*/ 22 h 1370"/>
                  <a:gd name="T64" fmla="*/ 28 w 1380"/>
                  <a:gd name="T65" fmla="*/ 362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0" h="1370">
                    <a:moveTo>
                      <a:pt x="992" y="1370"/>
                    </a:moveTo>
                    <a:lnTo>
                      <a:pt x="988" y="1370"/>
                    </a:lnTo>
                    <a:lnTo>
                      <a:pt x="985" y="1368"/>
                    </a:lnTo>
                    <a:lnTo>
                      <a:pt x="3" y="363"/>
                    </a:lnTo>
                    <a:lnTo>
                      <a:pt x="2" y="361"/>
                    </a:lnTo>
                    <a:lnTo>
                      <a:pt x="1" y="359"/>
                    </a:lnTo>
                    <a:lnTo>
                      <a:pt x="0" y="357"/>
                    </a:lnTo>
                    <a:lnTo>
                      <a:pt x="1" y="355"/>
                    </a:lnTo>
                    <a:lnTo>
                      <a:pt x="2" y="352"/>
                    </a:lnTo>
                    <a:lnTo>
                      <a:pt x="3" y="350"/>
                    </a:lnTo>
                    <a:lnTo>
                      <a:pt x="5" y="348"/>
                    </a:lnTo>
                    <a:lnTo>
                      <a:pt x="7" y="348"/>
                    </a:lnTo>
                    <a:lnTo>
                      <a:pt x="1368" y="0"/>
                    </a:lnTo>
                    <a:lnTo>
                      <a:pt x="1371" y="0"/>
                    </a:lnTo>
                    <a:lnTo>
                      <a:pt x="1373" y="0"/>
                    </a:lnTo>
                    <a:lnTo>
                      <a:pt x="1375" y="1"/>
                    </a:lnTo>
                    <a:lnTo>
                      <a:pt x="1378" y="3"/>
                    </a:lnTo>
                    <a:lnTo>
                      <a:pt x="1379" y="4"/>
                    </a:lnTo>
                    <a:lnTo>
                      <a:pt x="1380" y="7"/>
                    </a:lnTo>
                    <a:lnTo>
                      <a:pt x="1380" y="9"/>
                    </a:lnTo>
                    <a:lnTo>
                      <a:pt x="1380" y="11"/>
                    </a:lnTo>
                    <a:lnTo>
                      <a:pt x="1001" y="1364"/>
                    </a:lnTo>
                    <a:lnTo>
                      <a:pt x="1000" y="1366"/>
                    </a:lnTo>
                    <a:lnTo>
                      <a:pt x="999" y="1368"/>
                    </a:lnTo>
                    <a:lnTo>
                      <a:pt x="996" y="1369"/>
                    </a:lnTo>
                    <a:lnTo>
                      <a:pt x="994" y="1370"/>
                    </a:lnTo>
                    <a:lnTo>
                      <a:pt x="993" y="1370"/>
                    </a:lnTo>
                    <a:lnTo>
                      <a:pt x="992" y="1370"/>
                    </a:lnTo>
                    <a:close/>
                    <a:moveTo>
                      <a:pt x="28" y="362"/>
                    </a:moveTo>
                    <a:lnTo>
                      <a:pt x="28" y="362"/>
                    </a:lnTo>
                    <a:lnTo>
                      <a:pt x="987" y="1342"/>
                    </a:lnTo>
                    <a:lnTo>
                      <a:pt x="1357" y="22"/>
                    </a:lnTo>
                    <a:lnTo>
                      <a:pt x="28"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0"/>
              <p:cNvSpPr>
                <a:spLocks noEditPoints="1"/>
              </p:cNvSpPr>
              <p:nvPr userDrawn="1"/>
            </p:nvSpPr>
            <p:spPr bwMode="auto">
              <a:xfrm>
                <a:off x="3741" y="3435"/>
                <a:ext cx="451" cy="461"/>
              </a:xfrm>
              <a:custGeom>
                <a:avLst/>
                <a:gdLst>
                  <a:gd name="T0" fmla="*/ 1038 w 1353"/>
                  <a:gd name="T1" fmla="*/ 1384 h 1384"/>
                  <a:gd name="T2" fmla="*/ 1034 w 1353"/>
                  <a:gd name="T3" fmla="*/ 1384 h 1384"/>
                  <a:gd name="T4" fmla="*/ 1030 w 1353"/>
                  <a:gd name="T5" fmla="*/ 1381 h 1384"/>
                  <a:gd name="T6" fmla="*/ 4 w 1353"/>
                  <a:gd name="T7" fmla="*/ 442 h 1384"/>
                  <a:gd name="T8" fmla="*/ 2 w 1353"/>
                  <a:gd name="T9" fmla="*/ 440 h 1384"/>
                  <a:gd name="T10" fmla="*/ 1 w 1353"/>
                  <a:gd name="T11" fmla="*/ 437 h 1384"/>
                  <a:gd name="T12" fmla="*/ 0 w 1353"/>
                  <a:gd name="T13" fmla="*/ 433 h 1384"/>
                  <a:gd name="T14" fmla="*/ 1 w 1353"/>
                  <a:gd name="T15" fmla="*/ 430 h 1384"/>
                  <a:gd name="T16" fmla="*/ 2 w 1353"/>
                  <a:gd name="T17" fmla="*/ 426 h 1384"/>
                  <a:gd name="T18" fmla="*/ 4 w 1353"/>
                  <a:gd name="T19" fmla="*/ 424 h 1384"/>
                  <a:gd name="T20" fmla="*/ 6 w 1353"/>
                  <a:gd name="T21" fmla="*/ 421 h 1384"/>
                  <a:gd name="T22" fmla="*/ 9 w 1353"/>
                  <a:gd name="T23" fmla="*/ 419 h 1384"/>
                  <a:gd name="T24" fmla="*/ 1335 w 1353"/>
                  <a:gd name="T25" fmla="*/ 2 h 1384"/>
                  <a:gd name="T26" fmla="*/ 1339 w 1353"/>
                  <a:gd name="T27" fmla="*/ 0 h 1384"/>
                  <a:gd name="T28" fmla="*/ 1342 w 1353"/>
                  <a:gd name="T29" fmla="*/ 2 h 1384"/>
                  <a:gd name="T30" fmla="*/ 1345 w 1353"/>
                  <a:gd name="T31" fmla="*/ 3 h 1384"/>
                  <a:gd name="T32" fmla="*/ 1348 w 1353"/>
                  <a:gd name="T33" fmla="*/ 5 h 1384"/>
                  <a:gd name="T34" fmla="*/ 1350 w 1353"/>
                  <a:gd name="T35" fmla="*/ 7 h 1384"/>
                  <a:gd name="T36" fmla="*/ 1353 w 1353"/>
                  <a:gd name="T37" fmla="*/ 10 h 1384"/>
                  <a:gd name="T38" fmla="*/ 1353 w 1353"/>
                  <a:gd name="T39" fmla="*/ 13 h 1384"/>
                  <a:gd name="T40" fmla="*/ 1353 w 1353"/>
                  <a:gd name="T41" fmla="*/ 18 h 1384"/>
                  <a:gd name="T42" fmla="*/ 1052 w 1353"/>
                  <a:gd name="T43" fmla="*/ 1375 h 1384"/>
                  <a:gd name="T44" fmla="*/ 1050 w 1353"/>
                  <a:gd name="T45" fmla="*/ 1378 h 1384"/>
                  <a:gd name="T46" fmla="*/ 1049 w 1353"/>
                  <a:gd name="T47" fmla="*/ 1380 h 1384"/>
                  <a:gd name="T48" fmla="*/ 1046 w 1353"/>
                  <a:gd name="T49" fmla="*/ 1382 h 1384"/>
                  <a:gd name="T50" fmla="*/ 1043 w 1353"/>
                  <a:gd name="T51" fmla="*/ 1384 h 1384"/>
                  <a:gd name="T52" fmla="*/ 1041 w 1353"/>
                  <a:gd name="T53" fmla="*/ 1384 h 1384"/>
                  <a:gd name="T54" fmla="*/ 1038 w 1353"/>
                  <a:gd name="T55" fmla="*/ 1384 h 1384"/>
                  <a:gd name="T56" fmla="*/ 40 w 1353"/>
                  <a:gd name="T57" fmla="*/ 439 h 1384"/>
                  <a:gd name="T58" fmla="*/ 40 w 1353"/>
                  <a:gd name="T59" fmla="*/ 439 h 1384"/>
                  <a:gd name="T60" fmla="*/ 1031 w 1353"/>
                  <a:gd name="T61" fmla="*/ 1346 h 1384"/>
                  <a:gd name="T62" fmla="*/ 1321 w 1353"/>
                  <a:gd name="T63" fmla="*/ 34 h 1384"/>
                  <a:gd name="T64" fmla="*/ 40 w 1353"/>
                  <a:gd name="T65" fmla="*/ 439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3" h="1384">
                    <a:moveTo>
                      <a:pt x="1038" y="1384"/>
                    </a:moveTo>
                    <a:lnTo>
                      <a:pt x="1034" y="1384"/>
                    </a:lnTo>
                    <a:lnTo>
                      <a:pt x="1030" y="1381"/>
                    </a:lnTo>
                    <a:lnTo>
                      <a:pt x="4" y="442"/>
                    </a:lnTo>
                    <a:lnTo>
                      <a:pt x="2" y="440"/>
                    </a:lnTo>
                    <a:lnTo>
                      <a:pt x="1" y="437"/>
                    </a:lnTo>
                    <a:lnTo>
                      <a:pt x="0" y="433"/>
                    </a:lnTo>
                    <a:lnTo>
                      <a:pt x="1" y="430"/>
                    </a:lnTo>
                    <a:lnTo>
                      <a:pt x="2" y="426"/>
                    </a:lnTo>
                    <a:lnTo>
                      <a:pt x="4" y="424"/>
                    </a:lnTo>
                    <a:lnTo>
                      <a:pt x="6" y="421"/>
                    </a:lnTo>
                    <a:lnTo>
                      <a:pt x="9" y="419"/>
                    </a:lnTo>
                    <a:lnTo>
                      <a:pt x="1335" y="2"/>
                    </a:lnTo>
                    <a:lnTo>
                      <a:pt x="1339" y="0"/>
                    </a:lnTo>
                    <a:lnTo>
                      <a:pt x="1342" y="2"/>
                    </a:lnTo>
                    <a:lnTo>
                      <a:pt x="1345" y="3"/>
                    </a:lnTo>
                    <a:lnTo>
                      <a:pt x="1348" y="5"/>
                    </a:lnTo>
                    <a:lnTo>
                      <a:pt x="1350" y="7"/>
                    </a:lnTo>
                    <a:lnTo>
                      <a:pt x="1353" y="10"/>
                    </a:lnTo>
                    <a:lnTo>
                      <a:pt x="1353" y="13"/>
                    </a:lnTo>
                    <a:lnTo>
                      <a:pt x="1353" y="18"/>
                    </a:lnTo>
                    <a:lnTo>
                      <a:pt x="1052" y="1375"/>
                    </a:lnTo>
                    <a:lnTo>
                      <a:pt x="1050" y="1378"/>
                    </a:lnTo>
                    <a:lnTo>
                      <a:pt x="1049" y="1380"/>
                    </a:lnTo>
                    <a:lnTo>
                      <a:pt x="1046" y="1382"/>
                    </a:lnTo>
                    <a:lnTo>
                      <a:pt x="1043" y="1384"/>
                    </a:lnTo>
                    <a:lnTo>
                      <a:pt x="1041" y="1384"/>
                    </a:lnTo>
                    <a:lnTo>
                      <a:pt x="1038" y="1384"/>
                    </a:lnTo>
                    <a:close/>
                    <a:moveTo>
                      <a:pt x="40" y="439"/>
                    </a:moveTo>
                    <a:lnTo>
                      <a:pt x="40" y="439"/>
                    </a:lnTo>
                    <a:lnTo>
                      <a:pt x="1031" y="1346"/>
                    </a:lnTo>
                    <a:lnTo>
                      <a:pt x="1321" y="34"/>
                    </a:lnTo>
                    <a:lnTo>
                      <a:pt x="40"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1"/>
              <p:cNvSpPr>
                <a:spLocks/>
              </p:cNvSpPr>
              <p:nvPr userDrawn="1"/>
            </p:nvSpPr>
            <p:spPr bwMode="auto">
              <a:xfrm>
                <a:off x="0" y="3094"/>
                <a:ext cx="590" cy="835"/>
              </a:xfrm>
              <a:custGeom>
                <a:avLst/>
                <a:gdLst>
                  <a:gd name="T0" fmla="*/ 1206 w 1770"/>
                  <a:gd name="T1" fmla="*/ 2503 h 2503"/>
                  <a:gd name="T2" fmla="*/ 1201 w 1770"/>
                  <a:gd name="T3" fmla="*/ 2501 h 2503"/>
                  <a:gd name="T4" fmla="*/ 1196 w 1770"/>
                  <a:gd name="T5" fmla="*/ 2499 h 2503"/>
                  <a:gd name="T6" fmla="*/ 0 w 1770"/>
                  <a:gd name="T7" fmla="*/ 1401 h 2503"/>
                  <a:gd name="T8" fmla="*/ 0 w 1770"/>
                  <a:gd name="T9" fmla="*/ 1365 h 2503"/>
                  <a:gd name="T10" fmla="*/ 1198 w 1770"/>
                  <a:gd name="T11" fmla="*/ 2464 h 2503"/>
                  <a:gd name="T12" fmla="*/ 1737 w 1770"/>
                  <a:gd name="T13" fmla="*/ 34 h 2503"/>
                  <a:gd name="T14" fmla="*/ 0 w 1770"/>
                  <a:gd name="T15" fmla="*/ 580 h 2503"/>
                  <a:gd name="T16" fmla="*/ 0 w 1770"/>
                  <a:gd name="T17" fmla="*/ 552 h 2503"/>
                  <a:gd name="T18" fmla="*/ 1753 w 1770"/>
                  <a:gd name="T19" fmla="*/ 0 h 2503"/>
                  <a:gd name="T20" fmla="*/ 1756 w 1770"/>
                  <a:gd name="T21" fmla="*/ 0 h 2503"/>
                  <a:gd name="T22" fmla="*/ 1759 w 1770"/>
                  <a:gd name="T23" fmla="*/ 0 h 2503"/>
                  <a:gd name="T24" fmla="*/ 1762 w 1770"/>
                  <a:gd name="T25" fmla="*/ 1 h 2503"/>
                  <a:gd name="T26" fmla="*/ 1765 w 1770"/>
                  <a:gd name="T27" fmla="*/ 4 h 2503"/>
                  <a:gd name="T28" fmla="*/ 1768 w 1770"/>
                  <a:gd name="T29" fmla="*/ 6 h 2503"/>
                  <a:gd name="T30" fmla="*/ 1769 w 1770"/>
                  <a:gd name="T31" fmla="*/ 9 h 2503"/>
                  <a:gd name="T32" fmla="*/ 1770 w 1770"/>
                  <a:gd name="T33" fmla="*/ 13 h 2503"/>
                  <a:gd name="T34" fmla="*/ 1770 w 1770"/>
                  <a:gd name="T35" fmla="*/ 16 h 2503"/>
                  <a:gd name="T36" fmla="*/ 1219 w 1770"/>
                  <a:gd name="T37" fmla="*/ 2492 h 2503"/>
                  <a:gd name="T38" fmla="*/ 1218 w 1770"/>
                  <a:gd name="T39" fmla="*/ 2495 h 2503"/>
                  <a:gd name="T40" fmla="*/ 1216 w 1770"/>
                  <a:gd name="T41" fmla="*/ 2498 h 2503"/>
                  <a:gd name="T42" fmla="*/ 1213 w 1770"/>
                  <a:gd name="T43" fmla="*/ 2500 h 2503"/>
                  <a:gd name="T44" fmla="*/ 1210 w 1770"/>
                  <a:gd name="T45" fmla="*/ 2501 h 2503"/>
                  <a:gd name="T46" fmla="*/ 1208 w 1770"/>
                  <a:gd name="T47" fmla="*/ 2503 h 2503"/>
                  <a:gd name="T48" fmla="*/ 1206 w 1770"/>
                  <a:gd name="T49" fmla="*/ 2503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70" h="2503">
                    <a:moveTo>
                      <a:pt x="1206" y="2503"/>
                    </a:moveTo>
                    <a:lnTo>
                      <a:pt x="1201" y="2501"/>
                    </a:lnTo>
                    <a:lnTo>
                      <a:pt x="1196" y="2499"/>
                    </a:lnTo>
                    <a:lnTo>
                      <a:pt x="0" y="1401"/>
                    </a:lnTo>
                    <a:lnTo>
                      <a:pt x="0" y="1365"/>
                    </a:lnTo>
                    <a:lnTo>
                      <a:pt x="1198" y="2464"/>
                    </a:lnTo>
                    <a:lnTo>
                      <a:pt x="1737" y="34"/>
                    </a:lnTo>
                    <a:lnTo>
                      <a:pt x="0" y="580"/>
                    </a:lnTo>
                    <a:lnTo>
                      <a:pt x="0" y="552"/>
                    </a:lnTo>
                    <a:lnTo>
                      <a:pt x="1753" y="0"/>
                    </a:lnTo>
                    <a:lnTo>
                      <a:pt x="1756" y="0"/>
                    </a:lnTo>
                    <a:lnTo>
                      <a:pt x="1759" y="0"/>
                    </a:lnTo>
                    <a:lnTo>
                      <a:pt x="1762" y="1"/>
                    </a:lnTo>
                    <a:lnTo>
                      <a:pt x="1765" y="4"/>
                    </a:lnTo>
                    <a:lnTo>
                      <a:pt x="1768" y="6"/>
                    </a:lnTo>
                    <a:lnTo>
                      <a:pt x="1769" y="9"/>
                    </a:lnTo>
                    <a:lnTo>
                      <a:pt x="1770" y="13"/>
                    </a:lnTo>
                    <a:lnTo>
                      <a:pt x="1770" y="16"/>
                    </a:lnTo>
                    <a:lnTo>
                      <a:pt x="1219" y="2492"/>
                    </a:lnTo>
                    <a:lnTo>
                      <a:pt x="1218" y="2495"/>
                    </a:lnTo>
                    <a:lnTo>
                      <a:pt x="1216" y="2498"/>
                    </a:lnTo>
                    <a:lnTo>
                      <a:pt x="1213" y="2500"/>
                    </a:lnTo>
                    <a:lnTo>
                      <a:pt x="1210" y="2501"/>
                    </a:lnTo>
                    <a:lnTo>
                      <a:pt x="1208" y="2503"/>
                    </a:lnTo>
                    <a:lnTo>
                      <a:pt x="1206" y="2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2"/>
              <p:cNvSpPr>
                <a:spLocks/>
              </p:cNvSpPr>
              <p:nvPr userDrawn="1"/>
            </p:nvSpPr>
            <p:spPr bwMode="auto">
              <a:xfrm>
                <a:off x="1059" y="2687"/>
                <a:ext cx="311" cy="310"/>
              </a:xfrm>
              <a:custGeom>
                <a:avLst/>
                <a:gdLst>
                  <a:gd name="T0" fmla="*/ 918 w 931"/>
                  <a:gd name="T1" fmla="*/ 931 h 931"/>
                  <a:gd name="T2" fmla="*/ 912 w 931"/>
                  <a:gd name="T3" fmla="*/ 930 h 931"/>
                  <a:gd name="T4" fmla="*/ 908 w 931"/>
                  <a:gd name="T5" fmla="*/ 926 h 931"/>
                  <a:gd name="T6" fmla="*/ 4 w 931"/>
                  <a:gd name="T7" fmla="*/ 24 h 931"/>
                  <a:gd name="T8" fmla="*/ 1 w 931"/>
                  <a:gd name="T9" fmla="*/ 19 h 931"/>
                  <a:gd name="T10" fmla="*/ 0 w 931"/>
                  <a:gd name="T11" fmla="*/ 14 h 931"/>
                  <a:gd name="T12" fmla="*/ 1 w 931"/>
                  <a:gd name="T13" fmla="*/ 9 h 931"/>
                  <a:gd name="T14" fmla="*/ 4 w 931"/>
                  <a:gd name="T15" fmla="*/ 5 h 931"/>
                  <a:gd name="T16" fmla="*/ 9 w 931"/>
                  <a:gd name="T17" fmla="*/ 1 h 931"/>
                  <a:gd name="T18" fmla="*/ 14 w 931"/>
                  <a:gd name="T19" fmla="*/ 0 h 931"/>
                  <a:gd name="T20" fmla="*/ 18 w 931"/>
                  <a:gd name="T21" fmla="*/ 1 h 931"/>
                  <a:gd name="T22" fmla="*/ 24 w 931"/>
                  <a:gd name="T23" fmla="*/ 5 h 931"/>
                  <a:gd name="T24" fmla="*/ 926 w 931"/>
                  <a:gd name="T25" fmla="*/ 908 h 931"/>
                  <a:gd name="T26" fmla="*/ 930 w 931"/>
                  <a:gd name="T27" fmla="*/ 912 h 931"/>
                  <a:gd name="T28" fmla="*/ 931 w 931"/>
                  <a:gd name="T29" fmla="*/ 918 h 931"/>
                  <a:gd name="T30" fmla="*/ 930 w 931"/>
                  <a:gd name="T31" fmla="*/ 922 h 931"/>
                  <a:gd name="T32" fmla="*/ 926 w 931"/>
                  <a:gd name="T33" fmla="*/ 926 h 931"/>
                  <a:gd name="T34" fmla="*/ 922 w 931"/>
                  <a:gd name="T35" fmla="*/ 930 h 931"/>
                  <a:gd name="T36" fmla="*/ 918 w 931"/>
                  <a:gd name="T37" fmla="*/ 9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1" h="931">
                    <a:moveTo>
                      <a:pt x="918" y="931"/>
                    </a:moveTo>
                    <a:lnTo>
                      <a:pt x="912" y="930"/>
                    </a:lnTo>
                    <a:lnTo>
                      <a:pt x="908" y="926"/>
                    </a:lnTo>
                    <a:lnTo>
                      <a:pt x="4" y="24"/>
                    </a:lnTo>
                    <a:lnTo>
                      <a:pt x="1" y="19"/>
                    </a:lnTo>
                    <a:lnTo>
                      <a:pt x="0" y="14"/>
                    </a:lnTo>
                    <a:lnTo>
                      <a:pt x="1" y="9"/>
                    </a:lnTo>
                    <a:lnTo>
                      <a:pt x="4" y="5"/>
                    </a:lnTo>
                    <a:lnTo>
                      <a:pt x="9" y="1"/>
                    </a:lnTo>
                    <a:lnTo>
                      <a:pt x="14" y="0"/>
                    </a:lnTo>
                    <a:lnTo>
                      <a:pt x="18" y="1"/>
                    </a:lnTo>
                    <a:lnTo>
                      <a:pt x="24" y="5"/>
                    </a:lnTo>
                    <a:lnTo>
                      <a:pt x="926" y="908"/>
                    </a:lnTo>
                    <a:lnTo>
                      <a:pt x="930" y="912"/>
                    </a:lnTo>
                    <a:lnTo>
                      <a:pt x="931" y="918"/>
                    </a:lnTo>
                    <a:lnTo>
                      <a:pt x="930" y="922"/>
                    </a:lnTo>
                    <a:lnTo>
                      <a:pt x="926" y="926"/>
                    </a:lnTo>
                    <a:lnTo>
                      <a:pt x="922" y="930"/>
                    </a:lnTo>
                    <a:lnTo>
                      <a:pt x="918" y="9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3"/>
              <p:cNvSpPr>
                <a:spLocks/>
              </p:cNvSpPr>
              <p:nvPr userDrawn="1"/>
            </p:nvSpPr>
            <p:spPr bwMode="auto">
              <a:xfrm>
                <a:off x="3382" y="2897"/>
                <a:ext cx="504" cy="504"/>
              </a:xfrm>
              <a:custGeom>
                <a:avLst/>
                <a:gdLst>
                  <a:gd name="T0" fmla="*/ 1500 w 1513"/>
                  <a:gd name="T1" fmla="*/ 1512 h 1512"/>
                  <a:gd name="T2" fmla="*/ 1494 w 1513"/>
                  <a:gd name="T3" fmla="*/ 1511 h 1512"/>
                  <a:gd name="T4" fmla="*/ 1490 w 1513"/>
                  <a:gd name="T5" fmla="*/ 1508 h 1512"/>
                  <a:gd name="T6" fmla="*/ 4 w 1513"/>
                  <a:gd name="T7" fmla="*/ 23 h 1512"/>
                  <a:gd name="T8" fmla="*/ 1 w 1513"/>
                  <a:gd name="T9" fmla="*/ 19 h 1512"/>
                  <a:gd name="T10" fmla="*/ 0 w 1513"/>
                  <a:gd name="T11" fmla="*/ 14 h 1512"/>
                  <a:gd name="T12" fmla="*/ 1 w 1513"/>
                  <a:gd name="T13" fmla="*/ 8 h 1512"/>
                  <a:gd name="T14" fmla="*/ 4 w 1513"/>
                  <a:gd name="T15" fmla="*/ 4 h 1512"/>
                  <a:gd name="T16" fmla="*/ 9 w 1513"/>
                  <a:gd name="T17" fmla="*/ 1 h 1512"/>
                  <a:gd name="T18" fmla="*/ 14 w 1513"/>
                  <a:gd name="T19" fmla="*/ 0 h 1512"/>
                  <a:gd name="T20" fmla="*/ 18 w 1513"/>
                  <a:gd name="T21" fmla="*/ 1 h 1512"/>
                  <a:gd name="T22" fmla="*/ 24 w 1513"/>
                  <a:gd name="T23" fmla="*/ 4 h 1512"/>
                  <a:gd name="T24" fmla="*/ 1508 w 1513"/>
                  <a:gd name="T25" fmla="*/ 1489 h 1512"/>
                  <a:gd name="T26" fmla="*/ 1512 w 1513"/>
                  <a:gd name="T27" fmla="*/ 1494 h 1512"/>
                  <a:gd name="T28" fmla="*/ 1513 w 1513"/>
                  <a:gd name="T29" fmla="*/ 1499 h 1512"/>
                  <a:gd name="T30" fmla="*/ 1512 w 1513"/>
                  <a:gd name="T31" fmla="*/ 1503 h 1512"/>
                  <a:gd name="T32" fmla="*/ 1508 w 1513"/>
                  <a:gd name="T33" fmla="*/ 1508 h 1512"/>
                  <a:gd name="T34" fmla="*/ 1504 w 1513"/>
                  <a:gd name="T35" fmla="*/ 1511 h 1512"/>
                  <a:gd name="T36" fmla="*/ 1500 w 1513"/>
                  <a:gd name="T37" fmla="*/ 1512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3" h="1512">
                    <a:moveTo>
                      <a:pt x="1500" y="1512"/>
                    </a:moveTo>
                    <a:lnTo>
                      <a:pt x="1494" y="1511"/>
                    </a:lnTo>
                    <a:lnTo>
                      <a:pt x="1490" y="1508"/>
                    </a:lnTo>
                    <a:lnTo>
                      <a:pt x="4" y="23"/>
                    </a:lnTo>
                    <a:lnTo>
                      <a:pt x="1" y="19"/>
                    </a:lnTo>
                    <a:lnTo>
                      <a:pt x="0" y="14"/>
                    </a:lnTo>
                    <a:lnTo>
                      <a:pt x="1" y="8"/>
                    </a:lnTo>
                    <a:lnTo>
                      <a:pt x="4" y="4"/>
                    </a:lnTo>
                    <a:lnTo>
                      <a:pt x="9" y="1"/>
                    </a:lnTo>
                    <a:lnTo>
                      <a:pt x="14" y="0"/>
                    </a:lnTo>
                    <a:lnTo>
                      <a:pt x="18" y="1"/>
                    </a:lnTo>
                    <a:lnTo>
                      <a:pt x="24" y="4"/>
                    </a:lnTo>
                    <a:lnTo>
                      <a:pt x="1508" y="1489"/>
                    </a:lnTo>
                    <a:lnTo>
                      <a:pt x="1512" y="1494"/>
                    </a:lnTo>
                    <a:lnTo>
                      <a:pt x="1513" y="1499"/>
                    </a:lnTo>
                    <a:lnTo>
                      <a:pt x="1512" y="1503"/>
                    </a:lnTo>
                    <a:lnTo>
                      <a:pt x="1508" y="1508"/>
                    </a:lnTo>
                    <a:lnTo>
                      <a:pt x="1504" y="1511"/>
                    </a:lnTo>
                    <a:lnTo>
                      <a:pt x="1500" y="1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4"/>
              <p:cNvSpPr>
                <a:spLocks/>
              </p:cNvSpPr>
              <p:nvPr userDrawn="1"/>
            </p:nvSpPr>
            <p:spPr bwMode="auto">
              <a:xfrm>
                <a:off x="4667" y="1876"/>
                <a:ext cx="353" cy="353"/>
              </a:xfrm>
              <a:custGeom>
                <a:avLst/>
                <a:gdLst>
                  <a:gd name="T0" fmla="*/ 1048 w 1058"/>
                  <a:gd name="T1" fmla="*/ 1058 h 1058"/>
                  <a:gd name="T2" fmla="*/ 1045 w 1058"/>
                  <a:gd name="T3" fmla="*/ 1057 h 1058"/>
                  <a:gd name="T4" fmla="*/ 1042 w 1058"/>
                  <a:gd name="T5" fmla="*/ 1055 h 1058"/>
                  <a:gd name="T6" fmla="*/ 3 w 1058"/>
                  <a:gd name="T7" fmla="*/ 16 h 1058"/>
                  <a:gd name="T8" fmla="*/ 1 w 1058"/>
                  <a:gd name="T9" fmla="*/ 13 h 1058"/>
                  <a:gd name="T10" fmla="*/ 0 w 1058"/>
                  <a:gd name="T11" fmla="*/ 10 h 1058"/>
                  <a:gd name="T12" fmla="*/ 1 w 1058"/>
                  <a:gd name="T13" fmla="*/ 7 h 1058"/>
                  <a:gd name="T14" fmla="*/ 3 w 1058"/>
                  <a:gd name="T15" fmla="*/ 4 h 1058"/>
                  <a:gd name="T16" fmla="*/ 6 w 1058"/>
                  <a:gd name="T17" fmla="*/ 1 h 1058"/>
                  <a:gd name="T18" fmla="*/ 10 w 1058"/>
                  <a:gd name="T19" fmla="*/ 0 h 1058"/>
                  <a:gd name="T20" fmla="*/ 13 w 1058"/>
                  <a:gd name="T21" fmla="*/ 1 h 1058"/>
                  <a:gd name="T22" fmla="*/ 16 w 1058"/>
                  <a:gd name="T23" fmla="*/ 4 h 1058"/>
                  <a:gd name="T24" fmla="*/ 1055 w 1058"/>
                  <a:gd name="T25" fmla="*/ 1042 h 1058"/>
                  <a:gd name="T26" fmla="*/ 1057 w 1058"/>
                  <a:gd name="T27" fmla="*/ 1045 h 1058"/>
                  <a:gd name="T28" fmla="*/ 1058 w 1058"/>
                  <a:gd name="T29" fmla="*/ 1048 h 1058"/>
                  <a:gd name="T30" fmla="*/ 1057 w 1058"/>
                  <a:gd name="T31" fmla="*/ 1053 h 1058"/>
                  <a:gd name="T32" fmla="*/ 1055 w 1058"/>
                  <a:gd name="T33" fmla="*/ 1055 h 1058"/>
                  <a:gd name="T34" fmla="*/ 1053 w 1058"/>
                  <a:gd name="T35" fmla="*/ 1057 h 1058"/>
                  <a:gd name="T36" fmla="*/ 1048 w 1058"/>
                  <a:gd name="T37" fmla="*/ 1058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58" h="1058">
                    <a:moveTo>
                      <a:pt x="1048" y="1058"/>
                    </a:moveTo>
                    <a:lnTo>
                      <a:pt x="1045" y="1057"/>
                    </a:lnTo>
                    <a:lnTo>
                      <a:pt x="1042" y="1055"/>
                    </a:lnTo>
                    <a:lnTo>
                      <a:pt x="3" y="16"/>
                    </a:lnTo>
                    <a:lnTo>
                      <a:pt x="1" y="13"/>
                    </a:lnTo>
                    <a:lnTo>
                      <a:pt x="0" y="10"/>
                    </a:lnTo>
                    <a:lnTo>
                      <a:pt x="1" y="7"/>
                    </a:lnTo>
                    <a:lnTo>
                      <a:pt x="3" y="4"/>
                    </a:lnTo>
                    <a:lnTo>
                      <a:pt x="6" y="1"/>
                    </a:lnTo>
                    <a:lnTo>
                      <a:pt x="10" y="0"/>
                    </a:lnTo>
                    <a:lnTo>
                      <a:pt x="13" y="1"/>
                    </a:lnTo>
                    <a:lnTo>
                      <a:pt x="16" y="4"/>
                    </a:lnTo>
                    <a:lnTo>
                      <a:pt x="1055" y="1042"/>
                    </a:lnTo>
                    <a:lnTo>
                      <a:pt x="1057" y="1045"/>
                    </a:lnTo>
                    <a:lnTo>
                      <a:pt x="1058" y="1048"/>
                    </a:lnTo>
                    <a:lnTo>
                      <a:pt x="1057" y="1053"/>
                    </a:lnTo>
                    <a:lnTo>
                      <a:pt x="1055" y="1055"/>
                    </a:lnTo>
                    <a:lnTo>
                      <a:pt x="1053" y="1057"/>
                    </a:lnTo>
                    <a:lnTo>
                      <a:pt x="1048" y="10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5"/>
              <p:cNvSpPr>
                <a:spLocks/>
              </p:cNvSpPr>
              <p:nvPr userDrawn="1"/>
            </p:nvSpPr>
            <p:spPr bwMode="auto">
              <a:xfrm>
                <a:off x="4095" y="3653"/>
                <a:ext cx="479" cy="479"/>
              </a:xfrm>
              <a:custGeom>
                <a:avLst/>
                <a:gdLst>
                  <a:gd name="T0" fmla="*/ 1423 w 1436"/>
                  <a:gd name="T1" fmla="*/ 1435 h 1435"/>
                  <a:gd name="T2" fmla="*/ 1418 w 1436"/>
                  <a:gd name="T3" fmla="*/ 1434 h 1435"/>
                  <a:gd name="T4" fmla="*/ 1414 w 1436"/>
                  <a:gd name="T5" fmla="*/ 1431 h 1435"/>
                  <a:gd name="T6" fmla="*/ 4 w 1436"/>
                  <a:gd name="T7" fmla="*/ 23 h 1435"/>
                  <a:gd name="T8" fmla="*/ 1 w 1436"/>
                  <a:gd name="T9" fmla="*/ 18 h 1435"/>
                  <a:gd name="T10" fmla="*/ 0 w 1436"/>
                  <a:gd name="T11" fmla="*/ 14 h 1435"/>
                  <a:gd name="T12" fmla="*/ 1 w 1436"/>
                  <a:gd name="T13" fmla="*/ 8 h 1435"/>
                  <a:gd name="T14" fmla="*/ 4 w 1436"/>
                  <a:gd name="T15" fmla="*/ 4 h 1435"/>
                  <a:gd name="T16" fmla="*/ 9 w 1436"/>
                  <a:gd name="T17" fmla="*/ 1 h 1435"/>
                  <a:gd name="T18" fmla="*/ 14 w 1436"/>
                  <a:gd name="T19" fmla="*/ 0 h 1435"/>
                  <a:gd name="T20" fmla="*/ 20 w 1436"/>
                  <a:gd name="T21" fmla="*/ 1 h 1435"/>
                  <a:gd name="T22" fmla="*/ 24 w 1436"/>
                  <a:gd name="T23" fmla="*/ 4 h 1435"/>
                  <a:gd name="T24" fmla="*/ 1432 w 1436"/>
                  <a:gd name="T25" fmla="*/ 1413 h 1435"/>
                  <a:gd name="T26" fmla="*/ 1435 w 1436"/>
                  <a:gd name="T27" fmla="*/ 1417 h 1435"/>
                  <a:gd name="T28" fmla="*/ 1436 w 1436"/>
                  <a:gd name="T29" fmla="*/ 1422 h 1435"/>
                  <a:gd name="T30" fmla="*/ 1435 w 1436"/>
                  <a:gd name="T31" fmla="*/ 1427 h 1435"/>
                  <a:gd name="T32" fmla="*/ 1432 w 1436"/>
                  <a:gd name="T33" fmla="*/ 1431 h 1435"/>
                  <a:gd name="T34" fmla="*/ 1428 w 1436"/>
                  <a:gd name="T35" fmla="*/ 1434 h 1435"/>
                  <a:gd name="T36" fmla="*/ 1423 w 1436"/>
                  <a:gd name="T37" fmla="*/ 1435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6" h="1435">
                    <a:moveTo>
                      <a:pt x="1423" y="1435"/>
                    </a:moveTo>
                    <a:lnTo>
                      <a:pt x="1418" y="1434"/>
                    </a:lnTo>
                    <a:lnTo>
                      <a:pt x="1414" y="1431"/>
                    </a:lnTo>
                    <a:lnTo>
                      <a:pt x="4" y="23"/>
                    </a:lnTo>
                    <a:lnTo>
                      <a:pt x="1" y="18"/>
                    </a:lnTo>
                    <a:lnTo>
                      <a:pt x="0" y="14"/>
                    </a:lnTo>
                    <a:lnTo>
                      <a:pt x="1" y="8"/>
                    </a:lnTo>
                    <a:lnTo>
                      <a:pt x="4" y="4"/>
                    </a:lnTo>
                    <a:lnTo>
                      <a:pt x="9" y="1"/>
                    </a:lnTo>
                    <a:lnTo>
                      <a:pt x="14" y="0"/>
                    </a:lnTo>
                    <a:lnTo>
                      <a:pt x="20" y="1"/>
                    </a:lnTo>
                    <a:lnTo>
                      <a:pt x="24" y="4"/>
                    </a:lnTo>
                    <a:lnTo>
                      <a:pt x="1432" y="1413"/>
                    </a:lnTo>
                    <a:lnTo>
                      <a:pt x="1435" y="1417"/>
                    </a:lnTo>
                    <a:lnTo>
                      <a:pt x="1436" y="1422"/>
                    </a:lnTo>
                    <a:lnTo>
                      <a:pt x="1435" y="1427"/>
                    </a:lnTo>
                    <a:lnTo>
                      <a:pt x="1432" y="1431"/>
                    </a:lnTo>
                    <a:lnTo>
                      <a:pt x="1428" y="1434"/>
                    </a:lnTo>
                    <a:lnTo>
                      <a:pt x="1423" y="14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6"/>
              <p:cNvSpPr>
                <a:spLocks/>
              </p:cNvSpPr>
              <p:nvPr userDrawn="1"/>
            </p:nvSpPr>
            <p:spPr bwMode="auto">
              <a:xfrm>
                <a:off x="970" y="2617"/>
                <a:ext cx="345" cy="344"/>
              </a:xfrm>
              <a:custGeom>
                <a:avLst/>
                <a:gdLst>
                  <a:gd name="T0" fmla="*/ 1022 w 1035"/>
                  <a:gd name="T1" fmla="*/ 1034 h 1034"/>
                  <a:gd name="T2" fmla="*/ 1016 w 1035"/>
                  <a:gd name="T3" fmla="*/ 1033 h 1034"/>
                  <a:gd name="T4" fmla="*/ 1012 w 1035"/>
                  <a:gd name="T5" fmla="*/ 1031 h 1034"/>
                  <a:gd name="T6" fmla="*/ 4 w 1035"/>
                  <a:gd name="T7" fmla="*/ 23 h 1034"/>
                  <a:gd name="T8" fmla="*/ 1 w 1035"/>
                  <a:gd name="T9" fmla="*/ 18 h 1034"/>
                  <a:gd name="T10" fmla="*/ 0 w 1035"/>
                  <a:gd name="T11" fmla="*/ 14 h 1034"/>
                  <a:gd name="T12" fmla="*/ 1 w 1035"/>
                  <a:gd name="T13" fmla="*/ 8 h 1034"/>
                  <a:gd name="T14" fmla="*/ 4 w 1035"/>
                  <a:gd name="T15" fmla="*/ 4 h 1034"/>
                  <a:gd name="T16" fmla="*/ 9 w 1035"/>
                  <a:gd name="T17" fmla="*/ 1 h 1034"/>
                  <a:gd name="T18" fmla="*/ 14 w 1035"/>
                  <a:gd name="T19" fmla="*/ 0 h 1034"/>
                  <a:gd name="T20" fmla="*/ 20 w 1035"/>
                  <a:gd name="T21" fmla="*/ 1 h 1034"/>
                  <a:gd name="T22" fmla="*/ 24 w 1035"/>
                  <a:gd name="T23" fmla="*/ 4 h 1034"/>
                  <a:gd name="T24" fmla="*/ 1031 w 1035"/>
                  <a:gd name="T25" fmla="*/ 1011 h 1034"/>
                  <a:gd name="T26" fmla="*/ 1033 w 1035"/>
                  <a:gd name="T27" fmla="*/ 1016 h 1034"/>
                  <a:gd name="T28" fmla="*/ 1035 w 1035"/>
                  <a:gd name="T29" fmla="*/ 1021 h 1034"/>
                  <a:gd name="T30" fmla="*/ 1033 w 1035"/>
                  <a:gd name="T31" fmla="*/ 1026 h 1034"/>
                  <a:gd name="T32" fmla="*/ 1031 w 1035"/>
                  <a:gd name="T33" fmla="*/ 1031 h 1034"/>
                  <a:gd name="T34" fmla="*/ 1027 w 1035"/>
                  <a:gd name="T35" fmla="*/ 1033 h 1034"/>
                  <a:gd name="T36" fmla="*/ 1022 w 1035"/>
                  <a:gd name="T37" fmla="*/ 1034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5" h="1034">
                    <a:moveTo>
                      <a:pt x="1022" y="1034"/>
                    </a:moveTo>
                    <a:lnTo>
                      <a:pt x="1016" y="1033"/>
                    </a:lnTo>
                    <a:lnTo>
                      <a:pt x="1012" y="1031"/>
                    </a:lnTo>
                    <a:lnTo>
                      <a:pt x="4" y="23"/>
                    </a:lnTo>
                    <a:lnTo>
                      <a:pt x="1" y="18"/>
                    </a:lnTo>
                    <a:lnTo>
                      <a:pt x="0" y="14"/>
                    </a:lnTo>
                    <a:lnTo>
                      <a:pt x="1" y="8"/>
                    </a:lnTo>
                    <a:lnTo>
                      <a:pt x="4" y="4"/>
                    </a:lnTo>
                    <a:lnTo>
                      <a:pt x="9" y="1"/>
                    </a:lnTo>
                    <a:lnTo>
                      <a:pt x="14" y="0"/>
                    </a:lnTo>
                    <a:lnTo>
                      <a:pt x="20" y="1"/>
                    </a:lnTo>
                    <a:lnTo>
                      <a:pt x="24" y="4"/>
                    </a:lnTo>
                    <a:lnTo>
                      <a:pt x="1031" y="1011"/>
                    </a:lnTo>
                    <a:lnTo>
                      <a:pt x="1033" y="1016"/>
                    </a:lnTo>
                    <a:lnTo>
                      <a:pt x="1035" y="1021"/>
                    </a:lnTo>
                    <a:lnTo>
                      <a:pt x="1033" y="1026"/>
                    </a:lnTo>
                    <a:lnTo>
                      <a:pt x="1031" y="1031"/>
                    </a:lnTo>
                    <a:lnTo>
                      <a:pt x="1027" y="1033"/>
                    </a:lnTo>
                    <a:lnTo>
                      <a:pt x="1022" y="10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7"/>
              <p:cNvSpPr>
                <a:spLocks/>
              </p:cNvSpPr>
              <p:nvPr userDrawn="1"/>
            </p:nvSpPr>
            <p:spPr bwMode="auto">
              <a:xfrm>
                <a:off x="0" y="3056"/>
                <a:ext cx="566" cy="834"/>
              </a:xfrm>
              <a:custGeom>
                <a:avLst/>
                <a:gdLst>
                  <a:gd name="T0" fmla="*/ 1134 w 1697"/>
                  <a:gd name="T1" fmla="*/ 2502 h 2502"/>
                  <a:gd name="T2" fmla="*/ 1128 w 1697"/>
                  <a:gd name="T3" fmla="*/ 2501 h 2502"/>
                  <a:gd name="T4" fmla="*/ 1125 w 1697"/>
                  <a:gd name="T5" fmla="*/ 2499 h 2502"/>
                  <a:gd name="T6" fmla="*/ 0 w 1697"/>
                  <a:gd name="T7" fmla="*/ 1467 h 2502"/>
                  <a:gd name="T8" fmla="*/ 0 w 1697"/>
                  <a:gd name="T9" fmla="*/ 1430 h 2502"/>
                  <a:gd name="T10" fmla="*/ 1125 w 1697"/>
                  <a:gd name="T11" fmla="*/ 2463 h 2502"/>
                  <a:gd name="T12" fmla="*/ 1666 w 1697"/>
                  <a:gd name="T13" fmla="*/ 33 h 2502"/>
                  <a:gd name="T14" fmla="*/ 0 w 1697"/>
                  <a:gd name="T15" fmla="*/ 557 h 2502"/>
                  <a:gd name="T16" fmla="*/ 0 w 1697"/>
                  <a:gd name="T17" fmla="*/ 529 h 2502"/>
                  <a:gd name="T18" fmla="*/ 1680 w 1697"/>
                  <a:gd name="T19" fmla="*/ 0 h 2502"/>
                  <a:gd name="T20" fmla="*/ 1683 w 1697"/>
                  <a:gd name="T21" fmla="*/ 0 h 2502"/>
                  <a:gd name="T22" fmla="*/ 1687 w 1697"/>
                  <a:gd name="T23" fmla="*/ 0 h 2502"/>
                  <a:gd name="T24" fmla="*/ 1690 w 1697"/>
                  <a:gd name="T25" fmla="*/ 1 h 2502"/>
                  <a:gd name="T26" fmla="*/ 1693 w 1697"/>
                  <a:gd name="T27" fmla="*/ 3 h 2502"/>
                  <a:gd name="T28" fmla="*/ 1695 w 1697"/>
                  <a:gd name="T29" fmla="*/ 6 h 2502"/>
                  <a:gd name="T30" fmla="*/ 1697 w 1697"/>
                  <a:gd name="T31" fmla="*/ 10 h 2502"/>
                  <a:gd name="T32" fmla="*/ 1697 w 1697"/>
                  <a:gd name="T33" fmla="*/ 13 h 2502"/>
                  <a:gd name="T34" fmla="*/ 1697 w 1697"/>
                  <a:gd name="T35" fmla="*/ 16 h 2502"/>
                  <a:gd name="T36" fmla="*/ 1147 w 1697"/>
                  <a:gd name="T37" fmla="*/ 2491 h 2502"/>
                  <a:gd name="T38" fmla="*/ 1146 w 1697"/>
                  <a:gd name="T39" fmla="*/ 2495 h 2502"/>
                  <a:gd name="T40" fmla="*/ 1144 w 1697"/>
                  <a:gd name="T41" fmla="*/ 2498 h 2502"/>
                  <a:gd name="T42" fmla="*/ 1141 w 1697"/>
                  <a:gd name="T43" fmla="*/ 2500 h 2502"/>
                  <a:gd name="T44" fmla="*/ 1138 w 1697"/>
                  <a:gd name="T45" fmla="*/ 2501 h 2502"/>
                  <a:gd name="T46" fmla="*/ 1136 w 1697"/>
                  <a:gd name="T47" fmla="*/ 2502 h 2502"/>
                  <a:gd name="T48" fmla="*/ 1134 w 1697"/>
                  <a:gd name="T49" fmla="*/ 2502 h 2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7" h="2502">
                    <a:moveTo>
                      <a:pt x="1134" y="2502"/>
                    </a:moveTo>
                    <a:lnTo>
                      <a:pt x="1128" y="2501"/>
                    </a:lnTo>
                    <a:lnTo>
                      <a:pt x="1125" y="2499"/>
                    </a:lnTo>
                    <a:lnTo>
                      <a:pt x="0" y="1467"/>
                    </a:lnTo>
                    <a:lnTo>
                      <a:pt x="0" y="1430"/>
                    </a:lnTo>
                    <a:lnTo>
                      <a:pt x="1125" y="2463"/>
                    </a:lnTo>
                    <a:lnTo>
                      <a:pt x="1666" y="33"/>
                    </a:lnTo>
                    <a:lnTo>
                      <a:pt x="0" y="557"/>
                    </a:lnTo>
                    <a:lnTo>
                      <a:pt x="0" y="529"/>
                    </a:lnTo>
                    <a:lnTo>
                      <a:pt x="1680" y="0"/>
                    </a:lnTo>
                    <a:lnTo>
                      <a:pt x="1683" y="0"/>
                    </a:lnTo>
                    <a:lnTo>
                      <a:pt x="1687" y="0"/>
                    </a:lnTo>
                    <a:lnTo>
                      <a:pt x="1690" y="1"/>
                    </a:lnTo>
                    <a:lnTo>
                      <a:pt x="1693" y="3"/>
                    </a:lnTo>
                    <a:lnTo>
                      <a:pt x="1695" y="6"/>
                    </a:lnTo>
                    <a:lnTo>
                      <a:pt x="1697" y="10"/>
                    </a:lnTo>
                    <a:lnTo>
                      <a:pt x="1697" y="13"/>
                    </a:lnTo>
                    <a:lnTo>
                      <a:pt x="1697" y="16"/>
                    </a:lnTo>
                    <a:lnTo>
                      <a:pt x="1147" y="2491"/>
                    </a:lnTo>
                    <a:lnTo>
                      <a:pt x="1146" y="2495"/>
                    </a:lnTo>
                    <a:lnTo>
                      <a:pt x="1144" y="2498"/>
                    </a:lnTo>
                    <a:lnTo>
                      <a:pt x="1141" y="2500"/>
                    </a:lnTo>
                    <a:lnTo>
                      <a:pt x="1138" y="2501"/>
                    </a:lnTo>
                    <a:lnTo>
                      <a:pt x="1136" y="2502"/>
                    </a:lnTo>
                    <a:lnTo>
                      <a:pt x="1134" y="2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8"/>
              <p:cNvSpPr>
                <a:spLocks/>
              </p:cNvSpPr>
              <p:nvPr userDrawn="1"/>
            </p:nvSpPr>
            <p:spPr bwMode="auto">
              <a:xfrm>
                <a:off x="362" y="3427"/>
                <a:ext cx="340" cy="340"/>
              </a:xfrm>
              <a:custGeom>
                <a:avLst/>
                <a:gdLst>
                  <a:gd name="T0" fmla="*/ 1009 w 1022"/>
                  <a:gd name="T1" fmla="*/ 1020 h 1020"/>
                  <a:gd name="T2" fmla="*/ 1003 w 1022"/>
                  <a:gd name="T3" fmla="*/ 1019 h 1020"/>
                  <a:gd name="T4" fmla="*/ 999 w 1022"/>
                  <a:gd name="T5" fmla="*/ 1017 h 1020"/>
                  <a:gd name="T6" fmla="*/ 5 w 1022"/>
                  <a:gd name="T7" fmla="*/ 22 h 1020"/>
                  <a:gd name="T8" fmla="*/ 1 w 1022"/>
                  <a:gd name="T9" fmla="*/ 18 h 1020"/>
                  <a:gd name="T10" fmla="*/ 0 w 1022"/>
                  <a:gd name="T11" fmla="*/ 13 h 1020"/>
                  <a:gd name="T12" fmla="*/ 1 w 1022"/>
                  <a:gd name="T13" fmla="*/ 7 h 1020"/>
                  <a:gd name="T14" fmla="*/ 5 w 1022"/>
                  <a:gd name="T15" fmla="*/ 3 h 1020"/>
                  <a:gd name="T16" fmla="*/ 9 w 1022"/>
                  <a:gd name="T17" fmla="*/ 0 h 1020"/>
                  <a:gd name="T18" fmla="*/ 14 w 1022"/>
                  <a:gd name="T19" fmla="*/ 0 h 1020"/>
                  <a:gd name="T20" fmla="*/ 20 w 1022"/>
                  <a:gd name="T21" fmla="*/ 0 h 1020"/>
                  <a:gd name="T22" fmla="*/ 24 w 1022"/>
                  <a:gd name="T23" fmla="*/ 3 h 1020"/>
                  <a:gd name="T24" fmla="*/ 1017 w 1022"/>
                  <a:gd name="T25" fmla="*/ 997 h 1020"/>
                  <a:gd name="T26" fmla="*/ 1021 w 1022"/>
                  <a:gd name="T27" fmla="*/ 1002 h 1020"/>
                  <a:gd name="T28" fmla="*/ 1022 w 1022"/>
                  <a:gd name="T29" fmla="*/ 1007 h 1020"/>
                  <a:gd name="T30" fmla="*/ 1021 w 1022"/>
                  <a:gd name="T31" fmla="*/ 1011 h 1020"/>
                  <a:gd name="T32" fmla="*/ 1017 w 1022"/>
                  <a:gd name="T33" fmla="*/ 1017 h 1020"/>
                  <a:gd name="T34" fmla="*/ 1013 w 1022"/>
                  <a:gd name="T35" fmla="*/ 1019 h 1020"/>
                  <a:gd name="T36" fmla="*/ 1009 w 1022"/>
                  <a:gd name="T37"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2" h="1020">
                    <a:moveTo>
                      <a:pt x="1009" y="1020"/>
                    </a:moveTo>
                    <a:lnTo>
                      <a:pt x="1003" y="1019"/>
                    </a:lnTo>
                    <a:lnTo>
                      <a:pt x="999" y="1017"/>
                    </a:lnTo>
                    <a:lnTo>
                      <a:pt x="5" y="22"/>
                    </a:lnTo>
                    <a:lnTo>
                      <a:pt x="1" y="18"/>
                    </a:lnTo>
                    <a:lnTo>
                      <a:pt x="0" y="13"/>
                    </a:lnTo>
                    <a:lnTo>
                      <a:pt x="1" y="7"/>
                    </a:lnTo>
                    <a:lnTo>
                      <a:pt x="5" y="3"/>
                    </a:lnTo>
                    <a:lnTo>
                      <a:pt x="9" y="0"/>
                    </a:lnTo>
                    <a:lnTo>
                      <a:pt x="14" y="0"/>
                    </a:lnTo>
                    <a:lnTo>
                      <a:pt x="20" y="0"/>
                    </a:lnTo>
                    <a:lnTo>
                      <a:pt x="24" y="3"/>
                    </a:lnTo>
                    <a:lnTo>
                      <a:pt x="1017" y="997"/>
                    </a:lnTo>
                    <a:lnTo>
                      <a:pt x="1021" y="1002"/>
                    </a:lnTo>
                    <a:lnTo>
                      <a:pt x="1022" y="1007"/>
                    </a:lnTo>
                    <a:lnTo>
                      <a:pt x="1021" y="1011"/>
                    </a:lnTo>
                    <a:lnTo>
                      <a:pt x="1017" y="1017"/>
                    </a:lnTo>
                    <a:lnTo>
                      <a:pt x="1013" y="1019"/>
                    </a:lnTo>
                    <a:lnTo>
                      <a:pt x="100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9"/>
              <p:cNvSpPr>
                <a:spLocks/>
              </p:cNvSpPr>
              <p:nvPr userDrawn="1"/>
            </p:nvSpPr>
            <p:spPr bwMode="auto">
              <a:xfrm>
                <a:off x="0" y="3049"/>
                <a:ext cx="548" cy="835"/>
              </a:xfrm>
              <a:custGeom>
                <a:avLst/>
                <a:gdLst>
                  <a:gd name="T0" fmla="*/ 1081 w 1645"/>
                  <a:gd name="T1" fmla="*/ 2503 h 2503"/>
                  <a:gd name="T2" fmla="*/ 1075 w 1645"/>
                  <a:gd name="T3" fmla="*/ 2502 h 2503"/>
                  <a:gd name="T4" fmla="*/ 1071 w 1645"/>
                  <a:gd name="T5" fmla="*/ 2499 h 2503"/>
                  <a:gd name="T6" fmla="*/ 0 w 1645"/>
                  <a:gd name="T7" fmla="*/ 1517 h 2503"/>
                  <a:gd name="T8" fmla="*/ 0 w 1645"/>
                  <a:gd name="T9" fmla="*/ 1480 h 2503"/>
                  <a:gd name="T10" fmla="*/ 1072 w 1645"/>
                  <a:gd name="T11" fmla="*/ 2464 h 2503"/>
                  <a:gd name="T12" fmla="*/ 1613 w 1645"/>
                  <a:gd name="T13" fmla="*/ 34 h 2503"/>
                  <a:gd name="T14" fmla="*/ 0 w 1645"/>
                  <a:gd name="T15" fmla="*/ 541 h 2503"/>
                  <a:gd name="T16" fmla="*/ 0 w 1645"/>
                  <a:gd name="T17" fmla="*/ 513 h 2503"/>
                  <a:gd name="T18" fmla="*/ 1627 w 1645"/>
                  <a:gd name="T19" fmla="*/ 1 h 2503"/>
                  <a:gd name="T20" fmla="*/ 1631 w 1645"/>
                  <a:gd name="T21" fmla="*/ 0 h 2503"/>
                  <a:gd name="T22" fmla="*/ 1634 w 1645"/>
                  <a:gd name="T23" fmla="*/ 0 h 2503"/>
                  <a:gd name="T24" fmla="*/ 1637 w 1645"/>
                  <a:gd name="T25" fmla="*/ 3 h 2503"/>
                  <a:gd name="T26" fmla="*/ 1640 w 1645"/>
                  <a:gd name="T27" fmla="*/ 4 h 2503"/>
                  <a:gd name="T28" fmla="*/ 1642 w 1645"/>
                  <a:gd name="T29" fmla="*/ 7 h 2503"/>
                  <a:gd name="T30" fmla="*/ 1643 w 1645"/>
                  <a:gd name="T31" fmla="*/ 10 h 2503"/>
                  <a:gd name="T32" fmla="*/ 1645 w 1645"/>
                  <a:gd name="T33" fmla="*/ 13 h 2503"/>
                  <a:gd name="T34" fmla="*/ 1645 w 1645"/>
                  <a:gd name="T35" fmla="*/ 17 h 2503"/>
                  <a:gd name="T36" fmla="*/ 1094 w 1645"/>
                  <a:gd name="T37" fmla="*/ 2493 h 2503"/>
                  <a:gd name="T38" fmla="*/ 1093 w 1645"/>
                  <a:gd name="T39" fmla="*/ 2496 h 2503"/>
                  <a:gd name="T40" fmla="*/ 1091 w 1645"/>
                  <a:gd name="T41" fmla="*/ 2498 h 2503"/>
                  <a:gd name="T42" fmla="*/ 1088 w 1645"/>
                  <a:gd name="T43" fmla="*/ 2500 h 2503"/>
                  <a:gd name="T44" fmla="*/ 1085 w 1645"/>
                  <a:gd name="T45" fmla="*/ 2503 h 2503"/>
                  <a:gd name="T46" fmla="*/ 1083 w 1645"/>
                  <a:gd name="T47" fmla="*/ 2503 h 2503"/>
                  <a:gd name="T48" fmla="*/ 1081 w 1645"/>
                  <a:gd name="T49" fmla="*/ 2503 h 2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5" h="2503">
                    <a:moveTo>
                      <a:pt x="1081" y="2503"/>
                    </a:moveTo>
                    <a:lnTo>
                      <a:pt x="1075" y="2502"/>
                    </a:lnTo>
                    <a:lnTo>
                      <a:pt x="1071" y="2499"/>
                    </a:lnTo>
                    <a:lnTo>
                      <a:pt x="0" y="1517"/>
                    </a:lnTo>
                    <a:lnTo>
                      <a:pt x="0" y="1480"/>
                    </a:lnTo>
                    <a:lnTo>
                      <a:pt x="1072" y="2464"/>
                    </a:lnTo>
                    <a:lnTo>
                      <a:pt x="1613" y="34"/>
                    </a:lnTo>
                    <a:lnTo>
                      <a:pt x="0" y="541"/>
                    </a:lnTo>
                    <a:lnTo>
                      <a:pt x="0" y="513"/>
                    </a:lnTo>
                    <a:lnTo>
                      <a:pt x="1627" y="1"/>
                    </a:lnTo>
                    <a:lnTo>
                      <a:pt x="1631" y="0"/>
                    </a:lnTo>
                    <a:lnTo>
                      <a:pt x="1634" y="0"/>
                    </a:lnTo>
                    <a:lnTo>
                      <a:pt x="1637" y="3"/>
                    </a:lnTo>
                    <a:lnTo>
                      <a:pt x="1640" y="4"/>
                    </a:lnTo>
                    <a:lnTo>
                      <a:pt x="1642" y="7"/>
                    </a:lnTo>
                    <a:lnTo>
                      <a:pt x="1643" y="10"/>
                    </a:lnTo>
                    <a:lnTo>
                      <a:pt x="1645" y="13"/>
                    </a:lnTo>
                    <a:lnTo>
                      <a:pt x="1645" y="17"/>
                    </a:lnTo>
                    <a:lnTo>
                      <a:pt x="1094" y="2493"/>
                    </a:lnTo>
                    <a:lnTo>
                      <a:pt x="1093" y="2496"/>
                    </a:lnTo>
                    <a:lnTo>
                      <a:pt x="1091" y="2498"/>
                    </a:lnTo>
                    <a:lnTo>
                      <a:pt x="1088" y="2500"/>
                    </a:lnTo>
                    <a:lnTo>
                      <a:pt x="1085" y="2503"/>
                    </a:lnTo>
                    <a:lnTo>
                      <a:pt x="1083" y="2503"/>
                    </a:lnTo>
                    <a:lnTo>
                      <a:pt x="1081" y="25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0"/>
              <p:cNvSpPr>
                <a:spLocks/>
              </p:cNvSpPr>
              <p:nvPr userDrawn="1"/>
            </p:nvSpPr>
            <p:spPr bwMode="auto">
              <a:xfrm>
                <a:off x="343" y="3427"/>
                <a:ext cx="341" cy="340"/>
              </a:xfrm>
              <a:custGeom>
                <a:avLst/>
                <a:gdLst>
                  <a:gd name="T0" fmla="*/ 1008 w 1022"/>
                  <a:gd name="T1" fmla="*/ 1020 h 1020"/>
                  <a:gd name="T2" fmla="*/ 1002 w 1022"/>
                  <a:gd name="T3" fmla="*/ 1019 h 1020"/>
                  <a:gd name="T4" fmla="*/ 998 w 1022"/>
                  <a:gd name="T5" fmla="*/ 1017 h 1020"/>
                  <a:gd name="T6" fmla="*/ 4 w 1022"/>
                  <a:gd name="T7" fmla="*/ 22 h 1020"/>
                  <a:gd name="T8" fmla="*/ 1 w 1022"/>
                  <a:gd name="T9" fmla="*/ 18 h 1020"/>
                  <a:gd name="T10" fmla="*/ 0 w 1022"/>
                  <a:gd name="T11" fmla="*/ 13 h 1020"/>
                  <a:gd name="T12" fmla="*/ 1 w 1022"/>
                  <a:gd name="T13" fmla="*/ 7 h 1020"/>
                  <a:gd name="T14" fmla="*/ 4 w 1022"/>
                  <a:gd name="T15" fmla="*/ 3 h 1020"/>
                  <a:gd name="T16" fmla="*/ 9 w 1022"/>
                  <a:gd name="T17" fmla="*/ 0 h 1020"/>
                  <a:gd name="T18" fmla="*/ 13 w 1022"/>
                  <a:gd name="T19" fmla="*/ 0 h 1020"/>
                  <a:gd name="T20" fmla="*/ 18 w 1022"/>
                  <a:gd name="T21" fmla="*/ 0 h 1020"/>
                  <a:gd name="T22" fmla="*/ 23 w 1022"/>
                  <a:gd name="T23" fmla="*/ 3 h 1020"/>
                  <a:gd name="T24" fmla="*/ 1017 w 1022"/>
                  <a:gd name="T25" fmla="*/ 997 h 1020"/>
                  <a:gd name="T26" fmla="*/ 1020 w 1022"/>
                  <a:gd name="T27" fmla="*/ 1002 h 1020"/>
                  <a:gd name="T28" fmla="*/ 1022 w 1022"/>
                  <a:gd name="T29" fmla="*/ 1007 h 1020"/>
                  <a:gd name="T30" fmla="*/ 1020 w 1022"/>
                  <a:gd name="T31" fmla="*/ 1011 h 1020"/>
                  <a:gd name="T32" fmla="*/ 1017 w 1022"/>
                  <a:gd name="T33" fmla="*/ 1017 h 1020"/>
                  <a:gd name="T34" fmla="*/ 1013 w 1022"/>
                  <a:gd name="T35" fmla="*/ 1019 h 1020"/>
                  <a:gd name="T36" fmla="*/ 1008 w 1022"/>
                  <a:gd name="T37" fmla="*/ 102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2" h="1020">
                    <a:moveTo>
                      <a:pt x="1008" y="1020"/>
                    </a:moveTo>
                    <a:lnTo>
                      <a:pt x="1002" y="1019"/>
                    </a:lnTo>
                    <a:lnTo>
                      <a:pt x="998" y="1017"/>
                    </a:lnTo>
                    <a:lnTo>
                      <a:pt x="4" y="22"/>
                    </a:lnTo>
                    <a:lnTo>
                      <a:pt x="1" y="18"/>
                    </a:lnTo>
                    <a:lnTo>
                      <a:pt x="0" y="13"/>
                    </a:lnTo>
                    <a:lnTo>
                      <a:pt x="1" y="7"/>
                    </a:lnTo>
                    <a:lnTo>
                      <a:pt x="4" y="3"/>
                    </a:lnTo>
                    <a:lnTo>
                      <a:pt x="9" y="0"/>
                    </a:lnTo>
                    <a:lnTo>
                      <a:pt x="13" y="0"/>
                    </a:lnTo>
                    <a:lnTo>
                      <a:pt x="18" y="0"/>
                    </a:lnTo>
                    <a:lnTo>
                      <a:pt x="23" y="3"/>
                    </a:lnTo>
                    <a:lnTo>
                      <a:pt x="1017" y="997"/>
                    </a:lnTo>
                    <a:lnTo>
                      <a:pt x="1020" y="1002"/>
                    </a:lnTo>
                    <a:lnTo>
                      <a:pt x="1022" y="1007"/>
                    </a:lnTo>
                    <a:lnTo>
                      <a:pt x="1020" y="1011"/>
                    </a:lnTo>
                    <a:lnTo>
                      <a:pt x="1017" y="1017"/>
                    </a:lnTo>
                    <a:lnTo>
                      <a:pt x="1013" y="1019"/>
                    </a:lnTo>
                    <a:lnTo>
                      <a:pt x="1008"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1"/>
              <p:cNvSpPr>
                <a:spLocks/>
              </p:cNvSpPr>
              <p:nvPr userDrawn="1"/>
            </p:nvSpPr>
            <p:spPr bwMode="auto">
              <a:xfrm>
                <a:off x="3382" y="2897"/>
                <a:ext cx="553" cy="553"/>
              </a:xfrm>
              <a:custGeom>
                <a:avLst/>
                <a:gdLst>
                  <a:gd name="T0" fmla="*/ 1647 w 1660"/>
                  <a:gd name="T1" fmla="*/ 1659 h 1659"/>
                  <a:gd name="T2" fmla="*/ 1641 w 1660"/>
                  <a:gd name="T3" fmla="*/ 1658 h 1659"/>
                  <a:gd name="T4" fmla="*/ 1637 w 1660"/>
                  <a:gd name="T5" fmla="*/ 1656 h 1659"/>
                  <a:gd name="T6" fmla="*/ 4 w 1660"/>
                  <a:gd name="T7" fmla="*/ 23 h 1659"/>
                  <a:gd name="T8" fmla="*/ 1 w 1660"/>
                  <a:gd name="T9" fmla="*/ 19 h 1659"/>
                  <a:gd name="T10" fmla="*/ 0 w 1660"/>
                  <a:gd name="T11" fmla="*/ 14 h 1659"/>
                  <a:gd name="T12" fmla="*/ 1 w 1660"/>
                  <a:gd name="T13" fmla="*/ 8 h 1659"/>
                  <a:gd name="T14" fmla="*/ 4 w 1660"/>
                  <a:gd name="T15" fmla="*/ 4 h 1659"/>
                  <a:gd name="T16" fmla="*/ 9 w 1660"/>
                  <a:gd name="T17" fmla="*/ 1 h 1659"/>
                  <a:gd name="T18" fmla="*/ 14 w 1660"/>
                  <a:gd name="T19" fmla="*/ 0 h 1659"/>
                  <a:gd name="T20" fmla="*/ 18 w 1660"/>
                  <a:gd name="T21" fmla="*/ 1 h 1659"/>
                  <a:gd name="T22" fmla="*/ 24 w 1660"/>
                  <a:gd name="T23" fmla="*/ 4 h 1659"/>
                  <a:gd name="T24" fmla="*/ 1656 w 1660"/>
                  <a:gd name="T25" fmla="*/ 1636 h 1659"/>
                  <a:gd name="T26" fmla="*/ 1659 w 1660"/>
                  <a:gd name="T27" fmla="*/ 1641 h 1659"/>
                  <a:gd name="T28" fmla="*/ 1660 w 1660"/>
                  <a:gd name="T29" fmla="*/ 1646 h 1659"/>
                  <a:gd name="T30" fmla="*/ 1659 w 1660"/>
                  <a:gd name="T31" fmla="*/ 1650 h 1659"/>
                  <a:gd name="T32" fmla="*/ 1656 w 1660"/>
                  <a:gd name="T33" fmla="*/ 1656 h 1659"/>
                  <a:gd name="T34" fmla="*/ 1651 w 1660"/>
                  <a:gd name="T35" fmla="*/ 1658 h 1659"/>
                  <a:gd name="T36" fmla="*/ 1647 w 1660"/>
                  <a:gd name="T37" fmla="*/ 1659 h 1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60" h="1659">
                    <a:moveTo>
                      <a:pt x="1647" y="1659"/>
                    </a:moveTo>
                    <a:lnTo>
                      <a:pt x="1641" y="1658"/>
                    </a:lnTo>
                    <a:lnTo>
                      <a:pt x="1637" y="1656"/>
                    </a:lnTo>
                    <a:lnTo>
                      <a:pt x="4" y="23"/>
                    </a:lnTo>
                    <a:lnTo>
                      <a:pt x="1" y="19"/>
                    </a:lnTo>
                    <a:lnTo>
                      <a:pt x="0" y="14"/>
                    </a:lnTo>
                    <a:lnTo>
                      <a:pt x="1" y="8"/>
                    </a:lnTo>
                    <a:lnTo>
                      <a:pt x="4" y="4"/>
                    </a:lnTo>
                    <a:lnTo>
                      <a:pt x="9" y="1"/>
                    </a:lnTo>
                    <a:lnTo>
                      <a:pt x="14" y="0"/>
                    </a:lnTo>
                    <a:lnTo>
                      <a:pt x="18" y="1"/>
                    </a:lnTo>
                    <a:lnTo>
                      <a:pt x="24" y="4"/>
                    </a:lnTo>
                    <a:lnTo>
                      <a:pt x="1656" y="1636"/>
                    </a:lnTo>
                    <a:lnTo>
                      <a:pt x="1659" y="1641"/>
                    </a:lnTo>
                    <a:lnTo>
                      <a:pt x="1660" y="1646"/>
                    </a:lnTo>
                    <a:lnTo>
                      <a:pt x="1659" y="1650"/>
                    </a:lnTo>
                    <a:lnTo>
                      <a:pt x="1656" y="1656"/>
                    </a:lnTo>
                    <a:lnTo>
                      <a:pt x="1651" y="1658"/>
                    </a:lnTo>
                    <a:lnTo>
                      <a:pt x="1647" y="16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2"/>
              <p:cNvSpPr>
                <a:spLocks/>
              </p:cNvSpPr>
              <p:nvPr userDrawn="1"/>
            </p:nvSpPr>
            <p:spPr bwMode="auto">
              <a:xfrm>
                <a:off x="4095" y="3593"/>
                <a:ext cx="270" cy="269"/>
              </a:xfrm>
              <a:custGeom>
                <a:avLst/>
                <a:gdLst>
                  <a:gd name="T0" fmla="*/ 794 w 808"/>
                  <a:gd name="T1" fmla="*/ 808 h 808"/>
                  <a:gd name="T2" fmla="*/ 789 w 808"/>
                  <a:gd name="T3" fmla="*/ 807 h 808"/>
                  <a:gd name="T4" fmla="*/ 785 w 808"/>
                  <a:gd name="T5" fmla="*/ 804 h 808"/>
                  <a:gd name="T6" fmla="*/ 4 w 808"/>
                  <a:gd name="T7" fmla="*/ 24 h 808"/>
                  <a:gd name="T8" fmla="*/ 1 w 808"/>
                  <a:gd name="T9" fmla="*/ 19 h 808"/>
                  <a:gd name="T10" fmla="*/ 0 w 808"/>
                  <a:gd name="T11" fmla="*/ 14 h 808"/>
                  <a:gd name="T12" fmla="*/ 1 w 808"/>
                  <a:gd name="T13" fmla="*/ 9 h 808"/>
                  <a:gd name="T14" fmla="*/ 4 w 808"/>
                  <a:gd name="T15" fmla="*/ 5 h 808"/>
                  <a:gd name="T16" fmla="*/ 9 w 808"/>
                  <a:gd name="T17" fmla="*/ 2 h 808"/>
                  <a:gd name="T18" fmla="*/ 14 w 808"/>
                  <a:gd name="T19" fmla="*/ 0 h 808"/>
                  <a:gd name="T20" fmla="*/ 20 w 808"/>
                  <a:gd name="T21" fmla="*/ 2 h 808"/>
                  <a:gd name="T22" fmla="*/ 24 w 808"/>
                  <a:gd name="T23" fmla="*/ 5 h 808"/>
                  <a:gd name="T24" fmla="*/ 803 w 808"/>
                  <a:gd name="T25" fmla="*/ 784 h 808"/>
                  <a:gd name="T26" fmla="*/ 807 w 808"/>
                  <a:gd name="T27" fmla="*/ 790 h 808"/>
                  <a:gd name="T28" fmla="*/ 808 w 808"/>
                  <a:gd name="T29" fmla="*/ 794 h 808"/>
                  <a:gd name="T30" fmla="*/ 807 w 808"/>
                  <a:gd name="T31" fmla="*/ 799 h 808"/>
                  <a:gd name="T32" fmla="*/ 803 w 808"/>
                  <a:gd name="T33" fmla="*/ 804 h 808"/>
                  <a:gd name="T34" fmla="*/ 799 w 808"/>
                  <a:gd name="T35" fmla="*/ 807 h 808"/>
                  <a:gd name="T36" fmla="*/ 794 w 808"/>
                  <a:gd name="T37"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8" h="808">
                    <a:moveTo>
                      <a:pt x="794" y="808"/>
                    </a:moveTo>
                    <a:lnTo>
                      <a:pt x="789" y="807"/>
                    </a:lnTo>
                    <a:lnTo>
                      <a:pt x="785" y="804"/>
                    </a:lnTo>
                    <a:lnTo>
                      <a:pt x="4" y="24"/>
                    </a:lnTo>
                    <a:lnTo>
                      <a:pt x="1" y="19"/>
                    </a:lnTo>
                    <a:lnTo>
                      <a:pt x="0" y="14"/>
                    </a:lnTo>
                    <a:lnTo>
                      <a:pt x="1" y="9"/>
                    </a:lnTo>
                    <a:lnTo>
                      <a:pt x="4" y="5"/>
                    </a:lnTo>
                    <a:lnTo>
                      <a:pt x="9" y="2"/>
                    </a:lnTo>
                    <a:lnTo>
                      <a:pt x="14" y="0"/>
                    </a:lnTo>
                    <a:lnTo>
                      <a:pt x="20" y="2"/>
                    </a:lnTo>
                    <a:lnTo>
                      <a:pt x="24" y="5"/>
                    </a:lnTo>
                    <a:lnTo>
                      <a:pt x="803" y="784"/>
                    </a:lnTo>
                    <a:lnTo>
                      <a:pt x="807" y="790"/>
                    </a:lnTo>
                    <a:lnTo>
                      <a:pt x="808" y="794"/>
                    </a:lnTo>
                    <a:lnTo>
                      <a:pt x="807" y="799"/>
                    </a:lnTo>
                    <a:lnTo>
                      <a:pt x="803" y="804"/>
                    </a:lnTo>
                    <a:lnTo>
                      <a:pt x="799" y="807"/>
                    </a:lnTo>
                    <a:lnTo>
                      <a:pt x="794" y="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3"/>
              <p:cNvSpPr>
                <a:spLocks/>
              </p:cNvSpPr>
              <p:nvPr userDrawn="1"/>
            </p:nvSpPr>
            <p:spPr bwMode="auto">
              <a:xfrm>
                <a:off x="4667" y="1876"/>
                <a:ext cx="412" cy="412"/>
              </a:xfrm>
              <a:custGeom>
                <a:avLst/>
                <a:gdLst>
                  <a:gd name="T0" fmla="*/ 1227 w 1236"/>
                  <a:gd name="T1" fmla="*/ 1236 h 1236"/>
                  <a:gd name="T2" fmla="*/ 1223 w 1236"/>
                  <a:gd name="T3" fmla="*/ 1235 h 1236"/>
                  <a:gd name="T4" fmla="*/ 1220 w 1236"/>
                  <a:gd name="T5" fmla="*/ 1233 h 1236"/>
                  <a:gd name="T6" fmla="*/ 3 w 1236"/>
                  <a:gd name="T7" fmla="*/ 16 h 1236"/>
                  <a:gd name="T8" fmla="*/ 1 w 1236"/>
                  <a:gd name="T9" fmla="*/ 13 h 1236"/>
                  <a:gd name="T10" fmla="*/ 0 w 1236"/>
                  <a:gd name="T11" fmla="*/ 10 h 1236"/>
                  <a:gd name="T12" fmla="*/ 1 w 1236"/>
                  <a:gd name="T13" fmla="*/ 7 h 1236"/>
                  <a:gd name="T14" fmla="*/ 3 w 1236"/>
                  <a:gd name="T15" fmla="*/ 4 h 1236"/>
                  <a:gd name="T16" fmla="*/ 6 w 1236"/>
                  <a:gd name="T17" fmla="*/ 1 h 1236"/>
                  <a:gd name="T18" fmla="*/ 10 w 1236"/>
                  <a:gd name="T19" fmla="*/ 0 h 1236"/>
                  <a:gd name="T20" fmla="*/ 13 w 1236"/>
                  <a:gd name="T21" fmla="*/ 1 h 1236"/>
                  <a:gd name="T22" fmla="*/ 16 w 1236"/>
                  <a:gd name="T23" fmla="*/ 4 h 1236"/>
                  <a:gd name="T24" fmla="*/ 1233 w 1236"/>
                  <a:gd name="T25" fmla="*/ 1220 h 1236"/>
                  <a:gd name="T26" fmla="*/ 1235 w 1236"/>
                  <a:gd name="T27" fmla="*/ 1223 h 1236"/>
                  <a:gd name="T28" fmla="*/ 1236 w 1236"/>
                  <a:gd name="T29" fmla="*/ 1227 h 1236"/>
                  <a:gd name="T30" fmla="*/ 1235 w 1236"/>
                  <a:gd name="T31" fmla="*/ 1230 h 1236"/>
                  <a:gd name="T32" fmla="*/ 1233 w 1236"/>
                  <a:gd name="T33" fmla="*/ 1233 h 1236"/>
                  <a:gd name="T34" fmla="*/ 1230 w 1236"/>
                  <a:gd name="T35" fmla="*/ 1235 h 1236"/>
                  <a:gd name="T36" fmla="*/ 1227 w 1236"/>
                  <a:gd name="T37" fmla="*/ 1236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6" h="1236">
                    <a:moveTo>
                      <a:pt x="1227" y="1236"/>
                    </a:moveTo>
                    <a:lnTo>
                      <a:pt x="1223" y="1235"/>
                    </a:lnTo>
                    <a:lnTo>
                      <a:pt x="1220" y="1233"/>
                    </a:lnTo>
                    <a:lnTo>
                      <a:pt x="3" y="16"/>
                    </a:lnTo>
                    <a:lnTo>
                      <a:pt x="1" y="13"/>
                    </a:lnTo>
                    <a:lnTo>
                      <a:pt x="0" y="10"/>
                    </a:lnTo>
                    <a:lnTo>
                      <a:pt x="1" y="7"/>
                    </a:lnTo>
                    <a:lnTo>
                      <a:pt x="3" y="4"/>
                    </a:lnTo>
                    <a:lnTo>
                      <a:pt x="6" y="1"/>
                    </a:lnTo>
                    <a:lnTo>
                      <a:pt x="10" y="0"/>
                    </a:lnTo>
                    <a:lnTo>
                      <a:pt x="13" y="1"/>
                    </a:lnTo>
                    <a:lnTo>
                      <a:pt x="16" y="4"/>
                    </a:lnTo>
                    <a:lnTo>
                      <a:pt x="1233" y="1220"/>
                    </a:lnTo>
                    <a:lnTo>
                      <a:pt x="1235" y="1223"/>
                    </a:lnTo>
                    <a:lnTo>
                      <a:pt x="1236" y="1227"/>
                    </a:lnTo>
                    <a:lnTo>
                      <a:pt x="1235" y="1230"/>
                    </a:lnTo>
                    <a:lnTo>
                      <a:pt x="1233" y="1233"/>
                    </a:lnTo>
                    <a:lnTo>
                      <a:pt x="1230" y="1235"/>
                    </a:lnTo>
                    <a:lnTo>
                      <a:pt x="1227" y="1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4"/>
              <p:cNvSpPr>
                <a:spLocks/>
              </p:cNvSpPr>
              <p:nvPr userDrawn="1"/>
            </p:nvSpPr>
            <p:spPr bwMode="auto">
              <a:xfrm>
                <a:off x="155" y="2075"/>
                <a:ext cx="232" cy="232"/>
              </a:xfrm>
              <a:custGeom>
                <a:avLst/>
                <a:gdLst>
                  <a:gd name="T0" fmla="*/ 685 w 698"/>
                  <a:gd name="T1" fmla="*/ 697 h 697"/>
                  <a:gd name="T2" fmla="*/ 680 w 698"/>
                  <a:gd name="T3" fmla="*/ 696 h 697"/>
                  <a:gd name="T4" fmla="*/ 675 w 698"/>
                  <a:gd name="T5" fmla="*/ 694 h 697"/>
                  <a:gd name="T6" fmla="*/ 4 w 698"/>
                  <a:gd name="T7" fmla="*/ 23 h 697"/>
                  <a:gd name="T8" fmla="*/ 1 w 698"/>
                  <a:gd name="T9" fmla="*/ 18 h 697"/>
                  <a:gd name="T10" fmla="*/ 0 w 698"/>
                  <a:gd name="T11" fmla="*/ 13 h 697"/>
                  <a:gd name="T12" fmla="*/ 1 w 698"/>
                  <a:gd name="T13" fmla="*/ 8 h 697"/>
                  <a:gd name="T14" fmla="*/ 4 w 698"/>
                  <a:gd name="T15" fmla="*/ 3 h 697"/>
                  <a:gd name="T16" fmla="*/ 9 w 698"/>
                  <a:gd name="T17" fmla="*/ 1 h 697"/>
                  <a:gd name="T18" fmla="*/ 13 w 698"/>
                  <a:gd name="T19" fmla="*/ 0 h 697"/>
                  <a:gd name="T20" fmla="*/ 19 w 698"/>
                  <a:gd name="T21" fmla="*/ 1 h 697"/>
                  <a:gd name="T22" fmla="*/ 23 w 698"/>
                  <a:gd name="T23" fmla="*/ 3 h 697"/>
                  <a:gd name="T24" fmla="*/ 695 w 698"/>
                  <a:gd name="T25" fmla="*/ 675 h 697"/>
                  <a:gd name="T26" fmla="*/ 698 w 698"/>
                  <a:gd name="T27" fmla="*/ 679 h 697"/>
                  <a:gd name="T28" fmla="*/ 698 w 698"/>
                  <a:gd name="T29" fmla="*/ 684 h 697"/>
                  <a:gd name="T30" fmla="*/ 698 w 698"/>
                  <a:gd name="T31" fmla="*/ 690 h 697"/>
                  <a:gd name="T32" fmla="*/ 695 w 698"/>
                  <a:gd name="T33" fmla="*/ 694 h 697"/>
                  <a:gd name="T34" fmla="*/ 690 w 698"/>
                  <a:gd name="T35" fmla="*/ 696 h 697"/>
                  <a:gd name="T36" fmla="*/ 685 w 698"/>
                  <a:gd name="T37"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8" h="697">
                    <a:moveTo>
                      <a:pt x="685" y="697"/>
                    </a:moveTo>
                    <a:lnTo>
                      <a:pt x="680" y="696"/>
                    </a:lnTo>
                    <a:lnTo>
                      <a:pt x="675" y="694"/>
                    </a:lnTo>
                    <a:lnTo>
                      <a:pt x="4" y="23"/>
                    </a:lnTo>
                    <a:lnTo>
                      <a:pt x="1" y="18"/>
                    </a:lnTo>
                    <a:lnTo>
                      <a:pt x="0" y="13"/>
                    </a:lnTo>
                    <a:lnTo>
                      <a:pt x="1" y="8"/>
                    </a:lnTo>
                    <a:lnTo>
                      <a:pt x="4" y="3"/>
                    </a:lnTo>
                    <a:lnTo>
                      <a:pt x="9" y="1"/>
                    </a:lnTo>
                    <a:lnTo>
                      <a:pt x="13" y="0"/>
                    </a:lnTo>
                    <a:lnTo>
                      <a:pt x="19" y="1"/>
                    </a:lnTo>
                    <a:lnTo>
                      <a:pt x="23" y="3"/>
                    </a:lnTo>
                    <a:lnTo>
                      <a:pt x="695" y="675"/>
                    </a:lnTo>
                    <a:lnTo>
                      <a:pt x="698" y="679"/>
                    </a:lnTo>
                    <a:lnTo>
                      <a:pt x="698" y="684"/>
                    </a:lnTo>
                    <a:lnTo>
                      <a:pt x="698" y="690"/>
                    </a:lnTo>
                    <a:lnTo>
                      <a:pt x="695" y="694"/>
                    </a:lnTo>
                    <a:lnTo>
                      <a:pt x="690" y="696"/>
                    </a:lnTo>
                    <a:lnTo>
                      <a:pt x="685" y="6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5"/>
              <p:cNvSpPr>
                <a:spLocks/>
              </p:cNvSpPr>
              <p:nvPr userDrawn="1"/>
            </p:nvSpPr>
            <p:spPr bwMode="auto">
              <a:xfrm>
                <a:off x="3057" y="2939"/>
                <a:ext cx="233" cy="233"/>
              </a:xfrm>
              <a:custGeom>
                <a:avLst/>
                <a:gdLst>
                  <a:gd name="T0" fmla="*/ 685 w 697"/>
                  <a:gd name="T1" fmla="*/ 698 h 698"/>
                  <a:gd name="T2" fmla="*/ 679 w 697"/>
                  <a:gd name="T3" fmla="*/ 697 h 698"/>
                  <a:gd name="T4" fmla="*/ 675 w 697"/>
                  <a:gd name="T5" fmla="*/ 694 h 698"/>
                  <a:gd name="T6" fmla="*/ 3 w 697"/>
                  <a:gd name="T7" fmla="*/ 24 h 698"/>
                  <a:gd name="T8" fmla="*/ 1 w 697"/>
                  <a:gd name="T9" fmla="*/ 18 h 698"/>
                  <a:gd name="T10" fmla="*/ 0 w 697"/>
                  <a:gd name="T11" fmla="*/ 14 h 698"/>
                  <a:gd name="T12" fmla="*/ 1 w 697"/>
                  <a:gd name="T13" fmla="*/ 9 h 698"/>
                  <a:gd name="T14" fmla="*/ 3 w 697"/>
                  <a:gd name="T15" fmla="*/ 4 h 698"/>
                  <a:gd name="T16" fmla="*/ 9 w 697"/>
                  <a:gd name="T17" fmla="*/ 1 h 698"/>
                  <a:gd name="T18" fmla="*/ 13 w 697"/>
                  <a:gd name="T19" fmla="*/ 0 h 698"/>
                  <a:gd name="T20" fmla="*/ 18 w 697"/>
                  <a:gd name="T21" fmla="*/ 1 h 698"/>
                  <a:gd name="T22" fmla="*/ 23 w 697"/>
                  <a:gd name="T23" fmla="*/ 4 h 698"/>
                  <a:gd name="T24" fmla="*/ 694 w 697"/>
                  <a:gd name="T25" fmla="*/ 676 h 698"/>
                  <a:gd name="T26" fmla="*/ 697 w 697"/>
                  <a:gd name="T27" fmla="*/ 680 h 698"/>
                  <a:gd name="T28" fmla="*/ 697 w 697"/>
                  <a:gd name="T29" fmla="*/ 684 h 698"/>
                  <a:gd name="T30" fmla="*/ 697 w 697"/>
                  <a:gd name="T31" fmla="*/ 690 h 698"/>
                  <a:gd name="T32" fmla="*/ 694 w 697"/>
                  <a:gd name="T33" fmla="*/ 694 h 698"/>
                  <a:gd name="T34" fmla="*/ 690 w 697"/>
                  <a:gd name="T35" fmla="*/ 697 h 698"/>
                  <a:gd name="T36" fmla="*/ 685 w 697"/>
                  <a:gd name="T37"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7" h="698">
                    <a:moveTo>
                      <a:pt x="685" y="698"/>
                    </a:moveTo>
                    <a:lnTo>
                      <a:pt x="679" y="697"/>
                    </a:lnTo>
                    <a:lnTo>
                      <a:pt x="675" y="694"/>
                    </a:lnTo>
                    <a:lnTo>
                      <a:pt x="3" y="24"/>
                    </a:lnTo>
                    <a:lnTo>
                      <a:pt x="1" y="18"/>
                    </a:lnTo>
                    <a:lnTo>
                      <a:pt x="0" y="14"/>
                    </a:lnTo>
                    <a:lnTo>
                      <a:pt x="1" y="9"/>
                    </a:lnTo>
                    <a:lnTo>
                      <a:pt x="3" y="4"/>
                    </a:lnTo>
                    <a:lnTo>
                      <a:pt x="9" y="1"/>
                    </a:lnTo>
                    <a:lnTo>
                      <a:pt x="13" y="0"/>
                    </a:lnTo>
                    <a:lnTo>
                      <a:pt x="18" y="1"/>
                    </a:lnTo>
                    <a:lnTo>
                      <a:pt x="23" y="4"/>
                    </a:lnTo>
                    <a:lnTo>
                      <a:pt x="694" y="676"/>
                    </a:lnTo>
                    <a:lnTo>
                      <a:pt x="697" y="680"/>
                    </a:lnTo>
                    <a:lnTo>
                      <a:pt x="697" y="684"/>
                    </a:lnTo>
                    <a:lnTo>
                      <a:pt x="697" y="690"/>
                    </a:lnTo>
                    <a:lnTo>
                      <a:pt x="694" y="694"/>
                    </a:lnTo>
                    <a:lnTo>
                      <a:pt x="690" y="697"/>
                    </a:lnTo>
                    <a:lnTo>
                      <a:pt x="685" y="6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6"/>
              <p:cNvSpPr>
                <a:spLocks noEditPoints="1"/>
              </p:cNvSpPr>
              <p:nvPr userDrawn="1"/>
            </p:nvSpPr>
            <p:spPr bwMode="auto">
              <a:xfrm>
                <a:off x="233" y="2717"/>
                <a:ext cx="202" cy="204"/>
              </a:xfrm>
              <a:custGeom>
                <a:avLst/>
                <a:gdLst>
                  <a:gd name="T0" fmla="*/ 449 w 604"/>
                  <a:gd name="T1" fmla="*/ 612 h 612"/>
                  <a:gd name="T2" fmla="*/ 444 w 604"/>
                  <a:gd name="T3" fmla="*/ 611 h 612"/>
                  <a:gd name="T4" fmla="*/ 439 w 604"/>
                  <a:gd name="T5" fmla="*/ 609 h 612"/>
                  <a:gd name="T6" fmla="*/ 4 w 604"/>
                  <a:gd name="T7" fmla="*/ 193 h 612"/>
                  <a:gd name="T8" fmla="*/ 2 w 604"/>
                  <a:gd name="T9" fmla="*/ 191 h 612"/>
                  <a:gd name="T10" fmla="*/ 0 w 604"/>
                  <a:gd name="T11" fmla="*/ 188 h 612"/>
                  <a:gd name="T12" fmla="*/ 0 w 604"/>
                  <a:gd name="T13" fmla="*/ 184 h 612"/>
                  <a:gd name="T14" fmla="*/ 0 w 604"/>
                  <a:gd name="T15" fmla="*/ 180 h 612"/>
                  <a:gd name="T16" fmla="*/ 1 w 604"/>
                  <a:gd name="T17" fmla="*/ 177 h 612"/>
                  <a:gd name="T18" fmla="*/ 3 w 604"/>
                  <a:gd name="T19" fmla="*/ 175 h 612"/>
                  <a:gd name="T20" fmla="*/ 6 w 604"/>
                  <a:gd name="T21" fmla="*/ 173 h 612"/>
                  <a:gd name="T22" fmla="*/ 9 w 604"/>
                  <a:gd name="T23" fmla="*/ 170 h 612"/>
                  <a:gd name="T24" fmla="*/ 586 w 604"/>
                  <a:gd name="T25" fmla="*/ 1 h 612"/>
                  <a:gd name="T26" fmla="*/ 590 w 604"/>
                  <a:gd name="T27" fmla="*/ 0 h 612"/>
                  <a:gd name="T28" fmla="*/ 594 w 604"/>
                  <a:gd name="T29" fmla="*/ 1 h 612"/>
                  <a:gd name="T30" fmla="*/ 597 w 604"/>
                  <a:gd name="T31" fmla="*/ 2 h 612"/>
                  <a:gd name="T32" fmla="*/ 600 w 604"/>
                  <a:gd name="T33" fmla="*/ 4 h 612"/>
                  <a:gd name="T34" fmla="*/ 602 w 604"/>
                  <a:gd name="T35" fmla="*/ 6 h 612"/>
                  <a:gd name="T36" fmla="*/ 603 w 604"/>
                  <a:gd name="T37" fmla="*/ 10 h 612"/>
                  <a:gd name="T38" fmla="*/ 604 w 604"/>
                  <a:gd name="T39" fmla="*/ 14 h 612"/>
                  <a:gd name="T40" fmla="*/ 603 w 604"/>
                  <a:gd name="T41" fmla="*/ 17 h 612"/>
                  <a:gd name="T42" fmla="*/ 462 w 604"/>
                  <a:gd name="T43" fmla="*/ 601 h 612"/>
                  <a:gd name="T44" fmla="*/ 461 w 604"/>
                  <a:gd name="T45" fmla="*/ 604 h 612"/>
                  <a:gd name="T46" fmla="*/ 459 w 604"/>
                  <a:gd name="T47" fmla="*/ 608 h 612"/>
                  <a:gd name="T48" fmla="*/ 456 w 604"/>
                  <a:gd name="T49" fmla="*/ 610 h 612"/>
                  <a:gd name="T50" fmla="*/ 453 w 604"/>
                  <a:gd name="T51" fmla="*/ 611 h 612"/>
                  <a:gd name="T52" fmla="*/ 451 w 604"/>
                  <a:gd name="T53" fmla="*/ 612 h 612"/>
                  <a:gd name="T54" fmla="*/ 449 w 604"/>
                  <a:gd name="T55" fmla="*/ 612 h 612"/>
                  <a:gd name="T56" fmla="*/ 40 w 604"/>
                  <a:gd name="T57" fmla="*/ 190 h 612"/>
                  <a:gd name="T58" fmla="*/ 40 w 604"/>
                  <a:gd name="T59" fmla="*/ 190 h 612"/>
                  <a:gd name="T60" fmla="*/ 441 w 604"/>
                  <a:gd name="T61" fmla="*/ 572 h 612"/>
                  <a:gd name="T62" fmla="*/ 572 w 604"/>
                  <a:gd name="T63" fmla="*/ 33 h 612"/>
                  <a:gd name="T64" fmla="*/ 40 w 604"/>
                  <a:gd name="T65" fmla="*/ 190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4" h="612">
                    <a:moveTo>
                      <a:pt x="449" y="612"/>
                    </a:moveTo>
                    <a:lnTo>
                      <a:pt x="444" y="611"/>
                    </a:lnTo>
                    <a:lnTo>
                      <a:pt x="439" y="609"/>
                    </a:lnTo>
                    <a:lnTo>
                      <a:pt x="4" y="193"/>
                    </a:lnTo>
                    <a:lnTo>
                      <a:pt x="2" y="191"/>
                    </a:lnTo>
                    <a:lnTo>
                      <a:pt x="0" y="188"/>
                    </a:lnTo>
                    <a:lnTo>
                      <a:pt x="0" y="184"/>
                    </a:lnTo>
                    <a:lnTo>
                      <a:pt x="0" y="180"/>
                    </a:lnTo>
                    <a:lnTo>
                      <a:pt x="1" y="177"/>
                    </a:lnTo>
                    <a:lnTo>
                      <a:pt x="3" y="175"/>
                    </a:lnTo>
                    <a:lnTo>
                      <a:pt x="6" y="173"/>
                    </a:lnTo>
                    <a:lnTo>
                      <a:pt x="9" y="170"/>
                    </a:lnTo>
                    <a:lnTo>
                      <a:pt x="586" y="1"/>
                    </a:lnTo>
                    <a:lnTo>
                      <a:pt x="590" y="0"/>
                    </a:lnTo>
                    <a:lnTo>
                      <a:pt x="594" y="1"/>
                    </a:lnTo>
                    <a:lnTo>
                      <a:pt x="597" y="2"/>
                    </a:lnTo>
                    <a:lnTo>
                      <a:pt x="600" y="4"/>
                    </a:lnTo>
                    <a:lnTo>
                      <a:pt x="602" y="6"/>
                    </a:lnTo>
                    <a:lnTo>
                      <a:pt x="603" y="10"/>
                    </a:lnTo>
                    <a:lnTo>
                      <a:pt x="604" y="14"/>
                    </a:lnTo>
                    <a:lnTo>
                      <a:pt x="603" y="17"/>
                    </a:lnTo>
                    <a:lnTo>
                      <a:pt x="462" y="601"/>
                    </a:lnTo>
                    <a:lnTo>
                      <a:pt x="461" y="604"/>
                    </a:lnTo>
                    <a:lnTo>
                      <a:pt x="459" y="608"/>
                    </a:lnTo>
                    <a:lnTo>
                      <a:pt x="456" y="610"/>
                    </a:lnTo>
                    <a:lnTo>
                      <a:pt x="453" y="611"/>
                    </a:lnTo>
                    <a:lnTo>
                      <a:pt x="451" y="612"/>
                    </a:lnTo>
                    <a:lnTo>
                      <a:pt x="449" y="612"/>
                    </a:lnTo>
                    <a:close/>
                    <a:moveTo>
                      <a:pt x="40" y="190"/>
                    </a:moveTo>
                    <a:lnTo>
                      <a:pt x="40" y="190"/>
                    </a:lnTo>
                    <a:lnTo>
                      <a:pt x="441" y="572"/>
                    </a:lnTo>
                    <a:lnTo>
                      <a:pt x="572" y="33"/>
                    </a:lnTo>
                    <a:lnTo>
                      <a:pt x="40"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7"/>
              <p:cNvSpPr>
                <a:spLocks noEditPoints="1"/>
              </p:cNvSpPr>
              <p:nvPr userDrawn="1"/>
            </p:nvSpPr>
            <p:spPr bwMode="auto">
              <a:xfrm>
                <a:off x="40" y="1958"/>
                <a:ext cx="267" cy="271"/>
              </a:xfrm>
              <a:custGeom>
                <a:avLst/>
                <a:gdLst>
                  <a:gd name="T0" fmla="*/ 600 w 803"/>
                  <a:gd name="T1" fmla="*/ 813 h 813"/>
                  <a:gd name="T2" fmla="*/ 595 w 803"/>
                  <a:gd name="T3" fmla="*/ 812 h 813"/>
                  <a:gd name="T4" fmla="*/ 590 w 803"/>
                  <a:gd name="T5" fmla="*/ 809 h 813"/>
                  <a:gd name="T6" fmla="*/ 4 w 803"/>
                  <a:gd name="T7" fmla="*/ 252 h 813"/>
                  <a:gd name="T8" fmla="*/ 2 w 803"/>
                  <a:gd name="T9" fmla="*/ 249 h 813"/>
                  <a:gd name="T10" fmla="*/ 1 w 803"/>
                  <a:gd name="T11" fmla="*/ 245 h 813"/>
                  <a:gd name="T12" fmla="*/ 0 w 803"/>
                  <a:gd name="T13" fmla="*/ 242 h 813"/>
                  <a:gd name="T14" fmla="*/ 1 w 803"/>
                  <a:gd name="T15" fmla="*/ 239 h 813"/>
                  <a:gd name="T16" fmla="*/ 2 w 803"/>
                  <a:gd name="T17" fmla="*/ 236 h 813"/>
                  <a:gd name="T18" fmla="*/ 4 w 803"/>
                  <a:gd name="T19" fmla="*/ 232 h 813"/>
                  <a:gd name="T20" fmla="*/ 6 w 803"/>
                  <a:gd name="T21" fmla="*/ 230 h 813"/>
                  <a:gd name="T22" fmla="*/ 9 w 803"/>
                  <a:gd name="T23" fmla="*/ 229 h 813"/>
                  <a:gd name="T24" fmla="*/ 786 w 803"/>
                  <a:gd name="T25" fmla="*/ 0 h 813"/>
                  <a:gd name="T26" fmla="*/ 789 w 803"/>
                  <a:gd name="T27" fmla="*/ 0 h 813"/>
                  <a:gd name="T28" fmla="*/ 793 w 803"/>
                  <a:gd name="T29" fmla="*/ 0 h 813"/>
                  <a:gd name="T30" fmla="*/ 797 w 803"/>
                  <a:gd name="T31" fmla="*/ 1 h 813"/>
                  <a:gd name="T32" fmla="*/ 799 w 803"/>
                  <a:gd name="T33" fmla="*/ 3 h 813"/>
                  <a:gd name="T34" fmla="*/ 801 w 803"/>
                  <a:gd name="T35" fmla="*/ 7 h 813"/>
                  <a:gd name="T36" fmla="*/ 803 w 803"/>
                  <a:gd name="T37" fmla="*/ 10 h 813"/>
                  <a:gd name="T38" fmla="*/ 803 w 803"/>
                  <a:gd name="T39" fmla="*/ 13 h 813"/>
                  <a:gd name="T40" fmla="*/ 803 w 803"/>
                  <a:gd name="T41" fmla="*/ 16 h 813"/>
                  <a:gd name="T42" fmla="*/ 613 w 803"/>
                  <a:gd name="T43" fmla="*/ 802 h 813"/>
                  <a:gd name="T44" fmla="*/ 611 w 803"/>
                  <a:gd name="T45" fmla="*/ 806 h 813"/>
                  <a:gd name="T46" fmla="*/ 610 w 803"/>
                  <a:gd name="T47" fmla="*/ 809 h 813"/>
                  <a:gd name="T48" fmla="*/ 607 w 803"/>
                  <a:gd name="T49" fmla="*/ 811 h 813"/>
                  <a:gd name="T50" fmla="*/ 603 w 803"/>
                  <a:gd name="T51" fmla="*/ 812 h 813"/>
                  <a:gd name="T52" fmla="*/ 601 w 803"/>
                  <a:gd name="T53" fmla="*/ 813 h 813"/>
                  <a:gd name="T54" fmla="*/ 600 w 803"/>
                  <a:gd name="T55" fmla="*/ 813 h 813"/>
                  <a:gd name="T56" fmla="*/ 40 w 803"/>
                  <a:gd name="T57" fmla="*/ 249 h 813"/>
                  <a:gd name="T58" fmla="*/ 40 w 803"/>
                  <a:gd name="T59" fmla="*/ 249 h 813"/>
                  <a:gd name="T60" fmla="*/ 592 w 803"/>
                  <a:gd name="T61" fmla="*/ 773 h 813"/>
                  <a:gd name="T62" fmla="*/ 771 w 803"/>
                  <a:gd name="T63" fmla="*/ 33 h 813"/>
                  <a:gd name="T64" fmla="*/ 40 w 803"/>
                  <a:gd name="T65" fmla="*/ 249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3" h="813">
                    <a:moveTo>
                      <a:pt x="600" y="813"/>
                    </a:moveTo>
                    <a:lnTo>
                      <a:pt x="595" y="812"/>
                    </a:lnTo>
                    <a:lnTo>
                      <a:pt x="590" y="809"/>
                    </a:lnTo>
                    <a:lnTo>
                      <a:pt x="4" y="252"/>
                    </a:lnTo>
                    <a:lnTo>
                      <a:pt x="2" y="249"/>
                    </a:lnTo>
                    <a:lnTo>
                      <a:pt x="1" y="245"/>
                    </a:lnTo>
                    <a:lnTo>
                      <a:pt x="0" y="242"/>
                    </a:lnTo>
                    <a:lnTo>
                      <a:pt x="1" y="239"/>
                    </a:lnTo>
                    <a:lnTo>
                      <a:pt x="2" y="236"/>
                    </a:lnTo>
                    <a:lnTo>
                      <a:pt x="4" y="232"/>
                    </a:lnTo>
                    <a:lnTo>
                      <a:pt x="6" y="230"/>
                    </a:lnTo>
                    <a:lnTo>
                      <a:pt x="9" y="229"/>
                    </a:lnTo>
                    <a:lnTo>
                      <a:pt x="786" y="0"/>
                    </a:lnTo>
                    <a:lnTo>
                      <a:pt x="789" y="0"/>
                    </a:lnTo>
                    <a:lnTo>
                      <a:pt x="793" y="0"/>
                    </a:lnTo>
                    <a:lnTo>
                      <a:pt x="797" y="1"/>
                    </a:lnTo>
                    <a:lnTo>
                      <a:pt x="799" y="3"/>
                    </a:lnTo>
                    <a:lnTo>
                      <a:pt x="801" y="7"/>
                    </a:lnTo>
                    <a:lnTo>
                      <a:pt x="803" y="10"/>
                    </a:lnTo>
                    <a:lnTo>
                      <a:pt x="803" y="13"/>
                    </a:lnTo>
                    <a:lnTo>
                      <a:pt x="803" y="16"/>
                    </a:lnTo>
                    <a:lnTo>
                      <a:pt x="613" y="802"/>
                    </a:lnTo>
                    <a:lnTo>
                      <a:pt x="611" y="806"/>
                    </a:lnTo>
                    <a:lnTo>
                      <a:pt x="610" y="809"/>
                    </a:lnTo>
                    <a:lnTo>
                      <a:pt x="607" y="811"/>
                    </a:lnTo>
                    <a:lnTo>
                      <a:pt x="603" y="812"/>
                    </a:lnTo>
                    <a:lnTo>
                      <a:pt x="601" y="813"/>
                    </a:lnTo>
                    <a:lnTo>
                      <a:pt x="600" y="813"/>
                    </a:lnTo>
                    <a:close/>
                    <a:moveTo>
                      <a:pt x="40" y="249"/>
                    </a:moveTo>
                    <a:lnTo>
                      <a:pt x="40" y="249"/>
                    </a:lnTo>
                    <a:lnTo>
                      <a:pt x="592" y="773"/>
                    </a:lnTo>
                    <a:lnTo>
                      <a:pt x="771" y="33"/>
                    </a:lnTo>
                    <a:lnTo>
                      <a:pt x="40"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8"/>
              <p:cNvSpPr>
                <a:spLocks/>
              </p:cNvSpPr>
              <p:nvPr userDrawn="1"/>
            </p:nvSpPr>
            <p:spPr bwMode="auto">
              <a:xfrm>
                <a:off x="396" y="1386"/>
                <a:ext cx="232" cy="233"/>
              </a:xfrm>
              <a:custGeom>
                <a:avLst/>
                <a:gdLst>
                  <a:gd name="T0" fmla="*/ 684 w 697"/>
                  <a:gd name="T1" fmla="*/ 698 h 698"/>
                  <a:gd name="T2" fmla="*/ 679 w 697"/>
                  <a:gd name="T3" fmla="*/ 697 h 698"/>
                  <a:gd name="T4" fmla="*/ 675 w 697"/>
                  <a:gd name="T5" fmla="*/ 694 h 698"/>
                  <a:gd name="T6" fmla="*/ 3 w 697"/>
                  <a:gd name="T7" fmla="*/ 24 h 698"/>
                  <a:gd name="T8" fmla="*/ 1 w 697"/>
                  <a:gd name="T9" fmla="*/ 19 h 698"/>
                  <a:gd name="T10" fmla="*/ 0 w 697"/>
                  <a:gd name="T11" fmla="*/ 14 h 698"/>
                  <a:gd name="T12" fmla="*/ 1 w 697"/>
                  <a:gd name="T13" fmla="*/ 9 h 698"/>
                  <a:gd name="T14" fmla="*/ 3 w 697"/>
                  <a:gd name="T15" fmla="*/ 4 h 698"/>
                  <a:gd name="T16" fmla="*/ 7 w 697"/>
                  <a:gd name="T17" fmla="*/ 1 h 698"/>
                  <a:gd name="T18" fmla="*/ 13 w 697"/>
                  <a:gd name="T19" fmla="*/ 0 h 698"/>
                  <a:gd name="T20" fmla="*/ 18 w 697"/>
                  <a:gd name="T21" fmla="*/ 1 h 698"/>
                  <a:gd name="T22" fmla="*/ 22 w 697"/>
                  <a:gd name="T23" fmla="*/ 4 h 698"/>
                  <a:gd name="T24" fmla="*/ 694 w 697"/>
                  <a:gd name="T25" fmla="*/ 676 h 698"/>
                  <a:gd name="T26" fmla="*/ 696 w 697"/>
                  <a:gd name="T27" fmla="*/ 680 h 698"/>
                  <a:gd name="T28" fmla="*/ 697 w 697"/>
                  <a:gd name="T29" fmla="*/ 685 h 698"/>
                  <a:gd name="T30" fmla="*/ 696 w 697"/>
                  <a:gd name="T31" fmla="*/ 690 h 698"/>
                  <a:gd name="T32" fmla="*/ 694 w 697"/>
                  <a:gd name="T33" fmla="*/ 694 h 698"/>
                  <a:gd name="T34" fmla="*/ 690 w 697"/>
                  <a:gd name="T35" fmla="*/ 697 h 698"/>
                  <a:gd name="T36" fmla="*/ 684 w 697"/>
                  <a:gd name="T37" fmla="*/ 698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7" h="698">
                    <a:moveTo>
                      <a:pt x="684" y="698"/>
                    </a:moveTo>
                    <a:lnTo>
                      <a:pt x="679" y="697"/>
                    </a:lnTo>
                    <a:lnTo>
                      <a:pt x="675" y="694"/>
                    </a:lnTo>
                    <a:lnTo>
                      <a:pt x="3" y="24"/>
                    </a:lnTo>
                    <a:lnTo>
                      <a:pt x="1" y="19"/>
                    </a:lnTo>
                    <a:lnTo>
                      <a:pt x="0" y="14"/>
                    </a:lnTo>
                    <a:lnTo>
                      <a:pt x="1" y="9"/>
                    </a:lnTo>
                    <a:lnTo>
                      <a:pt x="3" y="4"/>
                    </a:lnTo>
                    <a:lnTo>
                      <a:pt x="7" y="1"/>
                    </a:lnTo>
                    <a:lnTo>
                      <a:pt x="13" y="0"/>
                    </a:lnTo>
                    <a:lnTo>
                      <a:pt x="18" y="1"/>
                    </a:lnTo>
                    <a:lnTo>
                      <a:pt x="22" y="4"/>
                    </a:lnTo>
                    <a:lnTo>
                      <a:pt x="694" y="676"/>
                    </a:lnTo>
                    <a:lnTo>
                      <a:pt x="696" y="680"/>
                    </a:lnTo>
                    <a:lnTo>
                      <a:pt x="697" y="685"/>
                    </a:lnTo>
                    <a:lnTo>
                      <a:pt x="696" y="690"/>
                    </a:lnTo>
                    <a:lnTo>
                      <a:pt x="694" y="694"/>
                    </a:lnTo>
                    <a:lnTo>
                      <a:pt x="690" y="697"/>
                    </a:lnTo>
                    <a:lnTo>
                      <a:pt x="684" y="6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9"/>
              <p:cNvSpPr>
                <a:spLocks noEditPoints="1"/>
              </p:cNvSpPr>
              <p:nvPr userDrawn="1"/>
            </p:nvSpPr>
            <p:spPr bwMode="auto">
              <a:xfrm>
                <a:off x="280" y="1269"/>
                <a:ext cx="268" cy="272"/>
              </a:xfrm>
              <a:custGeom>
                <a:avLst/>
                <a:gdLst>
                  <a:gd name="T0" fmla="*/ 599 w 804"/>
                  <a:gd name="T1" fmla="*/ 814 h 814"/>
                  <a:gd name="T2" fmla="*/ 595 w 804"/>
                  <a:gd name="T3" fmla="*/ 813 h 814"/>
                  <a:gd name="T4" fmla="*/ 591 w 804"/>
                  <a:gd name="T5" fmla="*/ 810 h 814"/>
                  <a:gd name="T6" fmla="*/ 4 w 804"/>
                  <a:gd name="T7" fmla="*/ 252 h 814"/>
                  <a:gd name="T8" fmla="*/ 2 w 804"/>
                  <a:gd name="T9" fmla="*/ 250 h 814"/>
                  <a:gd name="T10" fmla="*/ 1 w 804"/>
                  <a:gd name="T11" fmla="*/ 246 h 814"/>
                  <a:gd name="T12" fmla="*/ 0 w 804"/>
                  <a:gd name="T13" fmla="*/ 243 h 814"/>
                  <a:gd name="T14" fmla="*/ 1 w 804"/>
                  <a:gd name="T15" fmla="*/ 239 h 814"/>
                  <a:gd name="T16" fmla="*/ 2 w 804"/>
                  <a:gd name="T17" fmla="*/ 236 h 814"/>
                  <a:gd name="T18" fmla="*/ 4 w 804"/>
                  <a:gd name="T19" fmla="*/ 233 h 814"/>
                  <a:gd name="T20" fmla="*/ 7 w 804"/>
                  <a:gd name="T21" fmla="*/ 231 h 814"/>
                  <a:gd name="T22" fmla="*/ 10 w 804"/>
                  <a:gd name="T23" fmla="*/ 229 h 814"/>
                  <a:gd name="T24" fmla="*/ 786 w 804"/>
                  <a:gd name="T25" fmla="*/ 1 h 814"/>
                  <a:gd name="T26" fmla="*/ 790 w 804"/>
                  <a:gd name="T27" fmla="*/ 0 h 814"/>
                  <a:gd name="T28" fmla="*/ 793 w 804"/>
                  <a:gd name="T29" fmla="*/ 1 h 814"/>
                  <a:gd name="T30" fmla="*/ 797 w 804"/>
                  <a:gd name="T31" fmla="*/ 2 h 814"/>
                  <a:gd name="T32" fmla="*/ 799 w 804"/>
                  <a:gd name="T33" fmla="*/ 5 h 814"/>
                  <a:gd name="T34" fmla="*/ 801 w 804"/>
                  <a:gd name="T35" fmla="*/ 7 h 814"/>
                  <a:gd name="T36" fmla="*/ 804 w 804"/>
                  <a:gd name="T37" fmla="*/ 10 h 814"/>
                  <a:gd name="T38" fmla="*/ 804 w 804"/>
                  <a:gd name="T39" fmla="*/ 13 h 814"/>
                  <a:gd name="T40" fmla="*/ 804 w 804"/>
                  <a:gd name="T41" fmla="*/ 17 h 814"/>
                  <a:gd name="T42" fmla="*/ 614 w 804"/>
                  <a:gd name="T43" fmla="*/ 803 h 814"/>
                  <a:gd name="T44" fmla="*/ 611 w 804"/>
                  <a:gd name="T45" fmla="*/ 807 h 814"/>
                  <a:gd name="T46" fmla="*/ 609 w 804"/>
                  <a:gd name="T47" fmla="*/ 810 h 814"/>
                  <a:gd name="T48" fmla="*/ 607 w 804"/>
                  <a:gd name="T49" fmla="*/ 812 h 814"/>
                  <a:gd name="T50" fmla="*/ 604 w 804"/>
                  <a:gd name="T51" fmla="*/ 813 h 814"/>
                  <a:gd name="T52" fmla="*/ 602 w 804"/>
                  <a:gd name="T53" fmla="*/ 813 h 814"/>
                  <a:gd name="T54" fmla="*/ 599 w 804"/>
                  <a:gd name="T55" fmla="*/ 814 h 814"/>
                  <a:gd name="T56" fmla="*/ 40 w 804"/>
                  <a:gd name="T57" fmla="*/ 248 h 814"/>
                  <a:gd name="T58" fmla="*/ 40 w 804"/>
                  <a:gd name="T59" fmla="*/ 248 h 814"/>
                  <a:gd name="T60" fmla="*/ 592 w 804"/>
                  <a:gd name="T61" fmla="*/ 774 h 814"/>
                  <a:gd name="T62" fmla="*/ 771 w 804"/>
                  <a:gd name="T63" fmla="*/ 34 h 814"/>
                  <a:gd name="T64" fmla="*/ 40 w 804"/>
                  <a:gd name="T65" fmla="*/ 248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4" h="814">
                    <a:moveTo>
                      <a:pt x="599" y="814"/>
                    </a:moveTo>
                    <a:lnTo>
                      <a:pt x="595" y="813"/>
                    </a:lnTo>
                    <a:lnTo>
                      <a:pt x="591" y="810"/>
                    </a:lnTo>
                    <a:lnTo>
                      <a:pt x="4" y="252"/>
                    </a:lnTo>
                    <a:lnTo>
                      <a:pt x="2" y="250"/>
                    </a:lnTo>
                    <a:lnTo>
                      <a:pt x="1" y="246"/>
                    </a:lnTo>
                    <a:lnTo>
                      <a:pt x="0" y="243"/>
                    </a:lnTo>
                    <a:lnTo>
                      <a:pt x="1" y="239"/>
                    </a:lnTo>
                    <a:lnTo>
                      <a:pt x="2" y="236"/>
                    </a:lnTo>
                    <a:lnTo>
                      <a:pt x="4" y="233"/>
                    </a:lnTo>
                    <a:lnTo>
                      <a:pt x="7" y="231"/>
                    </a:lnTo>
                    <a:lnTo>
                      <a:pt x="10" y="229"/>
                    </a:lnTo>
                    <a:lnTo>
                      <a:pt x="786" y="1"/>
                    </a:lnTo>
                    <a:lnTo>
                      <a:pt x="790" y="0"/>
                    </a:lnTo>
                    <a:lnTo>
                      <a:pt x="793" y="1"/>
                    </a:lnTo>
                    <a:lnTo>
                      <a:pt x="797" y="2"/>
                    </a:lnTo>
                    <a:lnTo>
                      <a:pt x="799" y="5"/>
                    </a:lnTo>
                    <a:lnTo>
                      <a:pt x="801" y="7"/>
                    </a:lnTo>
                    <a:lnTo>
                      <a:pt x="804" y="10"/>
                    </a:lnTo>
                    <a:lnTo>
                      <a:pt x="804" y="13"/>
                    </a:lnTo>
                    <a:lnTo>
                      <a:pt x="804" y="17"/>
                    </a:lnTo>
                    <a:lnTo>
                      <a:pt x="614" y="803"/>
                    </a:lnTo>
                    <a:lnTo>
                      <a:pt x="611" y="807"/>
                    </a:lnTo>
                    <a:lnTo>
                      <a:pt x="609" y="810"/>
                    </a:lnTo>
                    <a:lnTo>
                      <a:pt x="607" y="812"/>
                    </a:lnTo>
                    <a:lnTo>
                      <a:pt x="604" y="813"/>
                    </a:lnTo>
                    <a:lnTo>
                      <a:pt x="602" y="813"/>
                    </a:lnTo>
                    <a:lnTo>
                      <a:pt x="599" y="814"/>
                    </a:lnTo>
                    <a:close/>
                    <a:moveTo>
                      <a:pt x="40" y="248"/>
                    </a:moveTo>
                    <a:lnTo>
                      <a:pt x="40" y="248"/>
                    </a:lnTo>
                    <a:lnTo>
                      <a:pt x="592" y="774"/>
                    </a:lnTo>
                    <a:lnTo>
                      <a:pt x="771" y="34"/>
                    </a:lnTo>
                    <a:lnTo>
                      <a:pt x="40"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30"/>
              <p:cNvSpPr>
                <a:spLocks noEditPoints="1"/>
              </p:cNvSpPr>
              <p:nvPr userDrawn="1"/>
            </p:nvSpPr>
            <p:spPr bwMode="auto">
              <a:xfrm>
                <a:off x="341" y="1101"/>
                <a:ext cx="306" cy="321"/>
              </a:xfrm>
              <a:custGeom>
                <a:avLst/>
                <a:gdLst>
                  <a:gd name="T0" fmla="*/ 744 w 919"/>
                  <a:gd name="T1" fmla="*/ 963 h 963"/>
                  <a:gd name="T2" fmla="*/ 739 w 919"/>
                  <a:gd name="T3" fmla="*/ 962 h 963"/>
                  <a:gd name="T4" fmla="*/ 735 w 919"/>
                  <a:gd name="T5" fmla="*/ 960 h 963"/>
                  <a:gd name="T6" fmla="*/ 5 w 919"/>
                  <a:gd name="T7" fmla="*/ 353 h 963"/>
                  <a:gd name="T8" fmla="*/ 3 w 919"/>
                  <a:gd name="T9" fmla="*/ 350 h 963"/>
                  <a:gd name="T10" fmla="*/ 1 w 919"/>
                  <a:gd name="T11" fmla="*/ 346 h 963"/>
                  <a:gd name="T12" fmla="*/ 0 w 919"/>
                  <a:gd name="T13" fmla="*/ 343 h 963"/>
                  <a:gd name="T14" fmla="*/ 1 w 919"/>
                  <a:gd name="T15" fmla="*/ 340 h 963"/>
                  <a:gd name="T16" fmla="*/ 2 w 919"/>
                  <a:gd name="T17" fmla="*/ 337 h 963"/>
                  <a:gd name="T18" fmla="*/ 3 w 919"/>
                  <a:gd name="T19" fmla="*/ 334 h 963"/>
                  <a:gd name="T20" fmla="*/ 6 w 919"/>
                  <a:gd name="T21" fmla="*/ 331 h 963"/>
                  <a:gd name="T22" fmla="*/ 9 w 919"/>
                  <a:gd name="T23" fmla="*/ 329 h 963"/>
                  <a:gd name="T24" fmla="*/ 900 w 919"/>
                  <a:gd name="T25" fmla="*/ 1 h 963"/>
                  <a:gd name="T26" fmla="*/ 903 w 919"/>
                  <a:gd name="T27" fmla="*/ 0 h 963"/>
                  <a:gd name="T28" fmla="*/ 907 w 919"/>
                  <a:gd name="T29" fmla="*/ 0 h 963"/>
                  <a:gd name="T30" fmla="*/ 910 w 919"/>
                  <a:gd name="T31" fmla="*/ 1 h 963"/>
                  <a:gd name="T32" fmla="*/ 913 w 919"/>
                  <a:gd name="T33" fmla="*/ 3 h 963"/>
                  <a:gd name="T34" fmla="*/ 915 w 919"/>
                  <a:gd name="T35" fmla="*/ 5 h 963"/>
                  <a:gd name="T36" fmla="*/ 917 w 919"/>
                  <a:gd name="T37" fmla="*/ 9 h 963"/>
                  <a:gd name="T38" fmla="*/ 919 w 919"/>
                  <a:gd name="T39" fmla="*/ 12 h 963"/>
                  <a:gd name="T40" fmla="*/ 919 w 919"/>
                  <a:gd name="T41" fmla="*/ 16 h 963"/>
                  <a:gd name="T42" fmla="*/ 758 w 919"/>
                  <a:gd name="T43" fmla="*/ 952 h 963"/>
                  <a:gd name="T44" fmla="*/ 757 w 919"/>
                  <a:gd name="T45" fmla="*/ 955 h 963"/>
                  <a:gd name="T46" fmla="*/ 754 w 919"/>
                  <a:gd name="T47" fmla="*/ 959 h 963"/>
                  <a:gd name="T48" fmla="*/ 752 w 919"/>
                  <a:gd name="T49" fmla="*/ 961 h 963"/>
                  <a:gd name="T50" fmla="*/ 749 w 919"/>
                  <a:gd name="T51" fmla="*/ 962 h 963"/>
                  <a:gd name="T52" fmla="*/ 746 w 919"/>
                  <a:gd name="T53" fmla="*/ 963 h 963"/>
                  <a:gd name="T54" fmla="*/ 744 w 919"/>
                  <a:gd name="T55" fmla="*/ 963 h 963"/>
                  <a:gd name="T56" fmla="*/ 41 w 919"/>
                  <a:gd name="T57" fmla="*/ 346 h 963"/>
                  <a:gd name="T58" fmla="*/ 41 w 919"/>
                  <a:gd name="T59" fmla="*/ 346 h 963"/>
                  <a:gd name="T60" fmla="*/ 735 w 919"/>
                  <a:gd name="T61" fmla="*/ 924 h 963"/>
                  <a:gd name="T62" fmla="*/ 887 w 919"/>
                  <a:gd name="T63" fmla="*/ 35 h 963"/>
                  <a:gd name="T64" fmla="*/ 41 w 919"/>
                  <a:gd name="T65" fmla="*/ 346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9" h="963">
                    <a:moveTo>
                      <a:pt x="744" y="963"/>
                    </a:moveTo>
                    <a:lnTo>
                      <a:pt x="739" y="962"/>
                    </a:lnTo>
                    <a:lnTo>
                      <a:pt x="735" y="960"/>
                    </a:lnTo>
                    <a:lnTo>
                      <a:pt x="5" y="353"/>
                    </a:lnTo>
                    <a:lnTo>
                      <a:pt x="3" y="350"/>
                    </a:lnTo>
                    <a:lnTo>
                      <a:pt x="1" y="346"/>
                    </a:lnTo>
                    <a:lnTo>
                      <a:pt x="0" y="343"/>
                    </a:lnTo>
                    <a:lnTo>
                      <a:pt x="1" y="340"/>
                    </a:lnTo>
                    <a:lnTo>
                      <a:pt x="2" y="337"/>
                    </a:lnTo>
                    <a:lnTo>
                      <a:pt x="3" y="334"/>
                    </a:lnTo>
                    <a:lnTo>
                      <a:pt x="6" y="331"/>
                    </a:lnTo>
                    <a:lnTo>
                      <a:pt x="9" y="329"/>
                    </a:lnTo>
                    <a:lnTo>
                      <a:pt x="900" y="1"/>
                    </a:lnTo>
                    <a:lnTo>
                      <a:pt x="903" y="0"/>
                    </a:lnTo>
                    <a:lnTo>
                      <a:pt x="907" y="0"/>
                    </a:lnTo>
                    <a:lnTo>
                      <a:pt x="910" y="1"/>
                    </a:lnTo>
                    <a:lnTo>
                      <a:pt x="913" y="3"/>
                    </a:lnTo>
                    <a:lnTo>
                      <a:pt x="915" y="5"/>
                    </a:lnTo>
                    <a:lnTo>
                      <a:pt x="917" y="9"/>
                    </a:lnTo>
                    <a:lnTo>
                      <a:pt x="919" y="12"/>
                    </a:lnTo>
                    <a:lnTo>
                      <a:pt x="919" y="16"/>
                    </a:lnTo>
                    <a:lnTo>
                      <a:pt x="758" y="952"/>
                    </a:lnTo>
                    <a:lnTo>
                      <a:pt x="757" y="955"/>
                    </a:lnTo>
                    <a:lnTo>
                      <a:pt x="754" y="959"/>
                    </a:lnTo>
                    <a:lnTo>
                      <a:pt x="752" y="961"/>
                    </a:lnTo>
                    <a:lnTo>
                      <a:pt x="749" y="962"/>
                    </a:lnTo>
                    <a:lnTo>
                      <a:pt x="746" y="963"/>
                    </a:lnTo>
                    <a:lnTo>
                      <a:pt x="744" y="963"/>
                    </a:lnTo>
                    <a:close/>
                    <a:moveTo>
                      <a:pt x="41" y="346"/>
                    </a:moveTo>
                    <a:lnTo>
                      <a:pt x="41" y="346"/>
                    </a:lnTo>
                    <a:lnTo>
                      <a:pt x="735" y="924"/>
                    </a:lnTo>
                    <a:lnTo>
                      <a:pt x="887" y="35"/>
                    </a:lnTo>
                    <a:lnTo>
                      <a:pt x="41"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1"/>
              <p:cNvSpPr>
                <a:spLocks noEditPoints="1"/>
              </p:cNvSpPr>
              <p:nvPr userDrawn="1"/>
            </p:nvSpPr>
            <p:spPr bwMode="auto">
              <a:xfrm>
                <a:off x="332" y="1092"/>
                <a:ext cx="306" cy="321"/>
              </a:xfrm>
              <a:custGeom>
                <a:avLst/>
                <a:gdLst>
                  <a:gd name="T0" fmla="*/ 744 w 919"/>
                  <a:gd name="T1" fmla="*/ 963 h 963"/>
                  <a:gd name="T2" fmla="*/ 739 w 919"/>
                  <a:gd name="T3" fmla="*/ 962 h 963"/>
                  <a:gd name="T4" fmla="*/ 735 w 919"/>
                  <a:gd name="T5" fmla="*/ 960 h 963"/>
                  <a:gd name="T6" fmla="*/ 5 w 919"/>
                  <a:gd name="T7" fmla="*/ 353 h 963"/>
                  <a:gd name="T8" fmla="*/ 3 w 919"/>
                  <a:gd name="T9" fmla="*/ 350 h 963"/>
                  <a:gd name="T10" fmla="*/ 1 w 919"/>
                  <a:gd name="T11" fmla="*/ 347 h 963"/>
                  <a:gd name="T12" fmla="*/ 0 w 919"/>
                  <a:gd name="T13" fmla="*/ 343 h 963"/>
                  <a:gd name="T14" fmla="*/ 1 w 919"/>
                  <a:gd name="T15" fmla="*/ 340 h 963"/>
                  <a:gd name="T16" fmla="*/ 2 w 919"/>
                  <a:gd name="T17" fmla="*/ 337 h 963"/>
                  <a:gd name="T18" fmla="*/ 3 w 919"/>
                  <a:gd name="T19" fmla="*/ 334 h 963"/>
                  <a:gd name="T20" fmla="*/ 6 w 919"/>
                  <a:gd name="T21" fmla="*/ 331 h 963"/>
                  <a:gd name="T22" fmla="*/ 9 w 919"/>
                  <a:gd name="T23" fmla="*/ 329 h 963"/>
                  <a:gd name="T24" fmla="*/ 900 w 919"/>
                  <a:gd name="T25" fmla="*/ 1 h 963"/>
                  <a:gd name="T26" fmla="*/ 903 w 919"/>
                  <a:gd name="T27" fmla="*/ 0 h 963"/>
                  <a:gd name="T28" fmla="*/ 907 w 919"/>
                  <a:gd name="T29" fmla="*/ 0 h 963"/>
                  <a:gd name="T30" fmla="*/ 910 w 919"/>
                  <a:gd name="T31" fmla="*/ 1 h 963"/>
                  <a:gd name="T32" fmla="*/ 913 w 919"/>
                  <a:gd name="T33" fmla="*/ 3 h 963"/>
                  <a:gd name="T34" fmla="*/ 915 w 919"/>
                  <a:gd name="T35" fmla="*/ 5 h 963"/>
                  <a:gd name="T36" fmla="*/ 917 w 919"/>
                  <a:gd name="T37" fmla="*/ 9 h 963"/>
                  <a:gd name="T38" fmla="*/ 919 w 919"/>
                  <a:gd name="T39" fmla="*/ 12 h 963"/>
                  <a:gd name="T40" fmla="*/ 917 w 919"/>
                  <a:gd name="T41" fmla="*/ 16 h 963"/>
                  <a:gd name="T42" fmla="*/ 758 w 919"/>
                  <a:gd name="T43" fmla="*/ 952 h 963"/>
                  <a:gd name="T44" fmla="*/ 757 w 919"/>
                  <a:gd name="T45" fmla="*/ 955 h 963"/>
                  <a:gd name="T46" fmla="*/ 754 w 919"/>
                  <a:gd name="T47" fmla="*/ 959 h 963"/>
                  <a:gd name="T48" fmla="*/ 751 w 919"/>
                  <a:gd name="T49" fmla="*/ 961 h 963"/>
                  <a:gd name="T50" fmla="*/ 749 w 919"/>
                  <a:gd name="T51" fmla="*/ 962 h 963"/>
                  <a:gd name="T52" fmla="*/ 746 w 919"/>
                  <a:gd name="T53" fmla="*/ 963 h 963"/>
                  <a:gd name="T54" fmla="*/ 744 w 919"/>
                  <a:gd name="T55" fmla="*/ 963 h 963"/>
                  <a:gd name="T56" fmla="*/ 41 w 919"/>
                  <a:gd name="T57" fmla="*/ 347 h 963"/>
                  <a:gd name="T58" fmla="*/ 41 w 919"/>
                  <a:gd name="T59" fmla="*/ 347 h 963"/>
                  <a:gd name="T60" fmla="*/ 735 w 919"/>
                  <a:gd name="T61" fmla="*/ 924 h 963"/>
                  <a:gd name="T62" fmla="*/ 887 w 919"/>
                  <a:gd name="T63" fmla="*/ 35 h 963"/>
                  <a:gd name="T64" fmla="*/ 41 w 919"/>
                  <a:gd name="T65" fmla="*/ 347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9" h="963">
                    <a:moveTo>
                      <a:pt x="744" y="963"/>
                    </a:moveTo>
                    <a:lnTo>
                      <a:pt x="739" y="962"/>
                    </a:lnTo>
                    <a:lnTo>
                      <a:pt x="735" y="960"/>
                    </a:lnTo>
                    <a:lnTo>
                      <a:pt x="5" y="353"/>
                    </a:lnTo>
                    <a:lnTo>
                      <a:pt x="3" y="350"/>
                    </a:lnTo>
                    <a:lnTo>
                      <a:pt x="1" y="347"/>
                    </a:lnTo>
                    <a:lnTo>
                      <a:pt x="0" y="343"/>
                    </a:lnTo>
                    <a:lnTo>
                      <a:pt x="1" y="340"/>
                    </a:lnTo>
                    <a:lnTo>
                      <a:pt x="2" y="337"/>
                    </a:lnTo>
                    <a:lnTo>
                      <a:pt x="3" y="334"/>
                    </a:lnTo>
                    <a:lnTo>
                      <a:pt x="6" y="331"/>
                    </a:lnTo>
                    <a:lnTo>
                      <a:pt x="9" y="329"/>
                    </a:lnTo>
                    <a:lnTo>
                      <a:pt x="900" y="1"/>
                    </a:lnTo>
                    <a:lnTo>
                      <a:pt x="903" y="0"/>
                    </a:lnTo>
                    <a:lnTo>
                      <a:pt x="907" y="0"/>
                    </a:lnTo>
                    <a:lnTo>
                      <a:pt x="910" y="1"/>
                    </a:lnTo>
                    <a:lnTo>
                      <a:pt x="913" y="3"/>
                    </a:lnTo>
                    <a:lnTo>
                      <a:pt x="915" y="5"/>
                    </a:lnTo>
                    <a:lnTo>
                      <a:pt x="917" y="9"/>
                    </a:lnTo>
                    <a:lnTo>
                      <a:pt x="919" y="12"/>
                    </a:lnTo>
                    <a:lnTo>
                      <a:pt x="917" y="16"/>
                    </a:lnTo>
                    <a:lnTo>
                      <a:pt x="758" y="952"/>
                    </a:lnTo>
                    <a:lnTo>
                      <a:pt x="757" y="955"/>
                    </a:lnTo>
                    <a:lnTo>
                      <a:pt x="754" y="959"/>
                    </a:lnTo>
                    <a:lnTo>
                      <a:pt x="751" y="961"/>
                    </a:lnTo>
                    <a:lnTo>
                      <a:pt x="749" y="962"/>
                    </a:lnTo>
                    <a:lnTo>
                      <a:pt x="746" y="963"/>
                    </a:lnTo>
                    <a:lnTo>
                      <a:pt x="744" y="963"/>
                    </a:lnTo>
                    <a:close/>
                    <a:moveTo>
                      <a:pt x="41" y="347"/>
                    </a:moveTo>
                    <a:lnTo>
                      <a:pt x="41" y="347"/>
                    </a:lnTo>
                    <a:lnTo>
                      <a:pt x="735" y="924"/>
                    </a:lnTo>
                    <a:lnTo>
                      <a:pt x="887" y="35"/>
                    </a:lnTo>
                    <a:lnTo>
                      <a:pt x="41" y="3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32"/>
              <p:cNvSpPr>
                <a:spLocks noEditPoints="1"/>
              </p:cNvSpPr>
              <p:nvPr userDrawn="1"/>
            </p:nvSpPr>
            <p:spPr bwMode="auto">
              <a:xfrm>
                <a:off x="3248" y="2786"/>
                <a:ext cx="251" cy="254"/>
              </a:xfrm>
              <a:custGeom>
                <a:avLst/>
                <a:gdLst>
                  <a:gd name="T0" fmla="*/ 566 w 752"/>
                  <a:gd name="T1" fmla="*/ 764 h 764"/>
                  <a:gd name="T2" fmla="*/ 562 w 752"/>
                  <a:gd name="T3" fmla="*/ 763 h 764"/>
                  <a:gd name="T4" fmla="*/ 557 w 752"/>
                  <a:gd name="T5" fmla="*/ 761 h 764"/>
                  <a:gd name="T6" fmla="*/ 5 w 752"/>
                  <a:gd name="T7" fmla="*/ 243 h 764"/>
                  <a:gd name="T8" fmla="*/ 2 w 752"/>
                  <a:gd name="T9" fmla="*/ 240 h 764"/>
                  <a:gd name="T10" fmla="*/ 0 w 752"/>
                  <a:gd name="T11" fmla="*/ 237 h 764"/>
                  <a:gd name="T12" fmla="*/ 0 w 752"/>
                  <a:gd name="T13" fmla="*/ 233 h 764"/>
                  <a:gd name="T14" fmla="*/ 0 w 752"/>
                  <a:gd name="T15" fmla="*/ 230 h 764"/>
                  <a:gd name="T16" fmla="*/ 1 w 752"/>
                  <a:gd name="T17" fmla="*/ 227 h 764"/>
                  <a:gd name="T18" fmla="*/ 4 w 752"/>
                  <a:gd name="T19" fmla="*/ 224 h 764"/>
                  <a:gd name="T20" fmla="*/ 7 w 752"/>
                  <a:gd name="T21" fmla="*/ 221 h 764"/>
                  <a:gd name="T22" fmla="*/ 10 w 752"/>
                  <a:gd name="T23" fmla="*/ 220 h 764"/>
                  <a:gd name="T24" fmla="*/ 735 w 752"/>
                  <a:gd name="T25" fmla="*/ 0 h 764"/>
                  <a:gd name="T26" fmla="*/ 738 w 752"/>
                  <a:gd name="T27" fmla="*/ 0 h 764"/>
                  <a:gd name="T28" fmla="*/ 742 w 752"/>
                  <a:gd name="T29" fmla="*/ 0 h 764"/>
                  <a:gd name="T30" fmla="*/ 745 w 752"/>
                  <a:gd name="T31" fmla="*/ 1 h 764"/>
                  <a:gd name="T32" fmla="*/ 748 w 752"/>
                  <a:gd name="T33" fmla="*/ 3 h 764"/>
                  <a:gd name="T34" fmla="*/ 750 w 752"/>
                  <a:gd name="T35" fmla="*/ 6 h 764"/>
                  <a:gd name="T36" fmla="*/ 752 w 752"/>
                  <a:gd name="T37" fmla="*/ 9 h 764"/>
                  <a:gd name="T38" fmla="*/ 752 w 752"/>
                  <a:gd name="T39" fmla="*/ 13 h 764"/>
                  <a:gd name="T40" fmla="*/ 752 w 752"/>
                  <a:gd name="T41" fmla="*/ 16 h 764"/>
                  <a:gd name="T42" fmla="*/ 579 w 752"/>
                  <a:gd name="T43" fmla="*/ 754 h 764"/>
                  <a:gd name="T44" fmla="*/ 578 w 752"/>
                  <a:gd name="T45" fmla="*/ 757 h 764"/>
                  <a:gd name="T46" fmla="*/ 576 w 752"/>
                  <a:gd name="T47" fmla="*/ 760 h 764"/>
                  <a:gd name="T48" fmla="*/ 574 w 752"/>
                  <a:gd name="T49" fmla="*/ 762 h 764"/>
                  <a:gd name="T50" fmla="*/ 570 w 752"/>
                  <a:gd name="T51" fmla="*/ 763 h 764"/>
                  <a:gd name="T52" fmla="*/ 568 w 752"/>
                  <a:gd name="T53" fmla="*/ 764 h 764"/>
                  <a:gd name="T54" fmla="*/ 566 w 752"/>
                  <a:gd name="T55" fmla="*/ 764 h 764"/>
                  <a:gd name="T56" fmla="*/ 40 w 752"/>
                  <a:gd name="T57" fmla="*/ 239 h 764"/>
                  <a:gd name="T58" fmla="*/ 40 w 752"/>
                  <a:gd name="T59" fmla="*/ 239 h 764"/>
                  <a:gd name="T60" fmla="*/ 559 w 752"/>
                  <a:gd name="T61" fmla="*/ 724 h 764"/>
                  <a:gd name="T62" fmla="*/ 721 w 752"/>
                  <a:gd name="T63" fmla="*/ 32 h 764"/>
                  <a:gd name="T64" fmla="*/ 40 w 752"/>
                  <a:gd name="T65" fmla="*/ 239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2" h="764">
                    <a:moveTo>
                      <a:pt x="566" y="764"/>
                    </a:moveTo>
                    <a:lnTo>
                      <a:pt x="562" y="763"/>
                    </a:lnTo>
                    <a:lnTo>
                      <a:pt x="557" y="761"/>
                    </a:lnTo>
                    <a:lnTo>
                      <a:pt x="5" y="243"/>
                    </a:lnTo>
                    <a:lnTo>
                      <a:pt x="2" y="240"/>
                    </a:lnTo>
                    <a:lnTo>
                      <a:pt x="0" y="237"/>
                    </a:lnTo>
                    <a:lnTo>
                      <a:pt x="0" y="233"/>
                    </a:lnTo>
                    <a:lnTo>
                      <a:pt x="0" y="230"/>
                    </a:lnTo>
                    <a:lnTo>
                      <a:pt x="1" y="227"/>
                    </a:lnTo>
                    <a:lnTo>
                      <a:pt x="4" y="224"/>
                    </a:lnTo>
                    <a:lnTo>
                      <a:pt x="7" y="221"/>
                    </a:lnTo>
                    <a:lnTo>
                      <a:pt x="10" y="220"/>
                    </a:lnTo>
                    <a:lnTo>
                      <a:pt x="735" y="0"/>
                    </a:lnTo>
                    <a:lnTo>
                      <a:pt x="738" y="0"/>
                    </a:lnTo>
                    <a:lnTo>
                      <a:pt x="742" y="0"/>
                    </a:lnTo>
                    <a:lnTo>
                      <a:pt x="745" y="1"/>
                    </a:lnTo>
                    <a:lnTo>
                      <a:pt x="748" y="3"/>
                    </a:lnTo>
                    <a:lnTo>
                      <a:pt x="750" y="6"/>
                    </a:lnTo>
                    <a:lnTo>
                      <a:pt x="752" y="9"/>
                    </a:lnTo>
                    <a:lnTo>
                      <a:pt x="752" y="13"/>
                    </a:lnTo>
                    <a:lnTo>
                      <a:pt x="752" y="16"/>
                    </a:lnTo>
                    <a:lnTo>
                      <a:pt x="579" y="754"/>
                    </a:lnTo>
                    <a:lnTo>
                      <a:pt x="578" y="757"/>
                    </a:lnTo>
                    <a:lnTo>
                      <a:pt x="576" y="760"/>
                    </a:lnTo>
                    <a:lnTo>
                      <a:pt x="574" y="762"/>
                    </a:lnTo>
                    <a:lnTo>
                      <a:pt x="570" y="763"/>
                    </a:lnTo>
                    <a:lnTo>
                      <a:pt x="568" y="764"/>
                    </a:lnTo>
                    <a:lnTo>
                      <a:pt x="566" y="764"/>
                    </a:lnTo>
                    <a:close/>
                    <a:moveTo>
                      <a:pt x="40" y="239"/>
                    </a:moveTo>
                    <a:lnTo>
                      <a:pt x="40" y="239"/>
                    </a:lnTo>
                    <a:lnTo>
                      <a:pt x="559" y="724"/>
                    </a:lnTo>
                    <a:lnTo>
                      <a:pt x="721" y="32"/>
                    </a:lnTo>
                    <a:lnTo>
                      <a:pt x="40"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33"/>
              <p:cNvSpPr>
                <a:spLocks/>
              </p:cNvSpPr>
              <p:nvPr userDrawn="1"/>
            </p:nvSpPr>
            <p:spPr bwMode="auto">
              <a:xfrm>
                <a:off x="519" y="2533"/>
                <a:ext cx="358" cy="357"/>
              </a:xfrm>
              <a:custGeom>
                <a:avLst/>
                <a:gdLst>
                  <a:gd name="T0" fmla="*/ 1058 w 1072"/>
                  <a:gd name="T1" fmla="*/ 1073 h 1073"/>
                  <a:gd name="T2" fmla="*/ 1054 w 1072"/>
                  <a:gd name="T3" fmla="*/ 1072 h 1073"/>
                  <a:gd name="T4" fmla="*/ 1049 w 1072"/>
                  <a:gd name="T5" fmla="*/ 1069 h 1073"/>
                  <a:gd name="T6" fmla="*/ 3 w 1072"/>
                  <a:gd name="T7" fmla="*/ 24 h 1073"/>
                  <a:gd name="T8" fmla="*/ 0 w 1072"/>
                  <a:gd name="T9" fmla="*/ 20 h 1073"/>
                  <a:gd name="T10" fmla="*/ 0 w 1072"/>
                  <a:gd name="T11" fmla="*/ 14 h 1073"/>
                  <a:gd name="T12" fmla="*/ 0 w 1072"/>
                  <a:gd name="T13" fmla="*/ 9 h 1073"/>
                  <a:gd name="T14" fmla="*/ 3 w 1072"/>
                  <a:gd name="T15" fmla="*/ 5 h 1073"/>
                  <a:gd name="T16" fmla="*/ 8 w 1072"/>
                  <a:gd name="T17" fmla="*/ 1 h 1073"/>
                  <a:gd name="T18" fmla="*/ 13 w 1072"/>
                  <a:gd name="T19" fmla="*/ 0 h 1073"/>
                  <a:gd name="T20" fmla="*/ 19 w 1072"/>
                  <a:gd name="T21" fmla="*/ 1 h 1073"/>
                  <a:gd name="T22" fmla="*/ 23 w 1072"/>
                  <a:gd name="T23" fmla="*/ 5 h 1073"/>
                  <a:gd name="T24" fmla="*/ 1068 w 1072"/>
                  <a:gd name="T25" fmla="*/ 1049 h 1073"/>
                  <a:gd name="T26" fmla="*/ 1071 w 1072"/>
                  <a:gd name="T27" fmla="*/ 1054 h 1073"/>
                  <a:gd name="T28" fmla="*/ 1072 w 1072"/>
                  <a:gd name="T29" fmla="*/ 1059 h 1073"/>
                  <a:gd name="T30" fmla="*/ 1071 w 1072"/>
                  <a:gd name="T31" fmla="*/ 1065 h 1073"/>
                  <a:gd name="T32" fmla="*/ 1068 w 1072"/>
                  <a:gd name="T33" fmla="*/ 1069 h 1073"/>
                  <a:gd name="T34" fmla="*/ 1064 w 1072"/>
                  <a:gd name="T35" fmla="*/ 1072 h 1073"/>
                  <a:gd name="T36" fmla="*/ 1058 w 1072"/>
                  <a:gd name="T37"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2" h="1073">
                    <a:moveTo>
                      <a:pt x="1058" y="1073"/>
                    </a:moveTo>
                    <a:lnTo>
                      <a:pt x="1054" y="1072"/>
                    </a:lnTo>
                    <a:lnTo>
                      <a:pt x="1049" y="1069"/>
                    </a:lnTo>
                    <a:lnTo>
                      <a:pt x="3" y="24"/>
                    </a:lnTo>
                    <a:lnTo>
                      <a:pt x="0" y="20"/>
                    </a:lnTo>
                    <a:lnTo>
                      <a:pt x="0" y="14"/>
                    </a:lnTo>
                    <a:lnTo>
                      <a:pt x="0" y="9"/>
                    </a:lnTo>
                    <a:lnTo>
                      <a:pt x="3" y="5"/>
                    </a:lnTo>
                    <a:lnTo>
                      <a:pt x="8" y="1"/>
                    </a:lnTo>
                    <a:lnTo>
                      <a:pt x="13" y="0"/>
                    </a:lnTo>
                    <a:lnTo>
                      <a:pt x="19" y="1"/>
                    </a:lnTo>
                    <a:lnTo>
                      <a:pt x="23" y="5"/>
                    </a:lnTo>
                    <a:lnTo>
                      <a:pt x="1068" y="1049"/>
                    </a:lnTo>
                    <a:lnTo>
                      <a:pt x="1071" y="1054"/>
                    </a:lnTo>
                    <a:lnTo>
                      <a:pt x="1072" y="1059"/>
                    </a:lnTo>
                    <a:lnTo>
                      <a:pt x="1071" y="1065"/>
                    </a:lnTo>
                    <a:lnTo>
                      <a:pt x="1068" y="1069"/>
                    </a:lnTo>
                    <a:lnTo>
                      <a:pt x="1064" y="1072"/>
                    </a:lnTo>
                    <a:lnTo>
                      <a:pt x="1058" y="10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4"/>
              <p:cNvSpPr>
                <a:spLocks/>
              </p:cNvSpPr>
              <p:nvPr userDrawn="1"/>
            </p:nvSpPr>
            <p:spPr bwMode="auto">
              <a:xfrm>
                <a:off x="2788" y="2595"/>
                <a:ext cx="657" cy="656"/>
              </a:xfrm>
              <a:custGeom>
                <a:avLst/>
                <a:gdLst>
                  <a:gd name="T0" fmla="*/ 1958 w 1972"/>
                  <a:gd name="T1" fmla="*/ 1970 h 1970"/>
                  <a:gd name="T2" fmla="*/ 1953 w 1972"/>
                  <a:gd name="T3" fmla="*/ 1969 h 1970"/>
                  <a:gd name="T4" fmla="*/ 1948 w 1972"/>
                  <a:gd name="T5" fmla="*/ 1967 h 1970"/>
                  <a:gd name="T6" fmla="*/ 5 w 1972"/>
                  <a:gd name="T7" fmla="*/ 23 h 1970"/>
                  <a:gd name="T8" fmla="*/ 1 w 1972"/>
                  <a:gd name="T9" fmla="*/ 18 h 1970"/>
                  <a:gd name="T10" fmla="*/ 0 w 1972"/>
                  <a:gd name="T11" fmla="*/ 13 h 1970"/>
                  <a:gd name="T12" fmla="*/ 1 w 1972"/>
                  <a:gd name="T13" fmla="*/ 7 h 1970"/>
                  <a:gd name="T14" fmla="*/ 5 w 1972"/>
                  <a:gd name="T15" fmla="*/ 3 h 1970"/>
                  <a:gd name="T16" fmla="*/ 9 w 1972"/>
                  <a:gd name="T17" fmla="*/ 0 h 1970"/>
                  <a:gd name="T18" fmla="*/ 13 w 1972"/>
                  <a:gd name="T19" fmla="*/ 0 h 1970"/>
                  <a:gd name="T20" fmla="*/ 19 w 1972"/>
                  <a:gd name="T21" fmla="*/ 0 h 1970"/>
                  <a:gd name="T22" fmla="*/ 23 w 1972"/>
                  <a:gd name="T23" fmla="*/ 3 h 1970"/>
                  <a:gd name="T24" fmla="*/ 1968 w 1972"/>
                  <a:gd name="T25" fmla="*/ 1947 h 1970"/>
                  <a:gd name="T26" fmla="*/ 1971 w 1972"/>
                  <a:gd name="T27" fmla="*/ 1952 h 1970"/>
                  <a:gd name="T28" fmla="*/ 1972 w 1972"/>
                  <a:gd name="T29" fmla="*/ 1957 h 1970"/>
                  <a:gd name="T30" fmla="*/ 1971 w 1972"/>
                  <a:gd name="T31" fmla="*/ 1962 h 1970"/>
                  <a:gd name="T32" fmla="*/ 1968 w 1972"/>
                  <a:gd name="T33" fmla="*/ 1967 h 1970"/>
                  <a:gd name="T34" fmla="*/ 1963 w 1972"/>
                  <a:gd name="T35" fmla="*/ 1969 h 1970"/>
                  <a:gd name="T36" fmla="*/ 1958 w 1972"/>
                  <a:gd name="T37" fmla="*/ 1970 h 1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2" h="1970">
                    <a:moveTo>
                      <a:pt x="1958" y="1970"/>
                    </a:moveTo>
                    <a:lnTo>
                      <a:pt x="1953" y="1969"/>
                    </a:lnTo>
                    <a:lnTo>
                      <a:pt x="1948" y="1967"/>
                    </a:lnTo>
                    <a:lnTo>
                      <a:pt x="5" y="23"/>
                    </a:lnTo>
                    <a:lnTo>
                      <a:pt x="1" y="18"/>
                    </a:lnTo>
                    <a:lnTo>
                      <a:pt x="0" y="13"/>
                    </a:lnTo>
                    <a:lnTo>
                      <a:pt x="1" y="7"/>
                    </a:lnTo>
                    <a:lnTo>
                      <a:pt x="5" y="3"/>
                    </a:lnTo>
                    <a:lnTo>
                      <a:pt x="9" y="0"/>
                    </a:lnTo>
                    <a:lnTo>
                      <a:pt x="13" y="0"/>
                    </a:lnTo>
                    <a:lnTo>
                      <a:pt x="19" y="0"/>
                    </a:lnTo>
                    <a:lnTo>
                      <a:pt x="23" y="3"/>
                    </a:lnTo>
                    <a:lnTo>
                      <a:pt x="1968" y="1947"/>
                    </a:lnTo>
                    <a:lnTo>
                      <a:pt x="1971" y="1952"/>
                    </a:lnTo>
                    <a:lnTo>
                      <a:pt x="1972" y="1957"/>
                    </a:lnTo>
                    <a:lnTo>
                      <a:pt x="1971" y="1962"/>
                    </a:lnTo>
                    <a:lnTo>
                      <a:pt x="1968" y="1967"/>
                    </a:lnTo>
                    <a:lnTo>
                      <a:pt x="1963" y="1969"/>
                    </a:lnTo>
                    <a:lnTo>
                      <a:pt x="1958" y="19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5"/>
              <p:cNvSpPr>
                <a:spLocks/>
              </p:cNvSpPr>
              <p:nvPr userDrawn="1"/>
            </p:nvSpPr>
            <p:spPr bwMode="auto">
              <a:xfrm>
                <a:off x="3417" y="1733"/>
                <a:ext cx="553" cy="553"/>
              </a:xfrm>
              <a:custGeom>
                <a:avLst/>
                <a:gdLst>
                  <a:gd name="T0" fmla="*/ 1646 w 1659"/>
                  <a:gd name="T1" fmla="*/ 1659 h 1659"/>
                  <a:gd name="T2" fmla="*/ 1641 w 1659"/>
                  <a:gd name="T3" fmla="*/ 1658 h 1659"/>
                  <a:gd name="T4" fmla="*/ 1637 w 1659"/>
                  <a:gd name="T5" fmla="*/ 1654 h 1659"/>
                  <a:gd name="T6" fmla="*/ 4 w 1659"/>
                  <a:gd name="T7" fmla="*/ 22 h 1659"/>
                  <a:gd name="T8" fmla="*/ 1 w 1659"/>
                  <a:gd name="T9" fmla="*/ 18 h 1659"/>
                  <a:gd name="T10" fmla="*/ 0 w 1659"/>
                  <a:gd name="T11" fmla="*/ 14 h 1659"/>
                  <a:gd name="T12" fmla="*/ 1 w 1659"/>
                  <a:gd name="T13" fmla="*/ 8 h 1659"/>
                  <a:gd name="T14" fmla="*/ 4 w 1659"/>
                  <a:gd name="T15" fmla="*/ 4 h 1659"/>
                  <a:gd name="T16" fmla="*/ 8 w 1659"/>
                  <a:gd name="T17" fmla="*/ 1 h 1659"/>
                  <a:gd name="T18" fmla="*/ 14 w 1659"/>
                  <a:gd name="T19" fmla="*/ 0 h 1659"/>
                  <a:gd name="T20" fmla="*/ 18 w 1659"/>
                  <a:gd name="T21" fmla="*/ 1 h 1659"/>
                  <a:gd name="T22" fmla="*/ 23 w 1659"/>
                  <a:gd name="T23" fmla="*/ 4 h 1659"/>
                  <a:gd name="T24" fmla="*/ 1655 w 1659"/>
                  <a:gd name="T25" fmla="*/ 1636 h 1659"/>
                  <a:gd name="T26" fmla="*/ 1658 w 1659"/>
                  <a:gd name="T27" fmla="*/ 1640 h 1659"/>
                  <a:gd name="T28" fmla="*/ 1659 w 1659"/>
                  <a:gd name="T29" fmla="*/ 1646 h 1659"/>
                  <a:gd name="T30" fmla="*/ 1658 w 1659"/>
                  <a:gd name="T31" fmla="*/ 1650 h 1659"/>
                  <a:gd name="T32" fmla="*/ 1655 w 1659"/>
                  <a:gd name="T33" fmla="*/ 1654 h 1659"/>
                  <a:gd name="T34" fmla="*/ 1651 w 1659"/>
                  <a:gd name="T35" fmla="*/ 1658 h 1659"/>
                  <a:gd name="T36" fmla="*/ 1646 w 1659"/>
                  <a:gd name="T37" fmla="*/ 1659 h 1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9" h="1659">
                    <a:moveTo>
                      <a:pt x="1646" y="1659"/>
                    </a:moveTo>
                    <a:lnTo>
                      <a:pt x="1641" y="1658"/>
                    </a:lnTo>
                    <a:lnTo>
                      <a:pt x="1637" y="1654"/>
                    </a:lnTo>
                    <a:lnTo>
                      <a:pt x="4" y="22"/>
                    </a:lnTo>
                    <a:lnTo>
                      <a:pt x="1" y="18"/>
                    </a:lnTo>
                    <a:lnTo>
                      <a:pt x="0" y="14"/>
                    </a:lnTo>
                    <a:lnTo>
                      <a:pt x="1" y="8"/>
                    </a:lnTo>
                    <a:lnTo>
                      <a:pt x="4" y="4"/>
                    </a:lnTo>
                    <a:lnTo>
                      <a:pt x="8" y="1"/>
                    </a:lnTo>
                    <a:lnTo>
                      <a:pt x="14" y="0"/>
                    </a:lnTo>
                    <a:lnTo>
                      <a:pt x="18" y="1"/>
                    </a:lnTo>
                    <a:lnTo>
                      <a:pt x="23" y="4"/>
                    </a:lnTo>
                    <a:lnTo>
                      <a:pt x="1655" y="1636"/>
                    </a:lnTo>
                    <a:lnTo>
                      <a:pt x="1658" y="1640"/>
                    </a:lnTo>
                    <a:lnTo>
                      <a:pt x="1659" y="1646"/>
                    </a:lnTo>
                    <a:lnTo>
                      <a:pt x="1658" y="1650"/>
                    </a:lnTo>
                    <a:lnTo>
                      <a:pt x="1655" y="1654"/>
                    </a:lnTo>
                    <a:lnTo>
                      <a:pt x="1651" y="1658"/>
                    </a:lnTo>
                    <a:lnTo>
                      <a:pt x="1646" y="16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36"/>
              <p:cNvSpPr>
                <a:spLocks/>
              </p:cNvSpPr>
              <p:nvPr userDrawn="1"/>
            </p:nvSpPr>
            <p:spPr bwMode="auto">
              <a:xfrm>
                <a:off x="5266" y="3692"/>
                <a:ext cx="233" cy="233"/>
              </a:xfrm>
              <a:custGeom>
                <a:avLst/>
                <a:gdLst>
                  <a:gd name="T0" fmla="*/ 685 w 698"/>
                  <a:gd name="T1" fmla="*/ 699 h 699"/>
                  <a:gd name="T2" fmla="*/ 680 w 698"/>
                  <a:gd name="T3" fmla="*/ 698 h 699"/>
                  <a:gd name="T4" fmla="*/ 676 w 698"/>
                  <a:gd name="T5" fmla="*/ 694 h 699"/>
                  <a:gd name="T6" fmla="*/ 4 w 698"/>
                  <a:gd name="T7" fmla="*/ 24 h 699"/>
                  <a:gd name="T8" fmla="*/ 1 w 698"/>
                  <a:gd name="T9" fmla="*/ 19 h 699"/>
                  <a:gd name="T10" fmla="*/ 0 w 698"/>
                  <a:gd name="T11" fmla="*/ 14 h 699"/>
                  <a:gd name="T12" fmla="*/ 1 w 698"/>
                  <a:gd name="T13" fmla="*/ 9 h 699"/>
                  <a:gd name="T14" fmla="*/ 4 w 698"/>
                  <a:gd name="T15" fmla="*/ 5 h 699"/>
                  <a:gd name="T16" fmla="*/ 8 w 698"/>
                  <a:gd name="T17" fmla="*/ 1 h 699"/>
                  <a:gd name="T18" fmla="*/ 14 w 698"/>
                  <a:gd name="T19" fmla="*/ 0 h 699"/>
                  <a:gd name="T20" fmla="*/ 19 w 698"/>
                  <a:gd name="T21" fmla="*/ 1 h 699"/>
                  <a:gd name="T22" fmla="*/ 23 w 698"/>
                  <a:gd name="T23" fmla="*/ 5 h 699"/>
                  <a:gd name="T24" fmla="*/ 695 w 698"/>
                  <a:gd name="T25" fmla="*/ 676 h 699"/>
                  <a:gd name="T26" fmla="*/ 697 w 698"/>
                  <a:gd name="T27" fmla="*/ 680 h 699"/>
                  <a:gd name="T28" fmla="*/ 698 w 698"/>
                  <a:gd name="T29" fmla="*/ 685 h 699"/>
                  <a:gd name="T30" fmla="*/ 697 w 698"/>
                  <a:gd name="T31" fmla="*/ 690 h 699"/>
                  <a:gd name="T32" fmla="*/ 695 w 698"/>
                  <a:gd name="T33" fmla="*/ 694 h 699"/>
                  <a:gd name="T34" fmla="*/ 690 w 698"/>
                  <a:gd name="T35" fmla="*/ 698 h 699"/>
                  <a:gd name="T36" fmla="*/ 685 w 698"/>
                  <a:gd name="T37" fmla="*/ 69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8" h="699">
                    <a:moveTo>
                      <a:pt x="685" y="699"/>
                    </a:moveTo>
                    <a:lnTo>
                      <a:pt x="680" y="698"/>
                    </a:lnTo>
                    <a:lnTo>
                      <a:pt x="676" y="694"/>
                    </a:lnTo>
                    <a:lnTo>
                      <a:pt x="4" y="24"/>
                    </a:lnTo>
                    <a:lnTo>
                      <a:pt x="1" y="19"/>
                    </a:lnTo>
                    <a:lnTo>
                      <a:pt x="0" y="14"/>
                    </a:lnTo>
                    <a:lnTo>
                      <a:pt x="1" y="9"/>
                    </a:lnTo>
                    <a:lnTo>
                      <a:pt x="4" y="5"/>
                    </a:lnTo>
                    <a:lnTo>
                      <a:pt x="8" y="1"/>
                    </a:lnTo>
                    <a:lnTo>
                      <a:pt x="14" y="0"/>
                    </a:lnTo>
                    <a:lnTo>
                      <a:pt x="19" y="1"/>
                    </a:lnTo>
                    <a:lnTo>
                      <a:pt x="23" y="5"/>
                    </a:lnTo>
                    <a:lnTo>
                      <a:pt x="695" y="676"/>
                    </a:lnTo>
                    <a:lnTo>
                      <a:pt x="697" y="680"/>
                    </a:lnTo>
                    <a:lnTo>
                      <a:pt x="698" y="685"/>
                    </a:lnTo>
                    <a:lnTo>
                      <a:pt x="697" y="690"/>
                    </a:lnTo>
                    <a:lnTo>
                      <a:pt x="695" y="694"/>
                    </a:lnTo>
                    <a:lnTo>
                      <a:pt x="690" y="698"/>
                    </a:lnTo>
                    <a:lnTo>
                      <a:pt x="685" y="6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37"/>
              <p:cNvSpPr>
                <a:spLocks noEditPoints="1"/>
              </p:cNvSpPr>
              <p:nvPr userDrawn="1"/>
            </p:nvSpPr>
            <p:spPr bwMode="auto">
              <a:xfrm>
                <a:off x="5457" y="3538"/>
                <a:ext cx="251" cy="256"/>
              </a:xfrm>
              <a:custGeom>
                <a:avLst/>
                <a:gdLst>
                  <a:gd name="T0" fmla="*/ 567 w 753"/>
                  <a:gd name="T1" fmla="*/ 766 h 766"/>
                  <a:gd name="T2" fmla="*/ 562 w 753"/>
                  <a:gd name="T3" fmla="*/ 765 h 766"/>
                  <a:gd name="T4" fmla="*/ 558 w 753"/>
                  <a:gd name="T5" fmla="*/ 762 h 766"/>
                  <a:gd name="T6" fmla="*/ 4 w 753"/>
                  <a:gd name="T7" fmla="*/ 244 h 766"/>
                  <a:gd name="T8" fmla="*/ 2 w 753"/>
                  <a:gd name="T9" fmla="*/ 241 h 766"/>
                  <a:gd name="T10" fmla="*/ 1 w 753"/>
                  <a:gd name="T11" fmla="*/ 238 h 766"/>
                  <a:gd name="T12" fmla="*/ 0 w 753"/>
                  <a:gd name="T13" fmla="*/ 235 h 766"/>
                  <a:gd name="T14" fmla="*/ 1 w 753"/>
                  <a:gd name="T15" fmla="*/ 231 h 766"/>
                  <a:gd name="T16" fmla="*/ 2 w 753"/>
                  <a:gd name="T17" fmla="*/ 228 h 766"/>
                  <a:gd name="T18" fmla="*/ 4 w 753"/>
                  <a:gd name="T19" fmla="*/ 225 h 766"/>
                  <a:gd name="T20" fmla="*/ 7 w 753"/>
                  <a:gd name="T21" fmla="*/ 223 h 766"/>
                  <a:gd name="T22" fmla="*/ 10 w 753"/>
                  <a:gd name="T23" fmla="*/ 222 h 766"/>
                  <a:gd name="T24" fmla="*/ 735 w 753"/>
                  <a:gd name="T25" fmla="*/ 1 h 766"/>
                  <a:gd name="T26" fmla="*/ 739 w 753"/>
                  <a:gd name="T27" fmla="*/ 0 h 766"/>
                  <a:gd name="T28" fmla="*/ 742 w 753"/>
                  <a:gd name="T29" fmla="*/ 1 h 766"/>
                  <a:gd name="T30" fmla="*/ 745 w 753"/>
                  <a:gd name="T31" fmla="*/ 3 h 766"/>
                  <a:gd name="T32" fmla="*/ 748 w 753"/>
                  <a:gd name="T33" fmla="*/ 5 h 766"/>
                  <a:gd name="T34" fmla="*/ 751 w 753"/>
                  <a:gd name="T35" fmla="*/ 7 h 766"/>
                  <a:gd name="T36" fmla="*/ 752 w 753"/>
                  <a:gd name="T37" fmla="*/ 10 h 766"/>
                  <a:gd name="T38" fmla="*/ 753 w 753"/>
                  <a:gd name="T39" fmla="*/ 14 h 766"/>
                  <a:gd name="T40" fmla="*/ 753 w 753"/>
                  <a:gd name="T41" fmla="*/ 18 h 766"/>
                  <a:gd name="T42" fmla="*/ 580 w 753"/>
                  <a:gd name="T43" fmla="*/ 755 h 766"/>
                  <a:gd name="T44" fmla="*/ 579 w 753"/>
                  <a:gd name="T45" fmla="*/ 758 h 766"/>
                  <a:gd name="T46" fmla="*/ 577 w 753"/>
                  <a:gd name="T47" fmla="*/ 761 h 766"/>
                  <a:gd name="T48" fmla="*/ 574 w 753"/>
                  <a:gd name="T49" fmla="*/ 764 h 766"/>
                  <a:gd name="T50" fmla="*/ 571 w 753"/>
                  <a:gd name="T51" fmla="*/ 765 h 766"/>
                  <a:gd name="T52" fmla="*/ 569 w 753"/>
                  <a:gd name="T53" fmla="*/ 766 h 766"/>
                  <a:gd name="T54" fmla="*/ 567 w 753"/>
                  <a:gd name="T55" fmla="*/ 766 h 766"/>
                  <a:gd name="T56" fmla="*/ 40 w 753"/>
                  <a:gd name="T57" fmla="*/ 240 h 766"/>
                  <a:gd name="T58" fmla="*/ 40 w 753"/>
                  <a:gd name="T59" fmla="*/ 240 h 766"/>
                  <a:gd name="T60" fmla="*/ 559 w 753"/>
                  <a:gd name="T61" fmla="*/ 726 h 766"/>
                  <a:gd name="T62" fmla="*/ 720 w 753"/>
                  <a:gd name="T63" fmla="*/ 34 h 766"/>
                  <a:gd name="T64" fmla="*/ 40 w 753"/>
                  <a:gd name="T65" fmla="*/ 24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3" h="766">
                    <a:moveTo>
                      <a:pt x="567" y="766"/>
                    </a:moveTo>
                    <a:lnTo>
                      <a:pt x="562" y="765"/>
                    </a:lnTo>
                    <a:lnTo>
                      <a:pt x="558" y="762"/>
                    </a:lnTo>
                    <a:lnTo>
                      <a:pt x="4" y="244"/>
                    </a:lnTo>
                    <a:lnTo>
                      <a:pt x="2" y="241"/>
                    </a:lnTo>
                    <a:lnTo>
                      <a:pt x="1" y="238"/>
                    </a:lnTo>
                    <a:lnTo>
                      <a:pt x="0" y="235"/>
                    </a:lnTo>
                    <a:lnTo>
                      <a:pt x="1" y="231"/>
                    </a:lnTo>
                    <a:lnTo>
                      <a:pt x="2" y="228"/>
                    </a:lnTo>
                    <a:lnTo>
                      <a:pt x="4" y="225"/>
                    </a:lnTo>
                    <a:lnTo>
                      <a:pt x="7" y="223"/>
                    </a:lnTo>
                    <a:lnTo>
                      <a:pt x="10" y="222"/>
                    </a:lnTo>
                    <a:lnTo>
                      <a:pt x="735" y="1"/>
                    </a:lnTo>
                    <a:lnTo>
                      <a:pt x="739" y="0"/>
                    </a:lnTo>
                    <a:lnTo>
                      <a:pt x="742" y="1"/>
                    </a:lnTo>
                    <a:lnTo>
                      <a:pt x="745" y="3"/>
                    </a:lnTo>
                    <a:lnTo>
                      <a:pt x="748" y="5"/>
                    </a:lnTo>
                    <a:lnTo>
                      <a:pt x="751" y="7"/>
                    </a:lnTo>
                    <a:lnTo>
                      <a:pt x="752" y="10"/>
                    </a:lnTo>
                    <a:lnTo>
                      <a:pt x="753" y="14"/>
                    </a:lnTo>
                    <a:lnTo>
                      <a:pt x="753" y="18"/>
                    </a:lnTo>
                    <a:lnTo>
                      <a:pt x="580" y="755"/>
                    </a:lnTo>
                    <a:lnTo>
                      <a:pt x="579" y="758"/>
                    </a:lnTo>
                    <a:lnTo>
                      <a:pt x="577" y="761"/>
                    </a:lnTo>
                    <a:lnTo>
                      <a:pt x="574" y="764"/>
                    </a:lnTo>
                    <a:lnTo>
                      <a:pt x="571" y="765"/>
                    </a:lnTo>
                    <a:lnTo>
                      <a:pt x="569" y="766"/>
                    </a:lnTo>
                    <a:lnTo>
                      <a:pt x="567" y="766"/>
                    </a:lnTo>
                    <a:close/>
                    <a:moveTo>
                      <a:pt x="40" y="240"/>
                    </a:moveTo>
                    <a:lnTo>
                      <a:pt x="40" y="240"/>
                    </a:lnTo>
                    <a:lnTo>
                      <a:pt x="559" y="726"/>
                    </a:lnTo>
                    <a:lnTo>
                      <a:pt x="720" y="34"/>
                    </a:lnTo>
                    <a:lnTo>
                      <a:pt x="40"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8"/>
              <p:cNvSpPr>
                <a:spLocks/>
              </p:cNvSpPr>
              <p:nvPr userDrawn="1"/>
            </p:nvSpPr>
            <p:spPr bwMode="auto">
              <a:xfrm>
                <a:off x="5164" y="1444"/>
                <a:ext cx="595" cy="600"/>
              </a:xfrm>
              <a:custGeom>
                <a:avLst/>
                <a:gdLst>
                  <a:gd name="T0" fmla="*/ 1784 w 1784"/>
                  <a:gd name="T1" fmla="*/ 1802 h 1802"/>
                  <a:gd name="T2" fmla="*/ 4 w 1784"/>
                  <a:gd name="T3" fmla="*/ 22 h 1802"/>
                  <a:gd name="T4" fmla="*/ 1 w 1784"/>
                  <a:gd name="T5" fmla="*/ 18 h 1802"/>
                  <a:gd name="T6" fmla="*/ 0 w 1784"/>
                  <a:gd name="T7" fmla="*/ 14 h 1802"/>
                  <a:gd name="T8" fmla="*/ 1 w 1784"/>
                  <a:gd name="T9" fmla="*/ 8 h 1802"/>
                  <a:gd name="T10" fmla="*/ 4 w 1784"/>
                  <a:gd name="T11" fmla="*/ 4 h 1802"/>
                  <a:gd name="T12" fmla="*/ 9 w 1784"/>
                  <a:gd name="T13" fmla="*/ 1 h 1802"/>
                  <a:gd name="T14" fmla="*/ 14 w 1784"/>
                  <a:gd name="T15" fmla="*/ 0 h 1802"/>
                  <a:gd name="T16" fmla="*/ 20 w 1784"/>
                  <a:gd name="T17" fmla="*/ 1 h 1802"/>
                  <a:gd name="T18" fmla="*/ 24 w 1784"/>
                  <a:gd name="T19" fmla="*/ 4 h 1802"/>
                  <a:gd name="T20" fmla="*/ 1784 w 1784"/>
                  <a:gd name="T21" fmla="*/ 1764 h 1802"/>
                  <a:gd name="T22" fmla="*/ 1784 w 1784"/>
                  <a:gd name="T23" fmla="*/ 1802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4" h="1802">
                    <a:moveTo>
                      <a:pt x="1784" y="1802"/>
                    </a:moveTo>
                    <a:lnTo>
                      <a:pt x="4" y="22"/>
                    </a:lnTo>
                    <a:lnTo>
                      <a:pt x="1" y="18"/>
                    </a:lnTo>
                    <a:lnTo>
                      <a:pt x="0" y="14"/>
                    </a:lnTo>
                    <a:lnTo>
                      <a:pt x="1" y="8"/>
                    </a:lnTo>
                    <a:lnTo>
                      <a:pt x="4" y="4"/>
                    </a:lnTo>
                    <a:lnTo>
                      <a:pt x="9" y="1"/>
                    </a:lnTo>
                    <a:lnTo>
                      <a:pt x="14" y="0"/>
                    </a:lnTo>
                    <a:lnTo>
                      <a:pt x="20" y="1"/>
                    </a:lnTo>
                    <a:lnTo>
                      <a:pt x="24" y="4"/>
                    </a:lnTo>
                    <a:lnTo>
                      <a:pt x="1784" y="1764"/>
                    </a:lnTo>
                    <a:lnTo>
                      <a:pt x="1784" y="18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39"/>
              <p:cNvSpPr>
                <a:spLocks/>
              </p:cNvSpPr>
              <p:nvPr userDrawn="1"/>
            </p:nvSpPr>
            <p:spPr bwMode="auto">
              <a:xfrm>
                <a:off x="4188" y="1630"/>
                <a:ext cx="478" cy="477"/>
              </a:xfrm>
              <a:custGeom>
                <a:avLst/>
                <a:gdLst>
                  <a:gd name="T0" fmla="*/ 1424 w 1434"/>
                  <a:gd name="T1" fmla="*/ 1433 h 1433"/>
                  <a:gd name="T2" fmla="*/ 1421 w 1434"/>
                  <a:gd name="T3" fmla="*/ 1433 h 1433"/>
                  <a:gd name="T4" fmla="*/ 1417 w 1434"/>
                  <a:gd name="T5" fmla="*/ 1431 h 1433"/>
                  <a:gd name="T6" fmla="*/ 2 w 1434"/>
                  <a:gd name="T7" fmla="*/ 16 h 1433"/>
                  <a:gd name="T8" fmla="*/ 0 w 1434"/>
                  <a:gd name="T9" fmla="*/ 13 h 1433"/>
                  <a:gd name="T10" fmla="*/ 0 w 1434"/>
                  <a:gd name="T11" fmla="*/ 9 h 1433"/>
                  <a:gd name="T12" fmla="*/ 0 w 1434"/>
                  <a:gd name="T13" fmla="*/ 6 h 1433"/>
                  <a:gd name="T14" fmla="*/ 2 w 1434"/>
                  <a:gd name="T15" fmla="*/ 3 h 1433"/>
                  <a:gd name="T16" fmla="*/ 5 w 1434"/>
                  <a:gd name="T17" fmla="*/ 1 h 1433"/>
                  <a:gd name="T18" fmla="*/ 8 w 1434"/>
                  <a:gd name="T19" fmla="*/ 0 h 1433"/>
                  <a:gd name="T20" fmla="*/ 12 w 1434"/>
                  <a:gd name="T21" fmla="*/ 1 h 1433"/>
                  <a:gd name="T22" fmla="*/ 16 w 1434"/>
                  <a:gd name="T23" fmla="*/ 3 h 1433"/>
                  <a:gd name="T24" fmla="*/ 1430 w 1434"/>
                  <a:gd name="T25" fmla="*/ 1417 h 1433"/>
                  <a:gd name="T26" fmla="*/ 1432 w 1434"/>
                  <a:gd name="T27" fmla="*/ 1420 h 1433"/>
                  <a:gd name="T28" fmla="*/ 1434 w 1434"/>
                  <a:gd name="T29" fmla="*/ 1424 h 1433"/>
                  <a:gd name="T30" fmla="*/ 1432 w 1434"/>
                  <a:gd name="T31" fmla="*/ 1428 h 1433"/>
                  <a:gd name="T32" fmla="*/ 1430 w 1434"/>
                  <a:gd name="T33" fmla="*/ 1431 h 1433"/>
                  <a:gd name="T34" fmla="*/ 1427 w 1434"/>
                  <a:gd name="T35" fmla="*/ 1433 h 1433"/>
                  <a:gd name="T36" fmla="*/ 1424 w 1434"/>
                  <a:gd name="T37" fmla="*/ 1433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4" h="1433">
                    <a:moveTo>
                      <a:pt x="1424" y="1433"/>
                    </a:moveTo>
                    <a:lnTo>
                      <a:pt x="1421" y="1433"/>
                    </a:lnTo>
                    <a:lnTo>
                      <a:pt x="1417" y="1431"/>
                    </a:lnTo>
                    <a:lnTo>
                      <a:pt x="2" y="16"/>
                    </a:lnTo>
                    <a:lnTo>
                      <a:pt x="0" y="13"/>
                    </a:lnTo>
                    <a:lnTo>
                      <a:pt x="0" y="9"/>
                    </a:lnTo>
                    <a:lnTo>
                      <a:pt x="0" y="6"/>
                    </a:lnTo>
                    <a:lnTo>
                      <a:pt x="2" y="3"/>
                    </a:lnTo>
                    <a:lnTo>
                      <a:pt x="5" y="1"/>
                    </a:lnTo>
                    <a:lnTo>
                      <a:pt x="8" y="0"/>
                    </a:lnTo>
                    <a:lnTo>
                      <a:pt x="12" y="1"/>
                    </a:lnTo>
                    <a:lnTo>
                      <a:pt x="16" y="3"/>
                    </a:lnTo>
                    <a:lnTo>
                      <a:pt x="1430" y="1417"/>
                    </a:lnTo>
                    <a:lnTo>
                      <a:pt x="1432" y="1420"/>
                    </a:lnTo>
                    <a:lnTo>
                      <a:pt x="1434" y="1424"/>
                    </a:lnTo>
                    <a:lnTo>
                      <a:pt x="1432" y="1428"/>
                    </a:lnTo>
                    <a:lnTo>
                      <a:pt x="1430" y="1431"/>
                    </a:lnTo>
                    <a:lnTo>
                      <a:pt x="1427" y="1433"/>
                    </a:lnTo>
                    <a:lnTo>
                      <a:pt x="1424" y="14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0"/>
              <p:cNvSpPr>
                <a:spLocks/>
              </p:cNvSpPr>
              <p:nvPr userDrawn="1"/>
            </p:nvSpPr>
            <p:spPr bwMode="auto">
              <a:xfrm>
                <a:off x="3086" y="3503"/>
                <a:ext cx="608" cy="608"/>
              </a:xfrm>
              <a:custGeom>
                <a:avLst/>
                <a:gdLst>
                  <a:gd name="T0" fmla="*/ 1810 w 1824"/>
                  <a:gd name="T1" fmla="*/ 1823 h 1823"/>
                  <a:gd name="T2" fmla="*/ 1805 w 1824"/>
                  <a:gd name="T3" fmla="*/ 1822 h 1823"/>
                  <a:gd name="T4" fmla="*/ 1800 w 1824"/>
                  <a:gd name="T5" fmla="*/ 1819 h 1823"/>
                  <a:gd name="T6" fmla="*/ 5 w 1824"/>
                  <a:gd name="T7" fmla="*/ 22 h 1823"/>
                  <a:gd name="T8" fmla="*/ 1 w 1824"/>
                  <a:gd name="T9" fmla="*/ 18 h 1823"/>
                  <a:gd name="T10" fmla="*/ 0 w 1824"/>
                  <a:gd name="T11" fmla="*/ 14 h 1823"/>
                  <a:gd name="T12" fmla="*/ 1 w 1824"/>
                  <a:gd name="T13" fmla="*/ 8 h 1823"/>
                  <a:gd name="T14" fmla="*/ 5 w 1824"/>
                  <a:gd name="T15" fmla="*/ 4 h 1823"/>
                  <a:gd name="T16" fmla="*/ 9 w 1824"/>
                  <a:gd name="T17" fmla="*/ 1 h 1823"/>
                  <a:gd name="T18" fmla="*/ 14 w 1824"/>
                  <a:gd name="T19" fmla="*/ 0 h 1823"/>
                  <a:gd name="T20" fmla="*/ 19 w 1824"/>
                  <a:gd name="T21" fmla="*/ 1 h 1823"/>
                  <a:gd name="T22" fmla="*/ 23 w 1824"/>
                  <a:gd name="T23" fmla="*/ 4 h 1823"/>
                  <a:gd name="T24" fmla="*/ 1820 w 1824"/>
                  <a:gd name="T25" fmla="*/ 1799 h 1823"/>
                  <a:gd name="T26" fmla="*/ 1823 w 1824"/>
                  <a:gd name="T27" fmla="*/ 1804 h 1823"/>
                  <a:gd name="T28" fmla="*/ 1824 w 1824"/>
                  <a:gd name="T29" fmla="*/ 1809 h 1823"/>
                  <a:gd name="T30" fmla="*/ 1823 w 1824"/>
                  <a:gd name="T31" fmla="*/ 1814 h 1823"/>
                  <a:gd name="T32" fmla="*/ 1820 w 1824"/>
                  <a:gd name="T33" fmla="*/ 1819 h 1823"/>
                  <a:gd name="T34" fmla="*/ 1815 w 1824"/>
                  <a:gd name="T35" fmla="*/ 1822 h 1823"/>
                  <a:gd name="T36" fmla="*/ 1810 w 1824"/>
                  <a:gd name="T37" fmla="*/ 1823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4" h="1823">
                    <a:moveTo>
                      <a:pt x="1810" y="1823"/>
                    </a:moveTo>
                    <a:lnTo>
                      <a:pt x="1805" y="1822"/>
                    </a:lnTo>
                    <a:lnTo>
                      <a:pt x="1800" y="1819"/>
                    </a:lnTo>
                    <a:lnTo>
                      <a:pt x="5" y="22"/>
                    </a:lnTo>
                    <a:lnTo>
                      <a:pt x="1" y="18"/>
                    </a:lnTo>
                    <a:lnTo>
                      <a:pt x="0" y="14"/>
                    </a:lnTo>
                    <a:lnTo>
                      <a:pt x="1" y="8"/>
                    </a:lnTo>
                    <a:lnTo>
                      <a:pt x="5" y="4"/>
                    </a:lnTo>
                    <a:lnTo>
                      <a:pt x="9" y="1"/>
                    </a:lnTo>
                    <a:lnTo>
                      <a:pt x="14" y="0"/>
                    </a:lnTo>
                    <a:lnTo>
                      <a:pt x="19" y="1"/>
                    </a:lnTo>
                    <a:lnTo>
                      <a:pt x="23" y="4"/>
                    </a:lnTo>
                    <a:lnTo>
                      <a:pt x="1820" y="1799"/>
                    </a:lnTo>
                    <a:lnTo>
                      <a:pt x="1823" y="1804"/>
                    </a:lnTo>
                    <a:lnTo>
                      <a:pt x="1824" y="1809"/>
                    </a:lnTo>
                    <a:lnTo>
                      <a:pt x="1823" y="1814"/>
                    </a:lnTo>
                    <a:lnTo>
                      <a:pt x="1820" y="1819"/>
                    </a:lnTo>
                    <a:lnTo>
                      <a:pt x="1815" y="1822"/>
                    </a:lnTo>
                    <a:lnTo>
                      <a:pt x="1810" y="18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41"/>
              <p:cNvSpPr>
                <a:spLocks/>
              </p:cNvSpPr>
              <p:nvPr userDrawn="1"/>
            </p:nvSpPr>
            <p:spPr bwMode="auto">
              <a:xfrm>
                <a:off x="1815" y="1539"/>
                <a:ext cx="809" cy="426"/>
              </a:xfrm>
              <a:custGeom>
                <a:avLst/>
                <a:gdLst>
                  <a:gd name="T0" fmla="*/ 2402 w 2429"/>
                  <a:gd name="T1" fmla="*/ 1265 h 1278"/>
                  <a:gd name="T2" fmla="*/ 2381 w 2429"/>
                  <a:gd name="T3" fmla="*/ 1172 h 1278"/>
                  <a:gd name="T4" fmla="*/ 2324 w 2429"/>
                  <a:gd name="T5" fmla="*/ 1049 h 1278"/>
                  <a:gd name="T6" fmla="*/ 2277 w 2429"/>
                  <a:gd name="T7" fmla="*/ 989 h 1278"/>
                  <a:gd name="T8" fmla="*/ 2228 w 2429"/>
                  <a:gd name="T9" fmla="*/ 944 h 1278"/>
                  <a:gd name="T10" fmla="*/ 2215 w 2429"/>
                  <a:gd name="T11" fmla="*/ 900 h 1278"/>
                  <a:gd name="T12" fmla="*/ 2233 w 2429"/>
                  <a:gd name="T13" fmla="*/ 788 h 1278"/>
                  <a:gd name="T14" fmla="*/ 2257 w 2429"/>
                  <a:gd name="T15" fmla="*/ 658 h 1278"/>
                  <a:gd name="T16" fmla="*/ 2244 w 2429"/>
                  <a:gd name="T17" fmla="*/ 576 h 1278"/>
                  <a:gd name="T18" fmla="*/ 2222 w 2429"/>
                  <a:gd name="T19" fmla="*/ 543 h 1278"/>
                  <a:gd name="T20" fmla="*/ 2182 w 2429"/>
                  <a:gd name="T21" fmla="*/ 514 h 1278"/>
                  <a:gd name="T22" fmla="*/ 2125 w 2429"/>
                  <a:gd name="T23" fmla="*/ 500 h 1278"/>
                  <a:gd name="T24" fmla="*/ 2057 w 2429"/>
                  <a:gd name="T25" fmla="*/ 505 h 1278"/>
                  <a:gd name="T26" fmla="*/ 1978 w 2429"/>
                  <a:gd name="T27" fmla="*/ 530 h 1278"/>
                  <a:gd name="T28" fmla="*/ 1847 w 2429"/>
                  <a:gd name="T29" fmla="*/ 599 h 1278"/>
                  <a:gd name="T30" fmla="*/ 1640 w 2429"/>
                  <a:gd name="T31" fmla="*/ 749 h 1278"/>
                  <a:gd name="T32" fmla="*/ 1479 w 2429"/>
                  <a:gd name="T33" fmla="*/ 850 h 1278"/>
                  <a:gd name="T34" fmla="*/ 1342 w 2429"/>
                  <a:gd name="T35" fmla="*/ 913 h 1278"/>
                  <a:gd name="T36" fmla="*/ 1181 w 2429"/>
                  <a:gd name="T37" fmla="*/ 962 h 1278"/>
                  <a:gd name="T38" fmla="*/ 999 w 2429"/>
                  <a:gd name="T39" fmla="*/ 984 h 1278"/>
                  <a:gd name="T40" fmla="*/ 799 w 2429"/>
                  <a:gd name="T41" fmla="*/ 971 h 1278"/>
                  <a:gd name="T42" fmla="*/ 657 w 2429"/>
                  <a:gd name="T43" fmla="*/ 936 h 1278"/>
                  <a:gd name="T44" fmla="*/ 569 w 2429"/>
                  <a:gd name="T45" fmla="*/ 897 h 1278"/>
                  <a:gd name="T46" fmla="*/ 490 w 2429"/>
                  <a:gd name="T47" fmla="*/ 842 h 1278"/>
                  <a:gd name="T48" fmla="*/ 382 w 2429"/>
                  <a:gd name="T49" fmla="*/ 737 h 1278"/>
                  <a:gd name="T50" fmla="*/ 216 w 2429"/>
                  <a:gd name="T51" fmla="*/ 519 h 1278"/>
                  <a:gd name="T52" fmla="*/ 72 w 2429"/>
                  <a:gd name="T53" fmla="*/ 283 h 1278"/>
                  <a:gd name="T54" fmla="*/ 10 w 2429"/>
                  <a:gd name="T55" fmla="*/ 118 h 1278"/>
                  <a:gd name="T56" fmla="*/ 0 w 2429"/>
                  <a:gd name="T57" fmla="*/ 26 h 1278"/>
                  <a:gd name="T58" fmla="*/ 18 w 2429"/>
                  <a:gd name="T59" fmla="*/ 0 h 1278"/>
                  <a:gd name="T60" fmla="*/ 30 w 2429"/>
                  <a:gd name="T61" fmla="*/ 18 h 1278"/>
                  <a:gd name="T62" fmla="*/ 30 w 2429"/>
                  <a:gd name="T63" fmla="*/ 74 h 1278"/>
                  <a:gd name="T64" fmla="*/ 65 w 2429"/>
                  <a:gd name="T65" fmla="*/ 202 h 1278"/>
                  <a:gd name="T66" fmla="*/ 170 w 2429"/>
                  <a:gd name="T67" fmla="*/ 401 h 1278"/>
                  <a:gd name="T68" fmla="*/ 337 w 2429"/>
                  <a:gd name="T69" fmla="*/ 641 h 1278"/>
                  <a:gd name="T70" fmla="*/ 474 w 2429"/>
                  <a:gd name="T71" fmla="*/ 793 h 1278"/>
                  <a:gd name="T72" fmla="*/ 550 w 2429"/>
                  <a:gd name="T73" fmla="*/ 852 h 1278"/>
                  <a:gd name="T74" fmla="*/ 631 w 2429"/>
                  <a:gd name="T75" fmla="*/ 897 h 1278"/>
                  <a:gd name="T76" fmla="*/ 722 w 2429"/>
                  <a:gd name="T77" fmla="*/ 928 h 1278"/>
                  <a:gd name="T78" fmla="*/ 923 w 2429"/>
                  <a:gd name="T79" fmla="*/ 957 h 1278"/>
                  <a:gd name="T80" fmla="*/ 1107 w 2429"/>
                  <a:gd name="T81" fmla="*/ 947 h 1278"/>
                  <a:gd name="T82" fmla="*/ 1272 w 2429"/>
                  <a:gd name="T83" fmla="*/ 909 h 1278"/>
                  <a:gd name="T84" fmla="*/ 1416 w 2429"/>
                  <a:gd name="T85" fmla="*/ 851 h 1278"/>
                  <a:gd name="T86" fmla="*/ 1554 w 2429"/>
                  <a:gd name="T87" fmla="*/ 775 h 1278"/>
                  <a:gd name="T88" fmla="*/ 1750 w 2429"/>
                  <a:gd name="T89" fmla="*/ 632 h 1278"/>
                  <a:gd name="T90" fmla="*/ 1940 w 2429"/>
                  <a:gd name="T91" fmla="*/ 517 h 1278"/>
                  <a:gd name="T92" fmla="*/ 2028 w 2429"/>
                  <a:gd name="T93" fmla="*/ 483 h 1278"/>
                  <a:gd name="T94" fmla="*/ 2105 w 2429"/>
                  <a:gd name="T95" fmla="*/ 471 h 1278"/>
                  <a:gd name="T96" fmla="*/ 2172 w 2429"/>
                  <a:gd name="T97" fmla="*/ 480 h 1278"/>
                  <a:gd name="T98" fmla="*/ 2226 w 2429"/>
                  <a:gd name="T99" fmla="*/ 509 h 1278"/>
                  <a:gd name="T100" fmla="*/ 2259 w 2429"/>
                  <a:gd name="T101" fmla="*/ 546 h 1278"/>
                  <a:gd name="T102" fmla="*/ 2282 w 2429"/>
                  <a:gd name="T103" fmla="*/ 616 h 1278"/>
                  <a:gd name="T104" fmla="*/ 2277 w 2429"/>
                  <a:gd name="T105" fmla="*/ 715 h 1278"/>
                  <a:gd name="T106" fmla="*/ 2245 w 2429"/>
                  <a:gd name="T107" fmla="*/ 861 h 1278"/>
                  <a:gd name="T108" fmla="*/ 2244 w 2429"/>
                  <a:gd name="T109" fmla="*/ 914 h 1278"/>
                  <a:gd name="T110" fmla="*/ 2270 w 2429"/>
                  <a:gd name="T111" fmla="*/ 946 h 1278"/>
                  <a:gd name="T112" fmla="*/ 2327 w 2429"/>
                  <a:gd name="T113" fmla="*/ 1006 h 1278"/>
                  <a:gd name="T114" fmla="*/ 2388 w 2429"/>
                  <a:gd name="T115" fmla="*/ 1112 h 1278"/>
                  <a:gd name="T116" fmla="*/ 2422 w 2429"/>
                  <a:gd name="T117" fmla="*/ 1223 h 1278"/>
                  <a:gd name="T118" fmla="*/ 2422 w 2429"/>
                  <a:gd name="T119" fmla="*/ 1276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29" h="1278">
                    <a:moveTo>
                      <a:pt x="2416" y="1278"/>
                    </a:moveTo>
                    <a:lnTo>
                      <a:pt x="2411" y="1277"/>
                    </a:lnTo>
                    <a:lnTo>
                      <a:pt x="2406" y="1273"/>
                    </a:lnTo>
                    <a:lnTo>
                      <a:pt x="2404" y="1270"/>
                    </a:lnTo>
                    <a:lnTo>
                      <a:pt x="2402" y="1265"/>
                    </a:lnTo>
                    <a:lnTo>
                      <a:pt x="2401" y="1255"/>
                    </a:lnTo>
                    <a:lnTo>
                      <a:pt x="2397" y="1230"/>
                    </a:lnTo>
                    <a:lnTo>
                      <a:pt x="2392" y="1214"/>
                    </a:lnTo>
                    <a:lnTo>
                      <a:pt x="2388" y="1194"/>
                    </a:lnTo>
                    <a:lnTo>
                      <a:pt x="2381" y="1172"/>
                    </a:lnTo>
                    <a:lnTo>
                      <a:pt x="2373" y="1149"/>
                    </a:lnTo>
                    <a:lnTo>
                      <a:pt x="2364" y="1125"/>
                    </a:lnTo>
                    <a:lnTo>
                      <a:pt x="2352" y="1100"/>
                    </a:lnTo>
                    <a:lnTo>
                      <a:pt x="2339" y="1074"/>
                    </a:lnTo>
                    <a:lnTo>
                      <a:pt x="2324" y="1049"/>
                    </a:lnTo>
                    <a:lnTo>
                      <a:pt x="2316" y="1036"/>
                    </a:lnTo>
                    <a:lnTo>
                      <a:pt x="2307" y="1024"/>
                    </a:lnTo>
                    <a:lnTo>
                      <a:pt x="2297" y="1011"/>
                    </a:lnTo>
                    <a:lnTo>
                      <a:pt x="2287" y="999"/>
                    </a:lnTo>
                    <a:lnTo>
                      <a:pt x="2277" y="989"/>
                    </a:lnTo>
                    <a:lnTo>
                      <a:pt x="2265" y="978"/>
                    </a:lnTo>
                    <a:lnTo>
                      <a:pt x="2253" y="967"/>
                    </a:lnTo>
                    <a:lnTo>
                      <a:pt x="2240" y="957"/>
                    </a:lnTo>
                    <a:lnTo>
                      <a:pt x="2233" y="951"/>
                    </a:lnTo>
                    <a:lnTo>
                      <a:pt x="2228" y="944"/>
                    </a:lnTo>
                    <a:lnTo>
                      <a:pt x="2223" y="937"/>
                    </a:lnTo>
                    <a:lnTo>
                      <a:pt x="2219" y="928"/>
                    </a:lnTo>
                    <a:lnTo>
                      <a:pt x="2217" y="919"/>
                    </a:lnTo>
                    <a:lnTo>
                      <a:pt x="2216" y="910"/>
                    </a:lnTo>
                    <a:lnTo>
                      <a:pt x="2215" y="900"/>
                    </a:lnTo>
                    <a:lnTo>
                      <a:pt x="2215" y="889"/>
                    </a:lnTo>
                    <a:lnTo>
                      <a:pt x="2217" y="867"/>
                    </a:lnTo>
                    <a:lnTo>
                      <a:pt x="2222" y="842"/>
                    </a:lnTo>
                    <a:lnTo>
                      <a:pt x="2227" y="815"/>
                    </a:lnTo>
                    <a:lnTo>
                      <a:pt x="2233" y="788"/>
                    </a:lnTo>
                    <a:lnTo>
                      <a:pt x="2242" y="751"/>
                    </a:lnTo>
                    <a:lnTo>
                      <a:pt x="2250" y="713"/>
                    </a:lnTo>
                    <a:lnTo>
                      <a:pt x="2253" y="695"/>
                    </a:lnTo>
                    <a:lnTo>
                      <a:pt x="2255" y="677"/>
                    </a:lnTo>
                    <a:lnTo>
                      <a:pt x="2257" y="658"/>
                    </a:lnTo>
                    <a:lnTo>
                      <a:pt x="2257" y="641"/>
                    </a:lnTo>
                    <a:lnTo>
                      <a:pt x="2256" y="624"/>
                    </a:lnTo>
                    <a:lnTo>
                      <a:pt x="2254" y="607"/>
                    </a:lnTo>
                    <a:lnTo>
                      <a:pt x="2250" y="591"/>
                    </a:lnTo>
                    <a:lnTo>
                      <a:pt x="2244" y="576"/>
                    </a:lnTo>
                    <a:lnTo>
                      <a:pt x="2241" y="569"/>
                    </a:lnTo>
                    <a:lnTo>
                      <a:pt x="2237" y="562"/>
                    </a:lnTo>
                    <a:lnTo>
                      <a:pt x="2232" y="556"/>
                    </a:lnTo>
                    <a:lnTo>
                      <a:pt x="2227" y="548"/>
                    </a:lnTo>
                    <a:lnTo>
                      <a:pt x="2222" y="543"/>
                    </a:lnTo>
                    <a:lnTo>
                      <a:pt x="2216" y="536"/>
                    </a:lnTo>
                    <a:lnTo>
                      <a:pt x="2209" y="531"/>
                    </a:lnTo>
                    <a:lnTo>
                      <a:pt x="2202" y="525"/>
                    </a:lnTo>
                    <a:lnTo>
                      <a:pt x="2192" y="519"/>
                    </a:lnTo>
                    <a:lnTo>
                      <a:pt x="2182" y="514"/>
                    </a:lnTo>
                    <a:lnTo>
                      <a:pt x="2172" y="509"/>
                    </a:lnTo>
                    <a:lnTo>
                      <a:pt x="2161" y="506"/>
                    </a:lnTo>
                    <a:lnTo>
                      <a:pt x="2149" y="503"/>
                    </a:lnTo>
                    <a:lnTo>
                      <a:pt x="2137" y="501"/>
                    </a:lnTo>
                    <a:lnTo>
                      <a:pt x="2125" y="500"/>
                    </a:lnTo>
                    <a:lnTo>
                      <a:pt x="2113" y="498"/>
                    </a:lnTo>
                    <a:lnTo>
                      <a:pt x="2100" y="500"/>
                    </a:lnTo>
                    <a:lnTo>
                      <a:pt x="2086" y="501"/>
                    </a:lnTo>
                    <a:lnTo>
                      <a:pt x="2071" y="502"/>
                    </a:lnTo>
                    <a:lnTo>
                      <a:pt x="2057" y="505"/>
                    </a:lnTo>
                    <a:lnTo>
                      <a:pt x="2042" y="508"/>
                    </a:lnTo>
                    <a:lnTo>
                      <a:pt x="2026" y="512"/>
                    </a:lnTo>
                    <a:lnTo>
                      <a:pt x="2011" y="518"/>
                    </a:lnTo>
                    <a:lnTo>
                      <a:pt x="1995" y="523"/>
                    </a:lnTo>
                    <a:lnTo>
                      <a:pt x="1978" y="530"/>
                    </a:lnTo>
                    <a:lnTo>
                      <a:pt x="1960" y="537"/>
                    </a:lnTo>
                    <a:lnTo>
                      <a:pt x="1942" y="546"/>
                    </a:lnTo>
                    <a:lnTo>
                      <a:pt x="1925" y="555"/>
                    </a:lnTo>
                    <a:lnTo>
                      <a:pt x="1887" y="575"/>
                    </a:lnTo>
                    <a:lnTo>
                      <a:pt x="1847" y="599"/>
                    </a:lnTo>
                    <a:lnTo>
                      <a:pt x="1805" y="627"/>
                    </a:lnTo>
                    <a:lnTo>
                      <a:pt x="1762" y="657"/>
                    </a:lnTo>
                    <a:lnTo>
                      <a:pt x="1715" y="691"/>
                    </a:lnTo>
                    <a:lnTo>
                      <a:pt x="1668" y="727"/>
                    </a:lnTo>
                    <a:lnTo>
                      <a:pt x="1640" y="749"/>
                    </a:lnTo>
                    <a:lnTo>
                      <a:pt x="1607" y="773"/>
                    </a:lnTo>
                    <a:lnTo>
                      <a:pt x="1569" y="797"/>
                    </a:lnTo>
                    <a:lnTo>
                      <a:pt x="1526" y="824"/>
                    </a:lnTo>
                    <a:lnTo>
                      <a:pt x="1502" y="837"/>
                    </a:lnTo>
                    <a:lnTo>
                      <a:pt x="1479" y="850"/>
                    </a:lnTo>
                    <a:lnTo>
                      <a:pt x="1454" y="863"/>
                    </a:lnTo>
                    <a:lnTo>
                      <a:pt x="1427" y="876"/>
                    </a:lnTo>
                    <a:lnTo>
                      <a:pt x="1400" y="889"/>
                    </a:lnTo>
                    <a:lnTo>
                      <a:pt x="1371" y="901"/>
                    </a:lnTo>
                    <a:lnTo>
                      <a:pt x="1342" y="913"/>
                    </a:lnTo>
                    <a:lnTo>
                      <a:pt x="1311" y="924"/>
                    </a:lnTo>
                    <a:lnTo>
                      <a:pt x="1280" y="935"/>
                    </a:lnTo>
                    <a:lnTo>
                      <a:pt x="1248" y="944"/>
                    </a:lnTo>
                    <a:lnTo>
                      <a:pt x="1215" y="953"/>
                    </a:lnTo>
                    <a:lnTo>
                      <a:pt x="1181" y="962"/>
                    </a:lnTo>
                    <a:lnTo>
                      <a:pt x="1146" y="968"/>
                    </a:lnTo>
                    <a:lnTo>
                      <a:pt x="1110" y="974"/>
                    </a:lnTo>
                    <a:lnTo>
                      <a:pt x="1074" y="979"/>
                    </a:lnTo>
                    <a:lnTo>
                      <a:pt x="1037" y="982"/>
                    </a:lnTo>
                    <a:lnTo>
                      <a:pt x="999" y="984"/>
                    </a:lnTo>
                    <a:lnTo>
                      <a:pt x="960" y="985"/>
                    </a:lnTo>
                    <a:lnTo>
                      <a:pt x="921" y="984"/>
                    </a:lnTo>
                    <a:lnTo>
                      <a:pt x="882" y="982"/>
                    </a:lnTo>
                    <a:lnTo>
                      <a:pt x="841" y="978"/>
                    </a:lnTo>
                    <a:lnTo>
                      <a:pt x="799" y="971"/>
                    </a:lnTo>
                    <a:lnTo>
                      <a:pt x="757" y="964"/>
                    </a:lnTo>
                    <a:lnTo>
                      <a:pt x="715" y="954"/>
                    </a:lnTo>
                    <a:lnTo>
                      <a:pt x="696" y="949"/>
                    </a:lnTo>
                    <a:lnTo>
                      <a:pt x="676" y="942"/>
                    </a:lnTo>
                    <a:lnTo>
                      <a:pt x="657" y="936"/>
                    </a:lnTo>
                    <a:lnTo>
                      <a:pt x="639" y="929"/>
                    </a:lnTo>
                    <a:lnTo>
                      <a:pt x="621" y="922"/>
                    </a:lnTo>
                    <a:lnTo>
                      <a:pt x="604" y="914"/>
                    </a:lnTo>
                    <a:lnTo>
                      <a:pt x="587" y="905"/>
                    </a:lnTo>
                    <a:lnTo>
                      <a:pt x="569" y="897"/>
                    </a:lnTo>
                    <a:lnTo>
                      <a:pt x="553" y="887"/>
                    </a:lnTo>
                    <a:lnTo>
                      <a:pt x="537" y="876"/>
                    </a:lnTo>
                    <a:lnTo>
                      <a:pt x="521" y="865"/>
                    </a:lnTo>
                    <a:lnTo>
                      <a:pt x="505" y="854"/>
                    </a:lnTo>
                    <a:lnTo>
                      <a:pt x="490" y="842"/>
                    </a:lnTo>
                    <a:lnTo>
                      <a:pt x="473" y="829"/>
                    </a:lnTo>
                    <a:lnTo>
                      <a:pt x="458" y="816"/>
                    </a:lnTo>
                    <a:lnTo>
                      <a:pt x="443" y="801"/>
                    </a:lnTo>
                    <a:lnTo>
                      <a:pt x="412" y="770"/>
                    </a:lnTo>
                    <a:lnTo>
                      <a:pt x="382" y="737"/>
                    </a:lnTo>
                    <a:lnTo>
                      <a:pt x="350" y="700"/>
                    </a:lnTo>
                    <a:lnTo>
                      <a:pt x="318" y="660"/>
                    </a:lnTo>
                    <a:lnTo>
                      <a:pt x="285" y="616"/>
                    </a:lnTo>
                    <a:lnTo>
                      <a:pt x="252" y="570"/>
                    </a:lnTo>
                    <a:lnTo>
                      <a:pt x="216" y="519"/>
                    </a:lnTo>
                    <a:lnTo>
                      <a:pt x="179" y="465"/>
                    </a:lnTo>
                    <a:lnTo>
                      <a:pt x="146" y="415"/>
                    </a:lnTo>
                    <a:lnTo>
                      <a:pt x="118" y="368"/>
                    </a:lnTo>
                    <a:lnTo>
                      <a:pt x="93" y="324"/>
                    </a:lnTo>
                    <a:lnTo>
                      <a:pt x="72" y="283"/>
                    </a:lnTo>
                    <a:lnTo>
                      <a:pt x="53" y="244"/>
                    </a:lnTo>
                    <a:lnTo>
                      <a:pt x="39" y="208"/>
                    </a:lnTo>
                    <a:lnTo>
                      <a:pt x="26" y="175"/>
                    </a:lnTo>
                    <a:lnTo>
                      <a:pt x="18" y="145"/>
                    </a:lnTo>
                    <a:lnTo>
                      <a:pt x="10" y="118"/>
                    </a:lnTo>
                    <a:lnTo>
                      <a:pt x="5" y="94"/>
                    </a:lnTo>
                    <a:lnTo>
                      <a:pt x="1" y="72"/>
                    </a:lnTo>
                    <a:lnTo>
                      <a:pt x="0" y="54"/>
                    </a:lnTo>
                    <a:lnTo>
                      <a:pt x="0" y="39"/>
                    </a:lnTo>
                    <a:lnTo>
                      <a:pt x="0" y="26"/>
                    </a:lnTo>
                    <a:lnTo>
                      <a:pt x="3" y="15"/>
                    </a:lnTo>
                    <a:lnTo>
                      <a:pt x="5" y="7"/>
                    </a:lnTo>
                    <a:lnTo>
                      <a:pt x="8" y="3"/>
                    </a:lnTo>
                    <a:lnTo>
                      <a:pt x="12" y="1"/>
                    </a:lnTo>
                    <a:lnTo>
                      <a:pt x="18" y="0"/>
                    </a:lnTo>
                    <a:lnTo>
                      <a:pt x="23" y="1"/>
                    </a:lnTo>
                    <a:lnTo>
                      <a:pt x="27" y="4"/>
                    </a:lnTo>
                    <a:lnTo>
                      <a:pt x="30" y="8"/>
                    </a:lnTo>
                    <a:lnTo>
                      <a:pt x="31" y="14"/>
                    </a:lnTo>
                    <a:lnTo>
                      <a:pt x="30" y="18"/>
                    </a:lnTo>
                    <a:lnTo>
                      <a:pt x="28" y="23"/>
                    </a:lnTo>
                    <a:lnTo>
                      <a:pt x="27" y="32"/>
                    </a:lnTo>
                    <a:lnTo>
                      <a:pt x="26" y="44"/>
                    </a:lnTo>
                    <a:lnTo>
                      <a:pt x="27" y="58"/>
                    </a:lnTo>
                    <a:lnTo>
                      <a:pt x="30" y="74"/>
                    </a:lnTo>
                    <a:lnTo>
                      <a:pt x="33" y="94"/>
                    </a:lnTo>
                    <a:lnTo>
                      <a:pt x="37" y="116"/>
                    </a:lnTo>
                    <a:lnTo>
                      <a:pt x="45" y="142"/>
                    </a:lnTo>
                    <a:lnTo>
                      <a:pt x="54" y="170"/>
                    </a:lnTo>
                    <a:lnTo>
                      <a:pt x="65" y="202"/>
                    </a:lnTo>
                    <a:lnTo>
                      <a:pt x="80" y="236"/>
                    </a:lnTo>
                    <a:lnTo>
                      <a:pt x="98" y="273"/>
                    </a:lnTo>
                    <a:lnTo>
                      <a:pt x="118" y="313"/>
                    </a:lnTo>
                    <a:lnTo>
                      <a:pt x="142" y="356"/>
                    </a:lnTo>
                    <a:lnTo>
                      <a:pt x="170" y="401"/>
                    </a:lnTo>
                    <a:lnTo>
                      <a:pt x="201" y="450"/>
                    </a:lnTo>
                    <a:lnTo>
                      <a:pt x="238" y="503"/>
                    </a:lnTo>
                    <a:lnTo>
                      <a:pt x="273" y="552"/>
                    </a:lnTo>
                    <a:lnTo>
                      <a:pt x="306" y="599"/>
                    </a:lnTo>
                    <a:lnTo>
                      <a:pt x="337" y="641"/>
                    </a:lnTo>
                    <a:lnTo>
                      <a:pt x="369" y="680"/>
                    </a:lnTo>
                    <a:lnTo>
                      <a:pt x="399" y="716"/>
                    </a:lnTo>
                    <a:lnTo>
                      <a:pt x="429" y="749"/>
                    </a:lnTo>
                    <a:lnTo>
                      <a:pt x="459" y="779"/>
                    </a:lnTo>
                    <a:lnTo>
                      <a:pt x="474" y="793"/>
                    </a:lnTo>
                    <a:lnTo>
                      <a:pt x="488" y="806"/>
                    </a:lnTo>
                    <a:lnTo>
                      <a:pt x="504" y="819"/>
                    </a:lnTo>
                    <a:lnTo>
                      <a:pt x="519" y="831"/>
                    </a:lnTo>
                    <a:lnTo>
                      <a:pt x="535" y="842"/>
                    </a:lnTo>
                    <a:lnTo>
                      <a:pt x="550" y="852"/>
                    </a:lnTo>
                    <a:lnTo>
                      <a:pt x="566" y="862"/>
                    </a:lnTo>
                    <a:lnTo>
                      <a:pt x="581" y="872"/>
                    </a:lnTo>
                    <a:lnTo>
                      <a:pt x="598" y="881"/>
                    </a:lnTo>
                    <a:lnTo>
                      <a:pt x="615" y="889"/>
                    </a:lnTo>
                    <a:lnTo>
                      <a:pt x="631" y="897"/>
                    </a:lnTo>
                    <a:lnTo>
                      <a:pt x="648" y="904"/>
                    </a:lnTo>
                    <a:lnTo>
                      <a:pt x="667" y="911"/>
                    </a:lnTo>
                    <a:lnTo>
                      <a:pt x="684" y="917"/>
                    </a:lnTo>
                    <a:lnTo>
                      <a:pt x="702" y="923"/>
                    </a:lnTo>
                    <a:lnTo>
                      <a:pt x="722" y="928"/>
                    </a:lnTo>
                    <a:lnTo>
                      <a:pt x="763" y="937"/>
                    </a:lnTo>
                    <a:lnTo>
                      <a:pt x="804" y="945"/>
                    </a:lnTo>
                    <a:lnTo>
                      <a:pt x="844" y="951"/>
                    </a:lnTo>
                    <a:lnTo>
                      <a:pt x="884" y="955"/>
                    </a:lnTo>
                    <a:lnTo>
                      <a:pt x="923" y="957"/>
                    </a:lnTo>
                    <a:lnTo>
                      <a:pt x="960" y="958"/>
                    </a:lnTo>
                    <a:lnTo>
                      <a:pt x="998" y="957"/>
                    </a:lnTo>
                    <a:lnTo>
                      <a:pt x="1035" y="955"/>
                    </a:lnTo>
                    <a:lnTo>
                      <a:pt x="1072" y="952"/>
                    </a:lnTo>
                    <a:lnTo>
                      <a:pt x="1107" y="947"/>
                    </a:lnTo>
                    <a:lnTo>
                      <a:pt x="1142" y="942"/>
                    </a:lnTo>
                    <a:lnTo>
                      <a:pt x="1175" y="935"/>
                    </a:lnTo>
                    <a:lnTo>
                      <a:pt x="1209" y="927"/>
                    </a:lnTo>
                    <a:lnTo>
                      <a:pt x="1241" y="918"/>
                    </a:lnTo>
                    <a:lnTo>
                      <a:pt x="1272" y="909"/>
                    </a:lnTo>
                    <a:lnTo>
                      <a:pt x="1303" y="899"/>
                    </a:lnTo>
                    <a:lnTo>
                      <a:pt x="1333" y="887"/>
                    </a:lnTo>
                    <a:lnTo>
                      <a:pt x="1361" y="876"/>
                    </a:lnTo>
                    <a:lnTo>
                      <a:pt x="1389" y="864"/>
                    </a:lnTo>
                    <a:lnTo>
                      <a:pt x="1416" y="851"/>
                    </a:lnTo>
                    <a:lnTo>
                      <a:pt x="1442" y="840"/>
                    </a:lnTo>
                    <a:lnTo>
                      <a:pt x="1467" y="827"/>
                    </a:lnTo>
                    <a:lnTo>
                      <a:pt x="1491" y="814"/>
                    </a:lnTo>
                    <a:lnTo>
                      <a:pt x="1512" y="801"/>
                    </a:lnTo>
                    <a:lnTo>
                      <a:pt x="1554" y="775"/>
                    </a:lnTo>
                    <a:lnTo>
                      <a:pt x="1592" y="750"/>
                    </a:lnTo>
                    <a:lnTo>
                      <a:pt x="1624" y="727"/>
                    </a:lnTo>
                    <a:lnTo>
                      <a:pt x="1651" y="706"/>
                    </a:lnTo>
                    <a:lnTo>
                      <a:pt x="1701" y="667"/>
                    </a:lnTo>
                    <a:lnTo>
                      <a:pt x="1750" y="632"/>
                    </a:lnTo>
                    <a:lnTo>
                      <a:pt x="1795" y="600"/>
                    </a:lnTo>
                    <a:lnTo>
                      <a:pt x="1839" y="572"/>
                    </a:lnTo>
                    <a:lnTo>
                      <a:pt x="1880" y="547"/>
                    </a:lnTo>
                    <a:lnTo>
                      <a:pt x="1920" y="526"/>
                    </a:lnTo>
                    <a:lnTo>
                      <a:pt x="1940" y="517"/>
                    </a:lnTo>
                    <a:lnTo>
                      <a:pt x="1958" y="508"/>
                    </a:lnTo>
                    <a:lnTo>
                      <a:pt x="1976" y="501"/>
                    </a:lnTo>
                    <a:lnTo>
                      <a:pt x="1994" y="494"/>
                    </a:lnTo>
                    <a:lnTo>
                      <a:pt x="2011" y="489"/>
                    </a:lnTo>
                    <a:lnTo>
                      <a:pt x="2028" y="483"/>
                    </a:lnTo>
                    <a:lnTo>
                      <a:pt x="2044" y="479"/>
                    </a:lnTo>
                    <a:lnTo>
                      <a:pt x="2061" y="476"/>
                    </a:lnTo>
                    <a:lnTo>
                      <a:pt x="2076" y="474"/>
                    </a:lnTo>
                    <a:lnTo>
                      <a:pt x="2091" y="473"/>
                    </a:lnTo>
                    <a:lnTo>
                      <a:pt x="2105" y="471"/>
                    </a:lnTo>
                    <a:lnTo>
                      <a:pt x="2119" y="471"/>
                    </a:lnTo>
                    <a:lnTo>
                      <a:pt x="2133" y="473"/>
                    </a:lnTo>
                    <a:lnTo>
                      <a:pt x="2146" y="475"/>
                    </a:lnTo>
                    <a:lnTo>
                      <a:pt x="2159" y="477"/>
                    </a:lnTo>
                    <a:lnTo>
                      <a:pt x="2172" y="480"/>
                    </a:lnTo>
                    <a:lnTo>
                      <a:pt x="2184" y="484"/>
                    </a:lnTo>
                    <a:lnTo>
                      <a:pt x="2196" y="490"/>
                    </a:lnTo>
                    <a:lnTo>
                      <a:pt x="2206" y="496"/>
                    </a:lnTo>
                    <a:lnTo>
                      <a:pt x="2217" y="503"/>
                    </a:lnTo>
                    <a:lnTo>
                      <a:pt x="2226" y="509"/>
                    </a:lnTo>
                    <a:lnTo>
                      <a:pt x="2233" y="516"/>
                    </a:lnTo>
                    <a:lnTo>
                      <a:pt x="2241" y="523"/>
                    </a:lnTo>
                    <a:lnTo>
                      <a:pt x="2248" y="531"/>
                    </a:lnTo>
                    <a:lnTo>
                      <a:pt x="2254" y="538"/>
                    </a:lnTo>
                    <a:lnTo>
                      <a:pt x="2259" y="546"/>
                    </a:lnTo>
                    <a:lnTo>
                      <a:pt x="2264" y="555"/>
                    </a:lnTo>
                    <a:lnTo>
                      <a:pt x="2268" y="562"/>
                    </a:lnTo>
                    <a:lnTo>
                      <a:pt x="2274" y="579"/>
                    </a:lnTo>
                    <a:lnTo>
                      <a:pt x="2280" y="598"/>
                    </a:lnTo>
                    <a:lnTo>
                      <a:pt x="2282" y="616"/>
                    </a:lnTo>
                    <a:lnTo>
                      <a:pt x="2284" y="636"/>
                    </a:lnTo>
                    <a:lnTo>
                      <a:pt x="2284" y="655"/>
                    </a:lnTo>
                    <a:lnTo>
                      <a:pt x="2282" y="675"/>
                    </a:lnTo>
                    <a:lnTo>
                      <a:pt x="2280" y="695"/>
                    </a:lnTo>
                    <a:lnTo>
                      <a:pt x="2277" y="715"/>
                    </a:lnTo>
                    <a:lnTo>
                      <a:pt x="2269" y="755"/>
                    </a:lnTo>
                    <a:lnTo>
                      <a:pt x="2260" y="793"/>
                    </a:lnTo>
                    <a:lnTo>
                      <a:pt x="2255" y="817"/>
                    </a:lnTo>
                    <a:lnTo>
                      <a:pt x="2250" y="840"/>
                    </a:lnTo>
                    <a:lnTo>
                      <a:pt x="2245" y="861"/>
                    </a:lnTo>
                    <a:lnTo>
                      <a:pt x="2243" y="881"/>
                    </a:lnTo>
                    <a:lnTo>
                      <a:pt x="2242" y="890"/>
                    </a:lnTo>
                    <a:lnTo>
                      <a:pt x="2242" y="899"/>
                    </a:lnTo>
                    <a:lnTo>
                      <a:pt x="2243" y="906"/>
                    </a:lnTo>
                    <a:lnTo>
                      <a:pt x="2244" y="914"/>
                    </a:lnTo>
                    <a:lnTo>
                      <a:pt x="2245" y="921"/>
                    </a:lnTo>
                    <a:lnTo>
                      <a:pt x="2249" y="926"/>
                    </a:lnTo>
                    <a:lnTo>
                      <a:pt x="2252" y="931"/>
                    </a:lnTo>
                    <a:lnTo>
                      <a:pt x="2256" y="936"/>
                    </a:lnTo>
                    <a:lnTo>
                      <a:pt x="2270" y="946"/>
                    </a:lnTo>
                    <a:lnTo>
                      <a:pt x="2283" y="957"/>
                    </a:lnTo>
                    <a:lnTo>
                      <a:pt x="2295" y="969"/>
                    </a:lnTo>
                    <a:lnTo>
                      <a:pt x="2306" y="981"/>
                    </a:lnTo>
                    <a:lnTo>
                      <a:pt x="2317" y="993"/>
                    </a:lnTo>
                    <a:lnTo>
                      <a:pt x="2327" y="1006"/>
                    </a:lnTo>
                    <a:lnTo>
                      <a:pt x="2337" y="1019"/>
                    </a:lnTo>
                    <a:lnTo>
                      <a:pt x="2346" y="1032"/>
                    </a:lnTo>
                    <a:lnTo>
                      <a:pt x="2362" y="1059"/>
                    </a:lnTo>
                    <a:lnTo>
                      <a:pt x="2376" y="1085"/>
                    </a:lnTo>
                    <a:lnTo>
                      <a:pt x="2388" y="1112"/>
                    </a:lnTo>
                    <a:lnTo>
                      <a:pt x="2398" y="1137"/>
                    </a:lnTo>
                    <a:lnTo>
                      <a:pt x="2406" y="1161"/>
                    </a:lnTo>
                    <a:lnTo>
                      <a:pt x="2413" y="1184"/>
                    </a:lnTo>
                    <a:lnTo>
                      <a:pt x="2418" y="1204"/>
                    </a:lnTo>
                    <a:lnTo>
                      <a:pt x="2422" y="1223"/>
                    </a:lnTo>
                    <a:lnTo>
                      <a:pt x="2428" y="1251"/>
                    </a:lnTo>
                    <a:lnTo>
                      <a:pt x="2429" y="1263"/>
                    </a:lnTo>
                    <a:lnTo>
                      <a:pt x="2429" y="1268"/>
                    </a:lnTo>
                    <a:lnTo>
                      <a:pt x="2427" y="1272"/>
                    </a:lnTo>
                    <a:lnTo>
                      <a:pt x="2422" y="1276"/>
                    </a:lnTo>
                    <a:lnTo>
                      <a:pt x="2417" y="1277"/>
                    </a:lnTo>
                    <a:lnTo>
                      <a:pt x="2416" y="1278"/>
                    </a:lnTo>
                    <a:lnTo>
                      <a:pt x="2416" y="1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2"/>
              <p:cNvSpPr>
                <a:spLocks/>
              </p:cNvSpPr>
              <p:nvPr userDrawn="1"/>
            </p:nvSpPr>
            <p:spPr bwMode="auto">
              <a:xfrm>
                <a:off x="1834" y="1512"/>
                <a:ext cx="817" cy="428"/>
              </a:xfrm>
              <a:custGeom>
                <a:avLst/>
                <a:gdLst>
                  <a:gd name="T0" fmla="*/ 2425 w 2451"/>
                  <a:gd name="T1" fmla="*/ 1276 h 1284"/>
                  <a:gd name="T2" fmla="*/ 2400 w 2451"/>
                  <a:gd name="T3" fmla="*/ 1194 h 1284"/>
                  <a:gd name="T4" fmla="*/ 2325 w 2451"/>
                  <a:gd name="T5" fmla="*/ 1060 h 1284"/>
                  <a:gd name="T6" fmla="*/ 2242 w 2451"/>
                  <a:gd name="T7" fmla="*/ 980 h 1284"/>
                  <a:gd name="T8" fmla="*/ 2222 w 2451"/>
                  <a:gd name="T9" fmla="*/ 941 h 1284"/>
                  <a:gd name="T10" fmla="*/ 2226 w 2451"/>
                  <a:gd name="T11" fmla="*/ 850 h 1284"/>
                  <a:gd name="T12" fmla="*/ 2243 w 2451"/>
                  <a:gd name="T13" fmla="*/ 720 h 1284"/>
                  <a:gd name="T14" fmla="*/ 2232 w 2451"/>
                  <a:gd name="T15" fmla="*/ 640 h 1284"/>
                  <a:gd name="T16" fmla="*/ 2195 w 2451"/>
                  <a:gd name="T17" fmla="*/ 588 h 1284"/>
                  <a:gd name="T18" fmla="*/ 2139 w 2451"/>
                  <a:gd name="T19" fmla="*/ 559 h 1284"/>
                  <a:gd name="T20" fmla="*/ 2053 w 2451"/>
                  <a:gd name="T21" fmla="*/ 553 h 1284"/>
                  <a:gd name="T22" fmla="*/ 1948 w 2451"/>
                  <a:gd name="T23" fmla="*/ 582 h 1284"/>
                  <a:gd name="T24" fmla="*/ 1824 w 2451"/>
                  <a:gd name="T25" fmla="*/ 641 h 1284"/>
                  <a:gd name="T26" fmla="*/ 1679 w 2451"/>
                  <a:gd name="T27" fmla="*/ 734 h 1284"/>
                  <a:gd name="T28" fmla="*/ 1482 w 2451"/>
                  <a:gd name="T29" fmla="*/ 857 h 1284"/>
                  <a:gd name="T30" fmla="*/ 1350 w 2451"/>
                  <a:gd name="T31" fmla="*/ 917 h 1284"/>
                  <a:gd name="T32" fmla="*/ 1200 w 2451"/>
                  <a:gd name="T33" fmla="*/ 965 h 1284"/>
                  <a:gd name="T34" fmla="*/ 1032 w 2451"/>
                  <a:gd name="T35" fmla="*/ 993 h 1284"/>
                  <a:gd name="T36" fmla="*/ 849 w 2451"/>
                  <a:gd name="T37" fmla="*/ 992 h 1284"/>
                  <a:gd name="T38" fmla="*/ 676 w 2451"/>
                  <a:gd name="T39" fmla="*/ 959 h 1284"/>
                  <a:gd name="T40" fmla="*/ 586 w 2451"/>
                  <a:gd name="T41" fmla="*/ 926 h 1284"/>
                  <a:gd name="T42" fmla="*/ 505 w 2451"/>
                  <a:gd name="T43" fmla="*/ 876 h 1284"/>
                  <a:gd name="T44" fmla="*/ 428 w 2451"/>
                  <a:gd name="T45" fmla="*/ 810 h 1284"/>
                  <a:gd name="T46" fmla="*/ 273 w 2451"/>
                  <a:gd name="T47" fmla="*/ 623 h 1284"/>
                  <a:gd name="T48" fmla="*/ 114 w 2451"/>
                  <a:gd name="T49" fmla="*/ 380 h 1284"/>
                  <a:gd name="T50" fmla="*/ 27 w 2451"/>
                  <a:gd name="T51" fmla="*/ 193 h 1284"/>
                  <a:gd name="T52" fmla="*/ 0 w 2451"/>
                  <a:gd name="T53" fmla="*/ 63 h 1284"/>
                  <a:gd name="T54" fmla="*/ 11 w 2451"/>
                  <a:gd name="T55" fmla="*/ 3 h 1284"/>
                  <a:gd name="T56" fmla="*/ 33 w 2451"/>
                  <a:gd name="T57" fmla="*/ 9 h 1284"/>
                  <a:gd name="T58" fmla="*/ 27 w 2451"/>
                  <a:gd name="T59" fmla="*/ 44 h 1284"/>
                  <a:gd name="T60" fmla="*/ 41 w 2451"/>
                  <a:gd name="T61" fmla="*/ 143 h 1284"/>
                  <a:gd name="T62" fmla="*/ 110 w 2451"/>
                  <a:gd name="T63" fmla="*/ 316 h 1284"/>
                  <a:gd name="T64" fmla="*/ 261 w 2451"/>
                  <a:gd name="T65" fmla="*/ 558 h 1284"/>
                  <a:gd name="T66" fmla="*/ 414 w 2451"/>
                  <a:gd name="T67" fmla="*/ 757 h 1284"/>
                  <a:gd name="T68" fmla="*/ 504 w 2451"/>
                  <a:gd name="T69" fmla="*/ 841 h 1284"/>
                  <a:gd name="T70" fmla="*/ 581 w 2451"/>
                  <a:gd name="T71" fmla="*/ 892 h 1284"/>
                  <a:gd name="T72" fmla="*/ 665 w 2451"/>
                  <a:gd name="T73" fmla="*/ 928 h 1284"/>
                  <a:gd name="T74" fmla="*/ 815 w 2451"/>
                  <a:gd name="T75" fmla="*/ 960 h 1284"/>
                  <a:gd name="T76" fmla="*/ 995 w 2451"/>
                  <a:gd name="T77" fmla="*/ 968 h 1284"/>
                  <a:gd name="T78" fmla="*/ 1163 w 2451"/>
                  <a:gd name="T79" fmla="*/ 946 h 1284"/>
                  <a:gd name="T80" fmla="*/ 1314 w 2451"/>
                  <a:gd name="T81" fmla="*/ 902 h 1284"/>
                  <a:gd name="T82" fmla="*/ 1447 w 2451"/>
                  <a:gd name="T83" fmla="*/ 845 h 1284"/>
                  <a:gd name="T84" fmla="*/ 1629 w 2451"/>
                  <a:gd name="T85" fmla="*/ 736 h 1284"/>
                  <a:gd name="T86" fmla="*/ 1784 w 2451"/>
                  <a:gd name="T87" fmla="*/ 633 h 1284"/>
                  <a:gd name="T88" fmla="*/ 1915 w 2451"/>
                  <a:gd name="T89" fmla="*/ 565 h 1284"/>
                  <a:gd name="T90" fmla="*/ 2034 w 2451"/>
                  <a:gd name="T91" fmla="*/ 529 h 1284"/>
                  <a:gd name="T92" fmla="*/ 2131 w 2451"/>
                  <a:gd name="T93" fmla="*/ 529 h 1284"/>
                  <a:gd name="T94" fmla="*/ 2205 w 2451"/>
                  <a:gd name="T95" fmla="*/ 561 h 1284"/>
                  <a:gd name="T96" fmla="*/ 2238 w 2451"/>
                  <a:gd name="T97" fmla="*/ 596 h 1284"/>
                  <a:gd name="T98" fmla="*/ 2266 w 2451"/>
                  <a:gd name="T99" fmla="*/ 662 h 1284"/>
                  <a:gd name="T100" fmla="*/ 2267 w 2451"/>
                  <a:gd name="T101" fmla="*/ 754 h 1284"/>
                  <a:gd name="T102" fmla="*/ 2248 w 2451"/>
                  <a:gd name="T103" fmla="*/ 893 h 1284"/>
                  <a:gd name="T104" fmla="*/ 2251 w 2451"/>
                  <a:gd name="T105" fmla="*/ 943 h 1284"/>
                  <a:gd name="T106" fmla="*/ 2287 w 2451"/>
                  <a:gd name="T107" fmla="*/ 981 h 1284"/>
                  <a:gd name="T108" fmla="*/ 2382 w 2451"/>
                  <a:gd name="T109" fmla="*/ 1093 h 1284"/>
                  <a:gd name="T110" fmla="*/ 2442 w 2451"/>
                  <a:gd name="T111" fmla="*/ 1237 h 1284"/>
                  <a:gd name="T112" fmla="*/ 2451 w 2451"/>
                  <a:gd name="T113" fmla="*/ 1266 h 1284"/>
                  <a:gd name="T114" fmla="*/ 2440 w 2451"/>
                  <a:gd name="T115" fmla="*/ 1283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51" h="1284">
                    <a:moveTo>
                      <a:pt x="2438" y="1284"/>
                    </a:moveTo>
                    <a:lnTo>
                      <a:pt x="2435" y="1283"/>
                    </a:lnTo>
                    <a:lnTo>
                      <a:pt x="2431" y="1282"/>
                    </a:lnTo>
                    <a:lnTo>
                      <a:pt x="2428" y="1280"/>
                    </a:lnTo>
                    <a:lnTo>
                      <a:pt x="2425" y="1276"/>
                    </a:lnTo>
                    <a:lnTo>
                      <a:pt x="2423" y="1270"/>
                    </a:lnTo>
                    <a:lnTo>
                      <a:pt x="2421" y="1262"/>
                    </a:lnTo>
                    <a:lnTo>
                      <a:pt x="2416" y="1244"/>
                    </a:lnTo>
                    <a:lnTo>
                      <a:pt x="2410" y="1221"/>
                    </a:lnTo>
                    <a:lnTo>
                      <a:pt x="2400" y="1194"/>
                    </a:lnTo>
                    <a:lnTo>
                      <a:pt x="2387" y="1162"/>
                    </a:lnTo>
                    <a:lnTo>
                      <a:pt x="2373" y="1134"/>
                    </a:lnTo>
                    <a:lnTo>
                      <a:pt x="2358" y="1108"/>
                    </a:lnTo>
                    <a:lnTo>
                      <a:pt x="2343" y="1083"/>
                    </a:lnTo>
                    <a:lnTo>
                      <a:pt x="2325" y="1060"/>
                    </a:lnTo>
                    <a:lnTo>
                      <a:pt x="2308" y="1039"/>
                    </a:lnTo>
                    <a:lnTo>
                      <a:pt x="2290" y="1020"/>
                    </a:lnTo>
                    <a:lnTo>
                      <a:pt x="2269" y="1001"/>
                    </a:lnTo>
                    <a:lnTo>
                      <a:pt x="2249" y="986"/>
                    </a:lnTo>
                    <a:lnTo>
                      <a:pt x="2242" y="980"/>
                    </a:lnTo>
                    <a:lnTo>
                      <a:pt x="2236" y="973"/>
                    </a:lnTo>
                    <a:lnTo>
                      <a:pt x="2232" y="966"/>
                    </a:lnTo>
                    <a:lnTo>
                      <a:pt x="2227" y="958"/>
                    </a:lnTo>
                    <a:lnTo>
                      <a:pt x="2224" y="950"/>
                    </a:lnTo>
                    <a:lnTo>
                      <a:pt x="2222" y="941"/>
                    </a:lnTo>
                    <a:lnTo>
                      <a:pt x="2221" y="931"/>
                    </a:lnTo>
                    <a:lnTo>
                      <a:pt x="2220" y="920"/>
                    </a:lnTo>
                    <a:lnTo>
                      <a:pt x="2221" y="899"/>
                    </a:lnTo>
                    <a:lnTo>
                      <a:pt x="2223" y="875"/>
                    </a:lnTo>
                    <a:lnTo>
                      <a:pt x="2226" y="850"/>
                    </a:lnTo>
                    <a:lnTo>
                      <a:pt x="2230" y="823"/>
                    </a:lnTo>
                    <a:lnTo>
                      <a:pt x="2236" y="789"/>
                    </a:lnTo>
                    <a:lnTo>
                      <a:pt x="2240" y="754"/>
                    </a:lnTo>
                    <a:lnTo>
                      <a:pt x="2242" y="737"/>
                    </a:lnTo>
                    <a:lnTo>
                      <a:pt x="2243" y="720"/>
                    </a:lnTo>
                    <a:lnTo>
                      <a:pt x="2243" y="703"/>
                    </a:lnTo>
                    <a:lnTo>
                      <a:pt x="2242" y="687"/>
                    </a:lnTo>
                    <a:lnTo>
                      <a:pt x="2240" y="671"/>
                    </a:lnTo>
                    <a:lnTo>
                      <a:pt x="2237" y="655"/>
                    </a:lnTo>
                    <a:lnTo>
                      <a:pt x="2232" y="640"/>
                    </a:lnTo>
                    <a:lnTo>
                      <a:pt x="2225" y="626"/>
                    </a:lnTo>
                    <a:lnTo>
                      <a:pt x="2217" y="613"/>
                    </a:lnTo>
                    <a:lnTo>
                      <a:pt x="2207" y="600"/>
                    </a:lnTo>
                    <a:lnTo>
                      <a:pt x="2201" y="594"/>
                    </a:lnTo>
                    <a:lnTo>
                      <a:pt x="2195" y="588"/>
                    </a:lnTo>
                    <a:lnTo>
                      <a:pt x="2188" y="583"/>
                    </a:lnTo>
                    <a:lnTo>
                      <a:pt x="2181" y="578"/>
                    </a:lnTo>
                    <a:lnTo>
                      <a:pt x="2168" y="570"/>
                    </a:lnTo>
                    <a:lnTo>
                      <a:pt x="2154" y="564"/>
                    </a:lnTo>
                    <a:lnTo>
                      <a:pt x="2139" y="559"/>
                    </a:lnTo>
                    <a:lnTo>
                      <a:pt x="2124" y="555"/>
                    </a:lnTo>
                    <a:lnTo>
                      <a:pt x="2107" y="552"/>
                    </a:lnTo>
                    <a:lnTo>
                      <a:pt x="2090" y="551"/>
                    </a:lnTo>
                    <a:lnTo>
                      <a:pt x="2072" y="551"/>
                    </a:lnTo>
                    <a:lnTo>
                      <a:pt x="2053" y="553"/>
                    </a:lnTo>
                    <a:lnTo>
                      <a:pt x="2034" y="557"/>
                    </a:lnTo>
                    <a:lnTo>
                      <a:pt x="2013" y="561"/>
                    </a:lnTo>
                    <a:lnTo>
                      <a:pt x="1993" y="566"/>
                    </a:lnTo>
                    <a:lnTo>
                      <a:pt x="1970" y="573"/>
                    </a:lnTo>
                    <a:lnTo>
                      <a:pt x="1948" y="582"/>
                    </a:lnTo>
                    <a:lnTo>
                      <a:pt x="1924" y="591"/>
                    </a:lnTo>
                    <a:lnTo>
                      <a:pt x="1900" y="602"/>
                    </a:lnTo>
                    <a:lnTo>
                      <a:pt x="1874" y="614"/>
                    </a:lnTo>
                    <a:lnTo>
                      <a:pt x="1849" y="627"/>
                    </a:lnTo>
                    <a:lnTo>
                      <a:pt x="1824" y="641"/>
                    </a:lnTo>
                    <a:lnTo>
                      <a:pt x="1797" y="657"/>
                    </a:lnTo>
                    <a:lnTo>
                      <a:pt x="1769" y="673"/>
                    </a:lnTo>
                    <a:lnTo>
                      <a:pt x="1741" y="692"/>
                    </a:lnTo>
                    <a:lnTo>
                      <a:pt x="1710" y="712"/>
                    </a:lnTo>
                    <a:lnTo>
                      <a:pt x="1679" y="734"/>
                    </a:lnTo>
                    <a:lnTo>
                      <a:pt x="1645" y="757"/>
                    </a:lnTo>
                    <a:lnTo>
                      <a:pt x="1611" y="781"/>
                    </a:lnTo>
                    <a:lnTo>
                      <a:pt x="1572" y="806"/>
                    </a:lnTo>
                    <a:lnTo>
                      <a:pt x="1529" y="832"/>
                    </a:lnTo>
                    <a:lnTo>
                      <a:pt x="1482" y="857"/>
                    </a:lnTo>
                    <a:lnTo>
                      <a:pt x="1457" y="870"/>
                    </a:lnTo>
                    <a:lnTo>
                      <a:pt x="1432" y="882"/>
                    </a:lnTo>
                    <a:lnTo>
                      <a:pt x="1405" y="893"/>
                    </a:lnTo>
                    <a:lnTo>
                      <a:pt x="1378" y="905"/>
                    </a:lnTo>
                    <a:lnTo>
                      <a:pt x="1350" y="917"/>
                    </a:lnTo>
                    <a:lnTo>
                      <a:pt x="1322" y="928"/>
                    </a:lnTo>
                    <a:lnTo>
                      <a:pt x="1293" y="938"/>
                    </a:lnTo>
                    <a:lnTo>
                      <a:pt x="1263" y="947"/>
                    </a:lnTo>
                    <a:lnTo>
                      <a:pt x="1232" y="957"/>
                    </a:lnTo>
                    <a:lnTo>
                      <a:pt x="1200" y="965"/>
                    </a:lnTo>
                    <a:lnTo>
                      <a:pt x="1168" y="972"/>
                    </a:lnTo>
                    <a:lnTo>
                      <a:pt x="1134" y="979"/>
                    </a:lnTo>
                    <a:lnTo>
                      <a:pt x="1101" y="984"/>
                    </a:lnTo>
                    <a:lnTo>
                      <a:pt x="1066" y="990"/>
                    </a:lnTo>
                    <a:lnTo>
                      <a:pt x="1032" y="993"/>
                    </a:lnTo>
                    <a:lnTo>
                      <a:pt x="996" y="995"/>
                    </a:lnTo>
                    <a:lnTo>
                      <a:pt x="961" y="996"/>
                    </a:lnTo>
                    <a:lnTo>
                      <a:pt x="924" y="996"/>
                    </a:lnTo>
                    <a:lnTo>
                      <a:pt x="887" y="995"/>
                    </a:lnTo>
                    <a:lnTo>
                      <a:pt x="849" y="992"/>
                    </a:lnTo>
                    <a:lnTo>
                      <a:pt x="812" y="987"/>
                    </a:lnTo>
                    <a:lnTo>
                      <a:pt x="773" y="982"/>
                    </a:lnTo>
                    <a:lnTo>
                      <a:pt x="734" y="974"/>
                    </a:lnTo>
                    <a:lnTo>
                      <a:pt x="695" y="965"/>
                    </a:lnTo>
                    <a:lnTo>
                      <a:pt x="676" y="959"/>
                    </a:lnTo>
                    <a:lnTo>
                      <a:pt x="657" y="954"/>
                    </a:lnTo>
                    <a:lnTo>
                      <a:pt x="639" y="947"/>
                    </a:lnTo>
                    <a:lnTo>
                      <a:pt x="620" y="941"/>
                    </a:lnTo>
                    <a:lnTo>
                      <a:pt x="603" y="933"/>
                    </a:lnTo>
                    <a:lnTo>
                      <a:pt x="586" y="926"/>
                    </a:lnTo>
                    <a:lnTo>
                      <a:pt x="570" y="917"/>
                    </a:lnTo>
                    <a:lnTo>
                      <a:pt x="552" y="908"/>
                    </a:lnTo>
                    <a:lnTo>
                      <a:pt x="536" y="898"/>
                    </a:lnTo>
                    <a:lnTo>
                      <a:pt x="520" y="887"/>
                    </a:lnTo>
                    <a:lnTo>
                      <a:pt x="505" y="876"/>
                    </a:lnTo>
                    <a:lnTo>
                      <a:pt x="489" y="864"/>
                    </a:lnTo>
                    <a:lnTo>
                      <a:pt x="474" y="851"/>
                    </a:lnTo>
                    <a:lnTo>
                      <a:pt x="458" y="838"/>
                    </a:lnTo>
                    <a:lnTo>
                      <a:pt x="443" y="824"/>
                    </a:lnTo>
                    <a:lnTo>
                      <a:pt x="428" y="810"/>
                    </a:lnTo>
                    <a:lnTo>
                      <a:pt x="397" y="779"/>
                    </a:lnTo>
                    <a:lnTo>
                      <a:pt x="367" y="745"/>
                    </a:lnTo>
                    <a:lnTo>
                      <a:pt x="336" y="707"/>
                    </a:lnTo>
                    <a:lnTo>
                      <a:pt x="305" y="666"/>
                    </a:lnTo>
                    <a:lnTo>
                      <a:pt x="273" y="623"/>
                    </a:lnTo>
                    <a:lnTo>
                      <a:pt x="239" y="575"/>
                    </a:lnTo>
                    <a:lnTo>
                      <a:pt x="205" y="524"/>
                    </a:lnTo>
                    <a:lnTo>
                      <a:pt x="169" y="469"/>
                    </a:lnTo>
                    <a:lnTo>
                      <a:pt x="140" y="424"/>
                    </a:lnTo>
                    <a:lnTo>
                      <a:pt x="114" y="380"/>
                    </a:lnTo>
                    <a:lnTo>
                      <a:pt x="90" y="338"/>
                    </a:lnTo>
                    <a:lnTo>
                      <a:pt x="71" y="299"/>
                    </a:lnTo>
                    <a:lnTo>
                      <a:pt x="54" y="261"/>
                    </a:lnTo>
                    <a:lnTo>
                      <a:pt x="40" y="225"/>
                    </a:lnTo>
                    <a:lnTo>
                      <a:pt x="27" y="193"/>
                    </a:lnTo>
                    <a:lnTo>
                      <a:pt x="17" y="162"/>
                    </a:lnTo>
                    <a:lnTo>
                      <a:pt x="9" y="134"/>
                    </a:lnTo>
                    <a:lnTo>
                      <a:pt x="4" y="108"/>
                    </a:lnTo>
                    <a:lnTo>
                      <a:pt x="1" y="84"/>
                    </a:lnTo>
                    <a:lnTo>
                      <a:pt x="0" y="63"/>
                    </a:lnTo>
                    <a:lnTo>
                      <a:pt x="0" y="45"/>
                    </a:lnTo>
                    <a:lnTo>
                      <a:pt x="1" y="30"/>
                    </a:lnTo>
                    <a:lnTo>
                      <a:pt x="4" y="17"/>
                    </a:lnTo>
                    <a:lnTo>
                      <a:pt x="8" y="6"/>
                    </a:lnTo>
                    <a:lnTo>
                      <a:pt x="11" y="3"/>
                    </a:lnTo>
                    <a:lnTo>
                      <a:pt x="16" y="0"/>
                    </a:lnTo>
                    <a:lnTo>
                      <a:pt x="21" y="0"/>
                    </a:lnTo>
                    <a:lnTo>
                      <a:pt x="27" y="1"/>
                    </a:lnTo>
                    <a:lnTo>
                      <a:pt x="30" y="5"/>
                    </a:lnTo>
                    <a:lnTo>
                      <a:pt x="33" y="9"/>
                    </a:lnTo>
                    <a:lnTo>
                      <a:pt x="33" y="15"/>
                    </a:lnTo>
                    <a:lnTo>
                      <a:pt x="32" y="19"/>
                    </a:lnTo>
                    <a:lnTo>
                      <a:pt x="30" y="24"/>
                    </a:lnTo>
                    <a:lnTo>
                      <a:pt x="28" y="33"/>
                    </a:lnTo>
                    <a:lnTo>
                      <a:pt x="27" y="44"/>
                    </a:lnTo>
                    <a:lnTo>
                      <a:pt x="27" y="58"/>
                    </a:lnTo>
                    <a:lnTo>
                      <a:pt x="28" y="75"/>
                    </a:lnTo>
                    <a:lnTo>
                      <a:pt x="30" y="95"/>
                    </a:lnTo>
                    <a:lnTo>
                      <a:pt x="34" y="117"/>
                    </a:lnTo>
                    <a:lnTo>
                      <a:pt x="41" y="143"/>
                    </a:lnTo>
                    <a:lnTo>
                      <a:pt x="49" y="172"/>
                    </a:lnTo>
                    <a:lnTo>
                      <a:pt x="60" y="204"/>
                    </a:lnTo>
                    <a:lnTo>
                      <a:pt x="73" y="238"/>
                    </a:lnTo>
                    <a:lnTo>
                      <a:pt x="89" y="275"/>
                    </a:lnTo>
                    <a:lnTo>
                      <a:pt x="110" y="316"/>
                    </a:lnTo>
                    <a:lnTo>
                      <a:pt x="132" y="359"/>
                    </a:lnTo>
                    <a:lnTo>
                      <a:pt x="160" y="406"/>
                    </a:lnTo>
                    <a:lnTo>
                      <a:pt x="192" y="455"/>
                    </a:lnTo>
                    <a:lnTo>
                      <a:pt x="226" y="508"/>
                    </a:lnTo>
                    <a:lnTo>
                      <a:pt x="261" y="558"/>
                    </a:lnTo>
                    <a:lnTo>
                      <a:pt x="293" y="604"/>
                    </a:lnTo>
                    <a:lnTo>
                      <a:pt x="325" y="647"/>
                    </a:lnTo>
                    <a:lnTo>
                      <a:pt x="355" y="687"/>
                    </a:lnTo>
                    <a:lnTo>
                      <a:pt x="385" y="724"/>
                    </a:lnTo>
                    <a:lnTo>
                      <a:pt x="414" y="757"/>
                    </a:lnTo>
                    <a:lnTo>
                      <a:pt x="444" y="788"/>
                    </a:lnTo>
                    <a:lnTo>
                      <a:pt x="458" y="803"/>
                    </a:lnTo>
                    <a:lnTo>
                      <a:pt x="474" y="816"/>
                    </a:lnTo>
                    <a:lnTo>
                      <a:pt x="489" y="829"/>
                    </a:lnTo>
                    <a:lnTo>
                      <a:pt x="504" y="841"/>
                    </a:lnTo>
                    <a:lnTo>
                      <a:pt x="519" y="852"/>
                    </a:lnTo>
                    <a:lnTo>
                      <a:pt x="534" y="863"/>
                    </a:lnTo>
                    <a:lnTo>
                      <a:pt x="549" y="874"/>
                    </a:lnTo>
                    <a:lnTo>
                      <a:pt x="565" y="884"/>
                    </a:lnTo>
                    <a:lnTo>
                      <a:pt x="581" y="892"/>
                    </a:lnTo>
                    <a:lnTo>
                      <a:pt x="597" y="901"/>
                    </a:lnTo>
                    <a:lnTo>
                      <a:pt x="614" y="909"/>
                    </a:lnTo>
                    <a:lnTo>
                      <a:pt x="630" y="916"/>
                    </a:lnTo>
                    <a:lnTo>
                      <a:pt x="647" y="923"/>
                    </a:lnTo>
                    <a:lnTo>
                      <a:pt x="665" y="928"/>
                    </a:lnTo>
                    <a:lnTo>
                      <a:pt x="683" y="933"/>
                    </a:lnTo>
                    <a:lnTo>
                      <a:pt x="701" y="939"/>
                    </a:lnTo>
                    <a:lnTo>
                      <a:pt x="739" y="947"/>
                    </a:lnTo>
                    <a:lnTo>
                      <a:pt x="778" y="955"/>
                    </a:lnTo>
                    <a:lnTo>
                      <a:pt x="815" y="960"/>
                    </a:lnTo>
                    <a:lnTo>
                      <a:pt x="853" y="965"/>
                    </a:lnTo>
                    <a:lnTo>
                      <a:pt x="888" y="968"/>
                    </a:lnTo>
                    <a:lnTo>
                      <a:pt x="925" y="969"/>
                    </a:lnTo>
                    <a:lnTo>
                      <a:pt x="961" y="969"/>
                    </a:lnTo>
                    <a:lnTo>
                      <a:pt x="995" y="968"/>
                    </a:lnTo>
                    <a:lnTo>
                      <a:pt x="1030" y="966"/>
                    </a:lnTo>
                    <a:lnTo>
                      <a:pt x="1064" y="963"/>
                    </a:lnTo>
                    <a:lnTo>
                      <a:pt x="1098" y="958"/>
                    </a:lnTo>
                    <a:lnTo>
                      <a:pt x="1130" y="952"/>
                    </a:lnTo>
                    <a:lnTo>
                      <a:pt x="1163" y="946"/>
                    </a:lnTo>
                    <a:lnTo>
                      <a:pt x="1194" y="939"/>
                    </a:lnTo>
                    <a:lnTo>
                      <a:pt x="1225" y="930"/>
                    </a:lnTo>
                    <a:lnTo>
                      <a:pt x="1255" y="922"/>
                    </a:lnTo>
                    <a:lnTo>
                      <a:pt x="1285" y="912"/>
                    </a:lnTo>
                    <a:lnTo>
                      <a:pt x="1314" y="902"/>
                    </a:lnTo>
                    <a:lnTo>
                      <a:pt x="1342" y="891"/>
                    </a:lnTo>
                    <a:lnTo>
                      <a:pt x="1369" y="881"/>
                    </a:lnTo>
                    <a:lnTo>
                      <a:pt x="1396" y="869"/>
                    </a:lnTo>
                    <a:lnTo>
                      <a:pt x="1422" y="857"/>
                    </a:lnTo>
                    <a:lnTo>
                      <a:pt x="1447" y="845"/>
                    </a:lnTo>
                    <a:lnTo>
                      <a:pt x="1470" y="833"/>
                    </a:lnTo>
                    <a:lnTo>
                      <a:pt x="1516" y="808"/>
                    </a:lnTo>
                    <a:lnTo>
                      <a:pt x="1558" y="783"/>
                    </a:lnTo>
                    <a:lnTo>
                      <a:pt x="1596" y="759"/>
                    </a:lnTo>
                    <a:lnTo>
                      <a:pt x="1629" y="736"/>
                    </a:lnTo>
                    <a:lnTo>
                      <a:pt x="1664" y="711"/>
                    </a:lnTo>
                    <a:lnTo>
                      <a:pt x="1696" y="689"/>
                    </a:lnTo>
                    <a:lnTo>
                      <a:pt x="1726" y="669"/>
                    </a:lnTo>
                    <a:lnTo>
                      <a:pt x="1756" y="651"/>
                    </a:lnTo>
                    <a:lnTo>
                      <a:pt x="1784" y="633"/>
                    </a:lnTo>
                    <a:lnTo>
                      <a:pt x="1811" y="617"/>
                    </a:lnTo>
                    <a:lnTo>
                      <a:pt x="1837" y="603"/>
                    </a:lnTo>
                    <a:lnTo>
                      <a:pt x="1862" y="590"/>
                    </a:lnTo>
                    <a:lnTo>
                      <a:pt x="1889" y="577"/>
                    </a:lnTo>
                    <a:lnTo>
                      <a:pt x="1915" y="565"/>
                    </a:lnTo>
                    <a:lnTo>
                      <a:pt x="1941" y="556"/>
                    </a:lnTo>
                    <a:lnTo>
                      <a:pt x="1966" y="547"/>
                    </a:lnTo>
                    <a:lnTo>
                      <a:pt x="1989" y="539"/>
                    </a:lnTo>
                    <a:lnTo>
                      <a:pt x="2012" y="533"/>
                    </a:lnTo>
                    <a:lnTo>
                      <a:pt x="2034" y="529"/>
                    </a:lnTo>
                    <a:lnTo>
                      <a:pt x="2054" y="526"/>
                    </a:lnTo>
                    <a:lnTo>
                      <a:pt x="2075" y="524"/>
                    </a:lnTo>
                    <a:lnTo>
                      <a:pt x="2094" y="524"/>
                    </a:lnTo>
                    <a:lnTo>
                      <a:pt x="2114" y="526"/>
                    </a:lnTo>
                    <a:lnTo>
                      <a:pt x="2131" y="529"/>
                    </a:lnTo>
                    <a:lnTo>
                      <a:pt x="2148" y="533"/>
                    </a:lnTo>
                    <a:lnTo>
                      <a:pt x="2165" y="539"/>
                    </a:lnTo>
                    <a:lnTo>
                      <a:pt x="2181" y="547"/>
                    </a:lnTo>
                    <a:lnTo>
                      <a:pt x="2196" y="556"/>
                    </a:lnTo>
                    <a:lnTo>
                      <a:pt x="2205" y="561"/>
                    </a:lnTo>
                    <a:lnTo>
                      <a:pt x="2212" y="567"/>
                    </a:lnTo>
                    <a:lnTo>
                      <a:pt x="2220" y="574"/>
                    </a:lnTo>
                    <a:lnTo>
                      <a:pt x="2226" y="582"/>
                    </a:lnTo>
                    <a:lnTo>
                      <a:pt x="2233" y="588"/>
                    </a:lnTo>
                    <a:lnTo>
                      <a:pt x="2238" y="596"/>
                    </a:lnTo>
                    <a:lnTo>
                      <a:pt x="2243" y="603"/>
                    </a:lnTo>
                    <a:lnTo>
                      <a:pt x="2248" y="611"/>
                    </a:lnTo>
                    <a:lnTo>
                      <a:pt x="2255" y="628"/>
                    </a:lnTo>
                    <a:lnTo>
                      <a:pt x="2262" y="644"/>
                    </a:lnTo>
                    <a:lnTo>
                      <a:pt x="2266" y="662"/>
                    </a:lnTo>
                    <a:lnTo>
                      <a:pt x="2268" y="680"/>
                    </a:lnTo>
                    <a:lnTo>
                      <a:pt x="2269" y="698"/>
                    </a:lnTo>
                    <a:lnTo>
                      <a:pt x="2270" y="718"/>
                    </a:lnTo>
                    <a:lnTo>
                      <a:pt x="2269" y="736"/>
                    </a:lnTo>
                    <a:lnTo>
                      <a:pt x="2267" y="754"/>
                    </a:lnTo>
                    <a:lnTo>
                      <a:pt x="2263" y="792"/>
                    </a:lnTo>
                    <a:lnTo>
                      <a:pt x="2257" y="828"/>
                    </a:lnTo>
                    <a:lnTo>
                      <a:pt x="2253" y="851"/>
                    </a:lnTo>
                    <a:lnTo>
                      <a:pt x="2250" y="873"/>
                    </a:lnTo>
                    <a:lnTo>
                      <a:pt x="2248" y="893"/>
                    </a:lnTo>
                    <a:lnTo>
                      <a:pt x="2247" y="912"/>
                    </a:lnTo>
                    <a:lnTo>
                      <a:pt x="2247" y="920"/>
                    </a:lnTo>
                    <a:lnTo>
                      <a:pt x="2248" y="929"/>
                    </a:lnTo>
                    <a:lnTo>
                      <a:pt x="2249" y="937"/>
                    </a:lnTo>
                    <a:lnTo>
                      <a:pt x="2251" y="943"/>
                    </a:lnTo>
                    <a:lnTo>
                      <a:pt x="2253" y="950"/>
                    </a:lnTo>
                    <a:lnTo>
                      <a:pt x="2256" y="955"/>
                    </a:lnTo>
                    <a:lnTo>
                      <a:pt x="2260" y="959"/>
                    </a:lnTo>
                    <a:lnTo>
                      <a:pt x="2265" y="964"/>
                    </a:lnTo>
                    <a:lnTo>
                      <a:pt x="2287" y="981"/>
                    </a:lnTo>
                    <a:lnTo>
                      <a:pt x="2308" y="999"/>
                    </a:lnTo>
                    <a:lnTo>
                      <a:pt x="2328" y="1021"/>
                    </a:lnTo>
                    <a:lnTo>
                      <a:pt x="2347" y="1044"/>
                    </a:lnTo>
                    <a:lnTo>
                      <a:pt x="2364" y="1067"/>
                    </a:lnTo>
                    <a:lnTo>
                      <a:pt x="2382" y="1093"/>
                    </a:lnTo>
                    <a:lnTo>
                      <a:pt x="2397" y="1121"/>
                    </a:lnTo>
                    <a:lnTo>
                      <a:pt x="2411" y="1151"/>
                    </a:lnTo>
                    <a:lnTo>
                      <a:pt x="2425" y="1184"/>
                    </a:lnTo>
                    <a:lnTo>
                      <a:pt x="2435" y="1213"/>
                    </a:lnTo>
                    <a:lnTo>
                      <a:pt x="2442" y="1237"/>
                    </a:lnTo>
                    <a:lnTo>
                      <a:pt x="2446" y="1254"/>
                    </a:lnTo>
                    <a:lnTo>
                      <a:pt x="2449" y="1259"/>
                    </a:lnTo>
                    <a:lnTo>
                      <a:pt x="2450" y="1263"/>
                    </a:lnTo>
                    <a:lnTo>
                      <a:pt x="2450" y="1265"/>
                    </a:lnTo>
                    <a:lnTo>
                      <a:pt x="2451" y="1266"/>
                    </a:lnTo>
                    <a:lnTo>
                      <a:pt x="2451" y="1271"/>
                    </a:lnTo>
                    <a:lnTo>
                      <a:pt x="2450" y="1277"/>
                    </a:lnTo>
                    <a:lnTo>
                      <a:pt x="2446" y="1280"/>
                    </a:lnTo>
                    <a:lnTo>
                      <a:pt x="2442" y="1283"/>
                    </a:lnTo>
                    <a:lnTo>
                      <a:pt x="2440" y="1283"/>
                    </a:lnTo>
                    <a:lnTo>
                      <a:pt x="2438" y="1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3"/>
              <p:cNvSpPr>
                <a:spLocks/>
              </p:cNvSpPr>
              <p:nvPr userDrawn="1"/>
            </p:nvSpPr>
            <p:spPr bwMode="auto">
              <a:xfrm>
                <a:off x="1852" y="1484"/>
                <a:ext cx="825" cy="431"/>
              </a:xfrm>
              <a:custGeom>
                <a:avLst/>
                <a:gdLst>
                  <a:gd name="T0" fmla="*/ 2448 w 2475"/>
                  <a:gd name="T1" fmla="*/ 1282 h 1291"/>
                  <a:gd name="T2" fmla="*/ 2415 w 2475"/>
                  <a:gd name="T3" fmla="*/ 1204 h 1291"/>
                  <a:gd name="T4" fmla="*/ 2338 w 2475"/>
                  <a:gd name="T5" fmla="*/ 1085 h 1291"/>
                  <a:gd name="T6" fmla="*/ 2251 w 2475"/>
                  <a:gd name="T7" fmla="*/ 1009 h 1291"/>
                  <a:gd name="T8" fmla="*/ 2230 w 2475"/>
                  <a:gd name="T9" fmla="*/ 970 h 1291"/>
                  <a:gd name="T10" fmla="*/ 2226 w 2475"/>
                  <a:gd name="T11" fmla="*/ 884 h 1291"/>
                  <a:gd name="T12" fmla="*/ 2232 w 2475"/>
                  <a:gd name="T13" fmla="*/ 764 h 1291"/>
                  <a:gd name="T14" fmla="*/ 2214 w 2475"/>
                  <a:gd name="T15" fmla="*/ 689 h 1291"/>
                  <a:gd name="T16" fmla="*/ 2160 w 2475"/>
                  <a:gd name="T17" fmla="*/ 630 h 1291"/>
                  <a:gd name="T18" fmla="*/ 2087 w 2475"/>
                  <a:gd name="T19" fmla="*/ 605 h 1291"/>
                  <a:gd name="T20" fmla="*/ 1994 w 2475"/>
                  <a:gd name="T21" fmla="*/ 611 h 1291"/>
                  <a:gd name="T22" fmla="*/ 1881 w 2475"/>
                  <a:gd name="T23" fmla="*/ 647 h 1291"/>
                  <a:gd name="T24" fmla="*/ 1751 w 2475"/>
                  <a:gd name="T25" fmla="*/ 711 h 1291"/>
                  <a:gd name="T26" fmla="*/ 1592 w 2475"/>
                  <a:gd name="T27" fmla="*/ 806 h 1291"/>
                  <a:gd name="T28" fmla="*/ 1442 w 2475"/>
                  <a:gd name="T29" fmla="*/ 887 h 1291"/>
                  <a:gd name="T30" fmla="*/ 1293 w 2475"/>
                  <a:gd name="T31" fmla="*/ 947 h 1291"/>
                  <a:gd name="T32" fmla="*/ 1144 w 2475"/>
                  <a:gd name="T33" fmla="*/ 987 h 1291"/>
                  <a:gd name="T34" fmla="*/ 996 w 2475"/>
                  <a:gd name="T35" fmla="*/ 1007 h 1291"/>
                  <a:gd name="T36" fmla="*/ 850 w 2475"/>
                  <a:gd name="T37" fmla="*/ 1006 h 1291"/>
                  <a:gd name="T38" fmla="*/ 704 w 2475"/>
                  <a:gd name="T39" fmla="*/ 983 h 1291"/>
                  <a:gd name="T40" fmla="*/ 603 w 2475"/>
                  <a:gd name="T41" fmla="*/ 953 h 1291"/>
                  <a:gd name="T42" fmla="*/ 521 w 2475"/>
                  <a:gd name="T43" fmla="*/ 907 h 1291"/>
                  <a:gd name="T44" fmla="*/ 444 w 2475"/>
                  <a:gd name="T45" fmla="*/ 846 h 1291"/>
                  <a:gd name="T46" fmla="*/ 321 w 2475"/>
                  <a:gd name="T47" fmla="*/ 711 h 1291"/>
                  <a:gd name="T48" fmla="*/ 160 w 2475"/>
                  <a:gd name="T49" fmla="*/ 475 h 1291"/>
                  <a:gd name="T50" fmla="*/ 47 w 2475"/>
                  <a:gd name="T51" fmla="*/ 263 h 1291"/>
                  <a:gd name="T52" fmla="*/ 3 w 2475"/>
                  <a:gd name="T53" fmla="*/ 109 h 1291"/>
                  <a:gd name="T54" fmla="*/ 6 w 2475"/>
                  <a:gd name="T55" fmla="*/ 17 h 1291"/>
                  <a:gd name="T56" fmla="*/ 30 w 2475"/>
                  <a:gd name="T57" fmla="*/ 2 h 1291"/>
                  <a:gd name="T58" fmla="*/ 31 w 2475"/>
                  <a:gd name="T59" fmla="*/ 28 h 1291"/>
                  <a:gd name="T60" fmla="*/ 30 w 2475"/>
                  <a:gd name="T61" fmla="*/ 108 h 1291"/>
                  <a:gd name="T62" fmla="*/ 73 w 2475"/>
                  <a:gd name="T63" fmla="*/ 253 h 1291"/>
                  <a:gd name="T64" fmla="*/ 182 w 2475"/>
                  <a:gd name="T65" fmla="*/ 459 h 1291"/>
                  <a:gd name="T66" fmla="*/ 342 w 2475"/>
                  <a:gd name="T67" fmla="*/ 694 h 1291"/>
                  <a:gd name="T68" fmla="*/ 460 w 2475"/>
                  <a:gd name="T69" fmla="*/ 825 h 1291"/>
                  <a:gd name="T70" fmla="*/ 534 w 2475"/>
                  <a:gd name="T71" fmla="*/ 885 h 1291"/>
                  <a:gd name="T72" fmla="*/ 613 w 2475"/>
                  <a:gd name="T73" fmla="*/ 927 h 1291"/>
                  <a:gd name="T74" fmla="*/ 710 w 2475"/>
                  <a:gd name="T75" fmla="*/ 957 h 1291"/>
                  <a:gd name="T76" fmla="*/ 852 w 2475"/>
                  <a:gd name="T77" fmla="*/ 979 h 1291"/>
                  <a:gd name="T78" fmla="*/ 995 w 2475"/>
                  <a:gd name="T79" fmla="*/ 980 h 1291"/>
                  <a:gd name="T80" fmla="*/ 1140 w 2475"/>
                  <a:gd name="T81" fmla="*/ 960 h 1291"/>
                  <a:gd name="T82" fmla="*/ 1286 w 2475"/>
                  <a:gd name="T83" fmla="*/ 922 h 1291"/>
                  <a:gd name="T84" fmla="*/ 1432 w 2475"/>
                  <a:gd name="T85" fmla="*/ 862 h 1291"/>
                  <a:gd name="T86" fmla="*/ 1579 w 2475"/>
                  <a:gd name="T87" fmla="*/ 783 h 1291"/>
                  <a:gd name="T88" fmla="*/ 1739 w 2475"/>
                  <a:gd name="T89" fmla="*/ 687 h 1291"/>
                  <a:gd name="T90" fmla="*/ 1871 w 2475"/>
                  <a:gd name="T91" fmla="*/ 622 h 1291"/>
                  <a:gd name="T92" fmla="*/ 1993 w 2475"/>
                  <a:gd name="T93" fmla="*/ 584 h 1291"/>
                  <a:gd name="T94" fmla="*/ 2093 w 2475"/>
                  <a:gd name="T95" fmla="*/ 579 h 1291"/>
                  <a:gd name="T96" fmla="*/ 2176 w 2475"/>
                  <a:gd name="T97" fmla="*/ 607 h 1291"/>
                  <a:gd name="T98" fmla="*/ 2219 w 2475"/>
                  <a:gd name="T99" fmla="*/ 645 h 1291"/>
                  <a:gd name="T100" fmla="*/ 2254 w 2475"/>
                  <a:gd name="T101" fmla="*/ 724 h 1291"/>
                  <a:gd name="T102" fmla="*/ 2258 w 2475"/>
                  <a:gd name="T103" fmla="*/ 829 h 1291"/>
                  <a:gd name="T104" fmla="*/ 2252 w 2475"/>
                  <a:gd name="T105" fmla="*/ 942 h 1291"/>
                  <a:gd name="T106" fmla="*/ 2261 w 2475"/>
                  <a:gd name="T107" fmla="*/ 979 h 1291"/>
                  <a:gd name="T108" fmla="*/ 2317 w 2475"/>
                  <a:gd name="T109" fmla="*/ 1026 h 1291"/>
                  <a:gd name="T110" fmla="*/ 2411 w 2475"/>
                  <a:gd name="T111" fmla="*/ 1140 h 1291"/>
                  <a:gd name="T112" fmla="*/ 2464 w 2475"/>
                  <a:gd name="T113" fmla="*/ 1253 h 1291"/>
                  <a:gd name="T114" fmla="*/ 2475 w 2475"/>
                  <a:gd name="T115" fmla="*/ 1278 h 1291"/>
                  <a:gd name="T116" fmla="*/ 2460 w 2475"/>
                  <a:gd name="T117" fmla="*/ 1291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75" h="1291">
                    <a:moveTo>
                      <a:pt x="2460" y="1291"/>
                    </a:moveTo>
                    <a:lnTo>
                      <a:pt x="2456" y="1290"/>
                    </a:lnTo>
                    <a:lnTo>
                      <a:pt x="2453" y="1289"/>
                    </a:lnTo>
                    <a:lnTo>
                      <a:pt x="2450" y="1286"/>
                    </a:lnTo>
                    <a:lnTo>
                      <a:pt x="2448" y="1282"/>
                    </a:lnTo>
                    <a:lnTo>
                      <a:pt x="2443" y="1273"/>
                    </a:lnTo>
                    <a:lnTo>
                      <a:pt x="2439" y="1262"/>
                    </a:lnTo>
                    <a:lnTo>
                      <a:pt x="2433" y="1246"/>
                    </a:lnTo>
                    <a:lnTo>
                      <a:pt x="2425" y="1227"/>
                    </a:lnTo>
                    <a:lnTo>
                      <a:pt x="2415" y="1204"/>
                    </a:lnTo>
                    <a:lnTo>
                      <a:pt x="2403" y="1181"/>
                    </a:lnTo>
                    <a:lnTo>
                      <a:pt x="2387" y="1155"/>
                    </a:lnTo>
                    <a:lnTo>
                      <a:pt x="2372" y="1130"/>
                    </a:lnTo>
                    <a:lnTo>
                      <a:pt x="2355" y="1106"/>
                    </a:lnTo>
                    <a:lnTo>
                      <a:pt x="2338" y="1085"/>
                    </a:lnTo>
                    <a:lnTo>
                      <a:pt x="2318" y="1065"/>
                    </a:lnTo>
                    <a:lnTo>
                      <a:pt x="2300" y="1047"/>
                    </a:lnTo>
                    <a:lnTo>
                      <a:pt x="2279" y="1029"/>
                    </a:lnTo>
                    <a:lnTo>
                      <a:pt x="2259" y="1014"/>
                    </a:lnTo>
                    <a:lnTo>
                      <a:pt x="2251" y="1009"/>
                    </a:lnTo>
                    <a:lnTo>
                      <a:pt x="2246" y="1002"/>
                    </a:lnTo>
                    <a:lnTo>
                      <a:pt x="2240" y="996"/>
                    </a:lnTo>
                    <a:lnTo>
                      <a:pt x="2236" y="987"/>
                    </a:lnTo>
                    <a:lnTo>
                      <a:pt x="2232" y="980"/>
                    </a:lnTo>
                    <a:lnTo>
                      <a:pt x="2230" y="970"/>
                    </a:lnTo>
                    <a:lnTo>
                      <a:pt x="2227" y="961"/>
                    </a:lnTo>
                    <a:lnTo>
                      <a:pt x="2225" y="952"/>
                    </a:lnTo>
                    <a:lnTo>
                      <a:pt x="2224" y="930"/>
                    </a:lnTo>
                    <a:lnTo>
                      <a:pt x="2224" y="907"/>
                    </a:lnTo>
                    <a:lnTo>
                      <a:pt x="2226" y="884"/>
                    </a:lnTo>
                    <a:lnTo>
                      <a:pt x="2228" y="860"/>
                    </a:lnTo>
                    <a:lnTo>
                      <a:pt x="2231" y="828"/>
                    </a:lnTo>
                    <a:lnTo>
                      <a:pt x="2232" y="796"/>
                    </a:lnTo>
                    <a:lnTo>
                      <a:pt x="2232" y="780"/>
                    </a:lnTo>
                    <a:lnTo>
                      <a:pt x="2232" y="764"/>
                    </a:lnTo>
                    <a:lnTo>
                      <a:pt x="2231" y="748"/>
                    </a:lnTo>
                    <a:lnTo>
                      <a:pt x="2228" y="733"/>
                    </a:lnTo>
                    <a:lnTo>
                      <a:pt x="2224" y="717"/>
                    </a:lnTo>
                    <a:lnTo>
                      <a:pt x="2220" y="703"/>
                    </a:lnTo>
                    <a:lnTo>
                      <a:pt x="2214" y="689"/>
                    </a:lnTo>
                    <a:lnTo>
                      <a:pt x="2207" y="675"/>
                    </a:lnTo>
                    <a:lnTo>
                      <a:pt x="2198" y="664"/>
                    </a:lnTo>
                    <a:lnTo>
                      <a:pt x="2187" y="652"/>
                    </a:lnTo>
                    <a:lnTo>
                      <a:pt x="2176" y="641"/>
                    </a:lnTo>
                    <a:lnTo>
                      <a:pt x="2160" y="630"/>
                    </a:lnTo>
                    <a:lnTo>
                      <a:pt x="2147" y="622"/>
                    </a:lnTo>
                    <a:lnTo>
                      <a:pt x="2133" y="617"/>
                    </a:lnTo>
                    <a:lnTo>
                      <a:pt x="2118" y="612"/>
                    </a:lnTo>
                    <a:lnTo>
                      <a:pt x="2103" y="608"/>
                    </a:lnTo>
                    <a:lnTo>
                      <a:pt x="2087" y="605"/>
                    </a:lnTo>
                    <a:lnTo>
                      <a:pt x="2070" y="604"/>
                    </a:lnTo>
                    <a:lnTo>
                      <a:pt x="2052" y="604"/>
                    </a:lnTo>
                    <a:lnTo>
                      <a:pt x="2034" y="605"/>
                    </a:lnTo>
                    <a:lnTo>
                      <a:pt x="2015" y="607"/>
                    </a:lnTo>
                    <a:lnTo>
                      <a:pt x="1994" y="611"/>
                    </a:lnTo>
                    <a:lnTo>
                      <a:pt x="1974" y="616"/>
                    </a:lnTo>
                    <a:lnTo>
                      <a:pt x="1951" y="622"/>
                    </a:lnTo>
                    <a:lnTo>
                      <a:pt x="1928" y="629"/>
                    </a:lnTo>
                    <a:lnTo>
                      <a:pt x="1905" y="638"/>
                    </a:lnTo>
                    <a:lnTo>
                      <a:pt x="1881" y="647"/>
                    </a:lnTo>
                    <a:lnTo>
                      <a:pt x="1855" y="658"/>
                    </a:lnTo>
                    <a:lnTo>
                      <a:pt x="1831" y="670"/>
                    </a:lnTo>
                    <a:lnTo>
                      <a:pt x="1805" y="682"/>
                    </a:lnTo>
                    <a:lnTo>
                      <a:pt x="1779" y="696"/>
                    </a:lnTo>
                    <a:lnTo>
                      <a:pt x="1751" y="711"/>
                    </a:lnTo>
                    <a:lnTo>
                      <a:pt x="1722" y="727"/>
                    </a:lnTo>
                    <a:lnTo>
                      <a:pt x="1692" y="746"/>
                    </a:lnTo>
                    <a:lnTo>
                      <a:pt x="1658" y="766"/>
                    </a:lnTo>
                    <a:lnTo>
                      <a:pt x="1623" y="788"/>
                    </a:lnTo>
                    <a:lnTo>
                      <a:pt x="1592" y="806"/>
                    </a:lnTo>
                    <a:lnTo>
                      <a:pt x="1563" y="824"/>
                    </a:lnTo>
                    <a:lnTo>
                      <a:pt x="1533" y="842"/>
                    </a:lnTo>
                    <a:lnTo>
                      <a:pt x="1503" y="858"/>
                    </a:lnTo>
                    <a:lnTo>
                      <a:pt x="1473" y="873"/>
                    </a:lnTo>
                    <a:lnTo>
                      <a:pt x="1442" y="887"/>
                    </a:lnTo>
                    <a:lnTo>
                      <a:pt x="1412" y="901"/>
                    </a:lnTo>
                    <a:lnTo>
                      <a:pt x="1383" y="914"/>
                    </a:lnTo>
                    <a:lnTo>
                      <a:pt x="1353" y="926"/>
                    </a:lnTo>
                    <a:lnTo>
                      <a:pt x="1322" y="937"/>
                    </a:lnTo>
                    <a:lnTo>
                      <a:pt x="1293" y="947"/>
                    </a:lnTo>
                    <a:lnTo>
                      <a:pt x="1263" y="957"/>
                    </a:lnTo>
                    <a:lnTo>
                      <a:pt x="1233" y="966"/>
                    </a:lnTo>
                    <a:lnTo>
                      <a:pt x="1204" y="974"/>
                    </a:lnTo>
                    <a:lnTo>
                      <a:pt x="1173" y="981"/>
                    </a:lnTo>
                    <a:lnTo>
                      <a:pt x="1144" y="987"/>
                    </a:lnTo>
                    <a:lnTo>
                      <a:pt x="1114" y="993"/>
                    </a:lnTo>
                    <a:lnTo>
                      <a:pt x="1085" y="997"/>
                    </a:lnTo>
                    <a:lnTo>
                      <a:pt x="1055" y="1001"/>
                    </a:lnTo>
                    <a:lnTo>
                      <a:pt x="1026" y="1005"/>
                    </a:lnTo>
                    <a:lnTo>
                      <a:pt x="996" y="1007"/>
                    </a:lnTo>
                    <a:lnTo>
                      <a:pt x="966" y="1008"/>
                    </a:lnTo>
                    <a:lnTo>
                      <a:pt x="937" y="1009"/>
                    </a:lnTo>
                    <a:lnTo>
                      <a:pt x="908" y="1008"/>
                    </a:lnTo>
                    <a:lnTo>
                      <a:pt x="879" y="1007"/>
                    </a:lnTo>
                    <a:lnTo>
                      <a:pt x="850" y="1006"/>
                    </a:lnTo>
                    <a:lnTo>
                      <a:pt x="820" y="1002"/>
                    </a:lnTo>
                    <a:lnTo>
                      <a:pt x="791" y="999"/>
                    </a:lnTo>
                    <a:lnTo>
                      <a:pt x="762" y="995"/>
                    </a:lnTo>
                    <a:lnTo>
                      <a:pt x="733" y="990"/>
                    </a:lnTo>
                    <a:lnTo>
                      <a:pt x="704" y="983"/>
                    </a:lnTo>
                    <a:lnTo>
                      <a:pt x="676" y="977"/>
                    </a:lnTo>
                    <a:lnTo>
                      <a:pt x="657" y="971"/>
                    </a:lnTo>
                    <a:lnTo>
                      <a:pt x="639" y="966"/>
                    </a:lnTo>
                    <a:lnTo>
                      <a:pt x="622" y="959"/>
                    </a:lnTo>
                    <a:lnTo>
                      <a:pt x="603" y="953"/>
                    </a:lnTo>
                    <a:lnTo>
                      <a:pt x="587" y="945"/>
                    </a:lnTo>
                    <a:lnTo>
                      <a:pt x="570" y="937"/>
                    </a:lnTo>
                    <a:lnTo>
                      <a:pt x="554" y="928"/>
                    </a:lnTo>
                    <a:lnTo>
                      <a:pt x="537" y="918"/>
                    </a:lnTo>
                    <a:lnTo>
                      <a:pt x="521" y="907"/>
                    </a:lnTo>
                    <a:lnTo>
                      <a:pt x="505" y="897"/>
                    </a:lnTo>
                    <a:lnTo>
                      <a:pt x="490" y="885"/>
                    </a:lnTo>
                    <a:lnTo>
                      <a:pt x="474" y="873"/>
                    </a:lnTo>
                    <a:lnTo>
                      <a:pt x="459" y="860"/>
                    </a:lnTo>
                    <a:lnTo>
                      <a:pt x="444" y="846"/>
                    </a:lnTo>
                    <a:lnTo>
                      <a:pt x="428" y="832"/>
                    </a:lnTo>
                    <a:lnTo>
                      <a:pt x="413" y="817"/>
                    </a:lnTo>
                    <a:lnTo>
                      <a:pt x="383" y="784"/>
                    </a:lnTo>
                    <a:lnTo>
                      <a:pt x="353" y="749"/>
                    </a:lnTo>
                    <a:lnTo>
                      <a:pt x="321" y="711"/>
                    </a:lnTo>
                    <a:lnTo>
                      <a:pt x="291" y="670"/>
                    </a:lnTo>
                    <a:lnTo>
                      <a:pt x="259" y="626"/>
                    </a:lnTo>
                    <a:lnTo>
                      <a:pt x="228" y="578"/>
                    </a:lnTo>
                    <a:lnTo>
                      <a:pt x="194" y="527"/>
                    </a:lnTo>
                    <a:lnTo>
                      <a:pt x="160" y="475"/>
                    </a:lnTo>
                    <a:lnTo>
                      <a:pt x="131" y="428"/>
                    </a:lnTo>
                    <a:lnTo>
                      <a:pt x="106" y="383"/>
                    </a:lnTo>
                    <a:lnTo>
                      <a:pt x="83" y="341"/>
                    </a:lnTo>
                    <a:lnTo>
                      <a:pt x="65" y="301"/>
                    </a:lnTo>
                    <a:lnTo>
                      <a:pt x="47" y="263"/>
                    </a:lnTo>
                    <a:lnTo>
                      <a:pt x="34" y="227"/>
                    </a:lnTo>
                    <a:lnTo>
                      <a:pt x="22" y="194"/>
                    </a:lnTo>
                    <a:lnTo>
                      <a:pt x="14" y="163"/>
                    </a:lnTo>
                    <a:lnTo>
                      <a:pt x="7" y="135"/>
                    </a:lnTo>
                    <a:lnTo>
                      <a:pt x="3" y="109"/>
                    </a:lnTo>
                    <a:lnTo>
                      <a:pt x="0" y="85"/>
                    </a:lnTo>
                    <a:lnTo>
                      <a:pt x="0" y="64"/>
                    </a:lnTo>
                    <a:lnTo>
                      <a:pt x="1" y="46"/>
                    </a:lnTo>
                    <a:lnTo>
                      <a:pt x="3" y="30"/>
                    </a:lnTo>
                    <a:lnTo>
                      <a:pt x="6" y="17"/>
                    </a:lnTo>
                    <a:lnTo>
                      <a:pt x="12" y="6"/>
                    </a:lnTo>
                    <a:lnTo>
                      <a:pt x="15" y="2"/>
                    </a:lnTo>
                    <a:lnTo>
                      <a:pt x="19" y="0"/>
                    </a:lnTo>
                    <a:lnTo>
                      <a:pt x="25" y="0"/>
                    </a:lnTo>
                    <a:lnTo>
                      <a:pt x="30" y="2"/>
                    </a:lnTo>
                    <a:lnTo>
                      <a:pt x="33" y="5"/>
                    </a:lnTo>
                    <a:lnTo>
                      <a:pt x="36" y="9"/>
                    </a:lnTo>
                    <a:lnTo>
                      <a:pt x="36" y="15"/>
                    </a:lnTo>
                    <a:lnTo>
                      <a:pt x="34" y="20"/>
                    </a:lnTo>
                    <a:lnTo>
                      <a:pt x="31" y="28"/>
                    </a:lnTo>
                    <a:lnTo>
                      <a:pt x="28" y="38"/>
                    </a:lnTo>
                    <a:lnTo>
                      <a:pt x="27" y="51"/>
                    </a:lnTo>
                    <a:lnTo>
                      <a:pt x="27" y="68"/>
                    </a:lnTo>
                    <a:lnTo>
                      <a:pt x="28" y="87"/>
                    </a:lnTo>
                    <a:lnTo>
                      <a:pt x="30" y="108"/>
                    </a:lnTo>
                    <a:lnTo>
                      <a:pt x="34" y="132"/>
                    </a:lnTo>
                    <a:lnTo>
                      <a:pt x="41" y="158"/>
                    </a:lnTo>
                    <a:lnTo>
                      <a:pt x="49" y="187"/>
                    </a:lnTo>
                    <a:lnTo>
                      <a:pt x="60" y="220"/>
                    </a:lnTo>
                    <a:lnTo>
                      <a:pt x="73" y="253"/>
                    </a:lnTo>
                    <a:lnTo>
                      <a:pt x="89" y="290"/>
                    </a:lnTo>
                    <a:lnTo>
                      <a:pt x="108" y="329"/>
                    </a:lnTo>
                    <a:lnTo>
                      <a:pt x="129" y="370"/>
                    </a:lnTo>
                    <a:lnTo>
                      <a:pt x="154" y="414"/>
                    </a:lnTo>
                    <a:lnTo>
                      <a:pt x="182" y="459"/>
                    </a:lnTo>
                    <a:lnTo>
                      <a:pt x="217" y="513"/>
                    </a:lnTo>
                    <a:lnTo>
                      <a:pt x="249" y="563"/>
                    </a:lnTo>
                    <a:lnTo>
                      <a:pt x="282" y="611"/>
                    </a:lnTo>
                    <a:lnTo>
                      <a:pt x="312" y="654"/>
                    </a:lnTo>
                    <a:lnTo>
                      <a:pt x="342" y="694"/>
                    </a:lnTo>
                    <a:lnTo>
                      <a:pt x="372" y="732"/>
                    </a:lnTo>
                    <a:lnTo>
                      <a:pt x="401" y="766"/>
                    </a:lnTo>
                    <a:lnTo>
                      <a:pt x="431" y="797"/>
                    </a:lnTo>
                    <a:lnTo>
                      <a:pt x="445" y="811"/>
                    </a:lnTo>
                    <a:lnTo>
                      <a:pt x="460" y="825"/>
                    </a:lnTo>
                    <a:lnTo>
                      <a:pt x="475" y="838"/>
                    </a:lnTo>
                    <a:lnTo>
                      <a:pt x="489" y="851"/>
                    </a:lnTo>
                    <a:lnTo>
                      <a:pt x="504" y="863"/>
                    </a:lnTo>
                    <a:lnTo>
                      <a:pt x="519" y="874"/>
                    </a:lnTo>
                    <a:lnTo>
                      <a:pt x="534" y="885"/>
                    </a:lnTo>
                    <a:lnTo>
                      <a:pt x="549" y="895"/>
                    </a:lnTo>
                    <a:lnTo>
                      <a:pt x="566" y="903"/>
                    </a:lnTo>
                    <a:lnTo>
                      <a:pt x="581" y="912"/>
                    </a:lnTo>
                    <a:lnTo>
                      <a:pt x="597" y="920"/>
                    </a:lnTo>
                    <a:lnTo>
                      <a:pt x="613" y="927"/>
                    </a:lnTo>
                    <a:lnTo>
                      <a:pt x="630" y="934"/>
                    </a:lnTo>
                    <a:lnTo>
                      <a:pt x="647" y="940"/>
                    </a:lnTo>
                    <a:lnTo>
                      <a:pt x="665" y="945"/>
                    </a:lnTo>
                    <a:lnTo>
                      <a:pt x="682" y="951"/>
                    </a:lnTo>
                    <a:lnTo>
                      <a:pt x="710" y="957"/>
                    </a:lnTo>
                    <a:lnTo>
                      <a:pt x="738" y="963"/>
                    </a:lnTo>
                    <a:lnTo>
                      <a:pt x="766" y="968"/>
                    </a:lnTo>
                    <a:lnTo>
                      <a:pt x="796" y="972"/>
                    </a:lnTo>
                    <a:lnTo>
                      <a:pt x="824" y="975"/>
                    </a:lnTo>
                    <a:lnTo>
                      <a:pt x="852" y="979"/>
                    </a:lnTo>
                    <a:lnTo>
                      <a:pt x="881" y="980"/>
                    </a:lnTo>
                    <a:lnTo>
                      <a:pt x="909" y="981"/>
                    </a:lnTo>
                    <a:lnTo>
                      <a:pt x="938" y="982"/>
                    </a:lnTo>
                    <a:lnTo>
                      <a:pt x="966" y="981"/>
                    </a:lnTo>
                    <a:lnTo>
                      <a:pt x="995" y="980"/>
                    </a:lnTo>
                    <a:lnTo>
                      <a:pt x="1024" y="978"/>
                    </a:lnTo>
                    <a:lnTo>
                      <a:pt x="1053" y="974"/>
                    </a:lnTo>
                    <a:lnTo>
                      <a:pt x="1082" y="971"/>
                    </a:lnTo>
                    <a:lnTo>
                      <a:pt x="1111" y="966"/>
                    </a:lnTo>
                    <a:lnTo>
                      <a:pt x="1140" y="960"/>
                    </a:lnTo>
                    <a:lnTo>
                      <a:pt x="1169" y="955"/>
                    </a:lnTo>
                    <a:lnTo>
                      <a:pt x="1198" y="947"/>
                    </a:lnTo>
                    <a:lnTo>
                      <a:pt x="1227" y="940"/>
                    </a:lnTo>
                    <a:lnTo>
                      <a:pt x="1257" y="931"/>
                    </a:lnTo>
                    <a:lnTo>
                      <a:pt x="1286" y="922"/>
                    </a:lnTo>
                    <a:lnTo>
                      <a:pt x="1315" y="912"/>
                    </a:lnTo>
                    <a:lnTo>
                      <a:pt x="1344" y="900"/>
                    </a:lnTo>
                    <a:lnTo>
                      <a:pt x="1373" y="888"/>
                    </a:lnTo>
                    <a:lnTo>
                      <a:pt x="1402" y="876"/>
                    </a:lnTo>
                    <a:lnTo>
                      <a:pt x="1432" y="862"/>
                    </a:lnTo>
                    <a:lnTo>
                      <a:pt x="1462" y="848"/>
                    </a:lnTo>
                    <a:lnTo>
                      <a:pt x="1491" y="833"/>
                    </a:lnTo>
                    <a:lnTo>
                      <a:pt x="1520" y="817"/>
                    </a:lnTo>
                    <a:lnTo>
                      <a:pt x="1549" y="801"/>
                    </a:lnTo>
                    <a:lnTo>
                      <a:pt x="1579" y="783"/>
                    </a:lnTo>
                    <a:lnTo>
                      <a:pt x="1609" y="765"/>
                    </a:lnTo>
                    <a:lnTo>
                      <a:pt x="1644" y="742"/>
                    </a:lnTo>
                    <a:lnTo>
                      <a:pt x="1678" y="722"/>
                    </a:lnTo>
                    <a:lnTo>
                      <a:pt x="1709" y="703"/>
                    </a:lnTo>
                    <a:lnTo>
                      <a:pt x="1739" y="687"/>
                    </a:lnTo>
                    <a:lnTo>
                      <a:pt x="1767" y="671"/>
                    </a:lnTo>
                    <a:lnTo>
                      <a:pt x="1793" y="658"/>
                    </a:lnTo>
                    <a:lnTo>
                      <a:pt x="1819" y="645"/>
                    </a:lnTo>
                    <a:lnTo>
                      <a:pt x="1844" y="633"/>
                    </a:lnTo>
                    <a:lnTo>
                      <a:pt x="1871" y="622"/>
                    </a:lnTo>
                    <a:lnTo>
                      <a:pt x="1897" y="612"/>
                    </a:lnTo>
                    <a:lnTo>
                      <a:pt x="1923" y="603"/>
                    </a:lnTo>
                    <a:lnTo>
                      <a:pt x="1947" y="596"/>
                    </a:lnTo>
                    <a:lnTo>
                      <a:pt x="1970" y="589"/>
                    </a:lnTo>
                    <a:lnTo>
                      <a:pt x="1993" y="584"/>
                    </a:lnTo>
                    <a:lnTo>
                      <a:pt x="2015" y="580"/>
                    </a:lnTo>
                    <a:lnTo>
                      <a:pt x="2036" y="578"/>
                    </a:lnTo>
                    <a:lnTo>
                      <a:pt x="2056" y="577"/>
                    </a:lnTo>
                    <a:lnTo>
                      <a:pt x="2075" y="577"/>
                    </a:lnTo>
                    <a:lnTo>
                      <a:pt x="2093" y="579"/>
                    </a:lnTo>
                    <a:lnTo>
                      <a:pt x="2111" y="583"/>
                    </a:lnTo>
                    <a:lnTo>
                      <a:pt x="2128" y="587"/>
                    </a:lnTo>
                    <a:lnTo>
                      <a:pt x="2144" y="592"/>
                    </a:lnTo>
                    <a:lnTo>
                      <a:pt x="2160" y="599"/>
                    </a:lnTo>
                    <a:lnTo>
                      <a:pt x="2176" y="607"/>
                    </a:lnTo>
                    <a:lnTo>
                      <a:pt x="2184" y="613"/>
                    </a:lnTo>
                    <a:lnTo>
                      <a:pt x="2192" y="619"/>
                    </a:lnTo>
                    <a:lnTo>
                      <a:pt x="2199" y="626"/>
                    </a:lnTo>
                    <a:lnTo>
                      <a:pt x="2207" y="632"/>
                    </a:lnTo>
                    <a:lnTo>
                      <a:pt x="2219" y="645"/>
                    </a:lnTo>
                    <a:lnTo>
                      <a:pt x="2230" y="660"/>
                    </a:lnTo>
                    <a:lnTo>
                      <a:pt x="2238" y="675"/>
                    </a:lnTo>
                    <a:lnTo>
                      <a:pt x="2245" y="692"/>
                    </a:lnTo>
                    <a:lnTo>
                      <a:pt x="2250" y="708"/>
                    </a:lnTo>
                    <a:lnTo>
                      <a:pt x="2254" y="724"/>
                    </a:lnTo>
                    <a:lnTo>
                      <a:pt x="2257" y="741"/>
                    </a:lnTo>
                    <a:lnTo>
                      <a:pt x="2259" y="759"/>
                    </a:lnTo>
                    <a:lnTo>
                      <a:pt x="2259" y="777"/>
                    </a:lnTo>
                    <a:lnTo>
                      <a:pt x="2259" y="794"/>
                    </a:lnTo>
                    <a:lnTo>
                      <a:pt x="2258" y="829"/>
                    </a:lnTo>
                    <a:lnTo>
                      <a:pt x="2254" y="862"/>
                    </a:lnTo>
                    <a:lnTo>
                      <a:pt x="2253" y="884"/>
                    </a:lnTo>
                    <a:lnTo>
                      <a:pt x="2252" y="905"/>
                    </a:lnTo>
                    <a:lnTo>
                      <a:pt x="2251" y="925"/>
                    </a:lnTo>
                    <a:lnTo>
                      <a:pt x="2252" y="942"/>
                    </a:lnTo>
                    <a:lnTo>
                      <a:pt x="2252" y="951"/>
                    </a:lnTo>
                    <a:lnTo>
                      <a:pt x="2254" y="958"/>
                    </a:lnTo>
                    <a:lnTo>
                      <a:pt x="2255" y="966"/>
                    </a:lnTo>
                    <a:lnTo>
                      <a:pt x="2259" y="972"/>
                    </a:lnTo>
                    <a:lnTo>
                      <a:pt x="2261" y="979"/>
                    </a:lnTo>
                    <a:lnTo>
                      <a:pt x="2265" y="984"/>
                    </a:lnTo>
                    <a:lnTo>
                      <a:pt x="2268" y="988"/>
                    </a:lnTo>
                    <a:lnTo>
                      <a:pt x="2274" y="993"/>
                    </a:lnTo>
                    <a:lnTo>
                      <a:pt x="2295" y="1008"/>
                    </a:lnTo>
                    <a:lnTo>
                      <a:pt x="2317" y="1026"/>
                    </a:lnTo>
                    <a:lnTo>
                      <a:pt x="2338" y="1046"/>
                    </a:lnTo>
                    <a:lnTo>
                      <a:pt x="2357" y="1066"/>
                    </a:lnTo>
                    <a:lnTo>
                      <a:pt x="2375" y="1090"/>
                    </a:lnTo>
                    <a:lnTo>
                      <a:pt x="2394" y="1114"/>
                    </a:lnTo>
                    <a:lnTo>
                      <a:pt x="2411" y="1140"/>
                    </a:lnTo>
                    <a:lnTo>
                      <a:pt x="2426" y="1168"/>
                    </a:lnTo>
                    <a:lnTo>
                      <a:pt x="2440" y="1194"/>
                    </a:lnTo>
                    <a:lnTo>
                      <a:pt x="2450" y="1216"/>
                    </a:lnTo>
                    <a:lnTo>
                      <a:pt x="2458" y="1237"/>
                    </a:lnTo>
                    <a:lnTo>
                      <a:pt x="2464" y="1253"/>
                    </a:lnTo>
                    <a:lnTo>
                      <a:pt x="2467" y="1260"/>
                    </a:lnTo>
                    <a:lnTo>
                      <a:pt x="2469" y="1267"/>
                    </a:lnTo>
                    <a:lnTo>
                      <a:pt x="2471" y="1269"/>
                    </a:lnTo>
                    <a:lnTo>
                      <a:pt x="2474" y="1272"/>
                    </a:lnTo>
                    <a:lnTo>
                      <a:pt x="2475" y="1278"/>
                    </a:lnTo>
                    <a:lnTo>
                      <a:pt x="2472" y="1283"/>
                    </a:lnTo>
                    <a:lnTo>
                      <a:pt x="2469" y="1286"/>
                    </a:lnTo>
                    <a:lnTo>
                      <a:pt x="2465" y="1290"/>
                    </a:lnTo>
                    <a:lnTo>
                      <a:pt x="2462" y="1291"/>
                    </a:lnTo>
                    <a:lnTo>
                      <a:pt x="2460" y="12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4"/>
              <p:cNvSpPr>
                <a:spLocks/>
              </p:cNvSpPr>
              <p:nvPr userDrawn="1"/>
            </p:nvSpPr>
            <p:spPr bwMode="auto">
              <a:xfrm>
                <a:off x="1871" y="1457"/>
                <a:ext cx="832" cy="432"/>
              </a:xfrm>
              <a:custGeom>
                <a:avLst/>
                <a:gdLst>
                  <a:gd name="T0" fmla="*/ 2470 w 2498"/>
                  <a:gd name="T1" fmla="*/ 1288 h 1297"/>
                  <a:gd name="T2" fmla="*/ 2433 w 2498"/>
                  <a:gd name="T3" fmla="*/ 1218 h 1297"/>
                  <a:gd name="T4" fmla="*/ 2348 w 2498"/>
                  <a:gd name="T5" fmla="*/ 1109 h 1297"/>
                  <a:gd name="T6" fmla="*/ 2262 w 2498"/>
                  <a:gd name="T7" fmla="*/ 1038 h 1297"/>
                  <a:gd name="T8" fmla="*/ 2237 w 2498"/>
                  <a:gd name="T9" fmla="*/ 1001 h 1297"/>
                  <a:gd name="T10" fmla="*/ 2226 w 2498"/>
                  <a:gd name="T11" fmla="*/ 919 h 1297"/>
                  <a:gd name="T12" fmla="*/ 2221 w 2498"/>
                  <a:gd name="T13" fmla="*/ 808 h 1297"/>
                  <a:gd name="T14" fmla="*/ 2198 w 2498"/>
                  <a:gd name="T15" fmla="*/ 738 h 1297"/>
                  <a:gd name="T16" fmla="*/ 2142 w 2498"/>
                  <a:gd name="T17" fmla="*/ 683 h 1297"/>
                  <a:gd name="T18" fmla="*/ 2068 w 2498"/>
                  <a:gd name="T19" fmla="*/ 659 h 1297"/>
                  <a:gd name="T20" fmla="*/ 1976 w 2498"/>
                  <a:gd name="T21" fmla="*/ 662 h 1297"/>
                  <a:gd name="T22" fmla="*/ 1861 w 2498"/>
                  <a:gd name="T23" fmla="*/ 693 h 1297"/>
                  <a:gd name="T24" fmla="*/ 1717 w 2498"/>
                  <a:gd name="T25" fmla="*/ 756 h 1297"/>
                  <a:gd name="T26" fmla="*/ 1570 w 2498"/>
                  <a:gd name="T27" fmla="*/ 835 h 1297"/>
                  <a:gd name="T28" fmla="*/ 1414 w 2498"/>
                  <a:gd name="T29" fmla="*/ 911 h 1297"/>
                  <a:gd name="T30" fmla="*/ 1263 w 2498"/>
                  <a:gd name="T31" fmla="*/ 966 h 1297"/>
                  <a:gd name="T32" fmla="*/ 1114 w 2498"/>
                  <a:gd name="T33" fmla="*/ 1001 h 1297"/>
                  <a:gd name="T34" fmla="*/ 968 w 2498"/>
                  <a:gd name="T35" fmla="*/ 1019 h 1297"/>
                  <a:gd name="T36" fmla="*/ 826 w 2498"/>
                  <a:gd name="T37" fmla="*/ 1016 h 1297"/>
                  <a:gd name="T38" fmla="*/ 685 w 2498"/>
                  <a:gd name="T39" fmla="*/ 995 h 1297"/>
                  <a:gd name="T40" fmla="*/ 587 w 2498"/>
                  <a:gd name="T41" fmla="*/ 964 h 1297"/>
                  <a:gd name="T42" fmla="*/ 506 w 2498"/>
                  <a:gd name="T43" fmla="*/ 918 h 1297"/>
                  <a:gd name="T44" fmla="*/ 428 w 2498"/>
                  <a:gd name="T45" fmla="*/ 856 h 1297"/>
                  <a:gd name="T46" fmla="*/ 309 w 2498"/>
                  <a:gd name="T47" fmla="*/ 716 h 1297"/>
                  <a:gd name="T48" fmla="*/ 151 w 2498"/>
                  <a:gd name="T49" fmla="*/ 479 h 1297"/>
                  <a:gd name="T50" fmla="*/ 47 w 2498"/>
                  <a:gd name="T51" fmla="*/ 275 h 1297"/>
                  <a:gd name="T52" fmla="*/ 3 w 2498"/>
                  <a:gd name="T53" fmla="*/ 118 h 1297"/>
                  <a:gd name="T54" fmla="*/ 6 w 2498"/>
                  <a:gd name="T55" fmla="*/ 25 h 1297"/>
                  <a:gd name="T56" fmla="*/ 25 w 2498"/>
                  <a:gd name="T57" fmla="*/ 0 h 1297"/>
                  <a:gd name="T58" fmla="*/ 41 w 2498"/>
                  <a:gd name="T59" fmla="*/ 15 h 1297"/>
                  <a:gd name="T60" fmla="*/ 28 w 2498"/>
                  <a:gd name="T61" fmla="*/ 73 h 1297"/>
                  <a:gd name="T62" fmla="*/ 48 w 2498"/>
                  <a:gd name="T63" fmla="*/ 196 h 1297"/>
                  <a:gd name="T64" fmla="*/ 125 w 2498"/>
                  <a:gd name="T65" fmla="*/ 377 h 1297"/>
                  <a:gd name="T66" fmla="*/ 269 w 2498"/>
                  <a:gd name="T67" fmla="*/ 614 h 1297"/>
                  <a:gd name="T68" fmla="*/ 416 w 2498"/>
                  <a:gd name="T69" fmla="*/ 803 h 1297"/>
                  <a:gd name="T70" fmla="*/ 489 w 2498"/>
                  <a:gd name="T71" fmla="*/ 872 h 1297"/>
                  <a:gd name="T72" fmla="*/ 565 w 2498"/>
                  <a:gd name="T73" fmla="*/ 923 h 1297"/>
                  <a:gd name="T74" fmla="*/ 647 w 2498"/>
                  <a:gd name="T75" fmla="*/ 957 h 1297"/>
                  <a:gd name="T76" fmla="*/ 773 w 2498"/>
                  <a:gd name="T77" fmla="*/ 983 h 1297"/>
                  <a:gd name="T78" fmla="*/ 912 w 2498"/>
                  <a:gd name="T79" fmla="*/ 993 h 1297"/>
                  <a:gd name="T80" fmla="*/ 1054 w 2498"/>
                  <a:gd name="T81" fmla="*/ 984 h 1297"/>
                  <a:gd name="T82" fmla="*/ 1197 w 2498"/>
                  <a:gd name="T83" fmla="*/ 956 h 1297"/>
                  <a:gd name="T84" fmla="*/ 1345 w 2498"/>
                  <a:gd name="T85" fmla="*/ 910 h 1297"/>
                  <a:gd name="T86" fmla="*/ 1496 w 2498"/>
                  <a:gd name="T87" fmla="*/ 843 h 1297"/>
                  <a:gd name="T88" fmla="*/ 1645 w 2498"/>
                  <a:gd name="T89" fmla="*/ 764 h 1297"/>
                  <a:gd name="T90" fmla="*/ 1796 w 2498"/>
                  <a:gd name="T91" fmla="*/ 689 h 1297"/>
                  <a:gd name="T92" fmla="*/ 1928 w 2498"/>
                  <a:gd name="T93" fmla="*/ 644 h 1297"/>
                  <a:gd name="T94" fmla="*/ 2037 w 2498"/>
                  <a:gd name="T95" fmla="*/ 630 h 1297"/>
                  <a:gd name="T96" fmla="*/ 2125 w 2498"/>
                  <a:gd name="T97" fmla="*/ 645 h 1297"/>
                  <a:gd name="T98" fmla="*/ 2200 w 2498"/>
                  <a:gd name="T99" fmla="*/ 695 h 1297"/>
                  <a:gd name="T100" fmla="*/ 2240 w 2498"/>
                  <a:gd name="T101" fmla="*/ 768 h 1297"/>
                  <a:gd name="T102" fmla="*/ 2252 w 2498"/>
                  <a:gd name="T103" fmla="*/ 865 h 1297"/>
                  <a:gd name="T104" fmla="*/ 2258 w 2498"/>
                  <a:gd name="T105" fmla="*/ 972 h 1297"/>
                  <a:gd name="T106" fmla="*/ 2271 w 2498"/>
                  <a:gd name="T107" fmla="*/ 1007 h 1297"/>
                  <a:gd name="T108" fmla="*/ 2327 w 2498"/>
                  <a:gd name="T109" fmla="*/ 1052 h 1297"/>
                  <a:gd name="T110" fmla="*/ 2425 w 2498"/>
                  <a:gd name="T111" fmla="*/ 1158 h 1297"/>
                  <a:gd name="T112" fmla="*/ 2482 w 2498"/>
                  <a:gd name="T113" fmla="*/ 1254 h 1297"/>
                  <a:gd name="T114" fmla="*/ 2498 w 2498"/>
                  <a:gd name="T115" fmla="*/ 1284 h 1297"/>
                  <a:gd name="T116" fmla="*/ 2483 w 2498"/>
                  <a:gd name="T117" fmla="*/ 1297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98" h="1297">
                    <a:moveTo>
                      <a:pt x="2483" y="1297"/>
                    </a:moveTo>
                    <a:lnTo>
                      <a:pt x="2480" y="1296"/>
                    </a:lnTo>
                    <a:lnTo>
                      <a:pt x="2476" y="1295"/>
                    </a:lnTo>
                    <a:lnTo>
                      <a:pt x="2473" y="1292"/>
                    </a:lnTo>
                    <a:lnTo>
                      <a:pt x="2470" y="1288"/>
                    </a:lnTo>
                    <a:lnTo>
                      <a:pt x="2464" y="1279"/>
                    </a:lnTo>
                    <a:lnTo>
                      <a:pt x="2457" y="1266"/>
                    </a:lnTo>
                    <a:lnTo>
                      <a:pt x="2451" y="1252"/>
                    </a:lnTo>
                    <a:lnTo>
                      <a:pt x="2442" y="1236"/>
                    </a:lnTo>
                    <a:lnTo>
                      <a:pt x="2433" y="1218"/>
                    </a:lnTo>
                    <a:lnTo>
                      <a:pt x="2421" y="1199"/>
                    </a:lnTo>
                    <a:lnTo>
                      <a:pt x="2403" y="1174"/>
                    </a:lnTo>
                    <a:lnTo>
                      <a:pt x="2385" y="1151"/>
                    </a:lnTo>
                    <a:lnTo>
                      <a:pt x="2368" y="1129"/>
                    </a:lnTo>
                    <a:lnTo>
                      <a:pt x="2348" y="1109"/>
                    </a:lnTo>
                    <a:lnTo>
                      <a:pt x="2330" y="1091"/>
                    </a:lnTo>
                    <a:lnTo>
                      <a:pt x="2311" y="1074"/>
                    </a:lnTo>
                    <a:lnTo>
                      <a:pt x="2290" y="1057"/>
                    </a:lnTo>
                    <a:lnTo>
                      <a:pt x="2270" y="1043"/>
                    </a:lnTo>
                    <a:lnTo>
                      <a:pt x="2262" y="1038"/>
                    </a:lnTo>
                    <a:lnTo>
                      <a:pt x="2256" y="1032"/>
                    </a:lnTo>
                    <a:lnTo>
                      <a:pt x="2250" y="1025"/>
                    </a:lnTo>
                    <a:lnTo>
                      <a:pt x="2245" y="1018"/>
                    </a:lnTo>
                    <a:lnTo>
                      <a:pt x="2240" y="1010"/>
                    </a:lnTo>
                    <a:lnTo>
                      <a:pt x="2237" y="1001"/>
                    </a:lnTo>
                    <a:lnTo>
                      <a:pt x="2235" y="993"/>
                    </a:lnTo>
                    <a:lnTo>
                      <a:pt x="2232" y="983"/>
                    </a:lnTo>
                    <a:lnTo>
                      <a:pt x="2229" y="964"/>
                    </a:lnTo>
                    <a:lnTo>
                      <a:pt x="2227" y="942"/>
                    </a:lnTo>
                    <a:lnTo>
                      <a:pt x="2226" y="919"/>
                    </a:lnTo>
                    <a:lnTo>
                      <a:pt x="2226" y="897"/>
                    </a:lnTo>
                    <a:lnTo>
                      <a:pt x="2225" y="867"/>
                    </a:lnTo>
                    <a:lnTo>
                      <a:pt x="2224" y="837"/>
                    </a:lnTo>
                    <a:lnTo>
                      <a:pt x="2223" y="822"/>
                    </a:lnTo>
                    <a:lnTo>
                      <a:pt x="2221" y="808"/>
                    </a:lnTo>
                    <a:lnTo>
                      <a:pt x="2219" y="793"/>
                    </a:lnTo>
                    <a:lnTo>
                      <a:pt x="2214" y="779"/>
                    </a:lnTo>
                    <a:lnTo>
                      <a:pt x="2210" y="765"/>
                    </a:lnTo>
                    <a:lnTo>
                      <a:pt x="2205" y="751"/>
                    </a:lnTo>
                    <a:lnTo>
                      <a:pt x="2198" y="738"/>
                    </a:lnTo>
                    <a:lnTo>
                      <a:pt x="2190" y="726"/>
                    </a:lnTo>
                    <a:lnTo>
                      <a:pt x="2181" y="714"/>
                    </a:lnTo>
                    <a:lnTo>
                      <a:pt x="2169" y="702"/>
                    </a:lnTo>
                    <a:lnTo>
                      <a:pt x="2156" y="693"/>
                    </a:lnTo>
                    <a:lnTo>
                      <a:pt x="2142" y="683"/>
                    </a:lnTo>
                    <a:lnTo>
                      <a:pt x="2128" y="676"/>
                    </a:lnTo>
                    <a:lnTo>
                      <a:pt x="2114" y="670"/>
                    </a:lnTo>
                    <a:lnTo>
                      <a:pt x="2100" y="666"/>
                    </a:lnTo>
                    <a:lnTo>
                      <a:pt x="2084" y="661"/>
                    </a:lnTo>
                    <a:lnTo>
                      <a:pt x="2068" y="659"/>
                    </a:lnTo>
                    <a:lnTo>
                      <a:pt x="2051" y="657"/>
                    </a:lnTo>
                    <a:lnTo>
                      <a:pt x="2033" y="657"/>
                    </a:lnTo>
                    <a:lnTo>
                      <a:pt x="2015" y="657"/>
                    </a:lnTo>
                    <a:lnTo>
                      <a:pt x="1995" y="659"/>
                    </a:lnTo>
                    <a:lnTo>
                      <a:pt x="1976" y="662"/>
                    </a:lnTo>
                    <a:lnTo>
                      <a:pt x="1954" y="666"/>
                    </a:lnTo>
                    <a:lnTo>
                      <a:pt x="1933" y="671"/>
                    </a:lnTo>
                    <a:lnTo>
                      <a:pt x="1910" y="678"/>
                    </a:lnTo>
                    <a:lnTo>
                      <a:pt x="1886" y="685"/>
                    </a:lnTo>
                    <a:lnTo>
                      <a:pt x="1861" y="693"/>
                    </a:lnTo>
                    <a:lnTo>
                      <a:pt x="1835" y="702"/>
                    </a:lnTo>
                    <a:lnTo>
                      <a:pt x="1806" y="714"/>
                    </a:lnTo>
                    <a:lnTo>
                      <a:pt x="1776" y="728"/>
                    </a:lnTo>
                    <a:lnTo>
                      <a:pt x="1746" y="742"/>
                    </a:lnTo>
                    <a:lnTo>
                      <a:pt x="1717" y="756"/>
                    </a:lnTo>
                    <a:lnTo>
                      <a:pt x="1686" y="772"/>
                    </a:lnTo>
                    <a:lnTo>
                      <a:pt x="1657" y="788"/>
                    </a:lnTo>
                    <a:lnTo>
                      <a:pt x="1629" y="803"/>
                    </a:lnTo>
                    <a:lnTo>
                      <a:pt x="1602" y="818"/>
                    </a:lnTo>
                    <a:lnTo>
                      <a:pt x="1570" y="835"/>
                    </a:lnTo>
                    <a:lnTo>
                      <a:pt x="1539" y="852"/>
                    </a:lnTo>
                    <a:lnTo>
                      <a:pt x="1507" y="867"/>
                    </a:lnTo>
                    <a:lnTo>
                      <a:pt x="1476" y="883"/>
                    </a:lnTo>
                    <a:lnTo>
                      <a:pt x="1446" y="897"/>
                    </a:lnTo>
                    <a:lnTo>
                      <a:pt x="1414" y="911"/>
                    </a:lnTo>
                    <a:lnTo>
                      <a:pt x="1384" y="923"/>
                    </a:lnTo>
                    <a:lnTo>
                      <a:pt x="1354" y="934"/>
                    </a:lnTo>
                    <a:lnTo>
                      <a:pt x="1323" y="946"/>
                    </a:lnTo>
                    <a:lnTo>
                      <a:pt x="1292" y="956"/>
                    </a:lnTo>
                    <a:lnTo>
                      <a:pt x="1263" y="966"/>
                    </a:lnTo>
                    <a:lnTo>
                      <a:pt x="1233" y="974"/>
                    </a:lnTo>
                    <a:lnTo>
                      <a:pt x="1203" y="983"/>
                    </a:lnTo>
                    <a:lnTo>
                      <a:pt x="1174" y="989"/>
                    </a:lnTo>
                    <a:lnTo>
                      <a:pt x="1143" y="996"/>
                    </a:lnTo>
                    <a:lnTo>
                      <a:pt x="1114" y="1001"/>
                    </a:lnTo>
                    <a:lnTo>
                      <a:pt x="1085" y="1007"/>
                    </a:lnTo>
                    <a:lnTo>
                      <a:pt x="1056" y="1011"/>
                    </a:lnTo>
                    <a:lnTo>
                      <a:pt x="1027" y="1014"/>
                    </a:lnTo>
                    <a:lnTo>
                      <a:pt x="998" y="1016"/>
                    </a:lnTo>
                    <a:lnTo>
                      <a:pt x="968" y="1019"/>
                    </a:lnTo>
                    <a:lnTo>
                      <a:pt x="940" y="1020"/>
                    </a:lnTo>
                    <a:lnTo>
                      <a:pt x="911" y="1020"/>
                    </a:lnTo>
                    <a:lnTo>
                      <a:pt x="883" y="1020"/>
                    </a:lnTo>
                    <a:lnTo>
                      <a:pt x="854" y="1019"/>
                    </a:lnTo>
                    <a:lnTo>
                      <a:pt x="826" y="1016"/>
                    </a:lnTo>
                    <a:lnTo>
                      <a:pt x="798" y="1013"/>
                    </a:lnTo>
                    <a:lnTo>
                      <a:pt x="770" y="1010"/>
                    </a:lnTo>
                    <a:lnTo>
                      <a:pt x="741" y="1006"/>
                    </a:lnTo>
                    <a:lnTo>
                      <a:pt x="712" y="1000"/>
                    </a:lnTo>
                    <a:lnTo>
                      <a:pt x="685" y="995"/>
                    </a:lnTo>
                    <a:lnTo>
                      <a:pt x="657" y="987"/>
                    </a:lnTo>
                    <a:lnTo>
                      <a:pt x="639" y="983"/>
                    </a:lnTo>
                    <a:lnTo>
                      <a:pt x="622" y="978"/>
                    </a:lnTo>
                    <a:lnTo>
                      <a:pt x="604" y="971"/>
                    </a:lnTo>
                    <a:lnTo>
                      <a:pt x="587" y="964"/>
                    </a:lnTo>
                    <a:lnTo>
                      <a:pt x="570" y="956"/>
                    </a:lnTo>
                    <a:lnTo>
                      <a:pt x="554" y="947"/>
                    </a:lnTo>
                    <a:lnTo>
                      <a:pt x="538" y="939"/>
                    </a:lnTo>
                    <a:lnTo>
                      <a:pt x="521" y="929"/>
                    </a:lnTo>
                    <a:lnTo>
                      <a:pt x="506" y="918"/>
                    </a:lnTo>
                    <a:lnTo>
                      <a:pt x="490" y="907"/>
                    </a:lnTo>
                    <a:lnTo>
                      <a:pt x="475" y="896"/>
                    </a:lnTo>
                    <a:lnTo>
                      <a:pt x="459" y="883"/>
                    </a:lnTo>
                    <a:lnTo>
                      <a:pt x="444" y="870"/>
                    </a:lnTo>
                    <a:lnTo>
                      <a:pt x="428" y="856"/>
                    </a:lnTo>
                    <a:lnTo>
                      <a:pt x="413" y="841"/>
                    </a:lnTo>
                    <a:lnTo>
                      <a:pt x="398" y="824"/>
                    </a:lnTo>
                    <a:lnTo>
                      <a:pt x="369" y="792"/>
                    </a:lnTo>
                    <a:lnTo>
                      <a:pt x="339" y="755"/>
                    </a:lnTo>
                    <a:lnTo>
                      <a:pt x="309" y="716"/>
                    </a:lnTo>
                    <a:lnTo>
                      <a:pt x="278" y="675"/>
                    </a:lnTo>
                    <a:lnTo>
                      <a:pt x="248" y="631"/>
                    </a:lnTo>
                    <a:lnTo>
                      <a:pt x="217" y="584"/>
                    </a:lnTo>
                    <a:lnTo>
                      <a:pt x="184" y="533"/>
                    </a:lnTo>
                    <a:lnTo>
                      <a:pt x="151" y="479"/>
                    </a:lnTo>
                    <a:lnTo>
                      <a:pt x="125" y="435"/>
                    </a:lnTo>
                    <a:lnTo>
                      <a:pt x="101" y="393"/>
                    </a:lnTo>
                    <a:lnTo>
                      <a:pt x="81" y="352"/>
                    </a:lnTo>
                    <a:lnTo>
                      <a:pt x="62" y="313"/>
                    </a:lnTo>
                    <a:lnTo>
                      <a:pt x="47" y="275"/>
                    </a:lnTo>
                    <a:lnTo>
                      <a:pt x="34" y="239"/>
                    </a:lnTo>
                    <a:lnTo>
                      <a:pt x="22" y="206"/>
                    </a:lnTo>
                    <a:lnTo>
                      <a:pt x="14" y="174"/>
                    </a:lnTo>
                    <a:lnTo>
                      <a:pt x="7" y="145"/>
                    </a:lnTo>
                    <a:lnTo>
                      <a:pt x="3" y="118"/>
                    </a:lnTo>
                    <a:lnTo>
                      <a:pt x="1" y="94"/>
                    </a:lnTo>
                    <a:lnTo>
                      <a:pt x="0" y="71"/>
                    </a:lnTo>
                    <a:lnTo>
                      <a:pt x="2" y="51"/>
                    </a:lnTo>
                    <a:lnTo>
                      <a:pt x="4" y="33"/>
                    </a:lnTo>
                    <a:lnTo>
                      <a:pt x="6" y="25"/>
                    </a:lnTo>
                    <a:lnTo>
                      <a:pt x="10" y="18"/>
                    </a:lnTo>
                    <a:lnTo>
                      <a:pt x="13" y="11"/>
                    </a:lnTo>
                    <a:lnTo>
                      <a:pt x="16" y="6"/>
                    </a:lnTo>
                    <a:lnTo>
                      <a:pt x="19" y="2"/>
                    </a:lnTo>
                    <a:lnTo>
                      <a:pt x="25" y="0"/>
                    </a:lnTo>
                    <a:lnTo>
                      <a:pt x="29" y="0"/>
                    </a:lnTo>
                    <a:lnTo>
                      <a:pt x="34" y="2"/>
                    </a:lnTo>
                    <a:lnTo>
                      <a:pt x="39" y="5"/>
                    </a:lnTo>
                    <a:lnTo>
                      <a:pt x="40" y="10"/>
                    </a:lnTo>
                    <a:lnTo>
                      <a:pt x="41" y="15"/>
                    </a:lnTo>
                    <a:lnTo>
                      <a:pt x="39" y="20"/>
                    </a:lnTo>
                    <a:lnTo>
                      <a:pt x="34" y="30"/>
                    </a:lnTo>
                    <a:lnTo>
                      <a:pt x="30" y="42"/>
                    </a:lnTo>
                    <a:lnTo>
                      <a:pt x="28" y="56"/>
                    </a:lnTo>
                    <a:lnTo>
                      <a:pt x="28" y="73"/>
                    </a:lnTo>
                    <a:lnTo>
                      <a:pt x="28" y="92"/>
                    </a:lnTo>
                    <a:lnTo>
                      <a:pt x="30" y="115"/>
                    </a:lnTo>
                    <a:lnTo>
                      <a:pt x="34" y="140"/>
                    </a:lnTo>
                    <a:lnTo>
                      <a:pt x="41" y="167"/>
                    </a:lnTo>
                    <a:lnTo>
                      <a:pt x="48" y="196"/>
                    </a:lnTo>
                    <a:lnTo>
                      <a:pt x="59" y="228"/>
                    </a:lnTo>
                    <a:lnTo>
                      <a:pt x="71" y="262"/>
                    </a:lnTo>
                    <a:lnTo>
                      <a:pt x="86" y="299"/>
                    </a:lnTo>
                    <a:lnTo>
                      <a:pt x="105" y="337"/>
                    </a:lnTo>
                    <a:lnTo>
                      <a:pt x="125" y="377"/>
                    </a:lnTo>
                    <a:lnTo>
                      <a:pt x="148" y="421"/>
                    </a:lnTo>
                    <a:lnTo>
                      <a:pt x="175" y="465"/>
                    </a:lnTo>
                    <a:lnTo>
                      <a:pt x="207" y="518"/>
                    </a:lnTo>
                    <a:lnTo>
                      <a:pt x="238" y="566"/>
                    </a:lnTo>
                    <a:lnTo>
                      <a:pt x="269" y="614"/>
                    </a:lnTo>
                    <a:lnTo>
                      <a:pt x="299" y="657"/>
                    </a:lnTo>
                    <a:lnTo>
                      <a:pt x="328" y="698"/>
                    </a:lnTo>
                    <a:lnTo>
                      <a:pt x="357" y="736"/>
                    </a:lnTo>
                    <a:lnTo>
                      <a:pt x="386" y="771"/>
                    </a:lnTo>
                    <a:lnTo>
                      <a:pt x="416" y="803"/>
                    </a:lnTo>
                    <a:lnTo>
                      <a:pt x="430" y="819"/>
                    </a:lnTo>
                    <a:lnTo>
                      <a:pt x="445" y="833"/>
                    </a:lnTo>
                    <a:lnTo>
                      <a:pt x="460" y="847"/>
                    </a:lnTo>
                    <a:lnTo>
                      <a:pt x="474" y="860"/>
                    </a:lnTo>
                    <a:lnTo>
                      <a:pt x="489" y="872"/>
                    </a:lnTo>
                    <a:lnTo>
                      <a:pt x="504" y="884"/>
                    </a:lnTo>
                    <a:lnTo>
                      <a:pt x="519" y="894"/>
                    </a:lnTo>
                    <a:lnTo>
                      <a:pt x="534" y="904"/>
                    </a:lnTo>
                    <a:lnTo>
                      <a:pt x="549" y="914"/>
                    </a:lnTo>
                    <a:lnTo>
                      <a:pt x="565" y="923"/>
                    </a:lnTo>
                    <a:lnTo>
                      <a:pt x="581" y="931"/>
                    </a:lnTo>
                    <a:lnTo>
                      <a:pt x="597" y="939"/>
                    </a:lnTo>
                    <a:lnTo>
                      <a:pt x="613" y="945"/>
                    </a:lnTo>
                    <a:lnTo>
                      <a:pt x="629" y="952"/>
                    </a:lnTo>
                    <a:lnTo>
                      <a:pt x="647" y="957"/>
                    </a:lnTo>
                    <a:lnTo>
                      <a:pt x="664" y="961"/>
                    </a:lnTo>
                    <a:lnTo>
                      <a:pt x="691" y="968"/>
                    </a:lnTo>
                    <a:lnTo>
                      <a:pt x="718" y="973"/>
                    </a:lnTo>
                    <a:lnTo>
                      <a:pt x="746" y="979"/>
                    </a:lnTo>
                    <a:lnTo>
                      <a:pt x="773" y="983"/>
                    </a:lnTo>
                    <a:lnTo>
                      <a:pt x="801" y="986"/>
                    </a:lnTo>
                    <a:lnTo>
                      <a:pt x="828" y="989"/>
                    </a:lnTo>
                    <a:lnTo>
                      <a:pt x="856" y="992"/>
                    </a:lnTo>
                    <a:lnTo>
                      <a:pt x="884" y="993"/>
                    </a:lnTo>
                    <a:lnTo>
                      <a:pt x="912" y="993"/>
                    </a:lnTo>
                    <a:lnTo>
                      <a:pt x="940" y="993"/>
                    </a:lnTo>
                    <a:lnTo>
                      <a:pt x="968" y="992"/>
                    </a:lnTo>
                    <a:lnTo>
                      <a:pt x="996" y="989"/>
                    </a:lnTo>
                    <a:lnTo>
                      <a:pt x="1025" y="987"/>
                    </a:lnTo>
                    <a:lnTo>
                      <a:pt x="1054" y="984"/>
                    </a:lnTo>
                    <a:lnTo>
                      <a:pt x="1082" y="980"/>
                    </a:lnTo>
                    <a:lnTo>
                      <a:pt x="1111" y="975"/>
                    </a:lnTo>
                    <a:lnTo>
                      <a:pt x="1139" y="969"/>
                    </a:lnTo>
                    <a:lnTo>
                      <a:pt x="1168" y="964"/>
                    </a:lnTo>
                    <a:lnTo>
                      <a:pt x="1197" y="956"/>
                    </a:lnTo>
                    <a:lnTo>
                      <a:pt x="1226" y="948"/>
                    </a:lnTo>
                    <a:lnTo>
                      <a:pt x="1256" y="940"/>
                    </a:lnTo>
                    <a:lnTo>
                      <a:pt x="1286" y="930"/>
                    </a:lnTo>
                    <a:lnTo>
                      <a:pt x="1315" y="920"/>
                    </a:lnTo>
                    <a:lnTo>
                      <a:pt x="1345" y="910"/>
                    </a:lnTo>
                    <a:lnTo>
                      <a:pt x="1374" y="898"/>
                    </a:lnTo>
                    <a:lnTo>
                      <a:pt x="1405" y="885"/>
                    </a:lnTo>
                    <a:lnTo>
                      <a:pt x="1435" y="872"/>
                    </a:lnTo>
                    <a:lnTo>
                      <a:pt x="1465" y="858"/>
                    </a:lnTo>
                    <a:lnTo>
                      <a:pt x="1496" y="843"/>
                    </a:lnTo>
                    <a:lnTo>
                      <a:pt x="1527" y="828"/>
                    </a:lnTo>
                    <a:lnTo>
                      <a:pt x="1558" y="811"/>
                    </a:lnTo>
                    <a:lnTo>
                      <a:pt x="1589" y="794"/>
                    </a:lnTo>
                    <a:lnTo>
                      <a:pt x="1616" y="779"/>
                    </a:lnTo>
                    <a:lnTo>
                      <a:pt x="1645" y="764"/>
                    </a:lnTo>
                    <a:lnTo>
                      <a:pt x="1675" y="748"/>
                    </a:lnTo>
                    <a:lnTo>
                      <a:pt x="1705" y="733"/>
                    </a:lnTo>
                    <a:lnTo>
                      <a:pt x="1735" y="717"/>
                    </a:lnTo>
                    <a:lnTo>
                      <a:pt x="1765" y="703"/>
                    </a:lnTo>
                    <a:lnTo>
                      <a:pt x="1796" y="689"/>
                    </a:lnTo>
                    <a:lnTo>
                      <a:pt x="1826" y="678"/>
                    </a:lnTo>
                    <a:lnTo>
                      <a:pt x="1853" y="668"/>
                    </a:lnTo>
                    <a:lnTo>
                      <a:pt x="1880" y="658"/>
                    </a:lnTo>
                    <a:lnTo>
                      <a:pt x="1905" y="651"/>
                    </a:lnTo>
                    <a:lnTo>
                      <a:pt x="1928" y="644"/>
                    </a:lnTo>
                    <a:lnTo>
                      <a:pt x="1952" y="639"/>
                    </a:lnTo>
                    <a:lnTo>
                      <a:pt x="1975" y="635"/>
                    </a:lnTo>
                    <a:lnTo>
                      <a:pt x="1996" y="632"/>
                    </a:lnTo>
                    <a:lnTo>
                      <a:pt x="2017" y="630"/>
                    </a:lnTo>
                    <a:lnTo>
                      <a:pt x="2037" y="630"/>
                    </a:lnTo>
                    <a:lnTo>
                      <a:pt x="2056" y="630"/>
                    </a:lnTo>
                    <a:lnTo>
                      <a:pt x="2074" y="632"/>
                    </a:lnTo>
                    <a:lnTo>
                      <a:pt x="2092" y="635"/>
                    </a:lnTo>
                    <a:lnTo>
                      <a:pt x="2109" y="640"/>
                    </a:lnTo>
                    <a:lnTo>
                      <a:pt x="2125" y="645"/>
                    </a:lnTo>
                    <a:lnTo>
                      <a:pt x="2141" y="652"/>
                    </a:lnTo>
                    <a:lnTo>
                      <a:pt x="2155" y="659"/>
                    </a:lnTo>
                    <a:lnTo>
                      <a:pt x="2172" y="671"/>
                    </a:lnTo>
                    <a:lnTo>
                      <a:pt x="2187" y="683"/>
                    </a:lnTo>
                    <a:lnTo>
                      <a:pt x="2200" y="695"/>
                    </a:lnTo>
                    <a:lnTo>
                      <a:pt x="2211" y="709"/>
                    </a:lnTo>
                    <a:lnTo>
                      <a:pt x="2221" y="723"/>
                    </a:lnTo>
                    <a:lnTo>
                      <a:pt x="2229" y="738"/>
                    </a:lnTo>
                    <a:lnTo>
                      <a:pt x="2235" y="753"/>
                    </a:lnTo>
                    <a:lnTo>
                      <a:pt x="2240" y="768"/>
                    </a:lnTo>
                    <a:lnTo>
                      <a:pt x="2245" y="784"/>
                    </a:lnTo>
                    <a:lnTo>
                      <a:pt x="2247" y="801"/>
                    </a:lnTo>
                    <a:lnTo>
                      <a:pt x="2250" y="817"/>
                    </a:lnTo>
                    <a:lnTo>
                      <a:pt x="2251" y="833"/>
                    </a:lnTo>
                    <a:lnTo>
                      <a:pt x="2252" y="865"/>
                    </a:lnTo>
                    <a:lnTo>
                      <a:pt x="2253" y="897"/>
                    </a:lnTo>
                    <a:lnTo>
                      <a:pt x="2253" y="917"/>
                    </a:lnTo>
                    <a:lnTo>
                      <a:pt x="2254" y="938"/>
                    </a:lnTo>
                    <a:lnTo>
                      <a:pt x="2256" y="956"/>
                    </a:lnTo>
                    <a:lnTo>
                      <a:pt x="2258" y="972"/>
                    </a:lnTo>
                    <a:lnTo>
                      <a:pt x="2259" y="981"/>
                    </a:lnTo>
                    <a:lnTo>
                      <a:pt x="2261" y="988"/>
                    </a:lnTo>
                    <a:lnTo>
                      <a:pt x="2264" y="995"/>
                    </a:lnTo>
                    <a:lnTo>
                      <a:pt x="2266" y="1001"/>
                    </a:lnTo>
                    <a:lnTo>
                      <a:pt x="2271" y="1007"/>
                    </a:lnTo>
                    <a:lnTo>
                      <a:pt x="2274" y="1012"/>
                    </a:lnTo>
                    <a:lnTo>
                      <a:pt x="2279" y="1016"/>
                    </a:lnTo>
                    <a:lnTo>
                      <a:pt x="2285" y="1021"/>
                    </a:lnTo>
                    <a:lnTo>
                      <a:pt x="2306" y="1036"/>
                    </a:lnTo>
                    <a:lnTo>
                      <a:pt x="2327" y="1052"/>
                    </a:lnTo>
                    <a:lnTo>
                      <a:pt x="2348" y="1070"/>
                    </a:lnTo>
                    <a:lnTo>
                      <a:pt x="2368" y="1090"/>
                    </a:lnTo>
                    <a:lnTo>
                      <a:pt x="2387" y="1111"/>
                    </a:lnTo>
                    <a:lnTo>
                      <a:pt x="2407" y="1134"/>
                    </a:lnTo>
                    <a:lnTo>
                      <a:pt x="2425" y="1158"/>
                    </a:lnTo>
                    <a:lnTo>
                      <a:pt x="2442" y="1184"/>
                    </a:lnTo>
                    <a:lnTo>
                      <a:pt x="2455" y="1204"/>
                    </a:lnTo>
                    <a:lnTo>
                      <a:pt x="2466" y="1224"/>
                    </a:lnTo>
                    <a:lnTo>
                      <a:pt x="2475" y="1240"/>
                    </a:lnTo>
                    <a:lnTo>
                      <a:pt x="2482" y="1254"/>
                    </a:lnTo>
                    <a:lnTo>
                      <a:pt x="2487" y="1264"/>
                    </a:lnTo>
                    <a:lnTo>
                      <a:pt x="2491" y="1271"/>
                    </a:lnTo>
                    <a:lnTo>
                      <a:pt x="2495" y="1274"/>
                    </a:lnTo>
                    <a:lnTo>
                      <a:pt x="2497" y="1279"/>
                    </a:lnTo>
                    <a:lnTo>
                      <a:pt x="2498" y="1284"/>
                    </a:lnTo>
                    <a:lnTo>
                      <a:pt x="2496" y="1290"/>
                    </a:lnTo>
                    <a:lnTo>
                      <a:pt x="2493" y="1294"/>
                    </a:lnTo>
                    <a:lnTo>
                      <a:pt x="2489" y="1296"/>
                    </a:lnTo>
                    <a:lnTo>
                      <a:pt x="2486" y="1297"/>
                    </a:lnTo>
                    <a:lnTo>
                      <a:pt x="2483" y="12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5"/>
              <p:cNvSpPr>
                <a:spLocks/>
              </p:cNvSpPr>
              <p:nvPr userDrawn="1"/>
            </p:nvSpPr>
            <p:spPr bwMode="auto">
              <a:xfrm>
                <a:off x="1889" y="1430"/>
                <a:ext cx="841" cy="434"/>
              </a:xfrm>
              <a:custGeom>
                <a:avLst/>
                <a:gdLst>
                  <a:gd name="T0" fmla="*/ 2491 w 2521"/>
                  <a:gd name="T1" fmla="*/ 1295 h 1304"/>
                  <a:gd name="T2" fmla="*/ 2448 w 2521"/>
                  <a:gd name="T3" fmla="*/ 1232 h 1304"/>
                  <a:gd name="T4" fmla="*/ 2371 w 2521"/>
                  <a:gd name="T5" fmla="*/ 1145 h 1304"/>
                  <a:gd name="T6" fmla="*/ 2272 w 2521"/>
                  <a:gd name="T7" fmla="*/ 1067 h 1304"/>
                  <a:gd name="T8" fmla="*/ 2245 w 2521"/>
                  <a:gd name="T9" fmla="*/ 1033 h 1304"/>
                  <a:gd name="T10" fmla="*/ 2225 w 2521"/>
                  <a:gd name="T11" fmla="*/ 956 h 1304"/>
                  <a:gd name="T12" fmla="*/ 2209 w 2521"/>
                  <a:gd name="T13" fmla="*/ 852 h 1304"/>
                  <a:gd name="T14" fmla="*/ 2181 w 2521"/>
                  <a:gd name="T15" fmla="*/ 788 h 1304"/>
                  <a:gd name="T16" fmla="*/ 2122 w 2521"/>
                  <a:gd name="T17" fmla="*/ 736 h 1304"/>
                  <a:gd name="T18" fmla="*/ 2047 w 2521"/>
                  <a:gd name="T19" fmla="*/ 712 h 1304"/>
                  <a:gd name="T20" fmla="*/ 1955 w 2521"/>
                  <a:gd name="T21" fmla="*/ 713 h 1304"/>
                  <a:gd name="T22" fmla="*/ 1842 w 2521"/>
                  <a:gd name="T23" fmla="*/ 739 h 1304"/>
                  <a:gd name="T24" fmla="*/ 1697 w 2521"/>
                  <a:gd name="T25" fmla="*/ 793 h 1304"/>
                  <a:gd name="T26" fmla="*/ 1533 w 2521"/>
                  <a:gd name="T27" fmla="*/ 871 h 1304"/>
                  <a:gd name="T28" fmla="*/ 1273 w 2521"/>
                  <a:gd name="T29" fmla="*/ 973 h 1304"/>
                  <a:gd name="T30" fmla="*/ 1127 w 2521"/>
                  <a:gd name="T31" fmla="*/ 1009 h 1304"/>
                  <a:gd name="T32" fmla="*/ 972 w 2521"/>
                  <a:gd name="T33" fmla="*/ 1029 h 1304"/>
                  <a:gd name="T34" fmla="*/ 809 w 2521"/>
                  <a:gd name="T35" fmla="*/ 1027 h 1304"/>
                  <a:gd name="T36" fmla="*/ 638 w 2521"/>
                  <a:gd name="T37" fmla="*/ 999 h 1304"/>
                  <a:gd name="T38" fmla="*/ 553 w 2521"/>
                  <a:gd name="T39" fmla="*/ 967 h 1304"/>
                  <a:gd name="T40" fmla="*/ 473 w 2521"/>
                  <a:gd name="T41" fmla="*/ 916 h 1304"/>
                  <a:gd name="T42" fmla="*/ 396 w 2521"/>
                  <a:gd name="T43" fmla="*/ 846 h 1304"/>
                  <a:gd name="T44" fmla="*/ 263 w 2521"/>
                  <a:gd name="T45" fmla="*/ 677 h 1304"/>
                  <a:gd name="T46" fmla="*/ 117 w 2521"/>
                  <a:gd name="T47" fmla="*/ 439 h 1304"/>
                  <a:gd name="T48" fmla="*/ 29 w 2521"/>
                  <a:gd name="T49" fmla="*/ 242 h 1304"/>
                  <a:gd name="T50" fmla="*/ 0 w 2521"/>
                  <a:gd name="T51" fmla="*/ 96 h 1304"/>
                  <a:gd name="T52" fmla="*/ 12 w 2521"/>
                  <a:gd name="T53" fmla="*/ 19 h 1304"/>
                  <a:gd name="T54" fmla="*/ 32 w 2521"/>
                  <a:gd name="T55" fmla="*/ 0 h 1304"/>
                  <a:gd name="T56" fmla="*/ 42 w 2521"/>
                  <a:gd name="T57" fmla="*/ 20 h 1304"/>
                  <a:gd name="T58" fmla="*/ 28 w 2521"/>
                  <a:gd name="T59" fmla="*/ 95 h 1304"/>
                  <a:gd name="T60" fmla="*/ 55 w 2521"/>
                  <a:gd name="T61" fmla="*/ 232 h 1304"/>
                  <a:gd name="T62" fmla="*/ 140 w 2521"/>
                  <a:gd name="T63" fmla="*/ 425 h 1304"/>
                  <a:gd name="T64" fmla="*/ 284 w 2521"/>
                  <a:gd name="T65" fmla="*/ 659 h 1304"/>
                  <a:gd name="T66" fmla="*/ 414 w 2521"/>
                  <a:gd name="T67" fmla="*/ 824 h 1304"/>
                  <a:gd name="T68" fmla="*/ 487 w 2521"/>
                  <a:gd name="T69" fmla="*/ 892 h 1304"/>
                  <a:gd name="T70" fmla="*/ 563 w 2521"/>
                  <a:gd name="T71" fmla="*/ 942 h 1304"/>
                  <a:gd name="T72" fmla="*/ 645 w 2521"/>
                  <a:gd name="T73" fmla="*/ 973 h 1304"/>
                  <a:gd name="T74" fmla="*/ 811 w 2521"/>
                  <a:gd name="T75" fmla="*/ 1000 h 1304"/>
                  <a:gd name="T76" fmla="*/ 972 w 2521"/>
                  <a:gd name="T77" fmla="*/ 1002 h 1304"/>
                  <a:gd name="T78" fmla="*/ 1123 w 2521"/>
                  <a:gd name="T79" fmla="*/ 983 h 1304"/>
                  <a:gd name="T80" fmla="*/ 1267 w 2521"/>
                  <a:gd name="T81" fmla="*/ 946 h 1304"/>
                  <a:gd name="T82" fmla="*/ 1522 w 2521"/>
                  <a:gd name="T83" fmla="*/ 846 h 1304"/>
                  <a:gd name="T84" fmla="*/ 1688 w 2521"/>
                  <a:gd name="T85" fmla="*/ 768 h 1304"/>
                  <a:gd name="T86" fmla="*/ 1835 w 2521"/>
                  <a:gd name="T87" fmla="*/ 712 h 1304"/>
                  <a:gd name="T88" fmla="*/ 1955 w 2521"/>
                  <a:gd name="T89" fmla="*/ 685 h 1304"/>
                  <a:gd name="T90" fmla="*/ 2054 w 2521"/>
                  <a:gd name="T91" fmla="*/ 685 h 1304"/>
                  <a:gd name="T92" fmla="*/ 2135 w 2521"/>
                  <a:gd name="T93" fmla="*/ 712 h 1304"/>
                  <a:gd name="T94" fmla="*/ 2203 w 2521"/>
                  <a:gd name="T95" fmla="*/ 770 h 1304"/>
                  <a:gd name="T96" fmla="*/ 2235 w 2521"/>
                  <a:gd name="T97" fmla="*/ 843 h 1304"/>
                  <a:gd name="T98" fmla="*/ 2252 w 2521"/>
                  <a:gd name="T99" fmla="*/ 951 h 1304"/>
                  <a:gd name="T100" fmla="*/ 2274 w 2521"/>
                  <a:gd name="T101" fmla="*/ 1030 h 1304"/>
                  <a:gd name="T102" fmla="*/ 2320 w 2521"/>
                  <a:gd name="T103" fmla="*/ 1067 h 1304"/>
                  <a:gd name="T104" fmla="*/ 2427 w 2521"/>
                  <a:gd name="T105" fmla="*/ 1164 h 1304"/>
                  <a:gd name="T106" fmla="*/ 2490 w 2521"/>
                  <a:gd name="T107" fmla="*/ 1245 h 1304"/>
                  <a:gd name="T108" fmla="*/ 2517 w 2521"/>
                  <a:gd name="T109" fmla="*/ 1280 h 1304"/>
                  <a:gd name="T110" fmla="*/ 2517 w 2521"/>
                  <a:gd name="T111" fmla="*/ 1300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21" h="1304">
                    <a:moveTo>
                      <a:pt x="2506" y="1304"/>
                    </a:moveTo>
                    <a:lnTo>
                      <a:pt x="2502" y="1302"/>
                    </a:lnTo>
                    <a:lnTo>
                      <a:pt x="2499" y="1301"/>
                    </a:lnTo>
                    <a:lnTo>
                      <a:pt x="2494" y="1298"/>
                    </a:lnTo>
                    <a:lnTo>
                      <a:pt x="2491" y="1295"/>
                    </a:lnTo>
                    <a:lnTo>
                      <a:pt x="2484" y="1285"/>
                    </a:lnTo>
                    <a:lnTo>
                      <a:pt x="2475" y="1271"/>
                    </a:lnTo>
                    <a:lnTo>
                      <a:pt x="2467" y="1260"/>
                    </a:lnTo>
                    <a:lnTo>
                      <a:pt x="2459" y="1247"/>
                    </a:lnTo>
                    <a:lnTo>
                      <a:pt x="2448" y="1232"/>
                    </a:lnTo>
                    <a:lnTo>
                      <a:pt x="2437" y="1217"/>
                    </a:lnTo>
                    <a:lnTo>
                      <a:pt x="2423" y="1200"/>
                    </a:lnTo>
                    <a:lnTo>
                      <a:pt x="2407" y="1183"/>
                    </a:lnTo>
                    <a:lnTo>
                      <a:pt x="2391" y="1163"/>
                    </a:lnTo>
                    <a:lnTo>
                      <a:pt x="2371" y="1145"/>
                    </a:lnTo>
                    <a:lnTo>
                      <a:pt x="2352" y="1125"/>
                    </a:lnTo>
                    <a:lnTo>
                      <a:pt x="2329" y="1107"/>
                    </a:lnTo>
                    <a:lnTo>
                      <a:pt x="2305" y="1090"/>
                    </a:lnTo>
                    <a:lnTo>
                      <a:pt x="2279" y="1073"/>
                    </a:lnTo>
                    <a:lnTo>
                      <a:pt x="2272" y="1067"/>
                    </a:lnTo>
                    <a:lnTo>
                      <a:pt x="2265" y="1062"/>
                    </a:lnTo>
                    <a:lnTo>
                      <a:pt x="2259" y="1055"/>
                    </a:lnTo>
                    <a:lnTo>
                      <a:pt x="2254" y="1048"/>
                    </a:lnTo>
                    <a:lnTo>
                      <a:pt x="2249" y="1040"/>
                    </a:lnTo>
                    <a:lnTo>
                      <a:pt x="2245" y="1033"/>
                    </a:lnTo>
                    <a:lnTo>
                      <a:pt x="2241" y="1024"/>
                    </a:lnTo>
                    <a:lnTo>
                      <a:pt x="2237" y="1015"/>
                    </a:lnTo>
                    <a:lnTo>
                      <a:pt x="2233" y="996"/>
                    </a:lnTo>
                    <a:lnTo>
                      <a:pt x="2229" y="976"/>
                    </a:lnTo>
                    <a:lnTo>
                      <a:pt x="2225" y="956"/>
                    </a:lnTo>
                    <a:lnTo>
                      <a:pt x="2223" y="934"/>
                    </a:lnTo>
                    <a:lnTo>
                      <a:pt x="2220" y="907"/>
                    </a:lnTo>
                    <a:lnTo>
                      <a:pt x="2216" y="879"/>
                    </a:lnTo>
                    <a:lnTo>
                      <a:pt x="2214" y="865"/>
                    </a:lnTo>
                    <a:lnTo>
                      <a:pt x="2209" y="852"/>
                    </a:lnTo>
                    <a:lnTo>
                      <a:pt x="2206" y="838"/>
                    </a:lnTo>
                    <a:lnTo>
                      <a:pt x="2201" y="825"/>
                    </a:lnTo>
                    <a:lnTo>
                      <a:pt x="2195" y="812"/>
                    </a:lnTo>
                    <a:lnTo>
                      <a:pt x="2189" y="799"/>
                    </a:lnTo>
                    <a:lnTo>
                      <a:pt x="2181" y="788"/>
                    </a:lnTo>
                    <a:lnTo>
                      <a:pt x="2173" y="776"/>
                    </a:lnTo>
                    <a:lnTo>
                      <a:pt x="2162" y="765"/>
                    </a:lnTo>
                    <a:lnTo>
                      <a:pt x="2150" y="754"/>
                    </a:lnTo>
                    <a:lnTo>
                      <a:pt x="2137" y="744"/>
                    </a:lnTo>
                    <a:lnTo>
                      <a:pt x="2122" y="736"/>
                    </a:lnTo>
                    <a:lnTo>
                      <a:pt x="2109" y="729"/>
                    </a:lnTo>
                    <a:lnTo>
                      <a:pt x="2094" y="723"/>
                    </a:lnTo>
                    <a:lnTo>
                      <a:pt x="2080" y="718"/>
                    </a:lnTo>
                    <a:lnTo>
                      <a:pt x="2063" y="714"/>
                    </a:lnTo>
                    <a:lnTo>
                      <a:pt x="2047" y="712"/>
                    </a:lnTo>
                    <a:lnTo>
                      <a:pt x="2031" y="710"/>
                    </a:lnTo>
                    <a:lnTo>
                      <a:pt x="2014" y="709"/>
                    </a:lnTo>
                    <a:lnTo>
                      <a:pt x="1995" y="709"/>
                    </a:lnTo>
                    <a:lnTo>
                      <a:pt x="1976" y="710"/>
                    </a:lnTo>
                    <a:lnTo>
                      <a:pt x="1955" y="713"/>
                    </a:lnTo>
                    <a:lnTo>
                      <a:pt x="1935" y="715"/>
                    </a:lnTo>
                    <a:lnTo>
                      <a:pt x="1913" y="720"/>
                    </a:lnTo>
                    <a:lnTo>
                      <a:pt x="1891" y="725"/>
                    </a:lnTo>
                    <a:lnTo>
                      <a:pt x="1867" y="731"/>
                    </a:lnTo>
                    <a:lnTo>
                      <a:pt x="1842" y="739"/>
                    </a:lnTo>
                    <a:lnTo>
                      <a:pt x="1816" y="747"/>
                    </a:lnTo>
                    <a:lnTo>
                      <a:pt x="1787" y="757"/>
                    </a:lnTo>
                    <a:lnTo>
                      <a:pt x="1757" y="768"/>
                    </a:lnTo>
                    <a:lnTo>
                      <a:pt x="1728" y="780"/>
                    </a:lnTo>
                    <a:lnTo>
                      <a:pt x="1697" y="793"/>
                    </a:lnTo>
                    <a:lnTo>
                      <a:pt x="1668" y="806"/>
                    </a:lnTo>
                    <a:lnTo>
                      <a:pt x="1638" y="820"/>
                    </a:lnTo>
                    <a:lnTo>
                      <a:pt x="1609" y="834"/>
                    </a:lnTo>
                    <a:lnTo>
                      <a:pt x="1580" y="848"/>
                    </a:lnTo>
                    <a:lnTo>
                      <a:pt x="1533" y="871"/>
                    </a:lnTo>
                    <a:lnTo>
                      <a:pt x="1485" y="892"/>
                    </a:lnTo>
                    <a:lnTo>
                      <a:pt x="1434" y="915"/>
                    </a:lnTo>
                    <a:lnTo>
                      <a:pt x="1382" y="935"/>
                    </a:lnTo>
                    <a:lnTo>
                      <a:pt x="1328" y="955"/>
                    </a:lnTo>
                    <a:lnTo>
                      <a:pt x="1273" y="973"/>
                    </a:lnTo>
                    <a:lnTo>
                      <a:pt x="1244" y="981"/>
                    </a:lnTo>
                    <a:lnTo>
                      <a:pt x="1216" y="989"/>
                    </a:lnTo>
                    <a:lnTo>
                      <a:pt x="1187" y="997"/>
                    </a:lnTo>
                    <a:lnTo>
                      <a:pt x="1156" y="1003"/>
                    </a:lnTo>
                    <a:lnTo>
                      <a:pt x="1127" y="1009"/>
                    </a:lnTo>
                    <a:lnTo>
                      <a:pt x="1097" y="1015"/>
                    </a:lnTo>
                    <a:lnTo>
                      <a:pt x="1066" y="1020"/>
                    </a:lnTo>
                    <a:lnTo>
                      <a:pt x="1035" y="1024"/>
                    </a:lnTo>
                    <a:lnTo>
                      <a:pt x="1003" y="1027"/>
                    </a:lnTo>
                    <a:lnTo>
                      <a:pt x="972" y="1029"/>
                    </a:lnTo>
                    <a:lnTo>
                      <a:pt x="939" y="1030"/>
                    </a:lnTo>
                    <a:lnTo>
                      <a:pt x="907" y="1032"/>
                    </a:lnTo>
                    <a:lnTo>
                      <a:pt x="875" y="1032"/>
                    </a:lnTo>
                    <a:lnTo>
                      <a:pt x="842" y="1030"/>
                    </a:lnTo>
                    <a:lnTo>
                      <a:pt x="809" y="1027"/>
                    </a:lnTo>
                    <a:lnTo>
                      <a:pt x="775" y="1024"/>
                    </a:lnTo>
                    <a:lnTo>
                      <a:pt x="741" y="1020"/>
                    </a:lnTo>
                    <a:lnTo>
                      <a:pt x="707" y="1014"/>
                    </a:lnTo>
                    <a:lnTo>
                      <a:pt x="673" y="1007"/>
                    </a:lnTo>
                    <a:lnTo>
                      <a:pt x="638" y="999"/>
                    </a:lnTo>
                    <a:lnTo>
                      <a:pt x="620" y="995"/>
                    </a:lnTo>
                    <a:lnTo>
                      <a:pt x="602" y="988"/>
                    </a:lnTo>
                    <a:lnTo>
                      <a:pt x="586" y="982"/>
                    </a:lnTo>
                    <a:lnTo>
                      <a:pt x="569" y="975"/>
                    </a:lnTo>
                    <a:lnTo>
                      <a:pt x="553" y="967"/>
                    </a:lnTo>
                    <a:lnTo>
                      <a:pt x="537" y="958"/>
                    </a:lnTo>
                    <a:lnTo>
                      <a:pt x="520" y="948"/>
                    </a:lnTo>
                    <a:lnTo>
                      <a:pt x="504" y="939"/>
                    </a:lnTo>
                    <a:lnTo>
                      <a:pt x="488" y="928"/>
                    </a:lnTo>
                    <a:lnTo>
                      <a:pt x="473" y="916"/>
                    </a:lnTo>
                    <a:lnTo>
                      <a:pt x="457" y="903"/>
                    </a:lnTo>
                    <a:lnTo>
                      <a:pt x="442" y="890"/>
                    </a:lnTo>
                    <a:lnTo>
                      <a:pt x="426" y="876"/>
                    </a:lnTo>
                    <a:lnTo>
                      <a:pt x="411" y="861"/>
                    </a:lnTo>
                    <a:lnTo>
                      <a:pt x="396" y="846"/>
                    </a:lnTo>
                    <a:lnTo>
                      <a:pt x="381" y="830"/>
                    </a:lnTo>
                    <a:lnTo>
                      <a:pt x="352" y="796"/>
                    </a:lnTo>
                    <a:lnTo>
                      <a:pt x="322" y="758"/>
                    </a:lnTo>
                    <a:lnTo>
                      <a:pt x="293" y="720"/>
                    </a:lnTo>
                    <a:lnTo>
                      <a:pt x="263" y="677"/>
                    </a:lnTo>
                    <a:lnTo>
                      <a:pt x="233" y="633"/>
                    </a:lnTo>
                    <a:lnTo>
                      <a:pt x="203" y="586"/>
                    </a:lnTo>
                    <a:lnTo>
                      <a:pt x="173" y="536"/>
                    </a:lnTo>
                    <a:lnTo>
                      <a:pt x="142" y="484"/>
                    </a:lnTo>
                    <a:lnTo>
                      <a:pt x="117" y="439"/>
                    </a:lnTo>
                    <a:lnTo>
                      <a:pt x="94" y="397"/>
                    </a:lnTo>
                    <a:lnTo>
                      <a:pt x="74" y="355"/>
                    </a:lnTo>
                    <a:lnTo>
                      <a:pt x="57" y="316"/>
                    </a:lnTo>
                    <a:lnTo>
                      <a:pt x="42" y="278"/>
                    </a:lnTo>
                    <a:lnTo>
                      <a:pt x="29" y="242"/>
                    </a:lnTo>
                    <a:lnTo>
                      <a:pt x="19" y="209"/>
                    </a:lnTo>
                    <a:lnTo>
                      <a:pt x="12" y="178"/>
                    </a:lnTo>
                    <a:lnTo>
                      <a:pt x="5" y="147"/>
                    </a:lnTo>
                    <a:lnTo>
                      <a:pt x="2" y="120"/>
                    </a:lnTo>
                    <a:lnTo>
                      <a:pt x="0" y="96"/>
                    </a:lnTo>
                    <a:lnTo>
                      <a:pt x="1" y="73"/>
                    </a:lnTo>
                    <a:lnTo>
                      <a:pt x="3" y="52"/>
                    </a:lnTo>
                    <a:lnTo>
                      <a:pt x="6" y="34"/>
                    </a:lnTo>
                    <a:lnTo>
                      <a:pt x="9" y="27"/>
                    </a:lnTo>
                    <a:lnTo>
                      <a:pt x="12" y="19"/>
                    </a:lnTo>
                    <a:lnTo>
                      <a:pt x="15" y="11"/>
                    </a:lnTo>
                    <a:lnTo>
                      <a:pt x="19" y="5"/>
                    </a:lnTo>
                    <a:lnTo>
                      <a:pt x="23" y="2"/>
                    </a:lnTo>
                    <a:lnTo>
                      <a:pt x="28" y="0"/>
                    </a:lnTo>
                    <a:lnTo>
                      <a:pt x="32" y="0"/>
                    </a:lnTo>
                    <a:lnTo>
                      <a:pt x="38" y="2"/>
                    </a:lnTo>
                    <a:lnTo>
                      <a:pt x="42" y="5"/>
                    </a:lnTo>
                    <a:lnTo>
                      <a:pt x="43" y="10"/>
                    </a:lnTo>
                    <a:lnTo>
                      <a:pt x="43" y="15"/>
                    </a:lnTo>
                    <a:lnTo>
                      <a:pt x="42" y="20"/>
                    </a:lnTo>
                    <a:lnTo>
                      <a:pt x="37" y="30"/>
                    </a:lnTo>
                    <a:lnTo>
                      <a:pt x="32" y="43"/>
                    </a:lnTo>
                    <a:lnTo>
                      <a:pt x="29" y="58"/>
                    </a:lnTo>
                    <a:lnTo>
                      <a:pt x="28" y="75"/>
                    </a:lnTo>
                    <a:lnTo>
                      <a:pt x="28" y="95"/>
                    </a:lnTo>
                    <a:lnTo>
                      <a:pt x="29" y="117"/>
                    </a:lnTo>
                    <a:lnTo>
                      <a:pt x="32" y="142"/>
                    </a:lnTo>
                    <a:lnTo>
                      <a:pt x="38" y="170"/>
                    </a:lnTo>
                    <a:lnTo>
                      <a:pt x="45" y="199"/>
                    </a:lnTo>
                    <a:lnTo>
                      <a:pt x="55" y="232"/>
                    </a:lnTo>
                    <a:lnTo>
                      <a:pt x="67" y="265"/>
                    </a:lnTo>
                    <a:lnTo>
                      <a:pt x="81" y="302"/>
                    </a:lnTo>
                    <a:lnTo>
                      <a:pt x="97" y="341"/>
                    </a:lnTo>
                    <a:lnTo>
                      <a:pt x="118" y="382"/>
                    </a:lnTo>
                    <a:lnTo>
                      <a:pt x="140" y="425"/>
                    </a:lnTo>
                    <a:lnTo>
                      <a:pt x="165" y="470"/>
                    </a:lnTo>
                    <a:lnTo>
                      <a:pt x="195" y="521"/>
                    </a:lnTo>
                    <a:lnTo>
                      <a:pt x="226" y="570"/>
                    </a:lnTo>
                    <a:lnTo>
                      <a:pt x="255" y="616"/>
                    </a:lnTo>
                    <a:lnTo>
                      <a:pt x="284" y="659"/>
                    </a:lnTo>
                    <a:lnTo>
                      <a:pt x="312" y="700"/>
                    </a:lnTo>
                    <a:lnTo>
                      <a:pt x="341" y="739"/>
                    </a:lnTo>
                    <a:lnTo>
                      <a:pt x="369" y="776"/>
                    </a:lnTo>
                    <a:lnTo>
                      <a:pt x="398" y="809"/>
                    </a:lnTo>
                    <a:lnTo>
                      <a:pt x="414" y="824"/>
                    </a:lnTo>
                    <a:lnTo>
                      <a:pt x="428" y="839"/>
                    </a:lnTo>
                    <a:lnTo>
                      <a:pt x="442" y="853"/>
                    </a:lnTo>
                    <a:lnTo>
                      <a:pt x="457" y="867"/>
                    </a:lnTo>
                    <a:lnTo>
                      <a:pt x="472" y="880"/>
                    </a:lnTo>
                    <a:lnTo>
                      <a:pt x="487" y="892"/>
                    </a:lnTo>
                    <a:lnTo>
                      <a:pt x="501" y="904"/>
                    </a:lnTo>
                    <a:lnTo>
                      <a:pt x="516" y="914"/>
                    </a:lnTo>
                    <a:lnTo>
                      <a:pt x="532" y="925"/>
                    </a:lnTo>
                    <a:lnTo>
                      <a:pt x="547" y="933"/>
                    </a:lnTo>
                    <a:lnTo>
                      <a:pt x="563" y="942"/>
                    </a:lnTo>
                    <a:lnTo>
                      <a:pt x="579" y="949"/>
                    </a:lnTo>
                    <a:lnTo>
                      <a:pt x="595" y="957"/>
                    </a:lnTo>
                    <a:lnTo>
                      <a:pt x="611" y="962"/>
                    </a:lnTo>
                    <a:lnTo>
                      <a:pt x="627" y="968"/>
                    </a:lnTo>
                    <a:lnTo>
                      <a:pt x="645" y="973"/>
                    </a:lnTo>
                    <a:lnTo>
                      <a:pt x="678" y="981"/>
                    </a:lnTo>
                    <a:lnTo>
                      <a:pt x="712" y="987"/>
                    </a:lnTo>
                    <a:lnTo>
                      <a:pt x="745" y="993"/>
                    </a:lnTo>
                    <a:lnTo>
                      <a:pt x="778" y="997"/>
                    </a:lnTo>
                    <a:lnTo>
                      <a:pt x="811" y="1000"/>
                    </a:lnTo>
                    <a:lnTo>
                      <a:pt x="844" y="1003"/>
                    </a:lnTo>
                    <a:lnTo>
                      <a:pt x="877" y="1005"/>
                    </a:lnTo>
                    <a:lnTo>
                      <a:pt x="908" y="1005"/>
                    </a:lnTo>
                    <a:lnTo>
                      <a:pt x="940" y="1003"/>
                    </a:lnTo>
                    <a:lnTo>
                      <a:pt x="972" y="1002"/>
                    </a:lnTo>
                    <a:lnTo>
                      <a:pt x="1002" y="1000"/>
                    </a:lnTo>
                    <a:lnTo>
                      <a:pt x="1033" y="997"/>
                    </a:lnTo>
                    <a:lnTo>
                      <a:pt x="1064" y="993"/>
                    </a:lnTo>
                    <a:lnTo>
                      <a:pt x="1094" y="988"/>
                    </a:lnTo>
                    <a:lnTo>
                      <a:pt x="1123" y="983"/>
                    </a:lnTo>
                    <a:lnTo>
                      <a:pt x="1153" y="976"/>
                    </a:lnTo>
                    <a:lnTo>
                      <a:pt x="1181" y="970"/>
                    </a:lnTo>
                    <a:lnTo>
                      <a:pt x="1210" y="962"/>
                    </a:lnTo>
                    <a:lnTo>
                      <a:pt x="1238" y="955"/>
                    </a:lnTo>
                    <a:lnTo>
                      <a:pt x="1267" y="946"/>
                    </a:lnTo>
                    <a:lnTo>
                      <a:pt x="1321" y="929"/>
                    </a:lnTo>
                    <a:lnTo>
                      <a:pt x="1373" y="910"/>
                    </a:lnTo>
                    <a:lnTo>
                      <a:pt x="1425" y="889"/>
                    </a:lnTo>
                    <a:lnTo>
                      <a:pt x="1475" y="867"/>
                    </a:lnTo>
                    <a:lnTo>
                      <a:pt x="1522" y="846"/>
                    </a:lnTo>
                    <a:lnTo>
                      <a:pt x="1568" y="824"/>
                    </a:lnTo>
                    <a:lnTo>
                      <a:pt x="1597" y="810"/>
                    </a:lnTo>
                    <a:lnTo>
                      <a:pt x="1627" y="795"/>
                    </a:lnTo>
                    <a:lnTo>
                      <a:pt x="1657" y="782"/>
                    </a:lnTo>
                    <a:lnTo>
                      <a:pt x="1688" y="768"/>
                    </a:lnTo>
                    <a:lnTo>
                      <a:pt x="1718" y="755"/>
                    </a:lnTo>
                    <a:lnTo>
                      <a:pt x="1748" y="743"/>
                    </a:lnTo>
                    <a:lnTo>
                      <a:pt x="1777" y="731"/>
                    </a:lnTo>
                    <a:lnTo>
                      <a:pt x="1808" y="721"/>
                    </a:lnTo>
                    <a:lnTo>
                      <a:pt x="1835" y="712"/>
                    </a:lnTo>
                    <a:lnTo>
                      <a:pt x="1860" y="704"/>
                    </a:lnTo>
                    <a:lnTo>
                      <a:pt x="1886" y="698"/>
                    </a:lnTo>
                    <a:lnTo>
                      <a:pt x="1910" y="693"/>
                    </a:lnTo>
                    <a:lnTo>
                      <a:pt x="1933" y="688"/>
                    </a:lnTo>
                    <a:lnTo>
                      <a:pt x="1955" y="685"/>
                    </a:lnTo>
                    <a:lnTo>
                      <a:pt x="1977" y="683"/>
                    </a:lnTo>
                    <a:lnTo>
                      <a:pt x="1998" y="682"/>
                    </a:lnTo>
                    <a:lnTo>
                      <a:pt x="2017" y="682"/>
                    </a:lnTo>
                    <a:lnTo>
                      <a:pt x="2035" y="683"/>
                    </a:lnTo>
                    <a:lnTo>
                      <a:pt x="2054" y="685"/>
                    </a:lnTo>
                    <a:lnTo>
                      <a:pt x="2071" y="688"/>
                    </a:lnTo>
                    <a:lnTo>
                      <a:pt x="2088" y="693"/>
                    </a:lnTo>
                    <a:lnTo>
                      <a:pt x="2104" y="698"/>
                    </a:lnTo>
                    <a:lnTo>
                      <a:pt x="2120" y="704"/>
                    </a:lnTo>
                    <a:lnTo>
                      <a:pt x="2135" y="712"/>
                    </a:lnTo>
                    <a:lnTo>
                      <a:pt x="2152" y="722"/>
                    </a:lnTo>
                    <a:lnTo>
                      <a:pt x="2167" y="734"/>
                    </a:lnTo>
                    <a:lnTo>
                      <a:pt x="2180" y="745"/>
                    </a:lnTo>
                    <a:lnTo>
                      <a:pt x="2192" y="757"/>
                    </a:lnTo>
                    <a:lnTo>
                      <a:pt x="2203" y="770"/>
                    </a:lnTo>
                    <a:lnTo>
                      <a:pt x="2211" y="784"/>
                    </a:lnTo>
                    <a:lnTo>
                      <a:pt x="2219" y="798"/>
                    </a:lnTo>
                    <a:lnTo>
                      <a:pt x="2225" y="813"/>
                    </a:lnTo>
                    <a:lnTo>
                      <a:pt x="2231" y="828"/>
                    </a:lnTo>
                    <a:lnTo>
                      <a:pt x="2235" y="843"/>
                    </a:lnTo>
                    <a:lnTo>
                      <a:pt x="2239" y="858"/>
                    </a:lnTo>
                    <a:lnTo>
                      <a:pt x="2242" y="873"/>
                    </a:lnTo>
                    <a:lnTo>
                      <a:pt x="2247" y="903"/>
                    </a:lnTo>
                    <a:lnTo>
                      <a:pt x="2250" y="931"/>
                    </a:lnTo>
                    <a:lnTo>
                      <a:pt x="2252" y="951"/>
                    </a:lnTo>
                    <a:lnTo>
                      <a:pt x="2255" y="969"/>
                    </a:lnTo>
                    <a:lnTo>
                      <a:pt x="2258" y="987"/>
                    </a:lnTo>
                    <a:lnTo>
                      <a:pt x="2262" y="1003"/>
                    </a:lnTo>
                    <a:lnTo>
                      <a:pt x="2268" y="1017"/>
                    </a:lnTo>
                    <a:lnTo>
                      <a:pt x="2274" y="1030"/>
                    </a:lnTo>
                    <a:lnTo>
                      <a:pt x="2278" y="1036"/>
                    </a:lnTo>
                    <a:lnTo>
                      <a:pt x="2283" y="1041"/>
                    </a:lnTo>
                    <a:lnTo>
                      <a:pt x="2288" y="1046"/>
                    </a:lnTo>
                    <a:lnTo>
                      <a:pt x="2293" y="1050"/>
                    </a:lnTo>
                    <a:lnTo>
                      <a:pt x="2320" y="1067"/>
                    </a:lnTo>
                    <a:lnTo>
                      <a:pt x="2345" y="1087"/>
                    </a:lnTo>
                    <a:lnTo>
                      <a:pt x="2369" y="1105"/>
                    </a:lnTo>
                    <a:lnTo>
                      <a:pt x="2390" y="1125"/>
                    </a:lnTo>
                    <a:lnTo>
                      <a:pt x="2409" y="1145"/>
                    </a:lnTo>
                    <a:lnTo>
                      <a:pt x="2427" y="1164"/>
                    </a:lnTo>
                    <a:lnTo>
                      <a:pt x="2444" y="1183"/>
                    </a:lnTo>
                    <a:lnTo>
                      <a:pt x="2458" y="1200"/>
                    </a:lnTo>
                    <a:lnTo>
                      <a:pt x="2471" y="1216"/>
                    </a:lnTo>
                    <a:lnTo>
                      <a:pt x="2480" y="1231"/>
                    </a:lnTo>
                    <a:lnTo>
                      <a:pt x="2490" y="1245"/>
                    </a:lnTo>
                    <a:lnTo>
                      <a:pt x="2498" y="1257"/>
                    </a:lnTo>
                    <a:lnTo>
                      <a:pt x="2504" y="1268"/>
                    </a:lnTo>
                    <a:lnTo>
                      <a:pt x="2510" y="1277"/>
                    </a:lnTo>
                    <a:lnTo>
                      <a:pt x="2514" y="1278"/>
                    </a:lnTo>
                    <a:lnTo>
                      <a:pt x="2517" y="1280"/>
                    </a:lnTo>
                    <a:lnTo>
                      <a:pt x="2519" y="1282"/>
                    </a:lnTo>
                    <a:lnTo>
                      <a:pt x="2520" y="1285"/>
                    </a:lnTo>
                    <a:lnTo>
                      <a:pt x="2521" y="1291"/>
                    </a:lnTo>
                    <a:lnTo>
                      <a:pt x="2519" y="1296"/>
                    </a:lnTo>
                    <a:lnTo>
                      <a:pt x="2517" y="1300"/>
                    </a:lnTo>
                    <a:lnTo>
                      <a:pt x="2512" y="1302"/>
                    </a:lnTo>
                    <a:lnTo>
                      <a:pt x="2508" y="1304"/>
                    </a:lnTo>
                    <a:lnTo>
                      <a:pt x="2506" y="1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6"/>
              <p:cNvSpPr>
                <a:spLocks/>
              </p:cNvSpPr>
              <p:nvPr userDrawn="1"/>
            </p:nvSpPr>
            <p:spPr bwMode="auto">
              <a:xfrm>
                <a:off x="1908" y="1402"/>
                <a:ext cx="848" cy="437"/>
              </a:xfrm>
              <a:custGeom>
                <a:avLst/>
                <a:gdLst>
                  <a:gd name="T0" fmla="*/ 2511 w 2544"/>
                  <a:gd name="T1" fmla="*/ 1301 h 1310"/>
                  <a:gd name="T2" fmla="*/ 2464 w 2544"/>
                  <a:gd name="T3" fmla="*/ 1247 h 1310"/>
                  <a:gd name="T4" fmla="*/ 2379 w 2544"/>
                  <a:gd name="T5" fmla="*/ 1165 h 1310"/>
                  <a:gd name="T6" fmla="*/ 2282 w 2544"/>
                  <a:gd name="T7" fmla="*/ 1096 h 1310"/>
                  <a:gd name="T8" fmla="*/ 2251 w 2544"/>
                  <a:gd name="T9" fmla="*/ 1064 h 1310"/>
                  <a:gd name="T10" fmla="*/ 2226 w 2544"/>
                  <a:gd name="T11" fmla="*/ 993 h 1310"/>
                  <a:gd name="T12" fmla="*/ 2199 w 2544"/>
                  <a:gd name="T13" fmla="*/ 897 h 1310"/>
                  <a:gd name="T14" fmla="*/ 2164 w 2544"/>
                  <a:gd name="T15" fmla="*/ 836 h 1310"/>
                  <a:gd name="T16" fmla="*/ 2102 w 2544"/>
                  <a:gd name="T17" fmla="*/ 789 h 1310"/>
                  <a:gd name="T18" fmla="*/ 2027 w 2544"/>
                  <a:gd name="T19" fmla="*/ 765 h 1310"/>
                  <a:gd name="T20" fmla="*/ 1935 w 2544"/>
                  <a:gd name="T21" fmla="*/ 764 h 1310"/>
                  <a:gd name="T22" fmla="*/ 1822 w 2544"/>
                  <a:gd name="T23" fmla="*/ 784 h 1310"/>
                  <a:gd name="T24" fmla="*/ 1682 w 2544"/>
                  <a:gd name="T25" fmla="*/ 829 h 1310"/>
                  <a:gd name="T26" fmla="*/ 1520 w 2544"/>
                  <a:gd name="T27" fmla="*/ 894 h 1310"/>
                  <a:gd name="T28" fmla="*/ 1281 w 2544"/>
                  <a:gd name="T29" fmla="*/ 982 h 1310"/>
                  <a:gd name="T30" fmla="*/ 1134 w 2544"/>
                  <a:gd name="T31" fmla="*/ 1017 h 1310"/>
                  <a:gd name="T32" fmla="*/ 973 w 2544"/>
                  <a:gd name="T33" fmla="*/ 1040 h 1310"/>
                  <a:gd name="T34" fmla="*/ 800 w 2544"/>
                  <a:gd name="T35" fmla="*/ 1040 h 1310"/>
                  <a:gd name="T36" fmla="*/ 619 w 2544"/>
                  <a:gd name="T37" fmla="*/ 1011 h 1310"/>
                  <a:gd name="T38" fmla="*/ 529 w 2544"/>
                  <a:gd name="T39" fmla="*/ 975 h 1310"/>
                  <a:gd name="T40" fmla="*/ 446 w 2544"/>
                  <a:gd name="T41" fmla="*/ 916 h 1310"/>
                  <a:gd name="T42" fmla="*/ 367 w 2544"/>
                  <a:gd name="T43" fmla="*/ 839 h 1310"/>
                  <a:gd name="T44" fmla="*/ 239 w 2544"/>
                  <a:gd name="T45" fmla="*/ 666 h 1310"/>
                  <a:gd name="T46" fmla="*/ 111 w 2544"/>
                  <a:gd name="T47" fmla="*/ 449 h 1310"/>
                  <a:gd name="T48" fmla="*/ 31 w 2544"/>
                  <a:gd name="T49" fmla="*/ 262 h 1310"/>
                  <a:gd name="T50" fmla="*/ 0 w 2544"/>
                  <a:gd name="T51" fmla="*/ 110 h 1310"/>
                  <a:gd name="T52" fmla="*/ 7 w 2544"/>
                  <a:gd name="T53" fmla="*/ 39 h 1310"/>
                  <a:gd name="T54" fmla="*/ 26 w 2544"/>
                  <a:gd name="T55" fmla="*/ 2 h 1310"/>
                  <a:gd name="T56" fmla="*/ 47 w 2544"/>
                  <a:gd name="T57" fmla="*/ 10 h 1310"/>
                  <a:gd name="T58" fmla="*/ 36 w 2544"/>
                  <a:gd name="T59" fmla="*/ 38 h 1310"/>
                  <a:gd name="T60" fmla="*/ 29 w 2544"/>
                  <a:gd name="T61" fmla="*/ 128 h 1310"/>
                  <a:gd name="T62" fmla="*/ 65 w 2544"/>
                  <a:gd name="T63" fmla="*/ 278 h 1310"/>
                  <a:gd name="T64" fmla="*/ 157 w 2544"/>
                  <a:gd name="T65" fmla="*/ 476 h 1310"/>
                  <a:gd name="T66" fmla="*/ 286 w 2544"/>
                  <a:gd name="T67" fmla="*/ 689 h 1310"/>
                  <a:gd name="T68" fmla="*/ 400 w 2544"/>
                  <a:gd name="T69" fmla="*/ 834 h 1310"/>
                  <a:gd name="T70" fmla="*/ 475 w 2544"/>
                  <a:gd name="T71" fmla="*/ 906 h 1310"/>
                  <a:gd name="T72" fmla="*/ 556 w 2544"/>
                  <a:gd name="T73" fmla="*/ 959 h 1310"/>
                  <a:gd name="T74" fmla="*/ 661 w 2544"/>
                  <a:gd name="T75" fmla="*/ 993 h 1310"/>
                  <a:gd name="T76" fmla="*/ 838 w 2544"/>
                  <a:gd name="T77" fmla="*/ 1014 h 1310"/>
                  <a:gd name="T78" fmla="*/ 1005 w 2544"/>
                  <a:gd name="T79" fmla="*/ 1010 h 1310"/>
                  <a:gd name="T80" fmla="*/ 1161 w 2544"/>
                  <a:gd name="T81" fmla="*/ 985 h 1310"/>
                  <a:gd name="T82" fmla="*/ 1328 w 2544"/>
                  <a:gd name="T83" fmla="*/ 939 h 1310"/>
                  <a:gd name="T84" fmla="*/ 1547 w 2544"/>
                  <a:gd name="T85" fmla="*/ 853 h 1310"/>
                  <a:gd name="T86" fmla="*/ 1703 w 2544"/>
                  <a:gd name="T87" fmla="*/ 792 h 1310"/>
                  <a:gd name="T88" fmla="*/ 1842 w 2544"/>
                  <a:gd name="T89" fmla="*/ 752 h 1310"/>
                  <a:gd name="T90" fmla="*/ 1957 w 2544"/>
                  <a:gd name="T91" fmla="*/ 735 h 1310"/>
                  <a:gd name="T92" fmla="*/ 2051 w 2544"/>
                  <a:gd name="T93" fmla="*/ 742 h 1310"/>
                  <a:gd name="T94" fmla="*/ 2132 w 2544"/>
                  <a:gd name="T95" fmla="*/ 773 h 1310"/>
                  <a:gd name="T96" fmla="*/ 2194 w 2544"/>
                  <a:gd name="T97" fmla="*/ 831 h 1310"/>
                  <a:gd name="T98" fmla="*/ 2228 w 2544"/>
                  <a:gd name="T99" fmla="*/ 899 h 1310"/>
                  <a:gd name="T100" fmla="*/ 2256 w 2544"/>
                  <a:gd name="T101" fmla="*/ 1001 h 1310"/>
                  <a:gd name="T102" fmla="*/ 2286 w 2544"/>
                  <a:gd name="T103" fmla="*/ 1065 h 1310"/>
                  <a:gd name="T104" fmla="*/ 2352 w 2544"/>
                  <a:gd name="T105" fmla="*/ 1110 h 1310"/>
                  <a:gd name="T106" fmla="*/ 2454 w 2544"/>
                  <a:gd name="T107" fmla="*/ 1199 h 1310"/>
                  <a:gd name="T108" fmla="*/ 2512 w 2544"/>
                  <a:gd name="T109" fmla="*/ 1261 h 1310"/>
                  <a:gd name="T110" fmla="*/ 2541 w 2544"/>
                  <a:gd name="T111" fmla="*/ 1288 h 1310"/>
                  <a:gd name="T112" fmla="*/ 2534 w 2544"/>
                  <a:gd name="T113" fmla="*/ 1309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44" h="1310">
                    <a:moveTo>
                      <a:pt x="2529" y="1310"/>
                    </a:moveTo>
                    <a:lnTo>
                      <a:pt x="2524" y="1309"/>
                    </a:lnTo>
                    <a:lnTo>
                      <a:pt x="2519" y="1308"/>
                    </a:lnTo>
                    <a:lnTo>
                      <a:pt x="2515" y="1305"/>
                    </a:lnTo>
                    <a:lnTo>
                      <a:pt x="2511" y="1301"/>
                    </a:lnTo>
                    <a:lnTo>
                      <a:pt x="2502" y="1292"/>
                    </a:lnTo>
                    <a:lnTo>
                      <a:pt x="2491" y="1279"/>
                    </a:lnTo>
                    <a:lnTo>
                      <a:pt x="2484" y="1269"/>
                    </a:lnTo>
                    <a:lnTo>
                      <a:pt x="2474" y="1259"/>
                    </a:lnTo>
                    <a:lnTo>
                      <a:pt x="2464" y="1247"/>
                    </a:lnTo>
                    <a:lnTo>
                      <a:pt x="2453" y="1236"/>
                    </a:lnTo>
                    <a:lnTo>
                      <a:pt x="2436" y="1218"/>
                    </a:lnTo>
                    <a:lnTo>
                      <a:pt x="2418" y="1201"/>
                    </a:lnTo>
                    <a:lnTo>
                      <a:pt x="2399" y="1183"/>
                    </a:lnTo>
                    <a:lnTo>
                      <a:pt x="2379" y="1165"/>
                    </a:lnTo>
                    <a:lnTo>
                      <a:pt x="2358" y="1149"/>
                    </a:lnTo>
                    <a:lnTo>
                      <a:pt x="2337" y="1132"/>
                    </a:lnTo>
                    <a:lnTo>
                      <a:pt x="2314" y="1117"/>
                    </a:lnTo>
                    <a:lnTo>
                      <a:pt x="2289" y="1102"/>
                    </a:lnTo>
                    <a:lnTo>
                      <a:pt x="2282" y="1096"/>
                    </a:lnTo>
                    <a:lnTo>
                      <a:pt x="2274" y="1091"/>
                    </a:lnTo>
                    <a:lnTo>
                      <a:pt x="2268" y="1084"/>
                    </a:lnTo>
                    <a:lnTo>
                      <a:pt x="2262" y="1078"/>
                    </a:lnTo>
                    <a:lnTo>
                      <a:pt x="2257" y="1071"/>
                    </a:lnTo>
                    <a:lnTo>
                      <a:pt x="2251" y="1064"/>
                    </a:lnTo>
                    <a:lnTo>
                      <a:pt x="2247" y="1055"/>
                    </a:lnTo>
                    <a:lnTo>
                      <a:pt x="2243" y="1048"/>
                    </a:lnTo>
                    <a:lnTo>
                      <a:pt x="2236" y="1030"/>
                    </a:lnTo>
                    <a:lnTo>
                      <a:pt x="2231" y="1011"/>
                    </a:lnTo>
                    <a:lnTo>
                      <a:pt x="2226" y="993"/>
                    </a:lnTo>
                    <a:lnTo>
                      <a:pt x="2220" y="972"/>
                    </a:lnTo>
                    <a:lnTo>
                      <a:pt x="2215" y="947"/>
                    </a:lnTo>
                    <a:lnTo>
                      <a:pt x="2207" y="921"/>
                    </a:lnTo>
                    <a:lnTo>
                      <a:pt x="2203" y="908"/>
                    </a:lnTo>
                    <a:lnTo>
                      <a:pt x="2199" y="897"/>
                    </a:lnTo>
                    <a:lnTo>
                      <a:pt x="2193" y="884"/>
                    </a:lnTo>
                    <a:lnTo>
                      <a:pt x="2187" y="872"/>
                    </a:lnTo>
                    <a:lnTo>
                      <a:pt x="2180" y="860"/>
                    </a:lnTo>
                    <a:lnTo>
                      <a:pt x="2173" y="848"/>
                    </a:lnTo>
                    <a:lnTo>
                      <a:pt x="2164" y="836"/>
                    </a:lnTo>
                    <a:lnTo>
                      <a:pt x="2154" y="825"/>
                    </a:lnTo>
                    <a:lnTo>
                      <a:pt x="2144" y="816"/>
                    </a:lnTo>
                    <a:lnTo>
                      <a:pt x="2131" y="806"/>
                    </a:lnTo>
                    <a:lnTo>
                      <a:pt x="2118" y="796"/>
                    </a:lnTo>
                    <a:lnTo>
                      <a:pt x="2102" y="789"/>
                    </a:lnTo>
                    <a:lnTo>
                      <a:pt x="2088" y="782"/>
                    </a:lnTo>
                    <a:lnTo>
                      <a:pt x="2074" y="776"/>
                    </a:lnTo>
                    <a:lnTo>
                      <a:pt x="2059" y="771"/>
                    </a:lnTo>
                    <a:lnTo>
                      <a:pt x="2043" y="768"/>
                    </a:lnTo>
                    <a:lnTo>
                      <a:pt x="2027" y="765"/>
                    </a:lnTo>
                    <a:lnTo>
                      <a:pt x="2011" y="763"/>
                    </a:lnTo>
                    <a:lnTo>
                      <a:pt x="1993" y="762"/>
                    </a:lnTo>
                    <a:lnTo>
                      <a:pt x="1974" y="762"/>
                    </a:lnTo>
                    <a:lnTo>
                      <a:pt x="1956" y="762"/>
                    </a:lnTo>
                    <a:lnTo>
                      <a:pt x="1935" y="764"/>
                    </a:lnTo>
                    <a:lnTo>
                      <a:pt x="1915" y="766"/>
                    </a:lnTo>
                    <a:lnTo>
                      <a:pt x="1893" y="769"/>
                    </a:lnTo>
                    <a:lnTo>
                      <a:pt x="1870" y="773"/>
                    </a:lnTo>
                    <a:lnTo>
                      <a:pt x="1847" y="778"/>
                    </a:lnTo>
                    <a:lnTo>
                      <a:pt x="1822" y="784"/>
                    </a:lnTo>
                    <a:lnTo>
                      <a:pt x="1796" y="791"/>
                    </a:lnTo>
                    <a:lnTo>
                      <a:pt x="1769" y="799"/>
                    </a:lnTo>
                    <a:lnTo>
                      <a:pt x="1741" y="808"/>
                    </a:lnTo>
                    <a:lnTo>
                      <a:pt x="1712" y="818"/>
                    </a:lnTo>
                    <a:lnTo>
                      <a:pt x="1682" y="829"/>
                    </a:lnTo>
                    <a:lnTo>
                      <a:pt x="1653" y="839"/>
                    </a:lnTo>
                    <a:lnTo>
                      <a:pt x="1623" y="851"/>
                    </a:lnTo>
                    <a:lnTo>
                      <a:pt x="1591" y="865"/>
                    </a:lnTo>
                    <a:lnTo>
                      <a:pt x="1558" y="878"/>
                    </a:lnTo>
                    <a:lnTo>
                      <a:pt x="1520" y="894"/>
                    </a:lnTo>
                    <a:lnTo>
                      <a:pt x="1479" y="912"/>
                    </a:lnTo>
                    <a:lnTo>
                      <a:pt x="1434" y="929"/>
                    </a:lnTo>
                    <a:lnTo>
                      <a:pt x="1387" y="947"/>
                    </a:lnTo>
                    <a:lnTo>
                      <a:pt x="1336" y="965"/>
                    </a:lnTo>
                    <a:lnTo>
                      <a:pt x="1281" y="982"/>
                    </a:lnTo>
                    <a:lnTo>
                      <a:pt x="1253" y="989"/>
                    </a:lnTo>
                    <a:lnTo>
                      <a:pt x="1225" y="997"/>
                    </a:lnTo>
                    <a:lnTo>
                      <a:pt x="1195" y="1005"/>
                    </a:lnTo>
                    <a:lnTo>
                      <a:pt x="1165" y="1012"/>
                    </a:lnTo>
                    <a:lnTo>
                      <a:pt x="1134" y="1017"/>
                    </a:lnTo>
                    <a:lnTo>
                      <a:pt x="1104" y="1024"/>
                    </a:lnTo>
                    <a:lnTo>
                      <a:pt x="1071" y="1028"/>
                    </a:lnTo>
                    <a:lnTo>
                      <a:pt x="1039" y="1034"/>
                    </a:lnTo>
                    <a:lnTo>
                      <a:pt x="1006" y="1037"/>
                    </a:lnTo>
                    <a:lnTo>
                      <a:pt x="973" y="1040"/>
                    </a:lnTo>
                    <a:lnTo>
                      <a:pt x="940" y="1041"/>
                    </a:lnTo>
                    <a:lnTo>
                      <a:pt x="905" y="1042"/>
                    </a:lnTo>
                    <a:lnTo>
                      <a:pt x="870" y="1042"/>
                    </a:lnTo>
                    <a:lnTo>
                      <a:pt x="836" y="1041"/>
                    </a:lnTo>
                    <a:lnTo>
                      <a:pt x="800" y="1040"/>
                    </a:lnTo>
                    <a:lnTo>
                      <a:pt x="765" y="1036"/>
                    </a:lnTo>
                    <a:lnTo>
                      <a:pt x="728" y="1031"/>
                    </a:lnTo>
                    <a:lnTo>
                      <a:pt x="692" y="1026"/>
                    </a:lnTo>
                    <a:lnTo>
                      <a:pt x="656" y="1019"/>
                    </a:lnTo>
                    <a:lnTo>
                      <a:pt x="619" y="1011"/>
                    </a:lnTo>
                    <a:lnTo>
                      <a:pt x="600" y="1006"/>
                    </a:lnTo>
                    <a:lnTo>
                      <a:pt x="582" y="999"/>
                    </a:lnTo>
                    <a:lnTo>
                      <a:pt x="564" y="992"/>
                    </a:lnTo>
                    <a:lnTo>
                      <a:pt x="546" y="984"/>
                    </a:lnTo>
                    <a:lnTo>
                      <a:pt x="529" y="975"/>
                    </a:lnTo>
                    <a:lnTo>
                      <a:pt x="512" y="965"/>
                    </a:lnTo>
                    <a:lnTo>
                      <a:pt x="495" y="954"/>
                    </a:lnTo>
                    <a:lnTo>
                      <a:pt x="478" y="942"/>
                    </a:lnTo>
                    <a:lnTo>
                      <a:pt x="462" y="930"/>
                    </a:lnTo>
                    <a:lnTo>
                      <a:pt x="446" y="916"/>
                    </a:lnTo>
                    <a:lnTo>
                      <a:pt x="430" y="902"/>
                    </a:lnTo>
                    <a:lnTo>
                      <a:pt x="414" y="888"/>
                    </a:lnTo>
                    <a:lnTo>
                      <a:pt x="399" y="872"/>
                    </a:lnTo>
                    <a:lnTo>
                      <a:pt x="382" y="857"/>
                    </a:lnTo>
                    <a:lnTo>
                      <a:pt x="367" y="839"/>
                    </a:lnTo>
                    <a:lnTo>
                      <a:pt x="352" y="822"/>
                    </a:lnTo>
                    <a:lnTo>
                      <a:pt x="323" y="785"/>
                    </a:lnTo>
                    <a:lnTo>
                      <a:pt x="294" y="748"/>
                    </a:lnTo>
                    <a:lnTo>
                      <a:pt x="266" y="708"/>
                    </a:lnTo>
                    <a:lnTo>
                      <a:pt x="239" y="666"/>
                    </a:lnTo>
                    <a:lnTo>
                      <a:pt x="211" y="622"/>
                    </a:lnTo>
                    <a:lnTo>
                      <a:pt x="185" y="579"/>
                    </a:lnTo>
                    <a:lnTo>
                      <a:pt x="159" y="534"/>
                    </a:lnTo>
                    <a:lnTo>
                      <a:pt x="133" y="489"/>
                    </a:lnTo>
                    <a:lnTo>
                      <a:pt x="111" y="449"/>
                    </a:lnTo>
                    <a:lnTo>
                      <a:pt x="92" y="410"/>
                    </a:lnTo>
                    <a:lnTo>
                      <a:pt x="74" y="371"/>
                    </a:lnTo>
                    <a:lnTo>
                      <a:pt x="57" y="334"/>
                    </a:lnTo>
                    <a:lnTo>
                      <a:pt x="43" y="297"/>
                    </a:lnTo>
                    <a:lnTo>
                      <a:pt x="31" y="262"/>
                    </a:lnTo>
                    <a:lnTo>
                      <a:pt x="21" y="228"/>
                    </a:lnTo>
                    <a:lnTo>
                      <a:pt x="12" y="196"/>
                    </a:lnTo>
                    <a:lnTo>
                      <a:pt x="7" y="166"/>
                    </a:lnTo>
                    <a:lnTo>
                      <a:pt x="2" y="137"/>
                    </a:lnTo>
                    <a:lnTo>
                      <a:pt x="0" y="110"/>
                    </a:lnTo>
                    <a:lnTo>
                      <a:pt x="0" y="84"/>
                    </a:lnTo>
                    <a:lnTo>
                      <a:pt x="1" y="72"/>
                    </a:lnTo>
                    <a:lnTo>
                      <a:pt x="2" y="61"/>
                    </a:lnTo>
                    <a:lnTo>
                      <a:pt x="4" y="50"/>
                    </a:lnTo>
                    <a:lnTo>
                      <a:pt x="7" y="39"/>
                    </a:lnTo>
                    <a:lnTo>
                      <a:pt x="10" y="30"/>
                    </a:lnTo>
                    <a:lnTo>
                      <a:pt x="13" y="21"/>
                    </a:lnTo>
                    <a:lnTo>
                      <a:pt x="17" y="12"/>
                    </a:lnTo>
                    <a:lnTo>
                      <a:pt x="23" y="5"/>
                    </a:lnTo>
                    <a:lnTo>
                      <a:pt x="26" y="2"/>
                    </a:lnTo>
                    <a:lnTo>
                      <a:pt x="31" y="0"/>
                    </a:lnTo>
                    <a:lnTo>
                      <a:pt x="36" y="0"/>
                    </a:lnTo>
                    <a:lnTo>
                      <a:pt x="41" y="2"/>
                    </a:lnTo>
                    <a:lnTo>
                      <a:pt x="44" y="5"/>
                    </a:lnTo>
                    <a:lnTo>
                      <a:pt x="47" y="10"/>
                    </a:lnTo>
                    <a:lnTo>
                      <a:pt x="47" y="16"/>
                    </a:lnTo>
                    <a:lnTo>
                      <a:pt x="44" y="20"/>
                    </a:lnTo>
                    <a:lnTo>
                      <a:pt x="41" y="25"/>
                    </a:lnTo>
                    <a:lnTo>
                      <a:pt x="38" y="32"/>
                    </a:lnTo>
                    <a:lnTo>
                      <a:pt x="36" y="38"/>
                    </a:lnTo>
                    <a:lnTo>
                      <a:pt x="34" y="46"/>
                    </a:lnTo>
                    <a:lnTo>
                      <a:pt x="30" y="63"/>
                    </a:lnTo>
                    <a:lnTo>
                      <a:pt x="28" y="83"/>
                    </a:lnTo>
                    <a:lnTo>
                      <a:pt x="28" y="104"/>
                    </a:lnTo>
                    <a:lnTo>
                      <a:pt x="29" y="128"/>
                    </a:lnTo>
                    <a:lnTo>
                      <a:pt x="32" y="154"/>
                    </a:lnTo>
                    <a:lnTo>
                      <a:pt x="38" y="182"/>
                    </a:lnTo>
                    <a:lnTo>
                      <a:pt x="44" y="212"/>
                    </a:lnTo>
                    <a:lnTo>
                      <a:pt x="54" y="243"/>
                    </a:lnTo>
                    <a:lnTo>
                      <a:pt x="65" y="278"/>
                    </a:lnTo>
                    <a:lnTo>
                      <a:pt x="79" y="314"/>
                    </a:lnTo>
                    <a:lnTo>
                      <a:pt x="94" y="352"/>
                    </a:lnTo>
                    <a:lnTo>
                      <a:pt x="112" y="391"/>
                    </a:lnTo>
                    <a:lnTo>
                      <a:pt x="133" y="432"/>
                    </a:lnTo>
                    <a:lnTo>
                      <a:pt x="157" y="476"/>
                    </a:lnTo>
                    <a:lnTo>
                      <a:pt x="181" y="520"/>
                    </a:lnTo>
                    <a:lnTo>
                      <a:pt x="207" y="564"/>
                    </a:lnTo>
                    <a:lnTo>
                      <a:pt x="233" y="606"/>
                    </a:lnTo>
                    <a:lnTo>
                      <a:pt x="259" y="648"/>
                    </a:lnTo>
                    <a:lnTo>
                      <a:pt x="286" y="689"/>
                    </a:lnTo>
                    <a:lnTo>
                      <a:pt x="313" y="728"/>
                    </a:lnTo>
                    <a:lnTo>
                      <a:pt x="341" y="766"/>
                    </a:lnTo>
                    <a:lnTo>
                      <a:pt x="370" y="802"/>
                    </a:lnTo>
                    <a:lnTo>
                      <a:pt x="384" y="818"/>
                    </a:lnTo>
                    <a:lnTo>
                      <a:pt x="400" y="834"/>
                    </a:lnTo>
                    <a:lnTo>
                      <a:pt x="415" y="850"/>
                    </a:lnTo>
                    <a:lnTo>
                      <a:pt x="430" y="865"/>
                    </a:lnTo>
                    <a:lnTo>
                      <a:pt x="445" y="879"/>
                    </a:lnTo>
                    <a:lnTo>
                      <a:pt x="460" y="893"/>
                    </a:lnTo>
                    <a:lnTo>
                      <a:pt x="475" y="906"/>
                    </a:lnTo>
                    <a:lnTo>
                      <a:pt x="491" y="918"/>
                    </a:lnTo>
                    <a:lnTo>
                      <a:pt x="508" y="930"/>
                    </a:lnTo>
                    <a:lnTo>
                      <a:pt x="524" y="941"/>
                    </a:lnTo>
                    <a:lnTo>
                      <a:pt x="540" y="949"/>
                    </a:lnTo>
                    <a:lnTo>
                      <a:pt x="556" y="959"/>
                    </a:lnTo>
                    <a:lnTo>
                      <a:pt x="573" y="967"/>
                    </a:lnTo>
                    <a:lnTo>
                      <a:pt x="591" y="973"/>
                    </a:lnTo>
                    <a:lnTo>
                      <a:pt x="608" y="980"/>
                    </a:lnTo>
                    <a:lnTo>
                      <a:pt x="625" y="984"/>
                    </a:lnTo>
                    <a:lnTo>
                      <a:pt x="661" y="993"/>
                    </a:lnTo>
                    <a:lnTo>
                      <a:pt x="697" y="999"/>
                    </a:lnTo>
                    <a:lnTo>
                      <a:pt x="732" y="1006"/>
                    </a:lnTo>
                    <a:lnTo>
                      <a:pt x="768" y="1010"/>
                    </a:lnTo>
                    <a:lnTo>
                      <a:pt x="802" y="1013"/>
                    </a:lnTo>
                    <a:lnTo>
                      <a:pt x="838" y="1014"/>
                    </a:lnTo>
                    <a:lnTo>
                      <a:pt x="871" y="1015"/>
                    </a:lnTo>
                    <a:lnTo>
                      <a:pt x="906" y="1015"/>
                    </a:lnTo>
                    <a:lnTo>
                      <a:pt x="940" y="1014"/>
                    </a:lnTo>
                    <a:lnTo>
                      <a:pt x="972" y="1012"/>
                    </a:lnTo>
                    <a:lnTo>
                      <a:pt x="1005" y="1010"/>
                    </a:lnTo>
                    <a:lnTo>
                      <a:pt x="1038" y="1006"/>
                    </a:lnTo>
                    <a:lnTo>
                      <a:pt x="1069" y="1001"/>
                    </a:lnTo>
                    <a:lnTo>
                      <a:pt x="1100" y="997"/>
                    </a:lnTo>
                    <a:lnTo>
                      <a:pt x="1131" y="990"/>
                    </a:lnTo>
                    <a:lnTo>
                      <a:pt x="1161" y="985"/>
                    </a:lnTo>
                    <a:lnTo>
                      <a:pt x="1190" y="978"/>
                    </a:lnTo>
                    <a:lnTo>
                      <a:pt x="1219" y="971"/>
                    </a:lnTo>
                    <a:lnTo>
                      <a:pt x="1247" y="963"/>
                    </a:lnTo>
                    <a:lnTo>
                      <a:pt x="1275" y="955"/>
                    </a:lnTo>
                    <a:lnTo>
                      <a:pt x="1328" y="939"/>
                    </a:lnTo>
                    <a:lnTo>
                      <a:pt x="1379" y="921"/>
                    </a:lnTo>
                    <a:lnTo>
                      <a:pt x="1425" y="903"/>
                    </a:lnTo>
                    <a:lnTo>
                      <a:pt x="1470" y="886"/>
                    </a:lnTo>
                    <a:lnTo>
                      <a:pt x="1511" y="870"/>
                    </a:lnTo>
                    <a:lnTo>
                      <a:pt x="1547" y="853"/>
                    </a:lnTo>
                    <a:lnTo>
                      <a:pt x="1581" y="839"/>
                    </a:lnTo>
                    <a:lnTo>
                      <a:pt x="1612" y="826"/>
                    </a:lnTo>
                    <a:lnTo>
                      <a:pt x="1644" y="815"/>
                    </a:lnTo>
                    <a:lnTo>
                      <a:pt x="1674" y="803"/>
                    </a:lnTo>
                    <a:lnTo>
                      <a:pt x="1703" y="792"/>
                    </a:lnTo>
                    <a:lnTo>
                      <a:pt x="1732" y="782"/>
                    </a:lnTo>
                    <a:lnTo>
                      <a:pt x="1761" y="773"/>
                    </a:lnTo>
                    <a:lnTo>
                      <a:pt x="1789" y="765"/>
                    </a:lnTo>
                    <a:lnTo>
                      <a:pt x="1816" y="757"/>
                    </a:lnTo>
                    <a:lnTo>
                      <a:pt x="1842" y="752"/>
                    </a:lnTo>
                    <a:lnTo>
                      <a:pt x="1867" y="747"/>
                    </a:lnTo>
                    <a:lnTo>
                      <a:pt x="1891" y="742"/>
                    </a:lnTo>
                    <a:lnTo>
                      <a:pt x="1914" y="739"/>
                    </a:lnTo>
                    <a:lnTo>
                      <a:pt x="1936" y="737"/>
                    </a:lnTo>
                    <a:lnTo>
                      <a:pt x="1957" y="735"/>
                    </a:lnTo>
                    <a:lnTo>
                      <a:pt x="1977" y="735"/>
                    </a:lnTo>
                    <a:lnTo>
                      <a:pt x="1997" y="735"/>
                    </a:lnTo>
                    <a:lnTo>
                      <a:pt x="2016" y="736"/>
                    </a:lnTo>
                    <a:lnTo>
                      <a:pt x="2033" y="739"/>
                    </a:lnTo>
                    <a:lnTo>
                      <a:pt x="2051" y="742"/>
                    </a:lnTo>
                    <a:lnTo>
                      <a:pt x="2068" y="745"/>
                    </a:lnTo>
                    <a:lnTo>
                      <a:pt x="2084" y="751"/>
                    </a:lnTo>
                    <a:lnTo>
                      <a:pt x="2099" y="757"/>
                    </a:lnTo>
                    <a:lnTo>
                      <a:pt x="2114" y="764"/>
                    </a:lnTo>
                    <a:lnTo>
                      <a:pt x="2132" y="773"/>
                    </a:lnTo>
                    <a:lnTo>
                      <a:pt x="2147" y="784"/>
                    </a:lnTo>
                    <a:lnTo>
                      <a:pt x="2161" y="795"/>
                    </a:lnTo>
                    <a:lnTo>
                      <a:pt x="2173" y="806"/>
                    </a:lnTo>
                    <a:lnTo>
                      <a:pt x="2185" y="819"/>
                    </a:lnTo>
                    <a:lnTo>
                      <a:pt x="2194" y="831"/>
                    </a:lnTo>
                    <a:lnTo>
                      <a:pt x="2203" y="845"/>
                    </a:lnTo>
                    <a:lnTo>
                      <a:pt x="2210" y="858"/>
                    </a:lnTo>
                    <a:lnTo>
                      <a:pt x="2217" y="871"/>
                    </a:lnTo>
                    <a:lnTo>
                      <a:pt x="2223" y="885"/>
                    </a:lnTo>
                    <a:lnTo>
                      <a:pt x="2228" y="899"/>
                    </a:lnTo>
                    <a:lnTo>
                      <a:pt x="2233" y="913"/>
                    </a:lnTo>
                    <a:lnTo>
                      <a:pt x="2241" y="940"/>
                    </a:lnTo>
                    <a:lnTo>
                      <a:pt x="2247" y="967"/>
                    </a:lnTo>
                    <a:lnTo>
                      <a:pt x="2251" y="984"/>
                    </a:lnTo>
                    <a:lnTo>
                      <a:pt x="2256" y="1001"/>
                    </a:lnTo>
                    <a:lnTo>
                      <a:pt x="2261" y="1019"/>
                    </a:lnTo>
                    <a:lnTo>
                      <a:pt x="2267" y="1034"/>
                    </a:lnTo>
                    <a:lnTo>
                      <a:pt x="2273" y="1047"/>
                    </a:lnTo>
                    <a:lnTo>
                      <a:pt x="2282" y="1060"/>
                    </a:lnTo>
                    <a:lnTo>
                      <a:pt x="2286" y="1065"/>
                    </a:lnTo>
                    <a:lnTo>
                      <a:pt x="2291" y="1069"/>
                    </a:lnTo>
                    <a:lnTo>
                      <a:pt x="2297" y="1074"/>
                    </a:lnTo>
                    <a:lnTo>
                      <a:pt x="2303" y="1078"/>
                    </a:lnTo>
                    <a:lnTo>
                      <a:pt x="2328" y="1094"/>
                    </a:lnTo>
                    <a:lnTo>
                      <a:pt x="2352" y="1110"/>
                    </a:lnTo>
                    <a:lnTo>
                      <a:pt x="2375" y="1128"/>
                    </a:lnTo>
                    <a:lnTo>
                      <a:pt x="2396" y="1145"/>
                    </a:lnTo>
                    <a:lnTo>
                      <a:pt x="2417" y="1163"/>
                    </a:lnTo>
                    <a:lnTo>
                      <a:pt x="2436" y="1180"/>
                    </a:lnTo>
                    <a:lnTo>
                      <a:pt x="2454" y="1199"/>
                    </a:lnTo>
                    <a:lnTo>
                      <a:pt x="2473" y="1217"/>
                    </a:lnTo>
                    <a:lnTo>
                      <a:pt x="2485" y="1229"/>
                    </a:lnTo>
                    <a:lnTo>
                      <a:pt x="2494" y="1241"/>
                    </a:lnTo>
                    <a:lnTo>
                      <a:pt x="2504" y="1252"/>
                    </a:lnTo>
                    <a:lnTo>
                      <a:pt x="2512" y="1261"/>
                    </a:lnTo>
                    <a:lnTo>
                      <a:pt x="2523" y="1274"/>
                    </a:lnTo>
                    <a:lnTo>
                      <a:pt x="2530" y="1283"/>
                    </a:lnTo>
                    <a:lnTo>
                      <a:pt x="2534" y="1283"/>
                    </a:lnTo>
                    <a:lnTo>
                      <a:pt x="2539" y="1285"/>
                    </a:lnTo>
                    <a:lnTo>
                      <a:pt x="2541" y="1288"/>
                    </a:lnTo>
                    <a:lnTo>
                      <a:pt x="2543" y="1292"/>
                    </a:lnTo>
                    <a:lnTo>
                      <a:pt x="2544" y="1297"/>
                    </a:lnTo>
                    <a:lnTo>
                      <a:pt x="2543" y="1302"/>
                    </a:lnTo>
                    <a:lnTo>
                      <a:pt x="2540" y="1307"/>
                    </a:lnTo>
                    <a:lnTo>
                      <a:pt x="2534" y="1309"/>
                    </a:lnTo>
                    <a:lnTo>
                      <a:pt x="2531" y="1310"/>
                    </a:lnTo>
                    <a:lnTo>
                      <a:pt x="2529" y="1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7"/>
              <p:cNvSpPr>
                <a:spLocks/>
              </p:cNvSpPr>
              <p:nvPr userDrawn="1"/>
            </p:nvSpPr>
            <p:spPr bwMode="auto">
              <a:xfrm>
                <a:off x="1927" y="1375"/>
                <a:ext cx="856" cy="439"/>
              </a:xfrm>
              <a:custGeom>
                <a:avLst/>
                <a:gdLst>
                  <a:gd name="T0" fmla="*/ 2530 w 2568"/>
                  <a:gd name="T1" fmla="*/ 1310 h 1317"/>
                  <a:gd name="T2" fmla="*/ 2481 w 2568"/>
                  <a:gd name="T3" fmla="*/ 1265 h 1317"/>
                  <a:gd name="T4" fmla="*/ 2410 w 2568"/>
                  <a:gd name="T5" fmla="*/ 1206 h 1317"/>
                  <a:gd name="T6" fmla="*/ 2299 w 2568"/>
                  <a:gd name="T7" fmla="*/ 1132 h 1317"/>
                  <a:gd name="T8" fmla="*/ 2259 w 2568"/>
                  <a:gd name="T9" fmla="*/ 1096 h 1317"/>
                  <a:gd name="T10" fmla="*/ 2218 w 2568"/>
                  <a:gd name="T11" fmla="*/ 1012 h 1317"/>
                  <a:gd name="T12" fmla="*/ 2180 w 2568"/>
                  <a:gd name="T13" fmla="*/ 929 h 1317"/>
                  <a:gd name="T14" fmla="*/ 2136 w 2568"/>
                  <a:gd name="T15" fmla="*/ 876 h 1317"/>
                  <a:gd name="T16" fmla="*/ 2068 w 2568"/>
                  <a:gd name="T17" fmla="*/ 836 h 1317"/>
                  <a:gd name="T18" fmla="*/ 1990 w 2568"/>
                  <a:gd name="T19" fmla="*/ 817 h 1317"/>
                  <a:gd name="T20" fmla="*/ 1894 w 2568"/>
                  <a:gd name="T21" fmla="*/ 817 h 1317"/>
                  <a:gd name="T22" fmla="*/ 1777 w 2568"/>
                  <a:gd name="T23" fmla="*/ 836 h 1317"/>
                  <a:gd name="T24" fmla="*/ 1624 w 2568"/>
                  <a:gd name="T25" fmla="*/ 879 h 1317"/>
                  <a:gd name="T26" fmla="*/ 1442 w 2568"/>
                  <a:gd name="T27" fmla="*/ 943 h 1317"/>
                  <a:gd name="T28" fmla="*/ 1174 w 2568"/>
                  <a:gd name="T29" fmla="*/ 1021 h 1317"/>
                  <a:gd name="T30" fmla="*/ 995 w 2568"/>
                  <a:gd name="T31" fmla="*/ 1050 h 1317"/>
                  <a:gd name="T32" fmla="*/ 835 w 2568"/>
                  <a:gd name="T33" fmla="*/ 1055 h 1317"/>
                  <a:gd name="T34" fmla="*/ 668 w 2568"/>
                  <a:gd name="T35" fmla="*/ 1038 h 1317"/>
                  <a:gd name="T36" fmla="*/ 544 w 2568"/>
                  <a:gd name="T37" fmla="*/ 1003 h 1317"/>
                  <a:gd name="T38" fmla="*/ 457 w 2568"/>
                  <a:gd name="T39" fmla="*/ 950 h 1317"/>
                  <a:gd name="T40" fmla="*/ 376 w 2568"/>
                  <a:gd name="T41" fmla="*/ 876 h 1317"/>
                  <a:gd name="T42" fmla="*/ 273 w 2568"/>
                  <a:gd name="T43" fmla="*/ 745 h 1317"/>
                  <a:gd name="T44" fmla="*/ 146 w 2568"/>
                  <a:gd name="T45" fmla="*/ 536 h 1317"/>
                  <a:gd name="T46" fmla="*/ 51 w 2568"/>
                  <a:gd name="T47" fmla="*/ 337 h 1317"/>
                  <a:gd name="T48" fmla="*/ 5 w 2568"/>
                  <a:gd name="T49" fmla="*/ 168 h 1317"/>
                  <a:gd name="T50" fmla="*/ 3 w 2568"/>
                  <a:gd name="T51" fmla="*/ 63 h 1317"/>
                  <a:gd name="T52" fmla="*/ 21 w 2568"/>
                  <a:gd name="T53" fmla="*/ 13 h 1317"/>
                  <a:gd name="T54" fmla="*/ 45 w 2568"/>
                  <a:gd name="T55" fmla="*/ 3 h 1317"/>
                  <a:gd name="T56" fmla="*/ 43 w 2568"/>
                  <a:gd name="T57" fmla="*/ 29 h 1317"/>
                  <a:gd name="T58" fmla="*/ 29 w 2568"/>
                  <a:gd name="T59" fmla="*/ 73 h 1317"/>
                  <a:gd name="T60" fmla="*/ 33 w 2568"/>
                  <a:gd name="T61" fmla="*/ 172 h 1317"/>
                  <a:gd name="T62" fmla="*/ 79 w 2568"/>
                  <a:gd name="T63" fmla="*/ 334 h 1317"/>
                  <a:gd name="T64" fmla="*/ 170 w 2568"/>
                  <a:gd name="T65" fmla="*/ 523 h 1317"/>
                  <a:gd name="T66" fmla="*/ 293 w 2568"/>
                  <a:gd name="T67" fmla="*/ 727 h 1317"/>
                  <a:gd name="T68" fmla="*/ 393 w 2568"/>
                  <a:gd name="T69" fmla="*/ 854 h 1317"/>
                  <a:gd name="T70" fmla="*/ 471 w 2568"/>
                  <a:gd name="T71" fmla="*/ 927 h 1317"/>
                  <a:gd name="T72" fmla="*/ 553 w 2568"/>
                  <a:gd name="T73" fmla="*/ 978 h 1317"/>
                  <a:gd name="T74" fmla="*/ 673 w 2568"/>
                  <a:gd name="T75" fmla="*/ 1011 h 1317"/>
                  <a:gd name="T76" fmla="*/ 837 w 2568"/>
                  <a:gd name="T77" fmla="*/ 1028 h 1317"/>
                  <a:gd name="T78" fmla="*/ 994 w 2568"/>
                  <a:gd name="T79" fmla="*/ 1023 h 1317"/>
                  <a:gd name="T80" fmla="*/ 1171 w 2568"/>
                  <a:gd name="T81" fmla="*/ 995 h 1317"/>
                  <a:gd name="T82" fmla="*/ 1434 w 2568"/>
                  <a:gd name="T83" fmla="*/ 917 h 1317"/>
                  <a:gd name="T84" fmla="*/ 1617 w 2568"/>
                  <a:gd name="T85" fmla="*/ 853 h 1317"/>
                  <a:gd name="T86" fmla="*/ 1771 w 2568"/>
                  <a:gd name="T87" fmla="*/ 809 h 1317"/>
                  <a:gd name="T88" fmla="*/ 1894 w 2568"/>
                  <a:gd name="T89" fmla="*/ 790 h 1317"/>
                  <a:gd name="T90" fmla="*/ 1995 w 2568"/>
                  <a:gd name="T91" fmla="*/ 790 h 1317"/>
                  <a:gd name="T92" fmla="*/ 2079 w 2568"/>
                  <a:gd name="T93" fmla="*/ 811 h 1317"/>
                  <a:gd name="T94" fmla="*/ 2153 w 2568"/>
                  <a:gd name="T95" fmla="*/ 855 h 1317"/>
                  <a:gd name="T96" fmla="*/ 2203 w 2568"/>
                  <a:gd name="T97" fmla="*/ 915 h 1317"/>
                  <a:gd name="T98" fmla="*/ 2243 w 2568"/>
                  <a:gd name="T99" fmla="*/ 1002 h 1317"/>
                  <a:gd name="T100" fmla="*/ 2280 w 2568"/>
                  <a:gd name="T101" fmla="*/ 1078 h 1317"/>
                  <a:gd name="T102" fmla="*/ 2312 w 2568"/>
                  <a:gd name="T103" fmla="*/ 1108 h 1317"/>
                  <a:gd name="T104" fmla="*/ 2427 w 2568"/>
                  <a:gd name="T105" fmla="*/ 1185 h 1317"/>
                  <a:gd name="T106" fmla="*/ 2498 w 2568"/>
                  <a:gd name="T107" fmla="*/ 1244 h 1317"/>
                  <a:gd name="T108" fmla="*/ 2552 w 2568"/>
                  <a:gd name="T109" fmla="*/ 1290 h 1317"/>
                  <a:gd name="T110" fmla="*/ 2568 w 2568"/>
                  <a:gd name="T111" fmla="*/ 1302 h 1317"/>
                  <a:gd name="T112" fmla="*/ 2557 w 2568"/>
                  <a:gd name="T113" fmla="*/ 1316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68" h="1317">
                    <a:moveTo>
                      <a:pt x="2551" y="1317"/>
                    </a:moveTo>
                    <a:lnTo>
                      <a:pt x="2545" y="1317"/>
                    </a:lnTo>
                    <a:lnTo>
                      <a:pt x="2541" y="1315"/>
                    </a:lnTo>
                    <a:lnTo>
                      <a:pt x="2536" y="1313"/>
                    </a:lnTo>
                    <a:lnTo>
                      <a:pt x="2530" y="1310"/>
                    </a:lnTo>
                    <a:lnTo>
                      <a:pt x="2519" y="1300"/>
                    </a:lnTo>
                    <a:lnTo>
                      <a:pt x="2506" y="1288"/>
                    </a:lnTo>
                    <a:lnTo>
                      <a:pt x="2499" y="1281"/>
                    </a:lnTo>
                    <a:lnTo>
                      <a:pt x="2490" y="1272"/>
                    </a:lnTo>
                    <a:lnTo>
                      <a:pt x="2481" y="1265"/>
                    </a:lnTo>
                    <a:lnTo>
                      <a:pt x="2470" y="1255"/>
                    </a:lnTo>
                    <a:lnTo>
                      <a:pt x="2462" y="1248"/>
                    </a:lnTo>
                    <a:lnTo>
                      <a:pt x="2446" y="1235"/>
                    </a:lnTo>
                    <a:lnTo>
                      <a:pt x="2429" y="1220"/>
                    </a:lnTo>
                    <a:lnTo>
                      <a:pt x="2410" y="1206"/>
                    </a:lnTo>
                    <a:lnTo>
                      <a:pt x="2390" y="1191"/>
                    </a:lnTo>
                    <a:lnTo>
                      <a:pt x="2369" y="1176"/>
                    </a:lnTo>
                    <a:lnTo>
                      <a:pt x="2347" y="1161"/>
                    </a:lnTo>
                    <a:lnTo>
                      <a:pt x="2324" y="1146"/>
                    </a:lnTo>
                    <a:lnTo>
                      <a:pt x="2299" y="1132"/>
                    </a:lnTo>
                    <a:lnTo>
                      <a:pt x="2292" y="1126"/>
                    </a:lnTo>
                    <a:lnTo>
                      <a:pt x="2284" y="1121"/>
                    </a:lnTo>
                    <a:lnTo>
                      <a:pt x="2276" y="1116"/>
                    </a:lnTo>
                    <a:lnTo>
                      <a:pt x="2270" y="1109"/>
                    </a:lnTo>
                    <a:lnTo>
                      <a:pt x="2259" y="1096"/>
                    </a:lnTo>
                    <a:lnTo>
                      <a:pt x="2249" y="1081"/>
                    </a:lnTo>
                    <a:lnTo>
                      <a:pt x="2241" y="1065"/>
                    </a:lnTo>
                    <a:lnTo>
                      <a:pt x="2232" y="1048"/>
                    </a:lnTo>
                    <a:lnTo>
                      <a:pt x="2226" y="1030"/>
                    </a:lnTo>
                    <a:lnTo>
                      <a:pt x="2218" y="1012"/>
                    </a:lnTo>
                    <a:lnTo>
                      <a:pt x="2208" y="988"/>
                    </a:lnTo>
                    <a:lnTo>
                      <a:pt x="2199" y="964"/>
                    </a:lnTo>
                    <a:lnTo>
                      <a:pt x="2193" y="953"/>
                    </a:lnTo>
                    <a:lnTo>
                      <a:pt x="2187" y="941"/>
                    </a:lnTo>
                    <a:lnTo>
                      <a:pt x="2180" y="929"/>
                    </a:lnTo>
                    <a:lnTo>
                      <a:pt x="2173" y="918"/>
                    </a:lnTo>
                    <a:lnTo>
                      <a:pt x="2165" y="907"/>
                    </a:lnTo>
                    <a:lnTo>
                      <a:pt x="2157" y="896"/>
                    </a:lnTo>
                    <a:lnTo>
                      <a:pt x="2147" y="887"/>
                    </a:lnTo>
                    <a:lnTo>
                      <a:pt x="2136" y="876"/>
                    </a:lnTo>
                    <a:lnTo>
                      <a:pt x="2124" y="867"/>
                    </a:lnTo>
                    <a:lnTo>
                      <a:pt x="2111" y="858"/>
                    </a:lnTo>
                    <a:lnTo>
                      <a:pt x="2097" y="850"/>
                    </a:lnTo>
                    <a:lnTo>
                      <a:pt x="2082" y="841"/>
                    </a:lnTo>
                    <a:lnTo>
                      <a:pt x="2068" y="836"/>
                    </a:lnTo>
                    <a:lnTo>
                      <a:pt x="2054" y="831"/>
                    </a:lnTo>
                    <a:lnTo>
                      <a:pt x="2039" y="825"/>
                    </a:lnTo>
                    <a:lnTo>
                      <a:pt x="2023" y="822"/>
                    </a:lnTo>
                    <a:lnTo>
                      <a:pt x="2007" y="819"/>
                    </a:lnTo>
                    <a:lnTo>
                      <a:pt x="1990" y="817"/>
                    </a:lnTo>
                    <a:lnTo>
                      <a:pt x="1972" y="815"/>
                    </a:lnTo>
                    <a:lnTo>
                      <a:pt x="1954" y="814"/>
                    </a:lnTo>
                    <a:lnTo>
                      <a:pt x="1935" y="814"/>
                    </a:lnTo>
                    <a:lnTo>
                      <a:pt x="1915" y="815"/>
                    </a:lnTo>
                    <a:lnTo>
                      <a:pt x="1894" y="817"/>
                    </a:lnTo>
                    <a:lnTo>
                      <a:pt x="1873" y="819"/>
                    </a:lnTo>
                    <a:lnTo>
                      <a:pt x="1850" y="822"/>
                    </a:lnTo>
                    <a:lnTo>
                      <a:pt x="1826" y="826"/>
                    </a:lnTo>
                    <a:lnTo>
                      <a:pt x="1802" y="831"/>
                    </a:lnTo>
                    <a:lnTo>
                      <a:pt x="1777" y="836"/>
                    </a:lnTo>
                    <a:lnTo>
                      <a:pt x="1746" y="842"/>
                    </a:lnTo>
                    <a:lnTo>
                      <a:pt x="1716" y="851"/>
                    </a:lnTo>
                    <a:lnTo>
                      <a:pt x="1686" y="860"/>
                    </a:lnTo>
                    <a:lnTo>
                      <a:pt x="1655" y="869"/>
                    </a:lnTo>
                    <a:lnTo>
                      <a:pt x="1624" y="879"/>
                    </a:lnTo>
                    <a:lnTo>
                      <a:pt x="1595" y="889"/>
                    </a:lnTo>
                    <a:lnTo>
                      <a:pt x="1565" y="900"/>
                    </a:lnTo>
                    <a:lnTo>
                      <a:pt x="1536" y="909"/>
                    </a:lnTo>
                    <a:lnTo>
                      <a:pt x="1489" y="927"/>
                    </a:lnTo>
                    <a:lnTo>
                      <a:pt x="1442" y="943"/>
                    </a:lnTo>
                    <a:lnTo>
                      <a:pt x="1392" y="960"/>
                    </a:lnTo>
                    <a:lnTo>
                      <a:pt x="1340" y="976"/>
                    </a:lnTo>
                    <a:lnTo>
                      <a:pt x="1286" y="993"/>
                    </a:lnTo>
                    <a:lnTo>
                      <a:pt x="1231" y="1008"/>
                    </a:lnTo>
                    <a:lnTo>
                      <a:pt x="1174" y="1021"/>
                    </a:lnTo>
                    <a:lnTo>
                      <a:pt x="1116" y="1032"/>
                    </a:lnTo>
                    <a:lnTo>
                      <a:pt x="1087" y="1038"/>
                    </a:lnTo>
                    <a:lnTo>
                      <a:pt x="1056" y="1042"/>
                    </a:lnTo>
                    <a:lnTo>
                      <a:pt x="1025" y="1046"/>
                    </a:lnTo>
                    <a:lnTo>
                      <a:pt x="995" y="1050"/>
                    </a:lnTo>
                    <a:lnTo>
                      <a:pt x="963" y="1053"/>
                    </a:lnTo>
                    <a:lnTo>
                      <a:pt x="931" y="1054"/>
                    </a:lnTo>
                    <a:lnTo>
                      <a:pt x="900" y="1055"/>
                    </a:lnTo>
                    <a:lnTo>
                      <a:pt x="867" y="1056"/>
                    </a:lnTo>
                    <a:lnTo>
                      <a:pt x="835" y="1055"/>
                    </a:lnTo>
                    <a:lnTo>
                      <a:pt x="803" y="1054"/>
                    </a:lnTo>
                    <a:lnTo>
                      <a:pt x="769" y="1051"/>
                    </a:lnTo>
                    <a:lnTo>
                      <a:pt x="736" y="1048"/>
                    </a:lnTo>
                    <a:lnTo>
                      <a:pt x="702" y="1043"/>
                    </a:lnTo>
                    <a:lnTo>
                      <a:pt x="668" y="1038"/>
                    </a:lnTo>
                    <a:lnTo>
                      <a:pt x="633" y="1030"/>
                    </a:lnTo>
                    <a:lnTo>
                      <a:pt x="600" y="1023"/>
                    </a:lnTo>
                    <a:lnTo>
                      <a:pt x="580" y="1017"/>
                    </a:lnTo>
                    <a:lnTo>
                      <a:pt x="562" y="1011"/>
                    </a:lnTo>
                    <a:lnTo>
                      <a:pt x="544" y="1003"/>
                    </a:lnTo>
                    <a:lnTo>
                      <a:pt x="526" y="995"/>
                    </a:lnTo>
                    <a:lnTo>
                      <a:pt x="509" y="985"/>
                    </a:lnTo>
                    <a:lnTo>
                      <a:pt x="492" y="975"/>
                    </a:lnTo>
                    <a:lnTo>
                      <a:pt x="474" y="963"/>
                    </a:lnTo>
                    <a:lnTo>
                      <a:pt x="457" y="950"/>
                    </a:lnTo>
                    <a:lnTo>
                      <a:pt x="441" y="937"/>
                    </a:lnTo>
                    <a:lnTo>
                      <a:pt x="425" y="923"/>
                    </a:lnTo>
                    <a:lnTo>
                      <a:pt x="408" y="908"/>
                    </a:lnTo>
                    <a:lnTo>
                      <a:pt x="392" y="892"/>
                    </a:lnTo>
                    <a:lnTo>
                      <a:pt x="376" y="876"/>
                    </a:lnTo>
                    <a:lnTo>
                      <a:pt x="361" y="859"/>
                    </a:lnTo>
                    <a:lnTo>
                      <a:pt x="346" y="841"/>
                    </a:lnTo>
                    <a:lnTo>
                      <a:pt x="331" y="823"/>
                    </a:lnTo>
                    <a:lnTo>
                      <a:pt x="302" y="785"/>
                    </a:lnTo>
                    <a:lnTo>
                      <a:pt x="273" y="745"/>
                    </a:lnTo>
                    <a:lnTo>
                      <a:pt x="245" y="705"/>
                    </a:lnTo>
                    <a:lnTo>
                      <a:pt x="219" y="663"/>
                    </a:lnTo>
                    <a:lnTo>
                      <a:pt x="194" y="621"/>
                    </a:lnTo>
                    <a:lnTo>
                      <a:pt x="170" y="579"/>
                    </a:lnTo>
                    <a:lnTo>
                      <a:pt x="146" y="536"/>
                    </a:lnTo>
                    <a:lnTo>
                      <a:pt x="123" y="495"/>
                    </a:lnTo>
                    <a:lnTo>
                      <a:pt x="103" y="454"/>
                    </a:lnTo>
                    <a:lnTo>
                      <a:pt x="83" y="414"/>
                    </a:lnTo>
                    <a:lnTo>
                      <a:pt x="66" y="375"/>
                    </a:lnTo>
                    <a:lnTo>
                      <a:pt x="51" y="337"/>
                    </a:lnTo>
                    <a:lnTo>
                      <a:pt x="38" y="301"/>
                    </a:lnTo>
                    <a:lnTo>
                      <a:pt x="26" y="265"/>
                    </a:lnTo>
                    <a:lnTo>
                      <a:pt x="18" y="231"/>
                    </a:lnTo>
                    <a:lnTo>
                      <a:pt x="10" y="199"/>
                    </a:lnTo>
                    <a:lnTo>
                      <a:pt x="5" y="168"/>
                    </a:lnTo>
                    <a:lnTo>
                      <a:pt x="1" y="139"/>
                    </a:lnTo>
                    <a:lnTo>
                      <a:pt x="0" y="112"/>
                    </a:lnTo>
                    <a:lnTo>
                      <a:pt x="1" y="86"/>
                    </a:lnTo>
                    <a:lnTo>
                      <a:pt x="2" y="74"/>
                    </a:lnTo>
                    <a:lnTo>
                      <a:pt x="3" y="63"/>
                    </a:lnTo>
                    <a:lnTo>
                      <a:pt x="6" y="52"/>
                    </a:lnTo>
                    <a:lnTo>
                      <a:pt x="9" y="41"/>
                    </a:lnTo>
                    <a:lnTo>
                      <a:pt x="12" y="32"/>
                    </a:lnTo>
                    <a:lnTo>
                      <a:pt x="16" y="22"/>
                    </a:lnTo>
                    <a:lnTo>
                      <a:pt x="21" y="13"/>
                    </a:lnTo>
                    <a:lnTo>
                      <a:pt x="25" y="6"/>
                    </a:lnTo>
                    <a:lnTo>
                      <a:pt x="29" y="3"/>
                    </a:lnTo>
                    <a:lnTo>
                      <a:pt x="35" y="0"/>
                    </a:lnTo>
                    <a:lnTo>
                      <a:pt x="39" y="0"/>
                    </a:lnTo>
                    <a:lnTo>
                      <a:pt x="45" y="3"/>
                    </a:lnTo>
                    <a:lnTo>
                      <a:pt x="48" y="6"/>
                    </a:lnTo>
                    <a:lnTo>
                      <a:pt x="50" y="11"/>
                    </a:lnTo>
                    <a:lnTo>
                      <a:pt x="50" y="17"/>
                    </a:lnTo>
                    <a:lnTo>
                      <a:pt x="48" y="21"/>
                    </a:lnTo>
                    <a:lnTo>
                      <a:pt x="43" y="29"/>
                    </a:lnTo>
                    <a:lnTo>
                      <a:pt x="40" y="36"/>
                    </a:lnTo>
                    <a:lnTo>
                      <a:pt x="37" y="45"/>
                    </a:lnTo>
                    <a:lnTo>
                      <a:pt x="34" y="53"/>
                    </a:lnTo>
                    <a:lnTo>
                      <a:pt x="32" y="63"/>
                    </a:lnTo>
                    <a:lnTo>
                      <a:pt x="29" y="73"/>
                    </a:lnTo>
                    <a:lnTo>
                      <a:pt x="28" y="84"/>
                    </a:lnTo>
                    <a:lnTo>
                      <a:pt x="27" y="94"/>
                    </a:lnTo>
                    <a:lnTo>
                      <a:pt x="27" y="118"/>
                    </a:lnTo>
                    <a:lnTo>
                      <a:pt x="29" y="144"/>
                    </a:lnTo>
                    <a:lnTo>
                      <a:pt x="33" y="172"/>
                    </a:lnTo>
                    <a:lnTo>
                      <a:pt x="39" y="201"/>
                    </a:lnTo>
                    <a:lnTo>
                      <a:pt x="46" y="233"/>
                    </a:lnTo>
                    <a:lnTo>
                      <a:pt x="55" y="265"/>
                    </a:lnTo>
                    <a:lnTo>
                      <a:pt x="66" y="299"/>
                    </a:lnTo>
                    <a:lnTo>
                      <a:pt x="79" y="334"/>
                    </a:lnTo>
                    <a:lnTo>
                      <a:pt x="94" y="370"/>
                    </a:lnTo>
                    <a:lnTo>
                      <a:pt x="110" y="406"/>
                    </a:lnTo>
                    <a:lnTo>
                      <a:pt x="128" y="444"/>
                    </a:lnTo>
                    <a:lnTo>
                      <a:pt x="147" y="482"/>
                    </a:lnTo>
                    <a:lnTo>
                      <a:pt x="170" y="523"/>
                    </a:lnTo>
                    <a:lnTo>
                      <a:pt x="192" y="564"/>
                    </a:lnTo>
                    <a:lnTo>
                      <a:pt x="216" y="605"/>
                    </a:lnTo>
                    <a:lnTo>
                      <a:pt x="241" y="647"/>
                    </a:lnTo>
                    <a:lnTo>
                      <a:pt x="267" y="687"/>
                    </a:lnTo>
                    <a:lnTo>
                      <a:pt x="293" y="727"/>
                    </a:lnTo>
                    <a:lnTo>
                      <a:pt x="321" y="766"/>
                    </a:lnTo>
                    <a:lnTo>
                      <a:pt x="349" y="803"/>
                    </a:lnTo>
                    <a:lnTo>
                      <a:pt x="363" y="820"/>
                    </a:lnTo>
                    <a:lnTo>
                      <a:pt x="378" y="837"/>
                    </a:lnTo>
                    <a:lnTo>
                      <a:pt x="393" y="854"/>
                    </a:lnTo>
                    <a:lnTo>
                      <a:pt x="408" y="871"/>
                    </a:lnTo>
                    <a:lnTo>
                      <a:pt x="424" y="886"/>
                    </a:lnTo>
                    <a:lnTo>
                      <a:pt x="439" y="900"/>
                    </a:lnTo>
                    <a:lnTo>
                      <a:pt x="455" y="914"/>
                    </a:lnTo>
                    <a:lnTo>
                      <a:pt x="471" y="927"/>
                    </a:lnTo>
                    <a:lnTo>
                      <a:pt x="487" y="939"/>
                    </a:lnTo>
                    <a:lnTo>
                      <a:pt x="503" y="950"/>
                    </a:lnTo>
                    <a:lnTo>
                      <a:pt x="520" y="960"/>
                    </a:lnTo>
                    <a:lnTo>
                      <a:pt x="537" y="970"/>
                    </a:lnTo>
                    <a:lnTo>
                      <a:pt x="553" y="978"/>
                    </a:lnTo>
                    <a:lnTo>
                      <a:pt x="570" y="986"/>
                    </a:lnTo>
                    <a:lnTo>
                      <a:pt x="588" y="991"/>
                    </a:lnTo>
                    <a:lnTo>
                      <a:pt x="606" y="997"/>
                    </a:lnTo>
                    <a:lnTo>
                      <a:pt x="639" y="1004"/>
                    </a:lnTo>
                    <a:lnTo>
                      <a:pt x="673" y="1011"/>
                    </a:lnTo>
                    <a:lnTo>
                      <a:pt x="706" y="1016"/>
                    </a:lnTo>
                    <a:lnTo>
                      <a:pt x="739" y="1021"/>
                    </a:lnTo>
                    <a:lnTo>
                      <a:pt x="772" y="1024"/>
                    </a:lnTo>
                    <a:lnTo>
                      <a:pt x="805" y="1027"/>
                    </a:lnTo>
                    <a:lnTo>
                      <a:pt x="837" y="1028"/>
                    </a:lnTo>
                    <a:lnTo>
                      <a:pt x="868" y="1028"/>
                    </a:lnTo>
                    <a:lnTo>
                      <a:pt x="901" y="1028"/>
                    </a:lnTo>
                    <a:lnTo>
                      <a:pt x="932" y="1027"/>
                    </a:lnTo>
                    <a:lnTo>
                      <a:pt x="962" y="1025"/>
                    </a:lnTo>
                    <a:lnTo>
                      <a:pt x="994" y="1023"/>
                    </a:lnTo>
                    <a:lnTo>
                      <a:pt x="1024" y="1019"/>
                    </a:lnTo>
                    <a:lnTo>
                      <a:pt x="1054" y="1015"/>
                    </a:lnTo>
                    <a:lnTo>
                      <a:pt x="1083" y="1011"/>
                    </a:lnTo>
                    <a:lnTo>
                      <a:pt x="1112" y="1005"/>
                    </a:lnTo>
                    <a:lnTo>
                      <a:pt x="1171" y="995"/>
                    </a:lnTo>
                    <a:lnTo>
                      <a:pt x="1227" y="981"/>
                    </a:lnTo>
                    <a:lnTo>
                      <a:pt x="1281" y="966"/>
                    </a:lnTo>
                    <a:lnTo>
                      <a:pt x="1334" y="950"/>
                    </a:lnTo>
                    <a:lnTo>
                      <a:pt x="1385" y="934"/>
                    </a:lnTo>
                    <a:lnTo>
                      <a:pt x="1434" y="917"/>
                    </a:lnTo>
                    <a:lnTo>
                      <a:pt x="1482" y="901"/>
                    </a:lnTo>
                    <a:lnTo>
                      <a:pt x="1527" y="885"/>
                    </a:lnTo>
                    <a:lnTo>
                      <a:pt x="1556" y="874"/>
                    </a:lnTo>
                    <a:lnTo>
                      <a:pt x="1586" y="863"/>
                    </a:lnTo>
                    <a:lnTo>
                      <a:pt x="1617" y="853"/>
                    </a:lnTo>
                    <a:lnTo>
                      <a:pt x="1647" y="844"/>
                    </a:lnTo>
                    <a:lnTo>
                      <a:pt x="1678" y="834"/>
                    </a:lnTo>
                    <a:lnTo>
                      <a:pt x="1708" y="825"/>
                    </a:lnTo>
                    <a:lnTo>
                      <a:pt x="1740" y="817"/>
                    </a:lnTo>
                    <a:lnTo>
                      <a:pt x="1771" y="809"/>
                    </a:lnTo>
                    <a:lnTo>
                      <a:pt x="1797" y="804"/>
                    </a:lnTo>
                    <a:lnTo>
                      <a:pt x="1823" y="799"/>
                    </a:lnTo>
                    <a:lnTo>
                      <a:pt x="1848" y="795"/>
                    </a:lnTo>
                    <a:lnTo>
                      <a:pt x="1872" y="792"/>
                    </a:lnTo>
                    <a:lnTo>
                      <a:pt x="1894" y="790"/>
                    </a:lnTo>
                    <a:lnTo>
                      <a:pt x="1916" y="788"/>
                    </a:lnTo>
                    <a:lnTo>
                      <a:pt x="1936" y="787"/>
                    </a:lnTo>
                    <a:lnTo>
                      <a:pt x="1957" y="787"/>
                    </a:lnTo>
                    <a:lnTo>
                      <a:pt x="1976" y="788"/>
                    </a:lnTo>
                    <a:lnTo>
                      <a:pt x="1995" y="790"/>
                    </a:lnTo>
                    <a:lnTo>
                      <a:pt x="2013" y="793"/>
                    </a:lnTo>
                    <a:lnTo>
                      <a:pt x="2030" y="796"/>
                    </a:lnTo>
                    <a:lnTo>
                      <a:pt x="2048" y="800"/>
                    </a:lnTo>
                    <a:lnTo>
                      <a:pt x="2064" y="805"/>
                    </a:lnTo>
                    <a:lnTo>
                      <a:pt x="2079" y="811"/>
                    </a:lnTo>
                    <a:lnTo>
                      <a:pt x="2094" y="818"/>
                    </a:lnTo>
                    <a:lnTo>
                      <a:pt x="2111" y="826"/>
                    </a:lnTo>
                    <a:lnTo>
                      <a:pt x="2126" y="835"/>
                    </a:lnTo>
                    <a:lnTo>
                      <a:pt x="2140" y="846"/>
                    </a:lnTo>
                    <a:lnTo>
                      <a:pt x="2153" y="855"/>
                    </a:lnTo>
                    <a:lnTo>
                      <a:pt x="2165" y="867"/>
                    </a:lnTo>
                    <a:lnTo>
                      <a:pt x="2176" y="878"/>
                    </a:lnTo>
                    <a:lnTo>
                      <a:pt x="2186" y="890"/>
                    </a:lnTo>
                    <a:lnTo>
                      <a:pt x="2194" y="902"/>
                    </a:lnTo>
                    <a:lnTo>
                      <a:pt x="2203" y="915"/>
                    </a:lnTo>
                    <a:lnTo>
                      <a:pt x="2210" y="927"/>
                    </a:lnTo>
                    <a:lnTo>
                      <a:pt x="2217" y="940"/>
                    </a:lnTo>
                    <a:lnTo>
                      <a:pt x="2222" y="951"/>
                    </a:lnTo>
                    <a:lnTo>
                      <a:pt x="2233" y="977"/>
                    </a:lnTo>
                    <a:lnTo>
                      <a:pt x="2243" y="1002"/>
                    </a:lnTo>
                    <a:lnTo>
                      <a:pt x="2249" y="1019"/>
                    </a:lnTo>
                    <a:lnTo>
                      <a:pt x="2257" y="1036"/>
                    </a:lnTo>
                    <a:lnTo>
                      <a:pt x="2264" y="1051"/>
                    </a:lnTo>
                    <a:lnTo>
                      <a:pt x="2271" y="1065"/>
                    </a:lnTo>
                    <a:lnTo>
                      <a:pt x="2280" y="1078"/>
                    </a:lnTo>
                    <a:lnTo>
                      <a:pt x="2289" y="1090"/>
                    </a:lnTo>
                    <a:lnTo>
                      <a:pt x="2294" y="1094"/>
                    </a:lnTo>
                    <a:lnTo>
                      <a:pt x="2300" y="1099"/>
                    </a:lnTo>
                    <a:lnTo>
                      <a:pt x="2306" y="1104"/>
                    </a:lnTo>
                    <a:lnTo>
                      <a:pt x="2312" y="1108"/>
                    </a:lnTo>
                    <a:lnTo>
                      <a:pt x="2338" y="1122"/>
                    </a:lnTo>
                    <a:lnTo>
                      <a:pt x="2362" y="1137"/>
                    </a:lnTo>
                    <a:lnTo>
                      <a:pt x="2384" y="1153"/>
                    </a:lnTo>
                    <a:lnTo>
                      <a:pt x="2406" y="1168"/>
                    </a:lnTo>
                    <a:lnTo>
                      <a:pt x="2427" y="1185"/>
                    </a:lnTo>
                    <a:lnTo>
                      <a:pt x="2445" y="1200"/>
                    </a:lnTo>
                    <a:lnTo>
                      <a:pt x="2463" y="1214"/>
                    </a:lnTo>
                    <a:lnTo>
                      <a:pt x="2479" y="1228"/>
                    </a:lnTo>
                    <a:lnTo>
                      <a:pt x="2487" y="1234"/>
                    </a:lnTo>
                    <a:lnTo>
                      <a:pt x="2498" y="1244"/>
                    </a:lnTo>
                    <a:lnTo>
                      <a:pt x="2508" y="1253"/>
                    </a:lnTo>
                    <a:lnTo>
                      <a:pt x="2517" y="1260"/>
                    </a:lnTo>
                    <a:lnTo>
                      <a:pt x="2525" y="1269"/>
                    </a:lnTo>
                    <a:lnTo>
                      <a:pt x="2540" y="1283"/>
                    </a:lnTo>
                    <a:lnTo>
                      <a:pt x="2552" y="1290"/>
                    </a:lnTo>
                    <a:lnTo>
                      <a:pt x="2556" y="1290"/>
                    </a:lnTo>
                    <a:lnTo>
                      <a:pt x="2562" y="1292"/>
                    </a:lnTo>
                    <a:lnTo>
                      <a:pt x="2565" y="1295"/>
                    </a:lnTo>
                    <a:lnTo>
                      <a:pt x="2567" y="1299"/>
                    </a:lnTo>
                    <a:lnTo>
                      <a:pt x="2568" y="1302"/>
                    </a:lnTo>
                    <a:lnTo>
                      <a:pt x="2568" y="1304"/>
                    </a:lnTo>
                    <a:lnTo>
                      <a:pt x="2567" y="1307"/>
                    </a:lnTo>
                    <a:lnTo>
                      <a:pt x="2566" y="1310"/>
                    </a:lnTo>
                    <a:lnTo>
                      <a:pt x="2563" y="1314"/>
                    </a:lnTo>
                    <a:lnTo>
                      <a:pt x="2557" y="1316"/>
                    </a:lnTo>
                    <a:lnTo>
                      <a:pt x="2554" y="1317"/>
                    </a:lnTo>
                    <a:lnTo>
                      <a:pt x="2551" y="13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8"/>
              <p:cNvSpPr>
                <a:spLocks/>
              </p:cNvSpPr>
              <p:nvPr userDrawn="1"/>
            </p:nvSpPr>
            <p:spPr bwMode="auto">
              <a:xfrm>
                <a:off x="1945" y="1347"/>
                <a:ext cx="864" cy="442"/>
              </a:xfrm>
              <a:custGeom>
                <a:avLst/>
                <a:gdLst>
                  <a:gd name="T0" fmla="*/ 2549 w 2590"/>
                  <a:gd name="T1" fmla="*/ 1316 h 1324"/>
                  <a:gd name="T2" fmla="*/ 2496 w 2590"/>
                  <a:gd name="T3" fmla="*/ 1280 h 1324"/>
                  <a:gd name="T4" fmla="*/ 2453 w 2590"/>
                  <a:gd name="T5" fmla="*/ 1250 h 1324"/>
                  <a:gd name="T6" fmla="*/ 2300 w 2590"/>
                  <a:gd name="T7" fmla="*/ 1155 h 1324"/>
                  <a:gd name="T8" fmla="*/ 2255 w 2590"/>
                  <a:gd name="T9" fmla="*/ 1113 h 1324"/>
                  <a:gd name="T10" fmla="*/ 2204 w 2590"/>
                  <a:gd name="T11" fmla="*/ 1030 h 1324"/>
                  <a:gd name="T12" fmla="*/ 2141 w 2590"/>
                  <a:gd name="T13" fmla="*/ 946 h 1324"/>
                  <a:gd name="T14" fmla="*/ 2078 w 2590"/>
                  <a:gd name="T15" fmla="*/ 902 h 1324"/>
                  <a:gd name="T16" fmla="*/ 2002 w 2590"/>
                  <a:gd name="T17" fmla="*/ 875 h 1324"/>
                  <a:gd name="T18" fmla="*/ 1914 w 2590"/>
                  <a:gd name="T19" fmla="*/ 866 h 1324"/>
                  <a:gd name="T20" fmla="*/ 1757 w 2590"/>
                  <a:gd name="T21" fmla="*/ 880 h 1324"/>
                  <a:gd name="T22" fmla="*/ 1602 w 2590"/>
                  <a:gd name="T23" fmla="*/ 915 h 1324"/>
                  <a:gd name="T24" fmla="*/ 1431 w 2590"/>
                  <a:gd name="T25" fmla="*/ 964 h 1324"/>
                  <a:gd name="T26" fmla="*/ 1170 w 2590"/>
                  <a:gd name="T27" fmla="*/ 1033 h 1324"/>
                  <a:gd name="T28" fmla="*/ 974 w 2590"/>
                  <a:gd name="T29" fmla="*/ 1063 h 1324"/>
                  <a:gd name="T30" fmla="*/ 828 w 2590"/>
                  <a:gd name="T31" fmla="*/ 1067 h 1324"/>
                  <a:gd name="T32" fmla="*/ 674 w 2590"/>
                  <a:gd name="T33" fmla="*/ 1053 h 1324"/>
                  <a:gd name="T34" fmla="*/ 551 w 2590"/>
                  <a:gd name="T35" fmla="*/ 1026 h 1324"/>
                  <a:gd name="T36" fmla="*/ 481 w 2590"/>
                  <a:gd name="T37" fmla="*/ 989 h 1324"/>
                  <a:gd name="T38" fmla="*/ 409 w 2590"/>
                  <a:gd name="T39" fmla="*/ 933 h 1324"/>
                  <a:gd name="T40" fmla="*/ 321 w 2590"/>
                  <a:gd name="T41" fmla="*/ 837 h 1324"/>
                  <a:gd name="T42" fmla="*/ 174 w 2590"/>
                  <a:gd name="T43" fmla="*/ 612 h 1324"/>
                  <a:gd name="T44" fmla="*/ 60 w 2590"/>
                  <a:gd name="T45" fmla="*/ 377 h 1324"/>
                  <a:gd name="T46" fmla="*/ 7 w 2590"/>
                  <a:gd name="T47" fmla="*/ 200 h 1324"/>
                  <a:gd name="T48" fmla="*/ 4 w 2590"/>
                  <a:gd name="T49" fmla="*/ 75 h 1324"/>
                  <a:gd name="T50" fmla="*/ 19 w 2590"/>
                  <a:gd name="T51" fmla="*/ 23 h 1324"/>
                  <a:gd name="T52" fmla="*/ 42 w 2590"/>
                  <a:gd name="T53" fmla="*/ 0 h 1324"/>
                  <a:gd name="T54" fmla="*/ 51 w 2590"/>
                  <a:gd name="T55" fmla="*/ 21 h 1324"/>
                  <a:gd name="T56" fmla="*/ 33 w 2590"/>
                  <a:gd name="T57" fmla="*/ 64 h 1324"/>
                  <a:gd name="T58" fmla="*/ 27 w 2590"/>
                  <a:gd name="T59" fmla="*/ 146 h 1324"/>
                  <a:gd name="T60" fmla="*/ 61 w 2590"/>
                  <a:gd name="T61" fmla="*/ 301 h 1324"/>
                  <a:gd name="T62" fmla="*/ 139 w 2590"/>
                  <a:gd name="T63" fmla="*/ 487 h 1324"/>
                  <a:gd name="T64" fmla="*/ 282 w 2590"/>
                  <a:gd name="T65" fmla="*/ 739 h 1324"/>
                  <a:gd name="T66" fmla="*/ 424 w 2590"/>
                  <a:gd name="T67" fmla="*/ 909 h 1324"/>
                  <a:gd name="T68" fmla="*/ 492 w 2590"/>
                  <a:gd name="T69" fmla="*/ 965 h 1324"/>
                  <a:gd name="T70" fmla="*/ 560 w 2590"/>
                  <a:gd name="T71" fmla="*/ 1000 h 1324"/>
                  <a:gd name="T72" fmla="*/ 680 w 2590"/>
                  <a:gd name="T73" fmla="*/ 1027 h 1324"/>
                  <a:gd name="T74" fmla="*/ 830 w 2590"/>
                  <a:gd name="T75" fmla="*/ 1040 h 1324"/>
                  <a:gd name="T76" fmla="*/ 973 w 2590"/>
                  <a:gd name="T77" fmla="*/ 1036 h 1324"/>
                  <a:gd name="T78" fmla="*/ 1167 w 2590"/>
                  <a:gd name="T79" fmla="*/ 1007 h 1324"/>
                  <a:gd name="T80" fmla="*/ 1424 w 2590"/>
                  <a:gd name="T81" fmla="*/ 938 h 1324"/>
                  <a:gd name="T82" fmla="*/ 1595 w 2590"/>
                  <a:gd name="T83" fmla="*/ 889 h 1324"/>
                  <a:gd name="T84" fmla="*/ 1752 w 2590"/>
                  <a:gd name="T85" fmla="*/ 853 h 1324"/>
                  <a:gd name="T86" fmla="*/ 1874 w 2590"/>
                  <a:gd name="T87" fmla="*/ 839 h 1324"/>
                  <a:gd name="T88" fmla="*/ 1974 w 2590"/>
                  <a:gd name="T89" fmla="*/ 842 h 1324"/>
                  <a:gd name="T90" fmla="*/ 2059 w 2590"/>
                  <a:gd name="T91" fmla="*/ 863 h 1324"/>
                  <a:gd name="T92" fmla="*/ 2135 w 2590"/>
                  <a:gd name="T93" fmla="*/ 905 h 1324"/>
                  <a:gd name="T94" fmla="*/ 2198 w 2590"/>
                  <a:gd name="T95" fmla="*/ 970 h 1324"/>
                  <a:gd name="T96" fmla="*/ 2257 w 2590"/>
                  <a:gd name="T97" fmla="*/ 1068 h 1324"/>
                  <a:gd name="T98" fmla="*/ 2308 w 2590"/>
                  <a:gd name="T99" fmla="*/ 1128 h 1324"/>
                  <a:gd name="T100" fmla="*/ 2469 w 2590"/>
                  <a:gd name="T101" fmla="*/ 1228 h 1324"/>
                  <a:gd name="T102" fmla="*/ 2511 w 2590"/>
                  <a:gd name="T103" fmla="*/ 1257 h 1324"/>
                  <a:gd name="T104" fmla="*/ 2557 w 2590"/>
                  <a:gd name="T105" fmla="*/ 1290 h 1324"/>
                  <a:gd name="T106" fmla="*/ 2587 w 2590"/>
                  <a:gd name="T107" fmla="*/ 1301 h 1324"/>
                  <a:gd name="T108" fmla="*/ 2581 w 2590"/>
                  <a:gd name="T109" fmla="*/ 1323 h 1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90" h="1324">
                    <a:moveTo>
                      <a:pt x="2571" y="1324"/>
                    </a:moveTo>
                    <a:lnTo>
                      <a:pt x="2566" y="1324"/>
                    </a:lnTo>
                    <a:lnTo>
                      <a:pt x="2561" y="1323"/>
                    </a:lnTo>
                    <a:lnTo>
                      <a:pt x="2555" y="1320"/>
                    </a:lnTo>
                    <a:lnTo>
                      <a:pt x="2549" y="1316"/>
                    </a:lnTo>
                    <a:lnTo>
                      <a:pt x="2536" y="1308"/>
                    </a:lnTo>
                    <a:lnTo>
                      <a:pt x="2520" y="1297"/>
                    </a:lnTo>
                    <a:lnTo>
                      <a:pt x="2513" y="1291"/>
                    </a:lnTo>
                    <a:lnTo>
                      <a:pt x="2504" y="1286"/>
                    </a:lnTo>
                    <a:lnTo>
                      <a:pt x="2496" y="1280"/>
                    </a:lnTo>
                    <a:lnTo>
                      <a:pt x="2487" y="1273"/>
                    </a:lnTo>
                    <a:lnTo>
                      <a:pt x="2479" y="1268"/>
                    </a:lnTo>
                    <a:lnTo>
                      <a:pt x="2470" y="1262"/>
                    </a:lnTo>
                    <a:lnTo>
                      <a:pt x="2461" y="1256"/>
                    </a:lnTo>
                    <a:lnTo>
                      <a:pt x="2453" y="1250"/>
                    </a:lnTo>
                    <a:lnTo>
                      <a:pt x="2421" y="1229"/>
                    </a:lnTo>
                    <a:lnTo>
                      <a:pt x="2387" y="1205"/>
                    </a:lnTo>
                    <a:lnTo>
                      <a:pt x="2349" y="1182"/>
                    </a:lnTo>
                    <a:lnTo>
                      <a:pt x="2309" y="1160"/>
                    </a:lnTo>
                    <a:lnTo>
                      <a:pt x="2300" y="1155"/>
                    </a:lnTo>
                    <a:lnTo>
                      <a:pt x="2293" y="1150"/>
                    </a:lnTo>
                    <a:lnTo>
                      <a:pt x="2286" y="1145"/>
                    </a:lnTo>
                    <a:lnTo>
                      <a:pt x="2279" y="1139"/>
                    </a:lnTo>
                    <a:lnTo>
                      <a:pt x="2267" y="1127"/>
                    </a:lnTo>
                    <a:lnTo>
                      <a:pt x="2255" y="1113"/>
                    </a:lnTo>
                    <a:lnTo>
                      <a:pt x="2244" y="1098"/>
                    </a:lnTo>
                    <a:lnTo>
                      <a:pt x="2235" y="1083"/>
                    </a:lnTo>
                    <a:lnTo>
                      <a:pt x="2226" y="1067"/>
                    </a:lnTo>
                    <a:lnTo>
                      <a:pt x="2216" y="1051"/>
                    </a:lnTo>
                    <a:lnTo>
                      <a:pt x="2204" y="1030"/>
                    </a:lnTo>
                    <a:lnTo>
                      <a:pt x="2191" y="1009"/>
                    </a:lnTo>
                    <a:lnTo>
                      <a:pt x="2176" y="987"/>
                    </a:lnTo>
                    <a:lnTo>
                      <a:pt x="2160" y="967"/>
                    </a:lnTo>
                    <a:lnTo>
                      <a:pt x="2151" y="956"/>
                    </a:lnTo>
                    <a:lnTo>
                      <a:pt x="2141" y="946"/>
                    </a:lnTo>
                    <a:lnTo>
                      <a:pt x="2130" y="936"/>
                    </a:lnTo>
                    <a:lnTo>
                      <a:pt x="2119" y="927"/>
                    </a:lnTo>
                    <a:lnTo>
                      <a:pt x="2106" y="918"/>
                    </a:lnTo>
                    <a:lnTo>
                      <a:pt x="2093" y="909"/>
                    </a:lnTo>
                    <a:lnTo>
                      <a:pt x="2078" y="902"/>
                    </a:lnTo>
                    <a:lnTo>
                      <a:pt x="2063" y="894"/>
                    </a:lnTo>
                    <a:lnTo>
                      <a:pt x="2048" y="889"/>
                    </a:lnTo>
                    <a:lnTo>
                      <a:pt x="2034" y="883"/>
                    </a:lnTo>
                    <a:lnTo>
                      <a:pt x="2019" y="879"/>
                    </a:lnTo>
                    <a:lnTo>
                      <a:pt x="2002" y="875"/>
                    </a:lnTo>
                    <a:lnTo>
                      <a:pt x="1986" y="872"/>
                    </a:lnTo>
                    <a:lnTo>
                      <a:pt x="1969" y="869"/>
                    </a:lnTo>
                    <a:lnTo>
                      <a:pt x="1952" y="867"/>
                    </a:lnTo>
                    <a:lnTo>
                      <a:pt x="1933" y="866"/>
                    </a:lnTo>
                    <a:lnTo>
                      <a:pt x="1914" y="866"/>
                    </a:lnTo>
                    <a:lnTo>
                      <a:pt x="1894" y="866"/>
                    </a:lnTo>
                    <a:lnTo>
                      <a:pt x="1873" y="866"/>
                    </a:lnTo>
                    <a:lnTo>
                      <a:pt x="1852" y="868"/>
                    </a:lnTo>
                    <a:lnTo>
                      <a:pt x="1806" y="873"/>
                    </a:lnTo>
                    <a:lnTo>
                      <a:pt x="1757" y="880"/>
                    </a:lnTo>
                    <a:lnTo>
                      <a:pt x="1726" y="886"/>
                    </a:lnTo>
                    <a:lnTo>
                      <a:pt x="1695" y="892"/>
                    </a:lnTo>
                    <a:lnTo>
                      <a:pt x="1663" y="899"/>
                    </a:lnTo>
                    <a:lnTo>
                      <a:pt x="1633" y="906"/>
                    </a:lnTo>
                    <a:lnTo>
                      <a:pt x="1602" y="915"/>
                    </a:lnTo>
                    <a:lnTo>
                      <a:pt x="1573" y="922"/>
                    </a:lnTo>
                    <a:lnTo>
                      <a:pt x="1542" y="931"/>
                    </a:lnTo>
                    <a:lnTo>
                      <a:pt x="1513" y="940"/>
                    </a:lnTo>
                    <a:lnTo>
                      <a:pt x="1481" y="950"/>
                    </a:lnTo>
                    <a:lnTo>
                      <a:pt x="1431" y="964"/>
                    </a:lnTo>
                    <a:lnTo>
                      <a:pt x="1380" y="980"/>
                    </a:lnTo>
                    <a:lnTo>
                      <a:pt x="1330" y="995"/>
                    </a:lnTo>
                    <a:lnTo>
                      <a:pt x="1277" y="1009"/>
                    </a:lnTo>
                    <a:lnTo>
                      <a:pt x="1224" y="1022"/>
                    </a:lnTo>
                    <a:lnTo>
                      <a:pt x="1170" y="1033"/>
                    </a:lnTo>
                    <a:lnTo>
                      <a:pt x="1116" y="1044"/>
                    </a:lnTo>
                    <a:lnTo>
                      <a:pt x="1060" y="1053"/>
                    </a:lnTo>
                    <a:lnTo>
                      <a:pt x="1032" y="1057"/>
                    </a:lnTo>
                    <a:lnTo>
                      <a:pt x="1004" y="1060"/>
                    </a:lnTo>
                    <a:lnTo>
                      <a:pt x="974" y="1063"/>
                    </a:lnTo>
                    <a:lnTo>
                      <a:pt x="945" y="1065"/>
                    </a:lnTo>
                    <a:lnTo>
                      <a:pt x="916" y="1067"/>
                    </a:lnTo>
                    <a:lnTo>
                      <a:pt x="887" y="1068"/>
                    </a:lnTo>
                    <a:lnTo>
                      <a:pt x="858" y="1068"/>
                    </a:lnTo>
                    <a:lnTo>
                      <a:pt x="828" y="1067"/>
                    </a:lnTo>
                    <a:lnTo>
                      <a:pt x="797" y="1066"/>
                    </a:lnTo>
                    <a:lnTo>
                      <a:pt x="767" y="1065"/>
                    </a:lnTo>
                    <a:lnTo>
                      <a:pt x="737" y="1062"/>
                    </a:lnTo>
                    <a:lnTo>
                      <a:pt x="706" y="1058"/>
                    </a:lnTo>
                    <a:lnTo>
                      <a:pt x="674" y="1053"/>
                    </a:lnTo>
                    <a:lnTo>
                      <a:pt x="643" y="1048"/>
                    </a:lnTo>
                    <a:lnTo>
                      <a:pt x="612" y="1042"/>
                    </a:lnTo>
                    <a:lnTo>
                      <a:pt x="580" y="1035"/>
                    </a:lnTo>
                    <a:lnTo>
                      <a:pt x="566" y="1030"/>
                    </a:lnTo>
                    <a:lnTo>
                      <a:pt x="551" y="1026"/>
                    </a:lnTo>
                    <a:lnTo>
                      <a:pt x="537" y="1021"/>
                    </a:lnTo>
                    <a:lnTo>
                      <a:pt x="523" y="1014"/>
                    </a:lnTo>
                    <a:lnTo>
                      <a:pt x="509" y="1007"/>
                    </a:lnTo>
                    <a:lnTo>
                      <a:pt x="495" y="999"/>
                    </a:lnTo>
                    <a:lnTo>
                      <a:pt x="481" y="989"/>
                    </a:lnTo>
                    <a:lnTo>
                      <a:pt x="466" y="980"/>
                    </a:lnTo>
                    <a:lnTo>
                      <a:pt x="452" y="970"/>
                    </a:lnTo>
                    <a:lnTo>
                      <a:pt x="438" y="958"/>
                    </a:lnTo>
                    <a:lnTo>
                      <a:pt x="423" y="946"/>
                    </a:lnTo>
                    <a:lnTo>
                      <a:pt x="409" y="933"/>
                    </a:lnTo>
                    <a:lnTo>
                      <a:pt x="395" y="919"/>
                    </a:lnTo>
                    <a:lnTo>
                      <a:pt x="379" y="904"/>
                    </a:lnTo>
                    <a:lnTo>
                      <a:pt x="365" y="889"/>
                    </a:lnTo>
                    <a:lnTo>
                      <a:pt x="350" y="873"/>
                    </a:lnTo>
                    <a:lnTo>
                      <a:pt x="321" y="837"/>
                    </a:lnTo>
                    <a:lnTo>
                      <a:pt x="292" y="799"/>
                    </a:lnTo>
                    <a:lnTo>
                      <a:pt x="263" y="757"/>
                    </a:lnTo>
                    <a:lnTo>
                      <a:pt x="234" y="712"/>
                    </a:lnTo>
                    <a:lnTo>
                      <a:pt x="203" y="663"/>
                    </a:lnTo>
                    <a:lnTo>
                      <a:pt x="174" y="612"/>
                    </a:lnTo>
                    <a:lnTo>
                      <a:pt x="144" y="557"/>
                    </a:lnTo>
                    <a:lnTo>
                      <a:pt x="115" y="499"/>
                    </a:lnTo>
                    <a:lnTo>
                      <a:pt x="94" y="458"/>
                    </a:lnTo>
                    <a:lnTo>
                      <a:pt x="76" y="417"/>
                    </a:lnTo>
                    <a:lnTo>
                      <a:pt x="60" y="377"/>
                    </a:lnTo>
                    <a:lnTo>
                      <a:pt x="46" y="339"/>
                    </a:lnTo>
                    <a:lnTo>
                      <a:pt x="33" y="303"/>
                    </a:lnTo>
                    <a:lnTo>
                      <a:pt x="22" y="267"/>
                    </a:lnTo>
                    <a:lnTo>
                      <a:pt x="14" y="233"/>
                    </a:lnTo>
                    <a:lnTo>
                      <a:pt x="7" y="200"/>
                    </a:lnTo>
                    <a:lnTo>
                      <a:pt x="3" y="169"/>
                    </a:lnTo>
                    <a:lnTo>
                      <a:pt x="0" y="140"/>
                    </a:lnTo>
                    <a:lnTo>
                      <a:pt x="0" y="113"/>
                    </a:lnTo>
                    <a:lnTo>
                      <a:pt x="1" y="87"/>
                    </a:lnTo>
                    <a:lnTo>
                      <a:pt x="4" y="75"/>
                    </a:lnTo>
                    <a:lnTo>
                      <a:pt x="6" y="63"/>
                    </a:lnTo>
                    <a:lnTo>
                      <a:pt x="8" y="52"/>
                    </a:lnTo>
                    <a:lnTo>
                      <a:pt x="11" y="41"/>
                    </a:lnTo>
                    <a:lnTo>
                      <a:pt x="14" y="32"/>
                    </a:lnTo>
                    <a:lnTo>
                      <a:pt x="19" y="23"/>
                    </a:lnTo>
                    <a:lnTo>
                      <a:pt x="24" y="14"/>
                    </a:lnTo>
                    <a:lnTo>
                      <a:pt x="28" y="6"/>
                    </a:lnTo>
                    <a:lnTo>
                      <a:pt x="33" y="2"/>
                    </a:lnTo>
                    <a:lnTo>
                      <a:pt x="37" y="0"/>
                    </a:lnTo>
                    <a:lnTo>
                      <a:pt x="42" y="0"/>
                    </a:lnTo>
                    <a:lnTo>
                      <a:pt x="48" y="3"/>
                    </a:lnTo>
                    <a:lnTo>
                      <a:pt x="51" y="6"/>
                    </a:lnTo>
                    <a:lnTo>
                      <a:pt x="53" y="11"/>
                    </a:lnTo>
                    <a:lnTo>
                      <a:pt x="53" y="17"/>
                    </a:lnTo>
                    <a:lnTo>
                      <a:pt x="51" y="21"/>
                    </a:lnTo>
                    <a:lnTo>
                      <a:pt x="47" y="28"/>
                    </a:lnTo>
                    <a:lnTo>
                      <a:pt x="42" y="36"/>
                    </a:lnTo>
                    <a:lnTo>
                      <a:pt x="38" y="45"/>
                    </a:lnTo>
                    <a:lnTo>
                      <a:pt x="35" y="54"/>
                    </a:lnTo>
                    <a:lnTo>
                      <a:pt x="33" y="64"/>
                    </a:lnTo>
                    <a:lnTo>
                      <a:pt x="31" y="74"/>
                    </a:lnTo>
                    <a:lnTo>
                      <a:pt x="28" y="85"/>
                    </a:lnTo>
                    <a:lnTo>
                      <a:pt x="27" y="95"/>
                    </a:lnTo>
                    <a:lnTo>
                      <a:pt x="26" y="120"/>
                    </a:lnTo>
                    <a:lnTo>
                      <a:pt x="27" y="146"/>
                    </a:lnTo>
                    <a:lnTo>
                      <a:pt x="31" y="173"/>
                    </a:lnTo>
                    <a:lnTo>
                      <a:pt x="35" y="202"/>
                    </a:lnTo>
                    <a:lnTo>
                      <a:pt x="41" y="234"/>
                    </a:lnTo>
                    <a:lnTo>
                      <a:pt x="50" y="266"/>
                    </a:lnTo>
                    <a:lnTo>
                      <a:pt x="61" y="301"/>
                    </a:lnTo>
                    <a:lnTo>
                      <a:pt x="73" y="335"/>
                    </a:lnTo>
                    <a:lnTo>
                      <a:pt x="87" y="372"/>
                    </a:lnTo>
                    <a:lnTo>
                      <a:pt x="102" y="410"/>
                    </a:lnTo>
                    <a:lnTo>
                      <a:pt x="119" y="448"/>
                    </a:lnTo>
                    <a:lnTo>
                      <a:pt x="139" y="487"/>
                    </a:lnTo>
                    <a:lnTo>
                      <a:pt x="168" y="544"/>
                    </a:lnTo>
                    <a:lnTo>
                      <a:pt x="197" y="597"/>
                    </a:lnTo>
                    <a:lnTo>
                      <a:pt x="225" y="648"/>
                    </a:lnTo>
                    <a:lnTo>
                      <a:pt x="254" y="695"/>
                    </a:lnTo>
                    <a:lnTo>
                      <a:pt x="282" y="739"/>
                    </a:lnTo>
                    <a:lnTo>
                      <a:pt x="311" y="780"/>
                    </a:lnTo>
                    <a:lnTo>
                      <a:pt x="339" y="817"/>
                    </a:lnTo>
                    <a:lnTo>
                      <a:pt x="368" y="851"/>
                    </a:lnTo>
                    <a:lnTo>
                      <a:pt x="396" y="882"/>
                    </a:lnTo>
                    <a:lnTo>
                      <a:pt x="424" y="909"/>
                    </a:lnTo>
                    <a:lnTo>
                      <a:pt x="437" y="922"/>
                    </a:lnTo>
                    <a:lnTo>
                      <a:pt x="451" y="934"/>
                    </a:lnTo>
                    <a:lnTo>
                      <a:pt x="465" y="945"/>
                    </a:lnTo>
                    <a:lnTo>
                      <a:pt x="479" y="956"/>
                    </a:lnTo>
                    <a:lnTo>
                      <a:pt x="492" y="965"/>
                    </a:lnTo>
                    <a:lnTo>
                      <a:pt x="506" y="974"/>
                    </a:lnTo>
                    <a:lnTo>
                      <a:pt x="519" y="982"/>
                    </a:lnTo>
                    <a:lnTo>
                      <a:pt x="533" y="988"/>
                    </a:lnTo>
                    <a:lnTo>
                      <a:pt x="546" y="995"/>
                    </a:lnTo>
                    <a:lnTo>
                      <a:pt x="560" y="1000"/>
                    </a:lnTo>
                    <a:lnTo>
                      <a:pt x="573" y="1004"/>
                    </a:lnTo>
                    <a:lnTo>
                      <a:pt x="586" y="1008"/>
                    </a:lnTo>
                    <a:lnTo>
                      <a:pt x="617" y="1015"/>
                    </a:lnTo>
                    <a:lnTo>
                      <a:pt x="648" y="1022"/>
                    </a:lnTo>
                    <a:lnTo>
                      <a:pt x="680" y="1027"/>
                    </a:lnTo>
                    <a:lnTo>
                      <a:pt x="710" y="1031"/>
                    </a:lnTo>
                    <a:lnTo>
                      <a:pt x="740" y="1035"/>
                    </a:lnTo>
                    <a:lnTo>
                      <a:pt x="770" y="1038"/>
                    </a:lnTo>
                    <a:lnTo>
                      <a:pt x="799" y="1039"/>
                    </a:lnTo>
                    <a:lnTo>
                      <a:pt x="830" y="1040"/>
                    </a:lnTo>
                    <a:lnTo>
                      <a:pt x="859" y="1041"/>
                    </a:lnTo>
                    <a:lnTo>
                      <a:pt x="888" y="1040"/>
                    </a:lnTo>
                    <a:lnTo>
                      <a:pt x="917" y="1040"/>
                    </a:lnTo>
                    <a:lnTo>
                      <a:pt x="945" y="1038"/>
                    </a:lnTo>
                    <a:lnTo>
                      <a:pt x="973" y="1036"/>
                    </a:lnTo>
                    <a:lnTo>
                      <a:pt x="1002" y="1033"/>
                    </a:lnTo>
                    <a:lnTo>
                      <a:pt x="1029" y="1030"/>
                    </a:lnTo>
                    <a:lnTo>
                      <a:pt x="1058" y="1026"/>
                    </a:lnTo>
                    <a:lnTo>
                      <a:pt x="1113" y="1017"/>
                    </a:lnTo>
                    <a:lnTo>
                      <a:pt x="1167" y="1007"/>
                    </a:lnTo>
                    <a:lnTo>
                      <a:pt x="1219" y="995"/>
                    </a:lnTo>
                    <a:lnTo>
                      <a:pt x="1272" y="982"/>
                    </a:lnTo>
                    <a:lnTo>
                      <a:pt x="1323" y="968"/>
                    </a:lnTo>
                    <a:lnTo>
                      <a:pt x="1374" y="954"/>
                    </a:lnTo>
                    <a:lnTo>
                      <a:pt x="1424" y="938"/>
                    </a:lnTo>
                    <a:lnTo>
                      <a:pt x="1472" y="924"/>
                    </a:lnTo>
                    <a:lnTo>
                      <a:pt x="1506" y="914"/>
                    </a:lnTo>
                    <a:lnTo>
                      <a:pt x="1535" y="905"/>
                    </a:lnTo>
                    <a:lnTo>
                      <a:pt x="1565" y="896"/>
                    </a:lnTo>
                    <a:lnTo>
                      <a:pt x="1595" y="889"/>
                    </a:lnTo>
                    <a:lnTo>
                      <a:pt x="1627" y="880"/>
                    </a:lnTo>
                    <a:lnTo>
                      <a:pt x="1658" y="873"/>
                    </a:lnTo>
                    <a:lnTo>
                      <a:pt x="1689" y="865"/>
                    </a:lnTo>
                    <a:lnTo>
                      <a:pt x="1721" y="859"/>
                    </a:lnTo>
                    <a:lnTo>
                      <a:pt x="1752" y="853"/>
                    </a:lnTo>
                    <a:lnTo>
                      <a:pt x="1779" y="849"/>
                    </a:lnTo>
                    <a:lnTo>
                      <a:pt x="1804" y="846"/>
                    </a:lnTo>
                    <a:lnTo>
                      <a:pt x="1827" y="842"/>
                    </a:lnTo>
                    <a:lnTo>
                      <a:pt x="1851" y="841"/>
                    </a:lnTo>
                    <a:lnTo>
                      <a:pt x="1874" y="839"/>
                    </a:lnTo>
                    <a:lnTo>
                      <a:pt x="1895" y="839"/>
                    </a:lnTo>
                    <a:lnTo>
                      <a:pt x="1916" y="839"/>
                    </a:lnTo>
                    <a:lnTo>
                      <a:pt x="1936" y="839"/>
                    </a:lnTo>
                    <a:lnTo>
                      <a:pt x="1956" y="840"/>
                    </a:lnTo>
                    <a:lnTo>
                      <a:pt x="1974" y="842"/>
                    </a:lnTo>
                    <a:lnTo>
                      <a:pt x="1993" y="846"/>
                    </a:lnTo>
                    <a:lnTo>
                      <a:pt x="2010" y="849"/>
                    </a:lnTo>
                    <a:lnTo>
                      <a:pt x="2026" y="853"/>
                    </a:lnTo>
                    <a:lnTo>
                      <a:pt x="2042" y="858"/>
                    </a:lnTo>
                    <a:lnTo>
                      <a:pt x="2059" y="863"/>
                    </a:lnTo>
                    <a:lnTo>
                      <a:pt x="2074" y="869"/>
                    </a:lnTo>
                    <a:lnTo>
                      <a:pt x="2091" y="878"/>
                    </a:lnTo>
                    <a:lnTo>
                      <a:pt x="2106" y="887"/>
                    </a:lnTo>
                    <a:lnTo>
                      <a:pt x="2121" y="895"/>
                    </a:lnTo>
                    <a:lnTo>
                      <a:pt x="2135" y="905"/>
                    </a:lnTo>
                    <a:lnTo>
                      <a:pt x="2147" y="915"/>
                    </a:lnTo>
                    <a:lnTo>
                      <a:pt x="2159" y="926"/>
                    </a:lnTo>
                    <a:lnTo>
                      <a:pt x="2170" y="936"/>
                    </a:lnTo>
                    <a:lnTo>
                      <a:pt x="2179" y="947"/>
                    </a:lnTo>
                    <a:lnTo>
                      <a:pt x="2198" y="970"/>
                    </a:lnTo>
                    <a:lnTo>
                      <a:pt x="2213" y="992"/>
                    </a:lnTo>
                    <a:lnTo>
                      <a:pt x="2227" y="1015"/>
                    </a:lnTo>
                    <a:lnTo>
                      <a:pt x="2240" y="1038"/>
                    </a:lnTo>
                    <a:lnTo>
                      <a:pt x="2249" y="1053"/>
                    </a:lnTo>
                    <a:lnTo>
                      <a:pt x="2257" y="1068"/>
                    </a:lnTo>
                    <a:lnTo>
                      <a:pt x="2266" y="1082"/>
                    </a:lnTo>
                    <a:lnTo>
                      <a:pt x="2276" y="1095"/>
                    </a:lnTo>
                    <a:lnTo>
                      <a:pt x="2285" y="1108"/>
                    </a:lnTo>
                    <a:lnTo>
                      <a:pt x="2296" y="1119"/>
                    </a:lnTo>
                    <a:lnTo>
                      <a:pt x="2308" y="1128"/>
                    </a:lnTo>
                    <a:lnTo>
                      <a:pt x="2322" y="1136"/>
                    </a:lnTo>
                    <a:lnTo>
                      <a:pt x="2363" y="1160"/>
                    </a:lnTo>
                    <a:lnTo>
                      <a:pt x="2401" y="1182"/>
                    </a:lnTo>
                    <a:lnTo>
                      <a:pt x="2435" y="1206"/>
                    </a:lnTo>
                    <a:lnTo>
                      <a:pt x="2469" y="1228"/>
                    </a:lnTo>
                    <a:lnTo>
                      <a:pt x="2477" y="1234"/>
                    </a:lnTo>
                    <a:lnTo>
                      <a:pt x="2485" y="1240"/>
                    </a:lnTo>
                    <a:lnTo>
                      <a:pt x="2494" y="1245"/>
                    </a:lnTo>
                    <a:lnTo>
                      <a:pt x="2502" y="1250"/>
                    </a:lnTo>
                    <a:lnTo>
                      <a:pt x="2511" y="1257"/>
                    </a:lnTo>
                    <a:lnTo>
                      <a:pt x="2521" y="1263"/>
                    </a:lnTo>
                    <a:lnTo>
                      <a:pt x="2528" y="1270"/>
                    </a:lnTo>
                    <a:lnTo>
                      <a:pt x="2536" y="1275"/>
                    </a:lnTo>
                    <a:lnTo>
                      <a:pt x="2547" y="1283"/>
                    </a:lnTo>
                    <a:lnTo>
                      <a:pt x="2557" y="1290"/>
                    </a:lnTo>
                    <a:lnTo>
                      <a:pt x="2566" y="1296"/>
                    </a:lnTo>
                    <a:lnTo>
                      <a:pt x="2572" y="1297"/>
                    </a:lnTo>
                    <a:lnTo>
                      <a:pt x="2578" y="1297"/>
                    </a:lnTo>
                    <a:lnTo>
                      <a:pt x="2582" y="1298"/>
                    </a:lnTo>
                    <a:lnTo>
                      <a:pt x="2587" y="1301"/>
                    </a:lnTo>
                    <a:lnTo>
                      <a:pt x="2589" y="1306"/>
                    </a:lnTo>
                    <a:lnTo>
                      <a:pt x="2590" y="1311"/>
                    </a:lnTo>
                    <a:lnTo>
                      <a:pt x="2589" y="1316"/>
                    </a:lnTo>
                    <a:lnTo>
                      <a:pt x="2585" y="1321"/>
                    </a:lnTo>
                    <a:lnTo>
                      <a:pt x="2581" y="1323"/>
                    </a:lnTo>
                    <a:lnTo>
                      <a:pt x="2576" y="1324"/>
                    </a:lnTo>
                    <a:lnTo>
                      <a:pt x="2571" y="13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9"/>
              <p:cNvSpPr>
                <a:spLocks/>
              </p:cNvSpPr>
              <p:nvPr userDrawn="1"/>
            </p:nvSpPr>
            <p:spPr bwMode="auto">
              <a:xfrm>
                <a:off x="1964" y="1320"/>
                <a:ext cx="871" cy="444"/>
              </a:xfrm>
              <a:custGeom>
                <a:avLst/>
                <a:gdLst>
                  <a:gd name="T0" fmla="*/ 2567 w 2614"/>
                  <a:gd name="T1" fmla="*/ 1324 h 1331"/>
                  <a:gd name="T2" fmla="*/ 2488 w 2614"/>
                  <a:gd name="T3" fmla="*/ 1283 h 1331"/>
                  <a:gd name="T4" fmla="*/ 2381 w 2614"/>
                  <a:gd name="T5" fmla="*/ 1221 h 1331"/>
                  <a:gd name="T6" fmla="*/ 2276 w 2614"/>
                  <a:gd name="T7" fmla="*/ 1159 h 1331"/>
                  <a:gd name="T8" fmla="*/ 2185 w 2614"/>
                  <a:gd name="T9" fmla="*/ 1052 h 1331"/>
                  <a:gd name="T10" fmla="*/ 2115 w 2614"/>
                  <a:gd name="T11" fmla="*/ 986 h 1331"/>
                  <a:gd name="T12" fmla="*/ 2043 w 2614"/>
                  <a:gd name="T13" fmla="*/ 947 h 1331"/>
                  <a:gd name="T14" fmla="*/ 1966 w 2614"/>
                  <a:gd name="T15" fmla="*/ 924 h 1331"/>
                  <a:gd name="T16" fmla="*/ 1874 w 2614"/>
                  <a:gd name="T17" fmla="*/ 916 h 1331"/>
                  <a:gd name="T18" fmla="*/ 1705 w 2614"/>
                  <a:gd name="T19" fmla="*/ 928 h 1331"/>
                  <a:gd name="T20" fmla="*/ 1549 w 2614"/>
                  <a:gd name="T21" fmla="*/ 957 h 1331"/>
                  <a:gd name="T22" fmla="*/ 1431 w 2614"/>
                  <a:gd name="T23" fmla="*/ 985 h 1331"/>
                  <a:gd name="T24" fmla="*/ 1217 w 2614"/>
                  <a:gd name="T25" fmla="*/ 1036 h 1331"/>
                  <a:gd name="T26" fmla="*/ 957 w 2614"/>
                  <a:gd name="T27" fmla="*/ 1074 h 1331"/>
                  <a:gd name="T28" fmla="*/ 792 w 2614"/>
                  <a:gd name="T29" fmla="*/ 1078 h 1331"/>
                  <a:gd name="T30" fmla="*/ 649 w 2614"/>
                  <a:gd name="T31" fmla="*/ 1064 h 1331"/>
                  <a:gd name="T32" fmla="*/ 523 w 2614"/>
                  <a:gd name="T33" fmla="*/ 1032 h 1331"/>
                  <a:gd name="T34" fmla="*/ 430 w 2614"/>
                  <a:gd name="T35" fmla="*/ 975 h 1331"/>
                  <a:gd name="T36" fmla="*/ 345 w 2614"/>
                  <a:gd name="T37" fmla="*/ 891 h 1331"/>
                  <a:gd name="T38" fmla="*/ 253 w 2614"/>
                  <a:gd name="T39" fmla="*/ 769 h 1331"/>
                  <a:gd name="T40" fmla="*/ 137 w 2614"/>
                  <a:gd name="T41" fmla="*/ 567 h 1331"/>
                  <a:gd name="T42" fmla="*/ 49 w 2614"/>
                  <a:gd name="T43" fmla="*/ 365 h 1331"/>
                  <a:gd name="T44" fmla="*/ 5 w 2614"/>
                  <a:gd name="T45" fmla="*/ 188 h 1331"/>
                  <a:gd name="T46" fmla="*/ 2 w 2614"/>
                  <a:gd name="T47" fmla="*/ 104 h 1331"/>
                  <a:gd name="T48" fmla="*/ 19 w 2614"/>
                  <a:gd name="T49" fmla="*/ 31 h 1331"/>
                  <a:gd name="T50" fmla="*/ 47 w 2614"/>
                  <a:gd name="T51" fmla="*/ 0 h 1331"/>
                  <a:gd name="T52" fmla="*/ 56 w 2614"/>
                  <a:gd name="T53" fmla="*/ 21 h 1331"/>
                  <a:gd name="T54" fmla="*/ 35 w 2614"/>
                  <a:gd name="T55" fmla="*/ 64 h 1331"/>
                  <a:gd name="T56" fmla="*/ 27 w 2614"/>
                  <a:gd name="T57" fmla="*/ 146 h 1331"/>
                  <a:gd name="T58" fmla="*/ 57 w 2614"/>
                  <a:gd name="T59" fmla="*/ 300 h 1331"/>
                  <a:gd name="T60" fmla="*/ 130 w 2614"/>
                  <a:gd name="T61" fmla="*/ 493 h 1331"/>
                  <a:gd name="T62" fmla="*/ 222 w 2614"/>
                  <a:gd name="T63" fmla="*/ 669 h 1331"/>
                  <a:gd name="T64" fmla="*/ 330 w 2614"/>
                  <a:gd name="T65" fmla="*/ 832 h 1331"/>
                  <a:gd name="T66" fmla="*/ 410 w 2614"/>
                  <a:gd name="T67" fmla="*/ 921 h 1331"/>
                  <a:gd name="T68" fmla="*/ 496 w 2614"/>
                  <a:gd name="T69" fmla="*/ 989 h 1331"/>
                  <a:gd name="T70" fmla="*/ 597 w 2614"/>
                  <a:gd name="T71" fmla="*/ 1026 h 1331"/>
                  <a:gd name="T72" fmla="*/ 738 w 2614"/>
                  <a:gd name="T73" fmla="*/ 1047 h 1331"/>
                  <a:gd name="T74" fmla="*/ 873 w 2614"/>
                  <a:gd name="T75" fmla="*/ 1053 h 1331"/>
                  <a:gd name="T76" fmla="*/ 1107 w 2614"/>
                  <a:gd name="T77" fmla="*/ 1029 h 1331"/>
                  <a:gd name="T78" fmla="*/ 1356 w 2614"/>
                  <a:gd name="T79" fmla="*/ 976 h 1331"/>
                  <a:gd name="T80" fmla="*/ 1486 w 2614"/>
                  <a:gd name="T81" fmla="*/ 944 h 1331"/>
                  <a:gd name="T82" fmla="*/ 1636 w 2614"/>
                  <a:gd name="T83" fmla="*/ 911 h 1331"/>
                  <a:gd name="T84" fmla="*/ 1832 w 2614"/>
                  <a:gd name="T85" fmla="*/ 890 h 1331"/>
                  <a:gd name="T86" fmla="*/ 1935 w 2614"/>
                  <a:gd name="T87" fmla="*/ 893 h 1331"/>
                  <a:gd name="T88" fmla="*/ 2023 w 2614"/>
                  <a:gd name="T89" fmla="*/ 910 h 1331"/>
                  <a:gd name="T90" fmla="*/ 2103 w 2614"/>
                  <a:gd name="T91" fmla="*/ 946 h 1331"/>
                  <a:gd name="T92" fmla="*/ 2165 w 2614"/>
                  <a:gd name="T93" fmla="*/ 992 h 1331"/>
                  <a:gd name="T94" fmla="*/ 2259 w 2614"/>
                  <a:gd name="T95" fmla="*/ 1101 h 1331"/>
                  <a:gd name="T96" fmla="*/ 2332 w 2614"/>
                  <a:gd name="T97" fmla="*/ 1165 h 1331"/>
                  <a:gd name="T98" fmla="*/ 2467 w 2614"/>
                  <a:gd name="T99" fmla="*/ 1240 h 1331"/>
                  <a:gd name="T100" fmla="*/ 2546 w 2614"/>
                  <a:gd name="T101" fmla="*/ 1283 h 1331"/>
                  <a:gd name="T102" fmla="*/ 2593 w 2614"/>
                  <a:gd name="T103" fmla="*/ 1304 h 1331"/>
                  <a:gd name="T104" fmla="*/ 2614 w 2614"/>
                  <a:gd name="T105" fmla="*/ 1312 h 1331"/>
                  <a:gd name="T106" fmla="*/ 2600 w 2614"/>
                  <a:gd name="T107" fmla="*/ 1330 h 1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14" h="1331">
                    <a:moveTo>
                      <a:pt x="2593" y="1331"/>
                    </a:moveTo>
                    <a:lnTo>
                      <a:pt x="2588" y="1330"/>
                    </a:lnTo>
                    <a:lnTo>
                      <a:pt x="2581" y="1329"/>
                    </a:lnTo>
                    <a:lnTo>
                      <a:pt x="2574" y="1327"/>
                    </a:lnTo>
                    <a:lnTo>
                      <a:pt x="2567" y="1324"/>
                    </a:lnTo>
                    <a:lnTo>
                      <a:pt x="2551" y="1316"/>
                    </a:lnTo>
                    <a:lnTo>
                      <a:pt x="2533" y="1307"/>
                    </a:lnTo>
                    <a:lnTo>
                      <a:pt x="2520" y="1299"/>
                    </a:lnTo>
                    <a:lnTo>
                      <a:pt x="2505" y="1291"/>
                    </a:lnTo>
                    <a:lnTo>
                      <a:pt x="2488" y="1283"/>
                    </a:lnTo>
                    <a:lnTo>
                      <a:pt x="2471" y="1273"/>
                    </a:lnTo>
                    <a:lnTo>
                      <a:pt x="2454" y="1263"/>
                    </a:lnTo>
                    <a:lnTo>
                      <a:pt x="2435" y="1253"/>
                    </a:lnTo>
                    <a:lnTo>
                      <a:pt x="2410" y="1237"/>
                    </a:lnTo>
                    <a:lnTo>
                      <a:pt x="2381" y="1221"/>
                    </a:lnTo>
                    <a:lnTo>
                      <a:pt x="2351" y="1205"/>
                    </a:lnTo>
                    <a:lnTo>
                      <a:pt x="2320" y="1189"/>
                    </a:lnTo>
                    <a:lnTo>
                      <a:pt x="2304" y="1180"/>
                    </a:lnTo>
                    <a:lnTo>
                      <a:pt x="2289" y="1169"/>
                    </a:lnTo>
                    <a:lnTo>
                      <a:pt x="2276" y="1159"/>
                    </a:lnTo>
                    <a:lnTo>
                      <a:pt x="2263" y="1146"/>
                    </a:lnTo>
                    <a:lnTo>
                      <a:pt x="2239" y="1119"/>
                    </a:lnTo>
                    <a:lnTo>
                      <a:pt x="2216" y="1091"/>
                    </a:lnTo>
                    <a:lnTo>
                      <a:pt x="2201" y="1071"/>
                    </a:lnTo>
                    <a:lnTo>
                      <a:pt x="2185" y="1052"/>
                    </a:lnTo>
                    <a:lnTo>
                      <a:pt x="2168" y="1032"/>
                    </a:lnTo>
                    <a:lnTo>
                      <a:pt x="2148" y="1013"/>
                    </a:lnTo>
                    <a:lnTo>
                      <a:pt x="2137" y="1004"/>
                    </a:lnTo>
                    <a:lnTo>
                      <a:pt x="2127" y="995"/>
                    </a:lnTo>
                    <a:lnTo>
                      <a:pt x="2115" y="986"/>
                    </a:lnTo>
                    <a:lnTo>
                      <a:pt x="2102" y="977"/>
                    </a:lnTo>
                    <a:lnTo>
                      <a:pt x="2089" y="969"/>
                    </a:lnTo>
                    <a:lnTo>
                      <a:pt x="2075" y="961"/>
                    </a:lnTo>
                    <a:lnTo>
                      <a:pt x="2060" y="954"/>
                    </a:lnTo>
                    <a:lnTo>
                      <a:pt x="2043" y="947"/>
                    </a:lnTo>
                    <a:lnTo>
                      <a:pt x="2029" y="942"/>
                    </a:lnTo>
                    <a:lnTo>
                      <a:pt x="2014" y="936"/>
                    </a:lnTo>
                    <a:lnTo>
                      <a:pt x="1998" y="932"/>
                    </a:lnTo>
                    <a:lnTo>
                      <a:pt x="1983" y="928"/>
                    </a:lnTo>
                    <a:lnTo>
                      <a:pt x="1966" y="924"/>
                    </a:lnTo>
                    <a:lnTo>
                      <a:pt x="1948" y="922"/>
                    </a:lnTo>
                    <a:lnTo>
                      <a:pt x="1931" y="920"/>
                    </a:lnTo>
                    <a:lnTo>
                      <a:pt x="1913" y="918"/>
                    </a:lnTo>
                    <a:lnTo>
                      <a:pt x="1893" y="917"/>
                    </a:lnTo>
                    <a:lnTo>
                      <a:pt x="1874" y="916"/>
                    </a:lnTo>
                    <a:lnTo>
                      <a:pt x="1853" y="916"/>
                    </a:lnTo>
                    <a:lnTo>
                      <a:pt x="1832" y="917"/>
                    </a:lnTo>
                    <a:lnTo>
                      <a:pt x="1786" y="919"/>
                    </a:lnTo>
                    <a:lnTo>
                      <a:pt x="1738" y="923"/>
                    </a:lnTo>
                    <a:lnTo>
                      <a:pt x="1705" y="928"/>
                    </a:lnTo>
                    <a:lnTo>
                      <a:pt x="1672" y="933"/>
                    </a:lnTo>
                    <a:lnTo>
                      <a:pt x="1641" y="938"/>
                    </a:lnTo>
                    <a:lnTo>
                      <a:pt x="1609" y="944"/>
                    </a:lnTo>
                    <a:lnTo>
                      <a:pt x="1578" y="950"/>
                    </a:lnTo>
                    <a:lnTo>
                      <a:pt x="1549" y="957"/>
                    </a:lnTo>
                    <a:lnTo>
                      <a:pt x="1520" y="963"/>
                    </a:lnTo>
                    <a:lnTo>
                      <a:pt x="1493" y="970"/>
                    </a:lnTo>
                    <a:lnTo>
                      <a:pt x="1472" y="975"/>
                    </a:lnTo>
                    <a:lnTo>
                      <a:pt x="1452" y="979"/>
                    </a:lnTo>
                    <a:lnTo>
                      <a:pt x="1431" y="985"/>
                    </a:lnTo>
                    <a:lnTo>
                      <a:pt x="1411" y="990"/>
                    </a:lnTo>
                    <a:lnTo>
                      <a:pt x="1364" y="1002"/>
                    </a:lnTo>
                    <a:lnTo>
                      <a:pt x="1316" y="1013"/>
                    </a:lnTo>
                    <a:lnTo>
                      <a:pt x="1267" y="1025"/>
                    </a:lnTo>
                    <a:lnTo>
                      <a:pt x="1217" y="1036"/>
                    </a:lnTo>
                    <a:lnTo>
                      <a:pt x="1167" y="1046"/>
                    </a:lnTo>
                    <a:lnTo>
                      <a:pt x="1116" y="1055"/>
                    </a:lnTo>
                    <a:lnTo>
                      <a:pt x="1063" y="1064"/>
                    </a:lnTo>
                    <a:lnTo>
                      <a:pt x="1011" y="1070"/>
                    </a:lnTo>
                    <a:lnTo>
                      <a:pt x="957" y="1074"/>
                    </a:lnTo>
                    <a:lnTo>
                      <a:pt x="903" y="1078"/>
                    </a:lnTo>
                    <a:lnTo>
                      <a:pt x="875" y="1079"/>
                    </a:lnTo>
                    <a:lnTo>
                      <a:pt x="848" y="1079"/>
                    </a:lnTo>
                    <a:lnTo>
                      <a:pt x="820" y="1079"/>
                    </a:lnTo>
                    <a:lnTo>
                      <a:pt x="792" y="1078"/>
                    </a:lnTo>
                    <a:lnTo>
                      <a:pt x="764" y="1077"/>
                    </a:lnTo>
                    <a:lnTo>
                      <a:pt x="736" y="1074"/>
                    </a:lnTo>
                    <a:lnTo>
                      <a:pt x="707" y="1071"/>
                    </a:lnTo>
                    <a:lnTo>
                      <a:pt x="679" y="1068"/>
                    </a:lnTo>
                    <a:lnTo>
                      <a:pt x="649" y="1064"/>
                    </a:lnTo>
                    <a:lnTo>
                      <a:pt x="620" y="1058"/>
                    </a:lnTo>
                    <a:lnTo>
                      <a:pt x="591" y="1053"/>
                    </a:lnTo>
                    <a:lnTo>
                      <a:pt x="561" y="1045"/>
                    </a:lnTo>
                    <a:lnTo>
                      <a:pt x="543" y="1040"/>
                    </a:lnTo>
                    <a:lnTo>
                      <a:pt x="523" y="1032"/>
                    </a:lnTo>
                    <a:lnTo>
                      <a:pt x="504" y="1024"/>
                    </a:lnTo>
                    <a:lnTo>
                      <a:pt x="485" y="1014"/>
                    </a:lnTo>
                    <a:lnTo>
                      <a:pt x="467" y="1002"/>
                    </a:lnTo>
                    <a:lnTo>
                      <a:pt x="449" y="989"/>
                    </a:lnTo>
                    <a:lnTo>
                      <a:pt x="430" y="975"/>
                    </a:lnTo>
                    <a:lnTo>
                      <a:pt x="413" y="960"/>
                    </a:lnTo>
                    <a:lnTo>
                      <a:pt x="395" y="944"/>
                    </a:lnTo>
                    <a:lnTo>
                      <a:pt x="378" y="927"/>
                    </a:lnTo>
                    <a:lnTo>
                      <a:pt x="361" y="909"/>
                    </a:lnTo>
                    <a:lnTo>
                      <a:pt x="345" y="891"/>
                    </a:lnTo>
                    <a:lnTo>
                      <a:pt x="328" y="872"/>
                    </a:lnTo>
                    <a:lnTo>
                      <a:pt x="313" y="852"/>
                    </a:lnTo>
                    <a:lnTo>
                      <a:pt x="296" y="832"/>
                    </a:lnTo>
                    <a:lnTo>
                      <a:pt x="281" y="811"/>
                    </a:lnTo>
                    <a:lnTo>
                      <a:pt x="253" y="769"/>
                    </a:lnTo>
                    <a:lnTo>
                      <a:pt x="225" y="726"/>
                    </a:lnTo>
                    <a:lnTo>
                      <a:pt x="200" y="684"/>
                    </a:lnTo>
                    <a:lnTo>
                      <a:pt x="176" y="643"/>
                    </a:lnTo>
                    <a:lnTo>
                      <a:pt x="156" y="604"/>
                    </a:lnTo>
                    <a:lnTo>
                      <a:pt x="137" y="567"/>
                    </a:lnTo>
                    <a:lnTo>
                      <a:pt x="120" y="534"/>
                    </a:lnTo>
                    <a:lnTo>
                      <a:pt x="106" y="505"/>
                    </a:lnTo>
                    <a:lnTo>
                      <a:pt x="85" y="456"/>
                    </a:lnTo>
                    <a:lnTo>
                      <a:pt x="61" y="398"/>
                    </a:lnTo>
                    <a:lnTo>
                      <a:pt x="49" y="365"/>
                    </a:lnTo>
                    <a:lnTo>
                      <a:pt x="38" y="331"/>
                    </a:lnTo>
                    <a:lnTo>
                      <a:pt x="27" y="296"/>
                    </a:lnTo>
                    <a:lnTo>
                      <a:pt x="18" y="259"/>
                    </a:lnTo>
                    <a:lnTo>
                      <a:pt x="10" y="224"/>
                    </a:lnTo>
                    <a:lnTo>
                      <a:pt x="5" y="188"/>
                    </a:lnTo>
                    <a:lnTo>
                      <a:pt x="3" y="171"/>
                    </a:lnTo>
                    <a:lnTo>
                      <a:pt x="2" y="154"/>
                    </a:lnTo>
                    <a:lnTo>
                      <a:pt x="0" y="136"/>
                    </a:lnTo>
                    <a:lnTo>
                      <a:pt x="0" y="120"/>
                    </a:lnTo>
                    <a:lnTo>
                      <a:pt x="2" y="104"/>
                    </a:lnTo>
                    <a:lnTo>
                      <a:pt x="4" y="88"/>
                    </a:lnTo>
                    <a:lnTo>
                      <a:pt x="6" y="73"/>
                    </a:lnTo>
                    <a:lnTo>
                      <a:pt x="9" y="58"/>
                    </a:lnTo>
                    <a:lnTo>
                      <a:pt x="13" y="44"/>
                    </a:lnTo>
                    <a:lnTo>
                      <a:pt x="19" y="31"/>
                    </a:lnTo>
                    <a:lnTo>
                      <a:pt x="25" y="18"/>
                    </a:lnTo>
                    <a:lnTo>
                      <a:pt x="33" y="6"/>
                    </a:lnTo>
                    <a:lnTo>
                      <a:pt x="37" y="1"/>
                    </a:lnTo>
                    <a:lnTo>
                      <a:pt x="41" y="0"/>
                    </a:lnTo>
                    <a:lnTo>
                      <a:pt x="47" y="0"/>
                    </a:lnTo>
                    <a:lnTo>
                      <a:pt x="52" y="3"/>
                    </a:lnTo>
                    <a:lnTo>
                      <a:pt x="56" y="6"/>
                    </a:lnTo>
                    <a:lnTo>
                      <a:pt x="58" y="11"/>
                    </a:lnTo>
                    <a:lnTo>
                      <a:pt x="58" y="17"/>
                    </a:lnTo>
                    <a:lnTo>
                      <a:pt x="56" y="21"/>
                    </a:lnTo>
                    <a:lnTo>
                      <a:pt x="50" y="28"/>
                    </a:lnTo>
                    <a:lnTo>
                      <a:pt x="46" y="37"/>
                    </a:lnTo>
                    <a:lnTo>
                      <a:pt x="41" y="46"/>
                    </a:lnTo>
                    <a:lnTo>
                      <a:pt x="38" y="54"/>
                    </a:lnTo>
                    <a:lnTo>
                      <a:pt x="35" y="64"/>
                    </a:lnTo>
                    <a:lnTo>
                      <a:pt x="33" y="75"/>
                    </a:lnTo>
                    <a:lnTo>
                      <a:pt x="31" y="86"/>
                    </a:lnTo>
                    <a:lnTo>
                      <a:pt x="30" y="96"/>
                    </a:lnTo>
                    <a:lnTo>
                      <a:pt x="27" y="120"/>
                    </a:lnTo>
                    <a:lnTo>
                      <a:pt x="27" y="146"/>
                    </a:lnTo>
                    <a:lnTo>
                      <a:pt x="30" y="174"/>
                    </a:lnTo>
                    <a:lnTo>
                      <a:pt x="34" y="203"/>
                    </a:lnTo>
                    <a:lnTo>
                      <a:pt x="39" y="235"/>
                    </a:lnTo>
                    <a:lnTo>
                      <a:pt x="47" y="267"/>
                    </a:lnTo>
                    <a:lnTo>
                      <a:pt x="57" y="300"/>
                    </a:lnTo>
                    <a:lnTo>
                      <a:pt x="67" y="336"/>
                    </a:lnTo>
                    <a:lnTo>
                      <a:pt x="80" y="374"/>
                    </a:lnTo>
                    <a:lnTo>
                      <a:pt x="95" y="412"/>
                    </a:lnTo>
                    <a:lnTo>
                      <a:pt x="112" y="452"/>
                    </a:lnTo>
                    <a:lnTo>
                      <a:pt x="130" y="493"/>
                    </a:lnTo>
                    <a:lnTo>
                      <a:pt x="144" y="522"/>
                    </a:lnTo>
                    <a:lnTo>
                      <a:pt x="160" y="554"/>
                    </a:lnTo>
                    <a:lnTo>
                      <a:pt x="179" y="590"/>
                    </a:lnTo>
                    <a:lnTo>
                      <a:pt x="199" y="629"/>
                    </a:lnTo>
                    <a:lnTo>
                      <a:pt x="222" y="669"/>
                    </a:lnTo>
                    <a:lnTo>
                      <a:pt x="247" y="710"/>
                    </a:lnTo>
                    <a:lnTo>
                      <a:pt x="273" y="751"/>
                    </a:lnTo>
                    <a:lnTo>
                      <a:pt x="301" y="792"/>
                    </a:lnTo>
                    <a:lnTo>
                      <a:pt x="316" y="812"/>
                    </a:lnTo>
                    <a:lnTo>
                      <a:pt x="330" y="832"/>
                    </a:lnTo>
                    <a:lnTo>
                      <a:pt x="346" y="851"/>
                    </a:lnTo>
                    <a:lnTo>
                      <a:pt x="361" y="869"/>
                    </a:lnTo>
                    <a:lnTo>
                      <a:pt x="377" y="888"/>
                    </a:lnTo>
                    <a:lnTo>
                      <a:pt x="394" y="905"/>
                    </a:lnTo>
                    <a:lnTo>
                      <a:pt x="410" y="921"/>
                    </a:lnTo>
                    <a:lnTo>
                      <a:pt x="426" y="937"/>
                    </a:lnTo>
                    <a:lnTo>
                      <a:pt x="443" y="951"/>
                    </a:lnTo>
                    <a:lnTo>
                      <a:pt x="460" y="965"/>
                    </a:lnTo>
                    <a:lnTo>
                      <a:pt x="478" y="977"/>
                    </a:lnTo>
                    <a:lnTo>
                      <a:pt x="496" y="989"/>
                    </a:lnTo>
                    <a:lnTo>
                      <a:pt x="513" y="999"/>
                    </a:lnTo>
                    <a:lnTo>
                      <a:pt x="532" y="1008"/>
                    </a:lnTo>
                    <a:lnTo>
                      <a:pt x="549" y="1014"/>
                    </a:lnTo>
                    <a:lnTo>
                      <a:pt x="567" y="1019"/>
                    </a:lnTo>
                    <a:lnTo>
                      <a:pt x="597" y="1026"/>
                    </a:lnTo>
                    <a:lnTo>
                      <a:pt x="626" y="1031"/>
                    </a:lnTo>
                    <a:lnTo>
                      <a:pt x="654" y="1037"/>
                    </a:lnTo>
                    <a:lnTo>
                      <a:pt x="682" y="1041"/>
                    </a:lnTo>
                    <a:lnTo>
                      <a:pt x="710" y="1044"/>
                    </a:lnTo>
                    <a:lnTo>
                      <a:pt x="738" y="1047"/>
                    </a:lnTo>
                    <a:lnTo>
                      <a:pt x="765" y="1050"/>
                    </a:lnTo>
                    <a:lnTo>
                      <a:pt x="792" y="1052"/>
                    </a:lnTo>
                    <a:lnTo>
                      <a:pt x="820" y="1053"/>
                    </a:lnTo>
                    <a:lnTo>
                      <a:pt x="847" y="1053"/>
                    </a:lnTo>
                    <a:lnTo>
                      <a:pt x="873" y="1053"/>
                    </a:lnTo>
                    <a:lnTo>
                      <a:pt x="900" y="1052"/>
                    </a:lnTo>
                    <a:lnTo>
                      <a:pt x="953" y="1049"/>
                    </a:lnTo>
                    <a:lnTo>
                      <a:pt x="1005" y="1044"/>
                    </a:lnTo>
                    <a:lnTo>
                      <a:pt x="1057" y="1038"/>
                    </a:lnTo>
                    <a:lnTo>
                      <a:pt x="1107" y="1029"/>
                    </a:lnTo>
                    <a:lnTo>
                      <a:pt x="1158" y="1020"/>
                    </a:lnTo>
                    <a:lnTo>
                      <a:pt x="1208" y="1010"/>
                    </a:lnTo>
                    <a:lnTo>
                      <a:pt x="1257" y="999"/>
                    </a:lnTo>
                    <a:lnTo>
                      <a:pt x="1307" y="988"/>
                    </a:lnTo>
                    <a:lnTo>
                      <a:pt x="1356" y="976"/>
                    </a:lnTo>
                    <a:lnTo>
                      <a:pt x="1404" y="963"/>
                    </a:lnTo>
                    <a:lnTo>
                      <a:pt x="1425" y="959"/>
                    </a:lnTo>
                    <a:lnTo>
                      <a:pt x="1445" y="954"/>
                    </a:lnTo>
                    <a:lnTo>
                      <a:pt x="1466" y="948"/>
                    </a:lnTo>
                    <a:lnTo>
                      <a:pt x="1486" y="944"/>
                    </a:lnTo>
                    <a:lnTo>
                      <a:pt x="1514" y="937"/>
                    </a:lnTo>
                    <a:lnTo>
                      <a:pt x="1544" y="931"/>
                    </a:lnTo>
                    <a:lnTo>
                      <a:pt x="1573" y="924"/>
                    </a:lnTo>
                    <a:lnTo>
                      <a:pt x="1604" y="918"/>
                    </a:lnTo>
                    <a:lnTo>
                      <a:pt x="1636" y="911"/>
                    </a:lnTo>
                    <a:lnTo>
                      <a:pt x="1669" y="906"/>
                    </a:lnTo>
                    <a:lnTo>
                      <a:pt x="1701" y="901"/>
                    </a:lnTo>
                    <a:lnTo>
                      <a:pt x="1735" y="897"/>
                    </a:lnTo>
                    <a:lnTo>
                      <a:pt x="1785" y="892"/>
                    </a:lnTo>
                    <a:lnTo>
                      <a:pt x="1832" y="890"/>
                    </a:lnTo>
                    <a:lnTo>
                      <a:pt x="1854" y="889"/>
                    </a:lnTo>
                    <a:lnTo>
                      <a:pt x="1876" y="889"/>
                    </a:lnTo>
                    <a:lnTo>
                      <a:pt x="1897" y="890"/>
                    </a:lnTo>
                    <a:lnTo>
                      <a:pt x="1916" y="891"/>
                    </a:lnTo>
                    <a:lnTo>
                      <a:pt x="1935" y="893"/>
                    </a:lnTo>
                    <a:lnTo>
                      <a:pt x="1954" y="895"/>
                    </a:lnTo>
                    <a:lnTo>
                      <a:pt x="1972" y="899"/>
                    </a:lnTo>
                    <a:lnTo>
                      <a:pt x="1989" y="902"/>
                    </a:lnTo>
                    <a:lnTo>
                      <a:pt x="2007" y="906"/>
                    </a:lnTo>
                    <a:lnTo>
                      <a:pt x="2023" y="910"/>
                    </a:lnTo>
                    <a:lnTo>
                      <a:pt x="2038" y="916"/>
                    </a:lnTo>
                    <a:lnTo>
                      <a:pt x="2054" y="922"/>
                    </a:lnTo>
                    <a:lnTo>
                      <a:pt x="2072" y="929"/>
                    </a:lnTo>
                    <a:lnTo>
                      <a:pt x="2088" y="937"/>
                    </a:lnTo>
                    <a:lnTo>
                      <a:pt x="2103" y="946"/>
                    </a:lnTo>
                    <a:lnTo>
                      <a:pt x="2117" y="955"/>
                    </a:lnTo>
                    <a:lnTo>
                      <a:pt x="2130" y="963"/>
                    </a:lnTo>
                    <a:lnTo>
                      <a:pt x="2143" y="973"/>
                    </a:lnTo>
                    <a:lnTo>
                      <a:pt x="2155" y="983"/>
                    </a:lnTo>
                    <a:lnTo>
                      <a:pt x="2165" y="992"/>
                    </a:lnTo>
                    <a:lnTo>
                      <a:pt x="2186" y="1013"/>
                    </a:lnTo>
                    <a:lnTo>
                      <a:pt x="2204" y="1033"/>
                    </a:lnTo>
                    <a:lnTo>
                      <a:pt x="2222" y="1054"/>
                    </a:lnTo>
                    <a:lnTo>
                      <a:pt x="2237" y="1073"/>
                    </a:lnTo>
                    <a:lnTo>
                      <a:pt x="2259" y="1101"/>
                    </a:lnTo>
                    <a:lnTo>
                      <a:pt x="2281" y="1126"/>
                    </a:lnTo>
                    <a:lnTo>
                      <a:pt x="2293" y="1137"/>
                    </a:lnTo>
                    <a:lnTo>
                      <a:pt x="2305" y="1148"/>
                    </a:lnTo>
                    <a:lnTo>
                      <a:pt x="2318" y="1157"/>
                    </a:lnTo>
                    <a:lnTo>
                      <a:pt x="2332" y="1165"/>
                    </a:lnTo>
                    <a:lnTo>
                      <a:pt x="2364" y="1181"/>
                    </a:lnTo>
                    <a:lnTo>
                      <a:pt x="2394" y="1198"/>
                    </a:lnTo>
                    <a:lnTo>
                      <a:pt x="2422" y="1214"/>
                    </a:lnTo>
                    <a:lnTo>
                      <a:pt x="2449" y="1229"/>
                    </a:lnTo>
                    <a:lnTo>
                      <a:pt x="2467" y="1240"/>
                    </a:lnTo>
                    <a:lnTo>
                      <a:pt x="2484" y="1249"/>
                    </a:lnTo>
                    <a:lnTo>
                      <a:pt x="2501" y="1259"/>
                    </a:lnTo>
                    <a:lnTo>
                      <a:pt x="2517" y="1268"/>
                    </a:lnTo>
                    <a:lnTo>
                      <a:pt x="2532" y="1275"/>
                    </a:lnTo>
                    <a:lnTo>
                      <a:pt x="2546" y="1283"/>
                    </a:lnTo>
                    <a:lnTo>
                      <a:pt x="2562" y="1291"/>
                    </a:lnTo>
                    <a:lnTo>
                      <a:pt x="2577" y="1299"/>
                    </a:lnTo>
                    <a:lnTo>
                      <a:pt x="2582" y="1301"/>
                    </a:lnTo>
                    <a:lnTo>
                      <a:pt x="2588" y="1303"/>
                    </a:lnTo>
                    <a:lnTo>
                      <a:pt x="2593" y="1304"/>
                    </a:lnTo>
                    <a:lnTo>
                      <a:pt x="2596" y="1303"/>
                    </a:lnTo>
                    <a:lnTo>
                      <a:pt x="2602" y="1303"/>
                    </a:lnTo>
                    <a:lnTo>
                      <a:pt x="2606" y="1304"/>
                    </a:lnTo>
                    <a:lnTo>
                      <a:pt x="2610" y="1308"/>
                    </a:lnTo>
                    <a:lnTo>
                      <a:pt x="2614" y="1312"/>
                    </a:lnTo>
                    <a:lnTo>
                      <a:pt x="2614" y="1317"/>
                    </a:lnTo>
                    <a:lnTo>
                      <a:pt x="2613" y="1323"/>
                    </a:lnTo>
                    <a:lnTo>
                      <a:pt x="2609" y="1327"/>
                    </a:lnTo>
                    <a:lnTo>
                      <a:pt x="2605" y="1329"/>
                    </a:lnTo>
                    <a:lnTo>
                      <a:pt x="2600" y="1330"/>
                    </a:lnTo>
                    <a:lnTo>
                      <a:pt x="2593" y="1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50"/>
              <p:cNvSpPr>
                <a:spLocks/>
              </p:cNvSpPr>
              <p:nvPr userDrawn="1"/>
            </p:nvSpPr>
            <p:spPr bwMode="auto">
              <a:xfrm>
                <a:off x="1983" y="1293"/>
                <a:ext cx="878" cy="446"/>
              </a:xfrm>
              <a:custGeom>
                <a:avLst/>
                <a:gdLst>
                  <a:gd name="T0" fmla="*/ 2588 w 2635"/>
                  <a:gd name="T1" fmla="*/ 1335 h 1338"/>
                  <a:gd name="T2" fmla="*/ 2521 w 2635"/>
                  <a:gd name="T3" fmla="*/ 1310 h 1338"/>
                  <a:gd name="T4" fmla="*/ 2407 w 2635"/>
                  <a:gd name="T5" fmla="*/ 1256 h 1338"/>
                  <a:gd name="T6" fmla="*/ 2329 w 2635"/>
                  <a:gd name="T7" fmla="*/ 1218 h 1338"/>
                  <a:gd name="T8" fmla="*/ 2268 w 2635"/>
                  <a:gd name="T9" fmla="*/ 1179 h 1338"/>
                  <a:gd name="T10" fmla="*/ 2178 w 2635"/>
                  <a:gd name="T11" fmla="*/ 1095 h 1338"/>
                  <a:gd name="T12" fmla="*/ 2085 w 2635"/>
                  <a:gd name="T13" fmla="*/ 1028 h 1338"/>
                  <a:gd name="T14" fmla="*/ 2023 w 2635"/>
                  <a:gd name="T15" fmla="*/ 999 h 1338"/>
                  <a:gd name="T16" fmla="*/ 1961 w 2635"/>
                  <a:gd name="T17" fmla="*/ 981 h 1338"/>
                  <a:gd name="T18" fmla="*/ 1809 w 2635"/>
                  <a:gd name="T19" fmla="*/ 965 h 1338"/>
                  <a:gd name="T20" fmla="*/ 1661 w 2635"/>
                  <a:gd name="T21" fmla="*/ 972 h 1338"/>
                  <a:gd name="T22" fmla="*/ 1539 w 2635"/>
                  <a:gd name="T23" fmla="*/ 988 h 1338"/>
                  <a:gd name="T24" fmla="*/ 1403 w 2635"/>
                  <a:gd name="T25" fmla="*/ 1013 h 1338"/>
                  <a:gd name="T26" fmla="*/ 1245 w 2635"/>
                  <a:gd name="T27" fmla="*/ 1044 h 1338"/>
                  <a:gd name="T28" fmla="*/ 1054 w 2635"/>
                  <a:gd name="T29" fmla="*/ 1076 h 1338"/>
                  <a:gd name="T30" fmla="*/ 856 w 2635"/>
                  <a:gd name="T31" fmla="*/ 1091 h 1338"/>
                  <a:gd name="T32" fmla="*/ 701 w 2635"/>
                  <a:gd name="T33" fmla="*/ 1084 h 1338"/>
                  <a:gd name="T34" fmla="*/ 596 w 2635"/>
                  <a:gd name="T35" fmla="*/ 1069 h 1338"/>
                  <a:gd name="T36" fmla="*/ 508 w 2635"/>
                  <a:gd name="T37" fmla="*/ 1046 h 1338"/>
                  <a:gd name="T38" fmla="*/ 443 w 2635"/>
                  <a:gd name="T39" fmla="*/ 1011 h 1338"/>
                  <a:gd name="T40" fmla="*/ 381 w 2635"/>
                  <a:gd name="T41" fmla="*/ 957 h 1338"/>
                  <a:gd name="T42" fmla="*/ 319 w 2635"/>
                  <a:gd name="T43" fmla="*/ 890 h 1338"/>
                  <a:gd name="T44" fmla="*/ 234 w 2635"/>
                  <a:gd name="T45" fmla="*/ 771 h 1338"/>
                  <a:gd name="T46" fmla="*/ 136 w 2635"/>
                  <a:gd name="T47" fmla="*/ 595 h 1338"/>
                  <a:gd name="T48" fmla="*/ 70 w 2635"/>
                  <a:gd name="T49" fmla="*/ 444 h 1338"/>
                  <a:gd name="T50" fmla="*/ 24 w 2635"/>
                  <a:gd name="T51" fmla="*/ 306 h 1338"/>
                  <a:gd name="T52" fmla="*/ 1 w 2635"/>
                  <a:gd name="T53" fmla="*/ 170 h 1338"/>
                  <a:gd name="T54" fmla="*/ 1 w 2635"/>
                  <a:gd name="T55" fmla="*/ 108 h 1338"/>
                  <a:gd name="T56" fmla="*/ 13 w 2635"/>
                  <a:gd name="T57" fmla="*/ 52 h 1338"/>
                  <a:gd name="T58" fmla="*/ 35 w 2635"/>
                  <a:gd name="T59" fmla="*/ 6 h 1338"/>
                  <a:gd name="T60" fmla="*/ 55 w 2635"/>
                  <a:gd name="T61" fmla="*/ 3 h 1338"/>
                  <a:gd name="T62" fmla="*/ 58 w 2635"/>
                  <a:gd name="T63" fmla="*/ 21 h 1338"/>
                  <a:gd name="T64" fmla="*/ 36 w 2635"/>
                  <a:gd name="T65" fmla="*/ 64 h 1338"/>
                  <a:gd name="T66" fmla="*/ 27 w 2635"/>
                  <a:gd name="T67" fmla="*/ 116 h 1338"/>
                  <a:gd name="T68" fmla="*/ 28 w 2635"/>
                  <a:gd name="T69" fmla="*/ 174 h 1338"/>
                  <a:gd name="T70" fmla="*/ 51 w 2635"/>
                  <a:gd name="T71" fmla="*/ 304 h 1338"/>
                  <a:gd name="T72" fmla="*/ 95 w 2635"/>
                  <a:gd name="T73" fmla="*/ 435 h 1338"/>
                  <a:gd name="T74" fmla="*/ 159 w 2635"/>
                  <a:gd name="T75" fmla="*/ 583 h 1338"/>
                  <a:gd name="T76" fmla="*/ 254 w 2635"/>
                  <a:gd name="T77" fmla="*/ 753 h 1338"/>
                  <a:gd name="T78" fmla="*/ 366 w 2635"/>
                  <a:gd name="T79" fmla="*/ 903 h 1338"/>
                  <a:gd name="T80" fmla="*/ 425 w 2635"/>
                  <a:gd name="T81" fmla="*/ 962 h 1338"/>
                  <a:gd name="T82" fmla="*/ 486 w 2635"/>
                  <a:gd name="T83" fmla="*/ 1005 h 1338"/>
                  <a:gd name="T84" fmla="*/ 547 w 2635"/>
                  <a:gd name="T85" fmla="*/ 1030 h 1338"/>
                  <a:gd name="T86" fmla="*/ 653 w 2635"/>
                  <a:gd name="T87" fmla="*/ 1051 h 1338"/>
                  <a:gd name="T88" fmla="*/ 755 w 2635"/>
                  <a:gd name="T89" fmla="*/ 1061 h 1338"/>
                  <a:gd name="T90" fmla="*/ 955 w 2635"/>
                  <a:gd name="T91" fmla="*/ 1059 h 1338"/>
                  <a:gd name="T92" fmla="*/ 1146 w 2635"/>
                  <a:gd name="T93" fmla="*/ 1034 h 1338"/>
                  <a:gd name="T94" fmla="*/ 1333 w 2635"/>
                  <a:gd name="T95" fmla="*/ 999 h 1338"/>
                  <a:gd name="T96" fmla="*/ 1465 w 2635"/>
                  <a:gd name="T97" fmla="*/ 974 h 1338"/>
                  <a:gd name="T98" fmla="*/ 1600 w 2635"/>
                  <a:gd name="T99" fmla="*/ 952 h 1338"/>
                  <a:gd name="T100" fmla="*/ 1715 w 2635"/>
                  <a:gd name="T101" fmla="*/ 941 h 1338"/>
                  <a:gd name="T102" fmla="*/ 1894 w 2635"/>
                  <a:gd name="T103" fmla="*/ 943 h 1338"/>
                  <a:gd name="T104" fmla="*/ 2000 w 2635"/>
                  <a:gd name="T105" fmla="*/ 963 h 1338"/>
                  <a:gd name="T106" fmla="*/ 2066 w 2635"/>
                  <a:gd name="T107" fmla="*/ 988 h 1338"/>
                  <a:gd name="T108" fmla="*/ 2151 w 2635"/>
                  <a:gd name="T109" fmla="*/ 1038 h 1338"/>
                  <a:gd name="T110" fmla="*/ 2234 w 2635"/>
                  <a:gd name="T111" fmla="*/ 1111 h 1338"/>
                  <a:gd name="T112" fmla="*/ 2311 w 2635"/>
                  <a:gd name="T113" fmla="*/ 1177 h 1338"/>
                  <a:gd name="T114" fmla="*/ 2381 w 2635"/>
                  <a:gd name="T115" fmla="*/ 1213 h 1338"/>
                  <a:gd name="T116" fmla="*/ 2478 w 2635"/>
                  <a:gd name="T117" fmla="*/ 1261 h 1338"/>
                  <a:gd name="T118" fmla="*/ 2571 w 2635"/>
                  <a:gd name="T119" fmla="*/ 1300 h 1338"/>
                  <a:gd name="T120" fmla="*/ 2613 w 2635"/>
                  <a:gd name="T121" fmla="*/ 1311 h 1338"/>
                  <a:gd name="T122" fmla="*/ 2632 w 2635"/>
                  <a:gd name="T123" fmla="*/ 1314 h 1338"/>
                  <a:gd name="T124" fmla="*/ 2631 w 2635"/>
                  <a:gd name="T125" fmla="*/ 1334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5" h="1338">
                    <a:moveTo>
                      <a:pt x="2612" y="1338"/>
                    </a:moveTo>
                    <a:lnTo>
                      <a:pt x="2604" y="1338"/>
                    </a:lnTo>
                    <a:lnTo>
                      <a:pt x="2597" y="1337"/>
                    </a:lnTo>
                    <a:lnTo>
                      <a:pt x="2588" y="1335"/>
                    </a:lnTo>
                    <a:lnTo>
                      <a:pt x="2579" y="1332"/>
                    </a:lnTo>
                    <a:lnTo>
                      <a:pt x="2560" y="1325"/>
                    </a:lnTo>
                    <a:lnTo>
                      <a:pt x="2536" y="1316"/>
                    </a:lnTo>
                    <a:lnTo>
                      <a:pt x="2521" y="1310"/>
                    </a:lnTo>
                    <a:lnTo>
                      <a:pt x="2494" y="1298"/>
                    </a:lnTo>
                    <a:lnTo>
                      <a:pt x="2466" y="1285"/>
                    </a:lnTo>
                    <a:lnTo>
                      <a:pt x="2437" y="1271"/>
                    </a:lnTo>
                    <a:lnTo>
                      <a:pt x="2407" y="1256"/>
                    </a:lnTo>
                    <a:lnTo>
                      <a:pt x="2387" y="1247"/>
                    </a:lnTo>
                    <a:lnTo>
                      <a:pt x="2369" y="1237"/>
                    </a:lnTo>
                    <a:lnTo>
                      <a:pt x="2349" y="1228"/>
                    </a:lnTo>
                    <a:lnTo>
                      <a:pt x="2329" y="1218"/>
                    </a:lnTo>
                    <a:lnTo>
                      <a:pt x="2313" y="1209"/>
                    </a:lnTo>
                    <a:lnTo>
                      <a:pt x="2297" y="1200"/>
                    </a:lnTo>
                    <a:lnTo>
                      <a:pt x="2282" y="1190"/>
                    </a:lnTo>
                    <a:lnTo>
                      <a:pt x="2268" y="1179"/>
                    </a:lnTo>
                    <a:lnTo>
                      <a:pt x="2241" y="1155"/>
                    </a:lnTo>
                    <a:lnTo>
                      <a:pt x="2215" y="1131"/>
                    </a:lnTo>
                    <a:lnTo>
                      <a:pt x="2197" y="1113"/>
                    </a:lnTo>
                    <a:lnTo>
                      <a:pt x="2178" y="1095"/>
                    </a:lnTo>
                    <a:lnTo>
                      <a:pt x="2157" y="1078"/>
                    </a:lnTo>
                    <a:lnTo>
                      <a:pt x="2135" y="1060"/>
                    </a:lnTo>
                    <a:lnTo>
                      <a:pt x="2111" y="1043"/>
                    </a:lnTo>
                    <a:lnTo>
                      <a:pt x="2085" y="1028"/>
                    </a:lnTo>
                    <a:lnTo>
                      <a:pt x="2070" y="1020"/>
                    </a:lnTo>
                    <a:lnTo>
                      <a:pt x="2056" y="1013"/>
                    </a:lnTo>
                    <a:lnTo>
                      <a:pt x="2039" y="1005"/>
                    </a:lnTo>
                    <a:lnTo>
                      <a:pt x="2023" y="999"/>
                    </a:lnTo>
                    <a:lnTo>
                      <a:pt x="2008" y="995"/>
                    </a:lnTo>
                    <a:lnTo>
                      <a:pt x="1993" y="989"/>
                    </a:lnTo>
                    <a:lnTo>
                      <a:pt x="1977" y="985"/>
                    </a:lnTo>
                    <a:lnTo>
                      <a:pt x="1961" y="981"/>
                    </a:lnTo>
                    <a:lnTo>
                      <a:pt x="1926" y="974"/>
                    </a:lnTo>
                    <a:lnTo>
                      <a:pt x="1889" y="970"/>
                    </a:lnTo>
                    <a:lnTo>
                      <a:pt x="1850" y="966"/>
                    </a:lnTo>
                    <a:lnTo>
                      <a:pt x="1809" y="965"/>
                    </a:lnTo>
                    <a:lnTo>
                      <a:pt x="1764" y="965"/>
                    </a:lnTo>
                    <a:lnTo>
                      <a:pt x="1717" y="968"/>
                    </a:lnTo>
                    <a:lnTo>
                      <a:pt x="1690" y="970"/>
                    </a:lnTo>
                    <a:lnTo>
                      <a:pt x="1661" y="972"/>
                    </a:lnTo>
                    <a:lnTo>
                      <a:pt x="1632" y="975"/>
                    </a:lnTo>
                    <a:lnTo>
                      <a:pt x="1603" y="978"/>
                    </a:lnTo>
                    <a:lnTo>
                      <a:pt x="1572" y="983"/>
                    </a:lnTo>
                    <a:lnTo>
                      <a:pt x="1539" y="988"/>
                    </a:lnTo>
                    <a:lnTo>
                      <a:pt x="1505" y="993"/>
                    </a:lnTo>
                    <a:lnTo>
                      <a:pt x="1469" y="1000"/>
                    </a:lnTo>
                    <a:lnTo>
                      <a:pt x="1437" y="1006"/>
                    </a:lnTo>
                    <a:lnTo>
                      <a:pt x="1403" y="1013"/>
                    </a:lnTo>
                    <a:lnTo>
                      <a:pt x="1371" y="1019"/>
                    </a:lnTo>
                    <a:lnTo>
                      <a:pt x="1339" y="1026"/>
                    </a:lnTo>
                    <a:lnTo>
                      <a:pt x="1291" y="1036"/>
                    </a:lnTo>
                    <a:lnTo>
                      <a:pt x="1245" y="1044"/>
                    </a:lnTo>
                    <a:lnTo>
                      <a:pt x="1197" y="1053"/>
                    </a:lnTo>
                    <a:lnTo>
                      <a:pt x="1150" y="1061"/>
                    </a:lnTo>
                    <a:lnTo>
                      <a:pt x="1102" y="1069"/>
                    </a:lnTo>
                    <a:lnTo>
                      <a:pt x="1054" y="1076"/>
                    </a:lnTo>
                    <a:lnTo>
                      <a:pt x="1005" y="1082"/>
                    </a:lnTo>
                    <a:lnTo>
                      <a:pt x="955" y="1086"/>
                    </a:lnTo>
                    <a:lnTo>
                      <a:pt x="906" y="1090"/>
                    </a:lnTo>
                    <a:lnTo>
                      <a:pt x="856" y="1091"/>
                    </a:lnTo>
                    <a:lnTo>
                      <a:pt x="805" y="1091"/>
                    </a:lnTo>
                    <a:lnTo>
                      <a:pt x="753" y="1088"/>
                    </a:lnTo>
                    <a:lnTo>
                      <a:pt x="727" y="1086"/>
                    </a:lnTo>
                    <a:lnTo>
                      <a:pt x="701" y="1084"/>
                    </a:lnTo>
                    <a:lnTo>
                      <a:pt x="674" y="1081"/>
                    </a:lnTo>
                    <a:lnTo>
                      <a:pt x="649" y="1078"/>
                    </a:lnTo>
                    <a:lnTo>
                      <a:pt x="622" y="1073"/>
                    </a:lnTo>
                    <a:lnTo>
                      <a:pt x="596" y="1069"/>
                    </a:lnTo>
                    <a:lnTo>
                      <a:pt x="569" y="1064"/>
                    </a:lnTo>
                    <a:lnTo>
                      <a:pt x="541" y="1057"/>
                    </a:lnTo>
                    <a:lnTo>
                      <a:pt x="524" y="1053"/>
                    </a:lnTo>
                    <a:lnTo>
                      <a:pt x="508" y="1046"/>
                    </a:lnTo>
                    <a:lnTo>
                      <a:pt x="492" y="1039"/>
                    </a:lnTo>
                    <a:lnTo>
                      <a:pt x="476" y="1030"/>
                    </a:lnTo>
                    <a:lnTo>
                      <a:pt x="460" y="1020"/>
                    </a:lnTo>
                    <a:lnTo>
                      <a:pt x="443" y="1011"/>
                    </a:lnTo>
                    <a:lnTo>
                      <a:pt x="428" y="999"/>
                    </a:lnTo>
                    <a:lnTo>
                      <a:pt x="412" y="986"/>
                    </a:lnTo>
                    <a:lnTo>
                      <a:pt x="396" y="972"/>
                    </a:lnTo>
                    <a:lnTo>
                      <a:pt x="381" y="957"/>
                    </a:lnTo>
                    <a:lnTo>
                      <a:pt x="365" y="942"/>
                    </a:lnTo>
                    <a:lnTo>
                      <a:pt x="349" y="924"/>
                    </a:lnTo>
                    <a:lnTo>
                      <a:pt x="334" y="908"/>
                    </a:lnTo>
                    <a:lnTo>
                      <a:pt x="319" y="890"/>
                    </a:lnTo>
                    <a:lnTo>
                      <a:pt x="304" y="871"/>
                    </a:lnTo>
                    <a:lnTo>
                      <a:pt x="290" y="852"/>
                    </a:lnTo>
                    <a:lnTo>
                      <a:pt x="261" y="812"/>
                    </a:lnTo>
                    <a:lnTo>
                      <a:pt x="234" y="771"/>
                    </a:lnTo>
                    <a:lnTo>
                      <a:pt x="207" y="728"/>
                    </a:lnTo>
                    <a:lnTo>
                      <a:pt x="182" y="684"/>
                    </a:lnTo>
                    <a:lnTo>
                      <a:pt x="158" y="639"/>
                    </a:lnTo>
                    <a:lnTo>
                      <a:pt x="136" y="595"/>
                    </a:lnTo>
                    <a:lnTo>
                      <a:pt x="115" y="552"/>
                    </a:lnTo>
                    <a:lnTo>
                      <a:pt x="96" y="509"/>
                    </a:lnTo>
                    <a:lnTo>
                      <a:pt x="83" y="476"/>
                    </a:lnTo>
                    <a:lnTo>
                      <a:pt x="70" y="444"/>
                    </a:lnTo>
                    <a:lnTo>
                      <a:pt x="57" y="409"/>
                    </a:lnTo>
                    <a:lnTo>
                      <a:pt x="45" y="375"/>
                    </a:lnTo>
                    <a:lnTo>
                      <a:pt x="34" y="340"/>
                    </a:lnTo>
                    <a:lnTo>
                      <a:pt x="24" y="306"/>
                    </a:lnTo>
                    <a:lnTo>
                      <a:pt x="16" y="270"/>
                    </a:lnTo>
                    <a:lnTo>
                      <a:pt x="8" y="237"/>
                    </a:lnTo>
                    <a:lnTo>
                      <a:pt x="4" y="202"/>
                    </a:lnTo>
                    <a:lnTo>
                      <a:pt x="1" y="170"/>
                    </a:lnTo>
                    <a:lnTo>
                      <a:pt x="0" y="154"/>
                    </a:lnTo>
                    <a:lnTo>
                      <a:pt x="0" y="139"/>
                    </a:lnTo>
                    <a:lnTo>
                      <a:pt x="0" y="122"/>
                    </a:lnTo>
                    <a:lnTo>
                      <a:pt x="1" y="108"/>
                    </a:lnTo>
                    <a:lnTo>
                      <a:pt x="3" y="93"/>
                    </a:lnTo>
                    <a:lnTo>
                      <a:pt x="5" y="79"/>
                    </a:lnTo>
                    <a:lnTo>
                      <a:pt x="8" y="65"/>
                    </a:lnTo>
                    <a:lnTo>
                      <a:pt x="13" y="52"/>
                    </a:lnTo>
                    <a:lnTo>
                      <a:pt x="17" y="40"/>
                    </a:lnTo>
                    <a:lnTo>
                      <a:pt x="22" y="27"/>
                    </a:lnTo>
                    <a:lnTo>
                      <a:pt x="29" y="17"/>
                    </a:lnTo>
                    <a:lnTo>
                      <a:pt x="35" y="6"/>
                    </a:lnTo>
                    <a:lnTo>
                      <a:pt x="40" y="1"/>
                    </a:lnTo>
                    <a:lnTo>
                      <a:pt x="44" y="0"/>
                    </a:lnTo>
                    <a:lnTo>
                      <a:pt x="49" y="0"/>
                    </a:lnTo>
                    <a:lnTo>
                      <a:pt x="55" y="3"/>
                    </a:lnTo>
                    <a:lnTo>
                      <a:pt x="58" y="6"/>
                    </a:lnTo>
                    <a:lnTo>
                      <a:pt x="60" y="11"/>
                    </a:lnTo>
                    <a:lnTo>
                      <a:pt x="60" y="17"/>
                    </a:lnTo>
                    <a:lnTo>
                      <a:pt x="58" y="21"/>
                    </a:lnTo>
                    <a:lnTo>
                      <a:pt x="51" y="31"/>
                    </a:lnTo>
                    <a:lnTo>
                      <a:pt x="45" y="41"/>
                    </a:lnTo>
                    <a:lnTo>
                      <a:pt x="41" y="52"/>
                    </a:lnTo>
                    <a:lnTo>
                      <a:pt x="36" y="64"/>
                    </a:lnTo>
                    <a:lnTo>
                      <a:pt x="33" y="77"/>
                    </a:lnTo>
                    <a:lnTo>
                      <a:pt x="30" y="89"/>
                    </a:lnTo>
                    <a:lnTo>
                      <a:pt x="29" y="103"/>
                    </a:lnTo>
                    <a:lnTo>
                      <a:pt x="27" y="116"/>
                    </a:lnTo>
                    <a:lnTo>
                      <a:pt x="27" y="130"/>
                    </a:lnTo>
                    <a:lnTo>
                      <a:pt x="26" y="145"/>
                    </a:lnTo>
                    <a:lnTo>
                      <a:pt x="27" y="159"/>
                    </a:lnTo>
                    <a:lnTo>
                      <a:pt x="28" y="174"/>
                    </a:lnTo>
                    <a:lnTo>
                      <a:pt x="31" y="205"/>
                    </a:lnTo>
                    <a:lnTo>
                      <a:pt x="36" y="238"/>
                    </a:lnTo>
                    <a:lnTo>
                      <a:pt x="43" y="270"/>
                    </a:lnTo>
                    <a:lnTo>
                      <a:pt x="51" y="304"/>
                    </a:lnTo>
                    <a:lnTo>
                      <a:pt x="61" y="336"/>
                    </a:lnTo>
                    <a:lnTo>
                      <a:pt x="71" y="370"/>
                    </a:lnTo>
                    <a:lnTo>
                      <a:pt x="83" y="403"/>
                    </a:lnTo>
                    <a:lnTo>
                      <a:pt x="95" y="435"/>
                    </a:lnTo>
                    <a:lnTo>
                      <a:pt x="108" y="468"/>
                    </a:lnTo>
                    <a:lnTo>
                      <a:pt x="121" y="498"/>
                    </a:lnTo>
                    <a:lnTo>
                      <a:pt x="139" y="540"/>
                    </a:lnTo>
                    <a:lnTo>
                      <a:pt x="159" y="583"/>
                    </a:lnTo>
                    <a:lnTo>
                      <a:pt x="181" y="625"/>
                    </a:lnTo>
                    <a:lnTo>
                      <a:pt x="204" y="669"/>
                    </a:lnTo>
                    <a:lnTo>
                      <a:pt x="229" y="712"/>
                    </a:lnTo>
                    <a:lnTo>
                      <a:pt x="254" y="753"/>
                    </a:lnTo>
                    <a:lnTo>
                      <a:pt x="280" y="794"/>
                    </a:lnTo>
                    <a:lnTo>
                      <a:pt x="308" y="833"/>
                    </a:lnTo>
                    <a:lnTo>
                      <a:pt x="337" y="869"/>
                    </a:lnTo>
                    <a:lnTo>
                      <a:pt x="366" y="903"/>
                    </a:lnTo>
                    <a:lnTo>
                      <a:pt x="380" y="919"/>
                    </a:lnTo>
                    <a:lnTo>
                      <a:pt x="395" y="934"/>
                    </a:lnTo>
                    <a:lnTo>
                      <a:pt x="410" y="948"/>
                    </a:lnTo>
                    <a:lnTo>
                      <a:pt x="425" y="962"/>
                    </a:lnTo>
                    <a:lnTo>
                      <a:pt x="440" y="974"/>
                    </a:lnTo>
                    <a:lnTo>
                      <a:pt x="455" y="986"/>
                    </a:lnTo>
                    <a:lnTo>
                      <a:pt x="470" y="997"/>
                    </a:lnTo>
                    <a:lnTo>
                      <a:pt x="486" y="1005"/>
                    </a:lnTo>
                    <a:lnTo>
                      <a:pt x="502" y="1014"/>
                    </a:lnTo>
                    <a:lnTo>
                      <a:pt x="517" y="1020"/>
                    </a:lnTo>
                    <a:lnTo>
                      <a:pt x="532" y="1026"/>
                    </a:lnTo>
                    <a:lnTo>
                      <a:pt x="547" y="1030"/>
                    </a:lnTo>
                    <a:lnTo>
                      <a:pt x="574" y="1037"/>
                    </a:lnTo>
                    <a:lnTo>
                      <a:pt x="600" y="1042"/>
                    </a:lnTo>
                    <a:lnTo>
                      <a:pt x="627" y="1047"/>
                    </a:lnTo>
                    <a:lnTo>
                      <a:pt x="653" y="1051"/>
                    </a:lnTo>
                    <a:lnTo>
                      <a:pt x="679" y="1055"/>
                    </a:lnTo>
                    <a:lnTo>
                      <a:pt x="705" y="1057"/>
                    </a:lnTo>
                    <a:lnTo>
                      <a:pt x="731" y="1060"/>
                    </a:lnTo>
                    <a:lnTo>
                      <a:pt x="755" y="1061"/>
                    </a:lnTo>
                    <a:lnTo>
                      <a:pt x="806" y="1064"/>
                    </a:lnTo>
                    <a:lnTo>
                      <a:pt x="856" y="1064"/>
                    </a:lnTo>
                    <a:lnTo>
                      <a:pt x="906" y="1063"/>
                    </a:lnTo>
                    <a:lnTo>
                      <a:pt x="955" y="1059"/>
                    </a:lnTo>
                    <a:lnTo>
                      <a:pt x="1003" y="1055"/>
                    </a:lnTo>
                    <a:lnTo>
                      <a:pt x="1051" y="1049"/>
                    </a:lnTo>
                    <a:lnTo>
                      <a:pt x="1099" y="1042"/>
                    </a:lnTo>
                    <a:lnTo>
                      <a:pt x="1146" y="1034"/>
                    </a:lnTo>
                    <a:lnTo>
                      <a:pt x="1194" y="1026"/>
                    </a:lnTo>
                    <a:lnTo>
                      <a:pt x="1240" y="1017"/>
                    </a:lnTo>
                    <a:lnTo>
                      <a:pt x="1287" y="1009"/>
                    </a:lnTo>
                    <a:lnTo>
                      <a:pt x="1333" y="999"/>
                    </a:lnTo>
                    <a:lnTo>
                      <a:pt x="1366" y="992"/>
                    </a:lnTo>
                    <a:lnTo>
                      <a:pt x="1399" y="986"/>
                    </a:lnTo>
                    <a:lnTo>
                      <a:pt x="1431" y="979"/>
                    </a:lnTo>
                    <a:lnTo>
                      <a:pt x="1465" y="974"/>
                    </a:lnTo>
                    <a:lnTo>
                      <a:pt x="1501" y="968"/>
                    </a:lnTo>
                    <a:lnTo>
                      <a:pt x="1535" y="961"/>
                    </a:lnTo>
                    <a:lnTo>
                      <a:pt x="1569" y="957"/>
                    </a:lnTo>
                    <a:lnTo>
                      <a:pt x="1600" y="952"/>
                    </a:lnTo>
                    <a:lnTo>
                      <a:pt x="1630" y="948"/>
                    </a:lnTo>
                    <a:lnTo>
                      <a:pt x="1659" y="945"/>
                    </a:lnTo>
                    <a:lnTo>
                      <a:pt x="1687" y="943"/>
                    </a:lnTo>
                    <a:lnTo>
                      <a:pt x="1715" y="941"/>
                    </a:lnTo>
                    <a:lnTo>
                      <a:pt x="1764" y="938"/>
                    </a:lnTo>
                    <a:lnTo>
                      <a:pt x="1810" y="938"/>
                    </a:lnTo>
                    <a:lnTo>
                      <a:pt x="1854" y="939"/>
                    </a:lnTo>
                    <a:lnTo>
                      <a:pt x="1894" y="943"/>
                    </a:lnTo>
                    <a:lnTo>
                      <a:pt x="1931" y="948"/>
                    </a:lnTo>
                    <a:lnTo>
                      <a:pt x="1967" y="955"/>
                    </a:lnTo>
                    <a:lnTo>
                      <a:pt x="1984" y="959"/>
                    </a:lnTo>
                    <a:lnTo>
                      <a:pt x="2000" y="963"/>
                    </a:lnTo>
                    <a:lnTo>
                      <a:pt x="2017" y="969"/>
                    </a:lnTo>
                    <a:lnTo>
                      <a:pt x="2032" y="974"/>
                    </a:lnTo>
                    <a:lnTo>
                      <a:pt x="2050" y="981"/>
                    </a:lnTo>
                    <a:lnTo>
                      <a:pt x="2066" y="988"/>
                    </a:lnTo>
                    <a:lnTo>
                      <a:pt x="2083" y="996"/>
                    </a:lnTo>
                    <a:lnTo>
                      <a:pt x="2098" y="1004"/>
                    </a:lnTo>
                    <a:lnTo>
                      <a:pt x="2125" y="1020"/>
                    </a:lnTo>
                    <a:lnTo>
                      <a:pt x="2151" y="1038"/>
                    </a:lnTo>
                    <a:lnTo>
                      <a:pt x="2173" y="1056"/>
                    </a:lnTo>
                    <a:lnTo>
                      <a:pt x="2195" y="1074"/>
                    </a:lnTo>
                    <a:lnTo>
                      <a:pt x="2214" y="1093"/>
                    </a:lnTo>
                    <a:lnTo>
                      <a:pt x="2234" y="1111"/>
                    </a:lnTo>
                    <a:lnTo>
                      <a:pt x="2260" y="1136"/>
                    </a:lnTo>
                    <a:lnTo>
                      <a:pt x="2286" y="1158"/>
                    </a:lnTo>
                    <a:lnTo>
                      <a:pt x="2299" y="1168"/>
                    </a:lnTo>
                    <a:lnTo>
                      <a:pt x="2311" y="1177"/>
                    </a:lnTo>
                    <a:lnTo>
                      <a:pt x="2326" y="1186"/>
                    </a:lnTo>
                    <a:lnTo>
                      <a:pt x="2341" y="1193"/>
                    </a:lnTo>
                    <a:lnTo>
                      <a:pt x="2360" y="1203"/>
                    </a:lnTo>
                    <a:lnTo>
                      <a:pt x="2381" y="1213"/>
                    </a:lnTo>
                    <a:lnTo>
                      <a:pt x="2400" y="1222"/>
                    </a:lnTo>
                    <a:lnTo>
                      <a:pt x="2418" y="1232"/>
                    </a:lnTo>
                    <a:lnTo>
                      <a:pt x="2449" y="1247"/>
                    </a:lnTo>
                    <a:lnTo>
                      <a:pt x="2478" y="1261"/>
                    </a:lnTo>
                    <a:lnTo>
                      <a:pt x="2505" y="1273"/>
                    </a:lnTo>
                    <a:lnTo>
                      <a:pt x="2531" y="1285"/>
                    </a:lnTo>
                    <a:lnTo>
                      <a:pt x="2547" y="1290"/>
                    </a:lnTo>
                    <a:lnTo>
                      <a:pt x="2571" y="1300"/>
                    </a:lnTo>
                    <a:lnTo>
                      <a:pt x="2590" y="1308"/>
                    </a:lnTo>
                    <a:lnTo>
                      <a:pt x="2599" y="1310"/>
                    </a:lnTo>
                    <a:lnTo>
                      <a:pt x="2606" y="1311"/>
                    </a:lnTo>
                    <a:lnTo>
                      <a:pt x="2613" y="1311"/>
                    </a:lnTo>
                    <a:lnTo>
                      <a:pt x="2618" y="1310"/>
                    </a:lnTo>
                    <a:lnTo>
                      <a:pt x="2624" y="1310"/>
                    </a:lnTo>
                    <a:lnTo>
                      <a:pt x="2628" y="1311"/>
                    </a:lnTo>
                    <a:lnTo>
                      <a:pt x="2632" y="1314"/>
                    </a:lnTo>
                    <a:lnTo>
                      <a:pt x="2635" y="1318"/>
                    </a:lnTo>
                    <a:lnTo>
                      <a:pt x="2635" y="1324"/>
                    </a:lnTo>
                    <a:lnTo>
                      <a:pt x="2634" y="1329"/>
                    </a:lnTo>
                    <a:lnTo>
                      <a:pt x="2631" y="1334"/>
                    </a:lnTo>
                    <a:lnTo>
                      <a:pt x="2627" y="1336"/>
                    </a:lnTo>
                    <a:lnTo>
                      <a:pt x="2619" y="1338"/>
                    </a:lnTo>
                    <a:lnTo>
                      <a:pt x="2612" y="1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51"/>
              <p:cNvSpPr>
                <a:spLocks/>
              </p:cNvSpPr>
              <p:nvPr userDrawn="1"/>
            </p:nvSpPr>
            <p:spPr bwMode="auto">
              <a:xfrm>
                <a:off x="2001" y="1265"/>
                <a:ext cx="886" cy="449"/>
              </a:xfrm>
              <a:custGeom>
                <a:avLst/>
                <a:gdLst>
                  <a:gd name="T0" fmla="*/ 2566 w 2659"/>
                  <a:gd name="T1" fmla="*/ 1335 h 1345"/>
                  <a:gd name="T2" fmla="*/ 2479 w 2659"/>
                  <a:gd name="T3" fmla="*/ 1308 h 1345"/>
                  <a:gd name="T4" fmla="*/ 2394 w 2659"/>
                  <a:gd name="T5" fmla="*/ 1271 h 1345"/>
                  <a:gd name="T6" fmla="*/ 2308 w 2659"/>
                  <a:gd name="T7" fmla="*/ 1231 h 1345"/>
                  <a:gd name="T8" fmla="*/ 2219 w 2659"/>
                  <a:gd name="T9" fmla="*/ 1172 h 1345"/>
                  <a:gd name="T10" fmla="*/ 2126 w 2659"/>
                  <a:gd name="T11" fmla="*/ 1108 h 1345"/>
                  <a:gd name="T12" fmla="*/ 2004 w 2659"/>
                  <a:gd name="T13" fmla="*/ 1052 h 1345"/>
                  <a:gd name="T14" fmla="*/ 1868 w 2659"/>
                  <a:gd name="T15" fmla="*/ 1021 h 1345"/>
                  <a:gd name="T16" fmla="*/ 1698 w 2659"/>
                  <a:gd name="T17" fmla="*/ 1012 h 1345"/>
                  <a:gd name="T18" fmla="*/ 1581 w 2659"/>
                  <a:gd name="T19" fmla="*/ 1016 h 1345"/>
                  <a:gd name="T20" fmla="*/ 1448 w 2659"/>
                  <a:gd name="T21" fmla="*/ 1030 h 1345"/>
                  <a:gd name="T22" fmla="*/ 1356 w 2659"/>
                  <a:gd name="T23" fmla="*/ 1043 h 1345"/>
                  <a:gd name="T24" fmla="*/ 1266 w 2659"/>
                  <a:gd name="T25" fmla="*/ 1057 h 1345"/>
                  <a:gd name="T26" fmla="*/ 999 w 2659"/>
                  <a:gd name="T27" fmla="*/ 1094 h 1345"/>
                  <a:gd name="T28" fmla="*/ 814 w 2659"/>
                  <a:gd name="T29" fmla="*/ 1102 h 1345"/>
                  <a:gd name="T30" fmla="*/ 622 w 2659"/>
                  <a:gd name="T31" fmla="*/ 1087 h 1345"/>
                  <a:gd name="T32" fmla="*/ 489 w 2659"/>
                  <a:gd name="T33" fmla="*/ 1057 h 1345"/>
                  <a:gd name="T34" fmla="*/ 423 w 2659"/>
                  <a:gd name="T35" fmla="*/ 1018 h 1345"/>
                  <a:gd name="T36" fmla="*/ 358 w 2659"/>
                  <a:gd name="T37" fmla="*/ 961 h 1345"/>
                  <a:gd name="T38" fmla="*/ 297 w 2659"/>
                  <a:gd name="T39" fmla="*/ 890 h 1345"/>
                  <a:gd name="T40" fmla="*/ 212 w 2659"/>
                  <a:gd name="T41" fmla="*/ 766 h 1345"/>
                  <a:gd name="T42" fmla="*/ 121 w 2659"/>
                  <a:gd name="T43" fmla="*/ 593 h 1345"/>
                  <a:gd name="T44" fmla="*/ 64 w 2659"/>
                  <a:gd name="T45" fmla="*/ 450 h 1345"/>
                  <a:gd name="T46" fmla="*/ 22 w 2659"/>
                  <a:gd name="T47" fmla="*/ 313 h 1345"/>
                  <a:gd name="T48" fmla="*/ 1 w 2659"/>
                  <a:gd name="T49" fmla="*/ 176 h 1345"/>
                  <a:gd name="T50" fmla="*/ 2 w 2659"/>
                  <a:gd name="T51" fmla="*/ 113 h 1345"/>
                  <a:gd name="T52" fmla="*/ 15 w 2659"/>
                  <a:gd name="T53" fmla="*/ 55 h 1345"/>
                  <a:gd name="T54" fmla="*/ 40 w 2659"/>
                  <a:gd name="T55" fmla="*/ 6 h 1345"/>
                  <a:gd name="T56" fmla="*/ 59 w 2659"/>
                  <a:gd name="T57" fmla="*/ 2 h 1345"/>
                  <a:gd name="T58" fmla="*/ 61 w 2659"/>
                  <a:gd name="T59" fmla="*/ 21 h 1345"/>
                  <a:gd name="T60" fmla="*/ 39 w 2659"/>
                  <a:gd name="T61" fmla="*/ 67 h 1345"/>
                  <a:gd name="T62" fmla="*/ 28 w 2659"/>
                  <a:gd name="T63" fmla="*/ 121 h 1345"/>
                  <a:gd name="T64" fmla="*/ 28 w 2659"/>
                  <a:gd name="T65" fmla="*/ 182 h 1345"/>
                  <a:gd name="T66" fmla="*/ 49 w 2659"/>
                  <a:gd name="T67" fmla="*/ 312 h 1345"/>
                  <a:gd name="T68" fmla="*/ 113 w 2659"/>
                  <a:gd name="T69" fmla="*/ 503 h 1345"/>
                  <a:gd name="T70" fmla="*/ 195 w 2659"/>
                  <a:gd name="T71" fmla="*/ 681 h 1345"/>
                  <a:gd name="T72" fmla="*/ 299 w 2659"/>
                  <a:gd name="T73" fmla="*/ 848 h 1345"/>
                  <a:gd name="T74" fmla="*/ 385 w 2659"/>
                  <a:gd name="T75" fmla="*/ 948 h 1345"/>
                  <a:gd name="T76" fmla="*/ 443 w 2659"/>
                  <a:gd name="T77" fmla="*/ 999 h 1345"/>
                  <a:gd name="T78" fmla="*/ 501 w 2659"/>
                  <a:gd name="T79" fmla="*/ 1032 h 1345"/>
                  <a:gd name="T80" fmla="*/ 626 w 2659"/>
                  <a:gd name="T81" fmla="*/ 1061 h 1345"/>
                  <a:gd name="T82" fmla="*/ 815 w 2659"/>
                  <a:gd name="T83" fmla="*/ 1075 h 1345"/>
                  <a:gd name="T84" fmla="*/ 997 w 2659"/>
                  <a:gd name="T85" fmla="*/ 1067 h 1345"/>
                  <a:gd name="T86" fmla="*/ 1262 w 2659"/>
                  <a:gd name="T87" fmla="*/ 1030 h 1345"/>
                  <a:gd name="T88" fmla="*/ 1353 w 2659"/>
                  <a:gd name="T89" fmla="*/ 1016 h 1345"/>
                  <a:gd name="T90" fmla="*/ 1444 w 2659"/>
                  <a:gd name="T91" fmla="*/ 1003 h 1345"/>
                  <a:gd name="T92" fmla="*/ 1578 w 2659"/>
                  <a:gd name="T93" fmla="*/ 989 h 1345"/>
                  <a:gd name="T94" fmla="*/ 1698 w 2659"/>
                  <a:gd name="T95" fmla="*/ 985 h 1345"/>
                  <a:gd name="T96" fmla="*/ 1871 w 2659"/>
                  <a:gd name="T97" fmla="*/ 995 h 1345"/>
                  <a:gd name="T98" fmla="*/ 2012 w 2659"/>
                  <a:gd name="T99" fmla="*/ 1026 h 1345"/>
                  <a:gd name="T100" fmla="*/ 2139 w 2659"/>
                  <a:gd name="T101" fmla="*/ 1085 h 1345"/>
                  <a:gd name="T102" fmla="*/ 2235 w 2659"/>
                  <a:gd name="T103" fmla="*/ 1150 h 1345"/>
                  <a:gd name="T104" fmla="*/ 2320 w 2659"/>
                  <a:gd name="T105" fmla="*/ 1207 h 1345"/>
                  <a:gd name="T106" fmla="*/ 2403 w 2659"/>
                  <a:gd name="T107" fmla="*/ 1246 h 1345"/>
                  <a:gd name="T108" fmla="*/ 2488 w 2659"/>
                  <a:gd name="T109" fmla="*/ 1282 h 1345"/>
                  <a:gd name="T110" fmla="*/ 2578 w 2659"/>
                  <a:gd name="T111" fmla="*/ 1310 h 1345"/>
                  <a:gd name="T112" fmla="*/ 2634 w 2659"/>
                  <a:gd name="T113" fmla="*/ 1318 h 1345"/>
                  <a:gd name="T114" fmla="*/ 2656 w 2659"/>
                  <a:gd name="T115" fmla="*/ 1321 h 1345"/>
                  <a:gd name="T116" fmla="*/ 2655 w 2659"/>
                  <a:gd name="T117" fmla="*/ 1340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9" h="1345">
                    <a:moveTo>
                      <a:pt x="2628" y="1345"/>
                    </a:moveTo>
                    <a:lnTo>
                      <a:pt x="2610" y="1344"/>
                    </a:lnTo>
                    <a:lnTo>
                      <a:pt x="2589" y="1341"/>
                    </a:lnTo>
                    <a:lnTo>
                      <a:pt x="2566" y="1335"/>
                    </a:lnTo>
                    <a:lnTo>
                      <a:pt x="2539" y="1328"/>
                    </a:lnTo>
                    <a:lnTo>
                      <a:pt x="2519" y="1322"/>
                    </a:lnTo>
                    <a:lnTo>
                      <a:pt x="2499" y="1315"/>
                    </a:lnTo>
                    <a:lnTo>
                      <a:pt x="2479" y="1308"/>
                    </a:lnTo>
                    <a:lnTo>
                      <a:pt x="2458" y="1299"/>
                    </a:lnTo>
                    <a:lnTo>
                      <a:pt x="2437" y="1290"/>
                    </a:lnTo>
                    <a:lnTo>
                      <a:pt x="2415" y="1281"/>
                    </a:lnTo>
                    <a:lnTo>
                      <a:pt x="2394" y="1271"/>
                    </a:lnTo>
                    <a:lnTo>
                      <a:pt x="2370" y="1260"/>
                    </a:lnTo>
                    <a:lnTo>
                      <a:pt x="2340" y="1247"/>
                    </a:lnTo>
                    <a:lnTo>
                      <a:pt x="2323" y="1240"/>
                    </a:lnTo>
                    <a:lnTo>
                      <a:pt x="2308" y="1231"/>
                    </a:lnTo>
                    <a:lnTo>
                      <a:pt x="2293" y="1222"/>
                    </a:lnTo>
                    <a:lnTo>
                      <a:pt x="2278" y="1213"/>
                    </a:lnTo>
                    <a:lnTo>
                      <a:pt x="2249" y="1192"/>
                    </a:lnTo>
                    <a:lnTo>
                      <a:pt x="2219" y="1172"/>
                    </a:lnTo>
                    <a:lnTo>
                      <a:pt x="2197" y="1155"/>
                    </a:lnTo>
                    <a:lnTo>
                      <a:pt x="2174" y="1140"/>
                    </a:lnTo>
                    <a:lnTo>
                      <a:pt x="2151" y="1124"/>
                    </a:lnTo>
                    <a:lnTo>
                      <a:pt x="2126" y="1108"/>
                    </a:lnTo>
                    <a:lnTo>
                      <a:pt x="2099" y="1093"/>
                    </a:lnTo>
                    <a:lnTo>
                      <a:pt x="2070" y="1079"/>
                    </a:lnTo>
                    <a:lnTo>
                      <a:pt x="2037" y="1065"/>
                    </a:lnTo>
                    <a:lnTo>
                      <a:pt x="2004" y="1052"/>
                    </a:lnTo>
                    <a:lnTo>
                      <a:pt x="1972" y="1042"/>
                    </a:lnTo>
                    <a:lnTo>
                      <a:pt x="1939" y="1033"/>
                    </a:lnTo>
                    <a:lnTo>
                      <a:pt x="1904" y="1027"/>
                    </a:lnTo>
                    <a:lnTo>
                      <a:pt x="1868" y="1021"/>
                    </a:lnTo>
                    <a:lnTo>
                      <a:pt x="1829" y="1017"/>
                    </a:lnTo>
                    <a:lnTo>
                      <a:pt x="1787" y="1014"/>
                    </a:lnTo>
                    <a:lnTo>
                      <a:pt x="1744" y="1012"/>
                    </a:lnTo>
                    <a:lnTo>
                      <a:pt x="1698" y="1012"/>
                    </a:lnTo>
                    <a:lnTo>
                      <a:pt x="1670" y="1012"/>
                    </a:lnTo>
                    <a:lnTo>
                      <a:pt x="1641" y="1013"/>
                    </a:lnTo>
                    <a:lnTo>
                      <a:pt x="1611" y="1014"/>
                    </a:lnTo>
                    <a:lnTo>
                      <a:pt x="1581" y="1016"/>
                    </a:lnTo>
                    <a:lnTo>
                      <a:pt x="1549" y="1019"/>
                    </a:lnTo>
                    <a:lnTo>
                      <a:pt x="1517" y="1023"/>
                    </a:lnTo>
                    <a:lnTo>
                      <a:pt x="1483" y="1026"/>
                    </a:lnTo>
                    <a:lnTo>
                      <a:pt x="1448" y="1030"/>
                    </a:lnTo>
                    <a:lnTo>
                      <a:pt x="1425" y="1033"/>
                    </a:lnTo>
                    <a:lnTo>
                      <a:pt x="1402" y="1037"/>
                    </a:lnTo>
                    <a:lnTo>
                      <a:pt x="1380" y="1040"/>
                    </a:lnTo>
                    <a:lnTo>
                      <a:pt x="1356" y="1043"/>
                    </a:lnTo>
                    <a:lnTo>
                      <a:pt x="1333" y="1046"/>
                    </a:lnTo>
                    <a:lnTo>
                      <a:pt x="1311" y="1051"/>
                    </a:lnTo>
                    <a:lnTo>
                      <a:pt x="1288" y="1054"/>
                    </a:lnTo>
                    <a:lnTo>
                      <a:pt x="1266" y="1057"/>
                    </a:lnTo>
                    <a:lnTo>
                      <a:pt x="1178" y="1071"/>
                    </a:lnTo>
                    <a:lnTo>
                      <a:pt x="1088" y="1083"/>
                    </a:lnTo>
                    <a:lnTo>
                      <a:pt x="1044" y="1090"/>
                    </a:lnTo>
                    <a:lnTo>
                      <a:pt x="999" y="1094"/>
                    </a:lnTo>
                    <a:lnTo>
                      <a:pt x="953" y="1098"/>
                    </a:lnTo>
                    <a:lnTo>
                      <a:pt x="907" y="1100"/>
                    </a:lnTo>
                    <a:lnTo>
                      <a:pt x="860" y="1102"/>
                    </a:lnTo>
                    <a:lnTo>
                      <a:pt x="814" y="1102"/>
                    </a:lnTo>
                    <a:lnTo>
                      <a:pt x="766" y="1101"/>
                    </a:lnTo>
                    <a:lnTo>
                      <a:pt x="719" y="1099"/>
                    </a:lnTo>
                    <a:lnTo>
                      <a:pt x="670" y="1094"/>
                    </a:lnTo>
                    <a:lnTo>
                      <a:pt x="622" y="1087"/>
                    </a:lnTo>
                    <a:lnTo>
                      <a:pt x="573" y="1079"/>
                    </a:lnTo>
                    <a:lnTo>
                      <a:pt x="522" y="1068"/>
                    </a:lnTo>
                    <a:lnTo>
                      <a:pt x="506" y="1064"/>
                    </a:lnTo>
                    <a:lnTo>
                      <a:pt x="489" y="1057"/>
                    </a:lnTo>
                    <a:lnTo>
                      <a:pt x="473" y="1050"/>
                    </a:lnTo>
                    <a:lnTo>
                      <a:pt x="456" y="1040"/>
                    </a:lnTo>
                    <a:lnTo>
                      <a:pt x="439" y="1030"/>
                    </a:lnTo>
                    <a:lnTo>
                      <a:pt x="423" y="1018"/>
                    </a:lnTo>
                    <a:lnTo>
                      <a:pt x="407" y="1005"/>
                    </a:lnTo>
                    <a:lnTo>
                      <a:pt x="391" y="991"/>
                    </a:lnTo>
                    <a:lnTo>
                      <a:pt x="374" y="976"/>
                    </a:lnTo>
                    <a:lnTo>
                      <a:pt x="358" y="961"/>
                    </a:lnTo>
                    <a:lnTo>
                      <a:pt x="342" y="944"/>
                    </a:lnTo>
                    <a:lnTo>
                      <a:pt x="327" y="927"/>
                    </a:lnTo>
                    <a:lnTo>
                      <a:pt x="312" y="908"/>
                    </a:lnTo>
                    <a:lnTo>
                      <a:pt x="297" y="890"/>
                    </a:lnTo>
                    <a:lnTo>
                      <a:pt x="282" y="869"/>
                    </a:lnTo>
                    <a:lnTo>
                      <a:pt x="267" y="850"/>
                    </a:lnTo>
                    <a:lnTo>
                      <a:pt x="239" y="808"/>
                    </a:lnTo>
                    <a:lnTo>
                      <a:pt x="212" y="766"/>
                    </a:lnTo>
                    <a:lnTo>
                      <a:pt x="186" y="721"/>
                    </a:lnTo>
                    <a:lnTo>
                      <a:pt x="163" y="678"/>
                    </a:lnTo>
                    <a:lnTo>
                      <a:pt x="141" y="635"/>
                    </a:lnTo>
                    <a:lnTo>
                      <a:pt x="121" y="593"/>
                    </a:lnTo>
                    <a:lnTo>
                      <a:pt x="103" y="552"/>
                    </a:lnTo>
                    <a:lnTo>
                      <a:pt x="87" y="513"/>
                    </a:lnTo>
                    <a:lnTo>
                      <a:pt x="75" y="483"/>
                    </a:lnTo>
                    <a:lnTo>
                      <a:pt x="64" y="450"/>
                    </a:lnTo>
                    <a:lnTo>
                      <a:pt x="53" y="417"/>
                    </a:lnTo>
                    <a:lnTo>
                      <a:pt x="42" y="384"/>
                    </a:lnTo>
                    <a:lnTo>
                      <a:pt x="31" y="349"/>
                    </a:lnTo>
                    <a:lnTo>
                      <a:pt x="22" y="313"/>
                    </a:lnTo>
                    <a:lnTo>
                      <a:pt x="15" y="279"/>
                    </a:lnTo>
                    <a:lnTo>
                      <a:pt x="8" y="244"/>
                    </a:lnTo>
                    <a:lnTo>
                      <a:pt x="3" y="210"/>
                    </a:lnTo>
                    <a:lnTo>
                      <a:pt x="1" y="176"/>
                    </a:lnTo>
                    <a:lnTo>
                      <a:pt x="0" y="160"/>
                    </a:lnTo>
                    <a:lnTo>
                      <a:pt x="0" y="144"/>
                    </a:lnTo>
                    <a:lnTo>
                      <a:pt x="1" y="129"/>
                    </a:lnTo>
                    <a:lnTo>
                      <a:pt x="2" y="113"/>
                    </a:lnTo>
                    <a:lnTo>
                      <a:pt x="4" y="97"/>
                    </a:lnTo>
                    <a:lnTo>
                      <a:pt x="6" y="83"/>
                    </a:lnTo>
                    <a:lnTo>
                      <a:pt x="10" y="69"/>
                    </a:lnTo>
                    <a:lnTo>
                      <a:pt x="15" y="55"/>
                    </a:lnTo>
                    <a:lnTo>
                      <a:pt x="19" y="41"/>
                    </a:lnTo>
                    <a:lnTo>
                      <a:pt x="26" y="29"/>
                    </a:lnTo>
                    <a:lnTo>
                      <a:pt x="32" y="17"/>
                    </a:lnTo>
                    <a:lnTo>
                      <a:pt x="40" y="6"/>
                    </a:lnTo>
                    <a:lnTo>
                      <a:pt x="44" y="1"/>
                    </a:lnTo>
                    <a:lnTo>
                      <a:pt x="48" y="0"/>
                    </a:lnTo>
                    <a:lnTo>
                      <a:pt x="54" y="0"/>
                    </a:lnTo>
                    <a:lnTo>
                      <a:pt x="59" y="2"/>
                    </a:lnTo>
                    <a:lnTo>
                      <a:pt x="62" y="6"/>
                    </a:lnTo>
                    <a:lnTo>
                      <a:pt x="64" y="11"/>
                    </a:lnTo>
                    <a:lnTo>
                      <a:pt x="63" y="17"/>
                    </a:lnTo>
                    <a:lnTo>
                      <a:pt x="61" y="21"/>
                    </a:lnTo>
                    <a:lnTo>
                      <a:pt x="55" y="32"/>
                    </a:lnTo>
                    <a:lnTo>
                      <a:pt x="48" y="42"/>
                    </a:lnTo>
                    <a:lnTo>
                      <a:pt x="43" y="54"/>
                    </a:lnTo>
                    <a:lnTo>
                      <a:pt x="39" y="67"/>
                    </a:lnTo>
                    <a:lnTo>
                      <a:pt x="35" y="80"/>
                    </a:lnTo>
                    <a:lnTo>
                      <a:pt x="32" y="93"/>
                    </a:lnTo>
                    <a:lnTo>
                      <a:pt x="30" y="107"/>
                    </a:lnTo>
                    <a:lnTo>
                      <a:pt x="28" y="121"/>
                    </a:lnTo>
                    <a:lnTo>
                      <a:pt x="27" y="135"/>
                    </a:lnTo>
                    <a:lnTo>
                      <a:pt x="27" y="150"/>
                    </a:lnTo>
                    <a:lnTo>
                      <a:pt x="27" y="165"/>
                    </a:lnTo>
                    <a:lnTo>
                      <a:pt x="28" y="182"/>
                    </a:lnTo>
                    <a:lnTo>
                      <a:pt x="30" y="213"/>
                    </a:lnTo>
                    <a:lnTo>
                      <a:pt x="35" y="245"/>
                    </a:lnTo>
                    <a:lnTo>
                      <a:pt x="42" y="279"/>
                    </a:lnTo>
                    <a:lnTo>
                      <a:pt x="49" y="312"/>
                    </a:lnTo>
                    <a:lnTo>
                      <a:pt x="58" y="346"/>
                    </a:lnTo>
                    <a:lnTo>
                      <a:pt x="69" y="378"/>
                    </a:lnTo>
                    <a:lnTo>
                      <a:pt x="90" y="443"/>
                    </a:lnTo>
                    <a:lnTo>
                      <a:pt x="113" y="503"/>
                    </a:lnTo>
                    <a:lnTo>
                      <a:pt x="130" y="548"/>
                    </a:lnTo>
                    <a:lnTo>
                      <a:pt x="151" y="593"/>
                    </a:lnTo>
                    <a:lnTo>
                      <a:pt x="172" y="637"/>
                    </a:lnTo>
                    <a:lnTo>
                      <a:pt x="195" y="681"/>
                    </a:lnTo>
                    <a:lnTo>
                      <a:pt x="219" y="725"/>
                    </a:lnTo>
                    <a:lnTo>
                      <a:pt x="245" y="768"/>
                    </a:lnTo>
                    <a:lnTo>
                      <a:pt x="272" y="809"/>
                    </a:lnTo>
                    <a:lnTo>
                      <a:pt x="299" y="848"/>
                    </a:lnTo>
                    <a:lnTo>
                      <a:pt x="327" y="883"/>
                    </a:lnTo>
                    <a:lnTo>
                      <a:pt x="356" y="918"/>
                    </a:lnTo>
                    <a:lnTo>
                      <a:pt x="370" y="934"/>
                    </a:lnTo>
                    <a:lnTo>
                      <a:pt x="385" y="948"/>
                    </a:lnTo>
                    <a:lnTo>
                      <a:pt x="399" y="962"/>
                    </a:lnTo>
                    <a:lnTo>
                      <a:pt x="414" y="976"/>
                    </a:lnTo>
                    <a:lnTo>
                      <a:pt x="428" y="988"/>
                    </a:lnTo>
                    <a:lnTo>
                      <a:pt x="443" y="999"/>
                    </a:lnTo>
                    <a:lnTo>
                      <a:pt x="458" y="1010"/>
                    </a:lnTo>
                    <a:lnTo>
                      <a:pt x="472" y="1018"/>
                    </a:lnTo>
                    <a:lnTo>
                      <a:pt x="487" y="1026"/>
                    </a:lnTo>
                    <a:lnTo>
                      <a:pt x="501" y="1032"/>
                    </a:lnTo>
                    <a:lnTo>
                      <a:pt x="515" y="1038"/>
                    </a:lnTo>
                    <a:lnTo>
                      <a:pt x="529" y="1042"/>
                    </a:lnTo>
                    <a:lnTo>
                      <a:pt x="577" y="1053"/>
                    </a:lnTo>
                    <a:lnTo>
                      <a:pt x="626" y="1061"/>
                    </a:lnTo>
                    <a:lnTo>
                      <a:pt x="675" y="1068"/>
                    </a:lnTo>
                    <a:lnTo>
                      <a:pt x="721" y="1072"/>
                    </a:lnTo>
                    <a:lnTo>
                      <a:pt x="769" y="1074"/>
                    </a:lnTo>
                    <a:lnTo>
                      <a:pt x="815" y="1075"/>
                    </a:lnTo>
                    <a:lnTo>
                      <a:pt x="861" y="1075"/>
                    </a:lnTo>
                    <a:lnTo>
                      <a:pt x="907" y="1073"/>
                    </a:lnTo>
                    <a:lnTo>
                      <a:pt x="952" y="1071"/>
                    </a:lnTo>
                    <a:lnTo>
                      <a:pt x="997" y="1067"/>
                    </a:lnTo>
                    <a:lnTo>
                      <a:pt x="1042" y="1063"/>
                    </a:lnTo>
                    <a:lnTo>
                      <a:pt x="1086" y="1056"/>
                    </a:lnTo>
                    <a:lnTo>
                      <a:pt x="1175" y="1044"/>
                    </a:lnTo>
                    <a:lnTo>
                      <a:pt x="1262" y="1030"/>
                    </a:lnTo>
                    <a:lnTo>
                      <a:pt x="1285" y="1027"/>
                    </a:lnTo>
                    <a:lnTo>
                      <a:pt x="1307" y="1024"/>
                    </a:lnTo>
                    <a:lnTo>
                      <a:pt x="1330" y="1020"/>
                    </a:lnTo>
                    <a:lnTo>
                      <a:pt x="1353" y="1016"/>
                    </a:lnTo>
                    <a:lnTo>
                      <a:pt x="1375" y="1013"/>
                    </a:lnTo>
                    <a:lnTo>
                      <a:pt x="1398" y="1010"/>
                    </a:lnTo>
                    <a:lnTo>
                      <a:pt x="1422" y="1006"/>
                    </a:lnTo>
                    <a:lnTo>
                      <a:pt x="1444" y="1003"/>
                    </a:lnTo>
                    <a:lnTo>
                      <a:pt x="1480" y="999"/>
                    </a:lnTo>
                    <a:lnTo>
                      <a:pt x="1515" y="996"/>
                    </a:lnTo>
                    <a:lnTo>
                      <a:pt x="1547" y="992"/>
                    </a:lnTo>
                    <a:lnTo>
                      <a:pt x="1578" y="989"/>
                    </a:lnTo>
                    <a:lnTo>
                      <a:pt x="1610" y="987"/>
                    </a:lnTo>
                    <a:lnTo>
                      <a:pt x="1640" y="986"/>
                    </a:lnTo>
                    <a:lnTo>
                      <a:pt x="1669" y="985"/>
                    </a:lnTo>
                    <a:lnTo>
                      <a:pt x="1698" y="985"/>
                    </a:lnTo>
                    <a:lnTo>
                      <a:pt x="1745" y="985"/>
                    </a:lnTo>
                    <a:lnTo>
                      <a:pt x="1789" y="987"/>
                    </a:lnTo>
                    <a:lnTo>
                      <a:pt x="1831" y="990"/>
                    </a:lnTo>
                    <a:lnTo>
                      <a:pt x="1871" y="995"/>
                    </a:lnTo>
                    <a:lnTo>
                      <a:pt x="1910" y="1001"/>
                    </a:lnTo>
                    <a:lnTo>
                      <a:pt x="1945" y="1007"/>
                    </a:lnTo>
                    <a:lnTo>
                      <a:pt x="1980" y="1016"/>
                    </a:lnTo>
                    <a:lnTo>
                      <a:pt x="2012" y="1026"/>
                    </a:lnTo>
                    <a:lnTo>
                      <a:pt x="2048" y="1040"/>
                    </a:lnTo>
                    <a:lnTo>
                      <a:pt x="2080" y="1054"/>
                    </a:lnTo>
                    <a:lnTo>
                      <a:pt x="2111" y="1069"/>
                    </a:lnTo>
                    <a:lnTo>
                      <a:pt x="2139" y="1085"/>
                    </a:lnTo>
                    <a:lnTo>
                      <a:pt x="2165" y="1100"/>
                    </a:lnTo>
                    <a:lnTo>
                      <a:pt x="2190" y="1118"/>
                    </a:lnTo>
                    <a:lnTo>
                      <a:pt x="2212" y="1134"/>
                    </a:lnTo>
                    <a:lnTo>
                      <a:pt x="2235" y="1150"/>
                    </a:lnTo>
                    <a:lnTo>
                      <a:pt x="2263" y="1170"/>
                    </a:lnTo>
                    <a:lnTo>
                      <a:pt x="2292" y="1190"/>
                    </a:lnTo>
                    <a:lnTo>
                      <a:pt x="2306" y="1199"/>
                    </a:lnTo>
                    <a:lnTo>
                      <a:pt x="2320" y="1207"/>
                    </a:lnTo>
                    <a:lnTo>
                      <a:pt x="2335" y="1215"/>
                    </a:lnTo>
                    <a:lnTo>
                      <a:pt x="2350" y="1222"/>
                    </a:lnTo>
                    <a:lnTo>
                      <a:pt x="2381" y="1236"/>
                    </a:lnTo>
                    <a:lnTo>
                      <a:pt x="2403" y="1246"/>
                    </a:lnTo>
                    <a:lnTo>
                      <a:pt x="2426" y="1256"/>
                    </a:lnTo>
                    <a:lnTo>
                      <a:pt x="2448" y="1265"/>
                    </a:lnTo>
                    <a:lnTo>
                      <a:pt x="2468" y="1274"/>
                    </a:lnTo>
                    <a:lnTo>
                      <a:pt x="2488" y="1282"/>
                    </a:lnTo>
                    <a:lnTo>
                      <a:pt x="2508" y="1289"/>
                    </a:lnTo>
                    <a:lnTo>
                      <a:pt x="2528" y="1296"/>
                    </a:lnTo>
                    <a:lnTo>
                      <a:pt x="2546" y="1301"/>
                    </a:lnTo>
                    <a:lnTo>
                      <a:pt x="2578" y="1310"/>
                    </a:lnTo>
                    <a:lnTo>
                      <a:pt x="2605" y="1316"/>
                    </a:lnTo>
                    <a:lnTo>
                      <a:pt x="2616" y="1318"/>
                    </a:lnTo>
                    <a:lnTo>
                      <a:pt x="2626" y="1318"/>
                    </a:lnTo>
                    <a:lnTo>
                      <a:pt x="2634" y="1318"/>
                    </a:lnTo>
                    <a:lnTo>
                      <a:pt x="2642" y="1316"/>
                    </a:lnTo>
                    <a:lnTo>
                      <a:pt x="2647" y="1316"/>
                    </a:lnTo>
                    <a:lnTo>
                      <a:pt x="2653" y="1317"/>
                    </a:lnTo>
                    <a:lnTo>
                      <a:pt x="2656" y="1321"/>
                    </a:lnTo>
                    <a:lnTo>
                      <a:pt x="2659" y="1325"/>
                    </a:lnTo>
                    <a:lnTo>
                      <a:pt x="2659" y="1330"/>
                    </a:lnTo>
                    <a:lnTo>
                      <a:pt x="2658" y="1336"/>
                    </a:lnTo>
                    <a:lnTo>
                      <a:pt x="2655" y="1340"/>
                    </a:lnTo>
                    <a:lnTo>
                      <a:pt x="2651" y="1342"/>
                    </a:lnTo>
                    <a:lnTo>
                      <a:pt x="2640" y="1345"/>
                    </a:lnTo>
                    <a:lnTo>
                      <a:pt x="2628"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2"/>
              <p:cNvSpPr>
                <a:spLocks/>
              </p:cNvSpPr>
              <p:nvPr userDrawn="1"/>
            </p:nvSpPr>
            <p:spPr bwMode="auto">
              <a:xfrm>
                <a:off x="2019" y="1238"/>
                <a:ext cx="895" cy="451"/>
              </a:xfrm>
              <a:custGeom>
                <a:avLst/>
                <a:gdLst>
                  <a:gd name="T0" fmla="*/ 2579 w 2683"/>
                  <a:gd name="T1" fmla="*/ 1350 h 1355"/>
                  <a:gd name="T2" fmla="*/ 2482 w 2683"/>
                  <a:gd name="T3" fmla="*/ 1328 h 1355"/>
                  <a:gd name="T4" fmla="*/ 2377 w 2683"/>
                  <a:gd name="T5" fmla="*/ 1288 h 1355"/>
                  <a:gd name="T6" fmla="*/ 2261 w 2683"/>
                  <a:gd name="T7" fmla="*/ 1233 h 1355"/>
                  <a:gd name="T8" fmla="*/ 2150 w 2683"/>
                  <a:gd name="T9" fmla="*/ 1173 h 1355"/>
                  <a:gd name="T10" fmla="*/ 2021 w 2683"/>
                  <a:gd name="T11" fmla="*/ 1117 h 1355"/>
                  <a:gd name="T12" fmla="*/ 1881 w 2683"/>
                  <a:gd name="T13" fmla="*/ 1080 h 1355"/>
                  <a:gd name="T14" fmla="*/ 1723 w 2683"/>
                  <a:gd name="T15" fmla="*/ 1059 h 1355"/>
                  <a:gd name="T16" fmla="*/ 1589 w 2683"/>
                  <a:gd name="T17" fmla="*/ 1055 h 1355"/>
                  <a:gd name="T18" fmla="*/ 1462 w 2683"/>
                  <a:gd name="T19" fmla="*/ 1059 h 1355"/>
                  <a:gd name="T20" fmla="*/ 1338 w 2683"/>
                  <a:gd name="T21" fmla="*/ 1069 h 1355"/>
                  <a:gd name="T22" fmla="*/ 1221 w 2683"/>
                  <a:gd name="T23" fmla="*/ 1082 h 1355"/>
                  <a:gd name="T24" fmla="*/ 981 w 2683"/>
                  <a:gd name="T25" fmla="*/ 1109 h 1355"/>
                  <a:gd name="T26" fmla="*/ 812 w 2683"/>
                  <a:gd name="T27" fmla="*/ 1115 h 1355"/>
                  <a:gd name="T28" fmla="*/ 639 w 2683"/>
                  <a:gd name="T29" fmla="*/ 1104 h 1355"/>
                  <a:gd name="T30" fmla="*/ 489 w 2683"/>
                  <a:gd name="T31" fmla="*/ 1076 h 1355"/>
                  <a:gd name="T32" fmla="*/ 425 w 2683"/>
                  <a:gd name="T33" fmla="*/ 1044 h 1355"/>
                  <a:gd name="T34" fmla="*/ 363 w 2683"/>
                  <a:gd name="T35" fmla="*/ 991 h 1355"/>
                  <a:gd name="T36" fmla="*/ 301 w 2683"/>
                  <a:gd name="T37" fmla="*/ 923 h 1355"/>
                  <a:gd name="T38" fmla="*/ 229 w 2683"/>
                  <a:gd name="T39" fmla="*/ 822 h 1355"/>
                  <a:gd name="T40" fmla="*/ 130 w 2683"/>
                  <a:gd name="T41" fmla="*/ 646 h 1355"/>
                  <a:gd name="T42" fmla="*/ 56 w 2683"/>
                  <a:gd name="T43" fmla="*/ 448 h 1355"/>
                  <a:gd name="T44" fmla="*/ 11 w 2683"/>
                  <a:gd name="T45" fmla="*/ 272 h 1355"/>
                  <a:gd name="T46" fmla="*/ 0 w 2683"/>
                  <a:gd name="T47" fmla="*/ 157 h 1355"/>
                  <a:gd name="T48" fmla="*/ 6 w 2683"/>
                  <a:gd name="T49" fmla="*/ 96 h 1355"/>
                  <a:gd name="T50" fmla="*/ 24 w 2683"/>
                  <a:gd name="T51" fmla="*/ 42 h 1355"/>
                  <a:gd name="T52" fmla="*/ 48 w 2683"/>
                  <a:gd name="T53" fmla="*/ 2 h 1355"/>
                  <a:gd name="T54" fmla="*/ 67 w 2683"/>
                  <a:gd name="T55" fmla="*/ 7 h 1355"/>
                  <a:gd name="T56" fmla="*/ 59 w 2683"/>
                  <a:gd name="T57" fmla="*/ 33 h 1355"/>
                  <a:gd name="T58" fmla="*/ 38 w 2683"/>
                  <a:gd name="T59" fmla="*/ 80 h 1355"/>
                  <a:gd name="T60" fmla="*/ 28 w 2683"/>
                  <a:gd name="T61" fmla="*/ 134 h 1355"/>
                  <a:gd name="T62" fmla="*/ 29 w 2683"/>
                  <a:gd name="T63" fmla="*/ 209 h 1355"/>
                  <a:gd name="T64" fmla="*/ 53 w 2683"/>
                  <a:gd name="T65" fmla="*/ 340 h 1355"/>
                  <a:gd name="T66" fmla="*/ 119 w 2683"/>
                  <a:gd name="T67" fmla="*/ 549 h 1355"/>
                  <a:gd name="T68" fmla="*/ 197 w 2683"/>
                  <a:gd name="T69" fmla="*/ 717 h 1355"/>
                  <a:gd name="T70" fmla="*/ 303 w 2683"/>
                  <a:gd name="T71" fmla="*/ 882 h 1355"/>
                  <a:gd name="T72" fmla="*/ 377 w 2683"/>
                  <a:gd name="T73" fmla="*/ 967 h 1355"/>
                  <a:gd name="T74" fmla="*/ 437 w 2683"/>
                  <a:gd name="T75" fmla="*/ 1019 h 1355"/>
                  <a:gd name="T76" fmla="*/ 496 w 2683"/>
                  <a:gd name="T77" fmla="*/ 1051 h 1355"/>
                  <a:gd name="T78" fmla="*/ 643 w 2683"/>
                  <a:gd name="T79" fmla="*/ 1079 h 1355"/>
                  <a:gd name="T80" fmla="*/ 813 w 2683"/>
                  <a:gd name="T81" fmla="*/ 1088 h 1355"/>
                  <a:gd name="T82" fmla="*/ 980 w 2683"/>
                  <a:gd name="T83" fmla="*/ 1081 h 1355"/>
                  <a:gd name="T84" fmla="*/ 1219 w 2683"/>
                  <a:gd name="T85" fmla="*/ 1056 h 1355"/>
                  <a:gd name="T86" fmla="*/ 1335 w 2683"/>
                  <a:gd name="T87" fmla="*/ 1042 h 1355"/>
                  <a:gd name="T88" fmla="*/ 1460 w 2683"/>
                  <a:gd name="T89" fmla="*/ 1032 h 1355"/>
                  <a:gd name="T90" fmla="*/ 1589 w 2683"/>
                  <a:gd name="T91" fmla="*/ 1028 h 1355"/>
                  <a:gd name="T92" fmla="*/ 1725 w 2683"/>
                  <a:gd name="T93" fmla="*/ 1032 h 1355"/>
                  <a:gd name="T94" fmla="*/ 1886 w 2683"/>
                  <a:gd name="T95" fmla="*/ 1053 h 1355"/>
                  <a:gd name="T96" fmla="*/ 2031 w 2683"/>
                  <a:gd name="T97" fmla="*/ 1093 h 1355"/>
                  <a:gd name="T98" fmla="*/ 2162 w 2683"/>
                  <a:gd name="T99" fmla="*/ 1149 h 1355"/>
                  <a:gd name="T100" fmla="*/ 2274 w 2683"/>
                  <a:gd name="T101" fmla="*/ 1208 h 1355"/>
                  <a:gd name="T102" fmla="*/ 2388 w 2683"/>
                  <a:gd name="T103" fmla="*/ 1263 h 1355"/>
                  <a:gd name="T104" fmla="*/ 2490 w 2683"/>
                  <a:gd name="T105" fmla="*/ 1301 h 1355"/>
                  <a:gd name="T106" fmla="*/ 2599 w 2683"/>
                  <a:gd name="T107" fmla="*/ 1326 h 1355"/>
                  <a:gd name="T108" fmla="*/ 2658 w 2683"/>
                  <a:gd name="T109" fmla="*/ 1326 h 1355"/>
                  <a:gd name="T110" fmla="*/ 2680 w 2683"/>
                  <a:gd name="T111" fmla="*/ 1328 h 1355"/>
                  <a:gd name="T112" fmla="*/ 2679 w 2683"/>
                  <a:gd name="T113" fmla="*/ 1347 h 1355"/>
                  <a:gd name="T114" fmla="*/ 2646 w 2683"/>
                  <a:gd name="T115" fmla="*/ 1355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3" h="1355">
                    <a:moveTo>
                      <a:pt x="2636" y="1355"/>
                    </a:moveTo>
                    <a:lnTo>
                      <a:pt x="2618" y="1355"/>
                    </a:lnTo>
                    <a:lnTo>
                      <a:pt x="2599" y="1353"/>
                    </a:lnTo>
                    <a:lnTo>
                      <a:pt x="2579" y="1350"/>
                    </a:lnTo>
                    <a:lnTo>
                      <a:pt x="2557" y="1346"/>
                    </a:lnTo>
                    <a:lnTo>
                      <a:pt x="2533" y="1341"/>
                    </a:lnTo>
                    <a:lnTo>
                      <a:pt x="2508" y="1336"/>
                    </a:lnTo>
                    <a:lnTo>
                      <a:pt x="2482" y="1328"/>
                    </a:lnTo>
                    <a:lnTo>
                      <a:pt x="2457" y="1319"/>
                    </a:lnTo>
                    <a:lnTo>
                      <a:pt x="2431" y="1310"/>
                    </a:lnTo>
                    <a:lnTo>
                      <a:pt x="2404" y="1299"/>
                    </a:lnTo>
                    <a:lnTo>
                      <a:pt x="2377" y="1288"/>
                    </a:lnTo>
                    <a:lnTo>
                      <a:pt x="2350" y="1276"/>
                    </a:lnTo>
                    <a:lnTo>
                      <a:pt x="2320" y="1263"/>
                    </a:lnTo>
                    <a:lnTo>
                      <a:pt x="2291" y="1248"/>
                    </a:lnTo>
                    <a:lnTo>
                      <a:pt x="2261" y="1233"/>
                    </a:lnTo>
                    <a:lnTo>
                      <a:pt x="2231" y="1216"/>
                    </a:lnTo>
                    <a:lnTo>
                      <a:pt x="2205" y="1202"/>
                    </a:lnTo>
                    <a:lnTo>
                      <a:pt x="2178" y="1188"/>
                    </a:lnTo>
                    <a:lnTo>
                      <a:pt x="2150" y="1173"/>
                    </a:lnTo>
                    <a:lnTo>
                      <a:pt x="2120" y="1158"/>
                    </a:lnTo>
                    <a:lnTo>
                      <a:pt x="2089" y="1144"/>
                    </a:lnTo>
                    <a:lnTo>
                      <a:pt x="2057" y="1130"/>
                    </a:lnTo>
                    <a:lnTo>
                      <a:pt x="2021" y="1117"/>
                    </a:lnTo>
                    <a:lnTo>
                      <a:pt x="1984" y="1106"/>
                    </a:lnTo>
                    <a:lnTo>
                      <a:pt x="1951" y="1096"/>
                    </a:lnTo>
                    <a:lnTo>
                      <a:pt x="1916" y="1087"/>
                    </a:lnTo>
                    <a:lnTo>
                      <a:pt x="1881" y="1080"/>
                    </a:lnTo>
                    <a:lnTo>
                      <a:pt x="1843" y="1073"/>
                    </a:lnTo>
                    <a:lnTo>
                      <a:pt x="1805" y="1068"/>
                    </a:lnTo>
                    <a:lnTo>
                      <a:pt x="1764" y="1062"/>
                    </a:lnTo>
                    <a:lnTo>
                      <a:pt x="1723" y="1059"/>
                    </a:lnTo>
                    <a:lnTo>
                      <a:pt x="1679" y="1057"/>
                    </a:lnTo>
                    <a:lnTo>
                      <a:pt x="1650" y="1055"/>
                    </a:lnTo>
                    <a:lnTo>
                      <a:pt x="1619" y="1055"/>
                    </a:lnTo>
                    <a:lnTo>
                      <a:pt x="1589" y="1055"/>
                    </a:lnTo>
                    <a:lnTo>
                      <a:pt x="1558" y="1055"/>
                    </a:lnTo>
                    <a:lnTo>
                      <a:pt x="1527" y="1056"/>
                    </a:lnTo>
                    <a:lnTo>
                      <a:pt x="1494" y="1057"/>
                    </a:lnTo>
                    <a:lnTo>
                      <a:pt x="1462" y="1059"/>
                    </a:lnTo>
                    <a:lnTo>
                      <a:pt x="1427" y="1061"/>
                    </a:lnTo>
                    <a:lnTo>
                      <a:pt x="1397" y="1063"/>
                    </a:lnTo>
                    <a:lnTo>
                      <a:pt x="1368" y="1067"/>
                    </a:lnTo>
                    <a:lnTo>
                      <a:pt x="1338" y="1069"/>
                    </a:lnTo>
                    <a:lnTo>
                      <a:pt x="1308" y="1072"/>
                    </a:lnTo>
                    <a:lnTo>
                      <a:pt x="1279" y="1075"/>
                    </a:lnTo>
                    <a:lnTo>
                      <a:pt x="1250" y="1079"/>
                    </a:lnTo>
                    <a:lnTo>
                      <a:pt x="1221" y="1082"/>
                    </a:lnTo>
                    <a:lnTo>
                      <a:pt x="1193" y="1086"/>
                    </a:lnTo>
                    <a:lnTo>
                      <a:pt x="1108" y="1096"/>
                    </a:lnTo>
                    <a:lnTo>
                      <a:pt x="1023" y="1104"/>
                    </a:lnTo>
                    <a:lnTo>
                      <a:pt x="981" y="1109"/>
                    </a:lnTo>
                    <a:lnTo>
                      <a:pt x="939" y="1111"/>
                    </a:lnTo>
                    <a:lnTo>
                      <a:pt x="897" y="1114"/>
                    </a:lnTo>
                    <a:lnTo>
                      <a:pt x="855" y="1115"/>
                    </a:lnTo>
                    <a:lnTo>
                      <a:pt x="812" y="1115"/>
                    </a:lnTo>
                    <a:lnTo>
                      <a:pt x="770" y="1115"/>
                    </a:lnTo>
                    <a:lnTo>
                      <a:pt x="726" y="1113"/>
                    </a:lnTo>
                    <a:lnTo>
                      <a:pt x="683" y="1110"/>
                    </a:lnTo>
                    <a:lnTo>
                      <a:pt x="639" y="1104"/>
                    </a:lnTo>
                    <a:lnTo>
                      <a:pt x="595" y="1099"/>
                    </a:lnTo>
                    <a:lnTo>
                      <a:pt x="549" y="1090"/>
                    </a:lnTo>
                    <a:lnTo>
                      <a:pt x="504" y="1081"/>
                    </a:lnTo>
                    <a:lnTo>
                      <a:pt x="489" y="1076"/>
                    </a:lnTo>
                    <a:lnTo>
                      <a:pt x="473" y="1070"/>
                    </a:lnTo>
                    <a:lnTo>
                      <a:pt x="458" y="1062"/>
                    </a:lnTo>
                    <a:lnTo>
                      <a:pt x="441" y="1054"/>
                    </a:lnTo>
                    <a:lnTo>
                      <a:pt x="425" y="1044"/>
                    </a:lnTo>
                    <a:lnTo>
                      <a:pt x="410" y="1032"/>
                    </a:lnTo>
                    <a:lnTo>
                      <a:pt x="394" y="1019"/>
                    </a:lnTo>
                    <a:lnTo>
                      <a:pt x="378" y="1006"/>
                    </a:lnTo>
                    <a:lnTo>
                      <a:pt x="363" y="991"/>
                    </a:lnTo>
                    <a:lnTo>
                      <a:pt x="346" y="975"/>
                    </a:lnTo>
                    <a:lnTo>
                      <a:pt x="331" y="959"/>
                    </a:lnTo>
                    <a:lnTo>
                      <a:pt x="316" y="940"/>
                    </a:lnTo>
                    <a:lnTo>
                      <a:pt x="301" y="923"/>
                    </a:lnTo>
                    <a:lnTo>
                      <a:pt x="286" y="904"/>
                    </a:lnTo>
                    <a:lnTo>
                      <a:pt x="271" y="884"/>
                    </a:lnTo>
                    <a:lnTo>
                      <a:pt x="257" y="864"/>
                    </a:lnTo>
                    <a:lnTo>
                      <a:pt x="229" y="822"/>
                    </a:lnTo>
                    <a:lnTo>
                      <a:pt x="202" y="778"/>
                    </a:lnTo>
                    <a:lnTo>
                      <a:pt x="176" y="734"/>
                    </a:lnTo>
                    <a:lnTo>
                      <a:pt x="152" y="690"/>
                    </a:lnTo>
                    <a:lnTo>
                      <a:pt x="130" y="646"/>
                    </a:lnTo>
                    <a:lnTo>
                      <a:pt x="111" y="601"/>
                    </a:lnTo>
                    <a:lnTo>
                      <a:pt x="94" y="559"/>
                    </a:lnTo>
                    <a:lnTo>
                      <a:pt x="80" y="518"/>
                    </a:lnTo>
                    <a:lnTo>
                      <a:pt x="56" y="448"/>
                    </a:lnTo>
                    <a:lnTo>
                      <a:pt x="34" y="378"/>
                    </a:lnTo>
                    <a:lnTo>
                      <a:pt x="26" y="342"/>
                    </a:lnTo>
                    <a:lnTo>
                      <a:pt x="17" y="307"/>
                    </a:lnTo>
                    <a:lnTo>
                      <a:pt x="11" y="272"/>
                    </a:lnTo>
                    <a:lnTo>
                      <a:pt x="5" y="239"/>
                    </a:lnTo>
                    <a:lnTo>
                      <a:pt x="2" y="205"/>
                    </a:lnTo>
                    <a:lnTo>
                      <a:pt x="0" y="173"/>
                    </a:lnTo>
                    <a:lnTo>
                      <a:pt x="0" y="157"/>
                    </a:lnTo>
                    <a:lnTo>
                      <a:pt x="1" y="142"/>
                    </a:lnTo>
                    <a:lnTo>
                      <a:pt x="2" y="126"/>
                    </a:lnTo>
                    <a:lnTo>
                      <a:pt x="4" y="111"/>
                    </a:lnTo>
                    <a:lnTo>
                      <a:pt x="6" y="96"/>
                    </a:lnTo>
                    <a:lnTo>
                      <a:pt x="9" y="82"/>
                    </a:lnTo>
                    <a:lnTo>
                      <a:pt x="13" y="68"/>
                    </a:lnTo>
                    <a:lnTo>
                      <a:pt x="18" y="55"/>
                    </a:lnTo>
                    <a:lnTo>
                      <a:pt x="24" y="42"/>
                    </a:lnTo>
                    <a:lnTo>
                      <a:pt x="29" y="29"/>
                    </a:lnTo>
                    <a:lnTo>
                      <a:pt x="36" y="17"/>
                    </a:lnTo>
                    <a:lnTo>
                      <a:pt x="44" y="7"/>
                    </a:lnTo>
                    <a:lnTo>
                      <a:pt x="48" y="2"/>
                    </a:lnTo>
                    <a:lnTo>
                      <a:pt x="53" y="0"/>
                    </a:lnTo>
                    <a:lnTo>
                      <a:pt x="58" y="1"/>
                    </a:lnTo>
                    <a:lnTo>
                      <a:pt x="62" y="3"/>
                    </a:lnTo>
                    <a:lnTo>
                      <a:pt x="67" y="7"/>
                    </a:lnTo>
                    <a:lnTo>
                      <a:pt x="68" y="12"/>
                    </a:lnTo>
                    <a:lnTo>
                      <a:pt x="68" y="17"/>
                    </a:lnTo>
                    <a:lnTo>
                      <a:pt x="66" y="22"/>
                    </a:lnTo>
                    <a:lnTo>
                      <a:pt x="59" y="33"/>
                    </a:lnTo>
                    <a:lnTo>
                      <a:pt x="53" y="43"/>
                    </a:lnTo>
                    <a:lnTo>
                      <a:pt x="47" y="55"/>
                    </a:lnTo>
                    <a:lnTo>
                      <a:pt x="42" y="67"/>
                    </a:lnTo>
                    <a:lnTo>
                      <a:pt x="38" y="80"/>
                    </a:lnTo>
                    <a:lnTo>
                      <a:pt x="34" y="93"/>
                    </a:lnTo>
                    <a:lnTo>
                      <a:pt x="32" y="106"/>
                    </a:lnTo>
                    <a:lnTo>
                      <a:pt x="30" y="120"/>
                    </a:lnTo>
                    <a:lnTo>
                      <a:pt x="28" y="134"/>
                    </a:lnTo>
                    <a:lnTo>
                      <a:pt x="27" y="148"/>
                    </a:lnTo>
                    <a:lnTo>
                      <a:pt x="27" y="163"/>
                    </a:lnTo>
                    <a:lnTo>
                      <a:pt x="27" y="178"/>
                    </a:lnTo>
                    <a:lnTo>
                      <a:pt x="29" y="209"/>
                    </a:lnTo>
                    <a:lnTo>
                      <a:pt x="32" y="241"/>
                    </a:lnTo>
                    <a:lnTo>
                      <a:pt x="38" y="273"/>
                    </a:lnTo>
                    <a:lnTo>
                      <a:pt x="45" y="307"/>
                    </a:lnTo>
                    <a:lnTo>
                      <a:pt x="53" y="340"/>
                    </a:lnTo>
                    <a:lnTo>
                      <a:pt x="61" y="374"/>
                    </a:lnTo>
                    <a:lnTo>
                      <a:pt x="82" y="443"/>
                    </a:lnTo>
                    <a:lnTo>
                      <a:pt x="104" y="510"/>
                    </a:lnTo>
                    <a:lnTo>
                      <a:pt x="119" y="549"/>
                    </a:lnTo>
                    <a:lnTo>
                      <a:pt x="136" y="590"/>
                    </a:lnTo>
                    <a:lnTo>
                      <a:pt x="154" y="631"/>
                    </a:lnTo>
                    <a:lnTo>
                      <a:pt x="175" y="674"/>
                    </a:lnTo>
                    <a:lnTo>
                      <a:pt x="197" y="717"/>
                    </a:lnTo>
                    <a:lnTo>
                      <a:pt x="222" y="760"/>
                    </a:lnTo>
                    <a:lnTo>
                      <a:pt x="248" y="802"/>
                    </a:lnTo>
                    <a:lnTo>
                      <a:pt x="275" y="843"/>
                    </a:lnTo>
                    <a:lnTo>
                      <a:pt x="303" y="882"/>
                    </a:lnTo>
                    <a:lnTo>
                      <a:pt x="332" y="919"/>
                    </a:lnTo>
                    <a:lnTo>
                      <a:pt x="346" y="936"/>
                    </a:lnTo>
                    <a:lnTo>
                      <a:pt x="361" y="952"/>
                    </a:lnTo>
                    <a:lnTo>
                      <a:pt x="377" y="967"/>
                    </a:lnTo>
                    <a:lnTo>
                      <a:pt x="392" y="981"/>
                    </a:lnTo>
                    <a:lnTo>
                      <a:pt x="407" y="995"/>
                    </a:lnTo>
                    <a:lnTo>
                      <a:pt x="422" y="1007"/>
                    </a:lnTo>
                    <a:lnTo>
                      <a:pt x="437" y="1019"/>
                    </a:lnTo>
                    <a:lnTo>
                      <a:pt x="451" y="1029"/>
                    </a:lnTo>
                    <a:lnTo>
                      <a:pt x="466" y="1038"/>
                    </a:lnTo>
                    <a:lnTo>
                      <a:pt x="481" y="1044"/>
                    </a:lnTo>
                    <a:lnTo>
                      <a:pt x="496" y="1051"/>
                    </a:lnTo>
                    <a:lnTo>
                      <a:pt x="510" y="1055"/>
                    </a:lnTo>
                    <a:lnTo>
                      <a:pt x="555" y="1065"/>
                    </a:lnTo>
                    <a:lnTo>
                      <a:pt x="599" y="1072"/>
                    </a:lnTo>
                    <a:lnTo>
                      <a:pt x="643" y="1079"/>
                    </a:lnTo>
                    <a:lnTo>
                      <a:pt x="687" y="1083"/>
                    </a:lnTo>
                    <a:lnTo>
                      <a:pt x="729" y="1086"/>
                    </a:lnTo>
                    <a:lnTo>
                      <a:pt x="771" y="1088"/>
                    </a:lnTo>
                    <a:lnTo>
                      <a:pt x="813" y="1088"/>
                    </a:lnTo>
                    <a:lnTo>
                      <a:pt x="855" y="1088"/>
                    </a:lnTo>
                    <a:lnTo>
                      <a:pt x="897" y="1086"/>
                    </a:lnTo>
                    <a:lnTo>
                      <a:pt x="939" y="1084"/>
                    </a:lnTo>
                    <a:lnTo>
                      <a:pt x="980" y="1081"/>
                    </a:lnTo>
                    <a:lnTo>
                      <a:pt x="1022" y="1078"/>
                    </a:lnTo>
                    <a:lnTo>
                      <a:pt x="1105" y="1069"/>
                    </a:lnTo>
                    <a:lnTo>
                      <a:pt x="1190" y="1059"/>
                    </a:lnTo>
                    <a:lnTo>
                      <a:pt x="1219" y="1056"/>
                    </a:lnTo>
                    <a:lnTo>
                      <a:pt x="1247" y="1052"/>
                    </a:lnTo>
                    <a:lnTo>
                      <a:pt x="1276" y="1048"/>
                    </a:lnTo>
                    <a:lnTo>
                      <a:pt x="1306" y="1045"/>
                    </a:lnTo>
                    <a:lnTo>
                      <a:pt x="1335" y="1042"/>
                    </a:lnTo>
                    <a:lnTo>
                      <a:pt x="1365" y="1040"/>
                    </a:lnTo>
                    <a:lnTo>
                      <a:pt x="1395" y="1036"/>
                    </a:lnTo>
                    <a:lnTo>
                      <a:pt x="1425" y="1034"/>
                    </a:lnTo>
                    <a:lnTo>
                      <a:pt x="1460" y="1032"/>
                    </a:lnTo>
                    <a:lnTo>
                      <a:pt x="1493" y="1030"/>
                    </a:lnTo>
                    <a:lnTo>
                      <a:pt x="1527" y="1029"/>
                    </a:lnTo>
                    <a:lnTo>
                      <a:pt x="1558" y="1028"/>
                    </a:lnTo>
                    <a:lnTo>
                      <a:pt x="1589" y="1028"/>
                    </a:lnTo>
                    <a:lnTo>
                      <a:pt x="1621" y="1028"/>
                    </a:lnTo>
                    <a:lnTo>
                      <a:pt x="1651" y="1028"/>
                    </a:lnTo>
                    <a:lnTo>
                      <a:pt x="1681" y="1030"/>
                    </a:lnTo>
                    <a:lnTo>
                      <a:pt x="1725" y="1032"/>
                    </a:lnTo>
                    <a:lnTo>
                      <a:pt x="1767" y="1035"/>
                    </a:lnTo>
                    <a:lnTo>
                      <a:pt x="1808" y="1041"/>
                    </a:lnTo>
                    <a:lnTo>
                      <a:pt x="1848" y="1046"/>
                    </a:lnTo>
                    <a:lnTo>
                      <a:pt x="1886" y="1053"/>
                    </a:lnTo>
                    <a:lnTo>
                      <a:pt x="1923" y="1061"/>
                    </a:lnTo>
                    <a:lnTo>
                      <a:pt x="1959" y="1070"/>
                    </a:lnTo>
                    <a:lnTo>
                      <a:pt x="1993" y="1080"/>
                    </a:lnTo>
                    <a:lnTo>
                      <a:pt x="2031" y="1093"/>
                    </a:lnTo>
                    <a:lnTo>
                      <a:pt x="2067" y="1106"/>
                    </a:lnTo>
                    <a:lnTo>
                      <a:pt x="2100" y="1120"/>
                    </a:lnTo>
                    <a:lnTo>
                      <a:pt x="2131" y="1134"/>
                    </a:lnTo>
                    <a:lnTo>
                      <a:pt x="2162" y="1149"/>
                    </a:lnTo>
                    <a:lnTo>
                      <a:pt x="2190" y="1163"/>
                    </a:lnTo>
                    <a:lnTo>
                      <a:pt x="2218" y="1178"/>
                    </a:lnTo>
                    <a:lnTo>
                      <a:pt x="2244" y="1192"/>
                    </a:lnTo>
                    <a:lnTo>
                      <a:pt x="2274" y="1208"/>
                    </a:lnTo>
                    <a:lnTo>
                      <a:pt x="2303" y="1224"/>
                    </a:lnTo>
                    <a:lnTo>
                      <a:pt x="2332" y="1238"/>
                    </a:lnTo>
                    <a:lnTo>
                      <a:pt x="2361" y="1251"/>
                    </a:lnTo>
                    <a:lnTo>
                      <a:pt x="2388" y="1263"/>
                    </a:lnTo>
                    <a:lnTo>
                      <a:pt x="2414" y="1274"/>
                    </a:lnTo>
                    <a:lnTo>
                      <a:pt x="2440" y="1284"/>
                    </a:lnTo>
                    <a:lnTo>
                      <a:pt x="2465" y="1293"/>
                    </a:lnTo>
                    <a:lnTo>
                      <a:pt x="2490" y="1301"/>
                    </a:lnTo>
                    <a:lnTo>
                      <a:pt x="2515" y="1309"/>
                    </a:lnTo>
                    <a:lnTo>
                      <a:pt x="2538" y="1315"/>
                    </a:lnTo>
                    <a:lnTo>
                      <a:pt x="2562" y="1319"/>
                    </a:lnTo>
                    <a:lnTo>
                      <a:pt x="2599" y="1326"/>
                    </a:lnTo>
                    <a:lnTo>
                      <a:pt x="2627" y="1328"/>
                    </a:lnTo>
                    <a:lnTo>
                      <a:pt x="2639" y="1328"/>
                    </a:lnTo>
                    <a:lnTo>
                      <a:pt x="2650" y="1328"/>
                    </a:lnTo>
                    <a:lnTo>
                      <a:pt x="2658" y="1326"/>
                    </a:lnTo>
                    <a:lnTo>
                      <a:pt x="2666" y="1324"/>
                    </a:lnTo>
                    <a:lnTo>
                      <a:pt x="2671" y="1324"/>
                    </a:lnTo>
                    <a:lnTo>
                      <a:pt x="2677" y="1325"/>
                    </a:lnTo>
                    <a:lnTo>
                      <a:pt x="2680" y="1328"/>
                    </a:lnTo>
                    <a:lnTo>
                      <a:pt x="2683" y="1332"/>
                    </a:lnTo>
                    <a:lnTo>
                      <a:pt x="2683" y="1338"/>
                    </a:lnTo>
                    <a:lnTo>
                      <a:pt x="2682" y="1343"/>
                    </a:lnTo>
                    <a:lnTo>
                      <a:pt x="2679" y="1347"/>
                    </a:lnTo>
                    <a:lnTo>
                      <a:pt x="2674" y="1350"/>
                    </a:lnTo>
                    <a:lnTo>
                      <a:pt x="2666" y="1352"/>
                    </a:lnTo>
                    <a:lnTo>
                      <a:pt x="2656" y="1354"/>
                    </a:lnTo>
                    <a:lnTo>
                      <a:pt x="2646" y="1355"/>
                    </a:lnTo>
                    <a:lnTo>
                      <a:pt x="2636" y="1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3"/>
              <p:cNvSpPr>
                <a:spLocks/>
              </p:cNvSpPr>
              <p:nvPr userDrawn="1"/>
            </p:nvSpPr>
            <p:spPr bwMode="auto">
              <a:xfrm>
                <a:off x="2038" y="1210"/>
                <a:ext cx="902" cy="456"/>
              </a:xfrm>
              <a:custGeom>
                <a:avLst/>
                <a:gdLst>
                  <a:gd name="T0" fmla="*/ 2587 w 2707"/>
                  <a:gd name="T1" fmla="*/ 1365 h 1366"/>
                  <a:gd name="T2" fmla="*/ 2521 w 2707"/>
                  <a:gd name="T3" fmla="*/ 1357 h 1366"/>
                  <a:gd name="T4" fmla="*/ 2396 w 2707"/>
                  <a:gd name="T5" fmla="*/ 1319 h 1366"/>
                  <a:gd name="T6" fmla="*/ 2221 w 2707"/>
                  <a:gd name="T7" fmla="*/ 1248 h 1366"/>
                  <a:gd name="T8" fmla="*/ 2054 w 2707"/>
                  <a:gd name="T9" fmla="*/ 1185 h 1366"/>
                  <a:gd name="T10" fmla="*/ 1895 w 2707"/>
                  <a:gd name="T11" fmla="*/ 1140 h 1366"/>
                  <a:gd name="T12" fmla="*/ 1710 w 2707"/>
                  <a:gd name="T13" fmla="*/ 1107 h 1366"/>
                  <a:gd name="T14" fmla="*/ 1551 w 2707"/>
                  <a:gd name="T15" fmla="*/ 1093 h 1366"/>
                  <a:gd name="T16" fmla="*/ 1312 w 2707"/>
                  <a:gd name="T17" fmla="*/ 1095 h 1366"/>
                  <a:gd name="T18" fmla="*/ 1040 w 2707"/>
                  <a:gd name="T19" fmla="*/ 1116 h 1366"/>
                  <a:gd name="T20" fmla="*/ 845 w 2707"/>
                  <a:gd name="T21" fmla="*/ 1127 h 1366"/>
                  <a:gd name="T22" fmla="*/ 688 w 2707"/>
                  <a:gd name="T23" fmla="*/ 1123 h 1366"/>
                  <a:gd name="T24" fmla="*/ 527 w 2707"/>
                  <a:gd name="T25" fmla="*/ 1101 h 1366"/>
                  <a:gd name="T26" fmla="*/ 438 w 2707"/>
                  <a:gd name="T27" fmla="*/ 1074 h 1366"/>
                  <a:gd name="T28" fmla="*/ 376 w 2707"/>
                  <a:gd name="T29" fmla="*/ 1030 h 1366"/>
                  <a:gd name="T30" fmla="*/ 313 w 2707"/>
                  <a:gd name="T31" fmla="*/ 966 h 1366"/>
                  <a:gd name="T32" fmla="*/ 253 w 2707"/>
                  <a:gd name="T33" fmla="*/ 890 h 1366"/>
                  <a:gd name="T34" fmla="*/ 160 w 2707"/>
                  <a:gd name="T35" fmla="*/ 736 h 1366"/>
                  <a:gd name="T36" fmla="*/ 82 w 2707"/>
                  <a:gd name="T37" fmla="*/ 563 h 1366"/>
                  <a:gd name="T38" fmla="*/ 28 w 2707"/>
                  <a:gd name="T39" fmla="*/ 371 h 1366"/>
                  <a:gd name="T40" fmla="*/ 3 w 2707"/>
                  <a:gd name="T41" fmla="*/ 240 h 1366"/>
                  <a:gd name="T42" fmla="*/ 1 w 2707"/>
                  <a:gd name="T43" fmla="*/ 145 h 1366"/>
                  <a:gd name="T44" fmla="*/ 11 w 2707"/>
                  <a:gd name="T45" fmla="*/ 84 h 1366"/>
                  <a:gd name="T46" fmla="*/ 31 w 2707"/>
                  <a:gd name="T47" fmla="*/ 30 h 1366"/>
                  <a:gd name="T48" fmla="*/ 56 w 2707"/>
                  <a:gd name="T49" fmla="*/ 0 h 1366"/>
                  <a:gd name="T50" fmla="*/ 71 w 2707"/>
                  <a:gd name="T51" fmla="*/ 12 h 1366"/>
                  <a:gd name="T52" fmla="*/ 55 w 2707"/>
                  <a:gd name="T53" fmla="*/ 44 h 1366"/>
                  <a:gd name="T54" fmla="*/ 36 w 2707"/>
                  <a:gd name="T55" fmla="*/ 95 h 1366"/>
                  <a:gd name="T56" fmla="*/ 27 w 2707"/>
                  <a:gd name="T57" fmla="*/ 151 h 1366"/>
                  <a:gd name="T58" fmla="*/ 30 w 2707"/>
                  <a:gd name="T59" fmla="*/ 242 h 1366"/>
                  <a:gd name="T60" fmla="*/ 55 w 2707"/>
                  <a:gd name="T61" fmla="*/ 368 h 1366"/>
                  <a:gd name="T62" fmla="*/ 108 w 2707"/>
                  <a:gd name="T63" fmla="*/ 554 h 1366"/>
                  <a:gd name="T64" fmla="*/ 183 w 2707"/>
                  <a:gd name="T65" fmla="*/ 723 h 1366"/>
                  <a:gd name="T66" fmla="*/ 288 w 2707"/>
                  <a:gd name="T67" fmla="*/ 892 h 1366"/>
                  <a:gd name="T68" fmla="*/ 361 w 2707"/>
                  <a:gd name="T69" fmla="*/ 978 h 1366"/>
                  <a:gd name="T70" fmla="*/ 420 w 2707"/>
                  <a:gd name="T71" fmla="*/ 1030 h 1366"/>
                  <a:gd name="T72" fmla="*/ 477 w 2707"/>
                  <a:gd name="T73" fmla="*/ 1061 h 1366"/>
                  <a:gd name="T74" fmla="*/ 612 w 2707"/>
                  <a:gd name="T75" fmla="*/ 1088 h 1366"/>
                  <a:gd name="T76" fmla="*/ 769 w 2707"/>
                  <a:gd name="T77" fmla="*/ 1100 h 1366"/>
                  <a:gd name="T78" fmla="*/ 923 w 2707"/>
                  <a:gd name="T79" fmla="*/ 1097 h 1366"/>
                  <a:gd name="T80" fmla="*/ 1181 w 2707"/>
                  <a:gd name="T81" fmla="*/ 1077 h 1366"/>
                  <a:gd name="T82" fmla="*/ 1447 w 2707"/>
                  <a:gd name="T83" fmla="*/ 1063 h 1366"/>
                  <a:gd name="T84" fmla="*/ 1625 w 2707"/>
                  <a:gd name="T85" fmla="*/ 1070 h 1366"/>
                  <a:gd name="T86" fmla="*/ 1811 w 2707"/>
                  <a:gd name="T87" fmla="*/ 1095 h 1366"/>
                  <a:gd name="T88" fmla="*/ 1985 w 2707"/>
                  <a:gd name="T89" fmla="*/ 1136 h 1366"/>
                  <a:gd name="T90" fmla="*/ 2133 w 2707"/>
                  <a:gd name="T91" fmla="*/ 1184 h 1366"/>
                  <a:gd name="T92" fmla="*/ 2329 w 2707"/>
                  <a:gd name="T93" fmla="*/ 1263 h 1366"/>
                  <a:gd name="T94" fmla="*/ 2475 w 2707"/>
                  <a:gd name="T95" fmla="*/ 1317 h 1366"/>
                  <a:gd name="T96" fmla="*/ 2560 w 2707"/>
                  <a:gd name="T97" fmla="*/ 1335 h 1366"/>
                  <a:gd name="T98" fmla="*/ 2627 w 2707"/>
                  <a:gd name="T99" fmla="*/ 1339 h 1366"/>
                  <a:gd name="T100" fmla="*/ 2679 w 2707"/>
                  <a:gd name="T101" fmla="*/ 1333 h 1366"/>
                  <a:gd name="T102" fmla="*/ 2704 w 2707"/>
                  <a:gd name="T103" fmla="*/ 1334 h 1366"/>
                  <a:gd name="T104" fmla="*/ 2702 w 2707"/>
                  <a:gd name="T105" fmla="*/ 1354 h 1366"/>
                  <a:gd name="T106" fmla="*/ 2643 w 2707"/>
                  <a:gd name="T107" fmla="*/ 1366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07" h="1366">
                    <a:moveTo>
                      <a:pt x="2622" y="1366"/>
                    </a:moveTo>
                    <a:lnTo>
                      <a:pt x="2611" y="1366"/>
                    </a:lnTo>
                    <a:lnTo>
                      <a:pt x="2599" y="1366"/>
                    </a:lnTo>
                    <a:lnTo>
                      <a:pt x="2587" y="1365"/>
                    </a:lnTo>
                    <a:lnTo>
                      <a:pt x="2574" y="1364"/>
                    </a:lnTo>
                    <a:lnTo>
                      <a:pt x="2557" y="1362"/>
                    </a:lnTo>
                    <a:lnTo>
                      <a:pt x="2540" y="1359"/>
                    </a:lnTo>
                    <a:lnTo>
                      <a:pt x="2521" y="1357"/>
                    </a:lnTo>
                    <a:lnTo>
                      <a:pt x="2504" y="1353"/>
                    </a:lnTo>
                    <a:lnTo>
                      <a:pt x="2468" y="1343"/>
                    </a:lnTo>
                    <a:lnTo>
                      <a:pt x="2433" y="1332"/>
                    </a:lnTo>
                    <a:lnTo>
                      <a:pt x="2396" y="1319"/>
                    </a:lnTo>
                    <a:lnTo>
                      <a:pt x="2358" y="1304"/>
                    </a:lnTo>
                    <a:lnTo>
                      <a:pt x="2319" y="1289"/>
                    </a:lnTo>
                    <a:lnTo>
                      <a:pt x="2279" y="1272"/>
                    </a:lnTo>
                    <a:lnTo>
                      <a:pt x="2221" y="1248"/>
                    </a:lnTo>
                    <a:lnTo>
                      <a:pt x="2157" y="1222"/>
                    </a:lnTo>
                    <a:lnTo>
                      <a:pt x="2124" y="1210"/>
                    </a:lnTo>
                    <a:lnTo>
                      <a:pt x="2089" y="1197"/>
                    </a:lnTo>
                    <a:lnTo>
                      <a:pt x="2054" y="1185"/>
                    </a:lnTo>
                    <a:lnTo>
                      <a:pt x="2016" y="1172"/>
                    </a:lnTo>
                    <a:lnTo>
                      <a:pt x="1977" y="1162"/>
                    </a:lnTo>
                    <a:lnTo>
                      <a:pt x="1937" y="1151"/>
                    </a:lnTo>
                    <a:lnTo>
                      <a:pt x="1895" y="1140"/>
                    </a:lnTo>
                    <a:lnTo>
                      <a:pt x="1852" y="1130"/>
                    </a:lnTo>
                    <a:lnTo>
                      <a:pt x="1806" y="1122"/>
                    </a:lnTo>
                    <a:lnTo>
                      <a:pt x="1759" y="1113"/>
                    </a:lnTo>
                    <a:lnTo>
                      <a:pt x="1710" y="1107"/>
                    </a:lnTo>
                    <a:lnTo>
                      <a:pt x="1660" y="1100"/>
                    </a:lnTo>
                    <a:lnTo>
                      <a:pt x="1623" y="1097"/>
                    </a:lnTo>
                    <a:lnTo>
                      <a:pt x="1586" y="1095"/>
                    </a:lnTo>
                    <a:lnTo>
                      <a:pt x="1551" y="1093"/>
                    </a:lnTo>
                    <a:lnTo>
                      <a:pt x="1516" y="1092"/>
                    </a:lnTo>
                    <a:lnTo>
                      <a:pt x="1447" y="1090"/>
                    </a:lnTo>
                    <a:lnTo>
                      <a:pt x="1379" y="1092"/>
                    </a:lnTo>
                    <a:lnTo>
                      <a:pt x="1312" y="1095"/>
                    </a:lnTo>
                    <a:lnTo>
                      <a:pt x="1247" y="1099"/>
                    </a:lnTo>
                    <a:lnTo>
                      <a:pt x="1182" y="1104"/>
                    </a:lnTo>
                    <a:lnTo>
                      <a:pt x="1119" y="1110"/>
                    </a:lnTo>
                    <a:lnTo>
                      <a:pt x="1040" y="1116"/>
                    </a:lnTo>
                    <a:lnTo>
                      <a:pt x="962" y="1122"/>
                    </a:lnTo>
                    <a:lnTo>
                      <a:pt x="923" y="1124"/>
                    </a:lnTo>
                    <a:lnTo>
                      <a:pt x="884" y="1126"/>
                    </a:lnTo>
                    <a:lnTo>
                      <a:pt x="845" y="1127"/>
                    </a:lnTo>
                    <a:lnTo>
                      <a:pt x="807" y="1127"/>
                    </a:lnTo>
                    <a:lnTo>
                      <a:pt x="767" y="1127"/>
                    </a:lnTo>
                    <a:lnTo>
                      <a:pt x="728" y="1125"/>
                    </a:lnTo>
                    <a:lnTo>
                      <a:pt x="688" y="1123"/>
                    </a:lnTo>
                    <a:lnTo>
                      <a:pt x="649" y="1120"/>
                    </a:lnTo>
                    <a:lnTo>
                      <a:pt x="608" y="1114"/>
                    </a:lnTo>
                    <a:lnTo>
                      <a:pt x="568" y="1109"/>
                    </a:lnTo>
                    <a:lnTo>
                      <a:pt x="527" y="1101"/>
                    </a:lnTo>
                    <a:lnTo>
                      <a:pt x="485" y="1092"/>
                    </a:lnTo>
                    <a:lnTo>
                      <a:pt x="470" y="1087"/>
                    </a:lnTo>
                    <a:lnTo>
                      <a:pt x="454" y="1082"/>
                    </a:lnTo>
                    <a:lnTo>
                      <a:pt x="438" y="1074"/>
                    </a:lnTo>
                    <a:lnTo>
                      <a:pt x="423" y="1065"/>
                    </a:lnTo>
                    <a:lnTo>
                      <a:pt x="407" y="1055"/>
                    </a:lnTo>
                    <a:lnTo>
                      <a:pt x="392" y="1043"/>
                    </a:lnTo>
                    <a:lnTo>
                      <a:pt x="376" y="1030"/>
                    </a:lnTo>
                    <a:lnTo>
                      <a:pt x="361" y="1015"/>
                    </a:lnTo>
                    <a:lnTo>
                      <a:pt x="344" y="1000"/>
                    </a:lnTo>
                    <a:lnTo>
                      <a:pt x="329" y="984"/>
                    </a:lnTo>
                    <a:lnTo>
                      <a:pt x="313" y="966"/>
                    </a:lnTo>
                    <a:lnTo>
                      <a:pt x="298" y="948"/>
                    </a:lnTo>
                    <a:lnTo>
                      <a:pt x="283" y="930"/>
                    </a:lnTo>
                    <a:lnTo>
                      <a:pt x="268" y="910"/>
                    </a:lnTo>
                    <a:lnTo>
                      <a:pt x="253" y="890"/>
                    </a:lnTo>
                    <a:lnTo>
                      <a:pt x="239" y="869"/>
                    </a:lnTo>
                    <a:lnTo>
                      <a:pt x="210" y="826"/>
                    </a:lnTo>
                    <a:lnTo>
                      <a:pt x="185" y="782"/>
                    </a:lnTo>
                    <a:lnTo>
                      <a:pt x="160" y="736"/>
                    </a:lnTo>
                    <a:lnTo>
                      <a:pt x="137" y="692"/>
                    </a:lnTo>
                    <a:lnTo>
                      <a:pt x="115" y="647"/>
                    </a:lnTo>
                    <a:lnTo>
                      <a:pt x="98" y="604"/>
                    </a:lnTo>
                    <a:lnTo>
                      <a:pt x="82" y="563"/>
                    </a:lnTo>
                    <a:lnTo>
                      <a:pt x="70" y="524"/>
                    </a:lnTo>
                    <a:lnTo>
                      <a:pt x="61" y="495"/>
                    </a:lnTo>
                    <a:lnTo>
                      <a:pt x="44" y="435"/>
                    </a:lnTo>
                    <a:lnTo>
                      <a:pt x="28" y="371"/>
                    </a:lnTo>
                    <a:lnTo>
                      <a:pt x="20" y="339"/>
                    </a:lnTo>
                    <a:lnTo>
                      <a:pt x="13" y="306"/>
                    </a:lnTo>
                    <a:lnTo>
                      <a:pt x="7" y="273"/>
                    </a:lnTo>
                    <a:lnTo>
                      <a:pt x="3" y="240"/>
                    </a:lnTo>
                    <a:lnTo>
                      <a:pt x="0" y="207"/>
                    </a:lnTo>
                    <a:lnTo>
                      <a:pt x="0" y="176"/>
                    </a:lnTo>
                    <a:lnTo>
                      <a:pt x="0" y="160"/>
                    </a:lnTo>
                    <a:lnTo>
                      <a:pt x="1" y="145"/>
                    </a:lnTo>
                    <a:lnTo>
                      <a:pt x="2" y="129"/>
                    </a:lnTo>
                    <a:lnTo>
                      <a:pt x="4" y="113"/>
                    </a:lnTo>
                    <a:lnTo>
                      <a:pt x="7" y="99"/>
                    </a:lnTo>
                    <a:lnTo>
                      <a:pt x="11" y="84"/>
                    </a:lnTo>
                    <a:lnTo>
                      <a:pt x="15" y="70"/>
                    </a:lnTo>
                    <a:lnTo>
                      <a:pt x="19" y="57"/>
                    </a:lnTo>
                    <a:lnTo>
                      <a:pt x="25" y="43"/>
                    </a:lnTo>
                    <a:lnTo>
                      <a:pt x="31" y="30"/>
                    </a:lnTo>
                    <a:lnTo>
                      <a:pt x="39" y="18"/>
                    </a:lnTo>
                    <a:lnTo>
                      <a:pt x="47" y="6"/>
                    </a:lnTo>
                    <a:lnTo>
                      <a:pt x="51" y="2"/>
                    </a:lnTo>
                    <a:lnTo>
                      <a:pt x="56" y="0"/>
                    </a:lnTo>
                    <a:lnTo>
                      <a:pt x="61" y="1"/>
                    </a:lnTo>
                    <a:lnTo>
                      <a:pt x="66" y="3"/>
                    </a:lnTo>
                    <a:lnTo>
                      <a:pt x="70" y="7"/>
                    </a:lnTo>
                    <a:lnTo>
                      <a:pt x="71" y="12"/>
                    </a:lnTo>
                    <a:lnTo>
                      <a:pt x="71" y="17"/>
                    </a:lnTo>
                    <a:lnTo>
                      <a:pt x="69" y="22"/>
                    </a:lnTo>
                    <a:lnTo>
                      <a:pt x="61" y="33"/>
                    </a:lnTo>
                    <a:lnTo>
                      <a:pt x="55" y="44"/>
                    </a:lnTo>
                    <a:lnTo>
                      <a:pt x="50" y="56"/>
                    </a:lnTo>
                    <a:lnTo>
                      <a:pt x="44" y="69"/>
                    </a:lnTo>
                    <a:lnTo>
                      <a:pt x="40" y="82"/>
                    </a:lnTo>
                    <a:lnTo>
                      <a:pt x="36" y="95"/>
                    </a:lnTo>
                    <a:lnTo>
                      <a:pt x="32" y="108"/>
                    </a:lnTo>
                    <a:lnTo>
                      <a:pt x="30" y="122"/>
                    </a:lnTo>
                    <a:lnTo>
                      <a:pt x="29" y="136"/>
                    </a:lnTo>
                    <a:lnTo>
                      <a:pt x="27" y="151"/>
                    </a:lnTo>
                    <a:lnTo>
                      <a:pt x="27" y="166"/>
                    </a:lnTo>
                    <a:lnTo>
                      <a:pt x="27" y="180"/>
                    </a:lnTo>
                    <a:lnTo>
                      <a:pt x="28" y="212"/>
                    </a:lnTo>
                    <a:lnTo>
                      <a:pt x="30" y="242"/>
                    </a:lnTo>
                    <a:lnTo>
                      <a:pt x="34" y="274"/>
                    </a:lnTo>
                    <a:lnTo>
                      <a:pt x="41" y="306"/>
                    </a:lnTo>
                    <a:lnTo>
                      <a:pt x="47" y="337"/>
                    </a:lnTo>
                    <a:lnTo>
                      <a:pt x="55" y="368"/>
                    </a:lnTo>
                    <a:lnTo>
                      <a:pt x="71" y="430"/>
                    </a:lnTo>
                    <a:lnTo>
                      <a:pt x="87" y="487"/>
                    </a:lnTo>
                    <a:lnTo>
                      <a:pt x="96" y="516"/>
                    </a:lnTo>
                    <a:lnTo>
                      <a:pt x="108" y="554"/>
                    </a:lnTo>
                    <a:lnTo>
                      <a:pt x="123" y="595"/>
                    </a:lnTo>
                    <a:lnTo>
                      <a:pt x="141" y="637"/>
                    </a:lnTo>
                    <a:lnTo>
                      <a:pt x="161" y="680"/>
                    </a:lnTo>
                    <a:lnTo>
                      <a:pt x="183" y="723"/>
                    </a:lnTo>
                    <a:lnTo>
                      <a:pt x="207" y="768"/>
                    </a:lnTo>
                    <a:lnTo>
                      <a:pt x="233" y="810"/>
                    </a:lnTo>
                    <a:lnTo>
                      <a:pt x="260" y="852"/>
                    </a:lnTo>
                    <a:lnTo>
                      <a:pt x="288" y="892"/>
                    </a:lnTo>
                    <a:lnTo>
                      <a:pt x="316" y="928"/>
                    </a:lnTo>
                    <a:lnTo>
                      <a:pt x="331" y="946"/>
                    </a:lnTo>
                    <a:lnTo>
                      <a:pt x="345" y="963"/>
                    </a:lnTo>
                    <a:lnTo>
                      <a:pt x="361" y="978"/>
                    </a:lnTo>
                    <a:lnTo>
                      <a:pt x="376" y="993"/>
                    </a:lnTo>
                    <a:lnTo>
                      <a:pt x="390" y="1006"/>
                    </a:lnTo>
                    <a:lnTo>
                      <a:pt x="405" y="1019"/>
                    </a:lnTo>
                    <a:lnTo>
                      <a:pt x="420" y="1030"/>
                    </a:lnTo>
                    <a:lnTo>
                      <a:pt x="434" y="1041"/>
                    </a:lnTo>
                    <a:lnTo>
                      <a:pt x="449" y="1048"/>
                    </a:lnTo>
                    <a:lnTo>
                      <a:pt x="463" y="1056"/>
                    </a:lnTo>
                    <a:lnTo>
                      <a:pt x="477" y="1061"/>
                    </a:lnTo>
                    <a:lnTo>
                      <a:pt x="491" y="1066"/>
                    </a:lnTo>
                    <a:lnTo>
                      <a:pt x="532" y="1074"/>
                    </a:lnTo>
                    <a:lnTo>
                      <a:pt x="572" y="1082"/>
                    </a:lnTo>
                    <a:lnTo>
                      <a:pt x="612" y="1088"/>
                    </a:lnTo>
                    <a:lnTo>
                      <a:pt x="652" y="1093"/>
                    </a:lnTo>
                    <a:lnTo>
                      <a:pt x="691" y="1096"/>
                    </a:lnTo>
                    <a:lnTo>
                      <a:pt x="730" y="1098"/>
                    </a:lnTo>
                    <a:lnTo>
                      <a:pt x="769" y="1100"/>
                    </a:lnTo>
                    <a:lnTo>
                      <a:pt x="808" y="1100"/>
                    </a:lnTo>
                    <a:lnTo>
                      <a:pt x="846" y="1100"/>
                    </a:lnTo>
                    <a:lnTo>
                      <a:pt x="884" y="1099"/>
                    </a:lnTo>
                    <a:lnTo>
                      <a:pt x="923" y="1097"/>
                    </a:lnTo>
                    <a:lnTo>
                      <a:pt x="961" y="1095"/>
                    </a:lnTo>
                    <a:lnTo>
                      <a:pt x="1039" y="1089"/>
                    </a:lnTo>
                    <a:lnTo>
                      <a:pt x="1116" y="1083"/>
                    </a:lnTo>
                    <a:lnTo>
                      <a:pt x="1181" y="1077"/>
                    </a:lnTo>
                    <a:lnTo>
                      <a:pt x="1246" y="1072"/>
                    </a:lnTo>
                    <a:lnTo>
                      <a:pt x="1312" y="1068"/>
                    </a:lnTo>
                    <a:lnTo>
                      <a:pt x="1379" y="1065"/>
                    </a:lnTo>
                    <a:lnTo>
                      <a:pt x="1447" y="1063"/>
                    </a:lnTo>
                    <a:lnTo>
                      <a:pt x="1517" y="1065"/>
                    </a:lnTo>
                    <a:lnTo>
                      <a:pt x="1553" y="1066"/>
                    </a:lnTo>
                    <a:lnTo>
                      <a:pt x="1588" y="1068"/>
                    </a:lnTo>
                    <a:lnTo>
                      <a:pt x="1625" y="1070"/>
                    </a:lnTo>
                    <a:lnTo>
                      <a:pt x="1662" y="1073"/>
                    </a:lnTo>
                    <a:lnTo>
                      <a:pt x="1714" y="1080"/>
                    </a:lnTo>
                    <a:lnTo>
                      <a:pt x="1763" y="1086"/>
                    </a:lnTo>
                    <a:lnTo>
                      <a:pt x="1811" y="1095"/>
                    </a:lnTo>
                    <a:lnTo>
                      <a:pt x="1857" y="1103"/>
                    </a:lnTo>
                    <a:lnTo>
                      <a:pt x="1901" y="1113"/>
                    </a:lnTo>
                    <a:lnTo>
                      <a:pt x="1944" y="1124"/>
                    </a:lnTo>
                    <a:lnTo>
                      <a:pt x="1985" y="1136"/>
                    </a:lnTo>
                    <a:lnTo>
                      <a:pt x="2023" y="1147"/>
                    </a:lnTo>
                    <a:lnTo>
                      <a:pt x="2061" y="1160"/>
                    </a:lnTo>
                    <a:lnTo>
                      <a:pt x="2098" y="1171"/>
                    </a:lnTo>
                    <a:lnTo>
                      <a:pt x="2133" y="1184"/>
                    </a:lnTo>
                    <a:lnTo>
                      <a:pt x="2166" y="1197"/>
                    </a:lnTo>
                    <a:lnTo>
                      <a:pt x="2231" y="1222"/>
                    </a:lnTo>
                    <a:lnTo>
                      <a:pt x="2290" y="1247"/>
                    </a:lnTo>
                    <a:lnTo>
                      <a:pt x="2329" y="1263"/>
                    </a:lnTo>
                    <a:lnTo>
                      <a:pt x="2367" y="1279"/>
                    </a:lnTo>
                    <a:lnTo>
                      <a:pt x="2404" y="1293"/>
                    </a:lnTo>
                    <a:lnTo>
                      <a:pt x="2439" y="1306"/>
                    </a:lnTo>
                    <a:lnTo>
                      <a:pt x="2475" y="1317"/>
                    </a:lnTo>
                    <a:lnTo>
                      <a:pt x="2509" y="1326"/>
                    </a:lnTo>
                    <a:lnTo>
                      <a:pt x="2526" y="1330"/>
                    </a:lnTo>
                    <a:lnTo>
                      <a:pt x="2543" y="1333"/>
                    </a:lnTo>
                    <a:lnTo>
                      <a:pt x="2560" y="1335"/>
                    </a:lnTo>
                    <a:lnTo>
                      <a:pt x="2576" y="1337"/>
                    </a:lnTo>
                    <a:lnTo>
                      <a:pt x="2595" y="1338"/>
                    </a:lnTo>
                    <a:lnTo>
                      <a:pt x="2612" y="1339"/>
                    </a:lnTo>
                    <a:lnTo>
                      <a:pt x="2627" y="1339"/>
                    </a:lnTo>
                    <a:lnTo>
                      <a:pt x="2642" y="1339"/>
                    </a:lnTo>
                    <a:lnTo>
                      <a:pt x="2655" y="1338"/>
                    </a:lnTo>
                    <a:lnTo>
                      <a:pt x="2668" y="1335"/>
                    </a:lnTo>
                    <a:lnTo>
                      <a:pt x="2679" y="1333"/>
                    </a:lnTo>
                    <a:lnTo>
                      <a:pt x="2689" y="1330"/>
                    </a:lnTo>
                    <a:lnTo>
                      <a:pt x="2694" y="1330"/>
                    </a:lnTo>
                    <a:lnTo>
                      <a:pt x="2699" y="1331"/>
                    </a:lnTo>
                    <a:lnTo>
                      <a:pt x="2704" y="1334"/>
                    </a:lnTo>
                    <a:lnTo>
                      <a:pt x="2706" y="1339"/>
                    </a:lnTo>
                    <a:lnTo>
                      <a:pt x="2707" y="1344"/>
                    </a:lnTo>
                    <a:lnTo>
                      <a:pt x="2705" y="1349"/>
                    </a:lnTo>
                    <a:lnTo>
                      <a:pt x="2702" y="1354"/>
                    </a:lnTo>
                    <a:lnTo>
                      <a:pt x="2697" y="1356"/>
                    </a:lnTo>
                    <a:lnTo>
                      <a:pt x="2682" y="1360"/>
                    </a:lnTo>
                    <a:lnTo>
                      <a:pt x="2664" y="1364"/>
                    </a:lnTo>
                    <a:lnTo>
                      <a:pt x="2643" y="1366"/>
                    </a:lnTo>
                    <a:lnTo>
                      <a:pt x="2622"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4"/>
              <p:cNvSpPr>
                <a:spLocks/>
              </p:cNvSpPr>
              <p:nvPr userDrawn="1"/>
            </p:nvSpPr>
            <p:spPr bwMode="auto">
              <a:xfrm>
                <a:off x="3129" y="3416"/>
                <a:ext cx="280" cy="904"/>
              </a:xfrm>
              <a:custGeom>
                <a:avLst/>
                <a:gdLst>
                  <a:gd name="T0" fmla="*/ 761 w 840"/>
                  <a:gd name="T1" fmla="*/ 2652 h 2712"/>
                  <a:gd name="T2" fmla="*/ 743 w 840"/>
                  <a:gd name="T3" fmla="*/ 2549 h 2712"/>
                  <a:gd name="T4" fmla="*/ 722 w 840"/>
                  <a:gd name="T5" fmla="*/ 2432 h 2712"/>
                  <a:gd name="T6" fmla="*/ 712 w 840"/>
                  <a:gd name="T7" fmla="*/ 2346 h 2712"/>
                  <a:gd name="T8" fmla="*/ 715 w 840"/>
                  <a:gd name="T9" fmla="*/ 2292 h 2712"/>
                  <a:gd name="T10" fmla="*/ 732 w 840"/>
                  <a:gd name="T11" fmla="*/ 2220 h 2712"/>
                  <a:gd name="T12" fmla="*/ 771 w 840"/>
                  <a:gd name="T13" fmla="*/ 2090 h 2712"/>
                  <a:gd name="T14" fmla="*/ 789 w 840"/>
                  <a:gd name="T15" fmla="*/ 2011 h 2712"/>
                  <a:gd name="T16" fmla="*/ 804 w 840"/>
                  <a:gd name="T17" fmla="*/ 1921 h 2712"/>
                  <a:gd name="T18" fmla="*/ 812 w 840"/>
                  <a:gd name="T19" fmla="*/ 1817 h 2712"/>
                  <a:gd name="T20" fmla="*/ 811 w 840"/>
                  <a:gd name="T21" fmla="*/ 1696 h 2712"/>
                  <a:gd name="T22" fmla="*/ 798 w 840"/>
                  <a:gd name="T23" fmla="*/ 1558 h 2712"/>
                  <a:gd name="T24" fmla="*/ 770 w 840"/>
                  <a:gd name="T25" fmla="*/ 1399 h 2712"/>
                  <a:gd name="T26" fmla="*/ 724 w 840"/>
                  <a:gd name="T27" fmla="*/ 1220 h 2712"/>
                  <a:gd name="T28" fmla="*/ 660 w 840"/>
                  <a:gd name="T29" fmla="*/ 1017 h 2712"/>
                  <a:gd name="T30" fmla="*/ 571 w 840"/>
                  <a:gd name="T31" fmla="*/ 788 h 2712"/>
                  <a:gd name="T32" fmla="*/ 491 w 840"/>
                  <a:gd name="T33" fmla="*/ 611 h 2712"/>
                  <a:gd name="T34" fmla="*/ 412 w 840"/>
                  <a:gd name="T35" fmla="*/ 474 h 2712"/>
                  <a:gd name="T36" fmla="*/ 319 w 840"/>
                  <a:gd name="T37" fmla="*/ 343 h 2712"/>
                  <a:gd name="T38" fmla="*/ 213 w 840"/>
                  <a:gd name="T39" fmla="*/ 218 h 2712"/>
                  <a:gd name="T40" fmla="*/ 93 w 840"/>
                  <a:gd name="T41" fmla="*/ 100 h 2712"/>
                  <a:gd name="T42" fmla="*/ 2 w 840"/>
                  <a:gd name="T43" fmla="*/ 20 h 2712"/>
                  <a:gd name="T44" fmla="*/ 3 w 840"/>
                  <a:gd name="T45" fmla="*/ 5 h 2712"/>
                  <a:gd name="T46" fmla="*/ 17 w 840"/>
                  <a:gd name="T47" fmla="*/ 0 h 2712"/>
                  <a:gd name="T48" fmla="*/ 111 w 840"/>
                  <a:gd name="T49" fmla="*/ 79 h 2712"/>
                  <a:gd name="T50" fmla="*/ 233 w 840"/>
                  <a:gd name="T51" fmla="*/ 200 h 2712"/>
                  <a:gd name="T52" fmla="*/ 341 w 840"/>
                  <a:gd name="T53" fmla="*/ 326 h 2712"/>
                  <a:gd name="T54" fmla="*/ 435 w 840"/>
                  <a:gd name="T55" fmla="*/ 460 h 2712"/>
                  <a:gd name="T56" fmla="*/ 515 w 840"/>
                  <a:gd name="T57" fmla="*/ 599 h 2712"/>
                  <a:gd name="T58" fmla="*/ 596 w 840"/>
                  <a:gd name="T59" fmla="*/ 778 h 2712"/>
                  <a:gd name="T60" fmla="*/ 685 w 840"/>
                  <a:gd name="T61" fmla="*/ 1010 h 2712"/>
                  <a:gd name="T62" fmla="*/ 751 w 840"/>
                  <a:gd name="T63" fmla="*/ 1215 h 2712"/>
                  <a:gd name="T64" fmla="*/ 797 w 840"/>
                  <a:gd name="T65" fmla="*/ 1397 h 2712"/>
                  <a:gd name="T66" fmla="*/ 825 w 840"/>
                  <a:gd name="T67" fmla="*/ 1557 h 2712"/>
                  <a:gd name="T68" fmla="*/ 838 w 840"/>
                  <a:gd name="T69" fmla="*/ 1697 h 2712"/>
                  <a:gd name="T70" fmla="*/ 839 w 840"/>
                  <a:gd name="T71" fmla="*/ 1819 h 2712"/>
                  <a:gd name="T72" fmla="*/ 831 w 840"/>
                  <a:gd name="T73" fmla="*/ 1925 h 2712"/>
                  <a:gd name="T74" fmla="*/ 816 w 840"/>
                  <a:gd name="T75" fmla="*/ 2017 h 2712"/>
                  <a:gd name="T76" fmla="*/ 797 w 840"/>
                  <a:gd name="T77" fmla="*/ 2097 h 2712"/>
                  <a:gd name="T78" fmla="*/ 758 w 840"/>
                  <a:gd name="T79" fmla="*/ 2226 h 2712"/>
                  <a:gd name="T80" fmla="*/ 742 w 840"/>
                  <a:gd name="T81" fmla="*/ 2294 h 2712"/>
                  <a:gd name="T82" fmla="*/ 739 w 840"/>
                  <a:gd name="T83" fmla="*/ 2345 h 2712"/>
                  <a:gd name="T84" fmla="*/ 749 w 840"/>
                  <a:gd name="T85" fmla="*/ 2429 h 2712"/>
                  <a:gd name="T86" fmla="*/ 769 w 840"/>
                  <a:gd name="T87" fmla="*/ 2545 h 2712"/>
                  <a:gd name="T88" fmla="*/ 788 w 840"/>
                  <a:gd name="T89" fmla="*/ 2648 h 2712"/>
                  <a:gd name="T90" fmla="*/ 771 w 840"/>
                  <a:gd name="T91" fmla="*/ 2712 h 2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0" h="2712">
                    <a:moveTo>
                      <a:pt x="771" y="2712"/>
                    </a:moveTo>
                    <a:lnTo>
                      <a:pt x="765" y="2681"/>
                    </a:lnTo>
                    <a:lnTo>
                      <a:pt x="761" y="2652"/>
                    </a:lnTo>
                    <a:lnTo>
                      <a:pt x="756" y="2622"/>
                    </a:lnTo>
                    <a:lnTo>
                      <a:pt x="750" y="2594"/>
                    </a:lnTo>
                    <a:lnTo>
                      <a:pt x="743" y="2549"/>
                    </a:lnTo>
                    <a:lnTo>
                      <a:pt x="735" y="2507"/>
                    </a:lnTo>
                    <a:lnTo>
                      <a:pt x="729" y="2468"/>
                    </a:lnTo>
                    <a:lnTo>
                      <a:pt x="722" y="2432"/>
                    </a:lnTo>
                    <a:lnTo>
                      <a:pt x="718" y="2400"/>
                    </a:lnTo>
                    <a:lnTo>
                      <a:pt x="715" y="2371"/>
                    </a:lnTo>
                    <a:lnTo>
                      <a:pt x="712" y="2346"/>
                    </a:lnTo>
                    <a:lnTo>
                      <a:pt x="711" y="2324"/>
                    </a:lnTo>
                    <a:lnTo>
                      <a:pt x="712" y="2308"/>
                    </a:lnTo>
                    <a:lnTo>
                      <a:pt x="715" y="2292"/>
                    </a:lnTo>
                    <a:lnTo>
                      <a:pt x="718" y="2275"/>
                    </a:lnTo>
                    <a:lnTo>
                      <a:pt x="721" y="2258"/>
                    </a:lnTo>
                    <a:lnTo>
                      <a:pt x="732" y="2220"/>
                    </a:lnTo>
                    <a:lnTo>
                      <a:pt x="744" y="2179"/>
                    </a:lnTo>
                    <a:lnTo>
                      <a:pt x="757" y="2137"/>
                    </a:lnTo>
                    <a:lnTo>
                      <a:pt x="771" y="2090"/>
                    </a:lnTo>
                    <a:lnTo>
                      <a:pt x="777" y="2065"/>
                    </a:lnTo>
                    <a:lnTo>
                      <a:pt x="784" y="2039"/>
                    </a:lnTo>
                    <a:lnTo>
                      <a:pt x="789" y="2011"/>
                    </a:lnTo>
                    <a:lnTo>
                      <a:pt x="795" y="1983"/>
                    </a:lnTo>
                    <a:lnTo>
                      <a:pt x="800" y="1953"/>
                    </a:lnTo>
                    <a:lnTo>
                      <a:pt x="804" y="1921"/>
                    </a:lnTo>
                    <a:lnTo>
                      <a:pt x="808" y="1888"/>
                    </a:lnTo>
                    <a:lnTo>
                      <a:pt x="811" y="1853"/>
                    </a:lnTo>
                    <a:lnTo>
                      <a:pt x="812" y="1817"/>
                    </a:lnTo>
                    <a:lnTo>
                      <a:pt x="813" y="1778"/>
                    </a:lnTo>
                    <a:lnTo>
                      <a:pt x="813" y="1738"/>
                    </a:lnTo>
                    <a:lnTo>
                      <a:pt x="811" y="1696"/>
                    </a:lnTo>
                    <a:lnTo>
                      <a:pt x="808" y="1652"/>
                    </a:lnTo>
                    <a:lnTo>
                      <a:pt x="803" y="1607"/>
                    </a:lnTo>
                    <a:lnTo>
                      <a:pt x="798" y="1558"/>
                    </a:lnTo>
                    <a:lnTo>
                      <a:pt x="790" y="1507"/>
                    </a:lnTo>
                    <a:lnTo>
                      <a:pt x="781" y="1454"/>
                    </a:lnTo>
                    <a:lnTo>
                      <a:pt x="770" y="1399"/>
                    </a:lnTo>
                    <a:lnTo>
                      <a:pt x="757" y="1342"/>
                    </a:lnTo>
                    <a:lnTo>
                      <a:pt x="742" y="1283"/>
                    </a:lnTo>
                    <a:lnTo>
                      <a:pt x="724" y="1220"/>
                    </a:lnTo>
                    <a:lnTo>
                      <a:pt x="705" y="1155"/>
                    </a:lnTo>
                    <a:lnTo>
                      <a:pt x="683" y="1087"/>
                    </a:lnTo>
                    <a:lnTo>
                      <a:pt x="660" y="1017"/>
                    </a:lnTo>
                    <a:lnTo>
                      <a:pt x="633" y="944"/>
                    </a:lnTo>
                    <a:lnTo>
                      <a:pt x="603" y="867"/>
                    </a:lnTo>
                    <a:lnTo>
                      <a:pt x="571" y="788"/>
                    </a:lnTo>
                    <a:lnTo>
                      <a:pt x="535" y="705"/>
                    </a:lnTo>
                    <a:lnTo>
                      <a:pt x="514" y="658"/>
                    </a:lnTo>
                    <a:lnTo>
                      <a:pt x="491" y="611"/>
                    </a:lnTo>
                    <a:lnTo>
                      <a:pt x="466" y="565"/>
                    </a:lnTo>
                    <a:lnTo>
                      <a:pt x="440" y="520"/>
                    </a:lnTo>
                    <a:lnTo>
                      <a:pt x="412" y="474"/>
                    </a:lnTo>
                    <a:lnTo>
                      <a:pt x="383" y="430"/>
                    </a:lnTo>
                    <a:lnTo>
                      <a:pt x="352" y="386"/>
                    </a:lnTo>
                    <a:lnTo>
                      <a:pt x="319" y="343"/>
                    </a:lnTo>
                    <a:lnTo>
                      <a:pt x="285" y="300"/>
                    </a:lnTo>
                    <a:lnTo>
                      <a:pt x="250" y="259"/>
                    </a:lnTo>
                    <a:lnTo>
                      <a:pt x="213" y="218"/>
                    </a:lnTo>
                    <a:lnTo>
                      <a:pt x="174" y="177"/>
                    </a:lnTo>
                    <a:lnTo>
                      <a:pt x="134" y="139"/>
                    </a:lnTo>
                    <a:lnTo>
                      <a:pt x="93" y="100"/>
                    </a:lnTo>
                    <a:lnTo>
                      <a:pt x="49" y="61"/>
                    </a:lnTo>
                    <a:lnTo>
                      <a:pt x="5" y="24"/>
                    </a:lnTo>
                    <a:lnTo>
                      <a:pt x="2" y="20"/>
                    </a:lnTo>
                    <a:lnTo>
                      <a:pt x="0" y="14"/>
                    </a:lnTo>
                    <a:lnTo>
                      <a:pt x="1" y="10"/>
                    </a:lnTo>
                    <a:lnTo>
                      <a:pt x="3" y="5"/>
                    </a:lnTo>
                    <a:lnTo>
                      <a:pt x="7" y="1"/>
                    </a:lnTo>
                    <a:lnTo>
                      <a:pt x="13" y="0"/>
                    </a:lnTo>
                    <a:lnTo>
                      <a:pt x="17" y="0"/>
                    </a:lnTo>
                    <a:lnTo>
                      <a:pt x="22" y="4"/>
                    </a:lnTo>
                    <a:lnTo>
                      <a:pt x="67" y="41"/>
                    </a:lnTo>
                    <a:lnTo>
                      <a:pt x="111" y="79"/>
                    </a:lnTo>
                    <a:lnTo>
                      <a:pt x="153" y="119"/>
                    </a:lnTo>
                    <a:lnTo>
                      <a:pt x="194" y="159"/>
                    </a:lnTo>
                    <a:lnTo>
                      <a:pt x="233" y="200"/>
                    </a:lnTo>
                    <a:lnTo>
                      <a:pt x="271" y="241"/>
                    </a:lnTo>
                    <a:lnTo>
                      <a:pt x="306" y="284"/>
                    </a:lnTo>
                    <a:lnTo>
                      <a:pt x="341" y="326"/>
                    </a:lnTo>
                    <a:lnTo>
                      <a:pt x="373" y="371"/>
                    </a:lnTo>
                    <a:lnTo>
                      <a:pt x="405" y="415"/>
                    </a:lnTo>
                    <a:lnTo>
                      <a:pt x="435" y="460"/>
                    </a:lnTo>
                    <a:lnTo>
                      <a:pt x="463" y="506"/>
                    </a:lnTo>
                    <a:lnTo>
                      <a:pt x="490" y="552"/>
                    </a:lnTo>
                    <a:lnTo>
                      <a:pt x="515" y="599"/>
                    </a:lnTo>
                    <a:lnTo>
                      <a:pt x="539" y="647"/>
                    </a:lnTo>
                    <a:lnTo>
                      <a:pt x="560" y="694"/>
                    </a:lnTo>
                    <a:lnTo>
                      <a:pt x="596" y="778"/>
                    </a:lnTo>
                    <a:lnTo>
                      <a:pt x="628" y="859"/>
                    </a:lnTo>
                    <a:lnTo>
                      <a:pt x="658" y="935"/>
                    </a:lnTo>
                    <a:lnTo>
                      <a:pt x="685" y="1010"/>
                    </a:lnTo>
                    <a:lnTo>
                      <a:pt x="709" y="1081"/>
                    </a:lnTo>
                    <a:lnTo>
                      <a:pt x="732" y="1149"/>
                    </a:lnTo>
                    <a:lnTo>
                      <a:pt x="751" y="1215"/>
                    </a:lnTo>
                    <a:lnTo>
                      <a:pt x="769" y="1278"/>
                    </a:lnTo>
                    <a:lnTo>
                      <a:pt x="784" y="1339"/>
                    </a:lnTo>
                    <a:lnTo>
                      <a:pt x="797" y="1397"/>
                    </a:lnTo>
                    <a:lnTo>
                      <a:pt x="809" y="1452"/>
                    </a:lnTo>
                    <a:lnTo>
                      <a:pt x="817" y="1506"/>
                    </a:lnTo>
                    <a:lnTo>
                      <a:pt x="825" y="1557"/>
                    </a:lnTo>
                    <a:lnTo>
                      <a:pt x="831" y="1606"/>
                    </a:lnTo>
                    <a:lnTo>
                      <a:pt x="836" y="1652"/>
                    </a:lnTo>
                    <a:lnTo>
                      <a:pt x="838" y="1697"/>
                    </a:lnTo>
                    <a:lnTo>
                      <a:pt x="840" y="1739"/>
                    </a:lnTo>
                    <a:lnTo>
                      <a:pt x="840" y="1780"/>
                    </a:lnTo>
                    <a:lnTo>
                      <a:pt x="839" y="1819"/>
                    </a:lnTo>
                    <a:lnTo>
                      <a:pt x="838" y="1856"/>
                    </a:lnTo>
                    <a:lnTo>
                      <a:pt x="835" y="1892"/>
                    </a:lnTo>
                    <a:lnTo>
                      <a:pt x="831" y="1925"/>
                    </a:lnTo>
                    <a:lnTo>
                      <a:pt x="827" y="1957"/>
                    </a:lnTo>
                    <a:lnTo>
                      <a:pt x="822" y="1988"/>
                    </a:lnTo>
                    <a:lnTo>
                      <a:pt x="816" y="2017"/>
                    </a:lnTo>
                    <a:lnTo>
                      <a:pt x="810" y="2045"/>
                    </a:lnTo>
                    <a:lnTo>
                      <a:pt x="803" y="2071"/>
                    </a:lnTo>
                    <a:lnTo>
                      <a:pt x="797" y="2097"/>
                    </a:lnTo>
                    <a:lnTo>
                      <a:pt x="784" y="2144"/>
                    </a:lnTo>
                    <a:lnTo>
                      <a:pt x="770" y="2187"/>
                    </a:lnTo>
                    <a:lnTo>
                      <a:pt x="758" y="2226"/>
                    </a:lnTo>
                    <a:lnTo>
                      <a:pt x="748" y="2262"/>
                    </a:lnTo>
                    <a:lnTo>
                      <a:pt x="745" y="2278"/>
                    </a:lnTo>
                    <a:lnTo>
                      <a:pt x="742" y="2294"/>
                    </a:lnTo>
                    <a:lnTo>
                      <a:pt x="739" y="2309"/>
                    </a:lnTo>
                    <a:lnTo>
                      <a:pt x="738" y="2324"/>
                    </a:lnTo>
                    <a:lnTo>
                      <a:pt x="739" y="2345"/>
                    </a:lnTo>
                    <a:lnTo>
                      <a:pt x="742" y="2370"/>
                    </a:lnTo>
                    <a:lnTo>
                      <a:pt x="745" y="2398"/>
                    </a:lnTo>
                    <a:lnTo>
                      <a:pt x="749" y="2429"/>
                    </a:lnTo>
                    <a:lnTo>
                      <a:pt x="755" y="2465"/>
                    </a:lnTo>
                    <a:lnTo>
                      <a:pt x="762" y="2503"/>
                    </a:lnTo>
                    <a:lnTo>
                      <a:pt x="769" y="2545"/>
                    </a:lnTo>
                    <a:lnTo>
                      <a:pt x="777" y="2590"/>
                    </a:lnTo>
                    <a:lnTo>
                      <a:pt x="783" y="2619"/>
                    </a:lnTo>
                    <a:lnTo>
                      <a:pt x="788" y="2648"/>
                    </a:lnTo>
                    <a:lnTo>
                      <a:pt x="793" y="2680"/>
                    </a:lnTo>
                    <a:lnTo>
                      <a:pt x="799" y="2712"/>
                    </a:lnTo>
                    <a:lnTo>
                      <a:pt x="771" y="27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5"/>
              <p:cNvSpPr>
                <a:spLocks/>
              </p:cNvSpPr>
              <p:nvPr userDrawn="1"/>
            </p:nvSpPr>
            <p:spPr bwMode="auto">
              <a:xfrm>
                <a:off x="1202" y="3964"/>
                <a:ext cx="174" cy="356"/>
              </a:xfrm>
              <a:custGeom>
                <a:avLst/>
                <a:gdLst>
                  <a:gd name="T0" fmla="*/ 494 w 524"/>
                  <a:gd name="T1" fmla="*/ 1067 h 1067"/>
                  <a:gd name="T2" fmla="*/ 482 w 524"/>
                  <a:gd name="T3" fmla="*/ 1042 h 1067"/>
                  <a:gd name="T4" fmla="*/ 470 w 524"/>
                  <a:gd name="T5" fmla="*/ 1017 h 1067"/>
                  <a:gd name="T6" fmla="*/ 458 w 524"/>
                  <a:gd name="T7" fmla="*/ 995 h 1067"/>
                  <a:gd name="T8" fmla="*/ 446 w 524"/>
                  <a:gd name="T9" fmla="*/ 971 h 1067"/>
                  <a:gd name="T10" fmla="*/ 433 w 524"/>
                  <a:gd name="T11" fmla="*/ 944 h 1067"/>
                  <a:gd name="T12" fmla="*/ 415 w 524"/>
                  <a:gd name="T13" fmla="*/ 906 h 1067"/>
                  <a:gd name="T14" fmla="*/ 395 w 524"/>
                  <a:gd name="T15" fmla="*/ 864 h 1067"/>
                  <a:gd name="T16" fmla="*/ 372 w 524"/>
                  <a:gd name="T17" fmla="*/ 819 h 1067"/>
                  <a:gd name="T18" fmla="*/ 348 w 524"/>
                  <a:gd name="T19" fmla="*/ 770 h 1067"/>
                  <a:gd name="T20" fmla="*/ 323 w 524"/>
                  <a:gd name="T21" fmla="*/ 719 h 1067"/>
                  <a:gd name="T22" fmla="*/ 297 w 524"/>
                  <a:gd name="T23" fmla="*/ 664 h 1067"/>
                  <a:gd name="T24" fmla="*/ 270 w 524"/>
                  <a:gd name="T25" fmla="*/ 608 h 1067"/>
                  <a:gd name="T26" fmla="*/ 242 w 524"/>
                  <a:gd name="T27" fmla="*/ 549 h 1067"/>
                  <a:gd name="T28" fmla="*/ 213 w 524"/>
                  <a:gd name="T29" fmla="*/ 488 h 1067"/>
                  <a:gd name="T30" fmla="*/ 184 w 524"/>
                  <a:gd name="T31" fmla="*/ 425 h 1067"/>
                  <a:gd name="T32" fmla="*/ 154 w 524"/>
                  <a:gd name="T33" fmla="*/ 360 h 1067"/>
                  <a:gd name="T34" fmla="*/ 124 w 524"/>
                  <a:gd name="T35" fmla="*/ 294 h 1067"/>
                  <a:gd name="T36" fmla="*/ 93 w 524"/>
                  <a:gd name="T37" fmla="*/ 226 h 1067"/>
                  <a:gd name="T38" fmla="*/ 63 w 524"/>
                  <a:gd name="T39" fmla="*/ 158 h 1067"/>
                  <a:gd name="T40" fmla="*/ 32 w 524"/>
                  <a:gd name="T41" fmla="*/ 89 h 1067"/>
                  <a:gd name="T42" fmla="*/ 2 w 524"/>
                  <a:gd name="T43" fmla="*/ 19 h 1067"/>
                  <a:gd name="T44" fmla="*/ 0 w 524"/>
                  <a:gd name="T45" fmla="*/ 15 h 1067"/>
                  <a:gd name="T46" fmla="*/ 2 w 524"/>
                  <a:gd name="T47" fmla="*/ 9 h 1067"/>
                  <a:gd name="T48" fmla="*/ 5 w 524"/>
                  <a:gd name="T49" fmla="*/ 5 h 1067"/>
                  <a:gd name="T50" fmla="*/ 9 w 524"/>
                  <a:gd name="T51" fmla="*/ 2 h 1067"/>
                  <a:gd name="T52" fmla="*/ 15 w 524"/>
                  <a:gd name="T53" fmla="*/ 0 h 1067"/>
                  <a:gd name="T54" fmla="*/ 20 w 524"/>
                  <a:gd name="T55" fmla="*/ 2 h 1067"/>
                  <a:gd name="T56" fmla="*/ 24 w 524"/>
                  <a:gd name="T57" fmla="*/ 4 h 1067"/>
                  <a:gd name="T58" fmla="*/ 26 w 524"/>
                  <a:gd name="T59" fmla="*/ 9 h 1067"/>
                  <a:gd name="T60" fmla="*/ 57 w 524"/>
                  <a:gd name="T61" fmla="*/ 78 h 1067"/>
                  <a:gd name="T62" fmla="*/ 88 w 524"/>
                  <a:gd name="T63" fmla="*/ 147 h 1067"/>
                  <a:gd name="T64" fmla="*/ 118 w 524"/>
                  <a:gd name="T65" fmla="*/ 215 h 1067"/>
                  <a:gd name="T66" fmla="*/ 148 w 524"/>
                  <a:gd name="T67" fmla="*/ 283 h 1067"/>
                  <a:gd name="T68" fmla="*/ 179 w 524"/>
                  <a:gd name="T69" fmla="*/ 349 h 1067"/>
                  <a:gd name="T70" fmla="*/ 209 w 524"/>
                  <a:gd name="T71" fmla="*/ 414 h 1067"/>
                  <a:gd name="T72" fmla="*/ 238 w 524"/>
                  <a:gd name="T73" fmla="*/ 477 h 1067"/>
                  <a:gd name="T74" fmla="*/ 267 w 524"/>
                  <a:gd name="T75" fmla="*/ 538 h 1067"/>
                  <a:gd name="T76" fmla="*/ 295 w 524"/>
                  <a:gd name="T77" fmla="*/ 596 h 1067"/>
                  <a:gd name="T78" fmla="*/ 322 w 524"/>
                  <a:gd name="T79" fmla="*/ 654 h 1067"/>
                  <a:gd name="T80" fmla="*/ 348 w 524"/>
                  <a:gd name="T81" fmla="*/ 708 h 1067"/>
                  <a:gd name="T82" fmla="*/ 373 w 524"/>
                  <a:gd name="T83" fmla="*/ 758 h 1067"/>
                  <a:gd name="T84" fmla="*/ 397 w 524"/>
                  <a:gd name="T85" fmla="*/ 807 h 1067"/>
                  <a:gd name="T86" fmla="*/ 418 w 524"/>
                  <a:gd name="T87" fmla="*/ 852 h 1067"/>
                  <a:gd name="T88" fmla="*/ 439 w 524"/>
                  <a:gd name="T89" fmla="*/ 894 h 1067"/>
                  <a:gd name="T90" fmla="*/ 457 w 524"/>
                  <a:gd name="T91" fmla="*/ 932 h 1067"/>
                  <a:gd name="T92" fmla="*/ 471 w 524"/>
                  <a:gd name="T93" fmla="*/ 959 h 1067"/>
                  <a:gd name="T94" fmla="*/ 484 w 524"/>
                  <a:gd name="T95" fmla="*/ 985 h 1067"/>
                  <a:gd name="T96" fmla="*/ 497 w 524"/>
                  <a:gd name="T97" fmla="*/ 1012 h 1067"/>
                  <a:gd name="T98" fmla="*/ 510 w 524"/>
                  <a:gd name="T99" fmla="*/ 1039 h 1067"/>
                  <a:gd name="T100" fmla="*/ 524 w 524"/>
                  <a:gd name="T101" fmla="*/ 1067 h 1067"/>
                  <a:gd name="T102" fmla="*/ 494 w 524"/>
                  <a:gd name="T103" fmla="*/ 1067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4" h="1067">
                    <a:moveTo>
                      <a:pt x="494" y="1067"/>
                    </a:moveTo>
                    <a:lnTo>
                      <a:pt x="482" y="1042"/>
                    </a:lnTo>
                    <a:lnTo>
                      <a:pt x="470" y="1017"/>
                    </a:lnTo>
                    <a:lnTo>
                      <a:pt x="458" y="995"/>
                    </a:lnTo>
                    <a:lnTo>
                      <a:pt x="446" y="971"/>
                    </a:lnTo>
                    <a:lnTo>
                      <a:pt x="433" y="944"/>
                    </a:lnTo>
                    <a:lnTo>
                      <a:pt x="415" y="906"/>
                    </a:lnTo>
                    <a:lnTo>
                      <a:pt x="395" y="864"/>
                    </a:lnTo>
                    <a:lnTo>
                      <a:pt x="372" y="819"/>
                    </a:lnTo>
                    <a:lnTo>
                      <a:pt x="348" y="770"/>
                    </a:lnTo>
                    <a:lnTo>
                      <a:pt x="323" y="719"/>
                    </a:lnTo>
                    <a:lnTo>
                      <a:pt x="297" y="664"/>
                    </a:lnTo>
                    <a:lnTo>
                      <a:pt x="270" y="608"/>
                    </a:lnTo>
                    <a:lnTo>
                      <a:pt x="242" y="549"/>
                    </a:lnTo>
                    <a:lnTo>
                      <a:pt x="213" y="488"/>
                    </a:lnTo>
                    <a:lnTo>
                      <a:pt x="184" y="425"/>
                    </a:lnTo>
                    <a:lnTo>
                      <a:pt x="154" y="360"/>
                    </a:lnTo>
                    <a:lnTo>
                      <a:pt x="124" y="294"/>
                    </a:lnTo>
                    <a:lnTo>
                      <a:pt x="93" y="226"/>
                    </a:lnTo>
                    <a:lnTo>
                      <a:pt x="63" y="158"/>
                    </a:lnTo>
                    <a:lnTo>
                      <a:pt x="32" y="89"/>
                    </a:lnTo>
                    <a:lnTo>
                      <a:pt x="2" y="19"/>
                    </a:lnTo>
                    <a:lnTo>
                      <a:pt x="0" y="15"/>
                    </a:lnTo>
                    <a:lnTo>
                      <a:pt x="2" y="9"/>
                    </a:lnTo>
                    <a:lnTo>
                      <a:pt x="5" y="5"/>
                    </a:lnTo>
                    <a:lnTo>
                      <a:pt x="9" y="2"/>
                    </a:lnTo>
                    <a:lnTo>
                      <a:pt x="15" y="0"/>
                    </a:lnTo>
                    <a:lnTo>
                      <a:pt x="20" y="2"/>
                    </a:lnTo>
                    <a:lnTo>
                      <a:pt x="24" y="4"/>
                    </a:lnTo>
                    <a:lnTo>
                      <a:pt x="26" y="9"/>
                    </a:lnTo>
                    <a:lnTo>
                      <a:pt x="57" y="78"/>
                    </a:lnTo>
                    <a:lnTo>
                      <a:pt x="88" y="147"/>
                    </a:lnTo>
                    <a:lnTo>
                      <a:pt x="118" y="215"/>
                    </a:lnTo>
                    <a:lnTo>
                      <a:pt x="148" y="283"/>
                    </a:lnTo>
                    <a:lnTo>
                      <a:pt x="179" y="349"/>
                    </a:lnTo>
                    <a:lnTo>
                      <a:pt x="209" y="414"/>
                    </a:lnTo>
                    <a:lnTo>
                      <a:pt x="238" y="477"/>
                    </a:lnTo>
                    <a:lnTo>
                      <a:pt x="267" y="538"/>
                    </a:lnTo>
                    <a:lnTo>
                      <a:pt x="295" y="596"/>
                    </a:lnTo>
                    <a:lnTo>
                      <a:pt x="322" y="654"/>
                    </a:lnTo>
                    <a:lnTo>
                      <a:pt x="348" y="708"/>
                    </a:lnTo>
                    <a:lnTo>
                      <a:pt x="373" y="758"/>
                    </a:lnTo>
                    <a:lnTo>
                      <a:pt x="397" y="807"/>
                    </a:lnTo>
                    <a:lnTo>
                      <a:pt x="418" y="852"/>
                    </a:lnTo>
                    <a:lnTo>
                      <a:pt x="439" y="894"/>
                    </a:lnTo>
                    <a:lnTo>
                      <a:pt x="457" y="932"/>
                    </a:lnTo>
                    <a:lnTo>
                      <a:pt x="471" y="959"/>
                    </a:lnTo>
                    <a:lnTo>
                      <a:pt x="484" y="985"/>
                    </a:lnTo>
                    <a:lnTo>
                      <a:pt x="497" y="1012"/>
                    </a:lnTo>
                    <a:lnTo>
                      <a:pt x="510" y="1039"/>
                    </a:lnTo>
                    <a:lnTo>
                      <a:pt x="524" y="1067"/>
                    </a:lnTo>
                    <a:lnTo>
                      <a:pt x="494" y="10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6"/>
              <p:cNvSpPr>
                <a:spLocks noEditPoints="1"/>
              </p:cNvSpPr>
              <p:nvPr userDrawn="1"/>
            </p:nvSpPr>
            <p:spPr bwMode="auto">
              <a:xfrm>
                <a:off x="2389" y="1683"/>
                <a:ext cx="195" cy="174"/>
              </a:xfrm>
              <a:custGeom>
                <a:avLst/>
                <a:gdLst>
                  <a:gd name="T0" fmla="*/ 529 w 585"/>
                  <a:gd name="T1" fmla="*/ 519 h 522"/>
                  <a:gd name="T2" fmla="*/ 457 w 585"/>
                  <a:gd name="T3" fmla="*/ 492 h 522"/>
                  <a:gd name="T4" fmla="*/ 365 w 585"/>
                  <a:gd name="T5" fmla="*/ 477 h 522"/>
                  <a:gd name="T6" fmla="*/ 286 w 585"/>
                  <a:gd name="T7" fmla="*/ 478 h 522"/>
                  <a:gd name="T8" fmla="*/ 163 w 585"/>
                  <a:gd name="T9" fmla="*/ 498 h 522"/>
                  <a:gd name="T10" fmla="*/ 109 w 585"/>
                  <a:gd name="T11" fmla="*/ 512 h 522"/>
                  <a:gd name="T12" fmla="*/ 61 w 585"/>
                  <a:gd name="T13" fmla="*/ 509 h 522"/>
                  <a:gd name="T14" fmla="*/ 32 w 585"/>
                  <a:gd name="T15" fmla="*/ 490 h 522"/>
                  <a:gd name="T16" fmla="*/ 11 w 585"/>
                  <a:gd name="T17" fmla="*/ 459 h 522"/>
                  <a:gd name="T18" fmla="*/ 0 w 585"/>
                  <a:gd name="T19" fmla="*/ 415 h 522"/>
                  <a:gd name="T20" fmla="*/ 14 w 585"/>
                  <a:gd name="T21" fmla="*/ 357 h 522"/>
                  <a:gd name="T22" fmla="*/ 70 w 585"/>
                  <a:gd name="T23" fmla="*/ 264 h 522"/>
                  <a:gd name="T24" fmla="*/ 162 w 585"/>
                  <a:gd name="T25" fmla="*/ 158 h 522"/>
                  <a:gd name="T26" fmla="*/ 265 w 585"/>
                  <a:gd name="T27" fmla="*/ 68 h 522"/>
                  <a:gd name="T28" fmla="*/ 350 w 585"/>
                  <a:gd name="T29" fmla="*/ 17 h 522"/>
                  <a:gd name="T30" fmla="*/ 393 w 585"/>
                  <a:gd name="T31" fmla="*/ 4 h 522"/>
                  <a:gd name="T32" fmla="*/ 439 w 585"/>
                  <a:gd name="T33" fmla="*/ 1 h 522"/>
                  <a:gd name="T34" fmla="*/ 479 w 585"/>
                  <a:gd name="T35" fmla="*/ 9 h 522"/>
                  <a:gd name="T36" fmla="*/ 512 w 585"/>
                  <a:gd name="T37" fmla="*/ 29 h 522"/>
                  <a:gd name="T38" fmla="*/ 541 w 585"/>
                  <a:gd name="T39" fmla="*/ 64 h 522"/>
                  <a:gd name="T40" fmla="*/ 568 w 585"/>
                  <a:gd name="T41" fmla="*/ 132 h 522"/>
                  <a:gd name="T42" fmla="*/ 583 w 585"/>
                  <a:gd name="T43" fmla="*/ 220 h 522"/>
                  <a:gd name="T44" fmla="*/ 584 w 585"/>
                  <a:gd name="T45" fmla="*/ 302 h 522"/>
                  <a:gd name="T46" fmla="*/ 560 w 585"/>
                  <a:gd name="T47" fmla="*/ 476 h 522"/>
                  <a:gd name="T48" fmla="*/ 550 w 585"/>
                  <a:gd name="T49" fmla="*/ 518 h 522"/>
                  <a:gd name="T50" fmla="*/ 540 w 585"/>
                  <a:gd name="T51" fmla="*/ 522 h 522"/>
                  <a:gd name="T52" fmla="*/ 343 w 585"/>
                  <a:gd name="T53" fmla="*/ 449 h 522"/>
                  <a:gd name="T54" fmla="*/ 462 w 585"/>
                  <a:gd name="T55" fmla="*/ 465 h 522"/>
                  <a:gd name="T56" fmla="*/ 530 w 585"/>
                  <a:gd name="T57" fmla="*/ 489 h 522"/>
                  <a:gd name="T58" fmla="*/ 550 w 585"/>
                  <a:gd name="T59" fmla="*/ 363 h 522"/>
                  <a:gd name="T60" fmla="*/ 558 w 585"/>
                  <a:gd name="T61" fmla="*/ 253 h 522"/>
                  <a:gd name="T62" fmla="*/ 552 w 585"/>
                  <a:gd name="T63" fmla="*/ 188 h 522"/>
                  <a:gd name="T64" fmla="*/ 533 w 585"/>
                  <a:gd name="T65" fmla="*/ 112 h 522"/>
                  <a:gd name="T66" fmla="*/ 502 w 585"/>
                  <a:gd name="T67" fmla="*/ 58 h 522"/>
                  <a:gd name="T68" fmla="*/ 470 w 585"/>
                  <a:gd name="T69" fmla="*/ 35 h 522"/>
                  <a:gd name="T70" fmla="*/ 437 w 585"/>
                  <a:gd name="T71" fmla="*/ 28 h 522"/>
                  <a:gd name="T72" fmla="*/ 397 w 585"/>
                  <a:gd name="T73" fmla="*/ 30 h 522"/>
                  <a:gd name="T74" fmla="*/ 358 w 585"/>
                  <a:gd name="T75" fmla="*/ 43 h 522"/>
                  <a:gd name="T76" fmla="*/ 278 w 585"/>
                  <a:gd name="T77" fmla="*/ 91 h 522"/>
                  <a:gd name="T78" fmla="*/ 179 w 585"/>
                  <a:gd name="T79" fmla="*/ 179 h 522"/>
                  <a:gd name="T80" fmla="*/ 92 w 585"/>
                  <a:gd name="T81" fmla="*/ 279 h 522"/>
                  <a:gd name="T82" fmla="*/ 40 w 585"/>
                  <a:gd name="T83" fmla="*/ 367 h 522"/>
                  <a:gd name="T84" fmla="*/ 27 w 585"/>
                  <a:gd name="T85" fmla="*/ 413 h 522"/>
                  <a:gd name="T86" fmla="*/ 35 w 585"/>
                  <a:gd name="T87" fmla="*/ 450 h 522"/>
                  <a:gd name="T88" fmla="*/ 65 w 585"/>
                  <a:gd name="T89" fmla="*/ 481 h 522"/>
                  <a:gd name="T90" fmla="*/ 102 w 585"/>
                  <a:gd name="T91" fmla="*/ 486 h 522"/>
                  <a:gd name="T92" fmla="*/ 154 w 585"/>
                  <a:gd name="T93" fmla="*/ 472 h 522"/>
                  <a:gd name="T94" fmla="*/ 273 w 585"/>
                  <a:gd name="T95" fmla="*/ 45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5" h="522">
                    <a:moveTo>
                      <a:pt x="540" y="522"/>
                    </a:moveTo>
                    <a:lnTo>
                      <a:pt x="536" y="522"/>
                    </a:lnTo>
                    <a:lnTo>
                      <a:pt x="532" y="520"/>
                    </a:lnTo>
                    <a:lnTo>
                      <a:pt x="529" y="519"/>
                    </a:lnTo>
                    <a:lnTo>
                      <a:pt x="520" y="513"/>
                    </a:lnTo>
                    <a:lnTo>
                      <a:pt x="505" y="507"/>
                    </a:lnTo>
                    <a:lnTo>
                      <a:pt x="484" y="499"/>
                    </a:lnTo>
                    <a:lnTo>
                      <a:pt x="457" y="492"/>
                    </a:lnTo>
                    <a:lnTo>
                      <a:pt x="424" y="484"/>
                    </a:lnTo>
                    <a:lnTo>
                      <a:pt x="406" y="481"/>
                    </a:lnTo>
                    <a:lnTo>
                      <a:pt x="385" y="479"/>
                    </a:lnTo>
                    <a:lnTo>
                      <a:pt x="365" y="477"/>
                    </a:lnTo>
                    <a:lnTo>
                      <a:pt x="342" y="476"/>
                    </a:lnTo>
                    <a:lnTo>
                      <a:pt x="324" y="476"/>
                    </a:lnTo>
                    <a:lnTo>
                      <a:pt x="305" y="476"/>
                    </a:lnTo>
                    <a:lnTo>
                      <a:pt x="286" y="478"/>
                    </a:lnTo>
                    <a:lnTo>
                      <a:pt x="267" y="479"/>
                    </a:lnTo>
                    <a:lnTo>
                      <a:pt x="229" y="485"/>
                    </a:lnTo>
                    <a:lnTo>
                      <a:pt x="194" y="492"/>
                    </a:lnTo>
                    <a:lnTo>
                      <a:pt x="163" y="498"/>
                    </a:lnTo>
                    <a:lnTo>
                      <a:pt x="139" y="505"/>
                    </a:lnTo>
                    <a:lnTo>
                      <a:pt x="123" y="509"/>
                    </a:lnTo>
                    <a:lnTo>
                      <a:pt x="116" y="510"/>
                    </a:lnTo>
                    <a:lnTo>
                      <a:pt x="109" y="512"/>
                    </a:lnTo>
                    <a:lnTo>
                      <a:pt x="90" y="514"/>
                    </a:lnTo>
                    <a:lnTo>
                      <a:pt x="82" y="514"/>
                    </a:lnTo>
                    <a:lnTo>
                      <a:pt x="72" y="512"/>
                    </a:lnTo>
                    <a:lnTo>
                      <a:pt x="61" y="509"/>
                    </a:lnTo>
                    <a:lnTo>
                      <a:pt x="49" y="504"/>
                    </a:lnTo>
                    <a:lnTo>
                      <a:pt x="44" y="499"/>
                    </a:lnTo>
                    <a:lnTo>
                      <a:pt x="39" y="495"/>
                    </a:lnTo>
                    <a:lnTo>
                      <a:pt x="32" y="490"/>
                    </a:lnTo>
                    <a:lnTo>
                      <a:pt x="27" y="483"/>
                    </a:lnTo>
                    <a:lnTo>
                      <a:pt x="21" y="477"/>
                    </a:lnTo>
                    <a:lnTo>
                      <a:pt x="16" y="468"/>
                    </a:lnTo>
                    <a:lnTo>
                      <a:pt x="11" y="459"/>
                    </a:lnTo>
                    <a:lnTo>
                      <a:pt x="5" y="449"/>
                    </a:lnTo>
                    <a:lnTo>
                      <a:pt x="2" y="439"/>
                    </a:lnTo>
                    <a:lnTo>
                      <a:pt x="0" y="427"/>
                    </a:lnTo>
                    <a:lnTo>
                      <a:pt x="0" y="415"/>
                    </a:lnTo>
                    <a:lnTo>
                      <a:pt x="1" y="402"/>
                    </a:lnTo>
                    <a:lnTo>
                      <a:pt x="3" y="388"/>
                    </a:lnTo>
                    <a:lnTo>
                      <a:pt x="7" y="373"/>
                    </a:lnTo>
                    <a:lnTo>
                      <a:pt x="14" y="357"/>
                    </a:lnTo>
                    <a:lnTo>
                      <a:pt x="21" y="341"/>
                    </a:lnTo>
                    <a:lnTo>
                      <a:pt x="35" y="316"/>
                    </a:lnTo>
                    <a:lnTo>
                      <a:pt x="52" y="290"/>
                    </a:lnTo>
                    <a:lnTo>
                      <a:pt x="70" y="264"/>
                    </a:lnTo>
                    <a:lnTo>
                      <a:pt x="90" y="237"/>
                    </a:lnTo>
                    <a:lnTo>
                      <a:pt x="113" y="210"/>
                    </a:lnTo>
                    <a:lnTo>
                      <a:pt x="137" y="184"/>
                    </a:lnTo>
                    <a:lnTo>
                      <a:pt x="162" y="158"/>
                    </a:lnTo>
                    <a:lnTo>
                      <a:pt x="188" y="133"/>
                    </a:lnTo>
                    <a:lnTo>
                      <a:pt x="214" y="110"/>
                    </a:lnTo>
                    <a:lnTo>
                      <a:pt x="240" y="88"/>
                    </a:lnTo>
                    <a:lnTo>
                      <a:pt x="265" y="68"/>
                    </a:lnTo>
                    <a:lnTo>
                      <a:pt x="291" y="50"/>
                    </a:lnTo>
                    <a:lnTo>
                      <a:pt x="315" y="34"/>
                    </a:lnTo>
                    <a:lnTo>
                      <a:pt x="339" y="22"/>
                    </a:lnTo>
                    <a:lnTo>
                      <a:pt x="350" y="17"/>
                    </a:lnTo>
                    <a:lnTo>
                      <a:pt x="360" y="13"/>
                    </a:lnTo>
                    <a:lnTo>
                      <a:pt x="370" y="8"/>
                    </a:lnTo>
                    <a:lnTo>
                      <a:pt x="380" y="6"/>
                    </a:lnTo>
                    <a:lnTo>
                      <a:pt x="393" y="4"/>
                    </a:lnTo>
                    <a:lnTo>
                      <a:pt x="405" y="2"/>
                    </a:lnTo>
                    <a:lnTo>
                      <a:pt x="417" y="1"/>
                    </a:lnTo>
                    <a:lnTo>
                      <a:pt x="427" y="0"/>
                    </a:lnTo>
                    <a:lnTo>
                      <a:pt x="439" y="1"/>
                    </a:lnTo>
                    <a:lnTo>
                      <a:pt x="450" y="2"/>
                    </a:lnTo>
                    <a:lnTo>
                      <a:pt x="461" y="4"/>
                    </a:lnTo>
                    <a:lnTo>
                      <a:pt x="471" y="6"/>
                    </a:lnTo>
                    <a:lnTo>
                      <a:pt x="479" y="9"/>
                    </a:lnTo>
                    <a:lnTo>
                      <a:pt x="488" y="14"/>
                    </a:lnTo>
                    <a:lnTo>
                      <a:pt x="497" y="18"/>
                    </a:lnTo>
                    <a:lnTo>
                      <a:pt x="504" y="23"/>
                    </a:lnTo>
                    <a:lnTo>
                      <a:pt x="512" y="29"/>
                    </a:lnTo>
                    <a:lnTo>
                      <a:pt x="518" y="35"/>
                    </a:lnTo>
                    <a:lnTo>
                      <a:pt x="525" y="42"/>
                    </a:lnTo>
                    <a:lnTo>
                      <a:pt x="530" y="49"/>
                    </a:lnTo>
                    <a:lnTo>
                      <a:pt x="541" y="64"/>
                    </a:lnTo>
                    <a:lnTo>
                      <a:pt x="549" y="81"/>
                    </a:lnTo>
                    <a:lnTo>
                      <a:pt x="557" y="98"/>
                    </a:lnTo>
                    <a:lnTo>
                      <a:pt x="563" y="115"/>
                    </a:lnTo>
                    <a:lnTo>
                      <a:pt x="568" y="132"/>
                    </a:lnTo>
                    <a:lnTo>
                      <a:pt x="572" y="150"/>
                    </a:lnTo>
                    <a:lnTo>
                      <a:pt x="579" y="183"/>
                    </a:lnTo>
                    <a:lnTo>
                      <a:pt x="582" y="212"/>
                    </a:lnTo>
                    <a:lnTo>
                      <a:pt x="583" y="220"/>
                    </a:lnTo>
                    <a:lnTo>
                      <a:pt x="585" y="238"/>
                    </a:lnTo>
                    <a:lnTo>
                      <a:pt x="585" y="258"/>
                    </a:lnTo>
                    <a:lnTo>
                      <a:pt x="585" y="279"/>
                    </a:lnTo>
                    <a:lnTo>
                      <a:pt x="584" y="302"/>
                    </a:lnTo>
                    <a:lnTo>
                      <a:pt x="579" y="349"/>
                    </a:lnTo>
                    <a:lnTo>
                      <a:pt x="573" y="397"/>
                    </a:lnTo>
                    <a:lnTo>
                      <a:pt x="567" y="439"/>
                    </a:lnTo>
                    <a:lnTo>
                      <a:pt x="560" y="476"/>
                    </a:lnTo>
                    <a:lnTo>
                      <a:pt x="555" y="500"/>
                    </a:lnTo>
                    <a:lnTo>
                      <a:pt x="553" y="511"/>
                    </a:lnTo>
                    <a:lnTo>
                      <a:pt x="552" y="514"/>
                    </a:lnTo>
                    <a:lnTo>
                      <a:pt x="550" y="518"/>
                    </a:lnTo>
                    <a:lnTo>
                      <a:pt x="548" y="520"/>
                    </a:lnTo>
                    <a:lnTo>
                      <a:pt x="545" y="521"/>
                    </a:lnTo>
                    <a:lnTo>
                      <a:pt x="542" y="522"/>
                    </a:lnTo>
                    <a:lnTo>
                      <a:pt x="540" y="522"/>
                    </a:lnTo>
                    <a:close/>
                    <a:moveTo>
                      <a:pt x="329" y="449"/>
                    </a:moveTo>
                    <a:lnTo>
                      <a:pt x="329" y="449"/>
                    </a:lnTo>
                    <a:lnTo>
                      <a:pt x="336" y="449"/>
                    </a:lnTo>
                    <a:lnTo>
                      <a:pt x="343" y="449"/>
                    </a:lnTo>
                    <a:lnTo>
                      <a:pt x="378" y="451"/>
                    </a:lnTo>
                    <a:lnTo>
                      <a:pt x="409" y="454"/>
                    </a:lnTo>
                    <a:lnTo>
                      <a:pt x="437" y="459"/>
                    </a:lnTo>
                    <a:lnTo>
                      <a:pt x="462" y="465"/>
                    </a:lnTo>
                    <a:lnTo>
                      <a:pt x="484" y="471"/>
                    </a:lnTo>
                    <a:lnTo>
                      <a:pt x="502" y="477"/>
                    </a:lnTo>
                    <a:lnTo>
                      <a:pt x="518" y="483"/>
                    </a:lnTo>
                    <a:lnTo>
                      <a:pt x="530" y="489"/>
                    </a:lnTo>
                    <a:lnTo>
                      <a:pt x="534" y="466"/>
                    </a:lnTo>
                    <a:lnTo>
                      <a:pt x="540" y="436"/>
                    </a:lnTo>
                    <a:lnTo>
                      <a:pt x="545" y="401"/>
                    </a:lnTo>
                    <a:lnTo>
                      <a:pt x="550" y="363"/>
                    </a:lnTo>
                    <a:lnTo>
                      <a:pt x="555" y="325"/>
                    </a:lnTo>
                    <a:lnTo>
                      <a:pt x="557" y="288"/>
                    </a:lnTo>
                    <a:lnTo>
                      <a:pt x="558" y="269"/>
                    </a:lnTo>
                    <a:lnTo>
                      <a:pt x="558" y="253"/>
                    </a:lnTo>
                    <a:lnTo>
                      <a:pt x="558" y="237"/>
                    </a:lnTo>
                    <a:lnTo>
                      <a:pt x="556" y="223"/>
                    </a:lnTo>
                    <a:lnTo>
                      <a:pt x="555" y="215"/>
                    </a:lnTo>
                    <a:lnTo>
                      <a:pt x="552" y="188"/>
                    </a:lnTo>
                    <a:lnTo>
                      <a:pt x="546" y="158"/>
                    </a:lnTo>
                    <a:lnTo>
                      <a:pt x="543" y="143"/>
                    </a:lnTo>
                    <a:lnTo>
                      <a:pt x="539" y="127"/>
                    </a:lnTo>
                    <a:lnTo>
                      <a:pt x="533" y="112"/>
                    </a:lnTo>
                    <a:lnTo>
                      <a:pt x="527" y="97"/>
                    </a:lnTo>
                    <a:lnTo>
                      <a:pt x="520" y="83"/>
                    </a:lnTo>
                    <a:lnTo>
                      <a:pt x="512" y="70"/>
                    </a:lnTo>
                    <a:lnTo>
                      <a:pt x="502" y="58"/>
                    </a:lnTo>
                    <a:lnTo>
                      <a:pt x="490" y="47"/>
                    </a:lnTo>
                    <a:lnTo>
                      <a:pt x="484" y="43"/>
                    </a:lnTo>
                    <a:lnTo>
                      <a:pt x="477" y="38"/>
                    </a:lnTo>
                    <a:lnTo>
                      <a:pt x="470" y="35"/>
                    </a:lnTo>
                    <a:lnTo>
                      <a:pt x="462" y="33"/>
                    </a:lnTo>
                    <a:lnTo>
                      <a:pt x="454" y="30"/>
                    </a:lnTo>
                    <a:lnTo>
                      <a:pt x="446" y="29"/>
                    </a:lnTo>
                    <a:lnTo>
                      <a:pt x="437" y="28"/>
                    </a:lnTo>
                    <a:lnTo>
                      <a:pt x="427" y="28"/>
                    </a:lnTo>
                    <a:lnTo>
                      <a:pt x="418" y="28"/>
                    </a:lnTo>
                    <a:lnTo>
                      <a:pt x="408" y="29"/>
                    </a:lnTo>
                    <a:lnTo>
                      <a:pt x="397" y="30"/>
                    </a:lnTo>
                    <a:lnTo>
                      <a:pt x="386" y="32"/>
                    </a:lnTo>
                    <a:lnTo>
                      <a:pt x="378" y="35"/>
                    </a:lnTo>
                    <a:lnTo>
                      <a:pt x="368" y="38"/>
                    </a:lnTo>
                    <a:lnTo>
                      <a:pt x="358" y="43"/>
                    </a:lnTo>
                    <a:lnTo>
                      <a:pt x="347" y="47"/>
                    </a:lnTo>
                    <a:lnTo>
                      <a:pt x="326" y="60"/>
                    </a:lnTo>
                    <a:lnTo>
                      <a:pt x="302" y="74"/>
                    </a:lnTo>
                    <a:lnTo>
                      <a:pt x="278" y="91"/>
                    </a:lnTo>
                    <a:lnTo>
                      <a:pt x="254" y="111"/>
                    </a:lnTo>
                    <a:lnTo>
                      <a:pt x="229" y="132"/>
                    </a:lnTo>
                    <a:lnTo>
                      <a:pt x="204" y="155"/>
                    </a:lnTo>
                    <a:lnTo>
                      <a:pt x="179" y="179"/>
                    </a:lnTo>
                    <a:lnTo>
                      <a:pt x="155" y="204"/>
                    </a:lnTo>
                    <a:lnTo>
                      <a:pt x="133" y="228"/>
                    </a:lnTo>
                    <a:lnTo>
                      <a:pt x="111" y="254"/>
                    </a:lnTo>
                    <a:lnTo>
                      <a:pt x="92" y="279"/>
                    </a:lnTo>
                    <a:lnTo>
                      <a:pt x="74" y="305"/>
                    </a:lnTo>
                    <a:lnTo>
                      <a:pt x="58" y="329"/>
                    </a:lnTo>
                    <a:lnTo>
                      <a:pt x="46" y="353"/>
                    </a:lnTo>
                    <a:lnTo>
                      <a:pt x="40" y="367"/>
                    </a:lnTo>
                    <a:lnTo>
                      <a:pt x="34" y="380"/>
                    </a:lnTo>
                    <a:lnTo>
                      <a:pt x="30" y="391"/>
                    </a:lnTo>
                    <a:lnTo>
                      <a:pt x="28" y="402"/>
                    </a:lnTo>
                    <a:lnTo>
                      <a:pt x="27" y="413"/>
                    </a:lnTo>
                    <a:lnTo>
                      <a:pt x="27" y="422"/>
                    </a:lnTo>
                    <a:lnTo>
                      <a:pt x="28" y="430"/>
                    </a:lnTo>
                    <a:lnTo>
                      <a:pt x="30" y="438"/>
                    </a:lnTo>
                    <a:lnTo>
                      <a:pt x="35" y="450"/>
                    </a:lnTo>
                    <a:lnTo>
                      <a:pt x="42" y="459"/>
                    </a:lnTo>
                    <a:lnTo>
                      <a:pt x="49" y="468"/>
                    </a:lnTo>
                    <a:lnTo>
                      <a:pt x="57" y="475"/>
                    </a:lnTo>
                    <a:lnTo>
                      <a:pt x="65" y="481"/>
                    </a:lnTo>
                    <a:lnTo>
                      <a:pt x="73" y="484"/>
                    </a:lnTo>
                    <a:lnTo>
                      <a:pt x="82" y="486"/>
                    </a:lnTo>
                    <a:lnTo>
                      <a:pt x="90" y="488"/>
                    </a:lnTo>
                    <a:lnTo>
                      <a:pt x="102" y="486"/>
                    </a:lnTo>
                    <a:lnTo>
                      <a:pt x="108" y="485"/>
                    </a:lnTo>
                    <a:lnTo>
                      <a:pt x="114" y="483"/>
                    </a:lnTo>
                    <a:lnTo>
                      <a:pt x="132" y="479"/>
                    </a:lnTo>
                    <a:lnTo>
                      <a:pt x="154" y="472"/>
                    </a:lnTo>
                    <a:lnTo>
                      <a:pt x="184" y="466"/>
                    </a:lnTo>
                    <a:lnTo>
                      <a:pt x="218" y="459"/>
                    </a:lnTo>
                    <a:lnTo>
                      <a:pt x="255" y="454"/>
                    </a:lnTo>
                    <a:lnTo>
                      <a:pt x="273" y="452"/>
                    </a:lnTo>
                    <a:lnTo>
                      <a:pt x="292" y="450"/>
                    </a:lnTo>
                    <a:lnTo>
                      <a:pt x="311" y="449"/>
                    </a:lnTo>
                    <a:lnTo>
                      <a:pt x="329" y="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7"/>
              <p:cNvSpPr>
                <a:spLocks/>
              </p:cNvSpPr>
              <p:nvPr userDrawn="1"/>
            </p:nvSpPr>
            <p:spPr bwMode="auto">
              <a:xfrm>
                <a:off x="1636" y="1977"/>
                <a:ext cx="1040" cy="403"/>
              </a:xfrm>
              <a:custGeom>
                <a:avLst/>
                <a:gdLst>
                  <a:gd name="T0" fmla="*/ 1224 w 3121"/>
                  <a:gd name="T1" fmla="*/ 1190 h 1209"/>
                  <a:gd name="T2" fmla="*/ 1001 w 3121"/>
                  <a:gd name="T3" fmla="*/ 1105 h 1209"/>
                  <a:gd name="T4" fmla="*/ 740 w 3121"/>
                  <a:gd name="T5" fmla="*/ 932 h 1209"/>
                  <a:gd name="T6" fmla="*/ 505 w 3121"/>
                  <a:gd name="T7" fmla="*/ 713 h 1209"/>
                  <a:gd name="T8" fmla="*/ 265 w 3121"/>
                  <a:gd name="T9" fmla="*/ 421 h 1209"/>
                  <a:gd name="T10" fmla="*/ 37 w 3121"/>
                  <a:gd name="T11" fmla="*/ 77 h 1209"/>
                  <a:gd name="T12" fmla="*/ 6 w 3121"/>
                  <a:gd name="T13" fmla="*/ 3 h 1209"/>
                  <a:gd name="T14" fmla="*/ 60 w 3121"/>
                  <a:gd name="T15" fmla="*/ 63 h 1209"/>
                  <a:gd name="T16" fmla="*/ 286 w 3121"/>
                  <a:gd name="T17" fmla="*/ 404 h 1209"/>
                  <a:gd name="T18" fmla="*/ 524 w 3121"/>
                  <a:gd name="T19" fmla="*/ 693 h 1209"/>
                  <a:gd name="T20" fmla="*/ 758 w 3121"/>
                  <a:gd name="T21" fmla="*/ 910 h 1209"/>
                  <a:gd name="T22" fmla="*/ 1013 w 3121"/>
                  <a:gd name="T23" fmla="*/ 1080 h 1209"/>
                  <a:gd name="T24" fmla="*/ 1227 w 3121"/>
                  <a:gd name="T25" fmla="*/ 1164 h 1209"/>
                  <a:gd name="T26" fmla="*/ 1410 w 3121"/>
                  <a:gd name="T27" fmla="*/ 1184 h 1209"/>
                  <a:gd name="T28" fmla="*/ 1563 w 3121"/>
                  <a:gd name="T29" fmla="*/ 1159 h 1209"/>
                  <a:gd name="T30" fmla="*/ 1784 w 3121"/>
                  <a:gd name="T31" fmla="*/ 1058 h 1209"/>
                  <a:gd name="T32" fmla="*/ 2107 w 3121"/>
                  <a:gd name="T33" fmla="*/ 875 h 1209"/>
                  <a:gd name="T34" fmla="*/ 2346 w 3121"/>
                  <a:gd name="T35" fmla="*/ 679 h 1209"/>
                  <a:gd name="T36" fmla="*/ 2503 w 3121"/>
                  <a:gd name="T37" fmla="*/ 561 h 1209"/>
                  <a:gd name="T38" fmla="*/ 2669 w 3121"/>
                  <a:gd name="T39" fmla="*/ 483 h 1209"/>
                  <a:gd name="T40" fmla="*/ 2828 w 3121"/>
                  <a:gd name="T41" fmla="*/ 450 h 1209"/>
                  <a:gd name="T42" fmla="*/ 2962 w 3121"/>
                  <a:gd name="T43" fmla="*/ 466 h 1209"/>
                  <a:gd name="T44" fmla="*/ 3061 w 3121"/>
                  <a:gd name="T45" fmla="*/ 543 h 1209"/>
                  <a:gd name="T46" fmla="*/ 3093 w 3121"/>
                  <a:gd name="T47" fmla="*/ 577 h 1209"/>
                  <a:gd name="T48" fmla="*/ 3051 w 3121"/>
                  <a:gd name="T49" fmla="*/ 430 h 1209"/>
                  <a:gd name="T50" fmla="*/ 2939 w 3121"/>
                  <a:gd name="T51" fmla="*/ 359 h 1209"/>
                  <a:gd name="T52" fmla="*/ 2802 w 3121"/>
                  <a:gd name="T53" fmla="*/ 338 h 1209"/>
                  <a:gd name="T54" fmla="*/ 2671 w 3121"/>
                  <a:gd name="T55" fmla="*/ 370 h 1209"/>
                  <a:gd name="T56" fmla="*/ 2471 w 3121"/>
                  <a:gd name="T57" fmla="*/ 486 h 1209"/>
                  <a:gd name="T58" fmla="*/ 2103 w 3121"/>
                  <a:gd name="T59" fmla="*/ 763 h 1209"/>
                  <a:gd name="T60" fmla="*/ 1891 w 3121"/>
                  <a:gd name="T61" fmla="*/ 882 h 1209"/>
                  <a:gd name="T62" fmla="*/ 1485 w 3121"/>
                  <a:gd name="T63" fmla="*/ 986 h 1209"/>
                  <a:gd name="T64" fmla="*/ 1136 w 3121"/>
                  <a:gd name="T65" fmla="*/ 931 h 1209"/>
                  <a:gd name="T66" fmla="*/ 872 w 3121"/>
                  <a:gd name="T67" fmla="*/ 759 h 1209"/>
                  <a:gd name="T68" fmla="*/ 684 w 3121"/>
                  <a:gd name="T69" fmla="*/ 535 h 1209"/>
                  <a:gd name="T70" fmla="*/ 591 w 3121"/>
                  <a:gd name="T71" fmla="*/ 363 h 1209"/>
                  <a:gd name="T72" fmla="*/ 632 w 3121"/>
                  <a:gd name="T73" fmla="*/ 392 h 1209"/>
                  <a:gd name="T74" fmla="*/ 775 w 3121"/>
                  <a:gd name="T75" fmla="*/ 615 h 1209"/>
                  <a:gd name="T76" fmla="*/ 989 w 3121"/>
                  <a:gd name="T77" fmla="*/ 819 h 1209"/>
                  <a:gd name="T78" fmla="*/ 1280 w 3121"/>
                  <a:gd name="T79" fmla="*/ 945 h 1209"/>
                  <a:gd name="T80" fmla="*/ 1658 w 3121"/>
                  <a:gd name="T81" fmla="*/ 933 h 1209"/>
                  <a:gd name="T82" fmla="*/ 1972 w 3121"/>
                  <a:gd name="T83" fmla="*/ 811 h 1209"/>
                  <a:gd name="T84" fmla="*/ 2254 w 3121"/>
                  <a:gd name="T85" fmla="*/ 618 h 1209"/>
                  <a:gd name="T86" fmla="*/ 2547 w 3121"/>
                  <a:gd name="T87" fmla="*/ 403 h 1209"/>
                  <a:gd name="T88" fmla="*/ 2737 w 3121"/>
                  <a:gd name="T89" fmla="*/ 320 h 1209"/>
                  <a:gd name="T90" fmla="*/ 2863 w 3121"/>
                  <a:gd name="T91" fmla="*/ 315 h 1209"/>
                  <a:gd name="T92" fmla="*/ 3008 w 3121"/>
                  <a:gd name="T93" fmla="*/ 361 h 1209"/>
                  <a:gd name="T94" fmla="*/ 3087 w 3121"/>
                  <a:gd name="T95" fmla="*/ 433 h 1209"/>
                  <a:gd name="T96" fmla="*/ 3121 w 3121"/>
                  <a:gd name="T97" fmla="*/ 583 h 1209"/>
                  <a:gd name="T98" fmla="*/ 3110 w 3121"/>
                  <a:gd name="T99" fmla="*/ 756 h 1209"/>
                  <a:gd name="T100" fmla="*/ 3100 w 3121"/>
                  <a:gd name="T101" fmla="*/ 815 h 1209"/>
                  <a:gd name="T102" fmla="*/ 3074 w 3121"/>
                  <a:gd name="T103" fmla="*/ 874 h 1209"/>
                  <a:gd name="T104" fmla="*/ 3065 w 3121"/>
                  <a:gd name="T105" fmla="*/ 820 h 1209"/>
                  <a:gd name="T106" fmla="*/ 3071 w 3121"/>
                  <a:gd name="T107" fmla="*/ 649 h 1209"/>
                  <a:gd name="T108" fmla="*/ 3019 w 3121"/>
                  <a:gd name="T109" fmla="*/ 534 h 1209"/>
                  <a:gd name="T110" fmla="*/ 2923 w 3121"/>
                  <a:gd name="T111" fmla="*/ 483 h 1209"/>
                  <a:gd name="T112" fmla="*/ 2792 w 3121"/>
                  <a:gd name="T113" fmla="*/ 481 h 1209"/>
                  <a:gd name="T114" fmla="*/ 2638 w 3121"/>
                  <a:gd name="T115" fmla="*/ 523 h 1209"/>
                  <a:gd name="T116" fmla="*/ 2476 w 3121"/>
                  <a:gd name="T117" fmla="*/ 609 h 1209"/>
                  <a:gd name="T118" fmla="*/ 2289 w 3121"/>
                  <a:gd name="T119" fmla="*/ 767 h 1209"/>
                  <a:gd name="T120" fmla="*/ 2058 w 3121"/>
                  <a:gd name="T121" fmla="*/ 940 h 1209"/>
                  <a:gd name="T122" fmla="*/ 1688 w 3121"/>
                  <a:gd name="T123" fmla="*/ 1138 h 1209"/>
                  <a:gd name="T124" fmla="*/ 1533 w 3121"/>
                  <a:gd name="T125" fmla="*/ 1193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21" h="1209">
                    <a:moveTo>
                      <a:pt x="1389" y="1209"/>
                    </a:moveTo>
                    <a:lnTo>
                      <a:pt x="1363" y="1209"/>
                    </a:lnTo>
                    <a:lnTo>
                      <a:pt x="1336" y="1207"/>
                    </a:lnTo>
                    <a:lnTo>
                      <a:pt x="1309" y="1205"/>
                    </a:lnTo>
                    <a:lnTo>
                      <a:pt x="1282" y="1201"/>
                    </a:lnTo>
                    <a:lnTo>
                      <a:pt x="1253" y="1196"/>
                    </a:lnTo>
                    <a:lnTo>
                      <a:pt x="1224" y="1190"/>
                    </a:lnTo>
                    <a:lnTo>
                      <a:pt x="1195" y="1182"/>
                    </a:lnTo>
                    <a:lnTo>
                      <a:pt x="1164" y="1173"/>
                    </a:lnTo>
                    <a:lnTo>
                      <a:pt x="1132" y="1163"/>
                    </a:lnTo>
                    <a:lnTo>
                      <a:pt x="1101" y="1150"/>
                    </a:lnTo>
                    <a:lnTo>
                      <a:pt x="1069" y="1137"/>
                    </a:lnTo>
                    <a:lnTo>
                      <a:pt x="1035" y="1121"/>
                    </a:lnTo>
                    <a:lnTo>
                      <a:pt x="1001" y="1105"/>
                    </a:lnTo>
                    <a:lnTo>
                      <a:pt x="966" y="1085"/>
                    </a:lnTo>
                    <a:lnTo>
                      <a:pt x="930" y="1065"/>
                    </a:lnTo>
                    <a:lnTo>
                      <a:pt x="895" y="1042"/>
                    </a:lnTo>
                    <a:lnTo>
                      <a:pt x="855" y="1016"/>
                    </a:lnTo>
                    <a:lnTo>
                      <a:pt x="816" y="989"/>
                    </a:lnTo>
                    <a:lnTo>
                      <a:pt x="778" y="961"/>
                    </a:lnTo>
                    <a:lnTo>
                      <a:pt x="740" y="932"/>
                    </a:lnTo>
                    <a:lnTo>
                      <a:pt x="705" y="902"/>
                    </a:lnTo>
                    <a:lnTo>
                      <a:pt x="669" y="872"/>
                    </a:lnTo>
                    <a:lnTo>
                      <a:pt x="635" y="841"/>
                    </a:lnTo>
                    <a:lnTo>
                      <a:pt x="601" y="810"/>
                    </a:lnTo>
                    <a:lnTo>
                      <a:pt x="569" y="778"/>
                    </a:lnTo>
                    <a:lnTo>
                      <a:pt x="536" y="745"/>
                    </a:lnTo>
                    <a:lnTo>
                      <a:pt x="505" y="713"/>
                    </a:lnTo>
                    <a:lnTo>
                      <a:pt x="475" y="681"/>
                    </a:lnTo>
                    <a:lnTo>
                      <a:pt x="446" y="648"/>
                    </a:lnTo>
                    <a:lnTo>
                      <a:pt x="418" y="615"/>
                    </a:lnTo>
                    <a:lnTo>
                      <a:pt x="389" y="582"/>
                    </a:lnTo>
                    <a:lnTo>
                      <a:pt x="364" y="550"/>
                    </a:lnTo>
                    <a:lnTo>
                      <a:pt x="313" y="485"/>
                    </a:lnTo>
                    <a:lnTo>
                      <a:pt x="265" y="421"/>
                    </a:lnTo>
                    <a:lnTo>
                      <a:pt x="221" y="360"/>
                    </a:lnTo>
                    <a:lnTo>
                      <a:pt x="180" y="301"/>
                    </a:lnTo>
                    <a:lnTo>
                      <a:pt x="143" y="244"/>
                    </a:lnTo>
                    <a:lnTo>
                      <a:pt x="110" y="193"/>
                    </a:lnTo>
                    <a:lnTo>
                      <a:pt x="80" y="144"/>
                    </a:lnTo>
                    <a:lnTo>
                      <a:pt x="53" y="101"/>
                    </a:lnTo>
                    <a:lnTo>
                      <a:pt x="37" y="77"/>
                    </a:lnTo>
                    <a:lnTo>
                      <a:pt x="25" y="57"/>
                    </a:lnTo>
                    <a:lnTo>
                      <a:pt x="13" y="37"/>
                    </a:lnTo>
                    <a:lnTo>
                      <a:pt x="2" y="21"/>
                    </a:lnTo>
                    <a:lnTo>
                      <a:pt x="0" y="17"/>
                    </a:lnTo>
                    <a:lnTo>
                      <a:pt x="0" y="11"/>
                    </a:lnTo>
                    <a:lnTo>
                      <a:pt x="2" y="6"/>
                    </a:lnTo>
                    <a:lnTo>
                      <a:pt x="6" y="3"/>
                    </a:lnTo>
                    <a:lnTo>
                      <a:pt x="10" y="0"/>
                    </a:lnTo>
                    <a:lnTo>
                      <a:pt x="16" y="0"/>
                    </a:lnTo>
                    <a:lnTo>
                      <a:pt x="21" y="3"/>
                    </a:lnTo>
                    <a:lnTo>
                      <a:pt x="25" y="6"/>
                    </a:lnTo>
                    <a:lnTo>
                      <a:pt x="35" y="22"/>
                    </a:lnTo>
                    <a:lnTo>
                      <a:pt x="47" y="41"/>
                    </a:lnTo>
                    <a:lnTo>
                      <a:pt x="60" y="63"/>
                    </a:lnTo>
                    <a:lnTo>
                      <a:pt x="75" y="87"/>
                    </a:lnTo>
                    <a:lnTo>
                      <a:pt x="102" y="130"/>
                    </a:lnTo>
                    <a:lnTo>
                      <a:pt x="132" y="177"/>
                    </a:lnTo>
                    <a:lnTo>
                      <a:pt x="166" y="229"/>
                    </a:lnTo>
                    <a:lnTo>
                      <a:pt x="203" y="284"/>
                    </a:lnTo>
                    <a:lnTo>
                      <a:pt x="243" y="344"/>
                    </a:lnTo>
                    <a:lnTo>
                      <a:pt x="286" y="404"/>
                    </a:lnTo>
                    <a:lnTo>
                      <a:pt x="333" y="468"/>
                    </a:lnTo>
                    <a:lnTo>
                      <a:pt x="384" y="532"/>
                    </a:lnTo>
                    <a:lnTo>
                      <a:pt x="410" y="564"/>
                    </a:lnTo>
                    <a:lnTo>
                      <a:pt x="437" y="596"/>
                    </a:lnTo>
                    <a:lnTo>
                      <a:pt x="465" y="629"/>
                    </a:lnTo>
                    <a:lnTo>
                      <a:pt x="494" y="662"/>
                    </a:lnTo>
                    <a:lnTo>
                      <a:pt x="524" y="693"/>
                    </a:lnTo>
                    <a:lnTo>
                      <a:pt x="555" y="726"/>
                    </a:lnTo>
                    <a:lnTo>
                      <a:pt x="587" y="758"/>
                    </a:lnTo>
                    <a:lnTo>
                      <a:pt x="619" y="790"/>
                    </a:lnTo>
                    <a:lnTo>
                      <a:pt x="652" y="821"/>
                    </a:lnTo>
                    <a:lnTo>
                      <a:pt x="686" y="851"/>
                    </a:lnTo>
                    <a:lnTo>
                      <a:pt x="721" y="881"/>
                    </a:lnTo>
                    <a:lnTo>
                      <a:pt x="758" y="910"/>
                    </a:lnTo>
                    <a:lnTo>
                      <a:pt x="794" y="939"/>
                    </a:lnTo>
                    <a:lnTo>
                      <a:pt x="831" y="967"/>
                    </a:lnTo>
                    <a:lnTo>
                      <a:pt x="870" y="994"/>
                    </a:lnTo>
                    <a:lnTo>
                      <a:pt x="909" y="1019"/>
                    </a:lnTo>
                    <a:lnTo>
                      <a:pt x="945" y="1042"/>
                    </a:lnTo>
                    <a:lnTo>
                      <a:pt x="979" y="1062"/>
                    </a:lnTo>
                    <a:lnTo>
                      <a:pt x="1013" y="1080"/>
                    </a:lnTo>
                    <a:lnTo>
                      <a:pt x="1045" y="1096"/>
                    </a:lnTo>
                    <a:lnTo>
                      <a:pt x="1077" y="1111"/>
                    </a:lnTo>
                    <a:lnTo>
                      <a:pt x="1109" y="1125"/>
                    </a:lnTo>
                    <a:lnTo>
                      <a:pt x="1139" y="1137"/>
                    </a:lnTo>
                    <a:lnTo>
                      <a:pt x="1169" y="1147"/>
                    </a:lnTo>
                    <a:lnTo>
                      <a:pt x="1198" y="1157"/>
                    </a:lnTo>
                    <a:lnTo>
                      <a:pt x="1227" y="1164"/>
                    </a:lnTo>
                    <a:lnTo>
                      <a:pt x="1255" y="1171"/>
                    </a:lnTo>
                    <a:lnTo>
                      <a:pt x="1282" y="1175"/>
                    </a:lnTo>
                    <a:lnTo>
                      <a:pt x="1309" y="1179"/>
                    </a:lnTo>
                    <a:lnTo>
                      <a:pt x="1335" y="1181"/>
                    </a:lnTo>
                    <a:lnTo>
                      <a:pt x="1360" y="1184"/>
                    </a:lnTo>
                    <a:lnTo>
                      <a:pt x="1385" y="1184"/>
                    </a:lnTo>
                    <a:lnTo>
                      <a:pt x="1410" y="1184"/>
                    </a:lnTo>
                    <a:lnTo>
                      <a:pt x="1434" y="1182"/>
                    </a:lnTo>
                    <a:lnTo>
                      <a:pt x="1456" y="1180"/>
                    </a:lnTo>
                    <a:lnTo>
                      <a:pt x="1479" y="1177"/>
                    </a:lnTo>
                    <a:lnTo>
                      <a:pt x="1501" y="1174"/>
                    </a:lnTo>
                    <a:lnTo>
                      <a:pt x="1522" y="1170"/>
                    </a:lnTo>
                    <a:lnTo>
                      <a:pt x="1543" y="1164"/>
                    </a:lnTo>
                    <a:lnTo>
                      <a:pt x="1563" y="1159"/>
                    </a:lnTo>
                    <a:lnTo>
                      <a:pt x="1584" y="1152"/>
                    </a:lnTo>
                    <a:lnTo>
                      <a:pt x="1603" y="1146"/>
                    </a:lnTo>
                    <a:lnTo>
                      <a:pt x="1622" y="1138"/>
                    </a:lnTo>
                    <a:lnTo>
                      <a:pt x="1640" y="1131"/>
                    </a:lnTo>
                    <a:lnTo>
                      <a:pt x="1676" y="1114"/>
                    </a:lnTo>
                    <a:lnTo>
                      <a:pt x="1709" y="1098"/>
                    </a:lnTo>
                    <a:lnTo>
                      <a:pt x="1784" y="1058"/>
                    </a:lnTo>
                    <a:lnTo>
                      <a:pt x="1868" y="1015"/>
                    </a:lnTo>
                    <a:lnTo>
                      <a:pt x="1942" y="975"/>
                    </a:lnTo>
                    <a:lnTo>
                      <a:pt x="1977" y="956"/>
                    </a:lnTo>
                    <a:lnTo>
                      <a:pt x="2010" y="936"/>
                    </a:lnTo>
                    <a:lnTo>
                      <a:pt x="2043" y="917"/>
                    </a:lnTo>
                    <a:lnTo>
                      <a:pt x="2075" y="896"/>
                    </a:lnTo>
                    <a:lnTo>
                      <a:pt x="2107" y="875"/>
                    </a:lnTo>
                    <a:lnTo>
                      <a:pt x="2139" y="853"/>
                    </a:lnTo>
                    <a:lnTo>
                      <a:pt x="2171" y="829"/>
                    </a:lnTo>
                    <a:lnTo>
                      <a:pt x="2204" y="804"/>
                    </a:lnTo>
                    <a:lnTo>
                      <a:pt x="2237" y="777"/>
                    </a:lnTo>
                    <a:lnTo>
                      <a:pt x="2272" y="746"/>
                    </a:lnTo>
                    <a:lnTo>
                      <a:pt x="2308" y="715"/>
                    </a:lnTo>
                    <a:lnTo>
                      <a:pt x="2346" y="679"/>
                    </a:lnTo>
                    <a:lnTo>
                      <a:pt x="2367" y="660"/>
                    </a:lnTo>
                    <a:lnTo>
                      <a:pt x="2388" y="642"/>
                    </a:lnTo>
                    <a:lnTo>
                      <a:pt x="2411" y="624"/>
                    </a:lnTo>
                    <a:lnTo>
                      <a:pt x="2434" y="607"/>
                    </a:lnTo>
                    <a:lnTo>
                      <a:pt x="2456" y="591"/>
                    </a:lnTo>
                    <a:lnTo>
                      <a:pt x="2479" y="576"/>
                    </a:lnTo>
                    <a:lnTo>
                      <a:pt x="2503" y="561"/>
                    </a:lnTo>
                    <a:lnTo>
                      <a:pt x="2526" y="547"/>
                    </a:lnTo>
                    <a:lnTo>
                      <a:pt x="2550" y="534"/>
                    </a:lnTo>
                    <a:lnTo>
                      <a:pt x="2574" y="522"/>
                    </a:lnTo>
                    <a:lnTo>
                      <a:pt x="2598" y="511"/>
                    </a:lnTo>
                    <a:lnTo>
                      <a:pt x="2621" y="500"/>
                    </a:lnTo>
                    <a:lnTo>
                      <a:pt x="2645" y="492"/>
                    </a:lnTo>
                    <a:lnTo>
                      <a:pt x="2669" y="483"/>
                    </a:lnTo>
                    <a:lnTo>
                      <a:pt x="2693" y="475"/>
                    </a:lnTo>
                    <a:lnTo>
                      <a:pt x="2715" y="468"/>
                    </a:lnTo>
                    <a:lnTo>
                      <a:pt x="2739" y="462"/>
                    </a:lnTo>
                    <a:lnTo>
                      <a:pt x="2762" y="458"/>
                    </a:lnTo>
                    <a:lnTo>
                      <a:pt x="2785" y="454"/>
                    </a:lnTo>
                    <a:lnTo>
                      <a:pt x="2806" y="452"/>
                    </a:lnTo>
                    <a:lnTo>
                      <a:pt x="2828" y="450"/>
                    </a:lnTo>
                    <a:lnTo>
                      <a:pt x="2849" y="448"/>
                    </a:lnTo>
                    <a:lnTo>
                      <a:pt x="2870" y="448"/>
                    </a:lnTo>
                    <a:lnTo>
                      <a:pt x="2889" y="451"/>
                    </a:lnTo>
                    <a:lnTo>
                      <a:pt x="2909" y="453"/>
                    </a:lnTo>
                    <a:lnTo>
                      <a:pt x="2927" y="456"/>
                    </a:lnTo>
                    <a:lnTo>
                      <a:pt x="2945" y="460"/>
                    </a:lnTo>
                    <a:lnTo>
                      <a:pt x="2962" y="466"/>
                    </a:lnTo>
                    <a:lnTo>
                      <a:pt x="2978" y="472"/>
                    </a:lnTo>
                    <a:lnTo>
                      <a:pt x="2993" y="480"/>
                    </a:lnTo>
                    <a:lnTo>
                      <a:pt x="3008" y="489"/>
                    </a:lnTo>
                    <a:lnTo>
                      <a:pt x="3021" y="499"/>
                    </a:lnTo>
                    <a:lnTo>
                      <a:pt x="3036" y="513"/>
                    </a:lnTo>
                    <a:lnTo>
                      <a:pt x="3050" y="527"/>
                    </a:lnTo>
                    <a:lnTo>
                      <a:pt x="3061" y="543"/>
                    </a:lnTo>
                    <a:lnTo>
                      <a:pt x="3071" y="560"/>
                    </a:lnTo>
                    <a:lnTo>
                      <a:pt x="3079" y="576"/>
                    </a:lnTo>
                    <a:lnTo>
                      <a:pt x="3086" y="593"/>
                    </a:lnTo>
                    <a:lnTo>
                      <a:pt x="3090" y="611"/>
                    </a:lnTo>
                    <a:lnTo>
                      <a:pt x="3094" y="630"/>
                    </a:lnTo>
                    <a:lnTo>
                      <a:pt x="3094" y="602"/>
                    </a:lnTo>
                    <a:lnTo>
                      <a:pt x="3093" y="577"/>
                    </a:lnTo>
                    <a:lnTo>
                      <a:pt x="3091" y="554"/>
                    </a:lnTo>
                    <a:lnTo>
                      <a:pt x="3087" y="533"/>
                    </a:lnTo>
                    <a:lnTo>
                      <a:pt x="3083" y="511"/>
                    </a:lnTo>
                    <a:lnTo>
                      <a:pt x="3076" y="491"/>
                    </a:lnTo>
                    <a:lnTo>
                      <a:pt x="3070" y="468"/>
                    </a:lnTo>
                    <a:lnTo>
                      <a:pt x="3062" y="444"/>
                    </a:lnTo>
                    <a:lnTo>
                      <a:pt x="3051" y="430"/>
                    </a:lnTo>
                    <a:lnTo>
                      <a:pt x="3038" y="417"/>
                    </a:lnTo>
                    <a:lnTo>
                      <a:pt x="3024" y="405"/>
                    </a:lnTo>
                    <a:lnTo>
                      <a:pt x="3009" y="393"/>
                    </a:lnTo>
                    <a:lnTo>
                      <a:pt x="2993" y="384"/>
                    </a:lnTo>
                    <a:lnTo>
                      <a:pt x="2976" y="375"/>
                    </a:lnTo>
                    <a:lnTo>
                      <a:pt x="2957" y="366"/>
                    </a:lnTo>
                    <a:lnTo>
                      <a:pt x="2939" y="359"/>
                    </a:lnTo>
                    <a:lnTo>
                      <a:pt x="2919" y="353"/>
                    </a:lnTo>
                    <a:lnTo>
                      <a:pt x="2900" y="348"/>
                    </a:lnTo>
                    <a:lnTo>
                      <a:pt x="2880" y="345"/>
                    </a:lnTo>
                    <a:lnTo>
                      <a:pt x="2860" y="342"/>
                    </a:lnTo>
                    <a:lnTo>
                      <a:pt x="2841" y="339"/>
                    </a:lnTo>
                    <a:lnTo>
                      <a:pt x="2821" y="338"/>
                    </a:lnTo>
                    <a:lnTo>
                      <a:pt x="2802" y="338"/>
                    </a:lnTo>
                    <a:lnTo>
                      <a:pt x="2783" y="340"/>
                    </a:lnTo>
                    <a:lnTo>
                      <a:pt x="2769" y="342"/>
                    </a:lnTo>
                    <a:lnTo>
                      <a:pt x="2755" y="344"/>
                    </a:lnTo>
                    <a:lnTo>
                      <a:pt x="2741" y="347"/>
                    </a:lnTo>
                    <a:lnTo>
                      <a:pt x="2727" y="350"/>
                    </a:lnTo>
                    <a:lnTo>
                      <a:pt x="2699" y="359"/>
                    </a:lnTo>
                    <a:lnTo>
                      <a:pt x="2671" y="370"/>
                    </a:lnTo>
                    <a:lnTo>
                      <a:pt x="2643" y="381"/>
                    </a:lnTo>
                    <a:lnTo>
                      <a:pt x="2615" y="396"/>
                    </a:lnTo>
                    <a:lnTo>
                      <a:pt x="2587" y="411"/>
                    </a:lnTo>
                    <a:lnTo>
                      <a:pt x="2558" y="428"/>
                    </a:lnTo>
                    <a:lnTo>
                      <a:pt x="2530" y="446"/>
                    </a:lnTo>
                    <a:lnTo>
                      <a:pt x="2501" y="466"/>
                    </a:lnTo>
                    <a:lnTo>
                      <a:pt x="2471" y="486"/>
                    </a:lnTo>
                    <a:lnTo>
                      <a:pt x="2442" y="507"/>
                    </a:lnTo>
                    <a:lnTo>
                      <a:pt x="2384" y="551"/>
                    </a:lnTo>
                    <a:lnTo>
                      <a:pt x="2325" y="597"/>
                    </a:lnTo>
                    <a:lnTo>
                      <a:pt x="2271" y="639"/>
                    </a:lnTo>
                    <a:lnTo>
                      <a:pt x="2215" y="682"/>
                    </a:lnTo>
                    <a:lnTo>
                      <a:pt x="2159" y="723"/>
                    </a:lnTo>
                    <a:lnTo>
                      <a:pt x="2103" y="763"/>
                    </a:lnTo>
                    <a:lnTo>
                      <a:pt x="2074" y="781"/>
                    </a:lnTo>
                    <a:lnTo>
                      <a:pt x="2045" y="800"/>
                    </a:lnTo>
                    <a:lnTo>
                      <a:pt x="2015" y="818"/>
                    </a:lnTo>
                    <a:lnTo>
                      <a:pt x="1984" y="835"/>
                    </a:lnTo>
                    <a:lnTo>
                      <a:pt x="1954" y="852"/>
                    </a:lnTo>
                    <a:lnTo>
                      <a:pt x="1923" y="867"/>
                    </a:lnTo>
                    <a:lnTo>
                      <a:pt x="1891" y="882"/>
                    </a:lnTo>
                    <a:lnTo>
                      <a:pt x="1859" y="896"/>
                    </a:lnTo>
                    <a:lnTo>
                      <a:pt x="1791" y="922"/>
                    </a:lnTo>
                    <a:lnTo>
                      <a:pt x="1726" y="943"/>
                    </a:lnTo>
                    <a:lnTo>
                      <a:pt x="1663" y="960"/>
                    </a:lnTo>
                    <a:lnTo>
                      <a:pt x="1602" y="973"/>
                    </a:lnTo>
                    <a:lnTo>
                      <a:pt x="1543" y="982"/>
                    </a:lnTo>
                    <a:lnTo>
                      <a:pt x="1485" y="986"/>
                    </a:lnTo>
                    <a:lnTo>
                      <a:pt x="1429" y="988"/>
                    </a:lnTo>
                    <a:lnTo>
                      <a:pt x="1376" y="986"/>
                    </a:lnTo>
                    <a:lnTo>
                      <a:pt x="1325" y="981"/>
                    </a:lnTo>
                    <a:lnTo>
                      <a:pt x="1275" y="972"/>
                    </a:lnTo>
                    <a:lnTo>
                      <a:pt x="1226" y="961"/>
                    </a:lnTo>
                    <a:lnTo>
                      <a:pt x="1180" y="947"/>
                    </a:lnTo>
                    <a:lnTo>
                      <a:pt x="1136" y="931"/>
                    </a:lnTo>
                    <a:lnTo>
                      <a:pt x="1094" y="912"/>
                    </a:lnTo>
                    <a:lnTo>
                      <a:pt x="1052" y="891"/>
                    </a:lnTo>
                    <a:lnTo>
                      <a:pt x="1013" y="868"/>
                    </a:lnTo>
                    <a:lnTo>
                      <a:pt x="975" y="844"/>
                    </a:lnTo>
                    <a:lnTo>
                      <a:pt x="939" y="817"/>
                    </a:lnTo>
                    <a:lnTo>
                      <a:pt x="905" y="788"/>
                    </a:lnTo>
                    <a:lnTo>
                      <a:pt x="872" y="759"/>
                    </a:lnTo>
                    <a:lnTo>
                      <a:pt x="841" y="729"/>
                    </a:lnTo>
                    <a:lnTo>
                      <a:pt x="811" y="698"/>
                    </a:lnTo>
                    <a:lnTo>
                      <a:pt x="783" y="666"/>
                    </a:lnTo>
                    <a:lnTo>
                      <a:pt x="756" y="634"/>
                    </a:lnTo>
                    <a:lnTo>
                      <a:pt x="731" y="601"/>
                    </a:lnTo>
                    <a:lnTo>
                      <a:pt x="707" y="567"/>
                    </a:lnTo>
                    <a:lnTo>
                      <a:pt x="684" y="535"/>
                    </a:lnTo>
                    <a:lnTo>
                      <a:pt x="663" y="501"/>
                    </a:lnTo>
                    <a:lnTo>
                      <a:pt x="643" y="469"/>
                    </a:lnTo>
                    <a:lnTo>
                      <a:pt x="625" y="437"/>
                    </a:lnTo>
                    <a:lnTo>
                      <a:pt x="609" y="404"/>
                    </a:lnTo>
                    <a:lnTo>
                      <a:pt x="592" y="374"/>
                    </a:lnTo>
                    <a:lnTo>
                      <a:pt x="591" y="369"/>
                    </a:lnTo>
                    <a:lnTo>
                      <a:pt x="591" y="363"/>
                    </a:lnTo>
                    <a:lnTo>
                      <a:pt x="595" y="359"/>
                    </a:lnTo>
                    <a:lnTo>
                      <a:pt x="599" y="356"/>
                    </a:lnTo>
                    <a:lnTo>
                      <a:pt x="603" y="355"/>
                    </a:lnTo>
                    <a:lnTo>
                      <a:pt x="609" y="356"/>
                    </a:lnTo>
                    <a:lnTo>
                      <a:pt x="613" y="358"/>
                    </a:lnTo>
                    <a:lnTo>
                      <a:pt x="616" y="362"/>
                    </a:lnTo>
                    <a:lnTo>
                      <a:pt x="632" y="392"/>
                    </a:lnTo>
                    <a:lnTo>
                      <a:pt x="649" y="423"/>
                    </a:lnTo>
                    <a:lnTo>
                      <a:pt x="666" y="454"/>
                    </a:lnTo>
                    <a:lnTo>
                      <a:pt x="685" y="486"/>
                    </a:lnTo>
                    <a:lnTo>
                      <a:pt x="706" y="519"/>
                    </a:lnTo>
                    <a:lnTo>
                      <a:pt x="727" y="551"/>
                    </a:lnTo>
                    <a:lnTo>
                      <a:pt x="751" y="583"/>
                    </a:lnTo>
                    <a:lnTo>
                      <a:pt x="775" y="615"/>
                    </a:lnTo>
                    <a:lnTo>
                      <a:pt x="802" y="647"/>
                    </a:lnTo>
                    <a:lnTo>
                      <a:pt x="829" y="678"/>
                    </a:lnTo>
                    <a:lnTo>
                      <a:pt x="858" y="709"/>
                    </a:lnTo>
                    <a:lnTo>
                      <a:pt x="888" y="738"/>
                    </a:lnTo>
                    <a:lnTo>
                      <a:pt x="921" y="766"/>
                    </a:lnTo>
                    <a:lnTo>
                      <a:pt x="954" y="794"/>
                    </a:lnTo>
                    <a:lnTo>
                      <a:pt x="989" y="819"/>
                    </a:lnTo>
                    <a:lnTo>
                      <a:pt x="1025" y="844"/>
                    </a:lnTo>
                    <a:lnTo>
                      <a:pt x="1064" y="865"/>
                    </a:lnTo>
                    <a:lnTo>
                      <a:pt x="1104" y="886"/>
                    </a:lnTo>
                    <a:lnTo>
                      <a:pt x="1145" y="904"/>
                    </a:lnTo>
                    <a:lnTo>
                      <a:pt x="1189" y="920"/>
                    </a:lnTo>
                    <a:lnTo>
                      <a:pt x="1234" y="934"/>
                    </a:lnTo>
                    <a:lnTo>
                      <a:pt x="1280" y="945"/>
                    </a:lnTo>
                    <a:lnTo>
                      <a:pt x="1329" y="953"/>
                    </a:lnTo>
                    <a:lnTo>
                      <a:pt x="1380" y="958"/>
                    </a:lnTo>
                    <a:lnTo>
                      <a:pt x="1431" y="960"/>
                    </a:lnTo>
                    <a:lnTo>
                      <a:pt x="1485" y="959"/>
                    </a:lnTo>
                    <a:lnTo>
                      <a:pt x="1541" y="954"/>
                    </a:lnTo>
                    <a:lnTo>
                      <a:pt x="1599" y="945"/>
                    </a:lnTo>
                    <a:lnTo>
                      <a:pt x="1658" y="933"/>
                    </a:lnTo>
                    <a:lnTo>
                      <a:pt x="1720" y="917"/>
                    </a:lnTo>
                    <a:lnTo>
                      <a:pt x="1784" y="896"/>
                    </a:lnTo>
                    <a:lnTo>
                      <a:pt x="1848" y="872"/>
                    </a:lnTo>
                    <a:lnTo>
                      <a:pt x="1880" y="858"/>
                    </a:lnTo>
                    <a:lnTo>
                      <a:pt x="1911" y="844"/>
                    </a:lnTo>
                    <a:lnTo>
                      <a:pt x="1942" y="827"/>
                    </a:lnTo>
                    <a:lnTo>
                      <a:pt x="1972" y="811"/>
                    </a:lnTo>
                    <a:lnTo>
                      <a:pt x="2002" y="794"/>
                    </a:lnTo>
                    <a:lnTo>
                      <a:pt x="2031" y="777"/>
                    </a:lnTo>
                    <a:lnTo>
                      <a:pt x="2060" y="758"/>
                    </a:lnTo>
                    <a:lnTo>
                      <a:pt x="2089" y="739"/>
                    </a:lnTo>
                    <a:lnTo>
                      <a:pt x="2145" y="700"/>
                    </a:lnTo>
                    <a:lnTo>
                      <a:pt x="2200" y="659"/>
                    </a:lnTo>
                    <a:lnTo>
                      <a:pt x="2254" y="618"/>
                    </a:lnTo>
                    <a:lnTo>
                      <a:pt x="2307" y="576"/>
                    </a:lnTo>
                    <a:lnTo>
                      <a:pt x="2369" y="529"/>
                    </a:lnTo>
                    <a:lnTo>
                      <a:pt x="2428" y="484"/>
                    </a:lnTo>
                    <a:lnTo>
                      <a:pt x="2458" y="462"/>
                    </a:lnTo>
                    <a:lnTo>
                      <a:pt x="2488" y="442"/>
                    </a:lnTo>
                    <a:lnTo>
                      <a:pt x="2517" y="421"/>
                    </a:lnTo>
                    <a:lnTo>
                      <a:pt x="2547" y="403"/>
                    </a:lnTo>
                    <a:lnTo>
                      <a:pt x="2576" y="386"/>
                    </a:lnTo>
                    <a:lnTo>
                      <a:pt x="2605" y="370"/>
                    </a:lnTo>
                    <a:lnTo>
                      <a:pt x="2634" y="356"/>
                    </a:lnTo>
                    <a:lnTo>
                      <a:pt x="2664" y="344"/>
                    </a:lnTo>
                    <a:lnTo>
                      <a:pt x="2693" y="333"/>
                    </a:lnTo>
                    <a:lnTo>
                      <a:pt x="2722" y="324"/>
                    </a:lnTo>
                    <a:lnTo>
                      <a:pt x="2737" y="320"/>
                    </a:lnTo>
                    <a:lnTo>
                      <a:pt x="2751" y="318"/>
                    </a:lnTo>
                    <a:lnTo>
                      <a:pt x="2766" y="315"/>
                    </a:lnTo>
                    <a:lnTo>
                      <a:pt x="2781" y="313"/>
                    </a:lnTo>
                    <a:lnTo>
                      <a:pt x="2801" y="311"/>
                    </a:lnTo>
                    <a:lnTo>
                      <a:pt x="2821" y="311"/>
                    </a:lnTo>
                    <a:lnTo>
                      <a:pt x="2842" y="312"/>
                    </a:lnTo>
                    <a:lnTo>
                      <a:pt x="2863" y="315"/>
                    </a:lnTo>
                    <a:lnTo>
                      <a:pt x="2885" y="318"/>
                    </a:lnTo>
                    <a:lnTo>
                      <a:pt x="2907" y="322"/>
                    </a:lnTo>
                    <a:lnTo>
                      <a:pt x="2928" y="328"/>
                    </a:lnTo>
                    <a:lnTo>
                      <a:pt x="2949" y="334"/>
                    </a:lnTo>
                    <a:lnTo>
                      <a:pt x="2969" y="342"/>
                    </a:lnTo>
                    <a:lnTo>
                      <a:pt x="2990" y="351"/>
                    </a:lnTo>
                    <a:lnTo>
                      <a:pt x="3008" y="361"/>
                    </a:lnTo>
                    <a:lnTo>
                      <a:pt x="3026" y="373"/>
                    </a:lnTo>
                    <a:lnTo>
                      <a:pt x="3044" y="386"/>
                    </a:lnTo>
                    <a:lnTo>
                      <a:pt x="3059" y="399"/>
                    </a:lnTo>
                    <a:lnTo>
                      <a:pt x="3073" y="414"/>
                    </a:lnTo>
                    <a:lnTo>
                      <a:pt x="3085" y="430"/>
                    </a:lnTo>
                    <a:lnTo>
                      <a:pt x="3086" y="432"/>
                    </a:lnTo>
                    <a:lnTo>
                      <a:pt x="3087" y="433"/>
                    </a:lnTo>
                    <a:lnTo>
                      <a:pt x="3098" y="468"/>
                    </a:lnTo>
                    <a:lnTo>
                      <a:pt x="3107" y="500"/>
                    </a:lnTo>
                    <a:lnTo>
                      <a:pt x="3112" y="516"/>
                    </a:lnTo>
                    <a:lnTo>
                      <a:pt x="3115" y="533"/>
                    </a:lnTo>
                    <a:lnTo>
                      <a:pt x="3117" y="549"/>
                    </a:lnTo>
                    <a:lnTo>
                      <a:pt x="3119" y="566"/>
                    </a:lnTo>
                    <a:lnTo>
                      <a:pt x="3121" y="583"/>
                    </a:lnTo>
                    <a:lnTo>
                      <a:pt x="3121" y="603"/>
                    </a:lnTo>
                    <a:lnTo>
                      <a:pt x="3121" y="623"/>
                    </a:lnTo>
                    <a:lnTo>
                      <a:pt x="3121" y="646"/>
                    </a:lnTo>
                    <a:lnTo>
                      <a:pt x="3119" y="670"/>
                    </a:lnTo>
                    <a:lnTo>
                      <a:pt x="3117" y="696"/>
                    </a:lnTo>
                    <a:lnTo>
                      <a:pt x="3114" y="725"/>
                    </a:lnTo>
                    <a:lnTo>
                      <a:pt x="3110" y="756"/>
                    </a:lnTo>
                    <a:lnTo>
                      <a:pt x="3110" y="760"/>
                    </a:lnTo>
                    <a:lnTo>
                      <a:pt x="3108" y="769"/>
                    </a:lnTo>
                    <a:lnTo>
                      <a:pt x="3106" y="778"/>
                    </a:lnTo>
                    <a:lnTo>
                      <a:pt x="3105" y="785"/>
                    </a:lnTo>
                    <a:lnTo>
                      <a:pt x="3104" y="794"/>
                    </a:lnTo>
                    <a:lnTo>
                      <a:pt x="3102" y="804"/>
                    </a:lnTo>
                    <a:lnTo>
                      <a:pt x="3100" y="815"/>
                    </a:lnTo>
                    <a:lnTo>
                      <a:pt x="3097" y="831"/>
                    </a:lnTo>
                    <a:lnTo>
                      <a:pt x="3093" y="844"/>
                    </a:lnTo>
                    <a:lnTo>
                      <a:pt x="3089" y="863"/>
                    </a:lnTo>
                    <a:lnTo>
                      <a:pt x="3087" y="868"/>
                    </a:lnTo>
                    <a:lnTo>
                      <a:pt x="3084" y="872"/>
                    </a:lnTo>
                    <a:lnTo>
                      <a:pt x="3078" y="874"/>
                    </a:lnTo>
                    <a:lnTo>
                      <a:pt x="3074" y="874"/>
                    </a:lnTo>
                    <a:lnTo>
                      <a:pt x="3068" y="873"/>
                    </a:lnTo>
                    <a:lnTo>
                      <a:pt x="3065" y="869"/>
                    </a:lnTo>
                    <a:lnTo>
                      <a:pt x="3063" y="865"/>
                    </a:lnTo>
                    <a:lnTo>
                      <a:pt x="3062" y="860"/>
                    </a:lnTo>
                    <a:lnTo>
                      <a:pt x="3063" y="847"/>
                    </a:lnTo>
                    <a:lnTo>
                      <a:pt x="3064" y="833"/>
                    </a:lnTo>
                    <a:lnTo>
                      <a:pt x="3065" y="820"/>
                    </a:lnTo>
                    <a:lnTo>
                      <a:pt x="3066" y="806"/>
                    </a:lnTo>
                    <a:lnTo>
                      <a:pt x="3071" y="766"/>
                    </a:lnTo>
                    <a:lnTo>
                      <a:pt x="3073" y="726"/>
                    </a:lnTo>
                    <a:lnTo>
                      <a:pt x="3074" y="706"/>
                    </a:lnTo>
                    <a:lnTo>
                      <a:pt x="3073" y="687"/>
                    </a:lnTo>
                    <a:lnTo>
                      <a:pt x="3073" y="668"/>
                    </a:lnTo>
                    <a:lnTo>
                      <a:pt x="3071" y="649"/>
                    </a:lnTo>
                    <a:lnTo>
                      <a:pt x="3067" y="631"/>
                    </a:lnTo>
                    <a:lnTo>
                      <a:pt x="3063" y="613"/>
                    </a:lnTo>
                    <a:lnTo>
                      <a:pt x="3058" y="595"/>
                    </a:lnTo>
                    <a:lnTo>
                      <a:pt x="3050" y="579"/>
                    </a:lnTo>
                    <a:lnTo>
                      <a:pt x="3041" y="563"/>
                    </a:lnTo>
                    <a:lnTo>
                      <a:pt x="3031" y="548"/>
                    </a:lnTo>
                    <a:lnTo>
                      <a:pt x="3019" y="534"/>
                    </a:lnTo>
                    <a:lnTo>
                      <a:pt x="3004" y="520"/>
                    </a:lnTo>
                    <a:lnTo>
                      <a:pt x="2993" y="512"/>
                    </a:lnTo>
                    <a:lnTo>
                      <a:pt x="2981" y="505"/>
                    </a:lnTo>
                    <a:lnTo>
                      <a:pt x="2968" y="498"/>
                    </a:lnTo>
                    <a:lnTo>
                      <a:pt x="2954" y="492"/>
                    </a:lnTo>
                    <a:lnTo>
                      <a:pt x="2939" y="487"/>
                    </a:lnTo>
                    <a:lnTo>
                      <a:pt x="2923" y="483"/>
                    </a:lnTo>
                    <a:lnTo>
                      <a:pt x="2907" y="481"/>
                    </a:lnTo>
                    <a:lnTo>
                      <a:pt x="2889" y="479"/>
                    </a:lnTo>
                    <a:lnTo>
                      <a:pt x="2871" y="478"/>
                    </a:lnTo>
                    <a:lnTo>
                      <a:pt x="2851" y="476"/>
                    </a:lnTo>
                    <a:lnTo>
                      <a:pt x="2833" y="478"/>
                    </a:lnTo>
                    <a:lnTo>
                      <a:pt x="2813" y="479"/>
                    </a:lnTo>
                    <a:lnTo>
                      <a:pt x="2792" y="481"/>
                    </a:lnTo>
                    <a:lnTo>
                      <a:pt x="2772" y="484"/>
                    </a:lnTo>
                    <a:lnTo>
                      <a:pt x="2750" y="488"/>
                    </a:lnTo>
                    <a:lnTo>
                      <a:pt x="2728" y="494"/>
                    </a:lnTo>
                    <a:lnTo>
                      <a:pt x="2706" y="500"/>
                    </a:lnTo>
                    <a:lnTo>
                      <a:pt x="2683" y="507"/>
                    </a:lnTo>
                    <a:lnTo>
                      <a:pt x="2660" y="514"/>
                    </a:lnTo>
                    <a:lnTo>
                      <a:pt x="2638" y="523"/>
                    </a:lnTo>
                    <a:lnTo>
                      <a:pt x="2615" y="533"/>
                    </a:lnTo>
                    <a:lnTo>
                      <a:pt x="2591" y="543"/>
                    </a:lnTo>
                    <a:lnTo>
                      <a:pt x="2569" y="555"/>
                    </a:lnTo>
                    <a:lnTo>
                      <a:pt x="2545" y="567"/>
                    </a:lnTo>
                    <a:lnTo>
                      <a:pt x="2522" y="580"/>
                    </a:lnTo>
                    <a:lnTo>
                      <a:pt x="2499" y="594"/>
                    </a:lnTo>
                    <a:lnTo>
                      <a:pt x="2476" y="609"/>
                    </a:lnTo>
                    <a:lnTo>
                      <a:pt x="2453" y="625"/>
                    </a:lnTo>
                    <a:lnTo>
                      <a:pt x="2430" y="643"/>
                    </a:lnTo>
                    <a:lnTo>
                      <a:pt x="2408" y="661"/>
                    </a:lnTo>
                    <a:lnTo>
                      <a:pt x="2386" y="679"/>
                    </a:lnTo>
                    <a:lnTo>
                      <a:pt x="2364" y="699"/>
                    </a:lnTo>
                    <a:lnTo>
                      <a:pt x="2326" y="734"/>
                    </a:lnTo>
                    <a:lnTo>
                      <a:pt x="2289" y="767"/>
                    </a:lnTo>
                    <a:lnTo>
                      <a:pt x="2254" y="797"/>
                    </a:lnTo>
                    <a:lnTo>
                      <a:pt x="2220" y="825"/>
                    </a:lnTo>
                    <a:lnTo>
                      <a:pt x="2187" y="851"/>
                    </a:lnTo>
                    <a:lnTo>
                      <a:pt x="2155" y="875"/>
                    </a:lnTo>
                    <a:lnTo>
                      <a:pt x="2123" y="897"/>
                    </a:lnTo>
                    <a:lnTo>
                      <a:pt x="2090" y="919"/>
                    </a:lnTo>
                    <a:lnTo>
                      <a:pt x="2058" y="940"/>
                    </a:lnTo>
                    <a:lnTo>
                      <a:pt x="2025" y="959"/>
                    </a:lnTo>
                    <a:lnTo>
                      <a:pt x="1991" y="978"/>
                    </a:lnTo>
                    <a:lnTo>
                      <a:pt x="1956" y="998"/>
                    </a:lnTo>
                    <a:lnTo>
                      <a:pt x="1881" y="1039"/>
                    </a:lnTo>
                    <a:lnTo>
                      <a:pt x="1796" y="1083"/>
                    </a:lnTo>
                    <a:lnTo>
                      <a:pt x="1721" y="1122"/>
                    </a:lnTo>
                    <a:lnTo>
                      <a:pt x="1688" y="1138"/>
                    </a:lnTo>
                    <a:lnTo>
                      <a:pt x="1653" y="1154"/>
                    </a:lnTo>
                    <a:lnTo>
                      <a:pt x="1635" y="1162"/>
                    </a:lnTo>
                    <a:lnTo>
                      <a:pt x="1616" y="1170"/>
                    </a:lnTo>
                    <a:lnTo>
                      <a:pt x="1596" y="1176"/>
                    </a:lnTo>
                    <a:lnTo>
                      <a:pt x="1575" y="1182"/>
                    </a:lnTo>
                    <a:lnTo>
                      <a:pt x="1555" y="1188"/>
                    </a:lnTo>
                    <a:lnTo>
                      <a:pt x="1533" y="1193"/>
                    </a:lnTo>
                    <a:lnTo>
                      <a:pt x="1510" y="1199"/>
                    </a:lnTo>
                    <a:lnTo>
                      <a:pt x="1488" y="1202"/>
                    </a:lnTo>
                    <a:lnTo>
                      <a:pt x="1464" y="1205"/>
                    </a:lnTo>
                    <a:lnTo>
                      <a:pt x="1440" y="1207"/>
                    </a:lnTo>
                    <a:lnTo>
                      <a:pt x="1415" y="1209"/>
                    </a:lnTo>
                    <a:lnTo>
                      <a:pt x="1389" y="1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8"/>
              <p:cNvSpPr>
                <a:spLocks noEditPoints="1"/>
              </p:cNvSpPr>
              <p:nvPr userDrawn="1"/>
            </p:nvSpPr>
            <p:spPr bwMode="auto">
              <a:xfrm>
                <a:off x="1368" y="1356"/>
                <a:ext cx="612" cy="1265"/>
              </a:xfrm>
              <a:custGeom>
                <a:avLst/>
                <a:gdLst>
                  <a:gd name="T0" fmla="*/ 1013 w 1837"/>
                  <a:gd name="T1" fmla="*/ 3653 h 3794"/>
                  <a:gd name="T2" fmla="*/ 660 w 1837"/>
                  <a:gd name="T3" fmla="*/ 3373 h 3794"/>
                  <a:gd name="T4" fmla="*/ 278 w 1837"/>
                  <a:gd name="T5" fmla="*/ 2940 h 3794"/>
                  <a:gd name="T6" fmla="*/ 34 w 1837"/>
                  <a:gd name="T7" fmla="*/ 2469 h 3794"/>
                  <a:gd name="T8" fmla="*/ 3 w 1837"/>
                  <a:gd name="T9" fmla="*/ 2255 h 3794"/>
                  <a:gd name="T10" fmla="*/ 47 w 1837"/>
                  <a:gd name="T11" fmla="*/ 2099 h 3794"/>
                  <a:gd name="T12" fmla="*/ 113 w 1837"/>
                  <a:gd name="T13" fmla="*/ 1943 h 3794"/>
                  <a:gd name="T14" fmla="*/ 79 w 1837"/>
                  <a:gd name="T15" fmla="*/ 1722 h 3794"/>
                  <a:gd name="T16" fmla="*/ 118 w 1837"/>
                  <a:gd name="T17" fmla="*/ 1368 h 3794"/>
                  <a:gd name="T18" fmla="*/ 227 w 1837"/>
                  <a:gd name="T19" fmla="*/ 1029 h 3794"/>
                  <a:gd name="T20" fmla="*/ 399 w 1837"/>
                  <a:gd name="T21" fmla="*/ 731 h 3794"/>
                  <a:gd name="T22" fmla="*/ 651 w 1837"/>
                  <a:gd name="T23" fmla="*/ 462 h 3794"/>
                  <a:gd name="T24" fmla="*/ 1080 w 1837"/>
                  <a:gd name="T25" fmla="*/ 176 h 3794"/>
                  <a:gd name="T26" fmla="*/ 1439 w 1837"/>
                  <a:gd name="T27" fmla="*/ 41 h 3794"/>
                  <a:gd name="T28" fmla="*/ 1731 w 1837"/>
                  <a:gd name="T29" fmla="*/ 0 h 3794"/>
                  <a:gd name="T30" fmla="*/ 1836 w 1837"/>
                  <a:gd name="T31" fmla="*/ 498 h 3794"/>
                  <a:gd name="T32" fmla="*/ 1617 w 1837"/>
                  <a:gd name="T33" fmla="*/ 791 h 3794"/>
                  <a:gd name="T34" fmla="*/ 1316 w 1837"/>
                  <a:gd name="T35" fmla="*/ 1244 h 3794"/>
                  <a:gd name="T36" fmla="*/ 1280 w 1837"/>
                  <a:gd name="T37" fmla="*/ 1419 h 3794"/>
                  <a:gd name="T38" fmla="*/ 1332 w 1837"/>
                  <a:gd name="T39" fmla="*/ 1787 h 3794"/>
                  <a:gd name="T40" fmla="*/ 1228 w 1837"/>
                  <a:gd name="T41" fmla="*/ 1891 h 3794"/>
                  <a:gd name="T42" fmla="*/ 1111 w 1837"/>
                  <a:gd name="T43" fmla="*/ 1813 h 3794"/>
                  <a:gd name="T44" fmla="*/ 942 w 1837"/>
                  <a:gd name="T45" fmla="*/ 1772 h 3794"/>
                  <a:gd name="T46" fmla="*/ 809 w 1837"/>
                  <a:gd name="T47" fmla="*/ 1826 h 3794"/>
                  <a:gd name="T48" fmla="*/ 749 w 1837"/>
                  <a:gd name="T49" fmla="*/ 1951 h 3794"/>
                  <a:gd name="T50" fmla="*/ 738 w 1837"/>
                  <a:gd name="T51" fmla="*/ 2309 h 3794"/>
                  <a:gd name="T52" fmla="*/ 838 w 1837"/>
                  <a:gd name="T53" fmla="*/ 2601 h 3794"/>
                  <a:gd name="T54" fmla="*/ 1147 w 1837"/>
                  <a:gd name="T55" fmla="*/ 3019 h 3794"/>
                  <a:gd name="T56" fmla="*/ 1285 w 1837"/>
                  <a:gd name="T57" fmla="*/ 3270 h 3794"/>
                  <a:gd name="T58" fmla="*/ 1294 w 1837"/>
                  <a:gd name="T59" fmla="*/ 3614 h 3794"/>
                  <a:gd name="T60" fmla="*/ 1254 w 1837"/>
                  <a:gd name="T61" fmla="*/ 3789 h 3794"/>
                  <a:gd name="T62" fmla="*/ 1638 w 1837"/>
                  <a:gd name="T63" fmla="*/ 33 h 3794"/>
                  <a:gd name="T64" fmla="*/ 1337 w 1837"/>
                  <a:gd name="T65" fmla="*/ 99 h 3794"/>
                  <a:gd name="T66" fmla="*/ 956 w 1837"/>
                  <a:gd name="T67" fmla="*/ 276 h 3794"/>
                  <a:gd name="T68" fmla="*/ 565 w 1837"/>
                  <a:gd name="T69" fmla="*/ 578 h 3794"/>
                  <a:gd name="T70" fmla="*/ 358 w 1837"/>
                  <a:gd name="T71" fmla="*/ 840 h 3794"/>
                  <a:gd name="T72" fmla="*/ 209 w 1837"/>
                  <a:gd name="T73" fmla="*/ 1148 h 3794"/>
                  <a:gd name="T74" fmla="*/ 122 w 1837"/>
                  <a:gd name="T75" fmla="*/ 1492 h 3794"/>
                  <a:gd name="T76" fmla="*/ 116 w 1837"/>
                  <a:gd name="T77" fmla="*/ 1835 h 3794"/>
                  <a:gd name="T78" fmla="*/ 159 w 1837"/>
                  <a:gd name="T79" fmla="*/ 1988 h 3794"/>
                  <a:gd name="T80" fmla="*/ 69 w 1837"/>
                  <a:gd name="T81" fmla="*/ 2112 h 3794"/>
                  <a:gd name="T82" fmla="*/ 28 w 1837"/>
                  <a:gd name="T83" fmla="*/ 2260 h 3794"/>
                  <a:gd name="T84" fmla="*/ 76 w 1837"/>
                  <a:gd name="T85" fmla="*/ 2510 h 3794"/>
                  <a:gd name="T86" fmla="*/ 330 w 1837"/>
                  <a:gd name="T87" fmla="*/ 2966 h 3794"/>
                  <a:gd name="T88" fmla="*/ 678 w 1837"/>
                  <a:gd name="T89" fmla="*/ 3352 h 3794"/>
                  <a:gd name="T90" fmla="*/ 1033 w 1837"/>
                  <a:gd name="T91" fmla="*/ 3635 h 3794"/>
                  <a:gd name="T92" fmla="*/ 1261 w 1837"/>
                  <a:gd name="T93" fmla="*/ 3657 h 3794"/>
                  <a:gd name="T94" fmla="*/ 1273 w 1837"/>
                  <a:gd name="T95" fmla="*/ 3365 h 3794"/>
                  <a:gd name="T96" fmla="*/ 1182 w 1837"/>
                  <a:gd name="T97" fmla="*/ 3116 h 3794"/>
                  <a:gd name="T98" fmla="*/ 887 w 1837"/>
                  <a:gd name="T99" fmla="*/ 2723 h 3794"/>
                  <a:gd name="T100" fmla="*/ 740 w 1837"/>
                  <a:gd name="T101" fmla="*/ 2446 h 3794"/>
                  <a:gd name="T102" fmla="*/ 703 w 1837"/>
                  <a:gd name="T103" fmla="*/ 2052 h 3794"/>
                  <a:gd name="T104" fmla="*/ 761 w 1837"/>
                  <a:gd name="T105" fmla="*/ 1849 h 3794"/>
                  <a:gd name="T106" fmla="*/ 843 w 1837"/>
                  <a:gd name="T107" fmla="*/ 1764 h 3794"/>
                  <a:gd name="T108" fmla="*/ 938 w 1837"/>
                  <a:gd name="T109" fmla="*/ 1745 h 3794"/>
                  <a:gd name="T110" fmla="*/ 1138 w 1837"/>
                  <a:gd name="T111" fmla="*/ 1796 h 3794"/>
                  <a:gd name="T112" fmla="*/ 1278 w 1837"/>
                  <a:gd name="T113" fmla="*/ 1653 h 3794"/>
                  <a:gd name="T114" fmla="*/ 1258 w 1837"/>
                  <a:gd name="T115" fmla="*/ 1316 h 3794"/>
                  <a:gd name="T116" fmla="*/ 1387 w 1837"/>
                  <a:gd name="T117" fmla="*/ 1072 h 3794"/>
                  <a:gd name="T118" fmla="*/ 1771 w 1837"/>
                  <a:gd name="T119" fmla="*/ 539 h 3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7" h="3794">
                    <a:moveTo>
                      <a:pt x="1244" y="3794"/>
                    </a:moveTo>
                    <a:lnTo>
                      <a:pt x="1241" y="3793"/>
                    </a:lnTo>
                    <a:lnTo>
                      <a:pt x="1238" y="3791"/>
                    </a:lnTo>
                    <a:lnTo>
                      <a:pt x="1230" y="3787"/>
                    </a:lnTo>
                    <a:lnTo>
                      <a:pt x="1209" y="3775"/>
                    </a:lnTo>
                    <a:lnTo>
                      <a:pt x="1174" y="3757"/>
                    </a:lnTo>
                    <a:lnTo>
                      <a:pt x="1130" y="3730"/>
                    </a:lnTo>
                    <a:lnTo>
                      <a:pt x="1076" y="3695"/>
                    </a:lnTo>
                    <a:lnTo>
                      <a:pt x="1013" y="3653"/>
                    </a:lnTo>
                    <a:lnTo>
                      <a:pt x="979" y="3630"/>
                    </a:lnTo>
                    <a:lnTo>
                      <a:pt x="943" y="3605"/>
                    </a:lnTo>
                    <a:lnTo>
                      <a:pt x="905" y="3577"/>
                    </a:lnTo>
                    <a:lnTo>
                      <a:pt x="867" y="3548"/>
                    </a:lnTo>
                    <a:lnTo>
                      <a:pt x="828" y="3516"/>
                    </a:lnTo>
                    <a:lnTo>
                      <a:pt x="786" y="3484"/>
                    </a:lnTo>
                    <a:lnTo>
                      <a:pt x="745" y="3448"/>
                    </a:lnTo>
                    <a:lnTo>
                      <a:pt x="703" y="3411"/>
                    </a:lnTo>
                    <a:lnTo>
                      <a:pt x="660" y="3373"/>
                    </a:lnTo>
                    <a:lnTo>
                      <a:pt x="617" y="3333"/>
                    </a:lnTo>
                    <a:lnTo>
                      <a:pt x="574" y="3290"/>
                    </a:lnTo>
                    <a:lnTo>
                      <a:pt x="531" y="3245"/>
                    </a:lnTo>
                    <a:lnTo>
                      <a:pt x="487" y="3199"/>
                    </a:lnTo>
                    <a:lnTo>
                      <a:pt x="444" y="3151"/>
                    </a:lnTo>
                    <a:lnTo>
                      <a:pt x="402" y="3101"/>
                    </a:lnTo>
                    <a:lnTo>
                      <a:pt x="360" y="3049"/>
                    </a:lnTo>
                    <a:lnTo>
                      <a:pt x="319" y="2995"/>
                    </a:lnTo>
                    <a:lnTo>
                      <a:pt x="278" y="2940"/>
                    </a:lnTo>
                    <a:lnTo>
                      <a:pt x="239" y="2881"/>
                    </a:lnTo>
                    <a:lnTo>
                      <a:pt x="200" y="2822"/>
                    </a:lnTo>
                    <a:lnTo>
                      <a:pt x="171" y="2774"/>
                    </a:lnTo>
                    <a:lnTo>
                      <a:pt x="144" y="2724"/>
                    </a:lnTo>
                    <a:lnTo>
                      <a:pt x="118" y="2673"/>
                    </a:lnTo>
                    <a:lnTo>
                      <a:pt x="93" y="2621"/>
                    </a:lnTo>
                    <a:lnTo>
                      <a:pt x="71" y="2569"/>
                    </a:lnTo>
                    <a:lnTo>
                      <a:pt x="51" y="2519"/>
                    </a:lnTo>
                    <a:lnTo>
                      <a:pt x="34" y="2469"/>
                    </a:lnTo>
                    <a:lnTo>
                      <a:pt x="19" y="2422"/>
                    </a:lnTo>
                    <a:lnTo>
                      <a:pt x="13" y="2399"/>
                    </a:lnTo>
                    <a:lnTo>
                      <a:pt x="9" y="2376"/>
                    </a:lnTo>
                    <a:lnTo>
                      <a:pt x="5" y="2355"/>
                    </a:lnTo>
                    <a:lnTo>
                      <a:pt x="3" y="2334"/>
                    </a:lnTo>
                    <a:lnTo>
                      <a:pt x="1" y="2314"/>
                    </a:lnTo>
                    <a:lnTo>
                      <a:pt x="0" y="2293"/>
                    </a:lnTo>
                    <a:lnTo>
                      <a:pt x="1" y="2274"/>
                    </a:lnTo>
                    <a:lnTo>
                      <a:pt x="3" y="2255"/>
                    </a:lnTo>
                    <a:lnTo>
                      <a:pt x="5" y="2237"/>
                    </a:lnTo>
                    <a:lnTo>
                      <a:pt x="7" y="2219"/>
                    </a:lnTo>
                    <a:lnTo>
                      <a:pt x="10" y="2201"/>
                    </a:lnTo>
                    <a:lnTo>
                      <a:pt x="14" y="2185"/>
                    </a:lnTo>
                    <a:lnTo>
                      <a:pt x="19" y="2169"/>
                    </a:lnTo>
                    <a:lnTo>
                      <a:pt x="24" y="2154"/>
                    </a:lnTo>
                    <a:lnTo>
                      <a:pt x="30" y="2139"/>
                    </a:lnTo>
                    <a:lnTo>
                      <a:pt x="35" y="2125"/>
                    </a:lnTo>
                    <a:lnTo>
                      <a:pt x="47" y="2099"/>
                    </a:lnTo>
                    <a:lnTo>
                      <a:pt x="61" y="2075"/>
                    </a:lnTo>
                    <a:lnTo>
                      <a:pt x="74" y="2054"/>
                    </a:lnTo>
                    <a:lnTo>
                      <a:pt x="87" y="2034"/>
                    </a:lnTo>
                    <a:lnTo>
                      <a:pt x="100" y="2019"/>
                    </a:lnTo>
                    <a:lnTo>
                      <a:pt x="112" y="2005"/>
                    </a:lnTo>
                    <a:lnTo>
                      <a:pt x="121" y="1994"/>
                    </a:lnTo>
                    <a:lnTo>
                      <a:pt x="129" y="1987"/>
                    </a:lnTo>
                    <a:lnTo>
                      <a:pt x="122" y="1969"/>
                    </a:lnTo>
                    <a:lnTo>
                      <a:pt x="113" y="1943"/>
                    </a:lnTo>
                    <a:lnTo>
                      <a:pt x="108" y="1927"/>
                    </a:lnTo>
                    <a:lnTo>
                      <a:pt x="103" y="1909"/>
                    </a:lnTo>
                    <a:lnTo>
                      <a:pt x="98" y="1888"/>
                    </a:lnTo>
                    <a:lnTo>
                      <a:pt x="93" y="1866"/>
                    </a:lnTo>
                    <a:lnTo>
                      <a:pt x="89" y="1842"/>
                    </a:lnTo>
                    <a:lnTo>
                      <a:pt x="86" y="1815"/>
                    </a:lnTo>
                    <a:lnTo>
                      <a:pt x="82" y="1786"/>
                    </a:lnTo>
                    <a:lnTo>
                      <a:pt x="80" y="1756"/>
                    </a:lnTo>
                    <a:lnTo>
                      <a:pt x="79" y="1722"/>
                    </a:lnTo>
                    <a:lnTo>
                      <a:pt x="78" y="1688"/>
                    </a:lnTo>
                    <a:lnTo>
                      <a:pt x="79" y="1650"/>
                    </a:lnTo>
                    <a:lnTo>
                      <a:pt x="82" y="1611"/>
                    </a:lnTo>
                    <a:lnTo>
                      <a:pt x="86" y="1570"/>
                    </a:lnTo>
                    <a:lnTo>
                      <a:pt x="90" y="1529"/>
                    </a:lnTo>
                    <a:lnTo>
                      <a:pt x="96" y="1488"/>
                    </a:lnTo>
                    <a:lnTo>
                      <a:pt x="102" y="1448"/>
                    </a:lnTo>
                    <a:lnTo>
                      <a:pt x="109" y="1408"/>
                    </a:lnTo>
                    <a:lnTo>
                      <a:pt x="118" y="1368"/>
                    </a:lnTo>
                    <a:lnTo>
                      <a:pt x="127" y="1328"/>
                    </a:lnTo>
                    <a:lnTo>
                      <a:pt x="136" y="1289"/>
                    </a:lnTo>
                    <a:lnTo>
                      <a:pt x="146" y="1251"/>
                    </a:lnTo>
                    <a:lnTo>
                      <a:pt x="158" y="1214"/>
                    </a:lnTo>
                    <a:lnTo>
                      <a:pt x="170" y="1176"/>
                    </a:lnTo>
                    <a:lnTo>
                      <a:pt x="183" y="1138"/>
                    </a:lnTo>
                    <a:lnTo>
                      <a:pt x="197" y="1101"/>
                    </a:lnTo>
                    <a:lnTo>
                      <a:pt x="211" y="1065"/>
                    </a:lnTo>
                    <a:lnTo>
                      <a:pt x="227" y="1029"/>
                    </a:lnTo>
                    <a:lnTo>
                      <a:pt x="242" y="995"/>
                    </a:lnTo>
                    <a:lnTo>
                      <a:pt x="260" y="959"/>
                    </a:lnTo>
                    <a:lnTo>
                      <a:pt x="277" y="925"/>
                    </a:lnTo>
                    <a:lnTo>
                      <a:pt x="295" y="891"/>
                    </a:lnTo>
                    <a:lnTo>
                      <a:pt x="315" y="857"/>
                    </a:lnTo>
                    <a:lnTo>
                      <a:pt x="335" y="825"/>
                    </a:lnTo>
                    <a:lnTo>
                      <a:pt x="356" y="793"/>
                    </a:lnTo>
                    <a:lnTo>
                      <a:pt x="377" y="761"/>
                    </a:lnTo>
                    <a:lnTo>
                      <a:pt x="399" y="731"/>
                    </a:lnTo>
                    <a:lnTo>
                      <a:pt x="421" y="701"/>
                    </a:lnTo>
                    <a:lnTo>
                      <a:pt x="445" y="671"/>
                    </a:lnTo>
                    <a:lnTo>
                      <a:pt x="469" y="642"/>
                    </a:lnTo>
                    <a:lnTo>
                      <a:pt x="494" y="613"/>
                    </a:lnTo>
                    <a:lnTo>
                      <a:pt x="520" y="585"/>
                    </a:lnTo>
                    <a:lnTo>
                      <a:pt x="547" y="558"/>
                    </a:lnTo>
                    <a:lnTo>
                      <a:pt x="574" y="533"/>
                    </a:lnTo>
                    <a:lnTo>
                      <a:pt x="601" y="507"/>
                    </a:lnTo>
                    <a:lnTo>
                      <a:pt x="651" y="462"/>
                    </a:lnTo>
                    <a:lnTo>
                      <a:pt x="701" y="421"/>
                    </a:lnTo>
                    <a:lnTo>
                      <a:pt x="750" y="382"/>
                    </a:lnTo>
                    <a:lnTo>
                      <a:pt x="799" y="347"/>
                    </a:lnTo>
                    <a:lnTo>
                      <a:pt x="847" y="312"/>
                    </a:lnTo>
                    <a:lnTo>
                      <a:pt x="896" y="281"/>
                    </a:lnTo>
                    <a:lnTo>
                      <a:pt x="943" y="252"/>
                    </a:lnTo>
                    <a:lnTo>
                      <a:pt x="989" y="224"/>
                    </a:lnTo>
                    <a:lnTo>
                      <a:pt x="1035" y="199"/>
                    </a:lnTo>
                    <a:lnTo>
                      <a:pt x="1080" y="176"/>
                    </a:lnTo>
                    <a:lnTo>
                      <a:pt x="1124" y="155"/>
                    </a:lnTo>
                    <a:lnTo>
                      <a:pt x="1168" y="135"/>
                    </a:lnTo>
                    <a:lnTo>
                      <a:pt x="1210" y="117"/>
                    </a:lnTo>
                    <a:lnTo>
                      <a:pt x="1252" y="101"/>
                    </a:lnTo>
                    <a:lnTo>
                      <a:pt x="1292" y="86"/>
                    </a:lnTo>
                    <a:lnTo>
                      <a:pt x="1331" y="73"/>
                    </a:lnTo>
                    <a:lnTo>
                      <a:pt x="1368" y="61"/>
                    </a:lnTo>
                    <a:lnTo>
                      <a:pt x="1404" y="51"/>
                    </a:lnTo>
                    <a:lnTo>
                      <a:pt x="1439" y="41"/>
                    </a:lnTo>
                    <a:lnTo>
                      <a:pt x="1472" y="34"/>
                    </a:lnTo>
                    <a:lnTo>
                      <a:pt x="1505" y="27"/>
                    </a:lnTo>
                    <a:lnTo>
                      <a:pt x="1535" y="21"/>
                    </a:lnTo>
                    <a:lnTo>
                      <a:pt x="1563" y="15"/>
                    </a:lnTo>
                    <a:lnTo>
                      <a:pt x="1590" y="12"/>
                    </a:lnTo>
                    <a:lnTo>
                      <a:pt x="1637" y="6"/>
                    </a:lnTo>
                    <a:lnTo>
                      <a:pt x="1677" y="2"/>
                    </a:lnTo>
                    <a:lnTo>
                      <a:pt x="1709" y="1"/>
                    </a:lnTo>
                    <a:lnTo>
                      <a:pt x="1731" y="0"/>
                    </a:lnTo>
                    <a:lnTo>
                      <a:pt x="1740" y="0"/>
                    </a:lnTo>
                    <a:lnTo>
                      <a:pt x="1743" y="0"/>
                    </a:lnTo>
                    <a:lnTo>
                      <a:pt x="1749" y="1"/>
                    </a:lnTo>
                    <a:lnTo>
                      <a:pt x="1752" y="5"/>
                    </a:lnTo>
                    <a:lnTo>
                      <a:pt x="1755" y="8"/>
                    </a:lnTo>
                    <a:lnTo>
                      <a:pt x="1756" y="12"/>
                    </a:lnTo>
                    <a:lnTo>
                      <a:pt x="1836" y="493"/>
                    </a:lnTo>
                    <a:lnTo>
                      <a:pt x="1837" y="495"/>
                    </a:lnTo>
                    <a:lnTo>
                      <a:pt x="1836" y="498"/>
                    </a:lnTo>
                    <a:lnTo>
                      <a:pt x="1835" y="500"/>
                    </a:lnTo>
                    <a:lnTo>
                      <a:pt x="1834" y="502"/>
                    </a:lnTo>
                    <a:lnTo>
                      <a:pt x="1827" y="511"/>
                    </a:lnTo>
                    <a:lnTo>
                      <a:pt x="1810" y="534"/>
                    </a:lnTo>
                    <a:lnTo>
                      <a:pt x="1783" y="568"/>
                    </a:lnTo>
                    <a:lnTo>
                      <a:pt x="1750" y="612"/>
                    </a:lnTo>
                    <a:lnTo>
                      <a:pt x="1710" y="665"/>
                    </a:lnTo>
                    <a:lnTo>
                      <a:pt x="1664" y="726"/>
                    </a:lnTo>
                    <a:lnTo>
                      <a:pt x="1617" y="791"/>
                    </a:lnTo>
                    <a:lnTo>
                      <a:pt x="1567" y="859"/>
                    </a:lnTo>
                    <a:lnTo>
                      <a:pt x="1518" y="929"/>
                    </a:lnTo>
                    <a:lnTo>
                      <a:pt x="1469" y="999"/>
                    </a:lnTo>
                    <a:lnTo>
                      <a:pt x="1422" y="1067"/>
                    </a:lnTo>
                    <a:lnTo>
                      <a:pt x="1381" y="1132"/>
                    </a:lnTo>
                    <a:lnTo>
                      <a:pt x="1362" y="1162"/>
                    </a:lnTo>
                    <a:lnTo>
                      <a:pt x="1345" y="1191"/>
                    </a:lnTo>
                    <a:lnTo>
                      <a:pt x="1330" y="1218"/>
                    </a:lnTo>
                    <a:lnTo>
                      <a:pt x="1316" y="1244"/>
                    </a:lnTo>
                    <a:lnTo>
                      <a:pt x="1305" y="1267"/>
                    </a:lnTo>
                    <a:lnTo>
                      <a:pt x="1296" y="1287"/>
                    </a:lnTo>
                    <a:lnTo>
                      <a:pt x="1290" y="1305"/>
                    </a:lnTo>
                    <a:lnTo>
                      <a:pt x="1285" y="1321"/>
                    </a:lnTo>
                    <a:lnTo>
                      <a:pt x="1283" y="1335"/>
                    </a:lnTo>
                    <a:lnTo>
                      <a:pt x="1282" y="1351"/>
                    </a:lnTo>
                    <a:lnTo>
                      <a:pt x="1281" y="1366"/>
                    </a:lnTo>
                    <a:lnTo>
                      <a:pt x="1280" y="1383"/>
                    </a:lnTo>
                    <a:lnTo>
                      <a:pt x="1280" y="1419"/>
                    </a:lnTo>
                    <a:lnTo>
                      <a:pt x="1282" y="1455"/>
                    </a:lnTo>
                    <a:lnTo>
                      <a:pt x="1284" y="1494"/>
                    </a:lnTo>
                    <a:lnTo>
                      <a:pt x="1289" y="1532"/>
                    </a:lnTo>
                    <a:lnTo>
                      <a:pt x="1293" y="1571"/>
                    </a:lnTo>
                    <a:lnTo>
                      <a:pt x="1298" y="1609"/>
                    </a:lnTo>
                    <a:lnTo>
                      <a:pt x="1310" y="1677"/>
                    </a:lnTo>
                    <a:lnTo>
                      <a:pt x="1320" y="1734"/>
                    </a:lnTo>
                    <a:lnTo>
                      <a:pt x="1329" y="1772"/>
                    </a:lnTo>
                    <a:lnTo>
                      <a:pt x="1332" y="1787"/>
                    </a:lnTo>
                    <a:lnTo>
                      <a:pt x="1332" y="1790"/>
                    </a:lnTo>
                    <a:lnTo>
                      <a:pt x="1331" y="1794"/>
                    </a:lnTo>
                    <a:lnTo>
                      <a:pt x="1330" y="1798"/>
                    </a:lnTo>
                    <a:lnTo>
                      <a:pt x="1327" y="1800"/>
                    </a:lnTo>
                    <a:lnTo>
                      <a:pt x="1238" y="1886"/>
                    </a:lnTo>
                    <a:lnTo>
                      <a:pt x="1236" y="1888"/>
                    </a:lnTo>
                    <a:lnTo>
                      <a:pt x="1232" y="1889"/>
                    </a:lnTo>
                    <a:lnTo>
                      <a:pt x="1230" y="1891"/>
                    </a:lnTo>
                    <a:lnTo>
                      <a:pt x="1228" y="1891"/>
                    </a:lnTo>
                    <a:lnTo>
                      <a:pt x="1223" y="1889"/>
                    </a:lnTo>
                    <a:lnTo>
                      <a:pt x="1218" y="1886"/>
                    </a:lnTo>
                    <a:lnTo>
                      <a:pt x="1212" y="1880"/>
                    </a:lnTo>
                    <a:lnTo>
                      <a:pt x="1196" y="1866"/>
                    </a:lnTo>
                    <a:lnTo>
                      <a:pt x="1184" y="1856"/>
                    </a:lnTo>
                    <a:lnTo>
                      <a:pt x="1169" y="1846"/>
                    </a:lnTo>
                    <a:lnTo>
                      <a:pt x="1151" y="1834"/>
                    </a:lnTo>
                    <a:lnTo>
                      <a:pt x="1133" y="1824"/>
                    </a:lnTo>
                    <a:lnTo>
                      <a:pt x="1111" y="1813"/>
                    </a:lnTo>
                    <a:lnTo>
                      <a:pt x="1088" y="1802"/>
                    </a:lnTo>
                    <a:lnTo>
                      <a:pt x="1063" y="1792"/>
                    </a:lnTo>
                    <a:lnTo>
                      <a:pt x="1035" y="1785"/>
                    </a:lnTo>
                    <a:lnTo>
                      <a:pt x="1021" y="1780"/>
                    </a:lnTo>
                    <a:lnTo>
                      <a:pt x="1006" y="1778"/>
                    </a:lnTo>
                    <a:lnTo>
                      <a:pt x="991" y="1775"/>
                    </a:lnTo>
                    <a:lnTo>
                      <a:pt x="974" y="1774"/>
                    </a:lnTo>
                    <a:lnTo>
                      <a:pt x="959" y="1772"/>
                    </a:lnTo>
                    <a:lnTo>
                      <a:pt x="942" y="1772"/>
                    </a:lnTo>
                    <a:lnTo>
                      <a:pt x="925" y="1772"/>
                    </a:lnTo>
                    <a:lnTo>
                      <a:pt x="907" y="1773"/>
                    </a:lnTo>
                    <a:lnTo>
                      <a:pt x="892" y="1775"/>
                    </a:lnTo>
                    <a:lnTo>
                      <a:pt x="876" y="1778"/>
                    </a:lnTo>
                    <a:lnTo>
                      <a:pt x="862" y="1785"/>
                    </a:lnTo>
                    <a:lnTo>
                      <a:pt x="848" y="1792"/>
                    </a:lnTo>
                    <a:lnTo>
                      <a:pt x="834" y="1802"/>
                    </a:lnTo>
                    <a:lnTo>
                      <a:pt x="821" y="1813"/>
                    </a:lnTo>
                    <a:lnTo>
                      <a:pt x="809" y="1826"/>
                    </a:lnTo>
                    <a:lnTo>
                      <a:pt x="797" y="1841"/>
                    </a:lnTo>
                    <a:lnTo>
                      <a:pt x="791" y="1852"/>
                    </a:lnTo>
                    <a:lnTo>
                      <a:pt x="783" y="1865"/>
                    </a:lnTo>
                    <a:lnTo>
                      <a:pt x="777" y="1878"/>
                    </a:lnTo>
                    <a:lnTo>
                      <a:pt x="770" y="1891"/>
                    </a:lnTo>
                    <a:lnTo>
                      <a:pt x="764" y="1905"/>
                    </a:lnTo>
                    <a:lnTo>
                      <a:pt x="758" y="1920"/>
                    </a:lnTo>
                    <a:lnTo>
                      <a:pt x="754" y="1936"/>
                    </a:lnTo>
                    <a:lnTo>
                      <a:pt x="749" y="1951"/>
                    </a:lnTo>
                    <a:lnTo>
                      <a:pt x="741" y="1985"/>
                    </a:lnTo>
                    <a:lnTo>
                      <a:pt x="735" y="2021"/>
                    </a:lnTo>
                    <a:lnTo>
                      <a:pt x="730" y="2059"/>
                    </a:lnTo>
                    <a:lnTo>
                      <a:pt x="727" y="2098"/>
                    </a:lnTo>
                    <a:lnTo>
                      <a:pt x="726" y="2139"/>
                    </a:lnTo>
                    <a:lnTo>
                      <a:pt x="726" y="2180"/>
                    </a:lnTo>
                    <a:lnTo>
                      <a:pt x="728" y="2223"/>
                    </a:lnTo>
                    <a:lnTo>
                      <a:pt x="732" y="2265"/>
                    </a:lnTo>
                    <a:lnTo>
                      <a:pt x="738" y="2309"/>
                    </a:lnTo>
                    <a:lnTo>
                      <a:pt x="745" y="2353"/>
                    </a:lnTo>
                    <a:lnTo>
                      <a:pt x="755" y="2397"/>
                    </a:lnTo>
                    <a:lnTo>
                      <a:pt x="766" y="2440"/>
                    </a:lnTo>
                    <a:lnTo>
                      <a:pt x="775" y="2466"/>
                    </a:lnTo>
                    <a:lnTo>
                      <a:pt x="784" y="2493"/>
                    </a:lnTo>
                    <a:lnTo>
                      <a:pt x="795" y="2520"/>
                    </a:lnTo>
                    <a:lnTo>
                      <a:pt x="808" y="2547"/>
                    </a:lnTo>
                    <a:lnTo>
                      <a:pt x="823" y="2574"/>
                    </a:lnTo>
                    <a:lnTo>
                      <a:pt x="838" y="2601"/>
                    </a:lnTo>
                    <a:lnTo>
                      <a:pt x="854" y="2628"/>
                    </a:lnTo>
                    <a:lnTo>
                      <a:pt x="873" y="2655"/>
                    </a:lnTo>
                    <a:lnTo>
                      <a:pt x="911" y="2709"/>
                    </a:lnTo>
                    <a:lnTo>
                      <a:pt x="951" y="2763"/>
                    </a:lnTo>
                    <a:lnTo>
                      <a:pt x="992" y="2817"/>
                    </a:lnTo>
                    <a:lnTo>
                      <a:pt x="1034" y="2871"/>
                    </a:lnTo>
                    <a:lnTo>
                      <a:pt x="1081" y="2930"/>
                    </a:lnTo>
                    <a:lnTo>
                      <a:pt x="1127" y="2989"/>
                    </a:lnTo>
                    <a:lnTo>
                      <a:pt x="1147" y="3019"/>
                    </a:lnTo>
                    <a:lnTo>
                      <a:pt x="1169" y="3047"/>
                    </a:lnTo>
                    <a:lnTo>
                      <a:pt x="1188" y="3076"/>
                    </a:lnTo>
                    <a:lnTo>
                      <a:pt x="1207" y="3104"/>
                    </a:lnTo>
                    <a:lnTo>
                      <a:pt x="1224" y="3132"/>
                    </a:lnTo>
                    <a:lnTo>
                      <a:pt x="1239" y="3160"/>
                    </a:lnTo>
                    <a:lnTo>
                      <a:pt x="1254" y="3188"/>
                    </a:lnTo>
                    <a:lnTo>
                      <a:pt x="1266" y="3215"/>
                    </a:lnTo>
                    <a:lnTo>
                      <a:pt x="1277" y="3243"/>
                    </a:lnTo>
                    <a:lnTo>
                      <a:pt x="1285" y="3270"/>
                    </a:lnTo>
                    <a:lnTo>
                      <a:pt x="1292" y="3297"/>
                    </a:lnTo>
                    <a:lnTo>
                      <a:pt x="1297" y="3323"/>
                    </a:lnTo>
                    <a:lnTo>
                      <a:pt x="1302" y="3370"/>
                    </a:lnTo>
                    <a:lnTo>
                      <a:pt x="1304" y="3417"/>
                    </a:lnTo>
                    <a:lnTo>
                      <a:pt x="1305" y="3460"/>
                    </a:lnTo>
                    <a:lnTo>
                      <a:pt x="1304" y="3502"/>
                    </a:lnTo>
                    <a:lnTo>
                      <a:pt x="1302" y="3542"/>
                    </a:lnTo>
                    <a:lnTo>
                      <a:pt x="1298" y="3580"/>
                    </a:lnTo>
                    <a:lnTo>
                      <a:pt x="1294" y="3614"/>
                    </a:lnTo>
                    <a:lnTo>
                      <a:pt x="1290" y="3647"/>
                    </a:lnTo>
                    <a:lnTo>
                      <a:pt x="1284" y="3676"/>
                    </a:lnTo>
                    <a:lnTo>
                      <a:pt x="1279" y="3703"/>
                    </a:lnTo>
                    <a:lnTo>
                      <a:pt x="1273" y="3726"/>
                    </a:lnTo>
                    <a:lnTo>
                      <a:pt x="1269" y="3745"/>
                    </a:lnTo>
                    <a:lnTo>
                      <a:pt x="1261" y="3773"/>
                    </a:lnTo>
                    <a:lnTo>
                      <a:pt x="1257" y="3784"/>
                    </a:lnTo>
                    <a:lnTo>
                      <a:pt x="1256" y="3787"/>
                    </a:lnTo>
                    <a:lnTo>
                      <a:pt x="1254" y="3789"/>
                    </a:lnTo>
                    <a:lnTo>
                      <a:pt x="1252" y="3791"/>
                    </a:lnTo>
                    <a:lnTo>
                      <a:pt x="1250" y="3793"/>
                    </a:lnTo>
                    <a:lnTo>
                      <a:pt x="1246" y="3794"/>
                    </a:lnTo>
                    <a:lnTo>
                      <a:pt x="1244" y="3794"/>
                    </a:lnTo>
                    <a:close/>
                    <a:moveTo>
                      <a:pt x="1731" y="27"/>
                    </a:moveTo>
                    <a:lnTo>
                      <a:pt x="1731" y="27"/>
                    </a:lnTo>
                    <a:lnTo>
                      <a:pt x="1709" y="28"/>
                    </a:lnTo>
                    <a:lnTo>
                      <a:pt x="1678" y="29"/>
                    </a:lnTo>
                    <a:lnTo>
                      <a:pt x="1638" y="33"/>
                    </a:lnTo>
                    <a:lnTo>
                      <a:pt x="1592" y="39"/>
                    </a:lnTo>
                    <a:lnTo>
                      <a:pt x="1566" y="42"/>
                    </a:lnTo>
                    <a:lnTo>
                      <a:pt x="1538" y="48"/>
                    </a:lnTo>
                    <a:lnTo>
                      <a:pt x="1508" y="53"/>
                    </a:lnTo>
                    <a:lnTo>
                      <a:pt x="1476" y="60"/>
                    </a:lnTo>
                    <a:lnTo>
                      <a:pt x="1444" y="68"/>
                    </a:lnTo>
                    <a:lnTo>
                      <a:pt x="1410" y="77"/>
                    </a:lnTo>
                    <a:lnTo>
                      <a:pt x="1374" y="88"/>
                    </a:lnTo>
                    <a:lnTo>
                      <a:pt x="1337" y="99"/>
                    </a:lnTo>
                    <a:lnTo>
                      <a:pt x="1299" y="112"/>
                    </a:lnTo>
                    <a:lnTo>
                      <a:pt x="1259" y="127"/>
                    </a:lnTo>
                    <a:lnTo>
                      <a:pt x="1219" y="143"/>
                    </a:lnTo>
                    <a:lnTo>
                      <a:pt x="1177" y="160"/>
                    </a:lnTo>
                    <a:lnTo>
                      <a:pt x="1135" y="180"/>
                    </a:lnTo>
                    <a:lnTo>
                      <a:pt x="1091" y="200"/>
                    </a:lnTo>
                    <a:lnTo>
                      <a:pt x="1047" y="224"/>
                    </a:lnTo>
                    <a:lnTo>
                      <a:pt x="1001" y="249"/>
                    </a:lnTo>
                    <a:lnTo>
                      <a:pt x="956" y="276"/>
                    </a:lnTo>
                    <a:lnTo>
                      <a:pt x="910" y="304"/>
                    </a:lnTo>
                    <a:lnTo>
                      <a:pt x="862" y="335"/>
                    </a:lnTo>
                    <a:lnTo>
                      <a:pt x="815" y="368"/>
                    </a:lnTo>
                    <a:lnTo>
                      <a:pt x="766" y="404"/>
                    </a:lnTo>
                    <a:lnTo>
                      <a:pt x="717" y="443"/>
                    </a:lnTo>
                    <a:lnTo>
                      <a:pt x="669" y="483"/>
                    </a:lnTo>
                    <a:lnTo>
                      <a:pt x="619" y="526"/>
                    </a:lnTo>
                    <a:lnTo>
                      <a:pt x="592" y="552"/>
                    </a:lnTo>
                    <a:lnTo>
                      <a:pt x="565" y="578"/>
                    </a:lnTo>
                    <a:lnTo>
                      <a:pt x="539" y="604"/>
                    </a:lnTo>
                    <a:lnTo>
                      <a:pt x="514" y="632"/>
                    </a:lnTo>
                    <a:lnTo>
                      <a:pt x="490" y="660"/>
                    </a:lnTo>
                    <a:lnTo>
                      <a:pt x="466" y="688"/>
                    </a:lnTo>
                    <a:lnTo>
                      <a:pt x="443" y="717"/>
                    </a:lnTo>
                    <a:lnTo>
                      <a:pt x="420" y="747"/>
                    </a:lnTo>
                    <a:lnTo>
                      <a:pt x="399" y="778"/>
                    </a:lnTo>
                    <a:lnTo>
                      <a:pt x="377" y="809"/>
                    </a:lnTo>
                    <a:lnTo>
                      <a:pt x="358" y="840"/>
                    </a:lnTo>
                    <a:lnTo>
                      <a:pt x="337" y="873"/>
                    </a:lnTo>
                    <a:lnTo>
                      <a:pt x="319" y="905"/>
                    </a:lnTo>
                    <a:lnTo>
                      <a:pt x="301" y="938"/>
                    </a:lnTo>
                    <a:lnTo>
                      <a:pt x="283" y="972"/>
                    </a:lnTo>
                    <a:lnTo>
                      <a:pt x="267" y="1006"/>
                    </a:lnTo>
                    <a:lnTo>
                      <a:pt x="251" y="1041"/>
                    </a:lnTo>
                    <a:lnTo>
                      <a:pt x="236" y="1077"/>
                    </a:lnTo>
                    <a:lnTo>
                      <a:pt x="222" y="1112"/>
                    </a:lnTo>
                    <a:lnTo>
                      <a:pt x="209" y="1148"/>
                    </a:lnTo>
                    <a:lnTo>
                      <a:pt x="196" y="1185"/>
                    </a:lnTo>
                    <a:lnTo>
                      <a:pt x="184" y="1221"/>
                    </a:lnTo>
                    <a:lnTo>
                      <a:pt x="172" y="1259"/>
                    </a:lnTo>
                    <a:lnTo>
                      <a:pt x="162" y="1297"/>
                    </a:lnTo>
                    <a:lnTo>
                      <a:pt x="153" y="1336"/>
                    </a:lnTo>
                    <a:lnTo>
                      <a:pt x="144" y="1373"/>
                    </a:lnTo>
                    <a:lnTo>
                      <a:pt x="136" y="1413"/>
                    </a:lnTo>
                    <a:lnTo>
                      <a:pt x="129" y="1452"/>
                    </a:lnTo>
                    <a:lnTo>
                      <a:pt x="122" y="1492"/>
                    </a:lnTo>
                    <a:lnTo>
                      <a:pt x="117" y="1532"/>
                    </a:lnTo>
                    <a:lnTo>
                      <a:pt x="113" y="1572"/>
                    </a:lnTo>
                    <a:lnTo>
                      <a:pt x="109" y="1613"/>
                    </a:lnTo>
                    <a:lnTo>
                      <a:pt x="106" y="1657"/>
                    </a:lnTo>
                    <a:lnTo>
                      <a:pt x="105" y="1698"/>
                    </a:lnTo>
                    <a:lnTo>
                      <a:pt x="106" y="1736"/>
                    </a:lnTo>
                    <a:lnTo>
                      <a:pt x="108" y="1772"/>
                    </a:lnTo>
                    <a:lnTo>
                      <a:pt x="112" y="1805"/>
                    </a:lnTo>
                    <a:lnTo>
                      <a:pt x="116" y="1835"/>
                    </a:lnTo>
                    <a:lnTo>
                      <a:pt x="120" y="1864"/>
                    </a:lnTo>
                    <a:lnTo>
                      <a:pt x="126" y="1888"/>
                    </a:lnTo>
                    <a:lnTo>
                      <a:pt x="131" y="1910"/>
                    </a:lnTo>
                    <a:lnTo>
                      <a:pt x="138" y="1929"/>
                    </a:lnTo>
                    <a:lnTo>
                      <a:pt x="142" y="1946"/>
                    </a:lnTo>
                    <a:lnTo>
                      <a:pt x="147" y="1959"/>
                    </a:lnTo>
                    <a:lnTo>
                      <a:pt x="155" y="1977"/>
                    </a:lnTo>
                    <a:lnTo>
                      <a:pt x="158" y="1983"/>
                    </a:lnTo>
                    <a:lnTo>
                      <a:pt x="159" y="1988"/>
                    </a:lnTo>
                    <a:lnTo>
                      <a:pt x="159" y="1992"/>
                    </a:lnTo>
                    <a:lnTo>
                      <a:pt x="158" y="1996"/>
                    </a:lnTo>
                    <a:lnTo>
                      <a:pt x="155" y="2001"/>
                    </a:lnTo>
                    <a:lnTo>
                      <a:pt x="145" y="2009"/>
                    </a:lnTo>
                    <a:lnTo>
                      <a:pt x="123" y="2031"/>
                    </a:lnTo>
                    <a:lnTo>
                      <a:pt x="112" y="2046"/>
                    </a:lnTo>
                    <a:lnTo>
                      <a:pt x="98" y="2065"/>
                    </a:lnTo>
                    <a:lnTo>
                      <a:pt x="84" y="2087"/>
                    </a:lnTo>
                    <a:lnTo>
                      <a:pt x="69" y="2112"/>
                    </a:lnTo>
                    <a:lnTo>
                      <a:pt x="63" y="2126"/>
                    </a:lnTo>
                    <a:lnTo>
                      <a:pt x="57" y="2140"/>
                    </a:lnTo>
                    <a:lnTo>
                      <a:pt x="51" y="2155"/>
                    </a:lnTo>
                    <a:lnTo>
                      <a:pt x="46" y="2170"/>
                    </a:lnTo>
                    <a:lnTo>
                      <a:pt x="40" y="2186"/>
                    </a:lnTo>
                    <a:lnTo>
                      <a:pt x="36" y="2204"/>
                    </a:lnTo>
                    <a:lnTo>
                      <a:pt x="33" y="2222"/>
                    </a:lnTo>
                    <a:lnTo>
                      <a:pt x="31" y="2240"/>
                    </a:lnTo>
                    <a:lnTo>
                      <a:pt x="28" y="2260"/>
                    </a:lnTo>
                    <a:lnTo>
                      <a:pt x="27" y="2280"/>
                    </a:lnTo>
                    <a:lnTo>
                      <a:pt x="27" y="2301"/>
                    </a:lnTo>
                    <a:lnTo>
                      <a:pt x="28" y="2322"/>
                    </a:lnTo>
                    <a:lnTo>
                      <a:pt x="31" y="2344"/>
                    </a:lnTo>
                    <a:lnTo>
                      <a:pt x="34" y="2367"/>
                    </a:lnTo>
                    <a:lnTo>
                      <a:pt x="39" y="2390"/>
                    </a:lnTo>
                    <a:lnTo>
                      <a:pt x="45" y="2414"/>
                    </a:lnTo>
                    <a:lnTo>
                      <a:pt x="60" y="2460"/>
                    </a:lnTo>
                    <a:lnTo>
                      <a:pt x="76" y="2510"/>
                    </a:lnTo>
                    <a:lnTo>
                      <a:pt x="96" y="2560"/>
                    </a:lnTo>
                    <a:lnTo>
                      <a:pt x="118" y="2611"/>
                    </a:lnTo>
                    <a:lnTo>
                      <a:pt x="142" y="2661"/>
                    </a:lnTo>
                    <a:lnTo>
                      <a:pt x="168" y="2711"/>
                    </a:lnTo>
                    <a:lnTo>
                      <a:pt x="195" y="2761"/>
                    </a:lnTo>
                    <a:lnTo>
                      <a:pt x="224" y="2808"/>
                    </a:lnTo>
                    <a:lnTo>
                      <a:pt x="258" y="2862"/>
                    </a:lnTo>
                    <a:lnTo>
                      <a:pt x="293" y="2915"/>
                    </a:lnTo>
                    <a:lnTo>
                      <a:pt x="330" y="2966"/>
                    </a:lnTo>
                    <a:lnTo>
                      <a:pt x="368" y="3014"/>
                    </a:lnTo>
                    <a:lnTo>
                      <a:pt x="405" y="3063"/>
                    </a:lnTo>
                    <a:lnTo>
                      <a:pt x="443" y="3108"/>
                    </a:lnTo>
                    <a:lnTo>
                      <a:pt x="482" y="3153"/>
                    </a:lnTo>
                    <a:lnTo>
                      <a:pt x="522" y="3197"/>
                    </a:lnTo>
                    <a:lnTo>
                      <a:pt x="561" y="3238"/>
                    </a:lnTo>
                    <a:lnTo>
                      <a:pt x="600" y="3278"/>
                    </a:lnTo>
                    <a:lnTo>
                      <a:pt x="640" y="3315"/>
                    </a:lnTo>
                    <a:lnTo>
                      <a:pt x="678" y="3352"/>
                    </a:lnTo>
                    <a:lnTo>
                      <a:pt x="717" y="3388"/>
                    </a:lnTo>
                    <a:lnTo>
                      <a:pt x="755" y="3421"/>
                    </a:lnTo>
                    <a:lnTo>
                      <a:pt x="793" y="3454"/>
                    </a:lnTo>
                    <a:lnTo>
                      <a:pt x="831" y="3484"/>
                    </a:lnTo>
                    <a:lnTo>
                      <a:pt x="866" y="3513"/>
                    </a:lnTo>
                    <a:lnTo>
                      <a:pt x="902" y="3540"/>
                    </a:lnTo>
                    <a:lnTo>
                      <a:pt x="937" y="3566"/>
                    </a:lnTo>
                    <a:lnTo>
                      <a:pt x="970" y="3591"/>
                    </a:lnTo>
                    <a:lnTo>
                      <a:pt x="1033" y="3635"/>
                    </a:lnTo>
                    <a:lnTo>
                      <a:pt x="1089" y="3672"/>
                    </a:lnTo>
                    <a:lnTo>
                      <a:pt x="1138" y="3704"/>
                    </a:lnTo>
                    <a:lnTo>
                      <a:pt x="1181" y="3729"/>
                    </a:lnTo>
                    <a:lnTo>
                      <a:pt x="1213" y="3747"/>
                    </a:lnTo>
                    <a:lnTo>
                      <a:pt x="1237" y="3760"/>
                    </a:lnTo>
                    <a:lnTo>
                      <a:pt x="1243" y="3735"/>
                    </a:lnTo>
                    <a:lnTo>
                      <a:pt x="1252" y="3701"/>
                    </a:lnTo>
                    <a:lnTo>
                      <a:pt x="1256" y="3680"/>
                    </a:lnTo>
                    <a:lnTo>
                      <a:pt x="1261" y="3657"/>
                    </a:lnTo>
                    <a:lnTo>
                      <a:pt x="1265" y="3631"/>
                    </a:lnTo>
                    <a:lnTo>
                      <a:pt x="1268" y="3604"/>
                    </a:lnTo>
                    <a:lnTo>
                      <a:pt x="1271" y="3574"/>
                    </a:lnTo>
                    <a:lnTo>
                      <a:pt x="1275" y="3543"/>
                    </a:lnTo>
                    <a:lnTo>
                      <a:pt x="1277" y="3511"/>
                    </a:lnTo>
                    <a:lnTo>
                      <a:pt x="1278" y="3476"/>
                    </a:lnTo>
                    <a:lnTo>
                      <a:pt x="1278" y="3441"/>
                    </a:lnTo>
                    <a:lnTo>
                      <a:pt x="1277" y="3404"/>
                    </a:lnTo>
                    <a:lnTo>
                      <a:pt x="1273" y="3365"/>
                    </a:lnTo>
                    <a:lnTo>
                      <a:pt x="1270" y="3326"/>
                    </a:lnTo>
                    <a:lnTo>
                      <a:pt x="1266" y="3301"/>
                    </a:lnTo>
                    <a:lnTo>
                      <a:pt x="1259" y="3275"/>
                    </a:lnTo>
                    <a:lnTo>
                      <a:pt x="1251" y="3250"/>
                    </a:lnTo>
                    <a:lnTo>
                      <a:pt x="1240" y="3224"/>
                    </a:lnTo>
                    <a:lnTo>
                      <a:pt x="1228" y="3197"/>
                    </a:lnTo>
                    <a:lnTo>
                      <a:pt x="1214" y="3170"/>
                    </a:lnTo>
                    <a:lnTo>
                      <a:pt x="1199" y="3143"/>
                    </a:lnTo>
                    <a:lnTo>
                      <a:pt x="1182" y="3116"/>
                    </a:lnTo>
                    <a:lnTo>
                      <a:pt x="1163" y="3088"/>
                    </a:lnTo>
                    <a:lnTo>
                      <a:pt x="1145" y="3061"/>
                    </a:lnTo>
                    <a:lnTo>
                      <a:pt x="1124" y="3032"/>
                    </a:lnTo>
                    <a:lnTo>
                      <a:pt x="1103" y="3003"/>
                    </a:lnTo>
                    <a:lnTo>
                      <a:pt x="1059" y="2946"/>
                    </a:lnTo>
                    <a:lnTo>
                      <a:pt x="1013" y="2888"/>
                    </a:lnTo>
                    <a:lnTo>
                      <a:pt x="970" y="2833"/>
                    </a:lnTo>
                    <a:lnTo>
                      <a:pt x="928" y="2778"/>
                    </a:lnTo>
                    <a:lnTo>
                      <a:pt x="887" y="2723"/>
                    </a:lnTo>
                    <a:lnTo>
                      <a:pt x="849" y="2668"/>
                    </a:lnTo>
                    <a:lnTo>
                      <a:pt x="831" y="2640"/>
                    </a:lnTo>
                    <a:lnTo>
                      <a:pt x="813" y="2613"/>
                    </a:lnTo>
                    <a:lnTo>
                      <a:pt x="798" y="2585"/>
                    </a:lnTo>
                    <a:lnTo>
                      <a:pt x="783" y="2557"/>
                    </a:lnTo>
                    <a:lnTo>
                      <a:pt x="770" y="2530"/>
                    </a:lnTo>
                    <a:lnTo>
                      <a:pt x="758" y="2501"/>
                    </a:lnTo>
                    <a:lnTo>
                      <a:pt x="749" y="2475"/>
                    </a:lnTo>
                    <a:lnTo>
                      <a:pt x="740" y="2446"/>
                    </a:lnTo>
                    <a:lnTo>
                      <a:pt x="728" y="2402"/>
                    </a:lnTo>
                    <a:lnTo>
                      <a:pt x="718" y="2357"/>
                    </a:lnTo>
                    <a:lnTo>
                      <a:pt x="711" y="2313"/>
                    </a:lnTo>
                    <a:lnTo>
                      <a:pt x="705" y="2267"/>
                    </a:lnTo>
                    <a:lnTo>
                      <a:pt x="701" y="2223"/>
                    </a:lnTo>
                    <a:lnTo>
                      <a:pt x="699" y="2179"/>
                    </a:lnTo>
                    <a:lnTo>
                      <a:pt x="699" y="2136"/>
                    </a:lnTo>
                    <a:lnTo>
                      <a:pt x="700" y="2093"/>
                    </a:lnTo>
                    <a:lnTo>
                      <a:pt x="703" y="2052"/>
                    </a:lnTo>
                    <a:lnTo>
                      <a:pt x="709" y="2014"/>
                    </a:lnTo>
                    <a:lnTo>
                      <a:pt x="715" y="1976"/>
                    </a:lnTo>
                    <a:lnTo>
                      <a:pt x="724" y="1941"/>
                    </a:lnTo>
                    <a:lnTo>
                      <a:pt x="729" y="1924"/>
                    </a:lnTo>
                    <a:lnTo>
                      <a:pt x="735" y="1908"/>
                    </a:lnTo>
                    <a:lnTo>
                      <a:pt x="740" y="1893"/>
                    </a:lnTo>
                    <a:lnTo>
                      <a:pt x="747" y="1878"/>
                    </a:lnTo>
                    <a:lnTo>
                      <a:pt x="753" y="1864"/>
                    </a:lnTo>
                    <a:lnTo>
                      <a:pt x="761" y="1849"/>
                    </a:lnTo>
                    <a:lnTo>
                      <a:pt x="768" y="1838"/>
                    </a:lnTo>
                    <a:lnTo>
                      <a:pt x="776" y="1825"/>
                    </a:lnTo>
                    <a:lnTo>
                      <a:pt x="789" y="1807"/>
                    </a:lnTo>
                    <a:lnTo>
                      <a:pt x="804" y="1792"/>
                    </a:lnTo>
                    <a:lnTo>
                      <a:pt x="810" y="1786"/>
                    </a:lnTo>
                    <a:lnTo>
                      <a:pt x="818" y="1779"/>
                    </a:lnTo>
                    <a:lnTo>
                      <a:pt x="826" y="1774"/>
                    </a:lnTo>
                    <a:lnTo>
                      <a:pt x="834" y="1769"/>
                    </a:lnTo>
                    <a:lnTo>
                      <a:pt x="843" y="1764"/>
                    </a:lnTo>
                    <a:lnTo>
                      <a:pt x="851" y="1760"/>
                    </a:lnTo>
                    <a:lnTo>
                      <a:pt x="860" y="1756"/>
                    </a:lnTo>
                    <a:lnTo>
                      <a:pt x="869" y="1752"/>
                    </a:lnTo>
                    <a:lnTo>
                      <a:pt x="877" y="1750"/>
                    </a:lnTo>
                    <a:lnTo>
                      <a:pt x="887" y="1748"/>
                    </a:lnTo>
                    <a:lnTo>
                      <a:pt x="897" y="1747"/>
                    </a:lnTo>
                    <a:lnTo>
                      <a:pt x="906" y="1746"/>
                    </a:lnTo>
                    <a:lnTo>
                      <a:pt x="921" y="1745"/>
                    </a:lnTo>
                    <a:lnTo>
                      <a:pt x="938" y="1745"/>
                    </a:lnTo>
                    <a:lnTo>
                      <a:pt x="953" y="1745"/>
                    </a:lnTo>
                    <a:lnTo>
                      <a:pt x="968" y="1746"/>
                    </a:lnTo>
                    <a:lnTo>
                      <a:pt x="996" y="1749"/>
                    </a:lnTo>
                    <a:lnTo>
                      <a:pt x="1024" y="1753"/>
                    </a:lnTo>
                    <a:lnTo>
                      <a:pt x="1050" y="1760"/>
                    </a:lnTo>
                    <a:lnTo>
                      <a:pt x="1074" y="1767"/>
                    </a:lnTo>
                    <a:lnTo>
                      <a:pt x="1097" y="1776"/>
                    </a:lnTo>
                    <a:lnTo>
                      <a:pt x="1118" y="1786"/>
                    </a:lnTo>
                    <a:lnTo>
                      <a:pt x="1138" y="1796"/>
                    </a:lnTo>
                    <a:lnTo>
                      <a:pt x="1157" y="1805"/>
                    </a:lnTo>
                    <a:lnTo>
                      <a:pt x="1173" y="1816"/>
                    </a:lnTo>
                    <a:lnTo>
                      <a:pt x="1187" y="1826"/>
                    </a:lnTo>
                    <a:lnTo>
                      <a:pt x="1212" y="1844"/>
                    </a:lnTo>
                    <a:lnTo>
                      <a:pt x="1228" y="1858"/>
                    </a:lnTo>
                    <a:lnTo>
                      <a:pt x="1304" y="1786"/>
                    </a:lnTo>
                    <a:lnTo>
                      <a:pt x="1297" y="1757"/>
                    </a:lnTo>
                    <a:lnTo>
                      <a:pt x="1289" y="1711"/>
                    </a:lnTo>
                    <a:lnTo>
                      <a:pt x="1278" y="1653"/>
                    </a:lnTo>
                    <a:lnTo>
                      <a:pt x="1268" y="1585"/>
                    </a:lnTo>
                    <a:lnTo>
                      <a:pt x="1264" y="1549"/>
                    </a:lnTo>
                    <a:lnTo>
                      <a:pt x="1259" y="1514"/>
                    </a:lnTo>
                    <a:lnTo>
                      <a:pt x="1256" y="1478"/>
                    </a:lnTo>
                    <a:lnTo>
                      <a:pt x="1254" y="1443"/>
                    </a:lnTo>
                    <a:lnTo>
                      <a:pt x="1253" y="1408"/>
                    </a:lnTo>
                    <a:lnTo>
                      <a:pt x="1253" y="1375"/>
                    </a:lnTo>
                    <a:lnTo>
                      <a:pt x="1255" y="1344"/>
                    </a:lnTo>
                    <a:lnTo>
                      <a:pt x="1258" y="1316"/>
                    </a:lnTo>
                    <a:lnTo>
                      <a:pt x="1263" y="1301"/>
                    </a:lnTo>
                    <a:lnTo>
                      <a:pt x="1268" y="1283"/>
                    </a:lnTo>
                    <a:lnTo>
                      <a:pt x="1277" y="1263"/>
                    </a:lnTo>
                    <a:lnTo>
                      <a:pt x="1288" y="1241"/>
                    </a:lnTo>
                    <a:lnTo>
                      <a:pt x="1300" y="1216"/>
                    </a:lnTo>
                    <a:lnTo>
                      <a:pt x="1314" y="1190"/>
                    </a:lnTo>
                    <a:lnTo>
                      <a:pt x="1331" y="1163"/>
                    </a:lnTo>
                    <a:lnTo>
                      <a:pt x="1348" y="1134"/>
                    </a:lnTo>
                    <a:lnTo>
                      <a:pt x="1387" y="1072"/>
                    </a:lnTo>
                    <a:lnTo>
                      <a:pt x="1431" y="1006"/>
                    </a:lnTo>
                    <a:lnTo>
                      <a:pt x="1476" y="939"/>
                    </a:lnTo>
                    <a:lnTo>
                      <a:pt x="1524" y="871"/>
                    </a:lnTo>
                    <a:lnTo>
                      <a:pt x="1573" y="806"/>
                    </a:lnTo>
                    <a:lnTo>
                      <a:pt x="1619" y="741"/>
                    </a:lnTo>
                    <a:lnTo>
                      <a:pt x="1664" y="681"/>
                    </a:lnTo>
                    <a:lnTo>
                      <a:pt x="1705" y="626"/>
                    </a:lnTo>
                    <a:lnTo>
                      <a:pt x="1741" y="578"/>
                    </a:lnTo>
                    <a:lnTo>
                      <a:pt x="1771" y="539"/>
                    </a:lnTo>
                    <a:lnTo>
                      <a:pt x="1795" y="509"/>
                    </a:lnTo>
                    <a:lnTo>
                      <a:pt x="1809" y="490"/>
                    </a:lnTo>
                    <a:lnTo>
                      <a:pt x="1731" y="27"/>
                    </a:lnTo>
                    <a:lnTo>
                      <a:pt x="1731" y="27"/>
                    </a:lnTo>
                    <a:lnTo>
                      <a:pt x="173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9"/>
              <p:cNvSpPr>
                <a:spLocks/>
              </p:cNvSpPr>
              <p:nvPr userDrawn="1"/>
            </p:nvSpPr>
            <p:spPr bwMode="auto">
              <a:xfrm>
                <a:off x="1429" y="1392"/>
                <a:ext cx="526" cy="1226"/>
              </a:xfrm>
              <a:custGeom>
                <a:avLst/>
                <a:gdLst>
                  <a:gd name="T0" fmla="*/ 985 w 1577"/>
                  <a:gd name="T1" fmla="*/ 3620 h 3679"/>
                  <a:gd name="T2" fmla="*/ 720 w 1577"/>
                  <a:gd name="T3" fmla="*/ 3412 h 3679"/>
                  <a:gd name="T4" fmla="*/ 543 w 1577"/>
                  <a:gd name="T5" fmla="*/ 3243 h 3679"/>
                  <a:gd name="T6" fmla="*/ 395 w 1577"/>
                  <a:gd name="T7" fmla="*/ 3078 h 3679"/>
                  <a:gd name="T8" fmla="*/ 253 w 1577"/>
                  <a:gd name="T9" fmla="*/ 2889 h 3679"/>
                  <a:gd name="T10" fmla="*/ 116 w 1577"/>
                  <a:gd name="T11" fmla="*/ 2657 h 3679"/>
                  <a:gd name="T12" fmla="*/ 18 w 1577"/>
                  <a:gd name="T13" fmla="*/ 2405 h 3679"/>
                  <a:gd name="T14" fmla="*/ 0 w 1577"/>
                  <a:gd name="T15" fmla="*/ 2297 h 3679"/>
                  <a:gd name="T16" fmla="*/ 6 w 1577"/>
                  <a:gd name="T17" fmla="*/ 2203 h 3679"/>
                  <a:gd name="T18" fmla="*/ 28 w 1577"/>
                  <a:gd name="T19" fmla="*/ 2124 h 3679"/>
                  <a:gd name="T20" fmla="*/ 86 w 1577"/>
                  <a:gd name="T21" fmla="*/ 2019 h 3679"/>
                  <a:gd name="T22" fmla="*/ 122 w 1577"/>
                  <a:gd name="T23" fmla="*/ 1953 h 3679"/>
                  <a:gd name="T24" fmla="*/ 93 w 1577"/>
                  <a:gd name="T25" fmla="*/ 1850 h 3679"/>
                  <a:gd name="T26" fmla="*/ 78 w 1577"/>
                  <a:gd name="T27" fmla="*/ 1707 h 3679"/>
                  <a:gd name="T28" fmla="*/ 89 w 1577"/>
                  <a:gd name="T29" fmla="*/ 1513 h 3679"/>
                  <a:gd name="T30" fmla="*/ 126 w 1577"/>
                  <a:gd name="T31" fmla="*/ 1313 h 3679"/>
                  <a:gd name="T32" fmla="*/ 182 w 1577"/>
                  <a:gd name="T33" fmla="*/ 1123 h 3679"/>
                  <a:gd name="T34" fmla="*/ 259 w 1577"/>
                  <a:gd name="T35" fmla="*/ 944 h 3679"/>
                  <a:gd name="T36" fmla="*/ 355 w 1577"/>
                  <a:gd name="T37" fmla="*/ 777 h 3679"/>
                  <a:gd name="T38" fmla="*/ 468 w 1577"/>
                  <a:gd name="T39" fmla="*/ 626 h 3679"/>
                  <a:gd name="T40" fmla="*/ 600 w 1577"/>
                  <a:gd name="T41" fmla="*/ 490 h 3679"/>
                  <a:gd name="T42" fmla="*/ 782 w 1577"/>
                  <a:gd name="T43" fmla="*/ 342 h 3679"/>
                  <a:gd name="T44" fmla="*/ 958 w 1577"/>
                  <a:gd name="T45" fmla="*/ 227 h 3679"/>
                  <a:gd name="T46" fmla="*/ 1124 w 1577"/>
                  <a:gd name="T47" fmla="*/ 139 h 3679"/>
                  <a:gd name="T48" fmla="*/ 1276 w 1577"/>
                  <a:gd name="T49" fmla="*/ 76 h 3679"/>
                  <a:gd name="T50" fmla="*/ 1523 w 1577"/>
                  <a:gd name="T51" fmla="*/ 8 h 3679"/>
                  <a:gd name="T52" fmla="*/ 1577 w 1577"/>
                  <a:gd name="T53" fmla="*/ 12 h 3679"/>
                  <a:gd name="T54" fmla="*/ 1529 w 1577"/>
                  <a:gd name="T55" fmla="*/ 34 h 3679"/>
                  <a:gd name="T56" fmla="*/ 1285 w 1577"/>
                  <a:gd name="T57" fmla="*/ 102 h 3679"/>
                  <a:gd name="T58" fmla="*/ 1135 w 1577"/>
                  <a:gd name="T59" fmla="*/ 164 h 3679"/>
                  <a:gd name="T60" fmla="*/ 972 w 1577"/>
                  <a:gd name="T61" fmla="*/ 251 h 3679"/>
                  <a:gd name="T62" fmla="*/ 798 w 1577"/>
                  <a:gd name="T63" fmla="*/ 364 h 3679"/>
                  <a:gd name="T64" fmla="*/ 619 w 1577"/>
                  <a:gd name="T65" fmla="*/ 511 h 3679"/>
                  <a:gd name="T66" fmla="*/ 489 w 1577"/>
                  <a:gd name="T67" fmla="*/ 644 h 3679"/>
                  <a:gd name="T68" fmla="*/ 377 w 1577"/>
                  <a:gd name="T69" fmla="*/ 793 h 3679"/>
                  <a:gd name="T70" fmla="*/ 283 w 1577"/>
                  <a:gd name="T71" fmla="*/ 956 h 3679"/>
                  <a:gd name="T72" fmla="*/ 207 w 1577"/>
                  <a:gd name="T73" fmla="*/ 1131 h 3679"/>
                  <a:gd name="T74" fmla="*/ 152 w 1577"/>
                  <a:gd name="T75" fmla="*/ 1319 h 3679"/>
                  <a:gd name="T76" fmla="*/ 116 w 1577"/>
                  <a:gd name="T77" fmla="*/ 1516 h 3679"/>
                  <a:gd name="T78" fmla="*/ 106 w 1577"/>
                  <a:gd name="T79" fmla="*/ 1721 h 3679"/>
                  <a:gd name="T80" fmla="*/ 125 w 1577"/>
                  <a:gd name="T81" fmla="*/ 1872 h 3679"/>
                  <a:gd name="T82" fmla="*/ 154 w 1577"/>
                  <a:gd name="T83" fmla="*/ 1961 h 3679"/>
                  <a:gd name="T84" fmla="*/ 154 w 1577"/>
                  <a:gd name="T85" fmla="*/ 1984 h 3679"/>
                  <a:gd name="T86" fmla="*/ 83 w 1577"/>
                  <a:gd name="T87" fmla="*/ 2071 h 3679"/>
                  <a:gd name="T88" fmla="*/ 45 w 1577"/>
                  <a:gd name="T89" fmla="*/ 2155 h 3679"/>
                  <a:gd name="T90" fmla="*/ 28 w 1577"/>
                  <a:gd name="T91" fmla="*/ 2243 h 3679"/>
                  <a:gd name="T92" fmla="*/ 33 w 1577"/>
                  <a:gd name="T93" fmla="*/ 2350 h 3679"/>
                  <a:gd name="T94" fmla="*/ 95 w 1577"/>
                  <a:gd name="T95" fmla="*/ 2543 h 3679"/>
                  <a:gd name="T96" fmla="*/ 222 w 1577"/>
                  <a:gd name="T97" fmla="*/ 2793 h 3679"/>
                  <a:gd name="T98" fmla="*/ 358 w 1577"/>
                  <a:gd name="T99" fmla="*/ 2988 h 3679"/>
                  <a:gd name="T100" fmla="*/ 503 w 1577"/>
                  <a:gd name="T101" fmla="*/ 3162 h 3679"/>
                  <a:gd name="T102" fmla="*/ 651 w 1577"/>
                  <a:gd name="T103" fmla="*/ 3312 h 3679"/>
                  <a:gd name="T104" fmla="*/ 903 w 1577"/>
                  <a:gd name="T105" fmla="*/ 3526 h 3679"/>
                  <a:gd name="T106" fmla="*/ 1088 w 1577"/>
                  <a:gd name="T107" fmla="*/ 3659 h 3679"/>
                  <a:gd name="T108" fmla="*/ 1084 w 1577"/>
                  <a:gd name="T109" fmla="*/ 3678 h 3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7" h="3679">
                    <a:moveTo>
                      <a:pt x="1078" y="3679"/>
                    </a:moveTo>
                    <a:lnTo>
                      <a:pt x="1073" y="3679"/>
                    </a:lnTo>
                    <a:lnTo>
                      <a:pt x="1070" y="3677"/>
                    </a:lnTo>
                    <a:lnTo>
                      <a:pt x="1029" y="3650"/>
                    </a:lnTo>
                    <a:lnTo>
                      <a:pt x="985" y="3620"/>
                    </a:lnTo>
                    <a:lnTo>
                      <a:pt x="937" y="3585"/>
                    </a:lnTo>
                    <a:lnTo>
                      <a:pt x="886" y="3547"/>
                    </a:lnTo>
                    <a:lnTo>
                      <a:pt x="832" y="3506"/>
                    </a:lnTo>
                    <a:lnTo>
                      <a:pt x="777" y="3461"/>
                    </a:lnTo>
                    <a:lnTo>
                      <a:pt x="720" y="3412"/>
                    </a:lnTo>
                    <a:lnTo>
                      <a:pt x="662" y="3360"/>
                    </a:lnTo>
                    <a:lnTo>
                      <a:pt x="633" y="3331"/>
                    </a:lnTo>
                    <a:lnTo>
                      <a:pt x="602" y="3303"/>
                    </a:lnTo>
                    <a:lnTo>
                      <a:pt x="572" y="3273"/>
                    </a:lnTo>
                    <a:lnTo>
                      <a:pt x="543" y="3243"/>
                    </a:lnTo>
                    <a:lnTo>
                      <a:pt x="513" y="3212"/>
                    </a:lnTo>
                    <a:lnTo>
                      <a:pt x="484" y="3179"/>
                    </a:lnTo>
                    <a:lnTo>
                      <a:pt x="453" y="3147"/>
                    </a:lnTo>
                    <a:lnTo>
                      <a:pt x="424" y="3112"/>
                    </a:lnTo>
                    <a:lnTo>
                      <a:pt x="395" y="3078"/>
                    </a:lnTo>
                    <a:lnTo>
                      <a:pt x="366" y="3041"/>
                    </a:lnTo>
                    <a:lnTo>
                      <a:pt x="337" y="3004"/>
                    </a:lnTo>
                    <a:lnTo>
                      <a:pt x="309" y="2967"/>
                    </a:lnTo>
                    <a:lnTo>
                      <a:pt x="281" y="2928"/>
                    </a:lnTo>
                    <a:lnTo>
                      <a:pt x="253" y="2889"/>
                    </a:lnTo>
                    <a:lnTo>
                      <a:pt x="226" y="2848"/>
                    </a:lnTo>
                    <a:lnTo>
                      <a:pt x="200" y="2807"/>
                    </a:lnTo>
                    <a:lnTo>
                      <a:pt x="170" y="2758"/>
                    </a:lnTo>
                    <a:lnTo>
                      <a:pt x="143" y="2708"/>
                    </a:lnTo>
                    <a:lnTo>
                      <a:pt x="116" y="2657"/>
                    </a:lnTo>
                    <a:lnTo>
                      <a:pt x="93" y="2605"/>
                    </a:lnTo>
                    <a:lnTo>
                      <a:pt x="70" y="2553"/>
                    </a:lnTo>
                    <a:lnTo>
                      <a:pt x="51" y="2502"/>
                    </a:lnTo>
                    <a:lnTo>
                      <a:pt x="32" y="2453"/>
                    </a:lnTo>
                    <a:lnTo>
                      <a:pt x="18" y="2405"/>
                    </a:lnTo>
                    <a:lnTo>
                      <a:pt x="13" y="2383"/>
                    </a:lnTo>
                    <a:lnTo>
                      <a:pt x="7" y="2361"/>
                    </a:lnTo>
                    <a:lnTo>
                      <a:pt x="4" y="2339"/>
                    </a:lnTo>
                    <a:lnTo>
                      <a:pt x="2" y="2318"/>
                    </a:lnTo>
                    <a:lnTo>
                      <a:pt x="0" y="2297"/>
                    </a:lnTo>
                    <a:lnTo>
                      <a:pt x="0" y="2277"/>
                    </a:lnTo>
                    <a:lnTo>
                      <a:pt x="0" y="2257"/>
                    </a:lnTo>
                    <a:lnTo>
                      <a:pt x="1" y="2239"/>
                    </a:lnTo>
                    <a:lnTo>
                      <a:pt x="3" y="2221"/>
                    </a:lnTo>
                    <a:lnTo>
                      <a:pt x="6" y="2203"/>
                    </a:lnTo>
                    <a:lnTo>
                      <a:pt x="10" y="2186"/>
                    </a:lnTo>
                    <a:lnTo>
                      <a:pt x="14" y="2169"/>
                    </a:lnTo>
                    <a:lnTo>
                      <a:pt x="18" y="2154"/>
                    </a:lnTo>
                    <a:lnTo>
                      <a:pt x="23" y="2138"/>
                    </a:lnTo>
                    <a:lnTo>
                      <a:pt x="28" y="2124"/>
                    </a:lnTo>
                    <a:lnTo>
                      <a:pt x="34" y="2110"/>
                    </a:lnTo>
                    <a:lnTo>
                      <a:pt x="46" y="2083"/>
                    </a:lnTo>
                    <a:lnTo>
                      <a:pt x="59" y="2059"/>
                    </a:lnTo>
                    <a:lnTo>
                      <a:pt x="73" y="2037"/>
                    </a:lnTo>
                    <a:lnTo>
                      <a:pt x="86" y="2019"/>
                    </a:lnTo>
                    <a:lnTo>
                      <a:pt x="99" y="2003"/>
                    </a:lnTo>
                    <a:lnTo>
                      <a:pt x="111" y="1990"/>
                    </a:lnTo>
                    <a:lnTo>
                      <a:pt x="121" y="1979"/>
                    </a:lnTo>
                    <a:lnTo>
                      <a:pt x="128" y="1970"/>
                    </a:lnTo>
                    <a:lnTo>
                      <a:pt x="122" y="1953"/>
                    </a:lnTo>
                    <a:lnTo>
                      <a:pt x="112" y="1927"/>
                    </a:lnTo>
                    <a:lnTo>
                      <a:pt x="107" y="1911"/>
                    </a:lnTo>
                    <a:lnTo>
                      <a:pt x="102" y="1894"/>
                    </a:lnTo>
                    <a:lnTo>
                      <a:pt x="97" y="1873"/>
                    </a:lnTo>
                    <a:lnTo>
                      <a:pt x="93" y="1850"/>
                    </a:lnTo>
                    <a:lnTo>
                      <a:pt x="88" y="1826"/>
                    </a:lnTo>
                    <a:lnTo>
                      <a:pt x="84" y="1799"/>
                    </a:lnTo>
                    <a:lnTo>
                      <a:pt x="82" y="1771"/>
                    </a:lnTo>
                    <a:lnTo>
                      <a:pt x="80" y="1739"/>
                    </a:lnTo>
                    <a:lnTo>
                      <a:pt x="78" y="1707"/>
                    </a:lnTo>
                    <a:lnTo>
                      <a:pt x="78" y="1671"/>
                    </a:lnTo>
                    <a:lnTo>
                      <a:pt x="79" y="1635"/>
                    </a:lnTo>
                    <a:lnTo>
                      <a:pt x="81" y="1595"/>
                    </a:lnTo>
                    <a:lnTo>
                      <a:pt x="85" y="1554"/>
                    </a:lnTo>
                    <a:lnTo>
                      <a:pt x="89" y="1513"/>
                    </a:lnTo>
                    <a:lnTo>
                      <a:pt x="95" y="1472"/>
                    </a:lnTo>
                    <a:lnTo>
                      <a:pt x="101" y="1432"/>
                    </a:lnTo>
                    <a:lnTo>
                      <a:pt x="109" y="1392"/>
                    </a:lnTo>
                    <a:lnTo>
                      <a:pt x="116" y="1352"/>
                    </a:lnTo>
                    <a:lnTo>
                      <a:pt x="126" y="1313"/>
                    </a:lnTo>
                    <a:lnTo>
                      <a:pt x="136" y="1274"/>
                    </a:lnTo>
                    <a:lnTo>
                      <a:pt x="146" y="1235"/>
                    </a:lnTo>
                    <a:lnTo>
                      <a:pt x="158" y="1197"/>
                    </a:lnTo>
                    <a:lnTo>
                      <a:pt x="169" y="1160"/>
                    </a:lnTo>
                    <a:lnTo>
                      <a:pt x="182" y="1123"/>
                    </a:lnTo>
                    <a:lnTo>
                      <a:pt x="196" y="1085"/>
                    </a:lnTo>
                    <a:lnTo>
                      <a:pt x="210" y="1049"/>
                    </a:lnTo>
                    <a:lnTo>
                      <a:pt x="226" y="1014"/>
                    </a:lnTo>
                    <a:lnTo>
                      <a:pt x="242" y="978"/>
                    </a:lnTo>
                    <a:lnTo>
                      <a:pt x="259" y="944"/>
                    </a:lnTo>
                    <a:lnTo>
                      <a:pt x="276" y="909"/>
                    </a:lnTo>
                    <a:lnTo>
                      <a:pt x="295" y="876"/>
                    </a:lnTo>
                    <a:lnTo>
                      <a:pt x="314" y="842"/>
                    </a:lnTo>
                    <a:lnTo>
                      <a:pt x="334" y="810"/>
                    </a:lnTo>
                    <a:lnTo>
                      <a:pt x="355" y="777"/>
                    </a:lnTo>
                    <a:lnTo>
                      <a:pt x="376" y="746"/>
                    </a:lnTo>
                    <a:lnTo>
                      <a:pt x="398" y="715"/>
                    </a:lnTo>
                    <a:lnTo>
                      <a:pt x="421" y="685"/>
                    </a:lnTo>
                    <a:lnTo>
                      <a:pt x="445" y="654"/>
                    </a:lnTo>
                    <a:lnTo>
                      <a:pt x="468" y="626"/>
                    </a:lnTo>
                    <a:lnTo>
                      <a:pt x="493" y="597"/>
                    </a:lnTo>
                    <a:lnTo>
                      <a:pt x="519" y="569"/>
                    </a:lnTo>
                    <a:lnTo>
                      <a:pt x="545" y="542"/>
                    </a:lnTo>
                    <a:lnTo>
                      <a:pt x="572" y="516"/>
                    </a:lnTo>
                    <a:lnTo>
                      <a:pt x="600" y="490"/>
                    </a:lnTo>
                    <a:lnTo>
                      <a:pt x="637" y="458"/>
                    </a:lnTo>
                    <a:lnTo>
                      <a:pt x="674" y="428"/>
                    </a:lnTo>
                    <a:lnTo>
                      <a:pt x="710" y="397"/>
                    </a:lnTo>
                    <a:lnTo>
                      <a:pt x="746" y="369"/>
                    </a:lnTo>
                    <a:lnTo>
                      <a:pt x="782" y="342"/>
                    </a:lnTo>
                    <a:lnTo>
                      <a:pt x="818" y="316"/>
                    </a:lnTo>
                    <a:lnTo>
                      <a:pt x="853" y="293"/>
                    </a:lnTo>
                    <a:lnTo>
                      <a:pt x="889" y="269"/>
                    </a:lnTo>
                    <a:lnTo>
                      <a:pt x="923" y="247"/>
                    </a:lnTo>
                    <a:lnTo>
                      <a:pt x="958" y="227"/>
                    </a:lnTo>
                    <a:lnTo>
                      <a:pt x="992" y="207"/>
                    </a:lnTo>
                    <a:lnTo>
                      <a:pt x="1026" y="189"/>
                    </a:lnTo>
                    <a:lnTo>
                      <a:pt x="1059" y="171"/>
                    </a:lnTo>
                    <a:lnTo>
                      <a:pt x="1092" y="155"/>
                    </a:lnTo>
                    <a:lnTo>
                      <a:pt x="1124" y="139"/>
                    </a:lnTo>
                    <a:lnTo>
                      <a:pt x="1156" y="125"/>
                    </a:lnTo>
                    <a:lnTo>
                      <a:pt x="1187" y="111"/>
                    </a:lnTo>
                    <a:lnTo>
                      <a:pt x="1218" y="98"/>
                    </a:lnTo>
                    <a:lnTo>
                      <a:pt x="1247" y="88"/>
                    </a:lnTo>
                    <a:lnTo>
                      <a:pt x="1276" y="76"/>
                    </a:lnTo>
                    <a:lnTo>
                      <a:pt x="1332" y="57"/>
                    </a:lnTo>
                    <a:lnTo>
                      <a:pt x="1385" y="40"/>
                    </a:lnTo>
                    <a:lnTo>
                      <a:pt x="1435" y="27"/>
                    </a:lnTo>
                    <a:lnTo>
                      <a:pt x="1481" y="16"/>
                    </a:lnTo>
                    <a:lnTo>
                      <a:pt x="1523" y="8"/>
                    </a:lnTo>
                    <a:lnTo>
                      <a:pt x="1561" y="0"/>
                    </a:lnTo>
                    <a:lnTo>
                      <a:pt x="1567" y="0"/>
                    </a:lnTo>
                    <a:lnTo>
                      <a:pt x="1572" y="2"/>
                    </a:lnTo>
                    <a:lnTo>
                      <a:pt x="1575" y="7"/>
                    </a:lnTo>
                    <a:lnTo>
                      <a:pt x="1577" y="12"/>
                    </a:lnTo>
                    <a:lnTo>
                      <a:pt x="1576" y="17"/>
                    </a:lnTo>
                    <a:lnTo>
                      <a:pt x="1574" y="22"/>
                    </a:lnTo>
                    <a:lnTo>
                      <a:pt x="1571" y="25"/>
                    </a:lnTo>
                    <a:lnTo>
                      <a:pt x="1566" y="27"/>
                    </a:lnTo>
                    <a:lnTo>
                      <a:pt x="1529" y="34"/>
                    </a:lnTo>
                    <a:lnTo>
                      <a:pt x="1487" y="42"/>
                    </a:lnTo>
                    <a:lnTo>
                      <a:pt x="1441" y="53"/>
                    </a:lnTo>
                    <a:lnTo>
                      <a:pt x="1393" y="67"/>
                    </a:lnTo>
                    <a:lnTo>
                      <a:pt x="1341" y="83"/>
                    </a:lnTo>
                    <a:lnTo>
                      <a:pt x="1285" y="102"/>
                    </a:lnTo>
                    <a:lnTo>
                      <a:pt x="1257" y="112"/>
                    </a:lnTo>
                    <a:lnTo>
                      <a:pt x="1227" y="124"/>
                    </a:lnTo>
                    <a:lnTo>
                      <a:pt x="1197" y="136"/>
                    </a:lnTo>
                    <a:lnTo>
                      <a:pt x="1166" y="150"/>
                    </a:lnTo>
                    <a:lnTo>
                      <a:pt x="1135" y="164"/>
                    </a:lnTo>
                    <a:lnTo>
                      <a:pt x="1103" y="179"/>
                    </a:lnTo>
                    <a:lnTo>
                      <a:pt x="1071" y="196"/>
                    </a:lnTo>
                    <a:lnTo>
                      <a:pt x="1039" y="213"/>
                    </a:lnTo>
                    <a:lnTo>
                      <a:pt x="1005" y="231"/>
                    </a:lnTo>
                    <a:lnTo>
                      <a:pt x="972" y="251"/>
                    </a:lnTo>
                    <a:lnTo>
                      <a:pt x="937" y="271"/>
                    </a:lnTo>
                    <a:lnTo>
                      <a:pt x="903" y="293"/>
                    </a:lnTo>
                    <a:lnTo>
                      <a:pt x="868" y="315"/>
                    </a:lnTo>
                    <a:lnTo>
                      <a:pt x="833" y="339"/>
                    </a:lnTo>
                    <a:lnTo>
                      <a:pt x="798" y="364"/>
                    </a:lnTo>
                    <a:lnTo>
                      <a:pt x="762" y="391"/>
                    </a:lnTo>
                    <a:lnTo>
                      <a:pt x="727" y="419"/>
                    </a:lnTo>
                    <a:lnTo>
                      <a:pt x="691" y="448"/>
                    </a:lnTo>
                    <a:lnTo>
                      <a:pt x="654" y="478"/>
                    </a:lnTo>
                    <a:lnTo>
                      <a:pt x="619" y="511"/>
                    </a:lnTo>
                    <a:lnTo>
                      <a:pt x="592" y="536"/>
                    </a:lnTo>
                    <a:lnTo>
                      <a:pt x="565" y="562"/>
                    </a:lnTo>
                    <a:lnTo>
                      <a:pt x="539" y="589"/>
                    </a:lnTo>
                    <a:lnTo>
                      <a:pt x="514" y="616"/>
                    </a:lnTo>
                    <a:lnTo>
                      <a:pt x="489" y="644"/>
                    </a:lnTo>
                    <a:lnTo>
                      <a:pt x="465" y="672"/>
                    </a:lnTo>
                    <a:lnTo>
                      <a:pt x="443" y="701"/>
                    </a:lnTo>
                    <a:lnTo>
                      <a:pt x="420" y="731"/>
                    </a:lnTo>
                    <a:lnTo>
                      <a:pt x="398" y="761"/>
                    </a:lnTo>
                    <a:lnTo>
                      <a:pt x="377" y="793"/>
                    </a:lnTo>
                    <a:lnTo>
                      <a:pt x="356" y="824"/>
                    </a:lnTo>
                    <a:lnTo>
                      <a:pt x="337" y="856"/>
                    </a:lnTo>
                    <a:lnTo>
                      <a:pt x="318" y="889"/>
                    </a:lnTo>
                    <a:lnTo>
                      <a:pt x="300" y="922"/>
                    </a:lnTo>
                    <a:lnTo>
                      <a:pt x="283" y="956"/>
                    </a:lnTo>
                    <a:lnTo>
                      <a:pt x="267" y="990"/>
                    </a:lnTo>
                    <a:lnTo>
                      <a:pt x="250" y="1025"/>
                    </a:lnTo>
                    <a:lnTo>
                      <a:pt x="235" y="1060"/>
                    </a:lnTo>
                    <a:lnTo>
                      <a:pt x="221" y="1096"/>
                    </a:lnTo>
                    <a:lnTo>
                      <a:pt x="207" y="1131"/>
                    </a:lnTo>
                    <a:lnTo>
                      <a:pt x="195" y="1168"/>
                    </a:lnTo>
                    <a:lnTo>
                      <a:pt x="183" y="1206"/>
                    </a:lnTo>
                    <a:lnTo>
                      <a:pt x="172" y="1243"/>
                    </a:lnTo>
                    <a:lnTo>
                      <a:pt x="162" y="1282"/>
                    </a:lnTo>
                    <a:lnTo>
                      <a:pt x="152" y="1319"/>
                    </a:lnTo>
                    <a:lnTo>
                      <a:pt x="143" y="1358"/>
                    </a:lnTo>
                    <a:lnTo>
                      <a:pt x="135" y="1397"/>
                    </a:lnTo>
                    <a:lnTo>
                      <a:pt x="128" y="1436"/>
                    </a:lnTo>
                    <a:lnTo>
                      <a:pt x="122" y="1476"/>
                    </a:lnTo>
                    <a:lnTo>
                      <a:pt x="116" y="1516"/>
                    </a:lnTo>
                    <a:lnTo>
                      <a:pt x="112" y="1557"/>
                    </a:lnTo>
                    <a:lnTo>
                      <a:pt x="108" y="1597"/>
                    </a:lnTo>
                    <a:lnTo>
                      <a:pt x="106" y="1641"/>
                    </a:lnTo>
                    <a:lnTo>
                      <a:pt x="105" y="1682"/>
                    </a:lnTo>
                    <a:lnTo>
                      <a:pt x="106" y="1721"/>
                    </a:lnTo>
                    <a:lnTo>
                      <a:pt x="108" y="1757"/>
                    </a:lnTo>
                    <a:lnTo>
                      <a:pt x="111" y="1790"/>
                    </a:lnTo>
                    <a:lnTo>
                      <a:pt x="115" y="1820"/>
                    </a:lnTo>
                    <a:lnTo>
                      <a:pt x="120" y="1847"/>
                    </a:lnTo>
                    <a:lnTo>
                      <a:pt x="125" y="1872"/>
                    </a:lnTo>
                    <a:lnTo>
                      <a:pt x="131" y="1894"/>
                    </a:lnTo>
                    <a:lnTo>
                      <a:pt x="136" y="1913"/>
                    </a:lnTo>
                    <a:lnTo>
                      <a:pt x="141" y="1929"/>
                    </a:lnTo>
                    <a:lnTo>
                      <a:pt x="147" y="1943"/>
                    </a:lnTo>
                    <a:lnTo>
                      <a:pt x="154" y="1961"/>
                    </a:lnTo>
                    <a:lnTo>
                      <a:pt x="158" y="1967"/>
                    </a:lnTo>
                    <a:lnTo>
                      <a:pt x="159" y="1971"/>
                    </a:lnTo>
                    <a:lnTo>
                      <a:pt x="159" y="1977"/>
                    </a:lnTo>
                    <a:lnTo>
                      <a:pt x="156" y="1981"/>
                    </a:lnTo>
                    <a:lnTo>
                      <a:pt x="154" y="1984"/>
                    </a:lnTo>
                    <a:lnTo>
                      <a:pt x="143" y="1993"/>
                    </a:lnTo>
                    <a:lnTo>
                      <a:pt x="123" y="2015"/>
                    </a:lnTo>
                    <a:lnTo>
                      <a:pt x="110" y="2031"/>
                    </a:lnTo>
                    <a:lnTo>
                      <a:pt x="97" y="2049"/>
                    </a:lnTo>
                    <a:lnTo>
                      <a:pt x="83" y="2071"/>
                    </a:lnTo>
                    <a:lnTo>
                      <a:pt x="69" y="2095"/>
                    </a:lnTo>
                    <a:lnTo>
                      <a:pt x="62" y="2110"/>
                    </a:lnTo>
                    <a:lnTo>
                      <a:pt x="56" y="2124"/>
                    </a:lnTo>
                    <a:lnTo>
                      <a:pt x="51" y="2139"/>
                    </a:lnTo>
                    <a:lnTo>
                      <a:pt x="45" y="2155"/>
                    </a:lnTo>
                    <a:lnTo>
                      <a:pt x="40" y="2171"/>
                    </a:lnTo>
                    <a:lnTo>
                      <a:pt x="35" y="2188"/>
                    </a:lnTo>
                    <a:lnTo>
                      <a:pt x="32" y="2206"/>
                    </a:lnTo>
                    <a:lnTo>
                      <a:pt x="29" y="2225"/>
                    </a:lnTo>
                    <a:lnTo>
                      <a:pt x="28" y="2243"/>
                    </a:lnTo>
                    <a:lnTo>
                      <a:pt x="27" y="2264"/>
                    </a:lnTo>
                    <a:lnTo>
                      <a:pt x="27" y="2284"/>
                    </a:lnTo>
                    <a:lnTo>
                      <a:pt x="28" y="2306"/>
                    </a:lnTo>
                    <a:lnTo>
                      <a:pt x="30" y="2328"/>
                    </a:lnTo>
                    <a:lnTo>
                      <a:pt x="33" y="2350"/>
                    </a:lnTo>
                    <a:lnTo>
                      <a:pt x="38" y="2374"/>
                    </a:lnTo>
                    <a:lnTo>
                      <a:pt x="44" y="2398"/>
                    </a:lnTo>
                    <a:lnTo>
                      <a:pt x="58" y="2445"/>
                    </a:lnTo>
                    <a:lnTo>
                      <a:pt x="75" y="2494"/>
                    </a:lnTo>
                    <a:lnTo>
                      <a:pt x="95" y="2543"/>
                    </a:lnTo>
                    <a:lnTo>
                      <a:pt x="118" y="2594"/>
                    </a:lnTo>
                    <a:lnTo>
                      <a:pt x="141" y="2645"/>
                    </a:lnTo>
                    <a:lnTo>
                      <a:pt x="167" y="2696"/>
                    </a:lnTo>
                    <a:lnTo>
                      <a:pt x="194" y="2744"/>
                    </a:lnTo>
                    <a:lnTo>
                      <a:pt x="222" y="2793"/>
                    </a:lnTo>
                    <a:lnTo>
                      <a:pt x="248" y="2834"/>
                    </a:lnTo>
                    <a:lnTo>
                      <a:pt x="275" y="2874"/>
                    </a:lnTo>
                    <a:lnTo>
                      <a:pt x="302" y="2913"/>
                    </a:lnTo>
                    <a:lnTo>
                      <a:pt x="330" y="2950"/>
                    </a:lnTo>
                    <a:lnTo>
                      <a:pt x="358" y="2988"/>
                    </a:lnTo>
                    <a:lnTo>
                      <a:pt x="386" y="3025"/>
                    </a:lnTo>
                    <a:lnTo>
                      <a:pt x="416" y="3061"/>
                    </a:lnTo>
                    <a:lnTo>
                      <a:pt x="445" y="3095"/>
                    </a:lnTo>
                    <a:lnTo>
                      <a:pt x="474" y="3129"/>
                    </a:lnTo>
                    <a:lnTo>
                      <a:pt x="503" y="3162"/>
                    </a:lnTo>
                    <a:lnTo>
                      <a:pt x="533" y="3193"/>
                    </a:lnTo>
                    <a:lnTo>
                      <a:pt x="562" y="3225"/>
                    </a:lnTo>
                    <a:lnTo>
                      <a:pt x="592" y="3255"/>
                    </a:lnTo>
                    <a:lnTo>
                      <a:pt x="622" y="3284"/>
                    </a:lnTo>
                    <a:lnTo>
                      <a:pt x="651" y="3312"/>
                    </a:lnTo>
                    <a:lnTo>
                      <a:pt x="680" y="3340"/>
                    </a:lnTo>
                    <a:lnTo>
                      <a:pt x="738" y="3392"/>
                    </a:lnTo>
                    <a:lnTo>
                      <a:pt x="795" y="3441"/>
                    </a:lnTo>
                    <a:lnTo>
                      <a:pt x="850" y="3485"/>
                    </a:lnTo>
                    <a:lnTo>
                      <a:pt x="903" y="3526"/>
                    </a:lnTo>
                    <a:lnTo>
                      <a:pt x="953" y="3564"/>
                    </a:lnTo>
                    <a:lnTo>
                      <a:pt x="1001" y="3597"/>
                    </a:lnTo>
                    <a:lnTo>
                      <a:pt x="1044" y="3627"/>
                    </a:lnTo>
                    <a:lnTo>
                      <a:pt x="1085" y="3654"/>
                    </a:lnTo>
                    <a:lnTo>
                      <a:pt x="1088" y="3659"/>
                    </a:lnTo>
                    <a:lnTo>
                      <a:pt x="1090" y="3663"/>
                    </a:lnTo>
                    <a:lnTo>
                      <a:pt x="1090" y="3668"/>
                    </a:lnTo>
                    <a:lnTo>
                      <a:pt x="1088" y="3673"/>
                    </a:lnTo>
                    <a:lnTo>
                      <a:pt x="1086" y="3676"/>
                    </a:lnTo>
                    <a:lnTo>
                      <a:pt x="1084" y="3678"/>
                    </a:lnTo>
                    <a:lnTo>
                      <a:pt x="1081" y="3679"/>
                    </a:lnTo>
                    <a:lnTo>
                      <a:pt x="1078" y="36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60"/>
              <p:cNvSpPr>
                <a:spLocks/>
              </p:cNvSpPr>
              <p:nvPr userDrawn="1"/>
            </p:nvSpPr>
            <p:spPr bwMode="auto">
              <a:xfrm>
                <a:off x="1419" y="1427"/>
                <a:ext cx="455" cy="1209"/>
              </a:xfrm>
              <a:custGeom>
                <a:avLst/>
                <a:gdLst>
                  <a:gd name="T0" fmla="*/ 1021 w 1366"/>
                  <a:gd name="T1" fmla="*/ 3578 h 3628"/>
                  <a:gd name="T2" fmla="*/ 753 w 1366"/>
                  <a:gd name="T3" fmla="*/ 3378 h 3628"/>
                  <a:gd name="T4" fmla="*/ 548 w 1366"/>
                  <a:gd name="T5" fmla="*/ 3190 h 3628"/>
                  <a:gd name="T6" fmla="*/ 442 w 1366"/>
                  <a:gd name="T7" fmla="*/ 3079 h 3628"/>
                  <a:gd name="T8" fmla="*/ 346 w 1366"/>
                  <a:gd name="T9" fmla="*/ 2964 h 3628"/>
                  <a:gd name="T10" fmla="*/ 259 w 1366"/>
                  <a:gd name="T11" fmla="*/ 2845 h 3628"/>
                  <a:gd name="T12" fmla="*/ 171 w 1366"/>
                  <a:gd name="T13" fmla="*/ 2707 h 3628"/>
                  <a:gd name="T14" fmla="*/ 71 w 1366"/>
                  <a:gd name="T15" fmla="*/ 2503 h 3628"/>
                  <a:gd name="T16" fmla="*/ 13 w 1366"/>
                  <a:gd name="T17" fmla="*/ 2332 h 3628"/>
                  <a:gd name="T18" fmla="*/ 1 w 1366"/>
                  <a:gd name="T19" fmla="*/ 2246 h 3628"/>
                  <a:gd name="T20" fmla="*/ 4 w 1366"/>
                  <a:gd name="T21" fmla="*/ 2170 h 3628"/>
                  <a:gd name="T22" fmla="*/ 18 w 1366"/>
                  <a:gd name="T23" fmla="*/ 2103 h 3628"/>
                  <a:gd name="T24" fmla="*/ 47 w 1366"/>
                  <a:gd name="T25" fmla="*/ 2031 h 3628"/>
                  <a:gd name="T26" fmla="*/ 99 w 1366"/>
                  <a:gd name="T27" fmla="*/ 1952 h 3628"/>
                  <a:gd name="T28" fmla="*/ 122 w 1366"/>
                  <a:gd name="T29" fmla="*/ 1902 h 3628"/>
                  <a:gd name="T30" fmla="*/ 98 w 1366"/>
                  <a:gd name="T31" fmla="*/ 1822 h 3628"/>
                  <a:gd name="T32" fmla="*/ 82 w 1366"/>
                  <a:gd name="T33" fmla="*/ 1720 h 3628"/>
                  <a:gd name="T34" fmla="*/ 80 w 1366"/>
                  <a:gd name="T35" fmla="*/ 1584 h 3628"/>
                  <a:gd name="T36" fmla="*/ 96 w 1366"/>
                  <a:gd name="T37" fmla="*/ 1421 h 3628"/>
                  <a:gd name="T38" fmla="*/ 126 w 1366"/>
                  <a:gd name="T39" fmla="*/ 1262 h 3628"/>
                  <a:gd name="T40" fmla="*/ 169 w 1366"/>
                  <a:gd name="T41" fmla="*/ 1109 h 3628"/>
                  <a:gd name="T42" fmla="*/ 226 w 1366"/>
                  <a:gd name="T43" fmla="*/ 963 h 3628"/>
                  <a:gd name="T44" fmla="*/ 295 w 1366"/>
                  <a:gd name="T45" fmla="*/ 825 h 3628"/>
                  <a:gd name="T46" fmla="*/ 376 w 1366"/>
                  <a:gd name="T47" fmla="*/ 695 h 3628"/>
                  <a:gd name="T48" fmla="*/ 469 w 1366"/>
                  <a:gd name="T49" fmla="*/ 575 h 3628"/>
                  <a:gd name="T50" fmla="*/ 573 w 1366"/>
                  <a:gd name="T51" fmla="*/ 465 h 3628"/>
                  <a:gd name="T52" fmla="*/ 733 w 1366"/>
                  <a:gd name="T53" fmla="*/ 329 h 3628"/>
                  <a:gd name="T54" fmla="*/ 914 w 1366"/>
                  <a:gd name="T55" fmla="*/ 202 h 3628"/>
                  <a:gd name="T56" fmla="*/ 1103 w 1366"/>
                  <a:gd name="T57" fmla="*/ 97 h 3628"/>
                  <a:gd name="T58" fmla="*/ 1299 w 1366"/>
                  <a:gd name="T59" fmla="*/ 17 h 3628"/>
                  <a:gd name="T60" fmla="*/ 1362 w 1366"/>
                  <a:gd name="T61" fmla="*/ 5 h 3628"/>
                  <a:gd name="T62" fmla="*/ 1361 w 1366"/>
                  <a:gd name="T63" fmla="*/ 24 h 3628"/>
                  <a:gd name="T64" fmla="*/ 1210 w 1366"/>
                  <a:gd name="T65" fmla="*/ 79 h 3628"/>
                  <a:gd name="T66" fmla="*/ 1021 w 1366"/>
                  <a:gd name="T67" fmla="*/ 170 h 3628"/>
                  <a:gd name="T68" fmla="*/ 838 w 1366"/>
                  <a:gd name="T69" fmla="*/ 285 h 3628"/>
                  <a:gd name="T70" fmla="*/ 662 w 1366"/>
                  <a:gd name="T71" fmla="*/ 422 h 3628"/>
                  <a:gd name="T72" fmla="*/ 540 w 1366"/>
                  <a:gd name="T73" fmla="*/ 537 h 3628"/>
                  <a:gd name="T74" fmla="*/ 442 w 1366"/>
                  <a:gd name="T75" fmla="*/ 651 h 3628"/>
                  <a:gd name="T76" fmla="*/ 357 w 1366"/>
                  <a:gd name="T77" fmla="*/ 773 h 3628"/>
                  <a:gd name="T78" fmla="*/ 284 w 1366"/>
                  <a:gd name="T79" fmla="*/ 905 h 3628"/>
                  <a:gd name="T80" fmla="*/ 221 w 1366"/>
                  <a:gd name="T81" fmla="*/ 1045 h 3628"/>
                  <a:gd name="T82" fmla="*/ 172 w 1366"/>
                  <a:gd name="T83" fmla="*/ 1192 h 3628"/>
                  <a:gd name="T84" fmla="*/ 136 w 1366"/>
                  <a:gd name="T85" fmla="*/ 1346 h 3628"/>
                  <a:gd name="T86" fmla="*/ 112 w 1366"/>
                  <a:gd name="T87" fmla="*/ 1506 h 3628"/>
                  <a:gd name="T88" fmla="*/ 105 w 1366"/>
                  <a:gd name="T89" fmla="*/ 1670 h 3628"/>
                  <a:gd name="T90" fmla="*/ 121 w 1366"/>
                  <a:gd name="T91" fmla="*/ 1796 h 3628"/>
                  <a:gd name="T92" fmla="*/ 142 w 1366"/>
                  <a:gd name="T93" fmla="*/ 1878 h 3628"/>
                  <a:gd name="T94" fmla="*/ 158 w 1366"/>
                  <a:gd name="T95" fmla="*/ 1920 h 3628"/>
                  <a:gd name="T96" fmla="*/ 144 w 1366"/>
                  <a:gd name="T97" fmla="*/ 1942 h 3628"/>
                  <a:gd name="T98" fmla="*/ 83 w 1366"/>
                  <a:gd name="T99" fmla="*/ 2020 h 3628"/>
                  <a:gd name="T100" fmla="*/ 50 w 1366"/>
                  <a:gd name="T101" fmla="*/ 2088 h 3628"/>
                  <a:gd name="T102" fmla="*/ 32 w 1366"/>
                  <a:gd name="T103" fmla="*/ 2155 h 3628"/>
                  <a:gd name="T104" fmla="*/ 27 w 1366"/>
                  <a:gd name="T105" fmla="*/ 2233 h 3628"/>
                  <a:gd name="T106" fmla="*/ 38 w 1366"/>
                  <a:gd name="T107" fmla="*/ 2323 h 3628"/>
                  <a:gd name="T108" fmla="*/ 96 w 1366"/>
                  <a:gd name="T109" fmla="*/ 2492 h 3628"/>
                  <a:gd name="T110" fmla="*/ 194 w 1366"/>
                  <a:gd name="T111" fmla="*/ 2693 h 3628"/>
                  <a:gd name="T112" fmla="*/ 281 w 1366"/>
                  <a:gd name="T113" fmla="*/ 2830 h 3628"/>
                  <a:gd name="T114" fmla="*/ 368 w 1366"/>
                  <a:gd name="T115" fmla="*/ 2947 h 3628"/>
                  <a:gd name="T116" fmla="*/ 463 w 1366"/>
                  <a:gd name="T117" fmla="*/ 3061 h 3628"/>
                  <a:gd name="T118" fmla="*/ 652 w 1366"/>
                  <a:gd name="T119" fmla="*/ 3252 h 3628"/>
                  <a:gd name="T120" fmla="*/ 899 w 1366"/>
                  <a:gd name="T121" fmla="*/ 3457 h 3628"/>
                  <a:gd name="T122" fmla="*/ 1112 w 1366"/>
                  <a:gd name="T123" fmla="*/ 3608 h 3628"/>
                  <a:gd name="T124" fmla="*/ 1110 w 1366"/>
                  <a:gd name="T125" fmla="*/ 3625 h 3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6" h="3628">
                    <a:moveTo>
                      <a:pt x="1101" y="3628"/>
                    </a:moveTo>
                    <a:lnTo>
                      <a:pt x="1097" y="3628"/>
                    </a:lnTo>
                    <a:lnTo>
                      <a:pt x="1093" y="3626"/>
                    </a:lnTo>
                    <a:lnTo>
                      <a:pt x="1021" y="3578"/>
                    </a:lnTo>
                    <a:lnTo>
                      <a:pt x="951" y="3529"/>
                    </a:lnTo>
                    <a:lnTo>
                      <a:pt x="883" y="3479"/>
                    </a:lnTo>
                    <a:lnTo>
                      <a:pt x="817" y="3428"/>
                    </a:lnTo>
                    <a:lnTo>
                      <a:pt x="753" y="3378"/>
                    </a:lnTo>
                    <a:lnTo>
                      <a:pt x="692" y="3325"/>
                    </a:lnTo>
                    <a:lnTo>
                      <a:pt x="632" y="3272"/>
                    </a:lnTo>
                    <a:lnTo>
                      <a:pt x="575" y="3218"/>
                    </a:lnTo>
                    <a:lnTo>
                      <a:pt x="548" y="3190"/>
                    </a:lnTo>
                    <a:lnTo>
                      <a:pt x="520" y="3163"/>
                    </a:lnTo>
                    <a:lnTo>
                      <a:pt x="494" y="3135"/>
                    </a:lnTo>
                    <a:lnTo>
                      <a:pt x="468" y="3107"/>
                    </a:lnTo>
                    <a:lnTo>
                      <a:pt x="442" y="3079"/>
                    </a:lnTo>
                    <a:lnTo>
                      <a:pt x="418" y="3051"/>
                    </a:lnTo>
                    <a:lnTo>
                      <a:pt x="394" y="3021"/>
                    </a:lnTo>
                    <a:lnTo>
                      <a:pt x="370" y="2992"/>
                    </a:lnTo>
                    <a:lnTo>
                      <a:pt x="346" y="2964"/>
                    </a:lnTo>
                    <a:lnTo>
                      <a:pt x="324" y="2935"/>
                    </a:lnTo>
                    <a:lnTo>
                      <a:pt x="302" y="2905"/>
                    </a:lnTo>
                    <a:lnTo>
                      <a:pt x="280" y="2876"/>
                    </a:lnTo>
                    <a:lnTo>
                      <a:pt x="259" y="2845"/>
                    </a:lnTo>
                    <a:lnTo>
                      <a:pt x="239" y="2816"/>
                    </a:lnTo>
                    <a:lnTo>
                      <a:pt x="219" y="2786"/>
                    </a:lnTo>
                    <a:lnTo>
                      <a:pt x="200" y="2756"/>
                    </a:lnTo>
                    <a:lnTo>
                      <a:pt x="171" y="2707"/>
                    </a:lnTo>
                    <a:lnTo>
                      <a:pt x="143" y="2657"/>
                    </a:lnTo>
                    <a:lnTo>
                      <a:pt x="117" y="2606"/>
                    </a:lnTo>
                    <a:lnTo>
                      <a:pt x="92" y="2554"/>
                    </a:lnTo>
                    <a:lnTo>
                      <a:pt x="71" y="2503"/>
                    </a:lnTo>
                    <a:lnTo>
                      <a:pt x="50" y="2451"/>
                    </a:lnTo>
                    <a:lnTo>
                      <a:pt x="33" y="2402"/>
                    </a:lnTo>
                    <a:lnTo>
                      <a:pt x="18" y="2354"/>
                    </a:lnTo>
                    <a:lnTo>
                      <a:pt x="13" y="2332"/>
                    </a:lnTo>
                    <a:lnTo>
                      <a:pt x="8" y="2310"/>
                    </a:lnTo>
                    <a:lnTo>
                      <a:pt x="5" y="2288"/>
                    </a:lnTo>
                    <a:lnTo>
                      <a:pt x="2" y="2267"/>
                    </a:lnTo>
                    <a:lnTo>
                      <a:pt x="1" y="2246"/>
                    </a:lnTo>
                    <a:lnTo>
                      <a:pt x="0" y="2227"/>
                    </a:lnTo>
                    <a:lnTo>
                      <a:pt x="1" y="2207"/>
                    </a:lnTo>
                    <a:lnTo>
                      <a:pt x="2" y="2188"/>
                    </a:lnTo>
                    <a:lnTo>
                      <a:pt x="4" y="2170"/>
                    </a:lnTo>
                    <a:lnTo>
                      <a:pt x="6" y="2152"/>
                    </a:lnTo>
                    <a:lnTo>
                      <a:pt x="9" y="2135"/>
                    </a:lnTo>
                    <a:lnTo>
                      <a:pt x="14" y="2118"/>
                    </a:lnTo>
                    <a:lnTo>
                      <a:pt x="18" y="2103"/>
                    </a:lnTo>
                    <a:lnTo>
                      <a:pt x="23" y="2087"/>
                    </a:lnTo>
                    <a:lnTo>
                      <a:pt x="29" y="2073"/>
                    </a:lnTo>
                    <a:lnTo>
                      <a:pt x="34" y="2058"/>
                    </a:lnTo>
                    <a:lnTo>
                      <a:pt x="47" y="2031"/>
                    </a:lnTo>
                    <a:lnTo>
                      <a:pt x="60" y="2008"/>
                    </a:lnTo>
                    <a:lnTo>
                      <a:pt x="73" y="1986"/>
                    </a:lnTo>
                    <a:lnTo>
                      <a:pt x="87" y="1968"/>
                    </a:lnTo>
                    <a:lnTo>
                      <a:pt x="99" y="1952"/>
                    </a:lnTo>
                    <a:lnTo>
                      <a:pt x="111" y="1939"/>
                    </a:lnTo>
                    <a:lnTo>
                      <a:pt x="121" y="1928"/>
                    </a:lnTo>
                    <a:lnTo>
                      <a:pt x="129" y="1919"/>
                    </a:lnTo>
                    <a:lnTo>
                      <a:pt x="122" y="1902"/>
                    </a:lnTo>
                    <a:lnTo>
                      <a:pt x="112" y="1876"/>
                    </a:lnTo>
                    <a:lnTo>
                      <a:pt x="108" y="1860"/>
                    </a:lnTo>
                    <a:lnTo>
                      <a:pt x="102" y="1843"/>
                    </a:lnTo>
                    <a:lnTo>
                      <a:pt x="98" y="1822"/>
                    </a:lnTo>
                    <a:lnTo>
                      <a:pt x="92" y="1799"/>
                    </a:lnTo>
                    <a:lnTo>
                      <a:pt x="88" y="1775"/>
                    </a:lnTo>
                    <a:lnTo>
                      <a:pt x="85" y="1748"/>
                    </a:lnTo>
                    <a:lnTo>
                      <a:pt x="82" y="1720"/>
                    </a:lnTo>
                    <a:lnTo>
                      <a:pt x="80" y="1688"/>
                    </a:lnTo>
                    <a:lnTo>
                      <a:pt x="78" y="1656"/>
                    </a:lnTo>
                    <a:lnTo>
                      <a:pt x="78" y="1620"/>
                    </a:lnTo>
                    <a:lnTo>
                      <a:pt x="80" y="1584"/>
                    </a:lnTo>
                    <a:lnTo>
                      <a:pt x="82" y="1544"/>
                    </a:lnTo>
                    <a:lnTo>
                      <a:pt x="85" y="1503"/>
                    </a:lnTo>
                    <a:lnTo>
                      <a:pt x="90" y="1462"/>
                    </a:lnTo>
                    <a:lnTo>
                      <a:pt x="96" y="1421"/>
                    </a:lnTo>
                    <a:lnTo>
                      <a:pt x="102" y="1381"/>
                    </a:lnTo>
                    <a:lnTo>
                      <a:pt x="109" y="1341"/>
                    </a:lnTo>
                    <a:lnTo>
                      <a:pt x="117" y="1301"/>
                    </a:lnTo>
                    <a:lnTo>
                      <a:pt x="126" y="1262"/>
                    </a:lnTo>
                    <a:lnTo>
                      <a:pt x="136" y="1223"/>
                    </a:lnTo>
                    <a:lnTo>
                      <a:pt x="146" y="1184"/>
                    </a:lnTo>
                    <a:lnTo>
                      <a:pt x="157" y="1146"/>
                    </a:lnTo>
                    <a:lnTo>
                      <a:pt x="169" y="1109"/>
                    </a:lnTo>
                    <a:lnTo>
                      <a:pt x="182" y="1072"/>
                    </a:lnTo>
                    <a:lnTo>
                      <a:pt x="196" y="1035"/>
                    </a:lnTo>
                    <a:lnTo>
                      <a:pt x="211" y="998"/>
                    </a:lnTo>
                    <a:lnTo>
                      <a:pt x="226" y="963"/>
                    </a:lnTo>
                    <a:lnTo>
                      <a:pt x="243" y="927"/>
                    </a:lnTo>
                    <a:lnTo>
                      <a:pt x="259" y="893"/>
                    </a:lnTo>
                    <a:lnTo>
                      <a:pt x="277" y="858"/>
                    </a:lnTo>
                    <a:lnTo>
                      <a:pt x="295" y="825"/>
                    </a:lnTo>
                    <a:lnTo>
                      <a:pt x="314" y="791"/>
                    </a:lnTo>
                    <a:lnTo>
                      <a:pt x="334" y="759"/>
                    </a:lnTo>
                    <a:lnTo>
                      <a:pt x="355" y="726"/>
                    </a:lnTo>
                    <a:lnTo>
                      <a:pt x="376" y="695"/>
                    </a:lnTo>
                    <a:lnTo>
                      <a:pt x="398" y="664"/>
                    </a:lnTo>
                    <a:lnTo>
                      <a:pt x="421" y="634"/>
                    </a:lnTo>
                    <a:lnTo>
                      <a:pt x="445" y="603"/>
                    </a:lnTo>
                    <a:lnTo>
                      <a:pt x="469" y="575"/>
                    </a:lnTo>
                    <a:lnTo>
                      <a:pt x="494" y="546"/>
                    </a:lnTo>
                    <a:lnTo>
                      <a:pt x="520" y="519"/>
                    </a:lnTo>
                    <a:lnTo>
                      <a:pt x="546" y="491"/>
                    </a:lnTo>
                    <a:lnTo>
                      <a:pt x="573" y="465"/>
                    </a:lnTo>
                    <a:lnTo>
                      <a:pt x="601" y="439"/>
                    </a:lnTo>
                    <a:lnTo>
                      <a:pt x="644" y="401"/>
                    </a:lnTo>
                    <a:lnTo>
                      <a:pt x="689" y="365"/>
                    </a:lnTo>
                    <a:lnTo>
                      <a:pt x="733" y="329"/>
                    </a:lnTo>
                    <a:lnTo>
                      <a:pt x="777" y="295"/>
                    </a:lnTo>
                    <a:lnTo>
                      <a:pt x="822" y="262"/>
                    </a:lnTo>
                    <a:lnTo>
                      <a:pt x="869" y="231"/>
                    </a:lnTo>
                    <a:lnTo>
                      <a:pt x="914" y="202"/>
                    </a:lnTo>
                    <a:lnTo>
                      <a:pt x="962" y="174"/>
                    </a:lnTo>
                    <a:lnTo>
                      <a:pt x="1008" y="147"/>
                    </a:lnTo>
                    <a:lnTo>
                      <a:pt x="1056" y="121"/>
                    </a:lnTo>
                    <a:lnTo>
                      <a:pt x="1103" y="97"/>
                    </a:lnTo>
                    <a:lnTo>
                      <a:pt x="1152" y="75"/>
                    </a:lnTo>
                    <a:lnTo>
                      <a:pt x="1200" y="54"/>
                    </a:lnTo>
                    <a:lnTo>
                      <a:pt x="1249" y="34"/>
                    </a:lnTo>
                    <a:lnTo>
                      <a:pt x="1299" y="17"/>
                    </a:lnTo>
                    <a:lnTo>
                      <a:pt x="1348" y="1"/>
                    </a:lnTo>
                    <a:lnTo>
                      <a:pt x="1354" y="0"/>
                    </a:lnTo>
                    <a:lnTo>
                      <a:pt x="1358" y="2"/>
                    </a:lnTo>
                    <a:lnTo>
                      <a:pt x="1362" y="5"/>
                    </a:lnTo>
                    <a:lnTo>
                      <a:pt x="1366" y="10"/>
                    </a:lnTo>
                    <a:lnTo>
                      <a:pt x="1366" y="15"/>
                    </a:lnTo>
                    <a:lnTo>
                      <a:pt x="1365" y="19"/>
                    </a:lnTo>
                    <a:lnTo>
                      <a:pt x="1361" y="24"/>
                    </a:lnTo>
                    <a:lnTo>
                      <a:pt x="1356" y="27"/>
                    </a:lnTo>
                    <a:lnTo>
                      <a:pt x="1307" y="43"/>
                    </a:lnTo>
                    <a:lnTo>
                      <a:pt x="1259" y="60"/>
                    </a:lnTo>
                    <a:lnTo>
                      <a:pt x="1210" y="79"/>
                    </a:lnTo>
                    <a:lnTo>
                      <a:pt x="1163" y="100"/>
                    </a:lnTo>
                    <a:lnTo>
                      <a:pt x="1115" y="122"/>
                    </a:lnTo>
                    <a:lnTo>
                      <a:pt x="1068" y="146"/>
                    </a:lnTo>
                    <a:lnTo>
                      <a:pt x="1021" y="170"/>
                    </a:lnTo>
                    <a:lnTo>
                      <a:pt x="975" y="196"/>
                    </a:lnTo>
                    <a:lnTo>
                      <a:pt x="928" y="224"/>
                    </a:lnTo>
                    <a:lnTo>
                      <a:pt x="883" y="254"/>
                    </a:lnTo>
                    <a:lnTo>
                      <a:pt x="838" y="285"/>
                    </a:lnTo>
                    <a:lnTo>
                      <a:pt x="793" y="317"/>
                    </a:lnTo>
                    <a:lnTo>
                      <a:pt x="749" y="351"/>
                    </a:lnTo>
                    <a:lnTo>
                      <a:pt x="705" y="385"/>
                    </a:lnTo>
                    <a:lnTo>
                      <a:pt x="662" y="422"/>
                    </a:lnTo>
                    <a:lnTo>
                      <a:pt x="618" y="460"/>
                    </a:lnTo>
                    <a:lnTo>
                      <a:pt x="591" y="485"/>
                    </a:lnTo>
                    <a:lnTo>
                      <a:pt x="565" y="511"/>
                    </a:lnTo>
                    <a:lnTo>
                      <a:pt x="540" y="537"/>
                    </a:lnTo>
                    <a:lnTo>
                      <a:pt x="514" y="564"/>
                    </a:lnTo>
                    <a:lnTo>
                      <a:pt x="489" y="593"/>
                    </a:lnTo>
                    <a:lnTo>
                      <a:pt x="465" y="621"/>
                    </a:lnTo>
                    <a:lnTo>
                      <a:pt x="442" y="651"/>
                    </a:lnTo>
                    <a:lnTo>
                      <a:pt x="420" y="680"/>
                    </a:lnTo>
                    <a:lnTo>
                      <a:pt x="398" y="710"/>
                    </a:lnTo>
                    <a:lnTo>
                      <a:pt x="378" y="742"/>
                    </a:lnTo>
                    <a:lnTo>
                      <a:pt x="357" y="773"/>
                    </a:lnTo>
                    <a:lnTo>
                      <a:pt x="338" y="805"/>
                    </a:lnTo>
                    <a:lnTo>
                      <a:pt x="318" y="838"/>
                    </a:lnTo>
                    <a:lnTo>
                      <a:pt x="301" y="871"/>
                    </a:lnTo>
                    <a:lnTo>
                      <a:pt x="284" y="905"/>
                    </a:lnTo>
                    <a:lnTo>
                      <a:pt x="266" y="939"/>
                    </a:lnTo>
                    <a:lnTo>
                      <a:pt x="251" y="974"/>
                    </a:lnTo>
                    <a:lnTo>
                      <a:pt x="236" y="1009"/>
                    </a:lnTo>
                    <a:lnTo>
                      <a:pt x="221" y="1045"/>
                    </a:lnTo>
                    <a:lnTo>
                      <a:pt x="208" y="1082"/>
                    </a:lnTo>
                    <a:lnTo>
                      <a:pt x="195" y="1117"/>
                    </a:lnTo>
                    <a:lnTo>
                      <a:pt x="183" y="1155"/>
                    </a:lnTo>
                    <a:lnTo>
                      <a:pt x="172" y="1192"/>
                    </a:lnTo>
                    <a:lnTo>
                      <a:pt x="162" y="1231"/>
                    </a:lnTo>
                    <a:lnTo>
                      <a:pt x="152" y="1268"/>
                    </a:lnTo>
                    <a:lnTo>
                      <a:pt x="143" y="1307"/>
                    </a:lnTo>
                    <a:lnTo>
                      <a:pt x="136" y="1346"/>
                    </a:lnTo>
                    <a:lnTo>
                      <a:pt x="128" y="1385"/>
                    </a:lnTo>
                    <a:lnTo>
                      <a:pt x="123" y="1425"/>
                    </a:lnTo>
                    <a:lnTo>
                      <a:pt x="117" y="1465"/>
                    </a:lnTo>
                    <a:lnTo>
                      <a:pt x="112" y="1506"/>
                    </a:lnTo>
                    <a:lnTo>
                      <a:pt x="109" y="1546"/>
                    </a:lnTo>
                    <a:lnTo>
                      <a:pt x="105" y="1590"/>
                    </a:lnTo>
                    <a:lnTo>
                      <a:pt x="105" y="1631"/>
                    </a:lnTo>
                    <a:lnTo>
                      <a:pt x="105" y="1670"/>
                    </a:lnTo>
                    <a:lnTo>
                      <a:pt x="108" y="1705"/>
                    </a:lnTo>
                    <a:lnTo>
                      <a:pt x="111" y="1739"/>
                    </a:lnTo>
                    <a:lnTo>
                      <a:pt x="115" y="1769"/>
                    </a:lnTo>
                    <a:lnTo>
                      <a:pt x="121" y="1796"/>
                    </a:lnTo>
                    <a:lnTo>
                      <a:pt x="126" y="1821"/>
                    </a:lnTo>
                    <a:lnTo>
                      <a:pt x="131" y="1844"/>
                    </a:lnTo>
                    <a:lnTo>
                      <a:pt x="137" y="1862"/>
                    </a:lnTo>
                    <a:lnTo>
                      <a:pt x="142" y="1878"/>
                    </a:lnTo>
                    <a:lnTo>
                      <a:pt x="146" y="1892"/>
                    </a:lnTo>
                    <a:lnTo>
                      <a:pt x="154" y="1910"/>
                    </a:lnTo>
                    <a:lnTo>
                      <a:pt x="157" y="1916"/>
                    </a:lnTo>
                    <a:lnTo>
                      <a:pt x="158" y="1920"/>
                    </a:lnTo>
                    <a:lnTo>
                      <a:pt x="158" y="1926"/>
                    </a:lnTo>
                    <a:lnTo>
                      <a:pt x="157" y="1930"/>
                    </a:lnTo>
                    <a:lnTo>
                      <a:pt x="154" y="1933"/>
                    </a:lnTo>
                    <a:lnTo>
                      <a:pt x="144" y="1942"/>
                    </a:lnTo>
                    <a:lnTo>
                      <a:pt x="124" y="1963"/>
                    </a:lnTo>
                    <a:lnTo>
                      <a:pt x="111" y="1980"/>
                    </a:lnTo>
                    <a:lnTo>
                      <a:pt x="97" y="1998"/>
                    </a:lnTo>
                    <a:lnTo>
                      <a:pt x="83" y="2020"/>
                    </a:lnTo>
                    <a:lnTo>
                      <a:pt x="69" y="2044"/>
                    </a:lnTo>
                    <a:lnTo>
                      <a:pt x="62" y="2058"/>
                    </a:lnTo>
                    <a:lnTo>
                      <a:pt x="57" y="2073"/>
                    </a:lnTo>
                    <a:lnTo>
                      <a:pt x="50" y="2088"/>
                    </a:lnTo>
                    <a:lnTo>
                      <a:pt x="45" y="2104"/>
                    </a:lnTo>
                    <a:lnTo>
                      <a:pt x="41" y="2120"/>
                    </a:lnTo>
                    <a:lnTo>
                      <a:pt x="36" y="2137"/>
                    </a:lnTo>
                    <a:lnTo>
                      <a:pt x="32" y="2155"/>
                    </a:lnTo>
                    <a:lnTo>
                      <a:pt x="30" y="2174"/>
                    </a:lnTo>
                    <a:lnTo>
                      <a:pt x="28" y="2192"/>
                    </a:lnTo>
                    <a:lnTo>
                      <a:pt x="27" y="2213"/>
                    </a:lnTo>
                    <a:lnTo>
                      <a:pt x="27" y="2233"/>
                    </a:lnTo>
                    <a:lnTo>
                      <a:pt x="28" y="2255"/>
                    </a:lnTo>
                    <a:lnTo>
                      <a:pt x="30" y="2277"/>
                    </a:lnTo>
                    <a:lnTo>
                      <a:pt x="33" y="2299"/>
                    </a:lnTo>
                    <a:lnTo>
                      <a:pt x="38" y="2323"/>
                    </a:lnTo>
                    <a:lnTo>
                      <a:pt x="45" y="2347"/>
                    </a:lnTo>
                    <a:lnTo>
                      <a:pt x="59" y="2394"/>
                    </a:lnTo>
                    <a:lnTo>
                      <a:pt x="76" y="2443"/>
                    </a:lnTo>
                    <a:lnTo>
                      <a:pt x="96" y="2492"/>
                    </a:lnTo>
                    <a:lnTo>
                      <a:pt x="117" y="2543"/>
                    </a:lnTo>
                    <a:lnTo>
                      <a:pt x="141" y="2594"/>
                    </a:lnTo>
                    <a:lnTo>
                      <a:pt x="167" y="2645"/>
                    </a:lnTo>
                    <a:lnTo>
                      <a:pt x="194" y="2693"/>
                    </a:lnTo>
                    <a:lnTo>
                      <a:pt x="223" y="2742"/>
                    </a:lnTo>
                    <a:lnTo>
                      <a:pt x="241" y="2771"/>
                    </a:lnTo>
                    <a:lnTo>
                      <a:pt x="261" y="2801"/>
                    </a:lnTo>
                    <a:lnTo>
                      <a:pt x="281" y="2830"/>
                    </a:lnTo>
                    <a:lnTo>
                      <a:pt x="302" y="2861"/>
                    </a:lnTo>
                    <a:lnTo>
                      <a:pt x="324" y="2890"/>
                    </a:lnTo>
                    <a:lnTo>
                      <a:pt x="345" y="2919"/>
                    </a:lnTo>
                    <a:lnTo>
                      <a:pt x="368" y="2947"/>
                    </a:lnTo>
                    <a:lnTo>
                      <a:pt x="391" y="2976"/>
                    </a:lnTo>
                    <a:lnTo>
                      <a:pt x="414" y="3004"/>
                    </a:lnTo>
                    <a:lnTo>
                      <a:pt x="438" y="3033"/>
                    </a:lnTo>
                    <a:lnTo>
                      <a:pt x="463" y="3061"/>
                    </a:lnTo>
                    <a:lnTo>
                      <a:pt x="489" y="3088"/>
                    </a:lnTo>
                    <a:lnTo>
                      <a:pt x="541" y="3144"/>
                    </a:lnTo>
                    <a:lnTo>
                      <a:pt x="595" y="3198"/>
                    </a:lnTo>
                    <a:lnTo>
                      <a:pt x="652" y="3252"/>
                    </a:lnTo>
                    <a:lnTo>
                      <a:pt x="710" y="3305"/>
                    </a:lnTo>
                    <a:lnTo>
                      <a:pt x="771" y="3357"/>
                    </a:lnTo>
                    <a:lnTo>
                      <a:pt x="834" y="3408"/>
                    </a:lnTo>
                    <a:lnTo>
                      <a:pt x="899" y="3457"/>
                    </a:lnTo>
                    <a:lnTo>
                      <a:pt x="967" y="3507"/>
                    </a:lnTo>
                    <a:lnTo>
                      <a:pt x="1036" y="3556"/>
                    </a:lnTo>
                    <a:lnTo>
                      <a:pt x="1108" y="3603"/>
                    </a:lnTo>
                    <a:lnTo>
                      <a:pt x="1112" y="3608"/>
                    </a:lnTo>
                    <a:lnTo>
                      <a:pt x="1114" y="3612"/>
                    </a:lnTo>
                    <a:lnTo>
                      <a:pt x="1114" y="3617"/>
                    </a:lnTo>
                    <a:lnTo>
                      <a:pt x="1112" y="3622"/>
                    </a:lnTo>
                    <a:lnTo>
                      <a:pt x="1110" y="3625"/>
                    </a:lnTo>
                    <a:lnTo>
                      <a:pt x="1108" y="3627"/>
                    </a:lnTo>
                    <a:lnTo>
                      <a:pt x="1104" y="3628"/>
                    </a:lnTo>
                    <a:lnTo>
                      <a:pt x="1101" y="36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61"/>
              <p:cNvSpPr>
                <a:spLocks/>
              </p:cNvSpPr>
              <p:nvPr userDrawn="1"/>
            </p:nvSpPr>
            <p:spPr bwMode="auto">
              <a:xfrm>
                <a:off x="1475" y="1468"/>
                <a:ext cx="373" cy="1146"/>
              </a:xfrm>
              <a:custGeom>
                <a:avLst/>
                <a:gdLst>
                  <a:gd name="T0" fmla="*/ 860 w 1120"/>
                  <a:gd name="T1" fmla="*/ 3397 h 3439"/>
                  <a:gd name="T2" fmla="*/ 659 w 1120"/>
                  <a:gd name="T3" fmla="*/ 3227 h 3439"/>
                  <a:gd name="T4" fmla="*/ 475 w 1120"/>
                  <a:gd name="T5" fmla="*/ 3039 h 3439"/>
                  <a:gd name="T6" fmla="*/ 310 w 1120"/>
                  <a:gd name="T7" fmla="*/ 2835 h 3439"/>
                  <a:gd name="T8" fmla="*/ 171 w 1120"/>
                  <a:gd name="T9" fmla="*/ 2621 h 3439"/>
                  <a:gd name="T10" fmla="*/ 70 w 1120"/>
                  <a:gd name="T11" fmla="*/ 2417 h 3439"/>
                  <a:gd name="T12" fmla="*/ 12 w 1120"/>
                  <a:gd name="T13" fmla="*/ 2246 h 3439"/>
                  <a:gd name="T14" fmla="*/ 0 w 1120"/>
                  <a:gd name="T15" fmla="*/ 2160 h 3439"/>
                  <a:gd name="T16" fmla="*/ 3 w 1120"/>
                  <a:gd name="T17" fmla="*/ 2083 h 3439"/>
                  <a:gd name="T18" fmla="*/ 17 w 1120"/>
                  <a:gd name="T19" fmla="*/ 2016 h 3439"/>
                  <a:gd name="T20" fmla="*/ 46 w 1120"/>
                  <a:gd name="T21" fmla="*/ 1946 h 3439"/>
                  <a:gd name="T22" fmla="*/ 99 w 1120"/>
                  <a:gd name="T23" fmla="*/ 1865 h 3439"/>
                  <a:gd name="T24" fmla="*/ 121 w 1120"/>
                  <a:gd name="T25" fmla="*/ 1817 h 3439"/>
                  <a:gd name="T26" fmla="*/ 97 w 1120"/>
                  <a:gd name="T27" fmla="*/ 1736 h 3439"/>
                  <a:gd name="T28" fmla="*/ 81 w 1120"/>
                  <a:gd name="T29" fmla="*/ 1633 h 3439"/>
                  <a:gd name="T30" fmla="*/ 79 w 1120"/>
                  <a:gd name="T31" fmla="*/ 1497 h 3439"/>
                  <a:gd name="T32" fmla="*/ 95 w 1120"/>
                  <a:gd name="T33" fmla="*/ 1335 h 3439"/>
                  <a:gd name="T34" fmla="*/ 125 w 1120"/>
                  <a:gd name="T35" fmla="*/ 1176 h 3439"/>
                  <a:gd name="T36" fmla="*/ 170 w 1120"/>
                  <a:gd name="T37" fmla="*/ 1022 h 3439"/>
                  <a:gd name="T38" fmla="*/ 226 w 1120"/>
                  <a:gd name="T39" fmla="*/ 877 h 3439"/>
                  <a:gd name="T40" fmla="*/ 295 w 1120"/>
                  <a:gd name="T41" fmla="*/ 738 h 3439"/>
                  <a:gd name="T42" fmla="*/ 376 w 1120"/>
                  <a:gd name="T43" fmla="*/ 609 h 3439"/>
                  <a:gd name="T44" fmla="*/ 469 w 1120"/>
                  <a:gd name="T45" fmla="*/ 489 h 3439"/>
                  <a:gd name="T46" fmla="*/ 572 w 1120"/>
                  <a:gd name="T47" fmla="*/ 379 h 3439"/>
                  <a:gd name="T48" fmla="*/ 693 w 1120"/>
                  <a:gd name="T49" fmla="*/ 273 h 3439"/>
                  <a:gd name="T50" fmla="*/ 818 w 1120"/>
                  <a:gd name="T51" fmla="*/ 175 h 3439"/>
                  <a:gd name="T52" fmla="*/ 944 w 1120"/>
                  <a:gd name="T53" fmla="*/ 90 h 3439"/>
                  <a:gd name="T54" fmla="*/ 1069 w 1120"/>
                  <a:gd name="T55" fmla="*/ 17 h 3439"/>
                  <a:gd name="T56" fmla="*/ 1114 w 1120"/>
                  <a:gd name="T57" fmla="*/ 3 h 3439"/>
                  <a:gd name="T58" fmla="*/ 1117 w 1120"/>
                  <a:gd name="T59" fmla="*/ 23 h 3439"/>
                  <a:gd name="T60" fmla="*/ 1019 w 1120"/>
                  <a:gd name="T61" fmla="*/ 76 h 3439"/>
                  <a:gd name="T62" fmla="*/ 896 w 1120"/>
                  <a:gd name="T63" fmla="*/ 153 h 3439"/>
                  <a:gd name="T64" fmla="*/ 773 w 1120"/>
                  <a:gd name="T65" fmla="*/ 244 h 3439"/>
                  <a:gd name="T66" fmla="*/ 649 w 1120"/>
                  <a:gd name="T67" fmla="*/ 346 h 3439"/>
                  <a:gd name="T68" fmla="*/ 539 w 1120"/>
                  <a:gd name="T69" fmla="*/ 451 h 3439"/>
                  <a:gd name="T70" fmla="*/ 442 w 1120"/>
                  <a:gd name="T71" fmla="*/ 565 h 3439"/>
                  <a:gd name="T72" fmla="*/ 356 w 1120"/>
                  <a:gd name="T73" fmla="*/ 688 h 3439"/>
                  <a:gd name="T74" fmla="*/ 283 w 1120"/>
                  <a:gd name="T75" fmla="*/ 819 h 3439"/>
                  <a:gd name="T76" fmla="*/ 220 w 1120"/>
                  <a:gd name="T77" fmla="*/ 959 h 3439"/>
                  <a:gd name="T78" fmla="*/ 172 w 1120"/>
                  <a:gd name="T79" fmla="*/ 1106 h 3439"/>
                  <a:gd name="T80" fmla="*/ 135 w 1120"/>
                  <a:gd name="T81" fmla="*/ 1260 h 3439"/>
                  <a:gd name="T82" fmla="*/ 111 w 1120"/>
                  <a:gd name="T83" fmla="*/ 1419 h 3439"/>
                  <a:gd name="T84" fmla="*/ 106 w 1120"/>
                  <a:gd name="T85" fmla="*/ 1584 h 3439"/>
                  <a:gd name="T86" fmla="*/ 120 w 1120"/>
                  <a:gd name="T87" fmla="*/ 1711 h 3439"/>
                  <a:gd name="T88" fmla="*/ 141 w 1120"/>
                  <a:gd name="T89" fmla="*/ 1793 h 3439"/>
                  <a:gd name="T90" fmla="*/ 159 w 1120"/>
                  <a:gd name="T91" fmla="*/ 1835 h 3439"/>
                  <a:gd name="T92" fmla="*/ 144 w 1120"/>
                  <a:gd name="T93" fmla="*/ 1857 h 3439"/>
                  <a:gd name="T94" fmla="*/ 82 w 1120"/>
                  <a:gd name="T95" fmla="*/ 1934 h 3439"/>
                  <a:gd name="T96" fmla="*/ 50 w 1120"/>
                  <a:gd name="T97" fmla="*/ 2001 h 3439"/>
                  <a:gd name="T98" fmla="*/ 32 w 1120"/>
                  <a:gd name="T99" fmla="*/ 2069 h 3439"/>
                  <a:gd name="T100" fmla="*/ 26 w 1120"/>
                  <a:gd name="T101" fmla="*/ 2148 h 3439"/>
                  <a:gd name="T102" fmla="*/ 38 w 1120"/>
                  <a:gd name="T103" fmla="*/ 2238 h 3439"/>
                  <a:gd name="T104" fmla="*/ 95 w 1120"/>
                  <a:gd name="T105" fmla="*/ 2407 h 3439"/>
                  <a:gd name="T106" fmla="*/ 193 w 1120"/>
                  <a:gd name="T107" fmla="*/ 2608 h 3439"/>
                  <a:gd name="T108" fmla="*/ 331 w 1120"/>
                  <a:gd name="T109" fmla="*/ 2818 h 3439"/>
                  <a:gd name="T110" fmla="*/ 495 w 1120"/>
                  <a:gd name="T111" fmla="*/ 3021 h 3439"/>
                  <a:gd name="T112" fmla="*/ 677 w 1120"/>
                  <a:gd name="T113" fmla="*/ 3207 h 3439"/>
                  <a:gd name="T114" fmla="*/ 877 w 1120"/>
                  <a:gd name="T115" fmla="*/ 3376 h 3439"/>
                  <a:gd name="T116" fmla="*/ 934 w 1120"/>
                  <a:gd name="T117" fmla="*/ 3428 h 3439"/>
                  <a:gd name="T118" fmla="*/ 924 w 1120"/>
                  <a:gd name="T119" fmla="*/ 3438 h 3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0" h="3439">
                    <a:moveTo>
                      <a:pt x="921" y="3439"/>
                    </a:moveTo>
                    <a:lnTo>
                      <a:pt x="917" y="3438"/>
                    </a:lnTo>
                    <a:lnTo>
                      <a:pt x="914" y="3436"/>
                    </a:lnTo>
                    <a:lnTo>
                      <a:pt x="860" y="3397"/>
                    </a:lnTo>
                    <a:lnTo>
                      <a:pt x="808" y="3356"/>
                    </a:lnTo>
                    <a:lnTo>
                      <a:pt x="757" y="3314"/>
                    </a:lnTo>
                    <a:lnTo>
                      <a:pt x="707" y="3271"/>
                    </a:lnTo>
                    <a:lnTo>
                      <a:pt x="659" y="3227"/>
                    </a:lnTo>
                    <a:lnTo>
                      <a:pt x="611" y="3181"/>
                    </a:lnTo>
                    <a:lnTo>
                      <a:pt x="565" y="3135"/>
                    </a:lnTo>
                    <a:lnTo>
                      <a:pt x="519" y="3087"/>
                    </a:lnTo>
                    <a:lnTo>
                      <a:pt x="475" y="3039"/>
                    </a:lnTo>
                    <a:lnTo>
                      <a:pt x="432" y="2990"/>
                    </a:lnTo>
                    <a:lnTo>
                      <a:pt x="390" y="2939"/>
                    </a:lnTo>
                    <a:lnTo>
                      <a:pt x="350" y="2888"/>
                    </a:lnTo>
                    <a:lnTo>
                      <a:pt x="310" y="2835"/>
                    </a:lnTo>
                    <a:lnTo>
                      <a:pt x="272" y="2781"/>
                    </a:lnTo>
                    <a:lnTo>
                      <a:pt x="235" y="2726"/>
                    </a:lnTo>
                    <a:lnTo>
                      <a:pt x="200" y="2670"/>
                    </a:lnTo>
                    <a:lnTo>
                      <a:pt x="171" y="2621"/>
                    </a:lnTo>
                    <a:lnTo>
                      <a:pt x="143" y="2571"/>
                    </a:lnTo>
                    <a:lnTo>
                      <a:pt x="117" y="2519"/>
                    </a:lnTo>
                    <a:lnTo>
                      <a:pt x="92" y="2469"/>
                    </a:lnTo>
                    <a:lnTo>
                      <a:pt x="70" y="2417"/>
                    </a:lnTo>
                    <a:lnTo>
                      <a:pt x="50" y="2366"/>
                    </a:lnTo>
                    <a:lnTo>
                      <a:pt x="32" y="2317"/>
                    </a:lnTo>
                    <a:lnTo>
                      <a:pt x="18" y="2269"/>
                    </a:lnTo>
                    <a:lnTo>
                      <a:pt x="12" y="2246"/>
                    </a:lnTo>
                    <a:lnTo>
                      <a:pt x="8" y="2224"/>
                    </a:lnTo>
                    <a:lnTo>
                      <a:pt x="4" y="2202"/>
                    </a:lnTo>
                    <a:lnTo>
                      <a:pt x="1" y="2181"/>
                    </a:lnTo>
                    <a:lnTo>
                      <a:pt x="0" y="2160"/>
                    </a:lnTo>
                    <a:lnTo>
                      <a:pt x="0" y="2141"/>
                    </a:lnTo>
                    <a:lnTo>
                      <a:pt x="0" y="2121"/>
                    </a:lnTo>
                    <a:lnTo>
                      <a:pt x="1" y="2102"/>
                    </a:lnTo>
                    <a:lnTo>
                      <a:pt x="3" y="2083"/>
                    </a:lnTo>
                    <a:lnTo>
                      <a:pt x="5" y="2066"/>
                    </a:lnTo>
                    <a:lnTo>
                      <a:pt x="9" y="2049"/>
                    </a:lnTo>
                    <a:lnTo>
                      <a:pt x="13" y="2033"/>
                    </a:lnTo>
                    <a:lnTo>
                      <a:pt x="17" y="2016"/>
                    </a:lnTo>
                    <a:lnTo>
                      <a:pt x="23" y="2001"/>
                    </a:lnTo>
                    <a:lnTo>
                      <a:pt x="28" y="1986"/>
                    </a:lnTo>
                    <a:lnTo>
                      <a:pt x="33" y="1972"/>
                    </a:lnTo>
                    <a:lnTo>
                      <a:pt x="46" y="1946"/>
                    </a:lnTo>
                    <a:lnTo>
                      <a:pt x="59" y="1921"/>
                    </a:lnTo>
                    <a:lnTo>
                      <a:pt x="72" y="1901"/>
                    </a:lnTo>
                    <a:lnTo>
                      <a:pt x="86" y="1882"/>
                    </a:lnTo>
                    <a:lnTo>
                      <a:pt x="99" y="1865"/>
                    </a:lnTo>
                    <a:lnTo>
                      <a:pt x="110" y="1852"/>
                    </a:lnTo>
                    <a:lnTo>
                      <a:pt x="120" y="1842"/>
                    </a:lnTo>
                    <a:lnTo>
                      <a:pt x="128" y="1834"/>
                    </a:lnTo>
                    <a:lnTo>
                      <a:pt x="121" y="1817"/>
                    </a:lnTo>
                    <a:lnTo>
                      <a:pt x="112" y="1791"/>
                    </a:lnTo>
                    <a:lnTo>
                      <a:pt x="107" y="1775"/>
                    </a:lnTo>
                    <a:lnTo>
                      <a:pt x="101" y="1756"/>
                    </a:lnTo>
                    <a:lnTo>
                      <a:pt x="97" y="1736"/>
                    </a:lnTo>
                    <a:lnTo>
                      <a:pt x="92" y="1713"/>
                    </a:lnTo>
                    <a:lnTo>
                      <a:pt x="89" y="1688"/>
                    </a:lnTo>
                    <a:lnTo>
                      <a:pt x="84" y="1662"/>
                    </a:lnTo>
                    <a:lnTo>
                      <a:pt x="81" y="1633"/>
                    </a:lnTo>
                    <a:lnTo>
                      <a:pt x="79" y="1602"/>
                    </a:lnTo>
                    <a:lnTo>
                      <a:pt x="78" y="1570"/>
                    </a:lnTo>
                    <a:lnTo>
                      <a:pt x="78" y="1534"/>
                    </a:lnTo>
                    <a:lnTo>
                      <a:pt x="79" y="1497"/>
                    </a:lnTo>
                    <a:lnTo>
                      <a:pt x="81" y="1458"/>
                    </a:lnTo>
                    <a:lnTo>
                      <a:pt x="85" y="1416"/>
                    </a:lnTo>
                    <a:lnTo>
                      <a:pt x="90" y="1375"/>
                    </a:lnTo>
                    <a:lnTo>
                      <a:pt x="95" y="1335"/>
                    </a:lnTo>
                    <a:lnTo>
                      <a:pt x="101" y="1294"/>
                    </a:lnTo>
                    <a:lnTo>
                      <a:pt x="108" y="1254"/>
                    </a:lnTo>
                    <a:lnTo>
                      <a:pt x="117" y="1215"/>
                    </a:lnTo>
                    <a:lnTo>
                      <a:pt x="125" y="1176"/>
                    </a:lnTo>
                    <a:lnTo>
                      <a:pt x="135" y="1137"/>
                    </a:lnTo>
                    <a:lnTo>
                      <a:pt x="146" y="1099"/>
                    </a:lnTo>
                    <a:lnTo>
                      <a:pt x="157" y="1060"/>
                    </a:lnTo>
                    <a:lnTo>
                      <a:pt x="170" y="1022"/>
                    </a:lnTo>
                    <a:lnTo>
                      <a:pt x="182" y="986"/>
                    </a:lnTo>
                    <a:lnTo>
                      <a:pt x="195" y="949"/>
                    </a:lnTo>
                    <a:lnTo>
                      <a:pt x="211" y="912"/>
                    </a:lnTo>
                    <a:lnTo>
                      <a:pt x="226" y="877"/>
                    </a:lnTo>
                    <a:lnTo>
                      <a:pt x="242" y="841"/>
                    </a:lnTo>
                    <a:lnTo>
                      <a:pt x="258" y="806"/>
                    </a:lnTo>
                    <a:lnTo>
                      <a:pt x="276" y="772"/>
                    </a:lnTo>
                    <a:lnTo>
                      <a:pt x="295" y="738"/>
                    </a:lnTo>
                    <a:lnTo>
                      <a:pt x="314" y="705"/>
                    </a:lnTo>
                    <a:lnTo>
                      <a:pt x="334" y="672"/>
                    </a:lnTo>
                    <a:lnTo>
                      <a:pt x="354" y="640"/>
                    </a:lnTo>
                    <a:lnTo>
                      <a:pt x="376" y="609"/>
                    </a:lnTo>
                    <a:lnTo>
                      <a:pt x="397" y="577"/>
                    </a:lnTo>
                    <a:lnTo>
                      <a:pt x="420" y="547"/>
                    </a:lnTo>
                    <a:lnTo>
                      <a:pt x="444" y="518"/>
                    </a:lnTo>
                    <a:lnTo>
                      <a:pt x="469" y="489"/>
                    </a:lnTo>
                    <a:lnTo>
                      <a:pt x="493" y="461"/>
                    </a:lnTo>
                    <a:lnTo>
                      <a:pt x="519" y="433"/>
                    </a:lnTo>
                    <a:lnTo>
                      <a:pt x="545" y="406"/>
                    </a:lnTo>
                    <a:lnTo>
                      <a:pt x="572" y="379"/>
                    </a:lnTo>
                    <a:lnTo>
                      <a:pt x="600" y="354"/>
                    </a:lnTo>
                    <a:lnTo>
                      <a:pt x="632" y="326"/>
                    </a:lnTo>
                    <a:lnTo>
                      <a:pt x="662" y="299"/>
                    </a:lnTo>
                    <a:lnTo>
                      <a:pt x="693" y="273"/>
                    </a:lnTo>
                    <a:lnTo>
                      <a:pt x="725" y="247"/>
                    </a:lnTo>
                    <a:lnTo>
                      <a:pt x="756" y="222"/>
                    </a:lnTo>
                    <a:lnTo>
                      <a:pt x="787" y="199"/>
                    </a:lnTo>
                    <a:lnTo>
                      <a:pt x="818" y="175"/>
                    </a:lnTo>
                    <a:lnTo>
                      <a:pt x="850" y="152"/>
                    </a:lnTo>
                    <a:lnTo>
                      <a:pt x="881" y="131"/>
                    </a:lnTo>
                    <a:lnTo>
                      <a:pt x="912" y="110"/>
                    </a:lnTo>
                    <a:lnTo>
                      <a:pt x="944" y="90"/>
                    </a:lnTo>
                    <a:lnTo>
                      <a:pt x="975" y="71"/>
                    </a:lnTo>
                    <a:lnTo>
                      <a:pt x="1006" y="52"/>
                    </a:lnTo>
                    <a:lnTo>
                      <a:pt x="1038" y="35"/>
                    </a:lnTo>
                    <a:lnTo>
                      <a:pt x="1069" y="17"/>
                    </a:lnTo>
                    <a:lnTo>
                      <a:pt x="1100" y="1"/>
                    </a:lnTo>
                    <a:lnTo>
                      <a:pt x="1105" y="0"/>
                    </a:lnTo>
                    <a:lnTo>
                      <a:pt x="1110" y="1"/>
                    </a:lnTo>
                    <a:lnTo>
                      <a:pt x="1114" y="3"/>
                    </a:lnTo>
                    <a:lnTo>
                      <a:pt x="1118" y="8"/>
                    </a:lnTo>
                    <a:lnTo>
                      <a:pt x="1120" y="13"/>
                    </a:lnTo>
                    <a:lnTo>
                      <a:pt x="1119" y="17"/>
                    </a:lnTo>
                    <a:lnTo>
                      <a:pt x="1117" y="23"/>
                    </a:lnTo>
                    <a:lnTo>
                      <a:pt x="1112" y="26"/>
                    </a:lnTo>
                    <a:lnTo>
                      <a:pt x="1081" y="41"/>
                    </a:lnTo>
                    <a:lnTo>
                      <a:pt x="1051" y="58"/>
                    </a:lnTo>
                    <a:lnTo>
                      <a:pt x="1019" y="76"/>
                    </a:lnTo>
                    <a:lnTo>
                      <a:pt x="989" y="94"/>
                    </a:lnTo>
                    <a:lnTo>
                      <a:pt x="958" y="113"/>
                    </a:lnTo>
                    <a:lnTo>
                      <a:pt x="928" y="133"/>
                    </a:lnTo>
                    <a:lnTo>
                      <a:pt x="896" y="153"/>
                    </a:lnTo>
                    <a:lnTo>
                      <a:pt x="866" y="175"/>
                    </a:lnTo>
                    <a:lnTo>
                      <a:pt x="835" y="198"/>
                    </a:lnTo>
                    <a:lnTo>
                      <a:pt x="803" y="220"/>
                    </a:lnTo>
                    <a:lnTo>
                      <a:pt x="773" y="244"/>
                    </a:lnTo>
                    <a:lnTo>
                      <a:pt x="742" y="269"/>
                    </a:lnTo>
                    <a:lnTo>
                      <a:pt x="711" y="294"/>
                    </a:lnTo>
                    <a:lnTo>
                      <a:pt x="680" y="320"/>
                    </a:lnTo>
                    <a:lnTo>
                      <a:pt x="649" y="346"/>
                    </a:lnTo>
                    <a:lnTo>
                      <a:pt x="618" y="373"/>
                    </a:lnTo>
                    <a:lnTo>
                      <a:pt x="591" y="399"/>
                    </a:lnTo>
                    <a:lnTo>
                      <a:pt x="565" y="425"/>
                    </a:lnTo>
                    <a:lnTo>
                      <a:pt x="539" y="451"/>
                    </a:lnTo>
                    <a:lnTo>
                      <a:pt x="513" y="478"/>
                    </a:lnTo>
                    <a:lnTo>
                      <a:pt x="489" y="506"/>
                    </a:lnTo>
                    <a:lnTo>
                      <a:pt x="465" y="535"/>
                    </a:lnTo>
                    <a:lnTo>
                      <a:pt x="442" y="565"/>
                    </a:lnTo>
                    <a:lnTo>
                      <a:pt x="419" y="594"/>
                    </a:lnTo>
                    <a:lnTo>
                      <a:pt x="397" y="625"/>
                    </a:lnTo>
                    <a:lnTo>
                      <a:pt x="377" y="655"/>
                    </a:lnTo>
                    <a:lnTo>
                      <a:pt x="356" y="688"/>
                    </a:lnTo>
                    <a:lnTo>
                      <a:pt x="337" y="719"/>
                    </a:lnTo>
                    <a:lnTo>
                      <a:pt x="317" y="752"/>
                    </a:lnTo>
                    <a:lnTo>
                      <a:pt x="300" y="785"/>
                    </a:lnTo>
                    <a:lnTo>
                      <a:pt x="283" y="819"/>
                    </a:lnTo>
                    <a:lnTo>
                      <a:pt x="266" y="853"/>
                    </a:lnTo>
                    <a:lnTo>
                      <a:pt x="251" y="888"/>
                    </a:lnTo>
                    <a:lnTo>
                      <a:pt x="235" y="923"/>
                    </a:lnTo>
                    <a:lnTo>
                      <a:pt x="220" y="959"/>
                    </a:lnTo>
                    <a:lnTo>
                      <a:pt x="207" y="995"/>
                    </a:lnTo>
                    <a:lnTo>
                      <a:pt x="194" y="1032"/>
                    </a:lnTo>
                    <a:lnTo>
                      <a:pt x="182" y="1069"/>
                    </a:lnTo>
                    <a:lnTo>
                      <a:pt x="172" y="1106"/>
                    </a:lnTo>
                    <a:lnTo>
                      <a:pt x="161" y="1144"/>
                    </a:lnTo>
                    <a:lnTo>
                      <a:pt x="151" y="1182"/>
                    </a:lnTo>
                    <a:lnTo>
                      <a:pt x="143" y="1221"/>
                    </a:lnTo>
                    <a:lnTo>
                      <a:pt x="135" y="1260"/>
                    </a:lnTo>
                    <a:lnTo>
                      <a:pt x="127" y="1300"/>
                    </a:lnTo>
                    <a:lnTo>
                      <a:pt x="122" y="1340"/>
                    </a:lnTo>
                    <a:lnTo>
                      <a:pt x="117" y="1380"/>
                    </a:lnTo>
                    <a:lnTo>
                      <a:pt x="111" y="1419"/>
                    </a:lnTo>
                    <a:lnTo>
                      <a:pt x="108" y="1461"/>
                    </a:lnTo>
                    <a:lnTo>
                      <a:pt x="106" y="1504"/>
                    </a:lnTo>
                    <a:lnTo>
                      <a:pt x="105" y="1545"/>
                    </a:lnTo>
                    <a:lnTo>
                      <a:pt x="106" y="1584"/>
                    </a:lnTo>
                    <a:lnTo>
                      <a:pt x="107" y="1619"/>
                    </a:lnTo>
                    <a:lnTo>
                      <a:pt x="110" y="1653"/>
                    </a:lnTo>
                    <a:lnTo>
                      <a:pt x="114" y="1683"/>
                    </a:lnTo>
                    <a:lnTo>
                      <a:pt x="120" y="1711"/>
                    </a:lnTo>
                    <a:lnTo>
                      <a:pt x="125" y="1735"/>
                    </a:lnTo>
                    <a:lnTo>
                      <a:pt x="131" y="1757"/>
                    </a:lnTo>
                    <a:lnTo>
                      <a:pt x="136" y="1777"/>
                    </a:lnTo>
                    <a:lnTo>
                      <a:pt x="141" y="1793"/>
                    </a:lnTo>
                    <a:lnTo>
                      <a:pt x="146" y="1806"/>
                    </a:lnTo>
                    <a:lnTo>
                      <a:pt x="153" y="1824"/>
                    </a:lnTo>
                    <a:lnTo>
                      <a:pt x="157" y="1831"/>
                    </a:lnTo>
                    <a:lnTo>
                      <a:pt x="159" y="1835"/>
                    </a:lnTo>
                    <a:lnTo>
                      <a:pt x="158" y="1839"/>
                    </a:lnTo>
                    <a:lnTo>
                      <a:pt x="157" y="1844"/>
                    </a:lnTo>
                    <a:lnTo>
                      <a:pt x="153" y="1847"/>
                    </a:lnTo>
                    <a:lnTo>
                      <a:pt x="144" y="1857"/>
                    </a:lnTo>
                    <a:lnTo>
                      <a:pt x="123" y="1878"/>
                    </a:lnTo>
                    <a:lnTo>
                      <a:pt x="110" y="1893"/>
                    </a:lnTo>
                    <a:lnTo>
                      <a:pt x="96" y="1913"/>
                    </a:lnTo>
                    <a:lnTo>
                      <a:pt x="82" y="1934"/>
                    </a:lnTo>
                    <a:lnTo>
                      <a:pt x="68" y="1959"/>
                    </a:lnTo>
                    <a:lnTo>
                      <a:pt x="62" y="1972"/>
                    </a:lnTo>
                    <a:lnTo>
                      <a:pt x="56" y="1987"/>
                    </a:lnTo>
                    <a:lnTo>
                      <a:pt x="50" y="2001"/>
                    </a:lnTo>
                    <a:lnTo>
                      <a:pt x="44" y="2018"/>
                    </a:lnTo>
                    <a:lnTo>
                      <a:pt x="40" y="2034"/>
                    </a:lnTo>
                    <a:lnTo>
                      <a:pt x="36" y="2051"/>
                    </a:lnTo>
                    <a:lnTo>
                      <a:pt x="32" y="2069"/>
                    </a:lnTo>
                    <a:lnTo>
                      <a:pt x="29" y="2088"/>
                    </a:lnTo>
                    <a:lnTo>
                      <a:pt x="27" y="2107"/>
                    </a:lnTo>
                    <a:lnTo>
                      <a:pt x="26" y="2127"/>
                    </a:lnTo>
                    <a:lnTo>
                      <a:pt x="26" y="2148"/>
                    </a:lnTo>
                    <a:lnTo>
                      <a:pt x="27" y="2169"/>
                    </a:lnTo>
                    <a:lnTo>
                      <a:pt x="29" y="2191"/>
                    </a:lnTo>
                    <a:lnTo>
                      <a:pt x="33" y="2214"/>
                    </a:lnTo>
                    <a:lnTo>
                      <a:pt x="38" y="2238"/>
                    </a:lnTo>
                    <a:lnTo>
                      <a:pt x="44" y="2261"/>
                    </a:lnTo>
                    <a:lnTo>
                      <a:pt x="58" y="2308"/>
                    </a:lnTo>
                    <a:lnTo>
                      <a:pt x="76" y="2356"/>
                    </a:lnTo>
                    <a:lnTo>
                      <a:pt x="95" y="2407"/>
                    </a:lnTo>
                    <a:lnTo>
                      <a:pt x="117" y="2457"/>
                    </a:lnTo>
                    <a:lnTo>
                      <a:pt x="140" y="2508"/>
                    </a:lnTo>
                    <a:lnTo>
                      <a:pt x="166" y="2558"/>
                    </a:lnTo>
                    <a:lnTo>
                      <a:pt x="193" y="2608"/>
                    </a:lnTo>
                    <a:lnTo>
                      <a:pt x="222" y="2655"/>
                    </a:lnTo>
                    <a:lnTo>
                      <a:pt x="258" y="2711"/>
                    </a:lnTo>
                    <a:lnTo>
                      <a:pt x="294" y="2765"/>
                    </a:lnTo>
                    <a:lnTo>
                      <a:pt x="331" y="2818"/>
                    </a:lnTo>
                    <a:lnTo>
                      <a:pt x="371" y="2870"/>
                    </a:lnTo>
                    <a:lnTo>
                      <a:pt x="411" y="2922"/>
                    </a:lnTo>
                    <a:lnTo>
                      <a:pt x="452" y="2972"/>
                    </a:lnTo>
                    <a:lnTo>
                      <a:pt x="495" y="3021"/>
                    </a:lnTo>
                    <a:lnTo>
                      <a:pt x="539" y="3069"/>
                    </a:lnTo>
                    <a:lnTo>
                      <a:pt x="583" y="3116"/>
                    </a:lnTo>
                    <a:lnTo>
                      <a:pt x="630" y="3162"/>
                    </a:lnTo>
                    <a:lnTo>
                      <a:pt x="677" y="3207"/>
                    </a:lnTo>
                    <a:lnTo>
                      <a:pt x="725" y="3250"/>
                    </a:lnTo>
                    <a:lnTo>
                      <a:pt x="774" y="3293"/>
                    </a:lnTo>
                    <a:lnTo>
                      <a:pt x="825" y="3334"/>
                    </a:lnTo>
                    <a:lnTo>
                      <a:pt x="877" y="3376"/>
                    </a:lnTo>
                    <a:lnTo>
                      <a:pt x="929" y="3414"/>
                    </a:lnTo>
                    <a:lnTo>
                      <a:pt x="933" y="3419"/>
                    </a:lnTo>
                    <a:lnTo>
                      <a:pt x="934" y="3423"/>
                    </a:lnTo>
                    <a:lnTo>
                      <a:pt x="934" y="3428"/>
                    </a:lnTo>
                    <a:lnTo>
                      <a:pt x="932" y="3433"/>
                    </a:lnTo>
                    <a:lnTo>
                      <a:pt x="930" y="3436"/>
                    </a:lnTo>
                    <a:lnTo>
                      <a:pt x="928" y="3437"/>
                    </a:lnTo>
                    <a:lnTo>
                      <a:pt x="924" y="3438"/>
                    </a:lnTo>
                    <a:lnTo>
                      <a:pt x="921" y="3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62"/>
              <p:cNvSpPr>
                <a:spLocks noEditPoints="1"/>
              </p:cNvSpPr>
              <p:nvPr userDrawn="1"/>
            </p:nvSpPr>
            <p:spPr bwMode="auto">
              <a:xfrm>
                <a:off x="2443" y="1746"/>
                <a:ext cx="66" cy="83"/>
              </a:xfrm>
              <a:custGeom>
                <a:avLst/>
                <a:gdLst>
                  <a:gd name="T0" fmla="*/ 37 w 200"/>
                  <a:gd name="T1" fmla="*/ 249 h 249"/>
                  <a:gd name="T2" fmla="*/ 24 w 200"/>
                  <a:gd name="T3" fmla="*/ 245 h 249"/>
                  <a:gd name="T4" fmla="*/ 15 w 200"/>
                  <a:gd name="T5" fmla="*/ 238 h 249"/>
                  <a:gd name="T6" fmla="*/ 8 w 200"/>
                  <a:gd name="T7" fmla="*/ 230 h 249"/>
                  <a:gd name="T8" fmla="*/ 3 w 200"/>
                  <a:gd name="T9" fmla="*/ 220 h 249"/>
                  <a:gd name="T10" fmla="*/ 1 w 200"/>
                  <a:gd name="T11" fmla="*/ 206 h 249"/>
                  <a:gd name="T12" fmla="*/ 1 w 200"/>
                  <a:gd name="T13" fmla="*/ 189 h 249"/>
                  <a:gd name="T14" fmla="*/ 4 w 200"/>
                  <a:gd name="T15" fmla="*/ 172 h 249"/>
                  <a:gd name="T16" fmla="*/ 16 w 200"/>
                  <a:gd name="T17" fmla="*/ 145 h 249"/>
                  <a:gd name="T18" fmla="*/ 40 w 200"/>
                  <a:gd name="T19" fmla="*/ 108 h 249"/>
                  <a:gd name="T20" fmla="*/ 67 w 200"/>
                  <a:gd name="T21" fmla="*/ 72 h 249"/>
                  <a:gd name="T22" fmla="*/ 87 w 200"/>
                  <a:gd name="T23" fmla="*/ 46 h 249"/>
                  <a:gd name="T24" fmla="*/ 99 w 200"/>
                  <a:gd name="T25" fmla="*/ 32 h 249"/>
                  <a:gd name="T26" fmla="*/ 111 w 200"/>
                  <a:gd name="T27" fmla="*/ 20 h 249"/>
                  <a:gd name="T28" fmla="*/ 126 w 200"/>
                  <a:gd name="T29" fmla="*/ 8 h 249"/>
                  <a:gd name="T30" fmla="*/ 143 w 200"/>
                  <a:gd name="T31" fmla="*/ 1 h 249"/>
                  <a:gd name="T32" fmla="*/ 162 w 200"/>
                  <a:gd name="T33" fmla="*/ 1 h 249"/>
                  <a:gd name="T34" fmla="*/ 178 w 200"/>
                  <a:gd name="T35" fmla="*/ 8 h 249"/>
                  <a:gd name="T36" fmla="*/ 191 w 200"/>
                  <a:gd name="T37" fmla="*/ 21 h 249"/>
                  <a:gd name="T38" fmla="*/ 197 w 200"/>
                  <a:gd name="T39" fmla="*/ 33 h 249"/>
                  <a:gd name="T40" fmla="*/ 200 w 200"/>
                  <a:gd name="T41" fmla="*/ 46 h 249"/>
                  <a:gd name="T42" fmla="*/ 200 w 200"/>
                  <a:gd name="T43" fmla="*/ 59 h 249"/>
                  <a:gd name="T44" fmla="*/ 192 w 200"/>
                  <a:gd name="T45" fmla="*/ 85 h 249"/>
                  <a:gd name="T46" fmla="*/ 169 w 200"/>
                  <a:gd name="T47" fmla="*/ 128 h 249"/>
                  <a:gd name="T48" fmla="*/ 151 w 200"/>
                  <a:gd name="T49" fmla="*/ 162 h 249"/>
                  <a:gd name="T50" fmla="*/ 127 w 200"/>
                  <a:gd name="T51" fmla="*/ 196 h 249"/>
                  <a:gd name="T52" fmla="*/ 99 w 200"/>
                  <a:gd name="T53" fmla="*/ 224 h 249"/>
                  <a:gd name="T54" fmla="*/ 84 w 200"/>
                  <a:gd name="T55" fmla="*/ 235 h 249"/>
                  <a:gd name="T56" fmla="*/ 70 w 200"/>
                  <a:gd name="T57" fmla="*/ 242 h 249"/>
                  <a:gd name="T58" fmla="*/ 55 w 200"/>
                  <a:gd name="T59" fmla="*/ 247 h 249"/>
                  <a:gd name="T60" fmla="*/ 42 w 200"/>
                  <a:gd name="T61" fmla="*/ 249 h 249"/>
                  <a:gd name="T62" fmla="*/ 153 w 200"/>
                  <a:gd name="T63" fmla="*/ 27 h 249"/>
                  <a:gd name="T64" fmla="*/ 144 w 200"/>
                  <a:gd name="T65" fmla="*/ 28 h 249"/>
                  <a:gd name="T66" fmla="*/ 136 w 200"/>
                  <a:gd name="T67" fmla="*/ 34 h 249"/>
                  <a:gd name="T68" fmla="*/ 115 w 200"/>
                  <a:gd name="T69" fmla="*/ 54 h 249"/>
                  <a:gd name="T70" fmla="*/ 101 w 200"/>
                  <a:gd name="T71" fmla="*/ 72 h 249"/>
                  <a:gd name="T72" fmla="*/ 54 w 200"/>
                  <a:gd name="T73" fmla="*/ 135 h 249"/>
                  <a:gd name="T74" fmla="*/ 34 w 200"/>
                  <a:gd name="T75" fmla="*/ 169 h 249"/>
                  <a:gd name="T76" fmla="*/ 29 w 200"/>
                  <a:gd name="T77" fmla="*/ 184 h 249"/>
                  <a:gd name="T78" fmla="*/ 27 w 200"/>
                  <a:gd name="T79" fmla="*/ 197 h 249"/>
                  <a:gd name="T80" fmla="*/ 29 w 200"/>
                  <a:gd name="T81" fmla="*/ 211 h 249"/>
                  <a:gd name="T82" fmla="*/ 33 w 200"/>
                  <a:gd name="T83" fmla="*/ 218 h 249"/>
                  <a:gd name="T84" fmla="*/ 42 w 200"/>
                  <a:gd name="T85" fmla="*/ 222 h 249"/>
                  <a:gd name="T86" fmla="*/ 42 w 200"/>
                  <a:gd name="T87" fmla="*/ 222 h 249"/>
                  <a:gd name="T88" fmla="*/ 61 w 200"/>
                  <a:gd name="T89" fmla="*/ 216 h 249"/>
                  <a:gd name="T90" fmla="*/ 84 w 200"/>
                  <a:gd name="T91" fmla="*/ 201 h 249"/>
                  <a:gd name="T92" fmla="*/ 107 w 200"/>
                  <a:gd name="T93" fmla="*/ 179 h 249"/>
                  <a:gd name="T94" fmla="*/ 127 w 200"/>
                  <a:gd name="T95" fmla="*/ 148 h 249"/>
                  <a:gd name="T96" fmla="*/ 145 w 200"/>
                  <a:gd name="T97" fmla="*/ 116 h 249"/>
                  <a:gd name="T98" fmla="*/ 166 w 200"/>
                  <a:gd name="T99" fmla="*/ 77 h 249"/>
                  <a:gd name="T100" fmla="*/ 172 w 200"/>
                  <a:gd name="T101" fmla="*/ 59 h 249"/>
                  <a:gd name="T102" fmla="*/ 173 w 200"/>
                  <a:gd name="T103" fmla="*/ 50 h 249"/>
                  <a:gd name="T104" fmla="*/ 170 w 200"/>
                  <a:gd name="T105" fmla="*/ 39 h 249"/>
                  <a:gd name="T106" fmla="*/ 162 w 200"/>
                  <a:gd name="T107" fmla="*/ 30 h 249"/>
                  <a:gd name="T108" fmla="*/ 155 w 200"/>
                  <a:gd name="T109" fmla="*/ 2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 h="249">
                    <a:moveTo>
                      <a:pt x="42" y="249"/>
                    </a:moveTo>
                    <a:lnTo>
                      <a:pt x="37" y="249"/>
                    </a:lnTo>
                    <a:lnTo>
                      <a:pt x="31" y="248"/>
                    </a:lnTo>
                    <a:lnTo>
                      <a:pt x="24" y="245"/>
                    </a:lnTo>
                    <a:lnTo>
                      <a:pt x="18" y="241"/>
                    </a:lnTo>
                    <a:lnTo>
                      <a:pt x="15" y="238"/>
                    </a:lnTo>
                    <a:lnTo>
                      <a:pt x="11" y="235"/>
                    </a:lnTo>
                    <a:lnTo>
                      <a:pt x="8" y="230"/>
                    </a:lnTo>
                    <a:lnTo>
                      <a:pt x="5" y="225"/>
                    </a:lnTo>
                    <a:lnTo>
                      <a:pt x="3" y="220"/>
                    </a:lnTo>
                    <a:lnTo>
                      <a:pt x="2" y="213"/>
                    </a:lnTo>
                    <a:lnTo>
                      <a:pt x="1" y="206"/>
                    </a:lnTo>
                    <a:lnTo>
                      <a:pt x="0" y="197"/>
                    </a:lnTo>
                    <a:lnTo>
                      <a:pt x="1" y="189"/>
                    </a:lnTo>
                    <a:lnTo>
                      <a:pt x="2" y="181"/>
                    </a:lnTo>
                    <a:lnTo>
                      <a:pt x="4" y="172"/>
                    </a:lnTo>
                    <a:lnTo>
                      <a:pt x="7" y="163"/>
                    </a:lnTo>
                    <a:lnTo>
                      <a:pt x="16" y="145"/>
                    </a:lnTo>
                    <a:lnTo>
                      <a:pt x="27" y="127"/>
                    </a:lnTo>
                    <a:lnTo>
                      <a:pt x="40" y="108"/>
                    </a:lnTo>
                    <a:lnTo>
                      <a:pt x="53" y="90"/>
                    </a:lnTo>
                    <a:lnTo>
                      <a:pt x="67" y="72"/>
                    </a:lnTo>
                    <a:lnTo>
                      <a:pt x="80" y="55"/>
                    </a:lnTo>
                    <a:lnTo>
                      <a:pt x="87" y="46"/>
                    </a:lnTo>
                    <a:lnTo>
                      <a:pt x="94" y="38"/>
                    </a:lnTo>
                    <a:lnTo>
                      <a:pt x="99" y="32"/>
                    </a:lnTo>
                    <a:lnTo>
                      <a:pt x="104" y="26"/>
                    </a:lnTo>
                    <a:lnTo>
                      <a:pt x="111" y="20"/>
                    </a:lnTo>
                    <a:lnTo>
                      <a:pt x="117" y="13"/>
                    </a:lnTo>
                    <a:lnTo>
                      <a:pt x="126" y="8"/>
                    </a:lnTo>
                    <a:lnTo>
                      <a:pt x="135" y="4"/>
                    </a:lnTo>
                    <a:lnTo>
                      <a:pt x="143" y="1"/>
                    </a:lnTo>
                    <a:lnTo>
                      <a:pt x="153" y="0"/>
                    </a:lnTo>
                    <a:lnTo>
                      <a:pt x="162" y="1"/>
                    </a:lnTo>
                    <a:lnTo>
                      <a:pt x="170" y="4"/>
                    </a:lnTo>
                    <a:lnTo>
                      <a:pt x="178" y="8"/>
                    </a:lnTo>
                    <a:lnTo>
                      <a:pt x="185" y="14"/>
                    </a:lnTo>
                    <a:lnTo>
                      <a:pt x="191" y="21"/>
                    </a:lnTo>
                    <a:lnTo>
                      <a:pt x="195" y="26"/>
                    </a:lnTo>
                    <a:lnTo>
                      <a:pt x="197" y="33"/>
                    </a:lnTo>
                    <a:lnTo>
                      <a:pt x="199" y="39"/>
                    </a:lnTo>
                    <a:lnTo>
                      <a:pt x="200" y="46"/>
                    </a:lnTo>
                    <a:lnTo>
                      <a:pt x="200" y="52"/>
                    </a:lnTo>
                    <a:lnTo>
                      <a:pt x="200" y="59"/>
                    </a:lnTo>
                    <a:lnTo>
                      <a:pt x="198" y="67"/>
                    </a:lnTo>
                    <a:lnTo>
                      <a:pt x="192" y="85"/>
                    </a:lnTo>
                    <a:lnTo>
                      <a:pt x="182" y="104"/>
                    </a:lnTo>
                    <a:lnTo>
                      <a:pt x="169" y="128"/>
                    </a:lnTo>
                    <a:lnTo>
                      <a:pt x="154" y="157"/>
                    </a:lnTo>
                    <a:lnTo>
                      <a:pt x="151" y="162"/>
                    </a:lnTo>
                    <a:lnTo>
                      <a:pt x="140" y="180"/>
                    </a:lnTo>
                    <a:lnTo>
                      <a:pt x="127" y="196"/>
                    </a:lnTo>
                    <a:lnTo>
                      <a:pt x="113" y="211"/>
                    </a:lnTo>
                    <a:lnTo>
                      <a:pt x="99" y="224"/>
                    </a:lnTo>
                    <a:lnTo>
                      <a:pt x="91" y="229"/>
                    </a:lnTo>
                    <a:lnTo>
                      <a:pt x="84" y="235"/>
                    </a:lnTo>
                    <a:lnTo>
                      <a:pt x="76" y="239"/>
                    </a:lnTo>
                    <a:lnTo>
                      <a:pt x="70" y="242"/>
                    </a:lnTo>
                    <a:lnTo>
                      <a:pt x="62" y="244"/>
                    </a:lnTo>
                    <a:lnTo>
                      <a:pt x="55" y="247"/>
                    </a:lnTo>
                    <a:lnTo>
                      <a:pt x="48" y="249"/>
                    </a:lnTo>
                    <a:lnTo>
                      <a:pt x="42" y="249"/>
                    </a:lnTo>
                    <a:close/>
                    <a:moveTo>
                      <a:pt x="153" y="27"/>
                    </a:moveTo>
                    <a:lnTo>
                      <a:pt x="153" y="27"/>
                    </a:lnTo>
                    <a:lnTo>
                      <a:pt x="149" y="27"/>
                    </a:lnTo>
                    <a:lnTo>
                      <a:pt x="144" y="28"/>
                    </a:lnTo>
                    <a:lnTo>
                      <a:pt x="140" y="32"/>
                    </a:lnTo>
                    <a:lnTo>
                      <a:pt x="136" y="34"/>
                    </a:lnTo>
                    <a:lnTo>
                      <a:pt x="125" y="43"/>
                    </a:lnTo>
                    <a:lnTo>
                      <a:pt x="115" y="54"/>
                    </a:lnTo>
                    <a:lnTo>
                      <a:pt x="109" y="63"/>
                    </a:lnTo>
                    <a:lnTo>
                      <a:pt x="101" y="72"/>
                    </a:lnTo>
                    <a:lnTo>
                      <a:pt x="77" y="102"/>
                    </a:lnTo>
                    <a:lnTo>
                      <a:pt x="54" y="135"/>
                    </a:lnTo>
                    <a:lnTo>
                      <a:pt x="43" y="153"/>
                    </a:lnTo>
                    <a:lnTo>
                      <a:pt x="34" y="169"/>
                    </a:lnTo>
                    <a:lnTo>
                      <a:pt x="31" y="176"/>
                    </a:lnTo>
                    <a:lnTo>
                      <a:pt x="29" y="184"/>
                    </a:lnTo>
                    <a:lnTo>
                      <a:pt x="28" y="190"/>
                    </a:lnTo>
                    <a:lnTo>
                      <a:pt x="27" y="197"/>
                    </a:lnTo>
                    <a:lnTo>
                      <a:pt x="28" y="204"/>
                    </a:lnTo>
                    <a:lnTo>
                      <a:pt x="29" y="211"/>
                    </a:lnTo>
                    <a:lnTo>
                      <a:pt x="31" y="215"/>
                    </a:lnTo>
                    <a:lnTo>
                      <a:pt x="33" y="218"/>
                    </a:lnTo>
                    <a:lnTo>
                      <a:pt x="37" y="222"/>
                    </a:lnTo>
                    <a:lnTo>
                      <a:pt x="42" y="222"/>
                    </a:lnTo>
                    <a:lnTo>
                      <a:pt x="42" y="222"/>
                    </a:lnTo>
                    <a:lnTo>
                      <a:pt x="42" y="222"/>
                    </a:lnTo>
                    <a:lnTo>
                      <a:pt x="50" y="221"/>
                    </a:lnTo>
                    <a:lnTo>
                      <a:pt x="61" y="216"/>
                    </a:lnTo>
                    <a:lnTo>
                      <a:pt x="72" y="210"/>
                    </a:lnTo>
                    <a:lnTo>
                      <a:pt x="84" y="201"/>
                    </a:lnTo>
                    <a:lnTo>
                      <a:pt x="95" y="190"/>
                    </a:lnTo>
                    <a:lnTo>
                      <a:pt x="107" y="179"/>
                    </a:lnTo>
                    <a:lnTo>
                      <a:pt x="117" y="164"/>
                    </a:lnTo>
                    <a:lnTo>
                      <a:pt x="127" y="148"/>
                    </a:lnTo>
                    <a:lnTo>
                      <a:pt x="130" y="143"/>
                    </a:lnTo>
                    <a:lnTo>
                      <a:pt x="145" y="116"/>
                    </a:lnTo>
                    <a:lnTo>
                      <a:pt x="157" y="94"/>
                    </a:lnTo>
                    <a:lnTo>
                      <a:pt x="166" y="77"/>
                    </a:lnTo>
                    <a:lnTo>
                      <a:pt x="171" y="64"/>
                    </a:lnTo>
                    <a:lnTo>
                      <a:pt x="172" y="59"/>
                    </a:lnTo>
                    <a:lnTo>
                      <a:pt x="173" y="54"/>
                    </a:lnTo>
                    <a:lnTo>
                      <a:pt x="173" y="50"/>
                    </a:lnTo>
                    <a:lnTo>
                      <a:pt x="173" y="46"/>
                    </a:lnTo>
                    <a:lnTo>
                      <a:pt x="170" y="39"/>
                    </a:lnTo>
                    <a:lnTo>
                      <a:pt x="166" y="34"/>
                    </a:lnTo>
                    <a:lnTo>
                      <a:pt x="162" y="30"/>
                    </a:lnTo>
                    <a:lnTo>
                      <a:pt x="158" y="28"/>
                    </a:lnTo>
                    <a:lnTo>
                      <a:pt x="155" y="27"/>
                    </a:lnTo>
                    <a:lnTo>
                      <a:pt x="15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3"/>
              <p:cNvSpPr>
                <a:spLocks noEditPoints="1"/>
              </p:cNvSpPr>
              <p:nvPr userDrawn="1"/>
            </p:nvSpPr>
            <p:spPr bwMode="auto">
              <a:xfrm>
                <a:off x="2513" y="1753"/>
                <a:ext cx="45" cy="78"/>
              </a:xfrm>
              <a:custGeom>
                <a:avLst/>
                <a:gdLst>
                  <a:gd name="T0" fmla="*/ 46 w 136"/>
                  <a:gd name="T1" fmla="*/ 236 h 236"/>
                  <a:gd name="T2" fmla="*/ 29 w 136"/>
                  <a:gd name="T3" fmla="*/ 229 h 236"/>
                  <a:gd name="T4" fmla="*/ 15 w 136"/>
                  <a:gd name="T5" fmla="*/ 215 h 236"/>
                  <a:gd name="T6" fmla="*/ 4 w 136"/>
                  <a:gd name="T7" fmla="*/ 196 h 236"/>
                  <a:gd name="T8" fmla="*/ 0 w 136"/>
                  <a:gd name="T9" fmla="*/ 175 h 236"/>
                  <a:gd name="T10" fmla="*/ 2 w 136"/>
                  <a:gd name="T11" fmla="*/ 151 h 236"/>
                  <a:gd name="T12" fmla="*/ 11 w 136"/>
                  <a:gd name="T13" fmla="*/ 123 h 236"/>
                  <a:gd name="T14" fmla="*/ 24 w 136"/>
                  <a:gd name="T15" fmla="*/ 95 h 236"/>
                  <a:gd name="T16" fmla="*/ 46 w 136"/>
                  <a:gd name="T17" fmla="*/ 55 h 236"/>
                  <a:gd name="T18" fmla="*/ 70 w 136"/>
                  <a:gd name="T19" fmla="*/ 15 h 236"/>
                  <a:gd name="T20" fmla="*/ 79 w 136"/>
                  <a:gd name="T21" fmla="*/ 3 h 236"/>
                  <a:gd name="T22" fmla="*/ 83 w 136"/>
                  <a:gd name="T23" fmla="*/ 1 h 236"/>
                  <a:gd name="T24" fmla="*/ 92 w 136"/>
                  <a:gd name="T25" fmla="*/ 1 h 236"/>
                  <a:gd name="T26" fmla="*/ 106 w 136"/>
                  <a:gd name="T27" fmla="*/ 4 h 236"/>
                  <a:gd name="T28" fmla="*/ 116 w 136"/>
                  <a:gd name="T29" fmla="*/ 10 h 236"/>
                  <a:gd name="T30" fmla="*/ 124 w 136"/>
                  <a:gd name="T31" fmla="*/ 18 h 236"/>
                  <a:gd name="T32" fmla="*/ 131 w 136"/>
                  <a:gd name="T33" fmla="*/ 29 h 236"/>
                  <a:gd name="T34" fmla="*/ 134 w 136"/>
                  <a:gd name="T35" fmla="*/ 41 h 236"/>
                  <a:gd name="T36" fmla="*/ 136 w 136"/>
                  <a:gd name="T37" fmla="*/ 56 h 236"/>
                  <a:gd name="T38" fmla="*/ 135 w 136"/>
                  <a:gd name="T39" fmla="*/ 81 h 236"/>
                  <a:gd name="T40" fmla="*/ 130 w 136"/>
                  <a:gd name="T41" fmla="*/ 112 h 236"/>
                  <a:gd name="T42" fmla="*/ 117 w 136"/>
                  <a:gd name="T43" fmla="*/ 156 h 236"/>
                  <a:gd name="T44" fmla="*/ 101 w 136"/>
                  <a:gd name="T45" fmla="*/ 201 h 236"/>
                  <a:gd name="T46" fmla="*/ 92 w 136"/>
                  <a:gd name="T47" fmla="*/ 216 h 236"/>
                  <a:gd name="T48" fmla="*/ 82 w 136"/>
                  <a:gd name="T49" fmla="*/ 227 h 236"/>
                  <a:gd name="T50" fmla="*/ 69 w 136"/>
                  <a:gd name="T51" fmla="*/ 234 h 236"/>
                  <a:gd name="T52" fmla="*/ 55 w 136"/>
                  <a:gd name="T53" fmla="*/ 236 h 236"/>
                  <a:gd name="T54" fmla="*/ 94 w 136"/>
                  <a:gd name="T55" fmla="*/ 28 h 236"/>
                  <a:gd name="T56" fmla="*/ 69 w 136"/>
                  <a:gd name="T57" fmla="*/ 67 h 236"/>
                  <a:gd name="T58" fmla="*/ 47 w 136"/>
                  <a:gd name="T59" fmla="*/ 110 h 236"/>
                  <a:gd name="T60" fmla="*/ 30 w 136"/>
                  <a:gd name="T61" fmla="*/ 150 h 236"/>
                  <a:gd name="T62" fmla="*/ 27 w 136"/>
                  <a:gd name="T63" fmla="*/ 166 h 236"/>
                  <a:gd name="T64" fmla="*/ 27 w 136"/>
                  <a:gd name="T65" fmla="*/ 179 h 236"/>
                  <a:gd name="T66" fmla="*/ 33 w 136"/>
                  <a:gd name="T67" fmla="*/ 193 h 236"/>
                  <a:gd name="T68" fmla="*/ 40 w 136"/>
                  <a:gd name="T69" fmla="*/ 202 h 236"/>
                  <a:gd name="T70" fmla="*/ 48 w 136"/>
                  <a:gd name="T71" fmla="*/ 208 h 236"/>
                  <a:gd name="T72" fmla="*/ 55 w 136"/>
                  <a:gd name="T73" fmla="*/ 209 h 236"/>
                  <a:gd name="T74" fmla="*/ 61 w 136"/>
                  <a:gd name="T75" fmla="*/ 208 h 236"/>
                  <a:gd name="T76" fmla="*/ 66 w 136"/>
                  <a:gd name="T77" fmla="*/ 205 h 236"/>
                  <a:gd name="T78" fmla="*/ 75 w 136"/>
                  <a:gd name="T79" fmla="*/ 191 h 236"/>
                  <a:gd name="T80" fmla="*/ 91 w 136"/>
                  <a:gd name="T81" fmla="*/ 148 h 236"/>
                  <a:gd name="T82" fmla="*/ 104 w 136"/>
                  <a:gd name="T83" fmla="*/ 108 h 236"/>
                  <a:gd name="T84" fmla="*/ 108 w 136"/>
                  <a:gd name="T85" fmla="*/ 79 h 236"/>
                  <a:gd name="T86" fmla="*/ 109 w 136"/>
                  <a:gd name="T87" fmla="*/ 53 h 236"/>
                  <a:gd name="T88" fmla="*/ 105 w 136"/>
                  <a:gd name="T89" fmla="*/ 38 h 236"/>
                  <a:gd name="T90" fmla="*/ 97 w 136"/>
                  <a:gd name="T91" fmla="*/ 3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 h="236">
                    <a:moveTo>
                      <a:pt x="55" y="236"/>
                    </a:moveTo>
                    <a:lnTo>
                      <a:pt x="46" y="236"/>
                    </a:lnTo>
                    <a:lnTo>
                      <a:pt x="37" y="233"/>
                    </a:lnTo>
                    <a:lnTo>
                      <a:pt x="29" y="229"/>
                    </a:lnTo>
                    <a:lnTo>
                      <a:pt x="22" y="222"/>
                    </a:lnTo>
                    <a:lnTo>
                      <a:pt x="15" y="215"/>
                    </a:lnTo>
                    <a:lnTo>
                      <a:pt x="10" y="206"/>
                    </a:lnTo>
                    <a:lnTo>
                      <a:pt x="4" y="196"/>
                    </a:lnTo>
                    <a:lnTo>
                      <a:pt x="1" y="186"/>
                    </a:lnTo>
                    <a:lnTo>
                      <a:pt x="0" y="175"/>
                    </a:lnTo>
                    <a:lnTo>
                      <a:pt x="0" y="163"/>
                    </a:lnTo>
                    <a:lnTo>
                      <a:pt x="2" y="151"/>
                    </a:lnTo>
                    <a:lnTo>
                      <a:pt x="7" y="137"/>
                    </a:lnTo>
                    <a:lnTo>
                      <a:pt x="11" y="123"/>
                    </a:lnTo>
                    <a:lnTo>
                      <a:pt x="17" y="109"/>
                    </a:lnTo>
                    <a:lnTo>
                      <a:pt x="24" y="95"/>
                    </a:lnTo>
                    <a:lnTo>
                      <a:pt x="30" y="81"/>
                    </a:lnTo>
                    <a:lnTo>
                      <a:pt x="46" y="55"/>
                    </a:lnTo>
                    <a:lnTo>
                      <a:pt x="60" y="32"/>
                    </a:lnTo>
                    <a:lnTo>
                      <a:pt x="70" y="15"/>
                    </a:lnTo>
                    <a:lnTo>
                      <a:pt x="77" y="6"/>
                    </a:lnTo>
                    <a:lnTo>
                      <a:pt x="79" y="3"/>
                    </a:lnTo>
                    <a:lnTo>
                      <a:pt x="81" y="2"/>
                    </a:lnTo>
                    <a:lnTo>
                      <a:pt x="83" y="1"/>
                    </a:lnTo>
                    <a:lnTo>
                      <a:pt x="87" y="0"/>
                    </a:lnTo>
                    <a:lnTo>
                      <a:pt x="92" y="1"/>
                    </a:lnTo>
                    <a:lnTo>
                      <a:pt x="101" y="2"/>
                    </a:lnTo>
                    <a:lnTo>
                      <a:pt x="106" y="4"/>
                    </a:lnTo>
                    <a:lnTo>
                      <a:pt x="110" y="6"/>
                    </a:lnTo>
                    <a:lnTo>
                      <a:pt x="116" y="10"/>
                    </a:lnTo>
                    <a:lnTo>
                      <a:pt x="121" y="14"/>
                    </a:lnTo>
                    <a:lnTo>
                      <a:pt x="124" y="18"/>
                    </a:lnTo>
                    <a:lnTo>
                      <a:pt x="128" y="24"/>
                    </a:lnTo>
                    <a:lnTo>
                      <a:pt x="131" y="29"/>
                    </a:lnTo>
                    <a:lnTo>
                      <a:pt x="133" y="34"/>
                    </a:lnTo>
                    <a:lnTo>
                      <a:pt x="134" y="41"/>
                    </a:lnTo>
                    <a:lnTo>
                      <a:pt x="135" y="48"/>
                    </a:lnTo>
                    <a:lnTo>
                      <a:pt x="136" y="56"/>
                    </a:lnTo>
                    <a:lnTo>
                      <a:pt x="136" y="64"/>
                    </a:lnTo>
                    <a:lnTo>
                      <a:pt x="135" y="81"/>
                    </a:lnTo>
                    <a:lnTo>
                      <a:pt x="133" y="97"/>
                    </a:lnTo>
                    <a:lnTo>
                      <a:pt x="130" y="112"/>
                    </a:lnTo>
                    <a:lnTo>
                      <a:pt x="127" y="127"/>
                    </a:lnTo>
                    <a:lnTo>
                      <a:pt x="117" y="156"/>
                    </a:lnTo>
                    <a:lnTo>
                      <a:pt x="107" y="183"/>
                    </a:lnTo>
                    <a:lnTo>
                      <a:pt x="101" y="201"/>
                    </a:lnTo>
                    <a:lnTo>
                      <a:pt x="96" y="208"/>
                    </a:lnTo>
                    <a:lnTo>
                      <a:pt x="92" y="216"/>
                    </a:lnTo>
                    <a:lnTo>
                      <a:pt x="88" y="222"/>
                    </a:lnTo>
                    <a:lnTo>
                      <a:pt x="82" y="227"/>
                    </a:lnTo>
                    <a:lnTo>
                      <a:pt x="76" y="231"/>
                    </a:lnTo>
                    <a:lnTo>
                      <a:pt x="69" y="234"/>
                    </a:lnTo>
                    <a:lnTo>
                      <a:pt x="62" y="236"/>
                    </a:lnTo>
                    <a:lnTo>
                      <a:pt x="55" y="236"/>
                    </a:lnTo>
                    <a:close/>
                    <a:moveTo>
                      <a:pt x="94" y="28"/>
                    </a:moveTo>
                    <a:lnTo>
                      <a:pt x="94" y="28"/>
                    </a:lnTo>
                    <a:lnTo>
                      <a:pt x="82" y="46"/>
                    </a:lnTo>
                    <a:lnTo>
                      <a:pt x="69" y="67"/>
                    </a:lnTo>
                    <a:lnTo>
                      <a:pt x="57" y="88"/>
                    </a:lnTo>
                    <a:lnTo>
                      <a:pt x="47" y="110"/>
                    </a:lnTo>
                    <a:lnTo>
                      <a:pt x="37" y="131"/>
                    </a:lnTo>
                    <a:lnTo>
                      <a:pt x="30" y="150"/>
                    </a:lnTo>
                    <a:lnTo>
                      <a:pt x="28" y="159"/>
                    </a:lnTo>
                    <a:lnTo>
                      <a:pt x="27" y="166"/>
                    </a:lnTo>
                    <a:lnTo>
                      <a:pt x="27" y="173"/>
                    </a:lnTo>
                    <a:lnTo>
                      <a:pt x="27" y="179"/>
                    </a:lnTo>
                    <a:lnTo>
                      <a:pt x="30" y="187"/>
                    </a:lnTo>
                    <a:lnTo>
                      <a:pt x="33" y="193"/>
                    </a:lnTo>
                    <a:lnTo>
                      <a:pt x="36" y="199"/>
                    </a:lnTo>
                    <a:lnTo>
                      <a:pt x="40" y="202"/>
                    </a:lnTo>
                    <a:lnTo>
                      <a:pt x="43" y="206"/>
                    </a:lnTo>
                    <a:lnTo>
                      <a:pt x="48" y="208"/>
                    </a:lnTo>
                    <a:lnTo>
                      <a:pt x="51" y="209"/>
                    </a:lnTo>
                    <a:lnTo>
                      <a:pt x="55" y="209"/>
                    </a:lnTo>
                    <a:lnTo>
                      <a:pt x="58" y="209"/>
                    </a:lnTo>
                    <a:lnTo>
                      <a:pt x="61" y="208"/>
                    </a:lnTo>
                    <a:lnTo>
                      <a:pt x="64" y="207"/>
                    </a:lnTo>
                    <a:lnTo>
                      <a:pt x="66" y="205"/>
                    </a:lnTo>
                    <a:lnTo>
                      <a:pt x="71" y="199"/>
                    </a:lnTo>
                    <a:lnTo>
                      <a:pt x="75" y="191"/>
                    </a:lnTo>
                    <a:lnTo>
                      <a:pt x="81" y="174"/>
                    </a:lnTo>
                    <a:lnTo>
                      <a:pt x="91" y="148"/>
                    </a:lnTo>
                    <a:lnTo>
                      <a:pt x="100" y="122"/>
                    </a:lnTo>
                    <a:lnTo>
                      <a:pt x="104" y="108"/>
                    </a:lnTo>
                    <a:lnTo>
                      <a:pt x="106" y="93"/>
                    </a:lnTo>
                    <a:lnTo>
                      <a:pt x="108" y="79"/>
                    </a:lnTo>
                    <a:lnTo>
                      <a:pt x="109" y="63"/>
                    </a:lnTo>
                    <a:lnTo>
                      <a:pt x="109" y="53"/>
                    </a:lnTo>
                    <a:lnTo>
                      <a:pt x="107" y="45"/>
                    </a:lnTo>
                    <a:lnTo>
                      <a:pt x="105" y="38"/>
                    </a:lnTo>
                    <a:lnTo>
                      <a:pt x="102" y="32"/>
                    </a:lnTo>
                    <a:lnTo>
                      <a:pt x="97" y="30"/>
                    </a:lnTo>
                    <a:lnTo>
                      <a:pt x="9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4"/>
              <p:cNvSpPr>
                <a:spLocks noEditPoints="1"/>
              </p:cNvSpPr>
              <p:nvPr userDrawn="1"/>
            </p:nvSpPr>
            <p:spPr bwMode="auto">
              <a:xfrm>
                <a:off x="2376" y="1868"/>
                <a:ext cx="239" cy="93"/>
              </a:xfrm>
              <a:custGeom>
                <a:avLst/>
                <a:gdLst>
                  <a:gd name="T0" fmla="*/ 17 w 718"/>
                  <a:gd name="T1" fmla="*/ 277 h 278"/>
                  <a:gd name="T2" fmla="*/ 7 w 718"/>
                  <a:gd name="T3" fmla="*/ 270 h 278"/>
                  <a:gd name="T4" fmla="*/ 1 w 718"/>
                  <a:gd name="T5" fmla="*/ 261 h 278"/>
                  <a:gd name="T6" fmla="*/ 0 w 718"/>
                  <a:gd name="T7" fmla="*/ 249 h 278"/>
                  <a:gd name="T8" fmla="*/ 4 w 718"/>
                  <a:gd name="T9" fmla="*/ 239 h 278"/>
                  <a:gd name="T10" fmla="*/ 30 w 718"/>
                  <a:gd name="T11" fmla="*/ 215 h 278"/>
                  <a:gd name="T12" fmla="*/ 100 w 718"/>
                  <a:gd name="T13" fmla="*/ 157 h 278"/>
                  <a:gd name="T14" fmla="*/ 172 w 718"/>
                  <a:gd name="T15" fmla="*/ 95 h 278"/>
                  <a:gd name="T16" fmla="*/ 215 w 718"/>
                  <a:gd name="T17" fmla="*/ 59 h 278"/>
                  <a:gd name="T18" fmla="*/ 250 w 718"/>
                  <a:gd name="T19" fmla="*/ 36 h 278"/>
                  <a:gd name="T20" fmla="*/ 289 w 718"/>
                  <a:gd name="T21" fmla="*/ 20 h 278"/>
                  <a:gd name="T22" fmla="*/ 330 w 718"/>
                  <a:gd name="T23" fmla="*/ 8 h 278"/>
                  <a:gd name="T24" fmla="*/ 376 w 718"/>
                  <a:gd name="T25" fmla="*/ 2 h 278"/>
                  <a:gd name="T26" fmla="*/ 436 w 718"/>
                  <a:gd name="T27" fmla="*/ 2 h 278"/>
                  <a:gd name="T28" fmla="*/ 537 w 718"/>
                  <a:gd name="T29" fmla="*/ 13 h 278"/>
                  <a:gd name="T30" fmla="*/ 584 w 718"/>
                  <a:gd name="T31" fmla="*/ 27 h 278"/>
                  <a:gd name="T32" fmla="*/ 622 w 718"/>
                  <a:gd name="T33" fmla="*/ 50 h 278"/>
                  <a:gd name="T34" fmla="*/ 653 w 718"/>
                  <a:gd name="T35" fmla="*/ 85 h 278"/>
                  <a:gd name="T36" fmla="*/ 680 w 718"/>
                  <a:gd name="T37" fmla="*/ 129 h 278"/>
                  <a:gd name="T38" fmla="*/ 706 w 718"/>
                  <a:gd name="T39" fmla="*/ 187 h 278"/>
                  <a:gd name="T40" fmla="*/ 718 w 718"/>
                  <a:gd name="T41" fmla="*/ 217 h 278"/>
                  <a:gd name="T42" fmla="*/ 709 w 718"/>
                  <a:gd name="T43" fmla="*/ 229 h 278"/>
                  <a:gd name="T44" fmla="*/ 701 w 718"/>
                  <a:gd name="T45" fmla="*/ 230 h 278"/>
                  <a:gd name="T46" fmla="*/ 646 w 718"/>
                  <a:gd name="T47" fmla="*/ 214 h 278"/>
                  <a:gd name="T48" fmla="*/ 590 w 718"/>
                  <a:gd name="T49" fmla="*/ 195 h 278"/>
                  <a:gd name="T50" fmla="*/ 522 w 718"/>
                  <a:gd name="T51" fmla="*/ 180 h 278"/>
                  <a:gd name="T52" fmla="*/ 425 w 718"/>
                  <a:gd name="T53" fmla="*/ 172 h 278"/>
                  <a:gd name="T54" fmla="*/ 404 w 718"/>
                  <a:gd name="T55" fmla="*/ 173 h 278"/>
                  <a:gd name="T56" fmla="*/ 331 w 718"/>
                  <a:gd name="T57" fmla="*/ 183 h 278"/>
                  <a:gd name="T58" fmla="*/ 253 w 718"/>
                  <a:gd name="T59" fmla="*/ 202 h 278"/>
                  <a:gd name="T60" fmla="*/ 122 w 718"/>
                  <a:gd name="T61" fmla="*/ 243 h 278"/>
                  <a:gd name="T62" fmla="*/ 29 w 718"/>
                  <a:gd name="T63" fmla="*/ 277 h 278"/>
                  <a:gd name="T64" fmla="*/ 408 w 718"/>
                  <a:gd name="T65" fmla="*/ 27 h 278"/>
                  <a:gd name="T66" fmla="*/ 364 w 718"/>
                  <a:gd name="T67" fmla="*/ 31 h 278"/>
                  <a:gd name="T68" fmla="*/ 324 w 718"/>
                  <a:gd name="T69" fmla="*/ 37 h 278"/>
                  <a:gd name="T70" fmla="*/ 287 w 718"/>
                  <a:gd name="T71" fmla="*/ 49 h 278"/>
                  <a:gd name="T72" fmla="*/ 253 w 718"/>
                  <a:gd name="T73" fmla="*/ 66 h 278"/>
                  <a:gd name="T74" fmla="*/ 221 w 718"/>
                  <a:gd name="T75" fmla="*/ 88 h 278"/>
                  <a:gd name="T76" fmla="*/ 168 w 718"/>
                  <a:gd name="T77" fmla="*/ 134 h 278"/>
                  <a:gd name="T78" fmla="*/ 99 w 718"/>
                  <a:gd name="T79" fmla="*/ 193 h 278"/>
                  <a:gd name="T80" fmla="*/ 34 w 718"/>
                  <a:gd name="T81" fmla="*/ 247 h 278"/>
                  <a:gd name="T82" fmla="*/ 174 w 718"/>
                  <a:gd name="T83" fmla="*/ 197 h 278"/>
                  <a:gd name="T84" fmla="*/ 280 w 718"/>
                  <a:gd name="T85" fmla="*/ 167 h 278"/>
                  <a:gd name="T86" fmla="*/ 355 w 718"/>
                  <a:gd name="T87" fmla="*/ 152 h 278"/>
                  <a:gd name="T88" fmla="*/ 422 w 718"/>
                  <a:gd name="T89" fmla="*/ 145 h 278"/>
                  <a:gd name="T90" fmla="*/ 498 w 718"/>
                  <a:gd name="T91" fmla="*/ 149 h 278"/>
                  <a:gd name="T92" fmla="*/ 578 w 718"/>
                  <a:gd name="T93" fmla="*/ 163 h 278"/>
                  <a:gd name="T94" fmla="*/ 638 w 718"/>
                  <a:gd name="T95" fmla="*/ 183 h 278"/>
                  <a:gd name="T96" fmla="*/ 670 w 718"/>
                  <a:gd name="T97" fmla="*/ 194 h 278"/>
                  <a:gd name="T98" fmla="*/ 651 w 718"/>
                  <a:gd name="T99" fmla="*/ 131 h 278"/>
                  <a:gd name="T100" fmla="*/ 627 w 718"/>
                  <a:gd name="T101" fmla="*/ 94 h 278"/>
                  <a:gd name="T102" fmla="*/ 601 w 718"/>
                  <a:gd name="T103" fmla="*/ 68 h 278"/>
                  <a:gd name="T104" fmla="*/ 570 w 718"/>
                  <a:gd name="T105" fmla="*/ 51 h 278"/>
                  <a:gd name="T106" fmla="*/ 532 w 718"/>
                  <a:gd name="T107" fmla="*/ 40 h 278"/>
                  <a:gd name="T108" fmla="*/ 435 w 718"/>
                  <a:gd name="T109" fmla="*/ 2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278">
                    <a:moveTo>
                      <a:pt x="25" y="278"/>
                    </a:moveTo>
                    <a:lnTo>
                      <a:pt x="20" y="277"/>
                    </a:lnTo>
                    <a:lnTo>
                      <a:pt x="17" y="277"/>
                    </a:lnTo>
                    <a:lnTo>
                      <a:pt x="14" y="275"/>
                    </a:lnTo>
                    <a:lnTo>
                      <a:pt x="11" y="272"/>
                    </a:lnTo>
                    <a:lnTo>
                      <a:pt x="7" y="270"/>
                    </a:lnTo>
                    <a:lnTo>
                      <a:pt x="5" y="267"/>
                    </a:lnTo>
                    <a:lnTo>
                      <a:pt x="3" y="264"/>
                    </a:lnTo>
                    <a:lnTo>
                      <a:pt x="1" y="261"/>
                    </a:lnTo>
                    <a:lnTo>
                      <a:pt x="0" y="257"/>
                    </a:lnTo>
                    <a:lnTo>
                      <a:pt x="0" y="253"/>
                    </a:lnTo>
                    <a:lnTo>
                      <a:pt x="0" y="249"/>
                    </a:lnTo>
                    <a:lnTo>
                      <a:pt x="1" y="245"/>
                    </a:lnTo>
                    <a:lnTo>
                      <a:pt x="2" y="242"/>
                    </a:lnTo>
                    <a:lnTo>
                      <a:pt x="4" y="239"/>
                    </a:lnTo>
                    <a:lnTo>
                      <a:pt x="6" y="236"/>
                    </a:lnTo>
                    <a:lnTo>
                      <a:pt x="8" y="233"/>
                    </a:lnTo>
                    <a:lnTo>
                      <a:pt x="30" y="215"/>
                    </a:lnTo>
                    <a:lnTo>
                      <a:pt x="53" y="197"/>
                    </a:lnTo>
                    <a:lnTo>
                      <a:pt x="75" y="177"/>
                    </a:lnTo>
                    <a:lnTo>
                      <a:pt x="100" y="157"/>
                    </a:lnTo>
                    <a:lnTo>
                      <a:pt x="124" y="136"/>
                    </a:lnTo>
                    <a:lnTo>
                      <a:pt x="148" y="116"/>
                    </a:lnTo>
                    <a:lnTo>
                      <a:pt x="172" y="95"/>
                    </a:lnTo>
                    <a:lnTo>
                      <a:pt x="193" y="76"/>
                    </a:lnTo>
                    <a:lnTo>
                      <a:pt x="204" y="67"/>
                    </a:lnTo>
                    <a:lnTo>
                      <a:pt x="215" y="59"/>
                    </a:lnTo>
                    <a:lnTo>
                      <a:pt x="227" y="50"/>
                    </a:lnTo>
                    <a:lnTo>
                      <a:pt x="238" y="43"/>
                    </a:lnTo>
                    <a:lnTo>
                      <a:pt x="250" y="36"/>
                    </a:lnTo>
                    <a:lnTo>
                      <a:pt x="263" y="30"/>
                    </a:lnTo>
                    <a:lnTo>
                      <a:pt x="276" y="24"/>
                    </a:lnTo>
                    <a:lnTo>
                      <a:pt x="289" y="20"/>
                    </a:lnTo>
                    <a:lnTo>
                      <a:pt x="302" y="14"/>
                    </a:lnTo>
                    <a:lnTo>
                      <a:pt x="316" y="11"/>
                    </a:lnTo>
                    <a:lnTo>
                      <a:pt x="330" y="8"/>
                    </a:lnTo>
                    <a:lnTo>
                      <a:pt x="345" y="6"/>
                    </a:lnTo>
                    <a:lnTo>
                      <a:pt x="360" y="4"/>
                    </a:lnTo>
                    <a:lnTo>
                      <a:pt x="376" y="2"/>
                    </a:lnTo>
                    <a:lnTo>
                      <a:pt x="392" y="2"/>
                    </a:lnTo>
                    <a:lnTo>
                      <a:pt x="408" y="0"/>
                    </a:lnTo>
                    <a:lnTo>
                      <a:pt x="436" y="2"/>
                    </a:lnTo>
                    <a:lnTo>
                      <a:pt x="466" y="4"/>
                    </a:lnTo>
                    <a:lnTo>
                      <a:pt x="500" y="8"/>
                    </a:lnTo>
                    <a:lnTo>
                      <a:pt x="537" y="13"/>
                    </a:lnTo>
                    <a:lnTo>
                      <a:pt x="553" y="18"/>
                    </a:lnTo>
                    <a:lnTo>
                      <a:pt x="569" y="22"/>
                    </a:lnTo>
                    <a:lnTo>
                      <a:pt x="584" y="27"/>
                    </a:lnTo>
                    <a:lnTo>
                      <a:pt x="597" y="34"/>
                    </a:lnTo>
                    <a:lnTo>
                      <a:pt x="610" y="41"/>
                    </a:lnTo>
                    <a:lnTo>
                      <a:pt x="622" y="50"/>
                    </a:lnTo>
                    <a:lnTo>
                      <a:pt x="633" y="61"/>
                    </a:lnTo>
                    <a:lnTo>
                      <a:pt x="643" y="72"/>
                    </a:lnTo>
                    <a:lnTo>
                      <a:pt x="653" y="85"/>
                    </a:lnTo>
                    <a:lnTo>
                      <a:pt x="663" y="98"/>
                    </a:lnTo>
                    <a:lnTo>
                      <a:pt x="671" y="113"/>
                    </a:lnTo>
                    <a:lnTo>
                      <a:pt x="680" y="129"/>
                    </a:lnTo>
                    <a:lnTo>
                      <a:pt x="689" y="147"/>
                    </a:lnTo>
                    <a:lnTo>
                      <a:pt x="697" y="167"/>
                    </a:lnTo>
                    <a:lnTo>
                      <a:pt x="706" y="187"/>
                    </a:lnTo>
                    <a:lnTo>
                      <a:pt x="716" y="209"/>
                    </a:lnTo>
                    <a:lnTo>
                      <a:pt x="718" y="213"/>
                    </a:lnTo>
                    <a:lnTo>
                      <a:pt x="718" y="217"/>
                    </a:lnTo>
                    <a:lnTo>
                      <a:pt x="717" y="223"/>
                    </a:lnTo>
                    <a:lnTo>
                      <a:pt x="714" y="227"/>
                    </a:lnTo>
                    <a:lnTo>
                      <a:pt x="709" y="229"/>
                    </a:lnTo>
                    <a:lnTo>
                      <a:pt x="704" y="230"/>
                    </a:lnTo>
                    <a:lnTo>
                      <a:pt x="703" y="230"/>
                    </a:lnTo>
                    <a:lnTo>
                      <a:pt x="701" y="230"/>
                    </a:lnTo>
                    <a:lnTo>
                      <a:pt x="681" y="225"/>
                    </a:lnTo>
                    <a:lnTo>
                      <a:pt x="663" y="220"/>
                    </a:lnTo>
                    <a:lnTo>
                      <a:pt x="646" y="214"/>
                    </a:lnTo>
                    <a:lnTo>
                      <a:pt x="629" y="208"/>
                    </a:lnTo>
                    <a:lnTo>
                      <a:pt x="610" y="201"/>
                    </a:lnTo>
                    <a:lnTo>
                      <a:pt x="590" y="195"/>
                    </a:lnTo>
                    <a:lnTo>
                      <a:pt x="570" y="189"/>
                    </a:lnTo>
                    <a:lnTo>
                      <a:pt x="547" y="184"/>
                    </a:lnTo>
                    <a:lnTo>
                      <a:pt x="522" y="180"/>
                    </a:lnTo>
                    <a:lnTo>
                      <a:pt x="494" y="175"/>
                    </a:lnTo>
                    <a:lnTo>
                      <a:pt x="462" y="173"/>
                    </a:lnTo>
                    <a:lnTo>
                      <a:pt x="425" y="172"/>
                    </a:lnTo>
                    <a:lnTo>
                      <a:pt x="425" y="172"/>
                    </a:lnTo>
                    <a:lnTo>
                      <a:pt x="425" y="172"/>
                    </a:lnTo>
                    <a:lnTo>
                      <a:pt x="404" y="173"/>
                    </a:lnTo>
                    <a:lnTo>
                      <a:pt x="381" y="175"/>
                    </a:lnTo>
                    <a:lnTo>
                      <a:pt x="356" y="179"/>
                    </a:lnTo>
                    <a:lnTo>
                      <a:pt x="331" y="183"/>
                    </a:lnTo>
                    <a:lnTo>
                      <a:pt x="305" y="188"/>
                    </a:lnTo>
                    <a:lnTo>
                      <a:pt x="280" y="195"/>
                    </a:lnTo>
                    <a:lnTo>
                      <a:pt x="253" y="202"/>
                    </a:lnTo>
                    <a:lnTo>
                      <a:pt x="226" y="210"/>
                    </a:lnTo>
                    <a:lnTo>
                      <a:pt x="173" y="226"/>
                    </a:lnTo>
                    <a:lnTo>
                      <a:pt x="122" y="243"/>
                    </a:lnTo>
                    <a:lnTo>
                      <a:pt x="74" y="261"/>
                    </a:lnTo>
                    <a:lnTo>
                      <a:pt x="34" y="276"/>
                    </a:lnTo>
                    <a:lnTo>
                      <a:pt x="29" y="277"/>
                    </a:lnTo>
                    <a:lnTo>
                      <a:pt x="25" y="278"/>
                    </a:lnTo>
                    <a:close/>
                    <a:moveTo>
                      <a:pt x="408" y="27"/>
                    </a:moveTo>
                    <a:lnTo>
                      <a:pt x="408" y="27"/>
                    </a:lnTo>
                    <a:lnTo>
                      <a:pt x="393" y="29"/>
                    </a:lnTo>
                    <a:lnTo>
                      <a:pt x="378" y="29"/>
                    </a:lnTo>
                    <a:lnTo>
                      <a:pt x="364" y="31"/>
                    </a:lnTo>
                    <a:lnTo>
                      <a:pt x="350" y="32"/>
                    </a:lnTo>
                    <a:lnTo>
                      <a:pt x="337" y="34"/>
                    </a:lnTo>
                    <a:lnTo>
                      <a:pt x="324" y="37"/>
                    </a:lnTo>
                    <a:lnTo>
                      <a:pt x="311" y="40"/>
                    </a:lnTo>
                    <a:lnTo>
                      <a:pt x="299" y="45"/>
                    </a:lnTo>
                    <a:lnTo>
                      <a:pt x="287" y="49"/>
                    </a:lnTo>
                    <a:lnTo>
                      <a:pt x="275" y="54"/>
                    </a:lnTo>
                    <a:lnTo>
                      <a:pt x="263" y="60"/>
                    </a:lnTo>
                    <a:lnTo>
                      <a:pt x="253" y="66"/>
                    </a:lnTo>
                    <a:lnTo>
                      <a:pt x="242" y="73"/>
                    </a:lnTo>
                    <a:lnTo>
                      <a:pt x="231" y="80"/>
                    </a:lnTo>
                    <a:lnTo>
                      <a:pt x="221" y="88"/>
                    </a:lnTo>
                    <a:lnTo>
                      <a:pt x="210" y="97"/>
                    </a:lnTo>
                    <a:lnTo>
                      <a:pt x="190" y="115"/>
                    </a:lnTo>
                    <a:lnTo>
                      <a:pt x="168" y="134"/>
                    </a:lnTo>
                    <a:lnTo>
                      <a:pt x="146" y="154"/>
                    </a:lnTo>
                    <a:lnTo>
                      <a:pt x="123" y="173"/>
                    </a:lnTo>
                    <a:lnTo>
                      <a:pt x="99" y="193"/>
                    </a:lnTo>
                    <a:lnTo>
                      <a:pt x="77" y="212"/>
                    </a:lnTo>
                    <a:lnTo>
                      <a:pt x="55" y="229"/>
                    </a:lnTo>
                    <a:lnTo>
                      <a:pt x="34" y="247"/>
                    </a:lnTo>
                    <a:lnTo>
                      <a:pt x="77" y="231"/>
                    </a:lnTo>
                    <a:lnTo>
                      <a:pt x="123" y="214"/>
                    </a:lnTo>
                    <a:lnTo>
                      <a:pt x="174" y="197"/>
                    </a:lnTo>
                    <a:lnTo>
                      <a:pt x="227" y="181"/>
                    </a:lnTo>
                    <a:lnTo>
                      <a:pt x="253" y="173"/>
                    </a:lnTo>
                    <a:lnTo>
                      <a:pt x="280" y="167"/>
                    </a:lnTo>
                    <a:lnTo>
                      <a:pt x="305" y="161"/>
                    </a:lnTo>
                    <a:lnTo>
                      <a:pt x="330" y="156"/>
                    </a:lnTo>
                    <a:lnTo>
                      <a:pt x="355" y="152"/>
                    </a:lnTo>
                    <a:lnTo>
                      <a:pt x="379" y="148"/>
                    </a:lnTo>
                    <a:lnTo>
                      <a:pt x="402" y="146"/>
                    </a:lnTo>
                    <a:lnTo>
                      <a:pt x="422" y="145"/>
                    </a:lnTo>
                    <a:lnTo>
                      <a:pt x="425" y="145"/>
                    </a:lnTo>
                    <a:lnTo>
                      <a:pt x="464" y="146"/>
                    </a:lnTo>
                    <a:lnTo>
                      <a:pt x="498" y="149"/>
                    </a:lnTo>
                    <a:lnTo>
                      <a:pt x="528" y="153"/>
                    </a:lnTo>
                    <a:lnTo>
                      <a:pt x="554" y="158"/>
                    </a:lnTo>
                    <a:lnTo>
                      <a:pt x="578" y="163"/>
                    </a:lnTo>
                    <a:lnTo>
                      <a:pt x="599" y="169"/>
                    </a:lnTo>
                    <a:lnTo>
                      <a:pt x="619" y="176"/>
                    </a:lnTo>
                    <a:lnTo>
                      <a:pt x="638" y="183"/>
                    </a:lnTo>
                    <a:lnTo>
                      <a:pt x="649" y="186"/>
                    </a:lnTo>
                    <a:lnTo>
                      <a:pt x="660" y="189"/>
                    </a:lnTo>
                    <a:lnTo>
                      <a:pt x="670" y="194"/>
                    </a:lnTo>
                    <a:lnTo>
                      <a:pt x="681" y="197"/>
                    </a:lnTo>
                    <a:lnTo>
                      <a:pt x="666" y="161"/>
                    </a:lnTo>
                    <a:lnTo>
                      <a:pt x="651" y="131"/>
                    </a:lnTo>
                    <a:lnTo>
                      <a:pt x="643" y="118"/>
                    </a:lnTo>
                    <a:lnTo>
                      <a:pt x="636" y="105"/>
                    </a:lnTo>
                    <a:lnTo>
                      <a:pt x="627" y="94"/>
                    </a:lnTo>
                    <a:lnTo>
                      <a:pt x="619" y="85"/>
                    </a:lnTo>
                    <a:lnTo>
                      <a:pt x="610" y="76"/>
                    </a:lnTo>
                    <a:lnTo>
                      <a:pt x="601" y="68"/>
                    </a:lnTo>
                    <a:lnTo>
                      <a:pt x="592" y="62"/>
                    </a:lnTo>
                    <a:lnTo>
                      <a:pt x="581" y="55"/>
                    </a:lnTo>
                    <a:lnTo>
                      <a:pt x="570" y="51"/>
                    </a:lnTo>
                    <a:lnTo>
                      <a:pt x="558" y="47"/>
                    </a:lnTo>
                    <a:lnTo>
                      <a:pt x="545" y="44"/>
                    </a:lnTo>
                    <a:lnTo>
                      <a:pt x="532" y="40"/>
                    </a:lnTo>
                    <a:lnTo>
                      <a:pt x="497" y="35"/>
                    </a:lnTo>
                    <a:lnTo>
                      <a:pt x="464" y="31"/>
                    </a:lnTo>
                    <a:lnTo>
                      <a:pt x="435" y="29"/>
                    </a:lnTo>
                    <a:lnTo>
                      <a:pt x="40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65"/>
              <p:cNvSpPr>
                <a:spLocks noEditPoints="1"/>
              </p:cNvSpPr>
              <p:nvPr userDrawn="1"/>
            </p:nvSpPr>
            <p:spPr bwMode="auto">
              <a:xfrm>
                <a:off x="2455" y="1950"/>
                <a:ext cx="147" cy="61"/>
              </a:xfrm>
              <a:custGeom>
                <a:avLst/>
                <a:gdLst>
                  <a:gd name="T0" fmla="*/ 10 w 440"/>
                  <a:gd name="T1" fmla="*/ 183 h 183"/>
                  <a:gd name="T2" fmla="*/ 4 w 440"/>
                  <a:gd name="T3" fmla="*/ 179 h 183"/>
                  <a:gd name="T4" fmla="*/ 0 w 440"/>
                  <a:gd name="T5" fmla="*/ 172 h 183"/>
                  <a:gd name="T6" fmla="*/ 1 w 440"/>
                  <a:gd name="T7" fmla="*/ 160 h 183"/>
                  <a:gd name="T8" fmla="*/ 8 w 440"/>
                  <a:gd name="T9" fmla="*/ 143 h 183"/>
                  <a:gd name="T10" fmla="*/ 22 w 440"/>
                  <a:gd name="T11" fmla="*/ 115 h 183"/>
                  <a:gd name="T12" fmla="*/ 58 w 440"/>
                  <a:gd name="T13" fmla="*/ 67 h 183"/>
                  <a:gd name="T14" fmla="*/ 75 w 440"/>
                  <a:gd name="T15" fmla="*/ 48 h 183"/>
                  <a:gd name="T16" fmla="*/ 94 w 440"/>
                  <a:gd name="T17" fmla="*/ 34 h 183"/>
                  <a:gd name="T18" fmla="*/ 120 w 440"/>
                  <a:gd name="T19" fmla="*/ 20 h 183"/>
                  <a:gd name="T20" fmla="*/ 142 w 440"/>
                  <a:gd name="T21" fmla="*/ 11 h 183"/>
                  <a:gd name="T22" fmla="*/ 166 w 440"/>
                  <a:gd name="T23" fmla="*/ 5 h 183"/>
                  <a:gd name="T24" fmla="*/ 193 w 440"/>
                  <a:gd name="T25" fmla="*/ 2 h 183"/>
                  <a:gd name="T26" fmla="*/ 241 w 440"/>
                  <a:gd name="T27" fmla="*/ 0 h 183"/>
                  <a:gd name="T28" fmla="*/ 289 w 440"/>
                  <a:gd name="T29" fmla="*/ 4 h 183"/>
                  <a:gd name="T30" fmla="*/ 318 w 440"/>
                  <a:gd name="T31" fmla="*/ 8 h 183"/>
                  <a:gd name="T32" fmla="*/ 344 w 440"/>
                  <a:gd name="T33" fmla="*/ 15 h 183"/>
                  <a:gd name="T34" fmla="*/ 369 w 440"/>
                  <a:gd name="T35" fmla="*/ 24 h 183"/>
                  <a:gd name="T36" fmla="*/ 390 w 440"/>
                  <a:gd name="T37" fmla="*/ 37 h 183"/>
                  <a:gd name="T38" fmla="*/ 409 w 440"/>
                  <a:gd name="T39" fmla="*/ 56 h 183"/>
                  <a:gd name="T40" fmla="*/ 420 w 440"/>
                  <a:gd name="T41" fmla="*/ 74 h 183"/>
                  <a:gd name="T42" fmla="*/ 429 w 440"/>
                  <a:gd name="T43" fmla="*/ 94 h 183"/>
                  <a:gd name="T44" fmla="*/ 438 w 440"/>
                  <a:gd name="T45" fmla="*/ 131 h 183"/>
                  <a:gd name="T46" fmla="*/ 440 w 440"/>
                  <a:gd name="T47" fmla="*/ 155 h 183"/>
                  <a:gd name="T48" fmla="*/ 437 w 440"/>
                  <a:gd name="T49" fmla="*/ 160 h 183"/>
                  <a:gd name="T50" fmla="*/ 432 w 440"/>
                  <a:gd name="T51" fmla="*/ 165 h 183"/>
                  <a:gd name="T52" fmla="*/ 426 w 440"/>
                  <a:gd name="T53" fmla="*/ 166 h 183"/>
                  <a:gd name="T54" fmla="*/ 398 w 440"/>
                  <a:gd name="T55" fmla="*/ 158 h 183"/>
                  <a:gd name="T56" fmla="*/ 345 w 440"/>
                  <a:gd name="T57" fmla="*/ 147 h 183"/>
                  <a:gd name="T58" fmla="*/ 291 w 440"/>
                  <a:gd name="T59" fmla="*/ 141 h 183"/>
                  <a:gd name="T60" fmla="*/ 240 w 440"/>
                  <a:gd name="T61" fmla="*/ 139 h 183"/>
                  <a:gd name="T62" fmla="*/ 187 w 440"/>
                  <a:gd name="T63" fmla="*/ 143 h 183"/>
                  <a:gd name="T64" fmla="*/ 131 w 440"/>
                  <a:gd name="T65" fmla="*/ 151 h 183"/>
                  <a:gd name="T66" fmla="*/ 82 w 440"/>
                  <a:gd name="T67" fmla="*/ 161 h 183"/>
                  <a:gd name="T68" fmla="*/ 39 w 440"/>
                  <a:gd name="T69" fmla="*/ 174 h 183"/>
                  <a:gd name="T70" fmla="*/ 17 w 440"/>
                  <a:gd name="T71" fmla="*/ 183 h 183"/>
                  <a:gd name="T72" fmla="*/ 207 w 440"/>
                  <a:gd name="T73" fmla="*/ 27 h 183"/>
                  <a:gd name="T74" fmla="*/ 195 w 440"/>
                  <a:gd name="T75" fmla="*/ 29 h 183"/>
                  <a:gd name="T76" fmla="*/ 171 w 440"/>
                  <a:gd name="T77" fmla="*/ 32 h 183"/>
                  <a:gd name="T78" fmla="*/ 141 w 440"/>
                  <a:gd name="T79" fmla="*/ 41 h 183"/>
                  <a:gd name="T80" fmla="*/ 99 w 440"/>
                  <a:gd name="T81" fmla="*/ 64 h 183"/>
                  <a:gd name="T82" fmla="*/ 76 w 440"/>
                  <a:gd name="T83" fmla="*/ 87 h 183"/>
                  <a:gd name="T84" fmla="*/ 47 w 440"/>
                  <a:gd name="T85" fmla="*/ 127 h 183"/>
                  <a:gd name="T86" fmla="*/ 54 w 440"/>
                  <a:gd name="T87" fmla="*/ 141 h 183"/>
                  <a:gd name="T88" fmla="*/ 94 w 440"/>
                  <a:gd name="T89" fmla="*/ 130 h 183"/>
                  <a:gd name="T90" fmla="*/ 139 w 440"/>
                  <a:gd name="T91" fmla="*/ 121 h 183"/>
                  <a:gd name="T92" fmla="*/ 188 w 440"/>
                  <a:gd name="T93" fmla="*/ 115 h 183"/>
                  <a:gd name="T94" fmla="*/ 237 w 440"/>
                  <a:gd name="T95" fmla="*/ 112 h 183"/>
                  <a:gd name="T96" fmla="*/ 283 w 440"/>
                  <a:gd name="T97" fmla="*/ 113 h 183"/>
                  <a:gd name="T98" fmla="*/ 335 w 440"/>
                  <a:gd name="T99" fmla="*/ 118 h 183"/>
                  <a:gd name="T100" fmla="*/ 386 w 440"/>
                  <a:gd name="T101" fmla="*/ 128 h 183"/>
                  <a:gd name="T102" fmla="*/ 407 w 440"/>
                  <a:gd name="T103" fmla="*/ 118 h 183"/>
                  <a:gd name="T104" fmla="*/ 399 w 440"/>
                  <a:gd name="T105" fmla="*/ 90 h 183"/>
                  <a:gd name="T106" fmla="*/ 388 w 440"/>
                  <a:gd name="T107" fmla="*/ 73 h 183"/>
                  <a:gd name="T108" fmla="*/ 374 w 440"/>
                  <a:gd name="T109" fmla="*/ 60 h 183"/>
                  <a:gd name="T110" fmla="*/ 358 w 440"/>
                  <a:gd name="T111" fmla="*/ 49 h 183"/>
                  <a:gd name="T112" fmla="*/ 338 w 440"/>
                  <a:gd name="T113" fmla="*/ 40 h 183"/>
                  <a:gd name="T114" fmla="*/ 316 w 440"/>
                  <a:gd name="T115" fmla="*/ 35 h 183"/>
                  <a:gd name="T116" fmla="*/ 290 w 440"/>
                  <a:gd name="T117" fmla="*/ 31 h 183"/>
                  <a:gd name="T118" fmla="*/ 243 w 440"/>
                  <a:gd name="T119" fmla="*/ 2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0" h="183">
                    <a:moveTo>
                      <a:pt x="14" y="183"/>
                    </a:moveTo>
                    <a:lnTo>
                      <a:pt x="10" y="183"/>
                    </a:lnTo>
                    <a:lnTo>
                      <a:pt x="6" y="181"/>
                    </a:lnTo>
                    <a:lnTo>
                      <a:pt x="4" y="179"/>
                    </a:lnTo>
                    <a:lnTo>
                      <a:pt x="1" y="175"/>
                    </a:lnTo>
                    <a:lnTo>
                      <a:pt x="0" y="172"/>
                    </a:lnTo>
                    <a:lnTo>
                      <a:pt x="0" y="169"/>
                    </a:lnTo>
                    <a:lnTo>
                      <a:pt x="1" y="160"/>
                    </a:lnTo>
                    <a:lnTo>
                      <a:pt x="5" y="152"/>
                    </a:lnTo>
                    <a:lnTo>
                      <a:pt x="8" y="143"/>
                    </a:lnTo>
                    <a:lnTo>
                      <a:pt x="12" y="133"/>
                    </a:lnTo>
                    <a:lnTo>
                      <a:pt x="22" y="115"/>
                    </a:lnTo>
                    <a:lnTo>
                      <a:pt x="35" y="97"/>
                    </a:lnTo>
                    <a:lnTo>
                      <a:pt x="58" y="67"/>
                    </a:lnTo>
                    <a:lnTo>
                      <a:pt x="71" y="51"/>
                    </a:lnTo>
                    <a:lnTo>
                      <a:pt x="75" y="48"/>
                    </a:lnTo>
                    <a:lnTo>
                      <a:pt x="82" y="43"/>
                    </a:lnTo>
                    <a:lnTo>
                      <a:pt x="94" y="34"/>
                    </a:lnTo>
                    <a:lnTo>
                      <a:pt x="111" y="25"/>
                    </a:lnTo>
                    <a:lnTo>
                      <a:pt x="120" y="20"/>
                    </a:lnTo>
                    <a:lnTo>
                      <a:pt x="130" y="16"/>
                    </a:lnTo>
                    <a:lnTo>
                      <a:pt x="142" y="11"/>
                    </a:lnTo>
                    <a:lnTo>
                      <a:pt x="153" y="8"/>
                    </a:lnTo>
                    <a:lnTo>
                      <a:pt x="166" y="5"/>
                    </a:lnTo>
                    <a:lnTo>
                      <a:pt x="179" y="3"/>
                    </a:lnTo>
                    <a:lnTo>
                      <a:pt x="193" y="2"/>
                    </a:lnTo>
                    <a:lnTo>
                      <a:pt x="207" y="0"/>
                    </a:lnTo>
                    <a:lnTo>
                      <a:pt x="241" y="0"/>
                    </a:lnTo>
                    <a:lnTo>
                      <a:pt x="274" y="3"/>
                    </a:lnTo>
                    <a:lnTo>
                      <a:pt x="289" y="4"/>
                    </a:lnTo>
                    <a:lnTo>
                      <a:pt x="304" y="6"/>
                    </a:lnTo>
                    <a:lnTo>
                      <a:pt x="318" y="8"/>
                    </a:lnTo>
                    <a:lnTo>
                      <a:pt x="331" y="11"/>
                    </a:lnTo>
                    <a:lnTo>
                      <a:pt x="344" y="15"/>
                    </a:lnTo>
                    <a:lnTo>
                      <a:pt x="357" y="19"/>
                    </a:lnTo>
                    <a:lnTo>
                      <a:pt x="369" y="24"/>
                    </a:lnTo>
                    <a:lnTo>
                      <a:pt x="379" y="31"/>
                    </a:lnTo>
                    <a:lnTo>
                      <a:pt x="390" y="37"/>
                    </a:lnTo>
                    <a:lnTo>
                      <a:pt x="399" y="46"/>
                    </a:lnTo>
                    <a:lnTo>
                      <a:pt x="409" y="56"/>
                    </a:lnTo>
                    <a:lnTo>
                      <a:pt x="416" y="65"/>
                    </a:lnTo>
                    <a:lnTo>
                      <a:pt x="420" y="74"/>
                    </a:lnTo>
                    <a:lnTo>
                      <a:pt x="425" y="84"/>
                    </a:lnTo>
                    <a:lnTo>
                      <a:pt x="429" y="94"/>
                    </a:lnTo>
                    <a:lnTo>
                      <a:pt x="432" y="107"/>
                    </a:lnTo>
                    <a:lnTo>
                      <a:pt x="438" y="131"/>
                    </a:lnTo>
                    <a:lnTo>
                      <a:pt x="440" y="152"/>
                    </a:lnTo>
                    <a:lnTo>
                      <a:pt x="440" y="155"/>
                    </a:lnTo>
                    <a:lnTo>
                      <a:pt x="439" y="158"/>
                    </a:lnTo>
                    <a:lnTo>
                      <a:pt x="437" y="160"/>
                    </a:lnTo>
                    <a:lnTo>
                      <a:pt x="434" y="162"/>
                    </a:lnTo>
                    <a:lnTo>
                      <a:pt x="432" y="165"/>
                    </a:lnTo>
                    <a:lnTo>
                      <a:pt x="429" y="166"/>
                    </a:lnTo>
                    <a:lnTo>
                      <a:pt x="426" y="166"/>
                    </a:lnTo>
                    <a:lnTo>
                      <a:pt x="423" y="166"/>
                    </a:lnTo>
                    <a:lnTo>
                      <a:pt x="398" y="158"/>
                    </a:lnTo>
                    <a:lnTo>
                      <a:pt x="372" y="153"/>
                    </a:lnTo>
                    <a:lnTo>
                      <a:pt x="345" y="147"/>
                    </a:lnTo>
                    <a:lnTo>
                      <a:pt x="318" y="143"/>
                    </a:lnTo>
                    <a:lnTo>
                      <a:pt x="291" y="141"/>
                    </a:lnTo>
                    <a:lnTo>
                      <a:pt x="265" y="139"/>
                    </a:lnTo>
                    <a:lnTo>
                      <a:pt x="240" y="139"/>
                    </a:lnTo>
                    <a:lnTo>
                      <a:pt x="217" y="140"/>
                    </a:lnTo>
                    <a:lnTo>
                      <a:pt x="187" y="143"/>
                    </a:lnTo>
                    <a:lnTo>
                      <a:pt x="158" y="146"/>
                    </a:lnTo>
                    <a:lnTo>
                      <a:pt x="131" y="151"/>
                    </a:lnTo>
                    <a:lnTo>
                      <a:pt x="106" y="155"/>
                    </a:lnTo>
                    <a:lnTo>
                      <a:pt x="82" y="161"/>
                    </a:lnTo>
                    <a:lnTo>
                      <a:pt x="60" y="167"/>
                    </a:lnTo>
                    <a:lnTo>
                      <a:pt x="39" y="174"/>
                    </a:lnTo>
                    <a:lnTo>
                      <a:pt x="20" y="182"/>
                    </a:lnTo>
                    <a:lnTo>
                      <a:pt x="17" y="183"/>
                    </a:lnTo>
                    <a:lnTo>
                      <a:pt x="14" y="183"/>
                    </a:lnTo>
                    <a:close/>
                    <a:moveTo>
                      <a:pt x="207" y="27"/>
                    </a:moveTo>
                    <a:lnTo>
                      <a:pt x="207" y="27"/>
                    </a:lnTo>
                    <a:lnTo>
                      <a:pt x="195" y="29"/>
                    </a:lnTo>
                    <a:lnTo>
                      <a:pt x="183" y="30"/>
                    </a:lnTo>
                    <a:lnTo>
                      <a:pt x="171" y="32"/>
                    </a:lnTo>
                    <a:lnTo>
                      <a:pt x="160" y="34"/>
                    </a:lnTo>
                    <a:lnTo>
                      <a:pt x="141" y="41"/>
                    </a:lnTo>
                    <a:lnTo>
                      <a:pt x="123" y="49"/>
                    </a:lnTo>
                    <a:lnTo>
                      <a:pt x="99" y="64"/>
                    </a:lnTo>
                    <a:lnTo>
                      <a:pt x="90" y="71"/>
                    </a:lnTo>
                    <a:lnTo>
                      <a:pt x="76" y="87"/>
                    </a:lnTo>
                    <a:lnTo>
                      <a:pt x="61" y="106"/>
                    </a:lnTo>
                    <a:lnTo>
                      <a:pt x="47" y="127"/>
                    </a:lnTo>
                    <a:lnTo>
                      <a:pt x="36" y="147"/>
                    </a:lnTo>
                    <a:lnTo>
                      <a:pt x="54" y="141"/>
                    </a:lnTo>
                    <a:lnTo>
                      <a:pt x="74" y="135"/>
                    </a:lnTo>
                    <a:lnTo>
                      <a:pt x="94" y="130"/>
                    </a:lnTo>
                    <a:lnTo>
                      <a:pt x="116" y="126"/>
                    </a:lnTo>
                    <a:lnTo>
                      <a:pt x="139" y="121"/>
                    </a:lnTo>
                    <a:lnTo>
                      <a:pt x="163" y="118"/>
                    </a:lnTo>
                    <a:lnTo>
                      <a:pt x="188" y="115"/>
                    </a:lnTo>
                    <a:lnTo>
                      <a:pt x="215" y="113"/>
                    </a:lnTo>
                    <a:lnTo>
                      <a:pt x="237" y="112"/>
                    </a:lnTo>
                    <a:lnTo>
                      <a:pt x="260" y="112"/>
                    </a:lnTo>
                    <a:lnTo>
                      <a:pt x="283" y="113"/>
                    </a:lnTo>
                    <a:lnTo>
                      <a:pt x="309" y="115"/>
                    </a:lnTo>
                    <a:lnTo>
                      <a:pt x="335" y="118"/>
                    </a:lnTo>
                    <a:lnTo>
                      <a:pt x="361" y="122"/>
                    </a:lnTo>
                    <a:lnTo>
                      <a:pt x="386" y="128"/>
                    </a:lnTo>
                    <a:lnTo>
                      <a:pt x="411" y="133"/>
                    </a:lnTo>
                    <a:lnTo>
                      <a:pt x="407" y="118"/>
                    </a:lnTo>
                    <a:lnTo>
                      <a:pt x="403" y="103"/>
                    </a:lnTo>
                    <a:lnTo>
                      <a:pt x="399" y="90"/>
                    </a:lnTo>
                    <a:lnTo>
                      <a:pt x="393" y="81"/>
                    </a:lnTo>
                    <a:lnTo>
                      <a:pt x="388" y="73"/>
                    </a:lnTo>
                    <a:lnTo>
                      <a:pt x="382" y="66"/>
                    </a:lnTo>
                    <a:lnTo>
                      <a:pt x="374" y="60"/>
                    </a:lnTo>
                    <a:lnTo>
                      <a:pt x="366" y="53"/>
                    </a:lnTo>
                    <a:lnTo>
                      <a:pt x="358" y="49"/>
                    </a:lnTo>
                    <a:lnTo>
                      <a:pt x="348" y="45"/>
                    </a:lnTo>
                    <a:lnTo>
                      <a:pt x="338" y="40"/>
                    </a:lnTo>
                    <a:lnTo>
                      <a:pt x="328" y="37"/>
                    </a:lnTo>
                    <a:lnTo>
                      <a:pt x="316" y="35"/>
                    </a:lnTo>
                    <a:lnTo>
                      <a:pt x="303" y="33"/>
                    </a:lnTo>
                    <a:lnTo>
                      <a:pt x="290" y="31"/>
                    </a:lnTo>
                    <a:lnTo>
                      <a:pt x="275" y="30"/>
                    </a:lnTo>
                    <a:lnTo>
                      <a:pt x="243" y="29"/>
                    </a:lnTo>
                    <a:lnTo>
                      <a:pt x="20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6"/>
              <p:cNvSpPr>
                <a:spLocks/>
              </p:cNvSpPr>
              <p:nvPr userDrawn="1"/>
            </p:nvSpPr>
            <p:spPr bwMode="auto">
              <a:xfrm>
                <a:off x="248" y="2957"/>
                <a:ext cx="3174" cy="1363"/>
              </a:xfrm>
              <a:custGeom>
                <a:avLst/>
                <a:gdLst>
                  <a:gd name="T0" fmla="*/ 2774 w 9520"/>
                  <a:gd name="T1" fmla="*/ 3305 h 4088"/>
                  <a:gd name="T2" fmla="*/ 3084 w 9520"/>
                  <a:gd name="T3" fmla="*/ 2453 h 4088"/>
                  <a:gd name="T4" fmla="*/ 3285 w 9520"/>
                  <a:gd name="T5" fmla="*/ 2204 h 4088"/>
                  <a:gd name="T6" fmla="*/ 3836 w 9520"/>
                  <a:gd name="T7" fmla="*/ 2361 h 4088"/>
                  <a:gd name="T8" fmla="*/ 5176 w 9520"/>
                  <a:gd name="T9" fmla="*/ 3009 h 4088"/>
                  <a:gd name="T10" fmla="*/ 5866 w 9520"/>
                  <a:gd name="T11" fmla="*/ 3189 h 4088"/>
                  <a:gd name="T12" fmla="*/ 6882 w 9520"/>
                  <a:gd name="T13" fmla="*/ 3196 h 4088"/>
                  <a:gd name="T14" fmla="*/ 7534 w 9520"/>
                  <a:gd name="T15" fmla="*/ 3059 h 4088"/>
                  <a:gd name="T16" fmla="*/ 8054 w 9520"/>
                  <a:gd name="T17" fmla="*/ 2898 h 4088"/>
                  <a:gd name="T18" fmla="*/ 8352 w 9520"/>
                  <a:gd name="T19" fmla="*/ 2912 h 4088"/>
                  <a:gd name="T20" fmla="*/ 8837 w 9520"/>
                  <a:gd name="T21" fmla="*/ 3261 h 4088"/>
                  <a:gd name="T22" fmla="*/ 9400 w 9520"/>
                  <a:gd name="T23" fmla="*/ 3553 h 4088"/>
                  <a:gd name="T24" fmla="*/ 9493 w 9520"/>
                  <a:gd name="T25" fmla="*/ 3107 h 4088"/>
                  <a:gd name="T26" fmla="*/ 9400 w 9520"/>
                  <a:gd name="T27" fmla="*/ 2589 h 4088"/>
                  <a:gd name="T28" fmla="*/ 8987 w 9520"/>
                  <a:gd name="T29" fmla="*/ 1719 h 4088"/>
                  <a:gd name="T30" fmla="*/ 8293 w 9520"/>
                  <a:gd name="T31" fmla="*/ 989 h 4088"/>
                  <a:gd name="T32" fmla="*/ 7439 w 9520"/>
                  <a:gd name="T33" fmla="*/ 632 h 4088"/>
                  <a:gd name="T34" fmla="*/ 6945 w 9520"/>
                  <a:gd name="T35" fmla="*/ 612 h 4088"/>
                  <a:gd name="T36" fmla="*/ 6702 w 9520"/>
                  <a:gd name="T37" fmla="*/ 633 h 4088"/>
                  <a:gd name="T38" fmla="*/ 6269 w 9520"/>
                  <a:gd name="T39" fmla="*/ 491 h 4088"/>
                  <a:gd name="T40" fmla="*/ 5417 w 9520"/>
                  <a:gd name="T41" fmla="*/ 327 h 4088"/>
                  <a:gd name="T42" fmla="*/ 4747 w 9520"/>
                  <a:gd name="T43" fmla="*/ 329 h 4088"/>
                  <a:gd name="T44" fmla="*/ 4277 w 9520"/>
                  <a:gd name="T45" fmla="*/ 246 h 4088"/>
                  <a:gd name="T46" fmla="*/ 3777 w 9520"/>
                  <a:gd name="T47" fmla="*/ 65 h 4088"/>
                  <a:gd name="T48" fmla="*/ 2963 w 9520"/>
                  <a:gd name="T49" fmla="*/ 53 h 4088"/>
                  <a:gd name="T50" fmla="*/ 2011 w 9520"/>
                  <a:gd name="T51" fmla="*/ 458 h 4088"/>
                  <a:gd name="T52" fmla="*/ 1623 w 9520"/>
                  <a:gd name="T53" fmla="*/ 968 h 4088"/>
                  <a:gd name="T54" fmla="*/ 1254 w 9520"/>
                  <a:gd name="T55" fmla="*/ 1851 h 4088"/>
                  <a:gd name="T56" fmla="*/ 997 w 9520"/>
                  <a:gd name="T57" fmla="*/ 2575 h 4088"/>
                  <a:gd name="T58" fmla="*/ 328 w 9520"/>
                  <a:gd name="T59" fmla="*/ 3595 h 4088"/>
                  <a:gd name="T60" fmla="*/ 30 w 9520"/>
                  <a:gd name="T61" fmla="*/ 4088 h 4088"/>
                  <a:gd name="T62" fmla="*/ 250 w 9520"/>
                  <a:gd name="T63" fmla="*/ 3663 h 4088"/>
                  <a:gd name="T64" fmla="*/ 929 w 9520"/>
                  <a:gd name="T65" fmla="*/ 2639 h 4088"/>
                  <a:gd name="T66" fmla="*/ 1204 w 9520"/>
                  <a:gd name="T67" fmla="*/ 1930 h 4088"/>
                  <a:gd name="T68" fmla="*/ 1572 w 9520"/>
                  <a:gd name="T69" fmla="*/ 1004 h 4088"/>
                  <a:gd name="T70" fmla="*/ 1930 w 9520"/>
                  <a:gd name="T71" fmla="*/ 497 h 4088"/>
                  <a:gd name="T72" fmla="*/ 2882 w 9520"/>
                  <a:gd name="T73" fmla="*/ 40 h 4088"/>
                  <a:gd name="T74" fmla="*/ 3742 w 9520"/>
                  <a:gd name="T75" fmla="*/ 31 h 4088"/>
                  <a:gd name="T76" fmla="*/ 4246 w 9520"/>
                  <a:gd name="T77" fmla="*/ 208 h 4088"/>
                  <a:gd name="T78" fmla="*/ 4713 w 9520"/>
                  <a:gd name="T79" fmla="*/ 300 h 4088"/>
                  <a:gd name="T80" fmla="*/ 5374 w 9520"/>
                  <a:gd name="T81" fmla="*/ 297 h 4088"/>
                  <a:gd name="T82" fmla="*/ 6218 w 9520"/>
                  <a:gd name="T83" fmla="*/ 446 h 4088"/>
                  <a:gd name="T84" fmla="*/ 6674 w 9520"/>
                  <a:gd name="T85" fmla="*/ 600 h 4088"/>
                  <a:gd name="T86" fmla="*/ 7044 w 9520"/>
                  <a:gd name="T87" fmla="*/ 570 h 4088"/>
                  <a:gd name="T88" fmla="*/ 7630 w 9520"/>
                  <a:gd name="T89" fmla="*/ 653 h 4088"/>
                  <a:gd name="T90" fmla="*/ 8495 w 9520"/>
                  <a:gd name="T91" fmla="*/ 1109 h 4088"/>
                  <a:gd name="T92" fmla="*/ 9130 w 9520"/>
                  <a:gd name="T93" fmla="*/ 1902 h 4088"/>
                  <a:gd name="T94" fmla="*/ 9473 w 9520"/>
                  <a:gd name="T95" fmla="*/ 2743 h 4088"/>
                  <a:gd name="T96" fmla="*/ 9511 w 9520"/>
                  <a:gd name="T97" fmla="*/ 3248 h 4088"/>
                  <a:gd name="T98" fmla="*/ 9389 w 9520"/>
                  <a:gd name="T99" fmla="*/ 3631 h 4088"/>
                  <a:gd name="T100" fmla="*/ 8944 w 9520"/>
                  <a:gd name="T101" fmla="*/ 3393 h 4088"/>
                  <a:gd name="T102" fmla="*/ 8405 w 9520"/>
                  <a:gd name="T103" fmla="*/ 2964 h 4088"/>
                  <a:gd name="T104" fmla="*/ 8138 w 9520"/>
                  <a:gd name="T105" fmla="*/ 2914 h 4088"/>
                  <a:gd name="T106" fmla="*/ 7675 w 9520"/>
                  <a:gd name="T107" fmla="*/ 3039 h 4088"/>
                  <a:gd name="T108" fmla="*/ 7047 w 9520"/>
                  <a:gd name="T109" fmla="*/ 3208 h 4088"/>
                  <a:gd name="T110" fmla="*/ 6025 w 9520"/>
                  <a:gd name="T111" fmla="*/ 3230 h 4088"/>
                  <a:gd name="T112" fmla="*/ 5319 w 9520"/>
                  <a:gd name="T113" fmla="*/ 3096 h 4088"/>
                  <a:gd name="T114" fmla="*/ 4150 w 9520"/>
                  <a:gd name="T115" fmla="*/ 2542 h 4088"/>
                  <a:gd name="T116" fmla="*/ 3340 w 9520"/>
                  <a:gd name="T117" fmla="*/ 2199 h 4088"/>
                  <a:gd name="T118" fmla="*/ 3086 w 9520"/>
                  <a:gd name="T119" fmla="*/ 2503 h 4088"/>
                  <a:gd name="T120" fmla="*/ 2668 w 9520"/>
                  <a:gd name="T121" fmla="*/ 3638 h 4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20" h="4088">
                    <a:moveTo>
                      <a:pt x="2419" y="4088"/>
                    </a:moveTo>
                    <a:lnTo>
                      <a:pt x="2438" y="4055"/>
                    </a:lnTo>
                    <a:lnTo>
                      <a:pt x="2459" y="4018"/>
                    </a:lnTo>
                    <a:lnTo>
                      <a:pt x="2480" y="3978"/>
                    </a:lnTo>
                    <a:lnTo>
                      <a:pt x="2502" y="3937"/>
                    </a:lnTo>
                    <a:lnTo>
                      <a:pt x="2524" y="3892"/>
                    </a:lnTo>
                    <a:lnTo>
                      <a:pt x="2546" y="3845"/>
                    </a:lnTo>
                    <a:lnTo>
                      <a:pt x="2569" y="3797"/>
                    </a:lnTo>
                    <a:lnTo>
                      <a:pt x="2592" y="3747"/>
                    </a:lnTo>
                    <a:lnTo>
                      <a:pt x="2637" y="3641"/>
                    </a:lnTo>
                    <a:lnTo>
                      <a:pt x="2683" y="3532"/>
                    </a:lnTo>
                    <a:lnTo>
                      <a:pt x="2729" y="3420"/>
                    </a:lnTo>
                    <a:lnTo>
                      <a:pt x="2774" y="3305"/>
                    </a:lnTo>
                    <a:lnTo>
                      <a:pt x="2816" y="3193"/>
                    </a:lnTo>
                    <a:lnTo>
                      <a:pt x="2857" y="3082"/>
                    </a:lnTo>
                    <a:lnTo>
                      <a:pt x="2895" y="2975"/>
                    </a:lnTo>
                    <a:lnTo>
                      <a:pt x="2931" y="2874"/>
                    </a:lnTo>
                    <a:lnTo>
                      <a:pt x="2961" y="2780"/>
                    </a:lnTo>
                    <a:lnTo>
                      <a:pt x="2988" y="2694"/>
                    </a:lnTo>
                    <a:lnTo>
                      <a:pt x="3011" y="2619"/>
                    </a:lnTo>
                    <a:lnTo>
                      <a:pt x="3027" y="2556"/>
                    </a:lnTo>
                    <a:lnTo>
                      <a:pt x="3027" y="2555"/>
                    </a:lnTo>
                    <a:lnTo>
                      <a:pt x="3028" y="2554"/>
                    </a:lnTo>
                    <a:lnTo>
                      <a:pt x="3047" y="2518"/>
                    </a:lnTo>
                    <a:lnTo>
                      <a:pt x="3066" y="2485"/>
                    </a:lnTo>
                    <a:lnTo>
                      <a:pt x="3084" y="2453"/>
                    </a:lnTo>
                    <a:lnTo>
                      <a:pt x="3101" y="2423"/>
                    </a:lnTo>
                    <a:lnTo>
                      <a:pt x="3120" y="2396"/>
                    </a:lnTo>
                    <a:lnTo>
                      <a:pt x="3137" y="2371"/>
                    </a:lnTo>
                    <a:lnTo>
                      <a:pt x="3153" y="2347"/>
                    </a:lnTo>
                    <a:lnTo>
                      <a:pt x="3170" y="2325"/>
                    </a:lnTo>
                    <a:lnTo>
                      <a:pt x="3186" y="2305"/>
                    </a:lnTo>
                    <a:lnTo>
                      <a:pt x="3202" y="2286"/>
                    </a:lnTo>
                    <a:lnTo>
                      <a:pt x="3217" y="2269"/>
                    </a:lnTo>
                    <a:lnTo>
                      <a:pt x="3231" y="2253"/>
                    </a:lnTo>
                    <a:lnTo>
                      <a:pt x="3245" y="2239"/>
                    </a:lnTo>
                    <a:lnTo>
                      <a:pt x="3259" y="2226"/>
                    </a:lnTo>
                    <a:lnTo>
                      <a:pt x="3272" y="2215"/>
                    </a:lnTo>
                    <a:lnTo>
                      <a:pt x="3285" y="2204"/>
                    </a:lnTo>
                    <a:lnTo>
                      <a:pt x="3308" y="2187"/>
                    </a:lnTo>
                    <a:lnTo>
                      <a:pt x="3328" y="2174"/>
                    </a:lnTo>
                    <a:lnTo>
                      <a:pt x="3346" y="2164"/>
                    </a:lnTo>
                    <a:lnTo>
                      <a:pt x="3362" y="2158"/>
                    </a:lnTo>
                    <a:lnTo>
                      <a:pt x="3384" y="2151"/>
                    </a:lnTo>
                    <a:lnTo>
                      <a:pt x="3393" y="2150"/>
                    </a:lnTo>
                    <a:lnTo>
                      <a:pt x="3396" y="2150"/>
                    </a:lnTo>
                    <a:lnTo>
                      <a:pt x="3399" y="2151"/>
                    </a:lnTo>
                    <a:lnTo>
                      <a:pt x="3498" y="2199"/>
                    </a:lnTo>
                    <a:lnTo>
                      <a:pt x="3568" y="2232"/>
                    </a:lnTo>
                    <a:lnTo>
                      <a:pt x="3649" y="2271"/>
                    </a:lnTo>
                    <a:lnTo>
                      <a:pt x="3738" y="2314"/>
                    </a:lnTo>
                    <a:lnTo>
                      <a:pt x="3836" y="2361"/>
                    </a:lnTo>
                    <a:lnTo>
                      <a:pt x="3940" y="2410"/>
                    </a:lnTo>
                    <a:lnTo>
                      <a:pt x="4049" y="2463"/>
                    </a:lnTo>
                    <a:lnTo>
                      <a:pt x="4162" y="2517"/>
                    </a:lnTo>
                    <a:lnTo>
                      <a:pt x="4277" y="2573"/>
                    </a:lnTo>
                    <a:lnTo>
                      <a:pt x="4394" y="2630"/>
                    </a:lnTo>
                    <a:lnTo>
                      <a:pt x="4509" y="2686"/>
                    </a:lnTo>
                    <a:lnTo>
                      <a:pt x="4624" y="2741"/>
                    </a:lnTo>
                    <a:lnTo>
                      <a:pt x="4736" y="2795"/>
                    </a:lnTo>
                    <a:lnTo>
                      <a:pt x="4843" y="2847"/>
                    </a:lnTo>
                    <a:lnTo>
                      <a:pt x="4945" y="2896"/>
                    </a:lnTo>
                    <a:lnTo>
                      <a:pt x="5038" y="2943"/>
                    </a:lnTo>
                    <a:lnTo>
                      <a:pt x="5125" y="2985"/>
                    </a:lnTo>
                    <a:lnTo>
                      <a:pt x="5176" y="3009"/>
                    </a:lnTo>
                    <a:lnTo>
                      <a:pt x="5226" y="3031"/>
                    </a:lnTo>
                    <a:lnTo>
                      <a:pt x="5277" y="3052"/>
                    </a:lnTo>
                    <a:lnTo>
                      <a:pt x="5329" y="3071"/>
                    </a:lnTo>
                    <a:lnTo>
                      <a:pt x="5382" y="3088"/>
                    </a:lnTo>
                    <a:lnTo>
                      <a:pt x="5434" y="3105"/>
                    </a:lnTo>
                    <a:lnTo>
                      <a:pt x="5487" y="3120"/>
                    </a:lnTo>
                    <a:lnTo>
                      <a:pt x="5541" y="3133"/>
                    </a:lnTo>
                    <a:lnTo>
                      <a:pt x="5593" y="3146"/>
                    </a:lnTo>
                    <a:lnTo>
                      <a:pt x="5647" y="3156"/>
                    </a:lnTo>
                    <a:lnTo>
                      <a:pt x="5701" y="3166"/>
                    </a:lnTo>
                    <a:lnTo>
                      <a:pt x="5757" y="3175"/>
                    </a:lnTo>
                    <a:lnTo>
                      <a:pt x="5811" y="3182"/>
                    </a:lnTo>
                    <a:lnTo>
                      <a:pt x="5866" y="3189"/>
                    </a:lnTo>
                    <a:lnTo>
                      <a:pt x="5920" y="3194"/>
                    </a:lnTo>
                    <a:lnTo>
                      <a:pt x="5975" y="3200"/>
                    </a:lnTo>
                    <a:lnTo>
                      <a:pt x="6030" y="3204"/>
                    </a:lnTo>
                    <a:lnTo>
                      <a:pt x="6085" y="3206"/>
                    </a:lnTo>
                    <a:lnTo>
                      <a:pt x="6140" y="3209"/>
                    </a:lnTo>
                    <a:lnTo>
                      <a:pt x="6195" y="3210"/>
                    </a:lnTo>
                    <a:lnTo>
                      <a:pt x="6304" y="3213"/>
                    </a:lnTo>
                    <a:lnTo>
                      <a:pt x="6413" y="3211"/>
                    </a:lnTo>
                    <a:lnTo>
                      <a:pt x="6521" y="3209"/>
                    </a:lnTo>
                    <a:lnTo>
                      <a:pt x="6629" y="3206"/>
                    </a:lnTo>
                    <a:lnTo>
                      <a:pt x="6735" y="3203"/>
                    </a:lnTo>
                    <a:lnTo>
                      <a:pt x="6840" y="3197"/>
                    </a:lnTo>
                    <a:lnTo>
                      <a:pt x="6882" y="3196"/>
                    </a:lnTo>
                    <a:lnTo>
                      <a:pt x="6937" y="3193"/>
                    </a:lnTo>
                    <a:lnTo>
                      <a:pt x="6991" y="3188"/>
                    </a:lnTo>
                    <a:lnTo>
                      <a:pt x="7045" y="3181"/>
                    </a:lnTo>
                    <a:lnTo>
                      <a:pt x="7097" y="3174"/>
                    </a:lnTo>
                    <a:lnTo>
                      <a:pt x="7148" y="3164"/>
                    </a:lnTo>
                    <a:lnTo>
                      <a:pt x="7199" y="3153"/>
                    </a:lnTo>
                    <a:lnTo>
                      <a:pt x="7250" y="3142"/>
                    </a:lnTo>
                    <a:lnTo>
                      <a:pt x="7299" y="3129"/>
                    </a:lnTo>
                    <a:lnTo>
                      <a:pt x="7347" y="3116"/>
                    </a:lnTo>
                    <a:lnTo>
                      <a:pt x="7396" y="3102"/>
                    </a:lnTo>
                    <a:lnTo>
                      <a:pt x="7442" y="3088"/>
                    </a:lnTo>
                    <a:lnTo>
                      <a:pt x="7489" y="3073"/>
                    </a:lnTo>
                    <a:lnTo>
                      <a:pt x="7534" y="3059"/>
                    </a:lnTo>
                    <a:lnTo>
                      <a:pt x="7579" y="3044"/>
                    </a:lnTo>
                    <a:lnTo>
                      <a:pt x="7624" y="3028"/>
                    </a:lnTo>
                    <a:lnTo>
                      <a:pt x="7667" y="3014"/>
                    </a:lnTo>
                    <a:lnTo>
                      <a:pt x="7710" y="2999"/>
                    </a:lnTo>
                    <a:lnTo>
                      <a:pt x="7753" y="2984"/>
                    </a:lnTo>
                    <a:lnTo>
                      <a:pt x="7795" y="2970"/>
                    </a:lnTo>
                    <a:lnTo>
                      <a:pt x="7836" y="2956"/>
                    </a:lnTo>
                    <a:lnTo>
                      <a:pt x="7877" y="2943"/>
                    </a:lnTo>
                    <a:lnTo>
                      <a:pt x="7918" y="2931"/>
                    </a:lnTo>
                    <a:lnTo>
                      <a:pt x="7957" y="2920"/>
                    </a:lnTo>
                    <a:lnTo>
                      <a:pt x="7996" y="2910"/>
                    </a:lnTo>
                    <a:lnTo>
                      <a:pt x="8026" y="2904"/>
                    </a:lnTo>
                    <a:lnTo>
                      <a:pt x="8054" y="2898"/>
                    </a:lnTo>
                    <a:lnTo>
                      <a:pt x="8082" y="2893"/>
                    </a:lnTo>
                    <a:lnTo>
                      <a:pt x="8108" y="2890"/>
                    </a:lnTo>
                    <a:lnTo>
                      <a:pt x="8135" y="2887"/>
                    </a:lnTo>
                    <a:lnTo>
                      <a:pt x="8160" y="2885"/>
                    </a:lnTo>
                    <a:lnTo>
                      <a:pt x="8185" y="2884"/>
                    </a:lnTo>
                    <a:lnTo>
                      <a:pt x="8210" y="2884"/>
                    </a:lnTo>
                    <a:lnTo>
                      <a:pt x="8230" y="2885"/>
                    </a:lnTo>
                    <a:lnTo>
                      <a:pt x="8251" y="2887"/>
                    </a:lnTo>
                    <a:lnTo>
                      <a:pt x="8270" y="2890"/>
                    </a:lnTo>
                    <a:lnTo>
                      <a:pt x="8291" y="2894"/>
                    </a:lnTo>
                    <a:lnTo>
                      <a:pt x="8311" y="2899"/>
                    </a:lnTo>
                    <a:lnTo>
                      <a:pt x="8332" y="2905"/>
                    </a:lnTo>
                    <a:lnTo>
                      <a:pt x="8352" y="2912"/>
                    </a:lnTo>
                    <a:lnTo>
                      <a:pt x="8373" y="2920"/>
                    </a:lnTo>
                    <a:lnTo>
                      <a:pt x="8393" y="2929"/>
                    </a:lnTo>
                    <a:lnTo>
                      <a:pt x="8413" y="2938"/>
                    </a:lnTo>
                    <a:lnTo>
                      <a:pt x="8433" y="2948"/>
                    </a:lnTo>
                    <a:lnTo>
                      <a:pt x="8454" y="2959"/>
                    </a:lnTo>
                    <a:lnTo>
                      <a:pt x="8494" y="2983"/>
                    </a:lnTo>
                    <a:lnTo>
                      <a:pt x="8534" y="3009"/>
                    </a:lnTo>
                    <a:lnTo>
                      <a:pt x="8573" y="3037"/>
                    </a:lnTo>
                    <a:lnTo>
                      <a:pt x="8612" y="3066"/>
                    </a:lnTo>
                    <a:lnTo>
                      <a:pt x="8650" y="3097"/>
                    </a:lnTo>
                    <a:lnTo>
                      <a:pt x="8689" y="3128"/>
                    </a:lnTo>
                    <a:lnTo>
                      <a:pt x="8764" y="3194"/>
                    </a:lnTo>
                    <a:lnTo>
                      <a:pt x="8837" y="3261"/>
                    </a:lnTo>
                    <a:lnTo>
                      <a:pt x="8879" y="3299"/>
                    </a:lnTo>
                    <a:lnTo>
                      <a:pt x="8920" y="3336"/>
                    </a:lnTo>
                    <a:lnTo>
                      <a:pt x="8960" y="3371"/>
                    </a:lnTo>
                    <a:lnTo>
                      <a:pt x="9000" y="3404"/>
                    </a:lnTo>
                    <a:lnTo>
                      <a:pt x="9038" y="3434"/>
                    </a:lnTo>
                    <a:lnTo>
                      <a:pt x="9075" y="3460"/>
                    </a:lnTo>
                    <a:lnTo>
                      <a:pt x="9093" y="3472"/>
                    </a:lnTo>
                    <a:lnTo>
                      <a:pt x="9110" y="3482"/>
                    </a:lnTo>
                    <a:lnTo>
                      <a:pt x="9128" y="3492"/>
                    </a:lnTo>
                    <a:lnTo>
                      <a:pt x="9145" y="3500"/>
                    </a:lnTo>
                    <a:lnTo>
                      <a:pt x="9375" y="3603"/>
                    </a:lnTo>
                    <a:lnTo>
                      <a:pt x="9386" y="3584"/>
                    </a:lnTo>
                    <a:lnTo>
                      <a:pt x="9400" y="3553"/>
                    </a:lnTo>
                    <a:lnTo>
                      <a:pt x="9408" y="3534"/>
                    </a:lnTo>
                    <a:lnTo>
                      <a:pt x="9417" y="3513"/>
                    </a:lnTo>
                    <a:lnTo>
                      <a:pt x="9427" y="3489"/>
                    </a:lnTo>
                    <a:lnTo>
                      <a:pt x="9435" y="3463"/>
                    </a:lnTo>
                    <a:lnTo>
                      <a:pt x="9445" y="3433"/>
                    </a:lnTo>
                    <a:lnTo>
                      <a:pt x="9455" y="3399"/>
                    </a:lnTo>
                    <a:lnTo>
                      <a:pt x="9464" y="3364"/>
                    </a:lnTo>
                    <a:lnTo>
                      <a:pt x="9471" y="3326"/>
                    </a:lnTo>
                    <a:lnTo>
                      <a:pt x="9478" y="3287"/>
                    </a:lnTo>
                    <a:lnTo>
                      <a:pt x="9484" y="3245"/>
                    </a:lnTo>
                    <a:lnTo>
                      <a:pt x="9488" y="3201"/>
                    </a:lnTo>
                    <a:lnTo>
                      <a:pt x="9492" y="3155"/>
                    </a:lnTo>
                    <a:lnTo>
                      <a:pt x="9493" y="3107"/>
                    </a:lnTo>
                    <a:lnTo>
                      <a:pt x="9492" y="3057"/>
                    </a:lnTo>
                    <a:lnTo>
                      <a:pt x="9489" y="3005"/>
                    </a:lnTo>
                    <a:lnTo>
                      <a:pt x="9485" y="2951"/>
                    </a:lnTo>
                    <a:lnTo>
                      <a:pt x="9481" y="2924"/>
                    </a:lnTo>
                    <a:lnTo>
                      <a:pt x="9478" y="2896"/>
                    </a:lnTo>
                    <a:lnTo>
                      <a:pt x="9473" y="2867"/>
                    </a:lnTo>
                    <a:lnTo>
                      <a:pt x="9468" y="2839"/>
                    </a:lnTo>
                    <a:lnTo>
                      <a:pt x="9461" y="2809"/>
                    </a:lnTo>
                    <a:lnTo>
                      <a:pt x="9455" y="2780"/>
                    </a:lnTo>
                    <a:lnTo>
                      <a:pt x="9447" y="2749"/>
                    </a:lnTo>
                    <a:lnTo>
                      <a:pt x="9439" y="2718"/>
                    </a:lnTo>
                    <a:lnTo>
                      <a:pt x="9420" y="2654"/>
                    </a:lnTo>
                    <a:lnTo>
                      <a:pt x="9400" y="2589"/>
                    </a:lnTo>
                    <a:lnTo>
                      <a:pt x="9378" y="2523"/>
                    </a:lnTo>
                    <a:lnTo>
                      <a:pt x="9354" y="2457"/>
                    </a:lnTo>
                    <a:lnTo>
                      <a:pt x="9330" y="2390"/>
                    </a:lnTo>
                    <a:lnTo>
                      <a:pt x="9303" y="2322"/>
                    </a:lnTo>
                    <a:lnTo>
                      <a:pt x="9275" y="2255"/>
                    </a:lnTo>
                    <a:lnTo>
                      <a:pt x="9244" y="2187"/>
                    </a:lnTo>
                    <a:lnTo>
                      <a:pt x="9213" y="2119"/>
                    </a:lnTo>
                    <a:lnTo>
                      <a:pt x="9180" y="2051"/>
                    </a:lnTo>
                    <a:lnTo>
                      <a:pt x="9144" y="1984"/>
                    </a:lnTo>
                    <a:lnTo>
                      <a:pt x="9107" y="1916"/>
                    </a:lnTo>
                    <a:lnTo>
                      <a:pt x="9068" y="1849"/>
                    </a:lnTo>
                    <a:lnTo>
                      <a:pt x="9028" y="1783"/>
                    </a:lnTo>
                    <a:lnTo>
                      <a:pt x="8987" y="1719"/>
                    </a:lnTo>
                    <a:lnTo>
                      <a:pt x="8943" y="1654"/>
                    </a:lnTo>
                    <a:lnTo>
                      <a:pt x="8899" y="1590"/>
                    </a:lnTo>
                    <a:lnTo>
                      <a:pt x="8851" y="1527"/>
                    </a:lnTo>
                    <a:lnTo>
                      <a:pt x="8804" y="1466"/>
                    </a:lnTo>
                    <a:lnTo>
                      <a:pt x="8753" y="1405"/>
                    </a:lnTo>
                    <a:lnTo>
                      <a:pt x="8701" y="1347"/>
                    </a:lnTo>
                    <a:lnTo>
                      <a:pt x="8648" y="1290"/>
                    </a:lnTo>
                    <a:lnTo>
                      <a:pt x="8593" y="1235"/>
                    </a:lnTo>
                    <a:lnTo>
                      <a:pt x="8537" y="1182"/>
                    </a:lnTo>
                    <a:lnTo>
                      <a:pt x="8479" y="1130"/>
                    </a:lnTo>
                    <a:lnTo>
                      <a:pt x="8418" y="1081"/>
                    </a:lnTo>
                    <a:lnTo>
                      <a:pt x="8357" y="1033"/>
                    </a:lnTo>
                    <a:lnTo>
                      <a:pt x="8293" y="989"/>
                    </a:lnTo>
                    <a:lnTo>
                      <a:pt x="8228" y="946"/>
                    </a:lnTo>
                    <a:lnTo>
                      <a:pt x="8161" y="906"/>
                    </a:lnTo>
                    <a:lnTo>
                      <a:pt x="8093" y="869"/>
                    </a:lnTo>
                    <a:lnTo>
                      <a:pt x="8023" y="834"/>
                    </a:lnTo>
                    <a:lnTo>
                      <a:pt x="7949" y="801"/>
                    </a:lnTo>
                    <a:lnTo>
                      <a:pt x="7875" y="770"/>
                    </a:lnTo>
                    <a:lnTo>
                      <a:pt x="7806" y="742"/>
                    </a:lnTo>
                    <a:lnTo>
                      <a:pt x="7738" y="717"/>
                    </a:lnTo>
                    <a:lnTo>
                      <a:pt x="7673" y="695"/>
                    </a:lnTo>
                    <a:lnTo>
                      <a:pt x="7611" y="676"/>
                    </a:lnTo>
                    <a:lnTo>
                      <a:pt x="7551" y="658"/>
                    </a:lnTo>
                    <a:lnTo>
                      <a:pt x="7494" y="644"/>
                    </a:lnTo>
                    <a:lnTo>
                      <a:pt x="7439" y="632"/>
                    </a:lnTo>
                    <a:lnTo>
                      <a:pt x="7386" y="622"/>
                    </a:lnTo>
                    <a:lnTo>
                      <a:pt x="7336" y="613"/>
                    </a:lnTo>
                    <a:lnTo>
                      <a:pt x="7289" y="607"/>
                    </a:lnTo>
                    <a:lnTo>
                      <a:pt x="7243" y="602"/>
                    </a:lnTo>
                    <a:lnTo>
                      <a:pt x="7201" y="599"/>
                    </a:lnTo>
                    <a:lnTo>
                      <a:pt x="7161" y="597"/>
                    </a:lnTo>
                    <a:lnTo>
                      <a:pt x="7124" y="597"/>
                    </a:lnTo>
                    <a:lnTo>
                      <a:pt x="7088" y="597"/>
                    </a:lnTo>
                    <a:lnTo>
                      <a:pt x="7054" y="599"/>
                    </a:lnTo>
                    <a:lnTo>
                      <a:pt x="7024" y="601"/>
                    </a:lnTo>
                    <a:lnTo>
                      <a:pt x="6995" y="605"/>
                    </a:lnTo>
                    <a:lnTo>
                      <a:pt x="6969" y="608"/>
                    </a:lnTo>
                    <a:lnTo>
                      <a:pt x="6945" y="612"/>
                    </a:lnTo>
                    <a:lnTo>
                      <a:pt x="6924" y="616"/>
                    </a:lnTo>
                    <a:lnTo>
                      <a:pt x="6905" y="621"/>
                    </a:lnTo>
                    <a:lnTo>
                      <a:pt x="6873" y="629"/>
                    </a:lnTo>
                    <a:lnTo>
                      <a:pt x="6851" y="638"/>
                    </a:lnTo>
                    <a:lnTo>
                      <a:pt x="6837" y="643"/>
                    </a:lnTo>
                    <a:lnTo>
                      <a:pt x="6832" y="646"/>
                    </a:lnTo>
                    <a:lnTo>
                      <a:pt x="6829" y="647"/>
                    </a:lnTo>
                    <a:lnTo>
                      <a:pt x="6826" y="648"/>
                    </a:lnTo>
                    <a:lnTo>
                      <a:pt x="6813" y="647"/>
                    </a:lnTo>
                    <a:lnTo>
                      <a:pt x="6781" y="643"/>
                    </a:lnTo>
                    <a:lnTo>
                      <a:pt x="6759" y="641"/>
                    </a:lnTo>
                    <a:lnTo>
                      <a:pt x="6733" y="637"/>
                    </a:lnTo>
                    <a:lnTo>
                      <a:pt x="6702" y="633"/>
                    </a:lnTo>
                    <a:lnTo>
                      <a:pt x="6669" y="626"/>
                    </a:lnTo>
                    <a:lnTo>
                      <a:pt x="6630" y="619"/>
                    </a:lnTo>
                    <a:lnTo>
                      <a:pt x="6590" y="609"/>
                    </a:lnTo>
                    <a:lnTo>
                      <a:pt x="6552" y="598"/>
                    </a:lnTo>
                    <a:lnTo>
                      <a:pt x="6515" y="587"/>
                    </a:lnTo>
                    <a:lnTo>
                      <a:pt x="6478" y="574"/>
                    </a:lnTo>
                    <a:lnTo>
                      <a:pt x="6441" y="561"/>
                    </a:lnTo>
                    <a:lnTo>
                      <a:pt x="6406" y="547"/>
                    </a:lnTo>
                    <a:lnTo>
                      <a:pt x="6371" y="531"/>
                    </a:lnTo>
                    <a:lnTo>
                      <a:pt x="6348" y="521"/>
                    </a:lnTo>
                    <a:lnTo>
                      <a:pt x="6323" y="512"/>
                    </a:lnTo>
                    <a:lnTo>
                      <a:pt x="6298" y="502"/>
                    </a:lnTo>
                    <a:lnTo>
                      <a:pt x="6269" y="491"/>
                    </a:lnTo>
                    <a:lnTo>
                      <a:pt x="6208" y="471"/>
                    </a:lnTo>
                    <a:lnTo>
                      <a:pt x="6140" y="451"/>
                    </a:lnTo>
                    <a:lnTo>
                      <a:pt x="6066" y="432"/>
                    </a:lnTo>
                    <a:lnTo>
                      <a:pt x="5989" y="412"/>
                    </a:lnTo>
                    <a:lnTo>
                      <a:pt x="5907" y="395"/>
                    </a:lnTo>
                    <a:lnTo>
                      <a:pt x="5821" y="378"/>
                    </a:lnTo>
                    <a:lnTo>
                      <a:pt x="5734" y="364"/>
                    </a:lnTo>
                    <a:lnTo>
                      <a:pt x="5644" y="350"/>
                    </a:lnTo>
                    <a:lnTo>
                      <a:pt x="5599" y="344"/>
                    </a:lnTo>
                    <a:lnTo>
                      <a:pt x="5554" y="339"/>
                    </a:lnTo>
                    <a:lnTo>
                      <a:pt x="5508" y="335"/>
                    </a:lnTo>
                    <a:lnTo>
                      <a:pt x="5463" y="330"/>
                    </a:lnTo>
                    <a:lnTo>
                      <a:pt x="5417" y="327"/>
                    </a:lnTo>
                    <a:lnTo>
                      <a:pt x="5373" y="324"/>
                    </a:lnTo>
                    <a:lnTo>
                      <a:pt x="5328" y="323"/>
                    </a:lnTo>
                    <a:lnTo>
                      <a:pt x="5284" y="321"/>
                    </a:lnTo>
                    <a:lnTo>
                      <a:pt x="5240" y="321"/>
                    </a:lnTo>
                    <a:lnTo>
                      <a:pt x="5197" y="321"/>
                    </a:lnTo>
                    <a:lnTo>
                      <a:pt x="5155" y="322"/>
                    </a:lnTo>
                    <a:lnTo>
                      <a:pt x="5113" y="324"/>
                    </a:lnTo>
                    <a:lnTo>
                      <a:pt x="5036" y="328"/>
                    </a:lnTo>
                    <a:lnTo>
                      <a:pt x="4962" y="331"/>
                    </a:lnTo>
                    <a:lnTo>
                      <a:pt x="4889" y="332"/>
                    </a:lnTo>
                    <a:lnTo>
                      <a:pt x="4817" y="331"/>
                    </a:lnTo>
                    <a:lnTo>
                      <a:pt x="4781" y="330"/>
                    </a:lnTo>
                    <a:lnTo>
                      <a:pt x="4747" y="329"/>
                    </a:lnTo>
                    <a:lnTo>
                      <a:pt x="4711" y="327"/>
                    </a:lnTo>
                    <a:lnTo>
                      <a:pt x="4676" y="324"/>
                    </a:lnTo>
                    <a:lnTo>
                      <a:pt x="4640" y="321"/>
                    </a:lnTo>
                    <a:lnTo>
                      <a:pt x="4605" y="316"/>
                    </a:lnTo>
                    <a:lnTo>
                      <a:pt x="4570" y="311"/>
                    </a:lnTo>
                    <a:lnTo>
                      <a:pt x="4534" y="306"/>
                    </a:lnTo>
                    <a:lnTo>
                      <a:pt x="4499" y="300"/>
                    </a:lnTo>
                    <a:lnTo>
                      <a:pt x="4462" y="293"/>
                    </a:lnTo>
                    <a:lnTo>
                      <a:pt x="4426" y="285"/>
                    </a:lnTo>
                    <a:lnTo>
                      <a:pt x="4390" y="276"/>
                    </a:lnTo>
                    <a:lnTo>
                      <a:pt x="4353" y="268"/>
                    </a:lnTo>
                    <a:lnTo>
                      <a:pt x="4315" y="257"/>
                    </a:lnTo>
                    <a:lnTo>
                      <a:pt x="4277" y="246"/>
                    </a:lnTo>
                    <a:lnTo>
                      <a:pt x="4238" y="234"/>
                    </a:lnTo>
                    <a:lnTo>
                      <a:pt x="4199" y="221"/>
                    </a:lnTo>
                    <a:lnTo>
                      <a:pt x="4160" y="207"/>
                    </a:lnTo>
                    <a:lnTo>
                      <a:pt x="4120" y="193"/>
                    </a:lnTo>
                    <a:lnTo>
                      <a:pt x="4079" y="177"/>
                    </a:lnTo>
                    <a:lnTo>
                      <a:pt x="4036" y="160"/>
                    </a:lnTo>
                    <a:lnTo>
                      <a:pt x="3993" y="143"/>
                    </a:lnTo>
                    <a:lnTo>
                      <a:pt x="3950" y="123"/>
                    </a:lnTo>
                    <a:lnTo>
                      <a:pt x="3906" y="104"/>
                    </a:lnTo>
                    <a:lnTo>
                      <a:pt x="3881" y="94"/>
                    </a:lnTo>
                    <a:lnTo>
                      <a:pt x="3851" y="84"/>
                    </a:lnTo>
                    <a:lnTo>
                      <a:pt x="3816" y="74"/>
                    </a:lnTo>
                    <a:lnTo>
                      <a:pt x="3777" y="65"/>
                    </a:lnTo>
                    <a:lnTo>
                      <a:pt x="3733" y="56"/>
                    </a:lnTo>
                    <a:lnTo>
                      <a:pt x="3685" y="49"/>
                    </a:lnTo>
                    <a:lnTo>
                      <a:pt x="3634" y="42"/>
                    </a:lnTo>
                    <a:lnTo>
                      <a:pt x="3577" y="37"/>
                    </a:lnTo>
                    <a:lnTo>
                      <a:pt x="3519" y="31"/>
                    </a:lnTo>
                    <a:lnTo>
                      <a:pt x="3458" y="28"/>
                    </a:lnTo>
                    <a:lnTo>
                      <a:pt x="3393" y="26"/>
                    </a:lnTo>
                    <a:lnTo>
                      <a:pt x="3326" y="26"/>
                    </a:lnTo>
                    <a:lnTo>
                      <a:pt x="3257" y="27"/>
                    </a:lnTo>
                    <a:lnTo>
                      <a:pt x="3186" y="30"/>
                    </a:lnTo>
                    <a:lnTo>
                      <a:pt x="3112" y="36"/>
                    </a:lnTo>
                    <a:lnTo>
                      <a:pt x="3039" y="43"/>
                    </a:lnTo>
                    <a:lnTo>
                      <a:pt x="2963" y="53"/>
                    </a:lnTo>
                    <a:lnTo>
                      <a:pt x="2886" y="66"/>
                    </a:lnTo>
                    <a:lnTo>
                      <a:pt x="2810" y="81"/>
                    </a:lnTo>
                    <a:lnTo>
                      <a:pt x="2733" y="98"/>
                    </a:lnTo>
                    <a:lnTo>
                      <a:pt x="2656" y="119"/>
                    </a:lnTo>
                    <a:lnTo>
                      <a:pt x="2580" y="143"/>
                    </a:lnTo>
                    <a:lnTo>
                      <a:pt x="2504" y="169"/>
                    </a:lnTo>
                    <a:lnTo>
                      <a:pt x="2429" y="200"/>
                    </a:lnTo>
                    <a:lnTo>
                      <a:pt x="2354" y="233"/>
                    </a:lnTo>
                    <a:lnTo>
                      <a:pt x="2282" y="270"/>
                    </a:lnTo>
                    <a:lnTo>
                      <a:pt x="2210" y="311"/>
                    </a:lnTo>
                    <a:lnTo>
                      <a:pt x="2141" y="356"/>
                    </a:lnTo>
                    <a:lnTo>
                      <a:pt x="2074" y="405"/>
                    </a:lnTo>
                    <a:lnTo>
                      <a:pt x="2011" y="458"/>
                    </a:lnTo>
                    <a:lnTo>
                      <a:pt x="1949" y="516"/>
                    </a:lnTo>
                    <a:lnTo>
                      <a:pt x="1891" y="578"/>
                    </a:lnTo>
                    <a:lnTo>
                      <a:pt x="1881" y="588"/>
                    </a:lnTo>
                    <a:lnTo>
                      <a:pt x="1862" y="612"/>
                    </a:lnTo>
                    <a:lnTo>
                      <a:pt x="1833" y="649"/>
                    </a:lnTo>
                    <a:lnTo>
                      <a:pt x="1796" y="698"/>
                    </a:lnTo>
                    <a:lnTo>
                      <a:pt x="1775" y="728"/>
                    </a:lnTo>
                    <a:lnTo>
                      <a:pt x="1753" y="760"/>
                    </a:lnTo>
                    <a:lnTo>
                      <a:pt x="1729" y="796"/>
                    </a:lnTo>
                    <a:lnTo>
                      <a:pt x="1704" y="834"/>
                    </a:lnTo>
                    <a:lnTo>
                      <a:pt x="1678" y="875"/>
                    </a:lnTo>
                    <a:lnTo>
                      <a:pt x="1651" y="920"/>
                    </a:lnTo>
                    <a:lnTo>
                      <a:pt x="1623" y="968"/>
                    </a:lnTo>
                    <a:lnTo>
                      <a:pt x="1595" y="1018"/>
                    </a:lnTo>
                    <a:lnTo>
                      <a:pt x="1566" y="1072"/>
                    </a:lnTo>
                    <a:lnTo>
                      <a:pt x="1537" y="1128"/>
                    </a:lnTo>
                    <a:lnTo>
                      <a:pt x="1507" y="1187"/>
                    </a:lnTo>
                    <a:lnTo>
                      <a:pt x="1477" y="1250"/>
                    </a:lnTo>
                    <a:lnTo>
                      <a:pt x="1448" y="1316"/>
                    </a:lnTo>
                    <a:lnTo>
                      <a:pt x="1418" y="1384"/>
                    </a:lnTo>
                    <a:lnTo>
                      <a:pt x="1389" y="1454"/>
                    </a:lnTo>
                    <a:lnTo>
                      <a:pt x="1361" y="1529"/>
                    </a:lnTo>
                    <a:lnTo>
                      <a:pt x="1333" y="1605"/>
                    </a:lnTo>
                    <a:lnTo>
                      <a:pt x="1306" y="1684"/>
                    </a:lnTo>
                    <a:lnTo>
                      <a:pt x="1280" y="1766"/>
                    </a:lnTo>
                    <a:lnTo>
                      <a:pt x="1254" y="1851"/>
                    </a:lnTo>
                    <a:lnTo>
                      <a:pt x="1230" y="1939"/>
                    </a:lnTo>
                    <a:lnTo>
                      <a:pt x="1207" y="2029"/>
                    </a:lnTo>
                    <a:lnTo>
                      <a:pt x="1187" y="2122"/>
                    </a:lnTo>
                    <a:lnTo>
                      <a:pt x="1167" y="2218"/>
                    </a:lnTo>
                    <a:lnTo>
                      <a:pt x="1154" y="2252"/>
                    </a:lnTo>
                    <a:lnTo>
                      <a:pt x="1140" y="2285"/>
                    </a:lnTo>
                    <a:lnTo>
                      <a:pt x="1126" y="2320"/>
                    </a:lnTo>
                    <a:lnTo>
                      <a:pt x="1110" y="2354"/>
                    </a:lnTo>
                    <a:lnTo>
                      <a:pt x="1094" y="2390"/>
                    </a:lnTo>
                    <a:lnTo>
                      <a:pt x="1076" y="2426"/>
                    </a:lnTo>
                    <a:lnTo>
                      <a:pt x="1057" y="2462"/>
                    </a:lnTo>
                    <a:lnTo>
                      <a:pt x="1038" y="2499"/>
                    </a:lnTo>
                    <a:lnTo>
                      <a:pt x="997" y="2575"/>
                    </a:lnTo>
                    <a:lnTo>
                      <a:pt x="954" y="2651"/>
                    </a:lnTo>
                    <a:lnTo>
                      <a:pt x="907" y="2728"/>
                    </a:lnTo>
                    <a:lnTo>
                      <a:pt x="860" y="2807"/>
                    </a:lnTo>
                    <a:lnTo>
                      <a:pt x="810" y="2884"/>
                    </a:lnTo>
                    <a:lnTo>
                      <a:pt x="759" y="2963"/>
                    </a:lnTo>
                    <a:lnTo>
                      <a:pt x="707" y="3042"/>
                    </a:lnTo>
                    <a:lnTo>
                      <a:pt x="654" y="3120"/>
                    </a:lnTo>
                    <a:lnTo>
                      <a:pt x="603" y="3196"/>
                    </a:lnTo>
                    <a:lnTo>
                      <a:pt x="551" y="3272"/>
                    </a:lnTo>
                    <a:lnTo>
                      <a:pt x="500" y="3345"/>
                    </a:lnTo>
                    <a:lnTo>
                      <a:pt x="450" y="3418"/>
                    </a:lnTo>
                    <a:lnTo>
                      <a:pt x="388" y="3507"/>
                    </a:lnTo>
                    <a:lnTo>
                      <a:pt x="328" y="3595"/>
                    </a:lnTo>
                    <a:lnTo>
                      <a:pt x="272" y="3677"/>
                    </a:lnTo>
                    <a:lnTo>
                      <a:pt x="220" y="3754"/>
                    </a:lnTo>
                    <a:lnTo>
                      <a:pt x="173" y="3827"/>
                    </a:lnTo>
                    <a:lnTo>
                      <a:pt x="132" y="3895"/>
                    </a:lnTo>
                    <a:lnTo>
                      <a:pt x="112" y="3926"/>
                    </a:lnTo>
                    <a:lnTo>
                      <a:pt x="96" y="3956"/>
                    </a:lnTo>
                    <a:lnTo>
                      <a:pt x="80" y="3984"/>
                    </a:lnTo>
                    <a:lnTo>
                      <a:pt x="67" y="4010"/>
                    </a:lnTo>
                    <a:lnTo>
                      <a:pt x="56" y="4031"/>
                    </a:lnTo>
                    <a:lnTo>
                      <a:pt x="48" y="4051"/>
                    </a:lnTo>
                    <a:lnTo>
                      <a:pt x="39" y="4070"/>
                    </a:lnTo>
                    <a:lnTo>
                      <a:pt x="30" y="4087"/>
                    </a:lnTo>
                    <a:lnTo>
                      <a:pt x="30" y="4088"/>
                    </a:lnTo>
                    <a:lnTo>
                      <a:pt x="0" y="4088"/>
                    </a:lnTo>
                    <a:lnTo>
                      <a:pt x="5" y="4075"/>
                    </a:lnTo>
                    <a:lnTo>
                      <a:pt x="14" y="4058"/>
                    </a:lnTo>
                    <a:lnTo>
                      <a:pt x="23" y="4039"/>
                    </a:lnTo>
                    <a:lnTo>
                      <a:pt x="32" y="4020"/>
                    </a:lnTo>
                    <a:lnTo>
                      <a:pt x="42" y="3998"/>
                    </a:lnTo>
                    <a:lnTo>
                      <a:pt x="56" y="3971"/>
                    </a:lnTo>
                    <a:lnTo>
                      <a:pt x="71" y="3943"/>
                    </a:lnTo>
                    <a:lnTo>
                      <a:pt x="89" y="3913"/>
                    </a:lnTo>
                    <a:lnTo>
                      <a:pt x="108" y="3882"/>
                    </a:lnTo>
                    <a:lnTo>
                      <a:pt x="150" y="3814"/>
                    </a:lnTo>
                    <a:lnTo>
                      <a:pt x="198" y="3740"/>
                    </a:lnTo>
                    <a:lnTo>
                      <a:pt x="250" y="3663"/>
                    </a:lnTo>
                    <a:lnTo>
                      <a:pt x="306" y="3580"/>
                    </a:lnTo>
                    <a:lnTo>
                      <a:pt x="365" y="3493"/>
                    </a:lnTo>
                    <a:lnTo>
                      <a:pt x="428" y="3403"/>
                    </a:lnTo>
                    <a:lnTo>
                      <a:pt x="477" y="3330"/>
                    </a:lnTo>
                    <a:lnTo>
                      <a:pt x="528" y="3257"/>
                    </a:lnTo>
                    <a:lnTo>
                      <a:pt x="580" y="3181"/>
                    </a:lnTo>
                    <a:lnTo>
                      <a:pt x="632" y="3105"/>
                    </a:lnTo>
                    <a:lnTo>
                      <a:pt x="684" y="3028"/>
                    </a:lnTo>
                    <a:lnTo>
                      <a:pt x="735" y="2949"/>
                    </a:lnTo>
                    <a:lnTo>
                      <a:pt x="786" y="2871"/>
                    </a:lnTo>
                    <a:lnTo>
                      <a:pt x="836" y="2794"/>
                    </a:lnTo>
                    <a:lnTo>
                      <a:pt x="883" y="2716"/>
                    </a:lnTo>
                    <a:lnTo>
                      <a:pt x="929" y="2639"/>
                    </a:lnTo>
                    <a:lnTo>
                      <a:pt x="973" y="2563"/>
                    </a:lnTo>
                    <a:lnTo>
                      <a:pt x="1013" y="2488"/>
                    </a:lnTo>
                    <a:lnTo>
                      <a:pt x="1032" y="2453"/>
                    </a:lnTo>
                    <a:lnTo>
                      <a:pt x="1051" y="2416"/>
                    </a:lnTo>
                    <a:lnTo>
                      <a:pt x="1068" y="2380"/>
                    </a:lnTo>
                    <a:lnTo>
                      <a:pt x="1085" y="2346"/>
                    </a:lnTo>
                    <a:lnTo>
                      <a:pt x="1100" y="2311"/>
                    </a:lnTo>
                    <a:lnTo>
                      <a:pt x="1116" y="2277"/>
                    </a:lnTo>
                    <a:lnTo>
                      <a:pt x="1128" y="2244"/>
                    </a:lnTo>
                    <a:lnTo>
                      <a:pt x="1140" y="2212"/>
                    </a:lnTo>
                    <a:lnTo>
                      <a:pt x="1161" y="2115"/>
                    </a:lnTo>
                    <a:lnTo>
                      <a:pt x="1181" y="2022"/>
                    </a:lnTo>
                    <a:lnTo>
                      <a:pt x="1204" y="1930"/>
                    </a:lnTo>
                    <a:lnTo>
                      <a:pt x="1229" y="1843"/>
                    </a:lnTo>
                    <a:lnTo>
                      <a:pt x="1254" y="1757"/>
                    </a:lnTo>
                    <a:lnTo>
                      <a:pt x="1281" y="1674"/>
                    </a:lnTo>
                    <a:lnTo>
                      <a:pt x="1308" y="1594"/>
                    </a:lnTo>
                    <a:lnTo>
                      <a:pt x="1336" y="1518"/>
                    </a:lnTo>
                    <a:lnTo>
                      <a:pt x="1365" y="1443"/>
                    </a:lnTo>
                    <a:lnTo>
                      <a:pt x="1394" y="1372"/>
                    </a:lnTo>
                    <a:lnTo>
                      <a:pt x="1423" y="1303"/>
                    </a:lnTo>
                    <a:lnTo>
                      <a:pt x="1453" y="1237"/>
                    </a:lnTo>
                    <a:lnTo>
                      <a:pt x="1484" y="1174"/>
                    </a:lnTo>
                    <a:lnTo>
                      <a:pt x="1513" y="1115"/>
                    </a:lnTo>
                    <a:lnTo>
                      <a:pt x="1543" y="1058"/>
                    </a:lnTo>
                    <a:lnTo>
                      <a:pt x="1572" y="1004"/>
                    </a:lnTo>
                    <a:lnTo>
                      <a:pt x="1600" y="953"/>
                    </a:lnTo>
                    <a:lnTo>
                      <a:pt x="1628" y="906"/>
                    </a:lnTo>
                    <a:lnTo>
                      <a:pt x="1657" y="860"/>
                    </a:lnTo>
                    <a:lnTo>
                      <a:pt x="1682" y="818"/>
                    </a:lnTo>
                    <a:lnTo>
                      <a:pt x="1707" y="779"/>
                    </a:lnTo>
                    <a:lnTo>
                      <a:pt x="1731" y="744"/>
                    </a:lnTo>
                    <a:lnTo>
                      <a:pt x="1754" y="711"/>
                    </a:lnTo>
                    <a:lnTo>
                      <a:pt x="1775" y="681"/>
                    </a:lnTo>
                    <a:lnTo>
                      <a:pt x="1812" y="632"/>
                    </a:lnTo>
                    <a:lnTo>
                      <a:pt x="1841" y="595"/>
                    </a:lnTo>
                    <a:lnTo>
                      <a:pt x="1861" y="571"/>
                    </a:lnTo>
                    <a:lnTo>
                      <a:pt x="1870" y="559"/>
                    </a:lnTo>
                    <a:lnTo>
                      <a:pt x="1930" y="497"/>
                    </a:lnTo>
                    <a:lnTo>
                      <a:pt x="1992" y="438"/>
                    </a:lnTo>
                    <a:lnTo>
                      <a:pt x="2057" y="384"/>
                    </a:lnTo>
                    <a:lnTo>
                      <a:pt x="2125" y="335"/>
                    </a:lnTo>
                    <a:lnTo>
                      <a:pt x="2195" y="289"/>
                    </a:lnTo>
                    <a:lnTo>
                      <a:pt x="2268" y="247"/>
                    </a:lnTo>
                    <a:lnTo>
                      <a:pt x="2341" y="209"/>
                    </a:lnTo>
                    <a:lnTo>
                      <a:pt x="2417" y="176"/>
                    </a:lnTo>
                    <a:lnTo>
                      <a:pt x="2493" y="146"/>
                    </a:lnTo>
                    <a:lnTo>
                      <a:pt x="2570" y="118"/>
                    </a:lnTo>
                    <a:lnTo>
                      <a:pt x="2648" y="94"/>
                    </a:lnTo>
                    <a:lnTo>
                      <a:pt x="2727" y="73"/>
                    </a:lnTo>
                    <a:lnTo>
                      <a:pt x="2804" y="55"/>
                    </a:lnTo>
                    <a:lnTo>
                      <a:pt x="2882" y="40"/>
                    </a:lnTo>
                    <a:lnTo>
                      <a:pt x="2960" y="28"/>
                    </a:lnTo>
                    <a:lnTo>
                      <a:pt x="3035" y="17"/>
                    </a:lnTo>
                    <a:lnTo>
                      <a:pt x="3111" y="10"/>
                    </a:lnTo>
                    <a:lnTo>
                      <a:pt x="3186" y="4"/>
                    </a:lnTo>
                    <a:lnTo>
                      <a:pt x="3258" y="1"/>
                    </a:lnTo>
                    <a:lnTo>
                      <a:pt x="3328" y="0"/>
                    </a:lnTo>
                    <a:lnTo>
                      <a:pt x="3396" y="0"/>
                    </a:lnTo>
                    <a:lnTo>
                      <a:pt x="3461" y="2"/>
                    </a:lnTo>
                    <a:lnTo>
                      <a:pt x="3525" y="5"/>
                    </a:lnTo>
                    <a:lnTo>
                      <a:pt x="3584" y="11"/>
                    </a:lnTo>
                    <a:lnTo>
                      <a:pt x="3640" y="16"/>
                    </a:lnTo>
                    <a:lnTo>
                      <a:pt x="3693" y="24"/>
                    </a:lnTo>
                    <a:lnTo>
                      <a:pt x="3742" y="31"/>
                    </a:lnTo>
                    <a:lnTo>
                      <a:pt x="3786" y="40"/>
                    </a:lnTo>
                    <a:lnTo>
                      <a:pt x="3826" y="50"/>
                    </a:lnTo>
                    <a:lnTo>
                      <a:pt x="3861" y="58"/>
                    </a:lnTo>
                    <a:lnTo>
                      <a:pt x="3892" y="69"/>
                    </a:lnTo>
                    <a:lnTo>
                      <a:pt x="3917" y="79"/>
                    </a:lnTo>
                    <a:lnTo>
                      <a:pt x="3961" y="98"/>
                    </a:lnTo>
                    <a:lnTo>
                      <a:pt x="4004" y="118"/>
                    </a:lnTo>
                    <a:lnTo>
                      <a:pt x="4046" y="135"/>
                    </a:lnTo>
                    <a:lnTo>
                      <a:pt x="4087" y="151"/>
                    </a:lnTo>
                    <a:lnTo>
                      <a:pt x="4128" y="167"/>
                    </a:lnTo>
                    <a:lnTo>
                      <a:pt x="4168" y="181"/>
                    </a:lnTo>
                    <a:lnTo>
                      <a:pt x="4207" y="195"/>
                    </a:lnTo>
                    <a:lnTo>
                      <a:pt x="4246" y="208"/>
                    </a:lnTo>
                    <a:lnTo>
                      <a:pt x="4284" y="220"/>
                    </a:lnTo>
                    <a:lnTo>
                      <a:pt x="4321" y="231"/>
                    </a:lnTo>
                    <a:lnTo>
                      <a:pt x="4359" y="241"/>
                    </a:lnTo>
                    <a:lnTo>
                      <a:pt x="4395" y="250"/>
                    </a:lnTo>
                    <a:lnTo>
                      <a:pt x="4432" y="259"/>
                    </a:lnTo>
                    <a:lnTo>
                      <a:pt x="4467" y="267"/>
                    </a:lnTo>
                    <a:lnTo>
                      <a:pt x="4503" y="273"/>
                    </a:lnTo>
                    <a:lnTo>
                      <a:pt x="4539" y="280"/>
                    </a:lnTo>
                    <a:lnTo>
                      <a:pt x="4574" y="285"/>
                    </a:lnTo>
                    <a:lnTo>
                      <a:pt x="4609" y="289"/>
                    </a:lnTo>
                    <a:lnTo>
                      <a:pt x="4644" y="294"/>
                    </a:lnTo>
                    <a:lnTo>
                      <a:pt x="4679" y="297"/>
                    </a:lnTo>
                    <a:lnTo>
                      <a:pt x="4713" y="300"/>
                    </a:lnTo>
                    <a:lnTo>
                      <a:pt x="4749" y="302"/>
                    </a:lnTo>
                    <a:lnTo>
                      <a:pt x="4784" y="303"/>
                    </a:lnTo>
                    <a:lnTo>
                      <a:pt x="4819" y="304"/>
                    </a:lnTo>
                    <a:lnTo>
                      <a:pt x="4889" y="306"/>
                    </a:lnTo>
                    <a:lnTo>
                      <a:pt x="4962" y="304"/>
                    </a:lnTo>
                    <a:lnTo>
                      <a:pt x="5035" y="301"/>
                    </a:lnTo>
                    <a:lnTo>
                      <a:pt x="5111" y="297"/>
                    </a:lnTo>
                    <a:lnTo>
                      <a:pt x="5153" y="295"/>
                    </a:lnTo>
                    <a:lnTo>
                      <a:pt x="5196" y="294"/>
                    </a:lnTo>
                    <a:lnTo>
                      <a:pt x="5239" y="294"/>
                    </a:lnTo>
                    <a:lnTo>
                      <a:pt x="5284" y="294"/>
                    </a:lnTo>
                    <a:lnTo>
                      <a:pt x="5329" y="296"/>
                    </a:lnTo>
                    <a:lnTo>
                      <a:pt x="5374" y="297"/>
                    </a:lnTo>
                    <a:lnTo>
                      <a:pt x="5420" y="300"/>
                    </a:lnTo>
                    <a:lnTo>
                      <a:pt x="5465" y="303"/>
                    </a:lnTo>
                    <a:lnTo>
                      <a:pt x="5510" y="308"/>
                    </a:lnTo>
                    <a:lnTo>
                      <a:pt x="5557" y="312"/>
                    </a:lnTo>
                    <a:lnTo>
                      <a:pt x="5602" y="317"/>
                    </a:lnTo>
                    <a:lnTo>
                      <a:pt x="5647" y="324"/>
                    </a:lnTo>
                    <a:lnTo>
                      <a:pt x="5738" y="337"/>
                    </a:lnTo>
                    <a:lnTo>
                      <a:pt x="5827" y="352"/>
                    </a:lnTo>
                    <a:lnTo>
                      <a:pt x="5913" y="369"/>
                    </a:lnTo>
                    <a:lnTo>
                      <a:pt x="5995" y="386"/>
                    </a:lnTo>
                    <a:lnTo>
                      <a:pt x="6074" y="406"/>
                    </a:lnTo>
                    <a:lnTo>
                      <a:pt x="6149" y="425"/>
                    </a:lnTo>
                    <a:lnTo>
                      <a:pt x="6218" y="446"/>
                    </a:lnTo>
                    <a:lnTo>
                      <a:pt x="6279" y="466"/>
                    </a:lnTo>
                    <a:lnTo>
                      <a:pt x="6308" y="477"/>
                    </a:lnTo>
                    <a:lnTo>
                      <a:pt x="6334" y="487"/>
                    </a:lnTo>
                    <a:lnTo>
                      <a:pt x="6359" y="497"/>
                    </a:lnTo>
                    <a:lnTo>
                      <a:pt x="6382" y="507"/>
                    </a:lnTo>
                    <a:lnTo>
                      <a:pt x="6416" y="522"/>
                    </a:lnTo>
                    <a:lnTo>
                      <a:pt x="6451" y="537"/>
                    </a:lnTo>
                    <a:lnTo>
                      <a:pt x="6487" y="549"/>
                    </a:lnTo>
                    <a:lnTo>
                      <a:pt x="6523" y="561"/>
                    </a:lnTo>
                    <a:lnTo>
                      <a:pt x="6560" y="572"/>
                    </a:lnTo>
                    <a:lnTo>
                      <a:pt x="6598" y="583"/>
                    </a:lnTo>
                    <a:lnTo>
                      <a:pt x="6636" y="592"/>
                    </a:lnTo>
                    <a:lnTo>
                      <a:pt x="6674" y="600"/>
                    </a:lnTo>
                    <a:lnTo>
                      <a:pt x="6728" y="610"/>
                    </a:lnTo>
                    <a:lnTo>
                      <a:pt x="6773" y="615"/>
                    </a:lnTo>
                    <a:lnTo>
                      <a:pt x="6805" y="619"/>
                    </a:lnTo>
                    <a:lnTo>
                      <a:pt x="6822" y="620"/>
                    </a:lnTo>
                    <a:lnTo>
                      <a:pt x="6834" y="614"/>
                    </a:lnTo>
                    <a:lnTo>
                      <a:pt x="6855" y="607"/>
                    </a:lnTo>
                    <a:lnTo>
                      <a:pt x="6882" y="598"/>
                    </a:lnTo>
                    <a:lnTo>
                      <a:pt x="6917" y="588"/>
                    </a:lnTo>
                    <a:lnTo>
                      <a:pt x="6939" y="584"/>
                    </a:lnTo>
                    <a:lnTo>
                      <a:pt x="6962" y="580"/>
                    </a:lnTo>
                    <a:lnTo>
                      <a:pt x="6988" y="576"/>
                    </a:lnTo>
                    <a:lnTo>
                      <a:pt x="7015" y="573"/>
                    </a:lnTo>
                    <a:lnTo>
                      <a:pt x="7044" y="570"/>
                    </a:lnTo>
                    <a:lnTo>
                      <a:pt x="7076" y="569"/>
                    </a:lnTo>
                    <a:lnTo>
                      <a:pt x="7110" y="568"/>
                    </a:lnTo>
                    <a:lnTo>
                      <a:pt x="7145" y="568"/>
                    </a:lnTo>
                    <a:lnTo>
                      <a:pt x="7184" y="569"/>
                    </a:lnTo>
                    <a:lnTo>
                      <a:pt x="7224" y="572"/>
                    </a:lnTo>
                    <a:lnTo>
                      <a:pt x="7267" y="575"/>
                    </a:lnTo>
                    <a:lnTo>
                      <a:pt x="7313" y="581"/>
                    </a:lnTo>
                    <a:lnTo>
                      <a:pt x="7359" y="588"/>
                    </a:lnTo>
                    <a:lnTo>
                      <a:pt x="7409" y="597"/>
                    </a:lnTo>
                    <a:lnTo>
                      <a:pt x="7460" y="608"/>
                    </a:lnTo>
                    <a:lnTo>
                      <a:pt x="7514" y="621"/>
                    </a:lnTo>
                    <a:lnTo>
                      <a:pt x="7572" y="636"/>
                    </a:lnTo>
                    <a:lnTo>
                      <a:pt x="7630" y="653"/>
                    </a:lnTo>
                    <a:lnTo>
                      <a:pt x="7692" y="673"/>
                    </a:lnTo>
                    <a:lnTo>
                      <a:pt x="7755" y="694"/>
                    </a:lnTo>
                    <a:lnTo>
                      <a:pt x="7822" y="719"/>
                    </a:lnTo>
                    <a:lnTo>
                      <a:pt x="7890" y="746"/>
                    </a:lnTo>
                    <a:lnTo>
                      <a:pt x="7962" y="777"/>
                    </a:lnTo>
                    <a:lnTo>
                      <a:pt x="8035" y="810"/>
                    </a:lnTo>
                    <a:lnTo>
                      <a:pt x="8105" y="845"/>
                    </a:lnTo>
                    <a:lnTo>
                      <a:pt x="8174" y="883"/>
                    </a:lnTo>
                    <a:lnTo>
                      <a:pt x="8242" y="923"/>
                    </a:lnTo>
                    <a:lnTo>
                      <a:pt x="8308" y="966"/>
                    </a:lnTo>
                    <a:lnTo>
                      <a:pt x="8372" y="1011"/>
                    </a:lnTo>
                    <a:lnTo>
                      <a:pt x="8434" y="1059"/>
                    </a:lnTo>
                    <a:lnTo>
                      <a:pt x="8495" y="1109"/>
                    </a:lnTo>
                    <a:lnTo>
                      <a:pt x="8553" y="1160"/>
                    </a:lnTo>
                    <a:lnTo>
                      <a:pt x="8610" y="1214"/>
                    </a:lnTo>
                    <a:lnTo>
                      <a:pt x="8667" y="1271"/>
                    </a:lnTo>
                    <a:lnTo>
                      <a:pt x="8721" y="1328"/>
                    </a:lnTo>
                    <a:lnTo>
                      <a:pt x="8772" y="1387"/>
                    </a:lnTo>
                    <a:lnTo>
                      <a:pt x="8823" y="1448"/>
                    </a:lnTo>
                    <a:lnTo>
                      <a:pt x="8872" y="1509"/>
                    </a:lnTo>
                    <a:lnTo>
                      <a:pt x="8919" y="1573"/>
                    </a:lnTo>
                    <a:lnTo>
                      <a:pt x="8965" y="1637"/>
                    </a:lnTo>
                    <a:lnTo>
                      <a:pt x="9009" y="1702"/>
                    </a:lnTo>
                    <a:lnTo>
                      <a:pt x="9051" y="1768"/>
                    </a:lnTo>
                    <a:lnTo>
                      <a:pt x="9091" y="1835"/>
                    </a:lnTo>
                    <a:lnTo>
                      <a:pt x="9130" y="1902"/>
                    </a:lnTo>
                    <a:lnTo>
                      <a:pt x="9168" y="1970"/>
                    </a:lnTo>
                    <a:lnTo>
                      <a:pt x="9202" y="2038"/>
                    </a:lnTo>
                    <a:lnTo>
                      <a:pt x="9237" y="2106"/>
                    </a:lnTo>
                    <a:lnTo>
                      <a:pt x="9268" y="2175"/>
                    </a:lnTo>
                    <a:lnTo>
                      <a:pt x="9299" y="2243"/>
                    </a:lnTo>
                    <a:lnTo>
                      <a:pt x="9327" y="2311"/>
                    </a:lnTo>
                    <a:lnTo>
                      <a:pt x="9354" y="2379"/>
                    </a:lnTo>
                    <a:lnTo>
                      <a:pt x="9380" y="2447"/>
                    </a:lnTo>
                    <a:lnTo>
                      <a:pt x="9404" y="2514"/>
                    </a:lnTo>
                    <a:lnTo>
                      <a:pt x="9426" y="2581"/>
                    </a:lnTo>
                    <a:lnTo>
                      <a:pt x="9446" y="2647"/>
                    </a:lnTo>
                    <a:lnTo>
                      <a:pt x="9465" y="2712"/>
                    </a:lnTo>
                    <a:lnTo>
                      <a:pt x="9473" y="2743"/>
                    </a:lnTo>
                    <a:lnTo>
                      <a:pt x="9481" y="2773"/>
                    </a:lnTo>
                    <a:lnTo>
                      <a:pt x="9488" y="2803"/>
                    </a:lnTo>
                    <a:lnTo>
                      <a:pt x="9494" y="2834"/>
                    </a:lnTo>
                    <a:lnTo>
                      <a:pt x="9499" y="2863"/>
                    </a:lnTo>
                    <a:lnTo>
                      <a:pt x="9505" y="2892"/>
                    </a:lnTo>
                    <a:lnTo>
                      <a:pt x="9508" y="2921"/>
                    </a:lnTo>
                    <a:lnTo>
                      <a:pt x="9511" y="2949"/>
                    </a:lnTo>
                    <a:lnTo>
                      <a:pt x="9516" y="3004"/>
                    </a:lnTo>
                    <a:lnTo>
                      <a:pt x="9520" y="3057"/>
                    </a:lnTo>
                    <a:lnTo>
                      <a:pt x="9520" y="3108"/>
                    </a:lnTo>
                    <a:lnTo>
                      <a:pt x="9519" y="3156"/>
                    </a:lnTo>
                    <a:lnTo>
                      <a:pt x="9515" y="3204"/>
                    </a:lnTo>
                    <a:lnTo>
                      <a:pt x="9511" y="3248"/>
                    </a:lnTo>
                    <a:lnTo>
                      <a:pt x="9505" y="3291"/>
                    </a:lnTo>
                    <a:lnTo>
                      <a:pt x="9498" y="3332"/>
                    </a:lnTo>
                    <a:lnTo>
                      <a:pt x="9489" y="3370"/>
                    </a:lnTo>
                    <a:lnTo>
                      <a:pt x="9481" y="3407"/>
                    </a:lnTo>
                    <a:lnTo>
                      <a:pt x="9471" y="3440"/>
                    </a:lnTo>
                    <a:lnTo>
                      <a:pt x="9461" y="3472"/>
                    </a:lnTo>
                    <a:lnTo>
                      <a:pt x="9448" y="3507"/>
                    </a:lnTo>
                    <a:lnTo>
                      <a:pt x="9437" y="3537"/>
                    </a:lnTo>
                    <a:lnTo>
                      <a:pt x="9425" y="3564"/>
                    </a:lnTo>
                    <a:lnTo>
                      <a:pt x="9415" y="3586"/>
                    </a:lnTo>
                    <a:lnTo>
                      <a:pt x="9399" y="3616"/>
                    </a:lnTo>
                    <a:lnTo>
                      <a:pt x="9392" y="3628"/>
                    </a:lnTo>
                    <a:lnTo>
                      <a:pt x="9389" y="3631"/>
                    </a:lnTo>
                    <a:lnTo>
                      <a:pt x="9385" y="3634"/>
                    </a:lnTo>
                    <a:lnTo>
                      <a:pt x="9379" y="3635"/>
                    </a:lnTo>
                    <a:lnTo>
                      <a:pt x="9375" y="3634"/>
                    </a:lnTo>
                    <a:lnTo>
                      <a:pt x="9134" y="3525"/>
                    </a:lnTo>
                    <a:lnTo>
                      <a:pt x="9116" y="3516"/>
                    </a:lnTo>
                    <a:lnTo>
                      <a:pt x="9099" y="3506"/>
                    </a:lnTo>
                    <a:lnTo>
                      <a:pt x="9080" y="3495"/>
                    </a:lnTo>
                    <a:lnTo>
                      <a:pt x="9062" y="3483"/>
                    </a:lnTo>
                    <a:lnTo>
                      <a:pt x="9042" y="3471"/>
                    </a:lnTo>
                    <a:lnTo>
                      <a:pt x="9024" y="3457"/>
                    </a:lnTo>
                    <a:lnTo>
                      <a:pt x="9005" y="3441"/>
                    </a:lnTo>
                    <a:lnTo>
                      <a:pt x="8984" y="3426"/>
                    </a:lnTo>
                    <a:lnTo>
                      <a:pt x="8944" y="3393"/>
                    </a:lnTo>
                    <a:lnTo>
                      <a:pt x="8903" y="3357"/>
                    </a:lnTo>
                    <a:lnTo>
                      <a:pt x="8861" y="3319"/>
                    </a:lnTo>
                    <a:lnTo>
                      <a:pt x="8819" y="3281"/>
                    </a:lnTo>
                    <a:lnTo>
                      <a:pt x="8748" y="3216"/>
                    </a:lnTo>
                    <a:lnTo>
                      <a:pt x="8673" y="3151"/>
                    </a:lnTo>
                    <a:lnTo>
                      <a:pt x="8636" y="3120"/>
                    </a:lnTo>
                    <a:lnTo>
                      <a:pt x="8599" y="3089"/>
                    </a:lnTo>
                    <a:lnTo>
                      <a:pt x="8560" y="3060"/>
                    </a:lnTo>
                    <a:lnTo>
                      <a:pt x="8522" y="3033"/>
                    </a:lnTo>
                    <a:lnTo>
                      <a:pt x="8483" y="3007"/>
                    </a:lnTo>
                    <a:lnTo>
                      <a:pt x="8444" y="2985"/>
                    </a:lnTo>
                    <a:lnTo>
                      <a:pt x="8425" y="2974"/>
                    </a:lnTo>
                    <a:lnTo>
                      <a:pt x="8405" y="2964"/>
                    </a:lnTo>
                    <a:lnTo>
                      <a:pt x="8386" y="2955"/>
                    </a:lnTo>
                    <a:lnTo>
                      <a:pt x="8365" y="2946"/>
                    </a:lnTo>
                    <a:lnTo>
                      <a:pt x="8346" y="2938"/>
                    </a:lnTo>
                    <a:lnTo>
                      <a:pt x="8327" y="2932"/>
                    </a:lnTo>
                    <a:lnTo>
                      <a:pt x="8307" y="2926"/>
                    </a:lnTo>
                    <a:lnTo>
                      <a:pt x="8288" y="2921"/>
                    </a:lnTo>
                    <a:lnTo>
                      <a:pt x="8267" y="2917"/>
                    </a:lnTo>
                    <a:lnTo>
                      <a:pt x="8248" y="2914"/>
                    </a:lnTo>
                    <a:lnTo>
                      <a:pt x="8228" y="2912"/>
                    </a:lnTo>
                    <a:lnTo>
                      <a:pt x="8209" y="2911"/>
                    </a:lnTo>
                    <a:lnTo>
                      <a:pt x="8185" y="2911"/>
                    </a:lnTo>
                    <a:lnTo>
                      <a:pt x="8161" y="2912"/>
                    </a:lnTo>
                    <a:lnTo>
                      <a:pt x="8138" y="2914"/>
                    </a:lnTo>
                    <a:lnTo>
                      <a:pt x="8112" y="2917"/>
                    </a:lnTo>
                    <a:lnTo>
                      <a:pt x="8086" y="2920"/>
                    </a:lnTo>
                    <a:lnTo>
                      <a:pt x="8059" y="2925"/>
                    </a:lnTo>
                    <a:lnTo>
                      <a:pt x="8032" y="2931"/>
                    </a:lnTo>
                    <a:lnTo>
                      <a:pt x="8003" y="2937"/>
                    </a:lnTo>
                    <a:lnTo>
                      <a:pt x="7964" y="2947"/>
                    </a:lnTo>
                    <a:lnTo>
                      <a:pt x="7925" y="2958"/>
                    </a:lnTo>
                    <a:lnTo>
                      <a:pt x="7885" y="2969"/>
                    </a:lnTo>
                    <a:lnTo>
                      <a:pt x="7845" y="2982"/>
                    </a:lnTo>
                    <a:lnTo>
                      <a:pt x="7803" y="2996"/>
                    </a:lnTo>
                    <a:lnTo>
                      <a:pt x="7762" y="3010"/>
                    </a:lnTo>
                    <a:lnTo>
                      <a:pt x="7719" y="3024"/>
                    </a:lnTo>
                    <a:lnTo>
                      <a:pt x="7675" y="3039"/>
                    </a:lnTo>
                    <a:lnTo>
                      <a:pt x="7632" y="3054"/>
                    </a:lnTo>
                    <a:lnTo>
                      <a:pt x="7587" y="3069"/>
                    </a:lnTo>
                    <a:lnTo>
                      <a:pt x="7543" y="3085"/>
                    </a:lnTo>
                    <a:lnTo>
                      <a:pt x="7496" y="3100"/>
                    </a:lnTo>
                    <a:lnTo>
                      <a:pt x="7450" y="3114"/>
                    </a:lnTo>
                    <a:lnTo>
                      <a:pt x="7402" y="3129"/>
                    </a:lnTo>
                    <a:lnTo>
                      <a:pt x="7354" y="3143"/>
                    </a:lnTo>
                    <a:lnTo>
                      <a:pt x="7305" y="3156"/>
                    </a:lnTo>
                    <a:lnTo>
                      <a:pt x="7255" y="3168"/>
                    </a:lnTo>
                    <a:lnTo>
                      <a:pt x="7205" y="3180"/>
                    </a:lnTo>
                    <a:lnTo>
                      <a:pt x="7153" y="3191"/>
                    </a:lnTo>
                    <a:lnTo>
                      <a:pt x="7101" y="3201"/>
                    </a:lnTo>
                    <a:lnTo>
                      <a:pt x="7047" y="3208"/>
                    </a:lnTo>
                    <a:lnTo>
                      <a:pt x="6994" y="3215"/>
                    </a:lnTo>
                    <a:lnTo>
                      <a:pt x="6939" y="3220"/>
                    </a:lnTo>
                    <a:lnTo>
                      <a:pt x="6883" y="3223"/>
                    </a:lnTo>
                    <a:lnTo>
                      <a:pt x="6841" y="3224"/>
                    </a:lnTo>
                    <a:lnTo>
                      <a:pt x="6735" y="3230"/>
                    </a:lnTo>
                    <a:lnTo>
                      <a:pt x="6629" y="3233"/>
                    </a:lnTo>
                    <a:lnTo>
                      <a:pt x="6521" y="3236"/>
                    </a:lnTo>
                    <a:lnTo>
                      <a:pt x="6412" y="3238"/>
                    </a:lnTo>
                    <a:lnTo>
                      <a:pt x="6302" y="3240"/>
                    </a:lnTo>
                    <a:lnTo>
                      <a:pt x="6192" y="3237"/>
                    </a:lnTo>
                    <a:lnTo>
                      <a:pt x="6137" y="3236"/>
                    </a:lnTo>
                    <a:lnTo>
                      <a:pt x="6082" y="3233"/>
                    </a:lnTo>
                    <a:lnTo>
                      <a:pt x="6025" y="3230"/>
                    </a:lnTo>
                    <a:lnTo>
                      <a:pt x="5970" y="3227"/>
                    </a:lnTo>
                    <a:lnTo>
                      <a:pt x="5915" y="3221"/>
                    </a:lnTo>
                    <a:lnTo>
                      <a:pt x="5860" y="3216"/>
                    </a:lnTo>
                    <a:lnTo>
                      <a:pt x="5805" y="3209"/>
                    </a:lnTo>
                    <a:lnTo>
                      <a:pt x="5750" y="3202"/>
                    </a:lnTo>
                    <a:lnTo>
                      <a:pt x="5695" y="3192"/>
                    </a:lnTo>
                    <a:lnTo>
                      <a:pt x="5641" y="3182"/>
                    </a:lnTo>
                    <a:lnTo>
                      <a:pt x="5587" y="3172"/>
                    </a:lnTo>
                    <a:lnTo>
                      <a:pt x="5532" y="3159"/>
                    </a:lnTo>
                    <a:lnTo>
                      <a:pt x="5479" y="3146"/>
                    </a:lnTo>
                    <a:lnTo>
                      <a:pt x="5425" y="3131"/>
                    </a:lnTo>
                    <a:lnTo>
                      <a:pt x="5372" y="3114"/>
                    </a:lnTo>
                    <a:lnTo>
                      <a:pt x="5319" y="3096"/>
                    </a:lnTo>
                    <a:lnTo>
                      <a:pt x="5267" y="3077"/>
                    </a:lnTo>
                    <a:lnTo>
                      <a:pt x="5216" y="3056"/>
                    </a:lnTo>
                    <a:lnTo>
                      <a:pt x="5164" y="3033"/>
                    </a:lnTo>
                    <a:lnTo>
                      <a:pt x="5113" y="3010"/>
                    </a:lnTo>
                    <a:lnTo>
                      <a:pt x="5027" y="2968"/>
                    </a:lnTo>
                    <a:lnTo>
                      <a:pt x="4933" y="2921"/>
                    </a:lnTo>
                    <a:lnTo>
                      <a:pt x="4831" y="2871"/>
                    </a:lnTo>
                    <a:lnTo>
                      <a:pt x="4724" y="2820"/>
                    </a:lnTo>
                    <a:lnTo>
                      <a:pt x="4612" y="2765"/>
                    </a:lnTo>
                    <a:lnTo>
                      <a:pt x="4497" y="2710"/>
                    </a:lnTo>
                    <a:lnTo>
                      <a:pt x="4382" y="2653"/>
                    </a:lnTo>
                    <a:lnTo>
                      <a:pt x="4265" y="2597"/>
                    </a:lnTo>
                    <a:lnTo>
                      <a:pt x="4150" y="2542"/>
                    </a:lnTo>
                    <a:lnTo>
                      <a:pt x="4037" y="2487"/>
                    </a:lnTo>
                    <a:lnTo>
                      <a:pt x="3928" y="2435"/>
                    </a:lnTo>
                    <a:lnTo>
                      <a:pt x="3824" y="2385"/>
                    </a:lnTo>
                    <a:lnTo>
                      <a:pt x="3727" y="2338"/>
                    </a:lnTo>
                    <a:lnTo>
                      <a:pt x="3637" y="2295"/>
                    </a:lnTo>
                    <a:lnTo>
                      <a:pt x="3556" y="2257"/>
                    </a:lnTo>
                    <a:lnTo>
                      <a:pt x="3486" y="2224"/>
                    </a:lnTo>
                    <a:lnTo>
                      <a:pt x="3391" y="2177"/>
                    </a:lnTo>
                    <a:lnTo>
                      <a:pt x="3386" y="2178"/>
                    </a:lnTo>
                    <a:lnTo>
                      <a:pt x="3378" y="2182"/>
                    </a:lnTo>
                    <a:lnTo>
                      <a:pt x="3368" y="2185"/>
                    </a:lnTo>
                    <a:lnTo>
                      <a:pt x="3355" y="2191"/>
                    </a:lnTo>
                    <a:lnTo>
                      <a:pt x="3340" y="2199"/>
                    </a:lnTo>
                    <a:lnTo>
                      <a:pt x="3323" y="2211"/>
                    </a:lnTo>
                    <a:lnTo>
                      <a:pt x="3303" y="2225"/>
                    </a:lnTo>
                    <a:lnTo>
                      <a:pt x="3282" y="2243"/>
                    </a:lnTo>
                    <a:lnTo>
                      <a:pt x="3258" y="2265"/>
                    </a:lnTo>
                    <a:lnTo>
                      <a:pt x="3233" y="2292"/>
                    </a:lnTo>
                    <a:lnTo>
                      <a:pt x="3206" y="2322"/>
                    </a:lnTo>
                    <a:lnTo>
                      <a:pt x="3178" y="2359"/>
                    </a:lnTo>
                    <a:lnTo>
                      <a:pt x="3164" y="2379"/>
                    </a:lnTo>
                    <a:lnTo>
                      <a:pt x="3149" y="2401"/>
                    </a:lnTo>
                    <a:lnTo>
                      <a:pt x="3134" y="2425"/>
                    </a:lnTo>
                    <a:lnTo>
                      <a:pt x="3117" y="2449"/>
                    </a:lnTo>
                    <a:lnTo>
                      <a:pt x="3102" y="2475"/>
                    </a:lnTo>
                    <a:lnTo>
                      <a:pt x="3086" y="2503"/>
                    </a:lnTo>
                    <a:lnTo>
                      <a:pt x="3069" y="2534"/>
                    </a:lnTo>
                    <a:lnTo>
                      <a:pt x="3053" y="2565"/>
                    </a:lnTo>
                    <a:lnTo>
                      <a:pt x="3037" y="2626"/>
                    </a:lnTo>
                    <a:lnTo>
                      <a:pt x="3015" y="2701"/>
                    </a:lnTo>
                    <a:lnTo>
                      <a:pt x="2988" y="2785"/>
                    </a:lnTo>
                    <a:lnTo>
                      <a:pt x="2958" y="2878"/>
                    </a:lnTo>
                    <a:lnTo>
                      <a:pt x="2923" y="2978"/>
                    </a:lnTo>
                    <a:lnTo>
                      <a:pt x="2885" y="3084"/>
                    </a:lnTo>
                    <a:lnTo>
                      <a:pt x="2845" y="3193"/>
                    </a:lnTo>
                    <a:lnTo>
                      <a:pt x="2802" y="3305"/>
                    </a:lnTo>
                    <a:lnTo>
                      <a:pt x="2759" y="3418"/>
                    </a:lnTo>
                    <a:lnTo>
                      <a:pt x="2714" y="3529"/>
                    </a:lnTo>
                    <a:lnTo>
                      <a:pt x="2668" y="3638"/>
                    </a:lnTo>
                    <a:lnTo>
                      <a:pt x="2623" y="3743"/>
                    </a:lnTo>
                    <a:lnTo>
                      <a:pt x="2600" y="3793"/>
                    </a:lnTo>
                    <a:lnTo>
                      <a:pt x="2578" y="3842"/>
                    </a:lnTo>
                    <a:lnTo>
                      <a:pt x="2555" y="3888"/>
                    </a:lnTo>
                    <a:lnTo>
                      <a:pt x="2533" y="3934"/>
                    </a:lnTo>
                    <a:lnTo>
                      <a:pt x="2512" y="3976"/>
                    </a:lnTo>
                    <a:lnTo>
                      <a:pt x="2490" y="4016"/>
                    </a:lnTo>
                    <a:lnTo>
                      <a:pt x="2470" y="4053"/>
                    </a:lnTo>
                    <a:lnTo>
                      <a:pt x="2450" y="4088"/>
                    </a:lnTo>
                    <a:lnTo>
                      <a:pt x="2419" y="40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7"/>
              <p:cNvSpPr>
                <a:spLocks noEditPoints="1"/>
              </p:cNvSpPr>
              <p:nvPr userDrawn="1"/>
            </p:nvSpPr>
            <p:spPr bwMode="auto">
              <a:xfrm>
                <a:off x="2468" y="3147"/>
                <a:ext cx="954" cy="1022"/>
              </a:xfrm>
              <a:custGeom>
                <a:avLst/>
                <a:gdLst>
                  <a:gd name="T0" fmla="*/ 2441 w 2862"/>
                  <a:gd name="T1" fmla="*/ 2937 h 3066"/>
                  <a:gd name="T2" fmla="*/ 2326 w 2862"/>
                  <a:gd name="T3" fmla="*/ 2857 h 3066"/>
                  <a:gd name="T4" fmla="*/ 2015 w 2862"/>
                  <a:gd name="T5" fmla="*/ 2582 h 3066"/>
                  <a:gd name="T6" fmla="*/ 1786 w 2862"/>
                  <a:gd name="T7" fmla="*/ 2416 h 3066"/>
                  <a:gd name="T8" fmla="*/ 1669 w 2862"/>
                  <a:gd name="T9" fmla="*/ 2363 h 3066"/>
                  <a:gd name="T10" fmla="*/ 1551 w 2862"/>
                  <a:gd name="T11" fmla="*/ 2342 h 3066"/>
                  <a:gd name="T12" fmla="*/ 1527 w 2862"/>
                  <a:gd name="T13" fmla="*/ 2323 h 3066"/>
                  <a:gd name="T14" fmla="*/ 1462 w 2862"/>
                  <a:gd name="T15" fmla="*/ 2164 h 3066"/>
                  <a:gd name="T16" fmla="*/ 1311 w 2862"/>
                  <a:gd name="T17" fmla="*/ 1781 h 3066"/>
                  <a:gd name="T18" fmla="*/ 1122 w 2862"/>
                  <a:gd name="T19" fmla="*/ 1391 h 3066"/>
                  <a:gd name="T20" fmla="*/ 851 w 2862"/>
                  <a:gd name="T21" fmla="*/ 950 h 3066"/>
                  <a:gd name="T22" fmla="*/ 483 w 2862"/>
                  <a:gd name="T23" fmla="*/ 493 h 3066"/>
                  <a:gd name="T24" fmla="*/ 6 w 2862"/>
                  <a:gd name="T25" fmla="*/ 55 h 3066"/>
                  <a:gd name="T26" fmla="*/ 8 w 2862"/>
                  <a:gd name="T27" fmla="*/ 32 h 3066"/>
                  <a:gd name="T28" fmla="*/ 165 w 2862"/>
                  <a:gd name="T29" fmla="*/ 51 h 3066"/>
                  <a:gd name="T30" fmla="*/ 294 w 2862"/>
                  <a:gd name="T31" fmla="*/ 14 h 3066"/>
                  <a:gd name="T32" fmla="*/ 466 w 2862"/>
                  <a:gd name="T33" fmla="*/ 0 h 3066"/>
                  <a:gd name="T34" fmla="*/ 778 w 2862"/>
                  <a:gd name="T35" fmla="*/ 33 h 3066"/>
                  <a:gd name="T36" fmla="*/ 1126 w 2862"/>
                  <a:gd name="T37" fmla="*/ 136 h 3066"/>
                  <a:gd name="T38" fmla="*/ 1516 w 2862"/>
                  <a:gd name="T39" fmla="*/ 314 h 3066"/>
                  <a:gd name="T40" fmla="*/ 1895 w 2862"/>
                  <a:gd name="T41" fmla="*/ 591 h 3066"/>
                  <a:gd name="T42" fmla="*/ 2214 w 2862"/>
                  <a:gd name="T43" fmla="*/ 940 h 3066"/>
                  <a:gd name="T44" fmla="*/ 2472 w 2862"/>
                  <a:gd name="T45" fmla="*/ 1333 h 3066"/>
                  <a:gd name="T46" fmla="*/ 2669 w 2862"/>
                  <a:gd name="T47" fmla="*/ 1742 h 3066"/>
                  <a:gd name="T48" fmla="*/ 2807 w 2862"/>
                  <a:gd name="T49" fmla="*/ 2143 h 3066"/>
                  <a:gd name="T50" fmla="*/ 2847 w 2862"/>
                  <a:gd name="T51" fmla="*/ 2323 h 3066"/>
                  <a:gd name="T52" fmla="*/ 2861 w 2862"/>
                  <a:gd name="T53" fmla="*/ 2587 h 3066"/>
                  <a:gd name="T54" fmla="*/ 2823 w 2862"/>
                  <a:gd name="T55" fmla="*/ 2838 h 3066"/>
                  <a:gd name="T56" fmla="*/ 2757 w 2862"/>
                  <a:gd name="T57" fmla="*/ 3017 h 3066"/>
                  <a:gd name="T58" fmla="*/ 2722 w 2862"/>
                  <a:gd name="T59" fmla="*/ 3066 h 3066"/>
                  <a:gd name="T60" fmla="*/ 1635 w 2862"/>
                  <a:gd name="T61" fmla="*/ 2326 h 3066"/>
                  <a:gd name="T62" fmla="*/ 1757 w 2862"/>
                  <a:gd name="T63" fmla="*/ 2369 h 3066"/>
                  <a:gd name="T64" fmla="*/ 1955 w 2862"/>
                  <a:gd name="T65" fmla="*/ 2498 h 3066"/>
                  <a:gd name="T66" fmla="*/ 2262 w 2862"/>
                  <a:gd name="T67" fmla="*/ 2767 h 3066"/>
                  <a:gd name="T68" fmla="*/ 2452 w 2862"/>
                  <a:gd name="T69" fmla="*/ 2913 h 3066"/>
                  <a:gd name="T70" fmla="*/ 2750 w 2862"/>
                  <a:gd name="T71" fmla="*/ 2965 h 3066"/>
                  <a:gd name="T72" fmla="*/ 2806 w 2862"/>
                  <a:gd name="T73" fmla="*/ 2795 h 3066"/>
                  <a:gd name="T74" fmla="*/ 2835 w 2862"/>
                  <a:gd name="T75" fmla="*/ 2538 h 3066"/>
                  <a:gd name="T76" fmla="*/ 2815 w 2862"/>
                  <a:gd name="T77" fmla="*/ 2298 h 3066"/>
                  <a:gd name="T78" fmla="*/ 2762 w 2862"/>
                  <a:gd name="T79" fmla="*/ 2085 h 3066"/>
                  <a:gd name="T80" fmla="*/ 2617 w 2862"/>
                  <a:gd name="T81" fmla="*/ 1686 h 3066"/>
                  <a:gd name="T82" fmla="*/ 2410 w 2862"/>
                  <a:gd name="T83" fmla="*/ 1280 h 3066"/>
                  <a:gd name="T84" fmla="*/ 2146 w 2862"/>
                  <a:gd name="T85" fmla="*/ 897 h 3066"/>
                  <a:gd name="T86" fmla="*/ 1821 w 2862"/>
                  <a:gd name="T87" fmla="*/ 561 h 3066"/>
                  <a:gd name="T88" fmla="*/ 1435 w 2862"/>
                  <a:gd name="T89" fmla="*/ 300 h 3066"/>
                  <a:gd name="T90" fmla="*/ 1004 w 2862"/>
                  <a:gd name="T91" fmla="*/ 123 h 3066"/>
                  <a:gd name="T92" fmla="*/ 668 w 2862"/>
                  <a:gd name="T93" fmla="*/ 42 h 3066"/>
                  <a:gd name="T94" fmla="*/ 430 w 2862"/>
                  <a:gd name="T95" fmla="*/ 27 h 3066"/>
                  <a:gd name="T96" fmla="*/ 266 w 2862"/>
                  <a:gd name="T97" fmla="*/ 47 h 3066"/>
                  <a:gd name="T98" fmla="*/ 171 w 2862"/>
                  <a:gd name="T99" fmla="*/ 78 h 3066"/>
                  <a:gd name="T100" fmla="*/ 150 w 2862"/>
                  <a:gd name="T101" fmla="*/ 137 h 3066"/>
                  <a:gd name="T102" fmla="*/ 596 w 2862"/>
                  <a:gd name="T103" fmla="*/ 580 h 3066"/>
                  <a:gd name="T104" fmla="*/ 939 w 2862"/>
                  <a:gd name="T105" fmla="*/ 1031 h 3066"/>
                  <a:gd name="T106" fmla="*/ 1189 w 2862"/>
                  <a:gd name="T107" fmla="*/ 1460 h 3066"/>
                  <a:gd name="T108" fmla="*/ 1363 w 2862"/>
                  <a:gd name="T109" fmla="*/ 1834 h 3066"/>
                  <a:gd name="T110" fmla="*/ 1509 w 2862"/>
                  <a:gd name="T111" fmla="*/ 2212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2" h="3066">
                    <a:moveTo>
                      <a:pt x="2722" y="3066"/>
                    </a:moveTo>
                    <a:lnTo>
                      <a:pt x="2720" y="3065"/>
                    </a:lnTo>
                    <a:lnTo>
                      <a:pt x="2717" y="3065"/>
                    </a:lnTo>
                    <a:lnTo>
                      <a:pt x="2476" y="2956"/>
                    </a:lnTo>
                    <a:lnTo>
                      <a:pt x="2458" y="2947"/>
                    </a:lnTo>
                    <a:lnTo>
                      <a:pt x="2441" y="2937"/>
                    </a:lnTo>
                    <a:lnTo>
                      <a:pt x="2422" y="2926"/>
                    </a:lnTo>
                    <a:lnTo>
                      <a:pt x="2404" y="2914"/>
                    </a:lnTo>
                    <a:lnTo>
                      <a:pt x="2384" y="2902"/>
                    </a:lnTo>
                    <a:lnTo>
                      <a:pt x="2366" y="2888"/>
                    </a:lnTo>
                    <a:lnTo>
                      <a:pt x="2347" y="2872"/>
                    </a:lnTo>
                    <a:lnTo>
                      <a:pt x="2326" y="2857"/>
                    </a:lnTo>
                    <a:lnTo>
                      <a:pt x="2286" y="2824"/>
                    </a:lnTo>
                    <a:lnTo>
                      <a:pt x="2245" y="2788"/>
                    </a:lnTo>
                    <a:lnTo>
                      <a:pt x="2203" y="2750"/>
                    </a:lnTo>
                    <a:lnTo>
                      <a:pt x="2161" y="2712"/>
                    </a:lnTo>
                    <a:lnTo>
                      <a:pt x="2090" y="2647"/>
                    </a:lnTo>
                    <a:lnTo>
                      <a:pt x="2015" y="2582"/>
                    </a:lnTo>
                    <a:lnTo>
                      <a:pt x="1978" y="2551"/>
                    </a:lnTo>
                    <a:lnTo>
                      <a:pt x="1941" y="2520"/>
                    </a:lnTo>
                    <a:lnTo>
                      <a:pt x="1902" y="2491"/>
                    </a:lnTo>
                    <a:lnTo>
                      <a:pt x="1864" y="2464"/>
                    </a:lnTo>
                    <a:lnTo>
                      <a:pt x="1825" y="2438"/>
                    </a:lnTo>
                    <a:lnTo>
                      <a:pt x="1786" y="2416"/>
                    </a:lnTo>
                    <a:lnTo>
                      <a:pt x="1767" y="2405"/>
                    </a:lnTo>
                    <a:lnTo>
                      <a:pt x="1747" y="2395"/>
                    </a:lnTo>
                    <a:lnTo>
                      <a:pt x="1728" y="2386"/>
                    </a:lnTo>
                    <a:lnTo>
                      <a:pt x="1707" y="2377"/>
                    </a:lnTo>
                    <a:lnTo>
                      <a:pt x="1688" y="2369"/>
                    </a:lnTo>
                    <a:lnTo>
                      <a:pt x="1669" y="2363"/>
                    </a:lnTo>
                    <a:lnTo>
                      <a:pt x="1649" y="2357"/>
                    </a:lnTo>
                    <a:lnTo>
                      <a:pt x="1630" y="2352"/>
                    </a:lnTo>
                    <a:lnTo>
                      <a:pt x="1609" y="2348"/>
                    </a:lnTo>
                    <a:lnTo>
                      <a:pt x="1590" y="2345"/>
                    </a:lnTo>
                    <a:lnTo>
                      <a:pt x="1570" y="2343"/>
                    </a:lnTo>
                    <a:lnTo>
                      <a:pt x="1551" y="2342"/>
                    </a:lnTo>
                    <a:lnTo>
                      <a:pt x="1546" y="2341"/>
                    </a:lnTo>
                    <a:lnTo>
                      <a:pt x="1542" y="2340"/>
                    </a:lnTo>
                    <a:lnTo>
                      <a:pt x="1539" y="2338"/>
                    </a:lnTo>
                    <a:lnTo>
                      <a:pt x="1535" y="2334"/>
                    </a:lnTo>
                    <a:lnTo>
                      <a:pt x="1530" y="2329"/>
                    </a:lnTo>
                    <a:lnTo>
                      <a:pt x="1527" y="2323"/>
                    </a:lnTo>
                    <a:lnTo>
                      <a:pt x="1523" y="2315"/>
                    </a:lnTo>
                    <a:lnTo>
                      <a:pt x="1517" y="2307"/>
                    </a:lnTo>
                    <a:lnTo>
                      <a:pt x="1508" y="2283"/>
                    </a:lnTo>
                    <a:lnTo>
                      <a:pt x="1495" y="2253"/>
                    </a:lnTo>
                    <a:lnTo>
                      <a:pt x="1481" y="2213"/>
                    </a:lnTo>
                    <a:lnTo>
                      <a:pt x="1462" y="2164"/>
                    </a:lnTo>
                    <a:lnTo>
                      <a:pt x="1434" y="2087"/>
                    </a:lnTo>
                    <a:lnTo>
                      <a:pt x="1400" y="1997"/>
                    </a:lnTo>
                    <a:lnTo>
                      <a:pt x="1380" y="1947"/>
                    </a:lnTo>
                    <a:lnTo>
                      <a:pt x="1359" y="1894"/>
                    </a:lnTo>
                    <a:lnTo>
                      <a:pt x="1336" y="1839"/>
                    </a:lnTo>
                    <a:lnTo>
                      <a:pt x="1311" y="1781"/>
                    </a:lnTo>
                    <a:lnTo>
                      <a:pt x="1285" y="1721"/>
                    </a:lnTo>
                    <a:lnTo>
                      <a:pt x="1256" y="1659"/>
                    </a:lnTo>
                    <a:lnTo>
                      <a:pt x="1226" y="1594"/>
                    </a:lnTo>
                    <a:lnTo>
                      <a:pt x="1193" y="1528"/>
                    </a:lnTo>
                    <a:lnTo>
                      <a:pt x="1159" y="1460"/>
                    </a:lnTo>
                    <a:lnTo>
                      <a:pt x="1122" y="1391"/>
                    </a:lnTo>
                    <a:lnTo>
                      <a:pt x="1082" y="1320"/>
                    </a:lnTo>
                    <a:lnTo>
                      <a:pt x="1041" y="1248"/>
                    </a:lnTo>
                    <a:lnTo>
                      <a:pt x="997" y="1174"/>
                    </a:lnTo>
                    <a:lnTo>
                      <a:pt x="952" y="1101"/>
                    </a:lnTo>
                    <a:lnTo>
                      <a:pt x="902" y="1025"/>
                    </a:lnTo>
                    <a:lnTo>
                      <a:pt x="851" y="950"/>
                    </a:lnTo>
                    <a:lnTo>
                      <a:pt x="796" y="874"/>
                    </a:lnTo>
                    <a:lnTo>
                      <a:pt x="740" y="798"/>
                    </a:lnTo>
                    <a:lnTo>
                      <a:pt x="679" y="722"/>
                    </a:lnTo>
                    <a:lnTo>
                      <a:pt x="618" y="645"/>
                    </a:lnTo>
                    <a:lnTo>
                      <a:pt x="552" y="569"/>
                    </a:lnTo>
                    <a:lnTo>
                      <a:pt x="483" y="493"/>
                    </a:lnTo>
                    <a:lnTo>
                      <a:pt x="412" y="418"/>
                    </a:lnTo>
                    <a:lnTo>
                      <a:pt x="337" y="343"/>
                    </a:lnTo>
                    <a:lnTo>
                      <a:pt x="259" y="270"/>
                    </a:lnTo>
                    <a:lnTo>
                      <a:pt x="178" y="196"/>
                    </a:lnTo>
                    <a:lnTo>
                      <a:pt x="93" y="125"/>
                    </a:lnTo>
                    <a:lnTo>
                      <a:pt x="6" y="55"/>
                    </a:lnTo>
                    <a:lnTo>
                      <a:pt x="2" y="52"/>
                    </a:lnTo>
                    <a:lnTo>
                      <a:pt x="0" y="47"/>
                    </a:lnTo>
                    <a:lnTo>
                      <a:pt x="0" y="43"/>
                    </a:lnTo>
                    <a:lnTo>
                      <a:pt x="1" y="39"/>
                    </a:lnTo>
                    <a:lnTo>
                      <a:pt x="5" y="34"/>
                    </a:lnTo>
                    <a:lnTo>
                      <a:pt x="8" y="32"/>
                    </a:lnTo>
                    <a:lnTo>
                      <a:pt x="12" y="31"/>
                    </a:lnTo>
                    <a:lnTo>
                      <a:pt x="16" y="31"/>
                    </a:lnTo>
                    <a:lnTo>
                      <a:pt x="70" y="41"/>
                    </a:lnTo>
                    <a:lnTo>
                      <a:pt x="115" y="46"/>
                    </a:lnTo>
                    <a:lnTo>
                      <a:pt x="147" y="50"/>
                    </a:lnTo>
                    <a:lnTo>
                      <a:pt x="165" y="51"/>
                    </a:lnTo>
                    <a:lnTo>
                      <a:pt x="176" y="46"/>
                    </a:lnTo>
                    <a:lnTo>
                      <a:pt x="195" y="39"/>
                    </a:lnTo>
                    <a:lnTo>
                      <a:pt x="219" y="31"/>
                    </a:lnTo>
                    <a:lnTo>
                      <a:pt x="253" y="21"/>
                    </a:lnTo>
                    <a:lnTo>
                      <a:pt x="272" y="17"/>
                    </a:lnTo>
                    <a:lnTo>
                      <a:pt x="294" y="14"/>
                    </a:lnTo>
                    <a:lnTo>
                      <a:pt x="318" y="10"/>
                    </a:lnTo>
                    <a:lnTo>
                      <a:pt x="344" y="6"/>
                    </a:lnTo>
                    <a:lnTo>
                      <a:pt x="371" y="4"/>
                    </a:lnTo>
                    <a:lnTo>
                      <a:pt x="401" y="2"/>
                    </a:lnTo>
                    <a:lnTo>
                      <a:pt x="432" y="0"/>
                    </a:lnTo>
                    <a:lnTo>
                      <a:pt x="466" y="0"/>
                    </a:lnTo>
                    <a:lnTo>
                      <a:pt x="515" y="1"/>
                    </a:lnTo>
                    <a:lnTo>
                      <a:pt x="566" y="3"/>
                    </a:lnTo>
                    <a:lnTo>
                      <a:pt x="617" y="9"/>
                    </a:lnTo>
                    <a:lnTo>
                      <a:pt x="670" y="15"/>
                    </a:lnTo>
                    <a:lnTo>
                      <a:pt x="724" y="24"/>
                    </a:lnTo>
                    <a:lnTo>
                      <a:pt x="778" y="33"/>
                    </a:lnTo>
                    <a:lnTo>
                      <a:pt x="834" y="46"/>
                    </a:lnTo>
                    <a:lnTo>
                      <a:pt x="890" y="60"/>
                    </a:lnTo>
                    <a:lnTo>
                      <a:pt x="948" y="77"/>
                    </a:lnTo>
                    <a:lnTo>
                      <a:pt x="1007" y="94"/>
                    </a:lnTo>
                    <a:lnTo>
                      <a:pt x="1066" y="114"/>
                    </a:lnTo>
                    <a:lnTo>
                      <a:pt x="1126" y="136"/>
                    </a:lnTo>
                    <a:lnTo>
                      <a:pt x="1188" y="160"/>
                    </a:lnTo>
                    <a:lnTo>
                      <a:pt x="1250" y="184"/>
                    </a:lnTo>
                    <a:lnTo>
                      <a:pt x="1313" y="211"/>
                    </a:lnTo>
                    <a:lnTo>
                      <a:pt x="1377" y="241"/>
                    </a:lnTo>
                    <a:lnTo>
                      <a:pt x="1447" y="276"/>
                    </a:lnTo>
                    <a:lnTo>
                      <a:pt x="1516" y="314"/>
                    </a:lnTo>
                    <a:lnTo>
                      <a:pt x="1584" y="354"/>
                    </a:lnTo>
                    <a:lnTo>
                      <a:pt x="1650" y="397"/>
                    </a:lnTo>
                    <a:lnTo>
                      <a:pt x="1714" y="442"/>
                    </a:lnTo>
                    <a:lnTo>
                      <a:pt x="1776" y="490"/>
                    </a:lnTo>
                    <a:lnTo>
                      <a:pt x="1837" y="540"/>
                    </a:lnTo>
                    <a:lnTo>
                      <a:pt x="1895" y="591"/>
                    </a:lnTo>
                    <a:lnTo>
                      <a:pt x="1952" y="645"/>
                    </a:lnTo>
                    <a:lnTo>
                      <a:pt x="2009" y="702"/>
                    </a:lnTo>
                    <a:lnTo>
                      <a:pt x="2063" y="759"/>
                    </a:lnTo>
                    <a:lnTo>
                      <a:pt x="2114" y="818"/>
                    </a:lnTo>
                    <a:lnTo>
                      <a:pt x="2165" y="879"/>
                    </a:lnTo>
                    <a:lnTo>
                      <a:pt x="2214" y="940"/>
                    </a:lnTo>
                    <a:lnTo>
                      <a:pt x="2261" y="1004"/>
                    </a:lnTo>
                    <a:lnTo>
                      <a:pt x="2307" y="1068"/>
                    </a:lnTo>
                    <a:lnTo>
                      <a:pt x="2351" y="1133"/>
                    </a:lnTo>
                    <a:lnTo>
                      <a:pt x="2393" y="1199"/>
                    </a:lnTo>
                    <a:lnTo>
                      <a:pt x="2433" y="1266"/>
                    </a:lnTo>
                    <a:lnTo>
                      <a:pt x="2472" y="1333"/>
                    </a:lnTo>
                    <a:lnTo>
                      <a:pt x="2510" y="1401"/>
                    </a:lnTo>
                    <a:lnTo>
                      <a:pt x="2544" y="1469"/>
                    </a:lnTo>
                    <a:lnTo>
                      <a:pt x="2579" y="1537"/>
                    </a:lnTo>
                    <a:lnTo>
                      <a:pt x="2610" y="1606"/>
                    </a:lnTo>
                    <a:lnTo>
                      <a:pt x="2641" y="1674"/>
                    </a:lnTo>
                    <a:lnTo>
                      <a:pt x="2669" y="1742"/>
                    </a:lnTo>
                    <a:lnTo>
                      <a:pt x="2696" y="1810"/>
                    </a:lnTo>
                    <a:lnTo>
                      <a:pt x="2722" y="1878"/>
                    </a:lnTo>
                    <a:lnTo>
                      <a:pt x="2746" y="1945"/>
                    </a:lnTo>
                    <a:lnTo>
                      <a:pt x="2768" y="2012"/>
                    </a:lnTo>
                    <a:lnTo>
                      <a:pt x="2788" y="2078"/>
                    </a:lnTo>
                    <a:lnTo>
                      <a:pt x="2807" y="2143"/>
                    </a:lnTo>
                    <a:lnTo>
                      <a:pt x="2815" y="2174"/>
                    </a:lnTo>
                    <a:lnTo>
                      <a:pt x="2823" y="2204"/>
                    </a:lnTo>
                    <a:lnTo>
                      <a:pt x="2830" y="2234"/>
                    </a:lnTo>
                    <a:lnTo>
                      <a:pt x="2836" y="2265"/>
                    </a:lnTo>
                    <a:lnTo>
                      <a:pt x="2841" y="2294"/>
                    </a:lnTo>
                    <a:lnTo>
                      <a:pt x="2847" y="2323"/>
                    </a:lnTo>
                    <a:lnTo>
                      <a:pt x="2850" y="2352"/>
                    </a:lnTo>
                    <a:lnTo>
                      <a:pt x="2853" y="2380"/>
                    </a:lnTo>
                    <a:lnTo>
                      <a:pt x="2858" y="2435"/>
                    </a:lnTo>
                    <a:lnTo>
                      <a:pt x="2862" y="2488"/>
                    </a:lnTo>
                    <a:lnTo>
                      <a:pt x="2862" y="2539"/>
                    </a:lnTo>
                    <a:lnTo>
                      <a:pt x="2861" y="2587"/>
                    </a:lnTo>
                    <a:lnTo>
                      <a:pt x="2857" y="2635"/>
                    </a:lnTo>
                    <a:lnTo>
                      <a:pt x="2853" y="2679"/>
                    </a:lnTo>
                    <a:lnTo>
                      <a:pt x="2847" y="2722"/>
                    </a:lnTo>
                    <a:lnTo>
                      <a:pt x="2840" y="2763"/>
                    </a:lnTo>
                    <a:lnTo>
                      <a:pt x="2831" y="2801"/>
                    </a:lnTo>
                    <a:lnTo>
                      <a:pt x="2823" y="2838"/>
                    </a:lnTo>
                    <a:lnTo>
                      <a:pt x="2813" y="2871"/>
                    </a:lnTo>
                    <a:lnTo>
                      <a:pt x="2803" y="2903"/>
                    </a:lnTo>
                    <a:lnTo>
                      <a:pt x="2790" y="2938"/>
                    </a:lnTo>
                    <a:lnTo>
                      <a:pt x="2779" y="2968"/>
                    </a:lnTo>
                    <a:lnTo>
                      <a:pt x="2767" y="2995"/>
                    </a:lnTo>
                    <a:lnTo>
                      <a:pt x="2757" y="3017"/>
                    </a:lnTo>
                    <a:lnTo>
                      <a:pt x="2741" y="3047"/>
                    </a:lnTo>
                    <a:lnTo>
                      <a:pt x="2734" y="3059"/>
                    </a:lnTo>
                    <a:lnTo>
                      <a:pt x="2732" y="3061"/>
                    </a:lnTo>
                    <a:lnTo>
                      <a:pt x="2729" y="3063"/>
                    </a:lnTo>
                    <a:lnTo>
                      <a:pt x="2726" y="3065"/>
                    </a:lnTo>
                    <a:lnTo>
                      <a:pt x="2722" y="3066"/>
                    </a:lnTo>
                    <a:close/>
                    <a:moveTo>
                      <a:pt x="1554" y="2315"/>
                    </a:moveTo>
                    <a:lnTo>
                      <a:pt x="1554" y="2315"/>
                    </a:lnTo>
                    <a:lnTo>
                      <a:pt x="1575" y="2316"/>
                    </a:lnTo>
                    <a:lnTo>
                      <a:pt x="1595" y="2319"/>
                    </a:lnTo>
                    <a:lnTo>
                      <a:pt x="1616" y="2322"/>
                    </a:lnTo>
                    <a:lnTo>
                      <a:pt x="1635" y="2326"/>
                    </a:lnTo>
                    <a:lnTo>
                      <a:pt x="1656" y="2330"/>
                    </a:lnTo>
                    <a:lnTo>
                      <a:pt x="1676" y="2337"/>
                    </a:lnTo>
                    <a:lnTo>
                      <a:pt x="1697" y="2343"/>
                    </a:lnTo>
                    <a:lnTo>
                      <a:pt x="1717" y="2352"/>
                    </a:lnTo>
                    <a:lnTo>
                      <a:pt x="1737" y="2361"/>
                    </a:lnTo>
                    <a:lnTo>
                      <a:pt x="1757" y="2369"/>
                    </a:lnTo>
                    <a:lnTo>
                      <a:pt x="1778" y="2380"/>
                    </a:lnTo>
                    <a:lnTo>
                      <a:pt x="1797" y="2391"/>
                    </a:lnTo>
                    <a:lnTo>
                      <a:pt x="1837" y="2415"/>
                    </a:lnTo>
                    <a:lnTo>
                      <a:pt x="1877" y="2441"/>
                    </a:lnTo>
                    <a:lnTo>
                      <a:pt x="1916" y="2468"/>
                    </a:lnTo>
                    <a:lnTo>
                      <a:pt x="1955" y="2498"/>
                    </a:lnTo>
                    <a:lnTo>
                      <a:pt x="1994" y="2528"/>
                    </a:lnTo>
                    <a:lnTo>
                      <a:pt x="2031" y="2560"/>
                    </a:lnTo>
                    <a:lnTo>
                      <a:pt x="2107" y="2626"/>
                    </a:lnTo>
                    <a:lnTo>
                      <a:pt x="2179" y="2692"/>
                    </a:lnTo>
                    <a:lnTo>
                      <a:pt x="2221" y="2730"/>
                    </a:lnTo>
                    <a:lnTo>
                      <a:pt x="2262" y="2767"/>
                    </a:lnTo>
                    <a:lnTo>
                      <a:pt x="2302" y="2802"/>
                    </a:lnTo>
                    <a:lnTo>
                      <a:pt x="2342" y="2835"/>
                    </a:lnTo>
                    <a:lnTo>
                      <a:pt x="2380" y="2865"/>
                    </a:lnTo>
                    <a:lnTo>
                      <a:pt x="2417" y="2891"/>
                    </a:lnTo>
                    <a:lnTo>
                      <a:pt x="2435" y="2903"/>
                    </a:lnTo>
                    <a:lnTo>
                      <a:pt x="2452" y="2913"/>
                    </a:lnTo>
                    <a:lnTo>
                      <a:pt x="2470" y="2923"/>
                    </a:lnTo>
                    <a:lnTo>
                      <a:pt x="2487" y="2931"/>
                    </a:lnTo>
                    <a:lnTo>
                      <a:pt x="2717" y="3034"/>
                    </a:lnTo>
                    <a:lnTo>
                      <a:pt x="2728" y="3015"/>
                    </a:lnTo>
                    <a:lnTo>
                      <a:pt x="2742" y="2984"/>
                    </a:lnTo>
                    <a:lnTo>
                      <a:pt x="2750" y="2965"/>
                    </a:lnTo>
                    <a:lnTo>
                      <a:pt x="2759" y="2944"/>
                    </a:lnTo>
                    <a:lnTo>
                      <a:pt x="2769" y="2920"/>
                    </a:lnTo>
                    <a:lnTo>
                      <a:pt x="2777" y="2894"/>
                    </a:lnTo>
                    <a:lnTo>
                      <a:pt x="2787" y="2864"/>
                    </a:lnTo>
                    <a:lnTo>
                      <a:pt x="2797" y="2830"/>
                    </a:lnTo>
                    <a:lnTo>
                      <a:pt x="2806" y="2795"/>
                    </a:lnTo>
                    <a:lnTo>
                      <a:pt x="2813" y="2757"/>
                    </a:lnTo>
                    <a:lnTo>
                      <a:pt x="2820" y="2718"/>
                    </a:lnTo>
                    <a:lnTo>
                      <a:pt x="2826" y="2676"/>
                    </a:lnTo>
                    <a:lnTo>
                      <a:pt x="2830" y="2632"/>
                    </a:lnTo>
                    <a:lnTo>
                      <a:pt x="2834" y="2586"/>
                    </a:lnTo>
                    <a:lnTo>
                      <a:pt x="2835" y="2538"/>
                    </a:lnTo>
                    <a:lnTo>
                      <a:pt x="2834" y="2488"/>
                    </a:lnTo>
                    <a:lnTo>
                      <a:pt x="2831" y="2436"/>
                    </a:lnTo>
                    <a:lnTo>
                      <a:pt x="2827" y="2382"/>
                    </a:lnTo>
                    <a:lnTo>
                      <a:pt x="2823" y="2355"/>
                    </a:lnTo>
                    <a:lnTo>
                      <a:pt x="2820" y="2327"/>
                    </a:lnTo>
                    <a:lnTo>
                      <a:pt x="2815" y="2298"/>
                    </a:lnTo>
                    <a:lnTo>
                      <a:pt x="2810" y="2270"/>
                    </a:lnTo>
                    <a:lnTo>
                      <a:pt x="2803" y="2240"/>
                    </a:lnTo>
                    <a:lnTo>
                      <a:pt x="2797" y="2211"/>
                    </a:lnTo>
                    <a:lnTo>
                      <a:pt x="2789" y="2180"/>
                    </a:lnTo>
                    <a:lnTo>
                      <a:pt x="2781" y="2149"/>
                    </a:lnTo>
                    <a:lnTo>
                      <a:pt x="2762" y="2085"/>
                    </a:lnTo>
                    <a:lnTo>
                      <a:pt x="2742" y="2020"/>
                    </a:lnTo>
                    <a:lnTo>
                      <a:pt x="2720" y="1954"/>
                    </a:lnTo>
                    <a:lnTo>
                      <a:pt x="2696" y="1888"/>
                    </a:lnTo>
                    <a:lnTo>
                      <a:pt x="2672" y="1821"/>
                    </a:lnTo>
                    <a:lnTo>
                      <a:pt x="2645" y="1753"/>
                    </a:lnTo>
                    <a:lnTo>
                      <a:pt x="2617" y="1686"/>
                    </a:lnTo>
                    <a:lnTo>
                      <a:pt x="2586" y="1618"/>
                    </a:lnTo>
                    <a:lnTo>
                      <a:pt x="2555" y="1550"/>
                    </a:lnTo>
                    <a:lnTo>
                      <a:pt x="2522" y="1482"/>
                    </a:lnTo>
                    <a:lnTo>
                      <a:pt x="2486" y="1415"/>
                    </a:lnTo>
                    <a:lnTo>
                      <a:pt x="2449" y="1347"/>
                    </a:lnTo>
                    <a:lnTo>
                      <a:pt x="2410" y="1280"/>
                    </a:lnTo>
                    <a:lnTo>
                      <a:pt x="2370" y="1214"/>
                    </a:lnTo>
                    <a:lnTo>
                      <a:pt x="2329" y="1150"/>
                    </a:lnTo>
                    <a:lnTo>
                      <a:pt x="2285" y="1085"/>
                    </a:lnTo>
                    <a:lnTo>
                      <a:pt x="2241" y="1021"/>
                    </a:lnTo>
                    <a:lnTo>
                      <a:pt x="2193" y="958"/>
                    </a:lnTo>
                    <a:lnTo>
                      <a:pt x="2146" y="897"/>
                    </a:lnTo>
                    <a:lnTo>
                      <a:pt x="2095" y="836"/>
                    </a:lnTo>
                    <a:lnTo>
                      <a:pt x="2043" y="778"/>
                    </a:lnTo>
                    <a:lnTo>
                      <a:pt x="1990" y="721"/>
                    </a:lnTo>
                    <a:lnTo>
                      <a:pt x="1935" y="666"/>
                    </a:lnTo>
                    <a:lnTo>
                      <a:pt x="1879" y="613"/>
                    </a:lnTo>
                    <a:lnTo>
                      <a:pt x="1821" y="561"/>
                    </a:lnTo>
                    <a:lnTo>
                      <a:pt x="1760" y="512"/>
                    </a:lnTo>
                    <a:lnTo>
                      <a:pt x="1699" y="464"/>
                    </a:lnTo>
                    <a:lnTo>
                      <a:pt x="1635" y="420"/>
                    </a:lnTo>
                    <a:lnTo>
                      <a:pt x="1570" y="377"/>
                    </a:lnTo>
                    <a:lnTo>
                      <a:pt x="1503" y="337"/>
                    </a:lnTo>
                    <a:lnTo>
                      <a:pt x="1435" y="300"/>
                    </a:lnTo>
                    <a:lnTo>
                      <a:pt x="1365" y="265"/>
                    </a:lnTo>
                    <a:lnTo>
                      <a:pt x="1287" y="230"/>
                    </a:lnTo>
                    <a:lnTo>
                      <a:pt x="1213" y="199"/>
                    </a:lnTo>
                    <a:lnTo>
                      <a:pt x="1140" y="170"/>
                    </a:lnTo>
                    <a:lnTo>
                      <a:pt x="1071" y="145"/>
                    </a:lnTo>
                    <a:lnTo>
                      <a:pt x="1004" y="123"/>
                    </a:lnTo>
                    <a:lnTo>
                      <a:pt x="942" y="104"/>
                    </a:lnTo>
                    <a:lnTo>
                      <a:pt x="880" y="86"/>
                    </a:lnTo>
                    <a:lnTo>
                      <a:pt x="823" y="72"/>
                    </a:lnTo>
                    <a:lnTo>
                      <a:pt x="768" y="60"/>
                    </a:lnTo>
                    <a:lnTo>
                      <a:pt x="716" y="51"/>
                    </a:lnTo>
                    <a:lnTo>
                      <a:pt x="668" y="42"/>
                    </a:lnTo>
                    <a:lnTo>
                      <a:pt x="621" y="37"/>
                    </a:lnTo>
                    <a:lnTo>
                      <a:pt x="578" y="32"/>
                    </a:lnTo>
                    <a:lnTo>
                      <a:pt x="538" y="29"/>
                    </a:lnTo>
                    <a:lnTo>
                      <a:pt x="500" y="27"/>
                    </a:lnTo>
                    <a:lnTo>
                      <a:pt x="466" y="27"/>
                    </a:lnTo>
                    <a:lnTo>
                      <a:pt x="430" y="27"/>
                    </a:lnTo>
                    <a:lnTo>
                      <a:pt x="396" y="29"/>
                    </a:lnTo>
                    <a:lnTo>
                      <a:pt x="366" y="31"/>
                    </a:lnTo>
                    <a:lnTo>
                      <a:pt x="337" y="34"/>
                    </a:lnTo>
                    <a:lnTo>
                      <a:pt x="311" y="38"/>
                    </a:lnTo>
                    <a:lnTo>
                      <a:pt x="287" y="42"/>
                    </a:lnTo>
                    <a:lnTo>
                      <a:pt x="266" y="47"/>
                    </a:lnTo>
                    <a:lnTo>
                      <a:pt x="246" y="52"/>
                    </a:lnTo>
                    <a:lnTo>
                      <a:pt x="215" y="60"/>
                    </a:lnTo>
                    <a:lnTo>
                      <a:pt x="192" y="69"/>
                    </a:lnTo>
                    <a:lnTo>
                      <a:pt x="179" y="74"/>
                    </a:lnTo>
                    <a:lnTo>
                      <a:pt x="174" y="77"/>
                    </a:lnTo>
                    <a:lnTo>
                      <a:pt x="171" y="78"/>
                    </a:lnTo>
                    <a:lnTo>
                      <a:pt x="168" y="79"/>
                    </a:lnTo>
                    <a:lnTo>
                      <a:pt x="159" y="78"/>
                    </a:lnTo>
                    <a:lnTo>
                      <a:pt x="138" y="77"/>
                    </a:lnTo>
                    <a:lnTo>
                      <a:pt x="106" y="72"/>
                    </a:lnTo>
                    <a:lnTo>
                      <a:pt x="64" y="67"/>
                    </a:lnTo>
                    <a:lnTo>
                      <a:pt x="150" y="137"/>
                    </a:lnTo>
                    <a:lnTo>
                      <a:pt x="232" y="209"/>
                    </a:lnTo>
                    <a:lnTo>
                      <a:pt x="311" y="282"/>
                    </a:lnTo>
                    <a:lnTo>
                      <a:pt x="387" y="355"/>
                    </a:lnTo>
                    <a:lnTo>
                      <a:pt x="460" y="430"/>
                    </a:lnTo>
                    <a:lnTo>
                      <a:pt x="529" y="504"/>
                    </a:lnTo>
                    <a:lnTo>
                      <a:pt x="596" y="580"/>
                    </a:lnTo>
                    <a:lnTo>
                      <a:pt x="660" y="655"/>
                    </a:lnTo>
                    <a:lnTo>
                      <a:pt x="722" y="731"/>
                    </a:lnTo>
                    <a:lnTo>
                      <a:pt x="780" y="806"/>
                    </a:lnTo>
                    <a:lnTo>
                      <a:pt x="835" y="882"/>
                    </a:lnTo>
                    <a:lnTo>
                      <a:pt x="888" y="956"/>
                    </a:lnTo>
                    <a:lnTo>
                      <a:pt x="939" y="1031"/>
                    </a:lnTo>
                    <a:lnTo>
                      <a:pt x="986" y="1105"/>
                    </a:lnTo>
                    <a:lnTo>
                      <a:pt x="1031" y="1179"/>
                    </a:lnTo>
                    <a:lnTo>
                      <a:pt x="1075" y="1251"/>
                    </a:lnTo>
                    <a:lnTo>
                      <a:pt x="1115" y="1322"/>
                    </a:lnTo>
                    <a:lnTo>
                      <a:pt x="1153" y="1392"/>
                    </a:lnTo>
                    <a:lnTo>
                      <a:pt x="1189" y="1460"/>
                    </a:lnTo>
                    <a:lnTo>
                      <a:pt x="1224" y="1527"/>
                    </a:lnTo>
                    <a:lnTo>
                      <a:pt x="1255" y="1593"/>
                    </a:lnTo>
                    <a:lnTo>
                      <a:pt x="1285" y="1656"/>
                    </a:lnTo>
                    <a:lnTo>
                      <a:pt x="1313" y="1717"/>
                    </a:lnTo>
                    <a:lnTo>
                      <a:pt x="1339" y="1777"/>
                    </a:lnTo>
                    <a:lnTo>
                      <a:pt x="1363" y="1834"/>
                    </a:lnTo>
                    <a:lnTo>
                      <a:pt x="1386" y="1888"/>
                    </a:lnTo>
                    <a:lnTo>
                      <a:pt x="1406" y="1940"/>
                    </a:lnTo>
                    <a:lnTo>
                      <a:pt x="1426" y="1989"/>
                    </a:lnTo>
                    <a:lnTo>
                      <a:pt x="1459" y="2078"/>
                    </a:lnTo>
                    <a:lnTo>
                      <a:pt x="1487" y="2155"/>
                    </a:lnTo>
                    <a:lnTo>
                      <a:pt x="1509" y="2212"/>
                    </a:lnTo>
                    <a:lnTo>
                      <a:pt x="1527" y="2260"/>
                    </a:lnTo>
                    <a:lnTo>
                      <a:pt x="1536" y="2281"/>
                    </a:lnTo>
                    <a:lnTo>
                      <a:pt x="1542" y="2296"/>
                    </a:lnTo>
                    <a:lnTo>
                      <a:pt x="1549" y="2308"/>
                    </a:lnTo>
                    <a:lnTo>
                      <a:pt x="1554" y="2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68"/>
              <p:cNvSpPr>
                <a:spLocks/>
              </p:cNvSpPr>
              <p:nvPr userDrawn="1"/>
            </p:nvSpPr>
            <p:spPr bwMode="auto">
              <a:xfrm>
                <a:off x="2053" y="1162"/>
                <a:ext cx="904" cy="501"/>
              </a:xfrm>
              <a:custGeom>
                <a:avLst/>
                <a:gdLst>
                  <a:gd name="T0" fmla="*/ 2637 w 2711"/>
                  <a:gd name="T1" fmla="*/ 1497 h 1502"/>
                  <a:gd name="T2" fmla="*/ 2639 w 2711"/>
                  <a:gd name="T3" fmla="*/ 1478 h 1502"/>
                  <a:gd name="T4" fmla="*/ 2666 w 2711"/>
                  <a:gd name="T5" fmla="*/ 1463 h 1502"/>
                  <a:gd name="T6" fmla="*/ 2681 w 2711"/>
                  <a:gd name="T7" fmla="*/ 1439 h 1502"/>
                  <a:gd name="T8" fmla="*/ 2683 w 2711"/>
                  <a:gd name="T9" fmla="*/ 1406 h 1502"/>
                  <a:gd name="T10" fmla="*/ 2671 w 2711"/>
                  <a:gd name="T11" fmla="*/ 1340 h 1502"/>
                  <a:gd name="T12" fmla="*/ 2659 w 2711"/>
                  <a:gd name="T13" fmla="*/ 1280 h 1502"/>
                  <a:gd name="T14" fmla="*/ 2607 w 2711"/>
                  <a:gd name="T15" fmla="*/ 1068 h 1502"/>
                  <a:gd name="T16" fmla="*/ 2524 w 2711"/>
                  <a:gd name="T17" fmla="*/ 798 h 1502"/>
                  <a:gd name="T18" fmla="*/ 2461 w 2711"/>
                  <a:gd name="T19" fmla="*/ 637 h 1502"/>
                  <a:gd name="T20" fmla="*/ 2406 w 2711"/>
                  <a:gd name="T21" fmla="*/ 529 h 1502"/>
                  <a:gd name="T22" fmla="*/ 2350 w 2711"/>
                  <a:gd name="T23" fmla="*/ 452 h 1502"/>
                  <a:gd name="T24" fmla="*/ 2242 w 2711"/>
                  <a:gd name="T25" fmla="*/ 365 h 1502"/>
                  <a:gd name="T26" fmla="*/ 2099 w 2711"/>
                  <a:gd name="T27" fmla="*/ 279 h 1502"/>
                  <a:gd name="T28" fmla="*/ 1997 w 2711"/>
                  <a:gd name="T29" fmla="*/ 232 h 1502"/>
                  <a:gd name="T30" fmla="*/ 1876 w 2711"/>
                  <a:gd name="T31" fmla="*/ 186 h 1502"/>
                  <a:gd name="T32" fmla="*/ 1732 w 2711"/>
                  <a:gd name="T33" fmla="*/ 144 h 1502"/>
                  <a:gd name="T34" fmla="*/ 1565 w 2711"/>
                  <a:gd name="T35" fmla="*/ 105 h 1502"/>
                  <a:gd name="T36" fmla="*/ 1371 w 2711"/>
                  <a:gd name="T37" fmla="*/ 71 h 1502"/>
                  <a:gd name="T38" fmla="*/ 1177 w 2711"/>
                  <a:gd name="T39" fmla="*/ 47 h 1502"/>
                  <a:gd name="T40" fmla="*/ 953 w 2711"/>
                  <a:gd name="T41" fmla="*/ 31 h 1502"/>
                  <a:gd name="T42" fmla="*/ 633 w 2711"/>
                  <a:gd name="T43" fmla="*/ 32 h 1502"/>
                  <a:gd name="T44" fmla="*/ 361 w 2711"/>
                  <a:gd name="T45" fmla="*/ 56 h 1502"/>
                  <a:gd name="T46" fmla="*/ 159 w 2711"/>
                  <a:gd name="T47" fmla="*/ 86 h 1502"/>
                  <a:gd name="T48" fmla="*/ 100 w 2711"/>
                  <a:gd name="T49" fmla="*/ 106 h 1502"/>
                  <a:gd name="T50" fmla="*/ 62 w 2711"/>
                  <a:gd name="T51" fmla="*/ 129 h 1502"/>
                  <a:gd name="T52" fmla="*/ 30 w 2711"/>
                  <a:gd name="T53" fmla="*/ 158 h 1502"/>
                  <a:gd name="T54" fmla="*/ 10 w 2711"/>
                  <a:gd name="T55" fmla="*/ 172 h 1502"/>
                  <a:gd name="T56" fmla="*/ 0 w 2711"/>
                  <a:gd name="T57" fmla="*/ 156 h 1502"/>
                  <a:gd name="T58" fmla="*/ 26 w 2711"/>
                  <a:gd name="T59" fmla="*/ 124 h 1502"/>
                  <a:gd name="T60" fmla="*/ 64 w 2711"/>
                  <a:gd name="T61" fmla="*/ 94 h 1502"/>
                  <a:gd name="T62" fmla="*/ 111 w 2711"/>
                  <a:gd name="T63" fmla="*/ 72 h 1502"/>
                  <a:gd name="T64" fmla="*/ 167 w 2711"/>
                  <a:gd name="T65" fmla="*/ 57 h 1502"/>
                  <a:gd name="T66" fmla="*/ 358 w 2711"/>
                  <a:gd name="T67" fmla="*/ 29 h 1502"/>
                  <a:gd name="T68" fmla="*/ 632 w 2711"/>
                  <a:gd name="T69" fmla="*/ 5 h 1502"/>
                  <a:gd name="T70" fmla="*/ 954 w 2711"/>
                  <a:gd name="T71" fmla="*/ 4 h 1502"/>
                  <a:gd name="T72" fmla="*/ 1179 w 2711"/>
                  <a:gd name="T73" fmla="*/ 20 h 1502"/>
                  <a:gd name="T74" fmla="*/ 1375 w 2711"/>
                  <a:gd name="T75" fmla="*/ 45 h 1502"/>
                  <a:gd name="T76" fmla="*/ 1570 w 2711"/>
                  <a:gd name="T77" fmla="*/ 78 h 1502"/>
                  <a:gd name="T78" fmla="*/ 1741 w 2711"/>
                  <a:gd name="T79" fmla="*/ 118 h 1502"/>
                  <a:gd name="T80" fmla="*/ 1886 w 2711"/>
                  <a:gd name="T81" fmla="*/ 161 h 1502"/>
                  <a:gd name="T82" fmla="*/ 2009 w 2711"/>
                  <a:gd name="T83" fmla="*/ 207 h 1502"/>
                  <a:gd name="T84" fmla="*/ 2113 w 2711"/>
                  <a:gd name="T85" fmla="*/ 255 h 1502"/>
                  <a:gd name="T86" fmla="*/ 2258 w 2711"/>
                  <a:gd name="T87" fmla="*/ 343 h 1502"/>
                  <a:gd name="T88" fmla="*/ 2369 w 2711"/>
                  <a:gd name="T89" fmla="*/ 433 h 1502"/>
                  <a:gd name="T90" fmla="*/ 2431 w 2711"/>
                  <a:gd name="T91" fmla="*/ 518 h 1502"/>
                  <a:gd name="T92" fmla="*/ 2489 w 2711"/>
                  <a:gd name="T93" fmla="*/ 634 h 1502"/>
                  <a:gd name="T94" fmla="*/ 2555 w 2711"/>
                  <a:gd name="T95" fmla="*/ 805 h 1502"/>
                  <a:gd name="T96" fmla="*/ 2638 w 2711"/>
                  <a:gd name="T97" fmla="*/ 1082 h 1502"/>
                  <a:gd name="T98" fmla="*/ 2687 w 2711"/>
                  <a:gd name="T99" fmla="*/ 1282 h 1502"/>
                  <a:gd name="T100" fmla="*/ 2698 w 2711"/>
                  <a:gd name="T101" fmla="*/ 1335 h 1502"/>
                  <a:gd name="T102" fmla="*/ 2710 w 2711"/>
                  <a:gd name="T103" fmla="*/ 1404 h 1502"/>
                  <a:gd name="T104" fmla="*/ 2707 w 2711"/>
                  <a:gd name="T105" fmla="*/ 1448 h 1502"/>
                  <a:gd name="T106" fmla="*/ 2686 w 2711"/>
                  <a:gd name="T107" fmla="*/ 1483 h 1502"/>
                  <a:gd name="T108" fmla="*/ 2650 w 2711"/>
                  <a:gd name="T109" fmla="*/ 1502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11" h="1502">
                    <a:moveTo>
                      <a:pt x="2648" y="1502"/>
                    </a:moveTo>
                    <a:lnTo>
                      <a:pt x="2644" y="1501"/>
                    </a:lnTo>
                    <a:lnTo>
                      <a:pt x="2640" y="1500"/>
                    </a:lnTo>
                    <a:lnTo>
                      <a:pt x="2637" y="1497"/>
                    </a:lnTo>
                    <a:lnTo>
                      <a:pt x="2635" y="1492"/>
                    </a:lnTo>
                    <a:lnTo>
                      <a:pt x="2635" y="1487"/>
                    </a:lnTo>
                    <a:lnTo>
                      <a:pt x="2636" y="1483"/>
                    </a:lnTo>
                    <a:lnTo>
                      <a:pt x="2639" y="1478"/>
                    </a:lnTo>
                    <a:lnTo>
                      <a:pt x="2644" y="1475"/>
                    </a:lnTo>
                    <a:lnTo>
                      <a:pt x="2652" y="1472"/>
                    </a:lnTo>
                    <a:lnTo>
                      <a:pt x="2660" y="1469"/>
                    </a:lnTo>
                    <a:lnTo>
                      <a:pt x="2666" y="1463"/>
                    </a:lnTo>
                    <a:lnTo>
                      <a:pt x="2672" y="1459"/>
                    </a:lnTo>
                    <a:lnTo>
                      <a:pt x="2676" y="1452"/>
                    </a:lnTo>
                    <a:lnTo>
                      <a:pt x="2679" y="1447"/>
                    </a:lnTo>
                    <a:lnTo>
                      <a:pt x="2681" y="1439"/>
                    </a:lnTo>
                    <a:lnTo>
                      <a:pt x="2683" y="1432"/>
                    </a:lnTo>
                    <a:lnTo>
                      <a:pt x="2684" y="1424"/>
                    </a:lnTo>
                    <a:lnTo>
                      <a:pt x="2684" y="1416"/>
                    </a:lnTo>
                    <a:lnTo>
                      <a:pt x="2683" y="1406"/>
                    </a:lnTo>
                    <a:lnTo>
                      <a:pt x="2681" y="1396"/>
                    </a:lnTo>
                    <a:lnTo>
                      <a:pt x="2678" y="1374"/>
                    </a:lnTo>
                    <a:lnTo>
                      <a:pt x="2673" y="1349"/>
                    </a:lnTo>
                    <a:lnTo>
                      <a:pt x="2671" y="1340"/>
                    </a:lnTo>
                    <a:lnTo>
                      <a:pt x="2668" y="1331"/>
                    </a:lnTo>
                    <a:lnTo>
                      <a:pt x="2667" y="1323"/>
                    </a:lnTo>
                    <a:lnTo>
                      <a:pt x="2665" y="1313"/>
                    </a:lnTo>
                    <a:lnTo>
                      <a:pt x="2659" y="1280"/>
                    </a:lnTo>
                    <a:lnTo>
                      <a:pt x="2649" y="1237"/>
                    </a:lnTo>
                    <a:lnTo>
                      <a:pt x="2637" y="1186"/>
                    </a:lnTo>
                    <a:lnTo>
                      <a:pt x="2623" y="1130"/>
                    </a:lnTo>
                    <a:lnTo>
                      <a:pt x="2607" y="1068"/>
                    </a:lnTo>
                    <a:lnTo>
                      <a:pt x="2589" y="1002"/>
                    </a:lnTo>
                    <a:lnTo>
                      <a:pt x="2568" y="935"/>
                    </a:lnTo>
                    <a:lnTo>
                      <a:pt x="2546" y="866"/>
                    </a:lnTo>
                    <a:lnTo>
                      <a:pt x="2524" y="798"/>
                    </a:lnTo>
                    <a:lnTo>
                      <a:pt x="2499" y="731"/>
                    </a:lnTo>
                    <a:lnTo>
                      <a:pt x="2487" y="699"/>
                    </a:lnTo>
                    <a:lnTo>
                      <a:pt x="2474" y="668"/>
                    </a:lnTo>
                    <a:lnTo>
                      <a:pt x="2461" y="637"/>
                    </a:lnTo>
                    <a:lnTo>
                      <a:pt x="2447" y="608"/>
                    </a:lnTo>
                    <a:lnTo>
                      <a:pt x="2434" y="580"/>
                    </a:lnTo>
                    <a:lnTo>
                      <a:pt x="2420" y="554"/>
                    </a:lnTo>
                    <a:lnTo>
                      <a:pt x="2406" y="529"/>
                    </a:lnTo>
                    <a:lnTo>
                      <a:pt x="2393" y="507"/>
                    </a:lnTo>
                    <a:lnTo>
                      <a:pt x="2379" y="486"/>
                    </a:lnTo>
                    <a:lnTo>
                      <a:pt x="2364" y="468"/>
                    </a:lnTo>
                    <a:lnTo>
                      <a:pt x="2350" y="452"/>
                    </a:lnTo>
                    <a:lnTo>
                      <a:pt x="2336" y="439"/>
                    </a:lnTo>
                    <a:lnTo>
                      <a:pt x="2307" y="414"/>
                    </a:lnTo>
                    <a:lnTo>
                      <a:pt x="2275" y="389"/>
                    </a:lnTo>
                    <a:lnTo>
                      <a:pt x="2242" y="365"/>
                    </a:lnTo>
                    <a:lnTo>
                      <a:pt x="2205" y="341"/>
                    </a:lnTo>
                    <a:lnTo>
                      <a:pt x="2166" y="316"/>
                    </a:lnTo>
                    <a:lnTo>
                      <a:pt x="2123" y="291"/>
                    </a:lnTo>
                    <a:lnTo>
                      <a:pt x="2099" y="279"/>
                    </a:lnTo>
                    <a:lnTo>
                      <a:pt x="2076" y="267"/>
                    </a:lnTo>
                    <a:lnTo>
                      <a:pt x="2051" y="255"/>
                    </a:lnTo>
                    <a:lnTo>
                      <a:pt x="2025" y="243"/>
                    </a:lnTo>
                    <a:lnTo>
                      <a:pt x="1997" y="232"/>
                    </a:lnTo>
                    <a:lnTo>
                      <a:pt x="1969" y="220"/>
                    </a:lnTo>
                    <a:lnTo>
                      <a:pt x="1939" y="209"/>
                    </a:lnTo>
                    <a:lnTo>
                      <a:pt x="1908" y="197"/>
                    </a:lnTo>
                    <a:lnTo>
                      <a:pt x="1876" y="186"/>
                    </a:lnTo>
                    <a:lnTo>
                      <a:pt x="1841" y="175"/>
                    </a:lnTo>
                    <a:lnTo>
                      <a:pt x="1807" y="165"/>
                    </a:lnTo>
                    <a:lnTo>
                      <a:pt x="1770" y="154"/>
                    </a:lnTo>
                    <a:lnTo>
                      <a:pt x="1732" y="144"/>
                    </a:lnTo>
                    <a:lnTo>
                      <a:pt x="1692" y="133"/>
                    </a:lnTo>
                    <a:lnTo>
                      <a:pt x="1651" y="124"/>
                    </a:lnTo>
                    <a:lnTo>
                      <a:pt x="1609" y="114"/>
                    </a:lnTo>
                    <a:lnTo>
                      <a:pt x="1565" y="105"/>
                    </a:lnTo>
                    <a:lnTo>
                      <a:pt x="1518" y="95"/>
                    </a:lnTo>
                    <a:lnTo>
                      <a:pt x="1471" y="87"/>
                    </a:lnTo>
                    <a:lnTo>
                      <a:pt x="1421" y="79"/>
                    </a:lnTo>
                    <a:lnTo>
                      <a:pt x="1371" y="71"/>
                    </a:lnTo>
                    <a:lnTo>
                      <a:pt x="1321" y="64"/>
                    </a:lnTo>
                    <a:lnTo>
                      <a:pt x="1272" y="58"/>
                    </a:lnTo>
                    <a:lnTo>
                      <a:pt x="1224" y="52"/>
                    </a:lnTo>
                    <a:lnTo>
                      <a:pt x="1177" y="47"/>
                    </a:lnTo>
                    <a:lnTo>
                      <a:pt x="1131" y="43"/>
                    </a:lnTo>
                    <a:lnTo>
                      <a:pt x="1084" y="38"/>
                    </a:lnTo>
                    <a:lnTo>
                      <a:pt x="1040" y="35"/>
                    </a:lnTo>
                    <a:lnTo>
                      <a:pt x="953" y="31"/>
                    </a:lnTo>
                    <a:lnTo>
                      <a:pt x="868" y="29"/>
                    </a:lnTo>
                    <a:lnTo>
                      <a:pt x="787" y="27"/>
                    </a:lnTo>
                    <a:lnTo>
                      <a:pt x="709" y="30"/>
                    </a:lnTo>
                    <a:lnTo>
                      <a:pt x="633" y="32"/>
                    </a:lnTo>
                    <a:lnTo>
                      <a:pt x="561" y="36"/>
                    </a:lnTo>
                    <a:lnTo>
                      <a:pt x="492" y="42"/>
                    </a:lnTo>
                    <a:lnTo>
                      <a:pt x="425" y="48"/>
                    </a:lnTo>
                    <a:lnTo>
                      <a:pt x="361" y="56"/>
                    </a:lnTo>
                    <a:lnTo>
                      <a:pt x="300" y="63"/>
                    </a:lnTo>
                    <a:lnTo>
                      <a:pt x="242" y="72"/>
                    </a:lnTo>
                    <a:lnTo>
                      <a:pt x="186" y="80"/>
                    </a:lnTo>
                    <a:lnTo>
                      <a:pt x="159" y="86"/>
                    </a:lnTo>
                    <a:lnTo>
                      <a:pt x="134" y="92"/>
                    </a:lnTo>
                    <a:lnTo>
                      <a:pt x="122" y="97"/>
                    </a:lnTo>
                    <a:lnTo>
                      <a:pt x="110" y="101"/>
                    </a:lnTo>
                    <a:lnTo>
                      <a:pt x="100" y="106"/>
                    </a:lnTo>
                    <a:lnTo>
                      <a:pt x="90" y="111"/>
                    </a:lnTo>
                    <a:lnTo>
                      <a:pt x="80" y="117"/>
                    </a:lnTo>
                    <a:lnTo>
                      <a:pt x="70" y="122"/>
                    </a:lnTo>
                    <a:lnTo>
                      <a:pt x="62" y="129"/>
                    </a:lnTo>
                    <a:lnTo>
                      <a:pt x="53" y="135"/>
                    </a:lnTo>
                    <a:lnTo>
                      <a:pt x="45" y="143"/>
                    </a:lnTo>
                    <a:lnTo>
                      <a:pt x="37" y="151"/>
                    </a:lnTo>
                    <a:lnTo>
                      <a:pt x="30" y="158"/>
                    </a:lnTo>
                    <a:lnTo>
                      <a:pt x="24" y="167"/>
                    </a:lnTo>
                    <a:lnTo>
                      <a:pt x="20" y="171"/>
                    </a:lnTo>
                    <a:lnTo>
                      <a:pt x="15" y="172"/>
                    </a:lnTo>
                    <a:lnTo>
                      <a:pt x="10" y="172"/>
                    </a:lnTo>
                    <a:lnTo>
                      <a:pt x="6" y="170"/>
                    </a:lnTo>
                    <a:lnTo>
                      <a:pt x="1" y="166"/>
                    </a:lnTo>
                    <a:lnTo>
                      <a:pt x="0" y="161"/>
                    </a:lnTo>
                    <a:lnTo>
                      <a:pt x="0" y="156"/>
                    </a:lnTo>
                    <a:lnTo>
                      <a:pt x="2" y="151"/>
                    </a:lnTo>
                    <a:lnTo>
                      <a:pt x="10" y="142"/>
                    </a:lnTo>
                    <a:lnTo>
                      <a:pt x="18" y="132"/>
                    </a:lnTo>
                    <a:lnTo>
                      <a:pt x="26" y="124"/>
                    </a:lnTo>
                    <a:lnTo>
                      <a:pt x="35" y="116"/>
                    </a:lnTo>
                    <a:lnTo>
                      <a:pt x="45" y="108"/>
                    </a:lnTo>
                    <a:lnTo>
                      <a:pt x="54" y="101"/>
                    </a:lnTo>
                    <a:lnTo>
                      <a:pt x="64" y="94"/>
                    </a:lnTo>
                    <a:lnTo>
                      <a:pt x="76" y="88"/>
                    </a:lnTo>
                    <a:lnTo>
                      <a:pt x="87" y="83"/>
                    </a:lnTo>
                    <a:lnTo>
                      <a:pt x="99" y="77"/>
                    </a:lnTo>
                    <a:lnTo>
                      <a:pt x="111" y="72"/>
                    </a:lnTo>
                    <a:lnTo>
                      <a:pt x="124" y="67"/>
                    </a:lnTo>
                    <a:lnTo>
                      <a:pt x="138" y="63"/>
                    </a:lnTo>
                    <a:lnTo>
                      <a:pt x="153" y="60"/>
                    </a:lnTo>
                    <a:lnTo>
                      <a:pt x="167" y="57"/>
                    </a:lnTo>
                    <a:lnTo>
                      <a:pt x="182" y="53"/>
                    </a:lnTo>
                    <a:lnTo>
                      <a:pt x="238" y="45"/>
                    </a:lnTo>
                    <a:lnTo>
                      <a:pt x="296" y="36"/>
                    </a:lnTo>
                    <a:lnTo>
                      <a:pt x="358" y="29"/>
                    </a:lnTo>
                    <a:lnTo>
                      <a:pt x="422" y="21"/>
                    </a:lnTo>
                    <a:lnTo>
                      <a:pt x="489" y="15"/>
                    </a:lnTo>
                    <a:lnTo>
                      <a:pt x="560" y="9"/>
                    </a:lnTo>
                    <a:lnTo>
                      <a:pt x="632" y="5"/>
                    </a:lnTo>
                    <a:lnTo>
                      <a:pt x="709" y="3"/>
                    </a:lnTo>
                    <a:lnTo>
                      <a:pt x="787" y="0"/>
                    </a:lnTo>
                    <a:lnTo>
                      <a:pt x="868" y="2"/>
                    </a:lnTo>
                    <a:lnTo>
                      <a:pt x="954" y="4"/>
                    </a:lnTo>
                    <a:lnTo>
                      <a:pt x="1041" y="8"/>
                    </a:lnTo>
                    <a:lnTo>
                      <a:pt x="1087" y="11"/>
                    </a:lnTo>
                    <a:lnTo>
                      <a:pt x="1133" y="16"/>
                    </a:lnTo>
                    <a:lnTo>
                      <a:pt x="1179" y="20"/>
                    </a:lnTo>
                    <a:lnTo>
                      <a:pt x="1227" y="25"/>
                    </a:lnTo>
                    <a:lnTo>
                      <a:pt x="1276" y="31"/>
                    </a:lnTo>
                    <a:lnTo>
                      <a:pt x="1324" y="37"/>
                    </a:lnTo>
                    <a:lnTo>
                      <a:pt x="1375" y="45"/>
                    </a:lnTo>
                    <a:lnTo>
                      <a:pt x="1426" y="52"/>
                    </a:lnTo>
                    <a:lnTo>
                      <a:pt x="1475" y="61"/>
                    </a:lnTo>
                    <a:lnTo>
                      <a:pt x="1524" y="70"/>
                    </a:lnTo>
                    <a:lnTo>
                      <a:pt x="1570" y="78"/>
                    </a:lnTo>
                    <a:lnTo>
                      <a:pt x="1616" y="88"/>
                    </a:lnTo>
                    <a:lnTo>
                      <a:pt x="1659" y="98"/>
                    </a:lnTo>
                    <a:lnTo>
                      <a:pt x="1701" y="107"/>
                    </a:lnTo>
                    <a:lnTo>
                      <a:pt x="1741" y="118"/>
                    </a:lnTo>
                    <a:lnTo>
                      <a:pt x="1779" y="128"/>
                    </a:lnTo>
                    <a:lnTo>
                      <a:pt x="1816" y="139"/>
                    </a:lnTo>
                    <a:lnTo>
                      <a:pt x="1852" y="149"/>
                    </a:lnTo>
                    <a:lnTo>
                      <a:pt x="1886" y="161"/>
                    </a:lnTo>
                    <a:lnTo>
                      <a:pt x="1918" y="172"/>
                    </a:lnTo>
                    <a:lnTo>
                      <a:pt x="1950" y="184"/>
                    </a:lnTo>
                    <a:lnTo>
                      <a:pt x="1981" y="195"/>
                    </a:lnTo>
                    <a:lnTo>
                      <a:pt x="2009" y="207"/>
                    </a:lnTo>
                    <a:lnTo>
                      <a:pt x="2037" y="219"/>
                    </a:lnTo>
                    <a:lnTo>
                      <a:pt x="2064" y="232"/>
                    </a:lnTo>
                    <a:lnTo>
                      <a:pt x="2089" y="243"/>
                    </a:lnTo>
                    <a:lnTo>
                      <a:pt x="2113" y="255"/>
                    </a:lnTo>
                    <a:lnTo>
                      <a:pt x="2136" y="268"/>
                    </a:lnTo>
                    <a:lnTo>
                      <a:pt x="2180" y="293"/>
                    </a:lnTo>
                    <a:lnTo>
                      <a:pt x="2220" y="318"/>
                    </a:lnTo>
                    <a:lnTo>
                      <a:pt x="2258" y="343"/>
                    </a:lnTo>
                    <a:lnTo>
                      <a:pt x="2293" y="369"/>
                    </a:lnTo>
                    <a:lnTo>
                      <a:pt x="2324" y="393"/>
                    </a:lnTo>
                    <a:lnTo>
                      <a:pt x="2353" y="418"/>
                    </a:lnTo>
                    <a:lnTo>
                      <a:pt x="2369" y="433"/>
                    </a:lnTo>
                    <a:lnTo>
                      <a:pt x="2386" y="451"/>
                    </a:lnTo>
                    <a:lnTo>
                      <a:pt x="2401" y="471"/>
                    </a:lnTo>
                    <a:lnTo>
                      <a:pt x="2416" y="494"/>
                    </a:lnTo>
                    <a:lnTo>
                      <a:pt x="2431" y="518"/>
                    </a:lnTo>
                    <a:lnTo>
                      <a:pt x="2446" y="545"/>
                    </a:lnTo>
                    <a:lnTo>
                      <a:pt x="2460" y="573"/>
                    </a:lnTo>
                    <a:lnTo>
                      <a:pt x="2475" y="603"/>
                    </a:lnTo>
                    <a:lnTo>
                      <a:pt x="2489" y="634"/>
                    </a:lnTo>
                    <a:lnTo>
                      <a:pt x="2503" y="667"/>
                    </a:lnTo>
                    <a:lnTo>
                      <a:pt x="2516" y="700"/>
                    </a:lnTo>
                    <a:lnTo>
                      <a:pt x="2529" y="735"/>
                    </a:lnTo>
                    <a:lnTo>
                      <a:pt x="2555" y="805"/>
                    </a:lnTo>
                    <a:lnTo>
                      <a:pt x="2579" y="876"/>
                    </a:lnTo>
                    <a:lnTo>
                      <a:pt x="2600" y="947"/>
                    </a:lnTo>
                    <a:lnTo>
                      <a:pt x="2620" y="1016"/>
                    </a:lnTo>
                    <a:lnTo>
                      <a:pt x="2638" y="1082"/>
                    </a:lnTo>
                    <a:lnTo>
                      <a:pt x="2654" y="1143"/>
                    </a:lnTo>
                    <a:lnTo>
                      <a:pt x="2667" y="1198"/>
                    </a:lnTo>
                    <a:lnTo>
                      <a:pt x="2678" y="1244"/>
                    </a:lnTo>
                    <a:lnTo>
                      <a:pt x="2687" y="1282"/>
                    </a:lnTo>
                    <a:lnTo>
                      <a:pt x="2692" y="1309"/>
                    </a:lnTo>
                    <a:lnTo>
                      <a:pt x="2693" y="1317"/>
                    </a:lnTo>
                    <a:lnTo>
                      <a:pt x="2695" y="1326"/>
                    </a:lnTo>
                    <a:lnTo>
                      <a:pt x="2698" y="1335"/>
                    </a:lnTo>
                    <a:lnTo>
                      <a:pt x="2699" y="1343"/>
                    </a:lnTo>
                    <a:lnTo>
                      <a:pt x="2704" y="1368"/>
                    </a:lnTo>
                    <a:lnTo>
                      <a:pt x="2708" y="1392"/>
                    </a:lnTo>
                    <a:lnTo>
                      <a:pt x="2710" y="1404"/>
                    </a:lnTo>
                    <a:lnTo>
                      <a:pt x="2711" y="1416"/>
                    </a:lnTo>
                    <a:lnTo>
                      <a:pt x="2711" y="1426"/>
                    </a:lnTo>
                    <a:lnTo>
                      <a:pt x="2710" y="1437"/>
                    </a:lnTo>
                    <a:lnTo>
                      <a:pt x="2707" y="1448"/>
                    </a:lnTo>
                    <a:lnTo>
                      <a:pt x="2704" y="1458"/>
                    </a:lnTo>
                    <a:lnTo>
                      <a:pt x="2700" y="1466"/>
                    </a:lnTo>
                    <a:lnTo>
                      <a:pt x="2693" y="1475"/>
                    </a:lnTo>
                    <a:lnTo>
                      <a:pt x="2686" y="1483"/>
                    </a:lnTo>
                    <a:lnTo>
                      <a:pt x="2676" y="1490"/>
                    </a:lnTo>
                    <a:lnTo>
                      <a:pt x="2665" y="1496"/>
                    </a:lnTo>
                    <a:lnTo>
                      <a:pt x="2652" y="1501"/>
                    </a:lnTo>
                    <a:lnTo>
                      <a:pt x="2650" y="1502"/>
                    </a:lnTo>
                    <a:lnTo>
                      <a:pt x="2648" y="15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69"/>
              <p:cNvSpPr>
                <a:spLocks noEditPoints="1"/>
              </p:cNvSpPr>
              <p:nvPr userDrawn="1"/>
            </p:nvSpPr>
            <p:spPr bwMode="auto">
              <a:xfrm>
                <a:off x="1514" y="1269"/>
                <a:ext cx="537" cy="818"/>
              </a:xfrm>
              <a:custGeom>
                <a:avLst/>
                <a:gdLst>
                  <a:gd name="T0" fmla="*/ 170 w 1610"/>
                  <a:gd name="T1" fmla="*/ 2453 h 2453"/>
                  <a:gd name="T2" fmla="*/ 166 w 1610"/>
                  <a:gd name="T3" fmla="*/ 2452 h 2453"/>
                  <a:gd name="T4" fmla="*/ 161 w 1610"/>
                  <a:gd name="T5" fmla="*/ 2447 h 2453"/>
                  <a:gd name="T6" fmla="*/ 37 w 1610"/>
                  <a:gd name="T7" fmla="*/ 2156 h 2453"/>
                  <a:gd name="T8" fmla="*/ 26 w 1610"/>
                  <a:gd name="T9" fmla="*/ 2121 h 2453"/>
                  <a:gd name="T10" fmla="*/ 16 w 1610"/>
                  <a:gd name="T11" fmla="*/ 2088 h 2453"/>
                  <a:gd name="T12" fmla="*/ 8 w 1610"/>
                  <a:gd name="T13" fmla="*/ 2053 h 2453"/>
                  <a:gd name="T14" fmla="*/ 3 w 1610"/>
                  <a:gd name="T15" fmla="*/ 2018 h 2453"/>
                  <a:gd name="T16" fmla="*/ 1 w 1610"/>
                  <a:gd name="T17" fmla="*/ 1983 h 2453"/>
                  <a:gd name="T18" fmla="*/ 0 w 1610"/>
                  <a:gd name="T19" fmla="*/ 1949 h 2453"/>
                  <a:gd name="T20" fmla="*/ 2 w 1610"/>
                  <a:gd name="T21" fmla="*/ 1914 h 2453"/>
                  <a:gd name="T22" fmla="*/ 6 w 1610"/>
                  <a:gd name="T23" fmla="*/ 1880 h 2453"/>
                  <a:gd name="T24" fmla="*/ 13 w 1610"/>
                  <a:gd name="T25" fmla="*/ 1846 h 2453"/>
                  <a:gd name="T26" fmla="*/ 22 w 1610"/>
                  <a:gd name="T27" fmla="*/ 1812 h 2453"/>
                  <a:gd name="T28" fmla="*/ 33 w 1610"/>
                  <a:gd name="T29" fmla="*/ 1779 h 2453"/>
                  <a:gd name="T30" fmla="*/ 46 w 1610"/>
                  <a:gd name="T31" fmla="*/ 1747 h 2453"/>
                  <a:gd name="T32" fmla="*/ 62 w 1610"/>
                  <a:gd name="T33" fmla="*/ 1715 h 2453"/>
                  <a:gd name="T34" fmla="*/ 80 w 1610"/>
                  <a:gd name="T35" fmla="*/ 1685 h 2453"/>
                  <a:gd name="T36" fmla="*/ 100 w 1610"/>
                  <a:gd name="T37" fmla="*/ 1656 h 2453"/>
                  <a:gd name="T38" fmla="*/ 122 w 1610"/>
                  <a:gd name="T39" fmla="*/ 1627 h 2453"/>
                  <a:gd name="T40" fmla="*/ 1480 w 1610"/>
                  <a:gd name="T41" fmla="*/ 3 h 2453"/>
                  <a:gd name="T42" fmla="*/ 1490 w 1610"/>
                  <a:gd name="T43" fmla="*/ 0 h 2453"/>
                  <a:gd name="T44" fmla="*/ 1500 w 1610"/>
                  <a:gd name="T45" fmla="*/ 2 h 2453"/>
                  <a:gd name="T46" fmla="*/ 1507 w 1610"/>
                  <a:gd name="T47" fmla="*/ 9 h 2453"/>
                  <a:gd name="T48" fmla="*/ 1605 w 1610"/>
                  <a:gd name="T49" fmla="*/ 427 h 2453"/>
                  <a:gd name="T50" fmla="*/ 1610 w 1610"/>
                  <a:gd name="T51" fmla="*/ 451 h 2453"/>
                  <a:gd name="T52" fmla="*/ 1608 w 1610"/>
                  <a:gd name="T53" fmla="*/ 477 h 2453"/>
                  <a:gd name="T54" fmla="*/ 1599 w 1610"/>
                  <a:gd name="T55" fmla="*/ 501 h 2453"/>
                  <a:gd name="T56" fmla="*/ 1585 w 1610"/>
                  <a:gd name="T57" fmla="*/ 523 h 2453"/>
                  <a:gd name="T58" fmla="*/ 420 w 1610"/>
                  <a:gd name="T59" fmla="*/ 2092 h 2453"/>
                  <a:gd name="T60" fmla="*/ 421 w 1610"/>
                  <a:gd name="T61" fmla="*/ 2100 h 2453"/>
                  <a:gd name="T62" fmla="*/ 419 w 1610"/>
                  <a:gd name="T63" fmla="*/ 2106 h 2453"/>
                  <a:gd name="T64" fmla="*/ 180 w 1610"/>
                  <a:gd name="T65" fmla="*/ 2450 h 2453"/>
                  <a:gd name="T66" fmla="*/ 175 w 1610"/>
                  <a:gd name="T67" fmla="*/ 2452 h 2453"/>
                  <a:gd name="T68" fmla="*/ 1487 w 1610"/>
                  <a:gd name="T69" fmla="*/ 36 h 2453"/>
                  <a:gd name="T70" fmla="*/ 142 w 1610"/>
                  <a:gd name="T71" fmla="*/ 1644 h 2453"/>
                  <a:gd name="T72" fmla="*/ 122 w 1610"/>
                  <a:gd name="T73" fmla="*/ 1671 h 2453"/>
                  <a:gd name="T74" fmla="*/ 102 w 1610"/>
                  <a:gd name="T75" fmla="*/ 1699 h 2453"/>
                  <a:gd name="T76" fmla="*/ 86 w 1610"/>
                  <a:gd name="T77" fmla="*/ 1728 h 2453"/>
                  <a:gd name="T78" fmla="*/ 71 w 1610"/>
                  <a:gd name="T79" fmla="*/ 1758 h 2453"/>
                  <a:gd name="T80" fmla="*/ 58 w 1610"/>
                  <a:gd name="T81" fmla="*/ 1789 h 2453"/>
                  <a:gd name="T82" fmla="*/ 48 w 1610"/>
                  <a:gd name="T83" fmla="*/ 1820 h 2453"/>
                  <a:gd name="T84" fmla="*/ 40 w 1610"/>
                  <a:gd name="T85" fmla="*/ 1851 h 2453"/>
                  <a:gd name="T86" fmla="*/ 33 w 1610"/>
                  <a:gd name="T87" fmla="*/ 1884 h 2453"/>
                  <a:gd name="T88" fmla="*/ 29 w 1610"/>
                  <a:gd name="T89" fmla="*/ 1916 h 2453"/>
                  <a:gd name="T90" fmla="*/ 27 w 1610"/>
                  <a:gd name="T91" fmla="*/ 1950 h 2453"/>
                  <a:gd name="T92" fmla="*/ 28 w 1610"/>
                  <a:gd name="T93" fmla="*/ 1982 h 2453"/>
                  <a:gd name="T94" fmla="*/ 30 w 1610"/>
                  <a:gd name="T95" fmla="*/ 2016 h 2453"/>
                  <a:gd name="T96" fmla="*/ 34 w 1610"/>
                  <a:gd name="T97" fmla="*/ 2048 h 2453"/>
                  <a:gd name="T98" fmla="*/ 42 w 1610"/>
                  <a:gd name="T99" fmla="*/ 2080 h 2453"/>
                  <a:gd name="T100" fmla="*/ 52 w 1610"/>
                  <a:gd name="T101" fmla="*/ 2113 h 2453"/>
                  <a:gd name="T102" fmla="*/ 62 w 1610"/>
                  <a:gd name="T103" fmla="*/ 2145 h 2453"/>
                  <a:gd name="T104" fmla="*/ 392 w 1610"/>
                  <a:gd name="T105" fmla="*/ 2097 h 2453"/>
                  <a:gd name="T106" fmla="*/ 332 w 1610"/>
                  <a:gd name="T107" fmla="*/ 1970 h 2453"/>
                  <a:gd name="T108" fmla="*/ 332 w 1610"/>
                  <a:gd name="T109" fmla="*/ 1963 h 2453"/>
                  <a:gd name="T110" fmla="*/ 1564 w 1610"/>
                  <a:gd name="T111" fmla="*/ 505 h 2453"/>
                  <a:gd name="T112" fmla="*/ 1575 w 1610"/>
                  <a:gd name="T113" fmla="*/ 489 h 2453"/>
                  <a:gd name="T114" fmla="*/ 1581 w 1610"/>
                  <a:gd name="T115" fmla="*/ 471 h 2453"/>
                  <a:gd name="T116" fmla="*/ 1582 w 1610"/>
                  <a:gd name="T117" fmla="*/ 452 h 2453"/>
                  <a:gd name="T118" fmla="*/ 1578 w 1610"/>
                  <a:gd name="T119" fmla="*/ 434 h 2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10" h="2453">
                    <a:moveTo>
                      <a:pt x="171" y="2453"/>
                    </a:moveTo>
                    <a:lnTo>
                      <a:pt x="170" y="2453"/>
                    </a:lnTo>
                    <a:lnTo>
                      <a:pt x="169" y="2453"/>
                    </a:lnTo>
                    <a:lnTo>
                      <a:pt x="166" y="2452"/>
                    </a:lnTo>
                    <a:lnTo>
                      <a:pt x="163" y="2450"/>
                    </a:lnTo>
                    <a:lnTo>
                      <a:pt x="161" y="2447"/>
                    </a:lnTo>
                    <a:lnTo>
                      <a:pt x="158" y="2444"/>
                    </a:lnTo>
                    <a:lnTo>
                      <a:pt x="37" y="2156"/>
                    </a:lnTo>
                    <a:lnTo>
                      <a:pt x="31" y="2139"/>
                    </a:lnTo>
                    <a:lnTo>
                      <a:pt x="26" y="2121"/>
                    </a:lnTo>
                    <a:lnTo>
                      <a:pt x="20" y="2104"/>
                    </a:lnTo>
                    <a:lnTo>
                      <a:pt x="16" y="2088"/>
                    </a:lnTo>
                    <a:lnTo>
                      <a:pt x="12" y="2071"/>
                    </a:lnTo>
                    <a:lnTo>
                      <a:pt x="8" y="2053"/>
                    </a:lnTo>
                    <a:lnTo>
                      <a:pt x="5" y="2036"/>
                    </a:lnTo>
                    <a:lnTo>
                      <a:pt x="3" y="2018"/>
                    </a:lnTo>
                    <a:lnTo>
                      <a:pt x="2" y="2000"/>
                    </a:lnTo>
                    <a:lnTo>
                      <a:pt x="1" y="1983"/>
                    </a:lnTo>
                    <a:lnTo>
                      <a:pt x="0" y="1966"/>
                    </a:lnTo>
                    <a:lnTo>
                      <a:pt x="0" y="1949"/>
                    </a:lnTo>
                    <a:lnTo>
                      <a:pt x="1" y="1931"/>
                    </a:lnTo>
                    <a:lnTo>
                      <a:pt x="2" y="1914"/>
                    </a:lnTo>
                    <a:lnTo>
                      <a:pt x="4" y="1897"/>
                    </a:lnTo>
                    <a:lnTo>
                      <a:pt x="6" y="1880"/>
                    </a:lnTo>
                    <a:lnTo>
                      <a:pt x="9" y="1862"/>
                    </a:lnTo>
                    <a:lnTo>
                      <a:pt x="13" y="1846"/>
                    </a:lnTo>
                    <a:lnTo>
                      <a:pt x="17" y="1829"/>
                    </a:lnTo>
                    <a:lnTo>
                      <a:pt x="22" y="1812"/>
                    </a:lnTo>
                    <a:lnTo>
                      <a:pt x="27" y="1795"/>
                    </a:lnTo>
                    <a:lnTo>
                      <a:pt x="33" y="1779"/>
                    </a:lnTo>
                    <a:lnTo>
                      <a:pt x="40" y="1763"/>
                    </a:lnTo>
                    <a:lnTo>
                      <a:pt x="46" y="1747"/>
                    </a:lnTo>
                    <a:lnTo>
                      <a:pt x="54" y="1731"/>
                    </a:lnTo>
                    <a:lnTo>
                      <a:pt x="62" y="1715"/>
                    </a:lnTo>
                    <a:lnTo>
                      <a:pt x="71" y="1700"/>
                    </a:lnTo>
                    <a:lnTo>
                      <a:pt x="80" y="1685"/>
                    </a:lnTo>
                    <a:lnTo>
                      <a:pt x="89" y="1670"/>
                    </a:lnTo>
                    <a:lnTo>
                      <a:pt x="100" y="1656"/>
                    </a:lnTo>
                    <a:lnTo>
                      <a:pt x="111" y="1641"/>
                    </a:lnTo>
                    <a:lnTo>
                      <a:pt x="122" y="1627"/>
                    </a:lnTo>
                    <a:lnTo>
                      <a:pt x="1476" y="7"/>
                    </a:lnTo>
                    <a:lnTo>
                      <a:pt x="1480" y="3"/>
                    </a:lnTo>
                    <a:lnTo>
                      <a:pt x="1484" y="1"/>
                    </a:lnTo>
                    <a:lnTo>
                      <a:pt x="1490" y="0"/>
                    </a:lnTo>
                    <a:lnTo>
                      <a:pt x="1494" y="1"/>
                    </a:lnTo>
                    <a:lnTo>
                      <a:pt x="1500" y="2"/>
                    </a:lnTo>
                    <a:lnTo>
                      <a:pt x="1504" y="6"/>
                    </a:lnTo>
                    <a:lnTo>
                      <a:pt x="1507" y="9"/>
                    </a:lnTo>
                    <a:lnTo>
                      <a:pt x="1509" y="13"/>
                    </a:lnTo>
                    <a:lnTo>
                      <a:pt x="1605" y="427"/>
                    </a:lnTo>
                    <a:lnTo>
                      <a:pt x="1608" y="440"/>
                    </a:lnTo>
                    <a:lnTo>
                      <a:pt x="1610" y="451"/>
                    </a:lnTo>
                    <a:lnTo>
                      <a:pt x="1609" y="464"/>
                    </a:lnTo>
                    <a:lnTo>
                      <a:pt x="1608" y="477"/>
                    </a:lnTo>
                    <a:lnTo>
                      <a:pt x="1604" y="489"/>
                    </a:lnTo>
                    <a:lnTo>
                      <a:pt x="1599" y="501"/>
                    </a:lnTo>
                    <a:lnTo>
                      <a:pt x="1592" y="512"/>
                    </a:lnTo>
                    <a:lnTo>
                      <a:pt x="1585" y="523"/>
                    </a:lnTo>
                    <a:lnTo>
                      <a:pt x="361" y="1970"/>
                    </a:lnTo>
                    <a:lnTo>
                      <a:pt x="420" y="2092"/>
                    </a:lnTo>
                    <a:lnTo>
                      <a:pt x="421" y="2095"/>
                    </a:lnTo>
                    <a:lnTo>
                      <a:pt x="421" y="2100"/>
                    </a:lnTo>
                    <a:lnTo>
                      <a:pt x="421" y="2103"/>
                    </a:lnTo>
                    <a:lnTo>
                      <a:pt x="419" y="2106"/>
                    </a:lnTo>
                    <a:lnTo>
                      <a:pt x="182" y="2446"/>
                    </a:lnTo>
                    <a:lnTo>
                      <a:pt x="180" y="2450"/>
                    </a:lnTo>
                    <a:lnTo>
                      <a:pt x="178" y="2451"/>
                    </a:lnTo>
                    <a:lnTo>
                      <a:pt x="175" y="2452"/>
                    </a:lnTo>
                    <a:lnTo>
                      <a:pt x="171" y="2453"/>
                    </a:lnTo>
                    <a:close/>
                    <a:moveTo>
                      <a:pt x="1487" y="36"/>
                    </a:moveTo>
                    <a:lnTo>
                      <a:pt x="1487" y="36"/>
                    </a:lnTo>
                    <a:lnTo>
                      <a:pt x="142" y="1644"/>
                    </a:lnTo>
                    <a:lnTo>
                      <a:pt x="131" y="1658"/>
                    </a:lnTo>
                    <a:lnTo>
                      <a:pt x="122" y="1671"/>
                    </a:lnTo>
                    <a:lnTo>
                      <a:pt x="112" y="1685"/>
                    </a:lnTo>
                    <a:lnTo>
                      <a:pt x="102" y="1699"/>
                    </a:lnTo>
                    <a:lnTo>
                      <a:pt x="94" y="1713"/>
                    </a:lnTo>
                    <a:lnTo>
                      <a:pt x="86" y="1728"/>
                    </a:lnTo>
                    <a:lnTo>
                      <a:pt x="79" y="1744"/>
                    </a:lnTo>
                    <a:lnTo>
                      <a:pt x="71" y="1758"/>
                    </a:lnTo>
                    <a:lnTo>
                      <a:pt x="64" y="1773"/>
                    </a:lnTo>
                    <a:lnTo>
                      <a:pt x="58" y="1789"/>
                    </a:lnTo>
                    <a:lnTo>
                      <a:pt x="53" y="1804"/>
                    </a:lnTo>
                    <a:lnTo>
                      <a:pt x="48" y="1820"/>
                    </a:lnTo>
                    <a:lnTo>
                      <a:pt x="43" y="1835"/>
                    </a:lnTo>
                    <a:lnTo>
                      <a:pt x="40" y="1851"/>
                    </a:lnTo>
                    <a:lnTo>
                      <a:pt x="36" y="1868"/>
                    </a:lnTo>
                    <a:lnTo>
                      <a:pt x="33" y="1884"/>
                    </a:lnTo>
                    <a:lnTo>
                      <a:pt x="31" y="1900"/>
                    </a:lnTo>
                    <a:lnTo>
                      <a:pt x="29" y="1916"/>
                    </a:lnTo>
                    <a:lnTo>
                      <a:pt x="28" y="1932"/>
                    </a:lnTo>
                    <a:lnTo>
                      <a:pt x="27" y="1950"/>
                    </a:lnTo>
                    <a:lnTo>
                      <a:pt x="27" y="1966"/>
                    </a:lnTo>
                    <a:lnTo>
                      <a:pt x="28" y="1982"/>
                    </a:lnTo>
                    <a:lnTo>
                      <a:pt x="29" y="1998"/>
                    </a:lnTo>
                    <a:lnTo>
                      <a:pt x="30" y="2016"/>
                    </a:lnTo>
                    <a:lnTo>
                      <a:pt x="32" y="2032"/>
                    </a:lnTo>
                    <a:lnTo>
                      <a:pt x="34" y="2048"/>
                    </a:lnTo>
                    <a:lnTo>
                      <a:pt x="37" y="2064"/>
                    </a:lnTo>
                    <a:lnTo>
                      <a:pt x="42" y="2080"/>
                    </a:lnTo>
                    <a:lnTo>
                      <a:pt x="46" y="2097"/>
                    </a:lnTo>
                    <a:lnTo>
                      <a:pt x="52" y="2113"/>
                    </a:lnTo>
                    <a:lnTo>
                      <a:pt x="57" y="2129"/>
                    </a:lnTo>
                    <a:lnTo>
                      <a:pt x="62" y="2145"/>
                    </a:lnTo>
                    <a:lnTo>
                      <a:pt x="174" y="2411"/>
                    </a:lnTo>
                    <a:lnTo>
                      <a:pt x="392" y="2097"/>
                    </a:lnTo>
                    <a:lnTo>
                      <a:pt x="333" y="1975"/>
                    </a:lnTo>
                    <a:lnTo>
                      <a:pt x="332" y="1970"/>
                    </a:lnTo>
                    <a:lnTo>
                      <a:pt x="331" y="1967"/>
                    </a:lnTo>
                    <a:lnTo>
                      <a:pt x="332" y="1963"/>
                    </a:lnTo>
                    <a:lnTo>
                      <a:pt x="334" y="1959"/>
                    </a:lnTo>
                    <a:lnTo>
                      <a:pt x="1564" y="505"/>
                    </a:lnTo>
                    <a:lnTo>
                      <a:pt x="1570" y="498"/>
                    </a:lnTo>
                    <a:lnTo>
                      <a:pt x="1575" y="489"/>
                    </a:lnTo>
                    <a:lnTo>
                      <a:pt x="1578" y="481"/>
                    </a:lnTo>
                    <a:lnTo>
                      <a:pt x="1581" y="471"/>
                    </a:lnTo>
                    <a:lnTo>
                      <a:pt x="1582" y="462"/>
                    </a:lnTo>
                    <a:lnTo>
                      <a:pt x="1582" y="452"/>
                    </a:lnTo>
                    <a:lnTo>
                      <a:pt x="1582" y="444"/>
                    </a:lnTo>
                    <a:lnTo>
                      <a:pt x="1578" y="434"/>
                    </a:lnTo>
                    <a:lnTo>
                      <a:pt x="1487"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70"/>
              <p:cNvSpPr>
                <a:spLocks noEditPoints="1"/>
              </p:cNvSpPr>
              <p:nvPr userDrawn="1"/>
            </p:nvSpPr>
            <p:spPr bwMode="auto">
              <a:xfrm>
                <a:off x="1543" y="1896"/>
                <a:ext cx="307" cy="386"/>
              </a:xfrm>
              <a:custGeom>
                <a:avLst/>
                <a:gdLst>
                  <a:gd name="T0" fmla="*/ 374 w 922"/>
                  <a:gd name="T1" fmla="*/ 1156 h 1158"/>
                  <a:gd name="T2" fmla="*/ 271 w 922"/>
                  <a:gd name="T3" fmla="*/ 1129 h 1158"/>
                  <a:gd name="T4" fmla="*/ 175 w 922"/>
                  <a:gd name="T5" fmla="*/ 1068 h 1158"/>
                  <a:gd name="T6" fmla="*/ 96 w 922"/>
                  <a:gd name="T7" fmla="*/ 979 h 1158"/>
                  <a:gd name="T8" fmla="*/ 38 w 922"/>
                  <a:gd name="T9" fmla="*/ 863 h 1158"/>
                  <a:gd name="T10" fmla="*/ 7 w 922"/>
                  <a:gd name="T11" fmla="*/ 734 h 1158"/>
                  <a:gd name="T12" fmla="*/ 1 w 922"/>
                  <a:gd name="T13" fmla="*/ 595 h 1158"/>
                  <a:gd name="T14" fmla="*/ 24 w 922"/>
                  <a:gd name="T15" fmla="*/ 455 h 1158"/>
                  <a:gd name="T16" fmla="*/ 67 w 922"/>
                  <a:gd name="T17" fmla="*/ 333 h 1158"/>
                  <a:gd name="T18" fmla="*/ 127 w 922"/>
                  <a:gd name="T19" fmla="*/ 226 h 1158"/>
                  <a:gd name="T20" fmla="*/ 203 w 922"/>
                  <a:gd name="T21" fmla="*/ 136 h 1158"/>
                  <a:gd name="T22" fmla="*/ 289 w 922"/>
                  <a:gd name="T23" fmla="*/ 66 h 1158"/>
                  <a:gd name="T24" fmla="*/ 387 w 922"/>
                  <a:gd name="T25" fmla="*/ 20 h 1158"/>
                  <a:gd name="T26" fmla="*/ 488 w 922"/>
                  <a:gd name="T27" fmla="*/ 1 h 1158"/>
                  <a:gd name="T28" fmla="*/ 586 w 922"/>
                  <a:gd name="T29" fmla="*/ 8 h 1158"/>
                  <a:gd name="T30" fmla="*/ 693 w 922"/>
                  <a:gd name="T31" fmla="*/ 50 h 1158"/>
                  <a:gd name="T32" fmla="*/ 783 w 922"/>
                  <a:gd name="T33" fmla="*/ 124 h 1158"/>
                  <a:gd name="T34" fmla="*/ 852 w 922"/>
                  <a:gd name="T35" fmla="*/ 222 h 1158"/>
                  <a:gd name="T36" fmla="*/ 898 w 922"/>
                  <a:gd name="T37" fmla="*/ 341 h 1158"/>
                  <a:gd name="T38" fmla="*/ 921 w 922"/>
                  <a:gd name="T39" fmla="*/ 475 h 1158"/>
                  <a:gd name="T40" fmla="*/ 916 w 922"/>
                  <a:gd name="T41" fmla="*/ 617 h 1158"/>
                  <a:gd name="T42" fmla="*/ 883 w 922"/>
                  <a:gd name="T43" fmla="*/ 753 h 1158"/>
                  <a:gd name="T44" fmla="*/ 834 w 922"/>
                  <a:gd name="T45" fmla="*/ 870 h 1158"/>
                  <a:gd name="T46" fmla="*/ 767 w 922"/>
                  <a:gd name="T47" fmla="*/ 970 h 1158"/>
                  <a:gd name="T48" fmla="*/ 686 w 922"/>
                  <a:gd name="T49" fmla="*/ 1052 h 1158"/>
                  <a:gd name="T50" fmla="*/ 595 w 922"/>
                  <a:gd name="T51" fmla="*/ 1112 h 1158"/>
                  <a:gd name="T52" fmla="*/ 496 w 922"/>
                  <a:gd name="T53" fmla="*/ 1148 h 1158"/>
                  <a:gd name="T54" fmla="*/ 510 w 922"/>
                  <a:gd name="T55" fmla="*/ 27 h 1158"/>
                  <a:gd name="T56" fmla="*/ 431 w 922"/>
                  <a:gd name="T57" fmla="*/ 35 h 1158"/>
                  <a:gd name="T58" fmla="*/ 338 w 922"/>
                  <a:gd name="T59" fmla="*/ 70 h 1158"/>
                  <a:gd name="T60" fmla="*/ 252 w 922"/>
                  <a:gd name="T61" fmla="*/ 128 h 1158"/>
                  <a:gd name="T62" fmla="*/ 175 w 922"/>
                  <a:gd name="T63" fmla="*/ 207 h 1158"/>
                  <a:gd name="T64" fmla="*/ 111 w 922"/>
                  <a:gd name="T65" fmla="*/ 303 h 1158"/>
                  <a:gd name="T66" fmla="*/ 64 w 922"/>
                  <a:gd name="T67" fmla="*/ 414 h 1158"/>
                  <a:gd name="T68" fmla="*/ 35 w 922"/>
                  <a:gd name="T69" fmla="*/ 543 h 1158"/>
                  <a:gd name="T70" fmla="*/ 28 w 922"/>
                  <a:gd name="T71" fmla="*/ 677 h 1158"/>
                  <a:gd name="T72" fmla="*/ 48 w 922"/>
                  <a:gd name="T73" fmla="*/ 806 h 1158"/>
                  <a:gd name="T74" fmla="*/ 94 w 922"/>
                  <a:gd name="T75" fmla="*/ 923 h 1158"/>
                  <a:gd name="T76" fmla="*/ 160 w 922"/>
                  <a:gd name="T77" fmla="*/ 1016 h 1158"/>
                  <a:gd name="T78" fmla="*/ 244 w 922"/>
                  <a:gd name="T79" fmla="*/ 1084 h 1158"/>
                  <a:gd name="T80" fmla="*/ 341 w 922"/>
                  <a:gd name="T81" fmla="*/ 1123 h 1158"/>
                  <a:gd name="T82" fmla="*/ 433 w 922"/>
                  <a:gd name="T83" fmla="*/ 1130 h 1158"/>
                  <a:gd name="T84" fmla="*/ 529 w 922"/>
                  <a:gd name="T85" fmla="*/ 1111 h 1158"/>
                  <a:gd name="T86" fmla="*/ 620 w 922"/>
                  <a:gd name="T87" fmla="*/ 1067 h 1158"/>
                  <a:gd name="T88" fmla="*/ 703 w 922"/>
                  <a:gd name="T89" fmla="*/ 1000 h 1158"/>
                  <a:gd name="T90" fmla="*/ 774 w 922"/>
                  <a:gd name="T91" fmla="*/ 915 h 1158"/>
                  <a:gd name="T92" fmla="*/ 832 w 922"/>
                  <a:gd name="T93" fmla="*/ 812 h 1158"/>
                  <a:gd name="T94" fmla="*/ 873 w 922"/>
                  <a:gd name="T95" fmla="*/ 695 h 1158"/>
                  <a:gd name="T96" fmla="*/ 894 w 922"/>
                  <a:gd name="T97" fmla="*/ 559 h 1158"/>
                  <a:gd name="T98" fmla="*/ 889 w 922"/>
                  <a:gd name="T99" fmla="*/ 426 h 1158"/>
                  <a:gd name="T100" fmla="*/ 859 w 922"/>
                  <a:gd name="T101" fmla="*/ 303 h 1158"/>
                  <a:gd name="T102" fmla="*/ 807 w 922"/>
                  <a:gd name="T103" fmla="*/ 197 h 1158"/>
                  <a:gd name="T104" fmla="*/ 733 w 922"/>
                  <a:gd name="T105" fmla="*/ 113 h 1158"/>
                  <a:gd name="T106" fmla="*/ 643 w 922"/>
                  <a:gd name="T107" fmla="*/ 55 h 1158"/>
                  <a:gd name="T108" fmla="*/ 545 w 922"/>
                  <a:gd name="T109" fmla="*/ 2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2" h="1158">
                    <a:moveTo>
                      <a:pt x="413" y="1158"/>
                    </a:moveTo>
                    <a:lnTo>
                      <a:pt x="413" y="1158"/>
                    </a:lnTo>
                    <a:lnTo>
                      <a:pt x="413" y="1158"/>
                    </a:lnTo>
                    <a:lnTo>
                      <a:pt x="393" y="1158"/>
                    </a:lnTo>
                    <a:lnTo>
                      <a:pt x="374" y="1156"/>
                    </a:lnTo>
                    <a:lnTo>
                      <a:pt x="355" y="1154"/>
                    </a:lnTo>
                    <a:lnTo>
                      <a:pt x="336" y="1149"/>
                    </a:lnTo>
                    <a:lnTo>
                      <a:pt x="314" y="1144"/>
                    </a:lnTo>
                    <a:lnTo>
                      <a:pt x="293" y="1137"/>
                    </a:lnTo>
                    <a:lnTo>
                      <a:pt x="271" y="1129"/>
                    </a:lnTo>
                    <a:lnTo>
                      <a:pt x="251" y="1119"/>
                    </a:lnTo>
                    <a:lnTo>
                      <a:pt x="231" y="1108"/>
                    </a:lnTo>
                    <a:lnTo>
                      <a:pt x="212" y="1096"/>
                    </a:lnTo>
                    <a:lnTo>
                      <a:pt x="192" y="1083"/>
                    </a:lnTo>
                    <a:lnTo>
                      <a:pt x="175" y="1068"/>
                    </a:lnTo>
                    <a:lnTo>
                      <a:pt x="158" y="1053"/>
                    </a:lnTo>
                    <a:lnTo>
                      <a:pt x="140" y="1036"/>
                    </a:lnTo>
                    <a:lnTo>
                      <a:pt x="125" y="1019"/>
                    </a:lnTo>
                    <a:lnTo>
                      <a:pt x="110" y="999"/>
                    </a:lnTo>
                    <a:lnTo>
                      <a:pt x="96" y="979"/>
                    </a:lnTo>
                    <a:lnTo>
                      <a:pt x="82" y="958"/>
                    </a:lnTo>
                    <a:lnTo>
                      <a:pt x="70" y="935"/>
                    </a:lnTo>
                    <a:lnTo>
                      <a:pt x="58" y="912"/>
                    </a:lnTo>
                    <a:lnTo>
                      <a:pt x="48" y="888"/>
                    </a:lnTo>
                    <a:lnTo>
                      <a:pt x="38" y="863"/>
                    </a:lnTo>
                    <a:lnTo>
                      <a:pt x="29" y="838"/>
                    </a:lnTo>
                    <a:lnTo>
                      <a:pt x="22" y="813"/>
                    </a:lnTo>
                    <a:lnTo>
                      <a:pt x="15" y="786"/>
                    </a:lnTo>
                    <a:lnTo>
                      <a:pt x="11" y="761"/>
                    </a:lnTo>
                    <a:lnTo>
                      <a:pt x="7" y="734"/>
                    </a:lnTo>
                    <a:lnTo>
                      <a:pt x="3" y="707"/>
                    </a:lnTo>
                    <a:lnTo>
                      <a:pt x="1" y="679"/>
                    </a:lnTo>
                    <a:lnTo>
                      <a:pt x="0" y="652"/>
                    </a:lnTo>
                    <a:lnTo>
                      <a:pt x="0" y="623"/>
                    </a:lnTo>
                    <a:lnTo>
                      <a:pt x="1" y="595"/>
                    </a:lnTo>
                    <a:lnTo>
                      <a:pt x="4" y="566"/>
                    </a:lnTo>
                    <a:lnTo>
                      <a:pt x="8" y="538"/>
                    </a:lnTo>
                    <a:lnTo>
                      <a:pt x="12" y="510"/>
                    </a:lnTo>
                    <a:lnTo>
                      <a:pt x="17" y="481"/>
                    </a:lnTo>
                    <a:lnTo>
                      <a:pt x="24" y="455"/>
                    </a:lnTo>
                    <a:lnTo>
                      <a:pt x="30" y="430"/>
                    </a:lnTo>
                    <a:lnTo>
                      <a:pt x="39" y="405"/>
                    </a:lnTo>
                    <a:lnTo>
                      <a:pt x="48" y="381"/>
                    </a:lnTo>
                    <a:lnTo>
                      <a:pt x="56" y="357"/>
                    </a:lnTo>
                    <a:lnTo>
                      <a:pt x="67" y="333"/>
                    </a:lnTo>
                    <a:lnTo>
                      <a:pt x="78" y="310"/>
                    </a:lnTo>
                    <a:lnTo>
                      <a:pt x="89" y="289"/>
                    </a:lnTo>
                    <a:lnTo>
                      <a:pt x="100" y="267"/>
                    </a:lnTo>
                    <a:lnTo>
                      <a:pt x="113" y="246"/>
                    </a:lnTo>
                    <a:lnTo>
                      <a:pt x="127" y="226"/>
                    </a:lnTo>
                    <a:lnTo>
                      <a:pt x="142" y="207"/>
                    </a:lnTo>
                    <a:lnTo>
                      <a:pt x="156" y="187"/>
                    </a:lnTo>
                    <a:lnTo>
                      <a:pt x="171" y="170"/>
                    </a:lnTo>
                    <a:lnTo>
                      <a:pt x="187" y="153"/>
                    </a:lnTo>
                    <a:lnTo>
                      <a:pt x="203" y="136"/>
                    </a:lnTo>
                    <a:lnTo>
                      <a:pt x="219" y="120"/>
                    </a:lnTo>
                    <a:lnTo>
                      <a:pt x="237" y="105"/>
                    </a:lnTo>
                    <a:lnTo>
                      <a:pt x="254" y="91"/>
                    </a:lnTo>
                    <a:lnTo>
                      <a:pt x="272" y="78"/>
                    </a:lnTo>
                    <a:lnTo>
                      <a:pt x="289" y="66"/>
                    </a:lnTo>
                    <a:lnTo>
                      <a:pt x="309" y="56"/>
                    </a:lnTo>
                    <a:lnTo>
                      <a:pt x="327" y="45"/>
                    </a:lnTo>
                    <a:lnTo>
                      <a:pt x="347" y="36"/>
                    </a:lnTo>
                    <a:lnTo>
                      <a:pt x="366" y="28"/>
                    </a:lnTo>
                    <a:lnTo>
                      <a:pt x="387" y="20"/>
                    </a:lnTo>
                    <a:lnTo>
                      <a:pt x="406" y="15"/>
                    </a:lnTo>
                    <a:lnTo>
                      <a:pt x="427" y="9"/>
                    </a:lnTo>
                    <a:lnTo>
                      <a:pt x="447" y="5"/>
                    </a:lnTo>
                    <a:lnTo>
                      <a:pt x="468" y="2"/>
                    </a:lnTo>
                    <a:lnTo>
                      <a:pt x="488" y="1"/>
                    </a:lnTo>
                    <a:lnTo>
                      <a:pt x="510" y="0"/>
                    </a:lnTo>
                    <a:lnTo>
                      <a:pt x="529" y="1"/>
                    </a:lnTo>
                    <a:lnTo>
                      <a:pt x="549" y="2"/>
                    </a:lnTo>
                    <a:lnTo>
                      <a:pt x="567" y="5"/>
                    </a:lnTo>
                    <a:lnTo>
                      <a:pt x="586" y="8"/>
                    </a:lnTo>
                    <a:lnTo>
                      <a:pt x="609" y="14"/>
                    </a:lnTo>
                    <a:lnTo>
                      <a:pt x="631" y="21"/>
                    </a:lnTo>
                    <a:lnTo>
                      <a:pt x="652" y="30"/>
                    </a:lnTo>
                    <a:lnTo>
                      <a:pt x="673" y="39"/>
                    </a:lnTo>
                    <a:lnTo>
                      <a:pt x="693" y="50"/>
                    </a:lnTo>
                    <a:lnTo>
                      <a:pt x="713" y="63"/>
                    </a:lnTo>
                    <a:lnTo>
                      <a:pt x="731" y="76"/>
                    </a:lnTo>
                    <a:lnTo>
                      <a:pt x="749" y="91"/>
                    </a:lnTo>
                    <a:lnTo>
                      <a:pt x="767" y="106"/>
                    </a:lnTo>
                    <a:lnTo>
                      <a:pt x="783" y="124"/>
                    </a:lnTo>
                    <a:lnTo>
                      <a:pt x="798" y="141"/>
                    </a:lnTo>
                    <a:lnTo>
                      <a:pt x="813" y="160"/>
                    </a:lnTo>
                    <a:lnTo>
                      <a:pt x="827" y="180"/>
                    </a:lnTo>
                    <a:lnTo>
                      <a:pt x="840" y="200"/>
                    </a:lnTo>
                    <a:lnTo>
                      <a:pt x="852" y="222"/>
                    </a:lnTo>
                    <a:lnTo>
                      <a:pt x="863" y="245"/>
                    </a:lnTo>
                    <a:lnTo>
                      <a:pt x="874" y="267"/>
                    </a:lnTo>
                    <a:lnTo>
                      <a:pt x="883" y="291"/>
                    </a:lnTo>
                    <a:lnTo>
                      <a:pt x="892" y="316"/>
                    </a:lnTo>
                    <a:lnTo>
                      <a:pt x="898" y="341"/>
                    </a:lnTo>
                    <a:lnTo>
                      <a:pt x="905" y="367"/>
                    </a:lnTo>
                    <a:lnTo>
                      <a:pt x="910" y="392"/>
                    </a:lnTo>
                    <a:lnTo>
                      <a:pt x="916" y="419"/>
                    </a:lnTo>
                    <a:lnTo>
                      <a:pt x="919" y="446"/>
                    </a:lnTo>
                    <a:lnTo>
                      <a:pt x="921" y="475"/>
                    </a:lnTo>
                    <a:lnTo>
                      <a:pt x="922" y="503"/>
                    </a:lnTo>
                    <a:lnTo>
                      <a:pt x="922" y="531"/>
                    </a:lnTo>
                    <a:lnTo>
                      <a:pt x="921" y="560"/>
                    </a:lnTo>
                    <a:lnTo>
                      <a:pt x="919" y="588"/>
                    </a:lnTo>
                    <a:lnTo>
                      <a:pt x="916" y="617"/>
                    </a:lnTo>
                    <a:lnTo>
                      <a:pt x="910" y="647"/>
                    </a:lnTo>
                    <a:lnTo>
                      <a:pt x="905" y="676"/>
                    </a:lnTo>
                    <a:lnTo>
                      <a:pt x="898" y="702"/>
                    </a:lnTo>
                    <a:lnTo>
                      <a:pt x="892" y="727"/>
                    </a:lnTo>
                    <a:lnTo>
                      <a:pt x="883" y="753"/>
                    </a:lnTo>
                    <a:lnTo>
                      <a:pt x="876" y="777"/>
                    </a:lnTo>
                    <a:lnTo>
                      <a:pt x="866" y="801"/>
                    </a:lnTo>
                    <a:lnTo>
                      <a:pt x="856" y="824"/>
                    </a:lnTo>
                    <a:lnTo>
                      <a:pt x="846" y="847"/>
                    </a:lnTo>
                    <a:lnTo>
                      <a:pt x="834" y="870"/>
                    </a:lnTo>
                    <a:lnTo>
                      <a:pt x="822" y="891"/>
                    </a:lnTo>
                    <a:lnTo>
                      <a:pt x="809" y="912"/>
                    </a:lnTo>
                    <a:lnTo>
                      <a:pt x="795" y="932"/>
                    </a:lnTo>
                    <a:lnTo>
                      <a:pt x="781" y="952"/>
                    </a:lnTo>
                    <a:lnTo>
                      <a:pt x="767" y="970"/>
                    </a:lnTo>
                    <a:lnTo>
                      <a:pt x="752" y="988"/>
                    </a:lnTo>
                    <a:lnTo>
                      <a:pt x="735" y="1006"/>
                    </a:lnTo>
                    <a:lnTo>
                      <a:pt x="720" y="1022"/>
                    </a:lnTo>
                    <a:lnTo>
                      <a:pt x="703" y="1037"/>
                    </a:lnTo>
                    <a:lnTo>
                      <a:pt x="686" y="1052"/>
                    </a:lnTo>
                    <a:lnTo>
                      <a:pt x="668" y="1066"/>
                    </a:lnTo>
                    <a:lnTo>
                      <a:pt x="651" y="1079"/>
                    </a:lnTo>
                    <a:lnTo>
                      <a:pt x="633" y="1091"/>
                    </a:lnTo>
                    <a:lnTo>
                      <a:pt x="613" y="1103"/>
                    </a:lnTo>
                    <a:lnTo>
                      <a:pt x="595" y="1112"/>
                    </a:lnTo>
                    <a:lnTo>
                      <a:pt x="576" y="1122"/>
                    </a:lnTo>
                    <a:lnTo>
                      <a:pt x="556" y="1130"/>
                    </a:lnTo>
                    <a:lnTo>
                      <a:pt x="536" y="1137"/>
                    </a:lnTo>
                    <a:lnTo>
                      <a:pt x="516" y="1144"/>
                    </a:lnTo>
                    <a:lnTo>
                      <a:pt x="496" y="1148"/>
                    </a:lnTo>
                    <a:lnTo>
                      <a:pt x="475" y="1152"/>
                    </a:lnTo>
                    <a:lnTo>
                      <a:pt x="455" y="1156"/>
                    </a:lnTo>
                    <a:lnTo>
                      <a:pt x="434" y="1157"/>
                    </a:lnTo>
                    <a:lnTo>
                      <a:pt x="413" y="1158"/>
                    </a:lnTo>
                    <a:close/>
                    <a:moveTo>
                      <a:pt x="510" y="27"/>
                    </a:moveTo>
                    <a:lnTo>
                      <a:pt x="510" y="27"/>
                    </a:lnTo>
                    <a:lnTo>
                      <a:pt x="489" y="28"/>
                    </a:lnTo>
                    <a:lnTo>
                      <a:pt x="470" y="29"/>
                    </a:lnTo>
                    <a:lnTo>
                      <a:pt x="450" y="32"/>
                    </a:lnTo>
                    <a:lnTo>
                      <a:pt x="431" y="35"/>
                    </a:lnTo>
                    <a:lnTo>
                      <a:pt x="413" y="41"/>
                    </a:lnTo>
                    <a:lnTo>
                      <a:pt x="393" y="46"/>
                    </a:lnTo>
                    <a:lnTo>
                      <a:pt x="375" y="54"/>
                    </a:lnTo>
                    <a:lnTo>
                      <a:pt x="356" y="61"/>
                    </a:lnTo>
                    <a:lnTo>
                      <a:pt x="338" y="70"/>
                    </a:lnTo>
                    <a:lnTo>
                      <a:pt x="320" y="79"/>
                    </a:lnTo>
                    <a:lnTo>
                      <a:pt x="302" y="90"/>
                    </a:lnTo>
                    <a:lnTo>
                      <a:pt x="285" y="102"/>
                    </a:lnTo>
                    <a:lnTo>
                      <a:pt x="268" y="115"/>
                    </a:lnTo>
                    <a:lnTo>
                      <a:pt x="252" y="128"/>
                    </a:lnTo>
                    <a:lnTo>
                      <a:pt x="235" y="142"/>
                    </a:lnTo>
                    <a:lnTo>
                      <a:pt x="219" y="157"/>
                    </a:lnTo>
                    <a:lnTo>
                      <a:pt x="204" y="172"/>
                    </a:lnTo>
                    <a:lnTo>
                      <a:pt x="189" y="190"/>
                    </a:lnTo>
                    <a:lnTo>
                      <a:pt x="175" y="207"/>
                    </a:lnTo>
                    <a:lnTo>
                      <a:pt x="161" y="224"/>
                    </a:lnTo>
                    <a:lnTo>
                      <a:pt x="148" y="242"/>
                    </a:lnTo>
                    <a:lnTo>
                      <a:pt x="135" y="262"/>
                    </a:lnTo>
                    <a:lnTo>
                      <a:pt x="123" y="282"/>
                    </a:lnTo>
                    <a:lnTo>
                      <a:pt x="111" y="303"/>
                    </a:lnTo>
                    <a:lnTo>
                      <a:pt x="100" y="323"/>
                    </a:lnTo>
                    <a:lnTo>
                      <a:pt x="91" y="346"/>
                    </a:lnTo>
                    <a:lnTo>
                      <a:pt x="81" y="368"/>
                    </a:lnTo>
                    <a:lnTo>
                      <a:pt x="72" y="391"/>
                    </a:lnTo>
                    <a:lnTo>
                      <a:pt x="64" y="414"/>
                    </a:lnTo>
                    <a:lnTo>
                      <a:pt x="56" y="438"/>
                    </a:lnTo>
                    <a:lnTo>
                      <a:pt x="50" y="463"/>
                    </a:lnTo>
                    <a:lnTo>
                      <a:pt x="44" y="487"/>
                    </a:lnTo>
                    <a:lnTo>
                      <a:pt x="39" y="514"/>
                    </a:lnTo>
                    <a:lnTo>
                      <a:pt x="35" y="543"/>
                    </a:lnTo>
                    <a:lnTo>
                      <a:pt x="30" y="570"/>
                    </a:lnTo>
                    <a:lnTo>
                      <a:pt x="28" y="597"/>
                    </a:lnTo>
                    <a:lnTo>
                      <a:pt x="27" y="623"/>
                    </a:lnTo>
                    <a:lnTo>
                      <a:pt x="27" y="650"/>
                    </a:lnTo>
                    <a:lnTo>
                      <a:pt x="28" y="677"/>
                    </a:lnTo>
                    <a:lnTo>
                      <a:pt x="30" y="703"/>
                    </a:lnTo>
                    <a:lnTo>
                      <a:pt x="32" y="729"/>
                    </a:lnTo>
                    <a:lnTo>
                      <a:pt x="37" y="755"/>
                    </a:lnTo>
                    <a:lnTo>
                      <a:pt x="42" y="781"/>
                    </a:lnTo>
                    <a:lnTo>
                      <a:pt x="48" y="806"/>
                    </a:lnTo>
                    <a:lnTo>
                      <a:pt x="55" y="830"/>
                    </a:lnTo>
                    <a:lnTo>
                      <a:pt x="63" y="855"/>
                    </a:lnTo>
                    <a:lnTo>
                      <a:pt x="72" y="877"/>
                    </a:lnTo>
                    <a:lnTo>
                      <a:pt x="82" y="901"/>
                    </a:lnTo>
                    <a:lnTo>
                      <a:pt x="94" y="923"/>
                    </a:lnTo>
                    <a:lnTo>
                      <a:pt x="105" y="943"/>
                    </a:lnTo>
                    <a:lnTo>
                      <a:pt x="118" y="964"/>
                    </a:lnTo>
                    <a:lnTo>
                      <a:pt x="131" y="982"/>
                    </a:lnTo>
                    <a:lnTo>
                      <a:pt x="145" y="1000"/>
                    </a:lnTo>
                    <a:lnTo>
                      <a:pt x="160" y="1016"/>
                    </a:lnTo>
                    <a:lnTo>
                      <a:pt x="175" y="1033"/>
                    </a:lnTo>
                    <a:lnTo>
                      <a:pt x="191" y="1048"/>
                    </a:lnTo>
                    <a:lnTo>
                      <a:pt x="208" y="1061"/>
                    </a:lnTo>
                    <a:lnTo>
                      <a:pt x="226" y="1074"/>
                    </a:lnTo>
                    <a:lnTo>
                      <a:pt x="244" y="1084"/>
                    </a:lnTo>
                    <a:lnTo>
                      <a:pt x="262" y="1095"/>
                    </a:lnTo>
                    <a:lnTo>
                      <a:pt x="282" y="1104"/>
                    </a:lnTo>
                    <a:lnTo>
                      <a:pt x="301" y="1111"/>
                    </a:lnTo>
                    <a:lnTo>
                      <a:pt x="321" y="1118"/>
                    </a:lnTo>
                    <a:lnTo>
                      <a:pt x="341" y="1123"/>
                    </a:lnTo>
                    <a:lnTo>
                      <a:pt x="360" y="1127"/>
                    </a:lnTo>
                    <a:lnTo>
                      <a:pt x="377" y="1129"/>
                    </a:lnTo>
                    <a:lnTo>
                      <a:pt x="395" y="1131"/>
                    </a:lnTo>
                    <a:lnTo>
                      <a:pt x="413" y="1131"/>
                    </a:lnTo>
                    <a:lnTo>
                      <a:pt x="433" y="1130"/>
                    </a:lnTo>
                    <a:lnTo>
                      <a:pt x="453" y="1129"/>
                    </a:lnTo>
                    <a:lnTo>
                      <a:pt x="472" y="1125"/>
                    </a:lnTo>
                    <a:lnTo>
                      <a:pt x="491" y="1122"/>
                    </a:lnTo>
                    <a:lnTo>
                      <a:pt x="511" y="1117"/>
                    </a:lnTo>
                    <a:lnTo>
                      <a:pt x="529" y="1111"/>
                    </a:lnTo>
                    <a:lnTo>
                      <a:pt x="548" y="1104"/>
                    </a:lnTo>
                    <a:lnTo>
                      <a:pt x="567" y="1096"/>
                    </a:lnTo>
                    <a:lnTo>
                      <a:pt x="584" y="1088"/>
                    </a:lnTo>
                    <a:lnTo>
                      <a:pt x="603" y="1078"/>
                    </a:lnTo>
                    <a:lnTo>
                      <a:pt x="620" y="1067"/>
                    </a:lnTo>
                    <a:lnTo>
                      <a:pt x="637" y="1055"/>
                    </a:lnTo>
                    <a:lnTo>
                      <a:pt x="654" y="1043"/>
                    </a:lnTo>
                    <a:lnTo>
                      <a:pt x="671" y="1029"/>
                    </a:lnTo>
                    <a:lnTo>
                      <a:pt x="687" y="1015"/>
                    </a:lnTo>
                    <a:lnTo>
                      <a:pt x="703" y="1000"/>
                    </a:lnTo>
                    <a:lnTo>
                      <a:pt x="718" y="985"/>
                    </a:lnTo>
                    <a:lnTo>
                      <a:pt x="733" y="969"/>
                    </a:lnTo>
                    <a:lnTo>
                      <a:pt x="747" y="952"/>
                    </a:lnTo>
                    <a:lnTo>
                      <a:pt x="761" y="933"/>
                    </a:lnTo>
                    <a:lnTo>
                      <a:pt x="774" y="915"/>
                    </a:lnTo>
                    <a:lnTo>
                      <a:pt x="787" y="896"/>
                    </a:lnTo>
                    <a:lnTo>
                      <a:pt x="799" y="875"/>
                    </a:lnTo>
                    <a:lnTo>
                      <a:pt x="811" y="855"/>
                    </a:lnTo>
                    <a:lnTo>
                      <a:pt x="822" y="834"/>
                    </a:lnTo>
                    <a:lnTo>
                      <a:pt x="832" y="812"/>
                    </a:lnTo>
                    <a:lnTo>
                      <a:pt x="841" y="790"/>
                    </a:lnTo>
                    <a:lnTo>
                      <a:pt x="850" y="767"/>
                    </a:lnTo>
                    <a:lnTo>
                      <a:pt x="859" y="743"/>
                    </a:lnTo>
                    <a:lnTo>
                      <a:pt x="866" y="720"/>
                    </a:lnTo>
                    <a:lnTo>
                      <a:pt x="873" y="695"/>
                    </a:lnTo>
                    <a:lnTo>
                      <a:pt x="878" y="670"/>
                    </a:lnTo>
                    <a:lnTo>
                      <a:pt x="884" y="642"/>
                    </a:lnTo>
                    <a:lnTo>
                      <a:pt x="889" y="615"/>
                    </a:lnTo>
                    <a:lnTo>
                      <a:pt x="892" y="587"/>
                    </a:lnTo>
                    <a:lnTo>
                      <a:pt x="894" y="559"/>
                    </a:lnTo>
                    <a:lnTo>
                      <a:pt x="895" y="532"/>
                    </a:lnTo>
                    <a:lnTo>
                      <a:pt x="895" y="505"/>
                    </a:lnTo>
                    <a:lnTo>
                      <a:pt x="894" y="478"/>
                    </a:lnTo>
                    <a:lnTo>
                      <a:pt x="892" y="452"/>
                    </a:lnTo>
                    <a:lnTo>
                      <a:pt x="889" y="426"/>
                    </a:lnTo>
                    <a:lnTo>
                      <a:pt x="884" y="400"/>
                    </a:lnTo>
                    <a:lnTo>
                      <a:pt x="880" y="375"/>
                    </a:lnTo>
                    <a:lnTo>
                      <a:pt x="874" y="350"/>
                    </a:lnTo>
                    <a:lnTo>
                      <a:pt x="867" y="327"/>
                    </a:lnTo>
                    <a:lnTo>
                      <a:pt x="859" y="303"/>
                    </a:lnTo>
                    <a:lnTo>
                      <a:pt x="850" y="281"/>
                    </a:lnTo>
                    <a:lnTo>
                      <a:pt x="840" y="259"/>
                    </a:lnTo>
                    <a:lnTo>
                      <a:pt x="830" y="238"/>
                    </a:lnTo>
                    <a:lnTo>
                      <a:pt x="819" y="218"/>
                    </a:lnTo>
                    <a:lnTo>
                      <a:pt x="807" y="197"/>
                    </a:lnTo>
                    <a:lnTo>
                      <a:pt x="794" y="179"/>
                    </a:lnTo>
                    <a:lnTo>
                      <a:pt x="780" y="160"/>
                    </a:lnTo>
                    <a:lnTo>
                      <a:pt x="765" y="144"/>
                    </a:lnTo>
                    <a:lnTo>
                      <a:pt x="749" y="128"/>
                    </a:lnTo>
                    <a:lnTo>
                      <a:pt x="733" y="113"/>
                    </a:lnTo>
                    <a:lnTo>
                      <a:pt x="717" y="99"/>
                    </a:lnTo>
                    <a:lnTo>
                      <a:pt x="700" y="86"/>
                    </a:lnTo>
                    <a:lnTo>
                      <a:pt x="681" y="74"/>
                    </a:lnTo>
                    <a:lnTo>
                      <a:pt x="662" y="64"/>
                    </a:lnTo>
                    <a:lnTo>
                      <a:pt x="643" y="55"/>
                    </a:lnTo>
                    <a:lnTo>
                      <a:pt x="623" y="47"/>
                    </a:lnTo>
                    <a:lnTo>
                      <a:pt x="602" y="39"/>
                    </a:lnTo>
                    <a:lnTo>
                      <a:pt x="581" y="34"/>
                    </a:lnTo>
                    <a:lnTo>
                      <a:pt x="563" y="31"/>
                    </a:lnTo>
                    <a:lnTo>
                      <a:pt x="545" y="29"/>
                    </a:lnTo>
                    <a:lnTo>
                      <a:pt x="527" y="28"/>
                    </a:lnTo>
                    <a:lnTo>
                      <a:pt x="51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71"/>
              <p:cNvSpPr>
                <a:spLocks noEditPoints="1"/>
              </p:cNvSpPr>
              <p:nvPr userDrawn="1"/>
            </p:nvSpPr>
            <p:spPr bwMode="auto">
              <a:xfrm>
                <a:off x="1557" y="1937"/>
                <a:ext cx="183" cy="284"/>
              </a:xfrm>
              <a:custGeom>
                <a:avLst/>
                <a:gdLst>
                  <a:gd name="T0" fmla="*/ 190 w 548"/>
                  <a:gd name="T1" fmla="*/ 848 h 850"/>
                  <a:gd name="T2" fmla="*/ 131 w 548"/>
                  <a:gd name="T3" fmla="*/ 827 h 850"/>
                  <a:gd name="T4" fmla="*/ 79 w 548"/>
                  <a:gd name="T5" fmla="*/ 780 h 850"/>
                  <a:gd name="T6" fmla="*/ 38 w 548"/>
                  <a:gd name="T7" fmla="*/ 714 h 850"/>
                  <a:gd name="T8" fmla="*/ 12 w 548"/>
                  <a:gd name="T9" fmla="*/ 632 h 850"/>
                  <a:gd name="T10" fmla="*/ 0 w 548"/>
                  <a:gd name="T11" fmla="*/ 537 h 850"/>
                  <a:gd name="T12" fmla="*/ 5 w 548"/>
                  <a:gd name="T13" fmla="*/ 434 h 850"/>
                  <a:gd name="T14" fmla="*/ 26 w 548"/>
                  <a:gd name="T15" fmla="*/ 330 h 850"/>
                  <a:gd name="T16" fmla="*/ 59 w 548"/>
                  <a:gd name="T17" fmla="*/ 239 h 850"/>
                  <a:gd name="T18" fmla="*/ 101 w 548"/>
                  <a:gd name="T19" fmla="*/ 159 h 850"/>
                  <a:gd name="T20" fmla="*/ 151 w 548"/>
                  <a:gd name="T21" fmla="*/ 94 h 850"/>
                  <a:gd name="T22" fmla="*/ 208 w 548"/>
                  <a:gd name="T23" fmla="*/ 43 h 850"/>
                  <a:gd name="T24" fmla="*/ 268 w 548"/>
                  <a:gd name="T25" fmla="*/ 12 h 850"/>
                  <a:gd name="T26" fmla="*/ 331 w 548"/>
                  <a:gd name="T27" fmla="*/ 0 h 850"/>
                  <a:gd name="T28" fmla="*/ 379 w 548"/>
                  <a:gd name="T29" fmla="*/ 7 h 850"/>
                  <a:gd name="T30" fmla="*/ 439 w 548"/>
                  <a:gd name="T31" fmla="*/ 39 h 850"/>
                  <a:gd name="T32" fmla="*/ 487 w 548"/>
                  <a:gd name="T33" fmla="*/ 94 h 850"/>
                  <a:gd name="T34" fmla="*/ 523 w 548"/>
                  <a:gd name="T35" fmla="*/ 170 h 850"/>
                  <a:gd name="T36" fmla="*/ 542 w 548"/>
                  <a:gd name="T37" fmla="*/ 260 h 850"/>
                  <a:gd name="T38" fmla="*/ 547 w 548"/>
                  <a:gd name="T39" fmla="*/ 358 h 850"/>
                  <a:gd name="T40" fmla="*/ 536 w 548"/>
                  <a:gd name="T41" fmla="*/ 461 h 850"/>
                  <a:gd name="T42" fmla="*/ 510 w 548"/>
                  <a:gd name="T43" fmla="*/ 558 h 850"/>
                  <a:gd name="T44" fmla="*/ 473 w 548"/>
                  <a:gd name="T45" fmla="*/ 644 h 850"/>
                  <a:gd name="T46" fmla="*/ 427 w 548"/>
                  <a:gd name="T47" fmla="*/ 719 h 850"/>
                  <a:gd name="T48" fmla="*/ 374 w 548"/>
                  <a:gd name="T49" fmla="*/ 779 h 850"/>
                  <a:gd name="T50" fmla="*/ 316 w 548"/>
                  <a:gd name="T51" fmla="*/ 822 h 850"/>
                  <a:gd name="T52" fmla="*/ 254 w 548"/>
                  <a:gd name="T53" fmla="*/ 846 h 850"/>
                  <a:gd name="T54" fmla="*/ 331 w 548"/>
                  <a:gd name="T55" fmla="*/ 27 h 850"/>
                  <a:gd name="T56" fmla="*/ 273 w 548"/>
                  <a:gd name="T57" fmla="*/ 37 h 850"/>
                  <a:gd name="T58" fmla="*/ 219 w 548"/>
                  <a:gd name="T59" fmla="*/ 68 h 850"/>
                  <a:gd name="T60" fmla="*/ 168 w 548"/>
                  <a:gd name="T61" fmla="*/ 115 h 850"/>
                  <a:gd name="T62" fmla="*/ 89 w 548"/>
                  <a:gd name="T63" fmla="*/ 236 h 850"/>
                  <a:gd name="T64" fmla="*/ 38 w 548"/>
                  <a:gd name="T65" fmla="*/ 395 h 850"/>
                  <a:gd name="T66" fmla="*/ 27 w 548"/>
                  <a:gd name="T67" fmla="*/ 494 h 850"/>
                  <a:gd name="T68" fmla="*/ 32 w 548"/>
                  <a:gd name="T69" fmla="*/ 587 h 850"/>
                  <a:gd name="T70" fmla="*/ 49 w 548"/>
                  <a:gd name="T71" fmla="*/ 669 h 850"/>
                  <a:gd name="T72" fmla="*/ 80 w 548"/>
                  <a:gd name="T73" fmla="*/ 737 h 850"/>
                  <a:gd name="T74" fmla="*/ 122 w 548"/>
                  <a:gd name="T75" fmla="*/ 788 h 850"/>
                  <a:gd name="T76" fmla="*/ 175 w 548"/>
                  <a:gd name="T77" fmla="*/ 817 h 850"/>
                  <a:gd name="T78" fmla="*/ 240 w 548"/>
                  <a:gd name="T79" fmla="*/ 821 h 850"/>
                  <a:gd name="T80" fmla="*/ 296 w 548"/>
                  <a:gd name="T81" fmla="*/ 803 h 850"/>
                  <a:gd name="T82" fmla="*/ 349 w 548"/>
                  <a:gd name="T83" fmla="*/ 766 h 850"/>
                  <a:gd name="T84" fmla="*/ 408 w 548"/>
                  <a:gd name="T85" fmla="*/ 699 h 850"/>
                  <a:gd name="T86" fmla="*/ 485 w 548"/>
                  <a:gd name="T87" fmla="*/ 548 h 850"/>
                  <a:gd name="T88" fmla="*/ 515 w 548"/>
                  <a:gd name="T89" fmla="*/ 416 h 850"/>
                  <a:gd name="T90" fmla="*/ 521 w 548"/>
                  <a:gd name="T91" fmla="*/ 319 h 850"/>
                  <a:gd name="T92" fmla="*/ 510 w 548"/>
                  <a:gd name="T93" fmla="*/ 229 h 850"/>
                  <a:gd name="T94" fmla="*/ 485 w 548"/>
                  <a:gd name="T95" fmla="*/ 149 h 850"/>
                  <a:gd name="T96" fmla="*/ 449 w 548"/>
                  <a:gd name="T97" fmla="*/ 88 h 850"/>
                  <a:gd name="T98" fmla="*/ 403 w 548"/>
                  <a:gd name="T99" fmla="*/ 47 h 850"/>
                  <a:gd name="T100" fmla="*/ 346 w 548"/>
                  <a:gd name="T101" fmla="*/ 2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8" h="850">
                    <a:moveTo>
                      <a:pt x="217" y="850"/>
                    </a:moveTo>
                    <a:lnTo>
                      <a:pt x="217" y="850"/>
                    </a:lnTo>
                    <a:lnTo>
                      <a:pt x="208" y="850"/>
                    </a:lnTo>
                    <a:lnTo>
                      <a:pt x="199" y="849"/>
                    </a:lnTo>
                    <a:lnTo>
                      <a:pt x="190" y="848"/>
                    </a:lnTo>
                    <a:lnTo>
                      <a:pt x="181" y="846"/>
                    </a:lnTo>
                    <a:lnTo>
                      <a:pt x="168" y="843"/>
                    </a:lnTo>
                    <a:lnTo>
                      <a:pt x="156" y="838"/>
                    </a:lnTo>
                    <a:lnTo>
                      <a:pt x="143" y="833"/>
                    </a:lnTo>
                    <a:lnTo>
                      <a:pt x="131" y="827"/>
                    </a:lnTo>
                    <a:lnTo>
                      <a:pt x="120" y="819"/>
                    </a:lnTo>
                    <a:lnTo>
                      <a:pt x="108" y="810"/>
                    </a:lnTo>
                    <a:lnTo>
                      <a:pt x="99" y="802"/>
                    </a:lnTo>
                    <a:lnTo>
                      <a:pt x="88" y="791"/>
                    </a:lnTo>
                    <a:lnTo>
                      <a:pt x="79" y="780"/>
                    </a:lnTo>
                    <a:lnTo>
                      <a:pt x="69" y="768"/>
                    </a:lnTo>
                    <a:lnTo>
                      <a:pt x="61" y="756"/>
                    </a:lnTo>
                    <a:lnTo>
                      <a:pt x="53" y="742"/>
                    </a:lnTo>
                    <a:lnTo>
                      <a:pt x="46" y="729"/>
                    </a:lnTo>
                    <a:lnTo>
                      <a:pt x="38" y="714"/>
                    </a:lnTo>
                    <a:lnTo>
                      <a:pt x="32" y="699"/>
                    </a:lnTo>
                    <a:lnTo>
                      <a:pt x="26" y="683"/>
                    </a:lnTo>
                    <a:lnTo>
                      <a:pt x="21" y="667"/>
                    </a:lnTo>
                    <a:lnTo>
                      <a:pt x="16" y="650"/>
                    </a:lnTo>
                    <a:lnTo>
                      <a:pt x="12" y="632"/>
                    </a:lnTo>
                    <a:lnTo>
                      <a:pt x="9" y="614"/>
                    </a:lnTo>
                    <a:lnTo>
                      <a:pt x="6" y="596"/>
                    </a:lnTo>
                    <a:lnTo>
                      <a:pt x="4" y="576"/>
                    </a:lnTo>
                    <a:lnTo>
                      <a:pt x="1" y="557"/>
                    </a:lnTo>
                    <a:lnTo>
                      <a:pt x="0" y="537"/>
                    </a:lnTo>
                    <a:lnTo>
                      <a:pt x="0" y="517"/>
                    </a:lnTo>
                    <a:lnTo>
                      <a:pt x="0" y="496"/>
                    </a:lnTo>
                    <a:lnTo>
                      <a:pt x="1" y="476"/>
                    </a:lnTo>
                    <a:lnTo>
                      <a:pt x="2" y="454"/>
                    </a:lnTo>
                    <a:lnTo>
                      <a:pt x="5" y="434"/>
                    </a:lnTo>
                    <a:lnTo>
                      <a:pt x="8" y="412"/>
                    </a:lnTo>
                    <a:lnTo>
                      <a:pt x="12" y="390"/>
                    </a:lnTo>
                    <a:lnTo>
                      <a:pt x="16" y="369"/>
                    </a:lnTo>
                    <a:lnTo>
                      <a:pt x="21" y="349"/>
                    </a:lnTo>
                    <a:lnTo>
                      <a:pt x="26" y="330"/>
                    </a:lnTo>
                    <a:lnTo>
                      <a:pt x="32" y="311"/>
                    </a:lnTo>
                    <a:lnTo>
                      <a:pt x="37" y="292"/>
                    </a:lnTo>
                    <a:lnTo>
                      <a:pt x="43" y="274"/>
                    </a:lnTo>
                    <a:lnTo>
                      <a:pt x="51" y="257"/>
                    </a:lnTo>
                    <a:lnTo>
                      <a:pt x="59" y="239"/>
                    </a:lnTo>
                    <a:lnTo>
                      <a:pt x="66" y="222"/>
                    </a:lnTo>
                    <a:lnTo>
                      <a:pt x="74" y="206"/>
                    </a:lnTo>
                    <a:lnTo>
                      <a:pt x="82" y="190"/>
                    </a:lnTo>
                    <a:lnTo>
                      <a:pt x="92" y="175"/>
                    </a:lnTo>
                    <a:lnTo>
                      <a:pt x="101" y="159"/>
                    </a:lnTo>
                    <a:lnTo>
                      <a:pt x="110" y="145"/>
                    </a:lnTo>
                    <a:lnTo>
                      <a:pt x="120" y="131"/>
                    </a:lnTo>
                    <a:lnTo>
                      <a:pt x="130" y="118"/>
                    </a:lnTo>
                    <a:lnTo>
                      <a:pt x="141" y="105"/>
                    </a:lnTo>
                    <a:lnTo>
                      <a:pt x="151" y="94"/>
                    </a:lnTo>
                    <a:lnTo>
                      <a:pt x="162" y="82"/>
                    </a:lnTo>
                    <a:lnTo>
                      <a:pt x="173" y="71"/>
                    </a:lnTo>
                    <a:lnTo>
                      <a:pt x="185" y="61"/>
                    </a:lnTo>
                    <a:lnTo>
                      <a:pt x="196" y="52"/>
                    </a:lnTo>
                    <a:lnTo>
                      <a:pt x="208" y="43"/>
                    </a:lnTo>
                    <a:lnTo>
                      <a:pt x="219" y="35"/>
                    </a:lnTo>
                    <a:lnTo>
                      <a:pt x="231" y="28"/>
                    </a:lnTo>
                    <a:lnTo>
                      <a:pt x="243" y="21"/>
                    </a:lnTo>
                    <a:lnTo>
                      <a:pt x="256" y="16"/>
                    </a:lnTo>
                    <a:lnTo>
                      <a:pt x="268" y="12"/>
                    </a:lnTo>
                    <a:lnTo>
                      <a:pt x="281" y="7"/>
                    </a:lnTo>
                    <a:lnTo>
                      <a:pt x="293" y="4"/>
                    </a:lnTo>
                    <a:lnTo>
                      <a:pt x="306" y="2"/>
                    </a:lnTo>
                    <a:lnTo>
                      <a:pt x="318" y="1"/>
                    </a:lnTo>
                    <a:lnTo>
                      <a:pt x="331" y="0"/>
                    </a:lnTo>
                    <a:lnTo>
                      <a:pt x="339" y="0"/>
                    </a:lnTo>
                    <a:lnTo>
                      <a:pt x="348" y="1"/>
                    </a:lnTo>
                    <a:lnTo>
                      <a:pt x="358" y="2"/>
                    </a:lnTo>
                    <a:lnTo>
                      <a:pt x="366" y="4"/>
                    </a:lnTo>
                    <a:lnTo>
                      <a:pt x="379" y="7"/>
                    </a:lnTo>
                    <a:lnTo>
                      <a:pt x="392" y="12"/>
                    </a:lnTo>
                    <a:lnTo>
                      <a:pt x="404" y="17"/>
                    </a:lnTo>
                    <a:lnTo>
                      <a:pt x="416" y="23"/>
                    </a:lnTo>
                    <a:lnTo>
                      <a:pt x="427" y="31"/>
                    </a:lnTo>
                    <a:lnTo>
                      <a:pt x="439" y="39"/>
                    </a:lnTo>
                    <a:lnTo>
                      <a:pt x="449" y="48"/>
                    </a:lnTo>
                    <a:lnTo>
                      <a:pt x="459" y="58"/>
                    </a:lnTo>
                    <a:lnTo>
                      <a:pt x="469" y="69"/>
                    </a:lnTo>
                    <a:lnTo>
                      <a:pt x="478" y="81"/>
                    </a:lnTo>
                    <a:lnTo>
                      <a:pt x="487" y="94"/>
                    </a:lnTo>
                    <a:lnTo>
                      <a:pt x="495" y="108"/>
                    </a:lnTo>
                    <a:lnTo>
                      <a:pt x="502" y="122"/>
                    </a:lnTo>
                    <a:lnTo>
                      <a:pt x="510" y="137"/>
                    </a:lnTo>
                    <a:lnTo>
                      <a:pt x="516" y="153"/>
                    </a:lnTo>
                    <a:lnTo>
                      <a:pt x="523" y="170"/>
                    </a:lnTo>
                    <a:lnTo>
                      <a:pt x="528" y="188"/>
                    </a:lnTo>
                    <a:lnTo>
                      <a:pt x="533" y="205"/>
                    </a:lnTo>
                    <a:lnTo>
                      <a:pt x="537" y="222"/>
                    </a:lnTo>
                    <a:lnTo>
                      <a:pt x="540" y="240"/>
                    </a:lnTo>
                    <a:lnTo>
                      <a:pt x="542" y="260"/>
                    </a:lnTo>
                    <a:lnTo>
                      <a:pt x="544" y="278"/>
                    </a:lnTo>
                    <a:lnTo>
                      <a:pt x="547" y="298"/>
                    </a:lnTo>
                    <a:lnTo>
                      <a:pt x="548" y="318"/>
                    </a:lnTo>
                    <a:lnTo>
                      <a:pt x="548" y="338"/>
                    </a:lnTo>
                    <a:lnTo>
                      <a:pt x="547" y="358"/>
                    </a:lnTo>
                    <a:lnTo>
                      <a:pt x="546" y="379"/>
                    </a:lnTo>
                    <a:lnTo>
                      <a:pt x="544" y="399"/>
                    </a:lnTo>
                    <a:lnTo>
                      <a:pt x="542" y="420"/>
                    </a:lnTo>
                    <a:lnTo>
                      <a:pt x="539" y="440"/>
                    </a:lnTo>
                    <a:lnTo>
                      <a:pt x="536" y="461"/>
                    </a:lnTo>
                    <a:lnTo>
                      <a:pt x="532" y="481"/>
                    </a:lnTo>
                    <a:lnTo>
                      <a:pt x="526" y="502"/>
                    </a:lnTo>
                    <a:lnTo>
                      <a:pt x="522" y="520"/>
                    </a:lnTo>
                    <a:lnTo>
                      <a:pt x="516" y="539"/>
                    </a:lnTo>
                    <a:lnTo>
                      <a:pt x="510" y="558"/>
                    </a:lnTo>
                    <a:lnTo>
                      <a:pt x="503" y="576"/>
                    </a:lnTo>
                    <a:lnTo>
                      <a:pt x="496" y="593"/>
                    </a:lnTo>
                    <a:lnTo>
                      <a:pt x="489" y="611"/>
                    </a:lnTo>
                    <a:lnTo>
                      <a:pt x="481" y="628"/>
                    </a:lnTo>
                    <a:lnTo>
                      <a:pt x="473" y="644"/>
                    </a:lnTo>
                    <a:lnTo>
                      <a:pt x="465" y="660"/>
                    </a:lnTo>
                    <a:lnTo>
                      <a:pt x="456" y="675"/>
                    </a:lnTo>
                    <a:lnTo>
                      <a:pt x="446" y="691"/>
                    </a:lnTo>
                    <a:lnTo>
                      <a:pt x="437" y="705"/>
                    </a:lnTo>
                    <a:lnTo>
                      <a:pt x="427" y="719"/>
                    </a:lnTo>
                    <a:lnTo>
                      <a:pt x="417" y="733"/>
                    </a:lnTo>
                    <a:lnTo>
                      <a:pt x="406" y="745"/>
                    </a:lnTo>
                    <a:lnTo>
                      <a:pt x="395" y="756"/>
                    </a:lnTo>
                    <a:lnTo>
                      <a:pt x="385" y="768"/>
                    </a:lnTo>
                    <a:lnTo>
                      <a:pt x="374" y="779"/>
                    </a:lnTo>
                    <a:lnTo>
                      <a:pt x="363" y="789"/>
                    </a:lnTo>
                    <a:lnTo>
                      <a:pt x="351" y="799"/>
                    </a:lnTo>
                    <a:lnTo>
                      <a:pt x="339" y="807"/>
                    </a:lnTo>
                    <a:lnTo>
                      <a:pt x="327" y="815"/>
                    </a:lnTo>
                    <a:lnTo>
                      <a:pt x="316" y="822"/>
                    </a:lnTo>
                    <a:lnTo>
                      <a:pt x="304" y="829"/>
                    </a:lnTo>
                    <a:lnTo>
                      <a:pt x="292" y="834"/>
                    </a:lnTo>
                    <a:lnTo>
                      <a:pt x="279" y="840"/>
                    </a:lnTo>
                    <a:lnTo>
                      <a:pt x="267" y="843"/>
                    </a:lnTo>
                    <a:lnTo>
                      <a:pt x="254" y="846"/>
                    </a:lnTo>
                    <a:lnTo>
                      <a:pt x="242" y="848"/>
                    </a:lnTo>
                    <a:lnTo>
                      <a:pt x="229" y="850"/>
                    </a:lnTo>
                    <a:lnTo>
                      <a:pt x="217" y="850"/>
                    </a:lnTo>
                    <a:close/>
                    <a:moveTo>
                      <a:pt x="331" y="27"/>
                    </a:moveTo>
                    <a:lnTo>
                      <a:pt x="331" y="27"/>
                    </a:lnTo>
                    <a:lnTo>
                      <a:pt x="319" y="28"/>
                    </a:lnTo>
                    <a:lnTo>
                      <a:pt x="308" y="29"/>
                    </a:lnTo>
                    <a:lnTo>
                      <a:pt x="296" y="31"/>
                    </a:lnTo>
                    <a:lnTo>
                      <a:pt x="285" y="34"/>
                    </a:lnTo>
                    <a:lnTo>
                      <a:pt x="273" y="37"/>
                    </a:lnTo>
                    <a:lnTo>
                      <a:pt x="263" y="42"/>
                    </a:lnTo>
                    <a:lnTo>
                      <a:pt x="252" y="47"/>
                    </a:lnTo>
                    <a:lnTo>
                      <a:pt x="241" y="54"/>
                    </a:lnTo>
                    <a:lnTo>
                      <a:pt x="230" y="60"/>
                    </a:lnTo>
                    <a:lnTo>
                      <a:pt x="219" y="68"/>
                    </a:lnTo>
                    <a:lnTo>
                      <a:pt x="209" y="75"/>
                    </a:lnTo>
                    <a:lnTo>
                      <a:pt x="198" y="85"/>
                    </a:lnTo>
                    <a:lnTo>
                      <a:pt x="187" y="94"/>
                    </a:lnTo>
                    <a:lnTo>
                      <a:pt x="177" y="104"/>
                    </a:lnTo>
                    <a:lnTo>
                      <a:pt x="168" y="115"/>
                    </a:lnTo>
                    <a:lnTo>
                      <a:pt x="158" y="126"/>
                    </a:lnTo>
                    <a:lnTo>
                      <a:pt x="138" y="151"/>
                    </a:lnTo>
                    <a:lnTo>
                      <a:pt x="121" y="178"/>
                    </a:lnTo>
                    <a:lnTo>
                      <a:pt x="104" y="206"/>
                    </a:lnTo>
                    <a:lnTo>
                      <a:pt x="89" y="236"/>
                    </a:lnTo>
                    <a:lnTo>
                      <a:pt x="75" y="268"/>
                    </a:lnTo>
                    <a:lnTo>
                      <a:pt x="63" y="303"/>
                    </a:lnTo>
                    <a:lnTo>
                      <a:pt x="52" y="338"/>
                    </a:lnTo>
                    <a:lnTo>
                      <a:pt x="42" y="374"/>
                    </a:lnTo>
                    <a:lnTo>
                      <a:pt x="38" y="395"/>
                    </a:lnTo>
                    <a:lnTo>
                      <a:pt x="35" y="415"/>
                    </a:lnTo>
                    <a:lnTo>
                      <a:pt x="32" y="435"/>
                    </a:lnTo>
                    <a:lnTo>
                      <a:pt x="29" y="455"/>
                    </a:lnTo>
                    <a:lnTo>
                      <a:pt x="28" y="475"/>
                    </a:lnTo>
                    <a:lnTo>
                      <a:pt x="27" y="494"/>
                    </a:lnTo>
                    <a:lnTo>
                      <a:pt x="27" y="514"/>
                    </a:lnTo>
                    <a:lnTo>
                      <a:pt x="27" y="532"/>
                    </a:lnTo>
                    <a:lnTo>
                      <a:pt x="27" y="550"/>
                    </a:lnTo>
                    <a:lnTo>
                      <a:pt x="29" y="569"/>
                    </a:lnTo>
                    <a:lnTo>
                      <a:pt x="32" y="587"/>
                    </a:lnTo>
                    <a:lnTo>
                      <a:pt x="34" y="604"/>
                    </a:lnTo>
                    <a:lnTo>
                      <a:pt x="37" y="620"/>
                    </a:lnTo>
                    <a:lnTo>
                      <a:pt x="40" y="637"/>
                    </a:lnTo>
                    <a:lnTo>
                      <a:pt x="45" y="653"/>
                    </a:lnTo>
                    <a:lnTo>
                      <a:pt x="49" y="669"/>
                    </a:lnTo>
                    <a:lnTo>
                      <a:pt x="54" y="683"/>
                    </a:lnTo>
                    <a:lnTo>
                      <a:pt x="60" y="697"/>
                    </a:lnTo>
                    <a:lnTo>
                      <a:pt x="66" y="711"/>
                    </a:lnTo>
                    <a:lnTo>
                      <a:pt x="73" y="724"/>
                    </a:lnTo>
                    <a:lnTo>
                      <a:pt x="80" y="737"/>
                    </a:lnTo>
                    <a:lnTo>
                      <a:pt x="88" y="748"/>
                    </a:lnTo>
                    <a:lnTo>
                      <a:pt x="95" y="760"/>
                    </a:lnTo>
                    <a:lnTo>
                      <a:pt x="104" y="769"/>
                    </a:lnTo>
                    <a:lnTo>
                      <a:pt x="113" y="779"/>
                    </a:lnTo>
                    <a:lnTo>
                      <a:pt x="122" y="788"/>
                    </a:lnTo>
                    <a:lnTo>
                      <a:pt x="132" y="795"/>
                    </a:lnTo>
                    <a:lnTo>
                      <a:pt x="142" y="802"/>
                    </a:lnTo>
                    <a:lnTo>
                      <a:pt x="153" y="808"/>
                    </a:lnTo>
                    <a:lnTo>
                      <a:pt x="163" y="813"/>
                    </a:lnTo>
                    <a:lnTo>
                      <a:pt x="175" y="817"/>
                    </a:lnTo>
                    <a:lnTo>
                      <a:pt x="187" y="820"/>
                    </a:lnTo>
                    <a:lnTo>
                      <a:pt x="202" y="822"/>
                    </a:lnTo>
                    <a:lnTo>
                      <a:pt x="217" y="823"/>
                    </a:lnTo>
                    <a:lnTo>
                      <a:pt x="228" y="823"/>
                    </a:lnTo>
                    <a:lnTo>
                      <a:pt x="240" y="821"/>
                    </a:lnTo>
                    <a:lnTo>
                      <a:pt x="251" y="819"/>
                    </a:lnTo>
                    <a:lnTo>
                      <a:pt x="262" y="817"/>
                    </a:lnTo>
                    <a:lnTo>
                      <a:pt x="273" y="813"/>
                    </a:lnTo>
                    <a:lnTo>
                      <a:pt x="284" y="808"/>
                    </a:lnTo>
                    <a:lnTo>
                      <a:pt x="296" y="803"/>
                    </a:lnTo>
                    <a:lnTo>
                      <a:pt x="307" y="797"/>
                    </a:lnTo>
                    <a:lnTo>
                      <a:pt x="318" y="790"/>
                    </a:lnTo>
                    <a:lnTo>
                      <a:pt x="329" y="782"/>
                    </a:lnTo>
                    <a:lnTo>
                      <a:pt x="339" y="775"/>
                    </a:lnTo>
                    <a:lnTo>
                      <a:pt x="349" y="766"/>
                    </a:lnTo>
                    <a:lnTo>
                      <a:pt x="360" y="756"/>
                    </a:lnTo>
                    <a:lnTo>
                      <a:pt x="370" y="746"/>
                    </a:lnTo>
                    <a:lnTo>
                      <a:pt x="380" y="735"/>
                    </a:lnTo>
                    <a:lnTo>
                      <a:pt x="390" y="724"/>
                    </a:lnTo>
                    <a:lnTo>
                      <a:pt x="408" y="699"/>
                    </a:lnTo>
                    <a:lnTo>
                      <a:pt x="427" y="673"/>
                    </a:lnTo>
                    <a:lnTo>
                      <a:pt x="443" y="644"/>
                    </a:lnTo>
                    <a:lnTo>
                      <a:pt x="458" y="614"/>
                    </a:lnTo>
                    <a:lnTo>
                      <a:pt x="472" y="582"/>
                    </a:lnTo>
                    <a:lnTo>
                      <a:pt x="485" y="548"/>
                    </a:lnTo>
                    <a:lnTo>
                      <a:pt x="496" y="512"/>
                    </a:lnTo>
                    <a:lnTo>
                      <a:pt x="505" y="476"/>
                    </a:lnTo>
                    <a:lnTo>
                      <a:pt x="509" y="456"/>
                    </a:lnTo>
                    <a:lnTo>
                      <a:pt x="512" y="436"/>
                    </a:lnTo>
                    <a:lnTo>
                      <a:pt x="515" y="416"/>
                    </a:lnTo>
                    <a:lnTo>
                      <a:pt x="517" y="396"/>
                    </a:lnTo>
                    <a:lnTo>
                      <a:pt x="519" y="376"/>
                    </a:lnTo>
                    <a:lnTo>
                      <a:pt x="520" y="357"/>
                    </a:lnTo>
                    <a:lnTo>
                      <a:pt x="521" y="339"/>
                    </a:lnTo>
                    <a:lnTo>
                      <a:pt x="521" y="319"/>
                    </a:lnTo>
                    <a:lnTo>
                      <a:pt x="520" y="301"/>
                    </a:lnTo>
                    <a:lnTo>
                      <a:pt x="519" y="281"/>
                    </a:lnTo>
                    <a:lnTo>
                      <a:pt x="516" y="264"/>
                    </a:lnTo>
                    <a:lnTo>
                      <a:pt x="513" y="246"/>
                    </a:lnTo>
                    <a:lnTo>
                      <a:pt x="510" y="229"/>
                    </a:lnTo>
                    <a:lnTo>
                      <a:pt x="507" y="211"/>
                    </a:lnTo>
                    <a:lnTo>
                      <a:pt x="502" y="195"/>
                    </a:lnTo>
                    <a:lnTo>
                      <a:pt x="497" y="179"/>
                    </a:lnTo>
                    <a:lnTo>
                      <a:pt x="492" y="164"/>
                    </a:lnTo>
                    <a:lnTo>
                      <a:pt x="485" y="149"/>
                    </a:lnTo>
                    <a:lnTo>
                      <a:pt x="480" y="136"/>
                    </a:lnTo>
                    <a:lnTo>
                      <a:pt x="472" y="123"/>
                    </a:lnTo>
                    <a:lnTo>
                      <a:pt x="466" y="111"/>
                    </a:lnTo>
                    <a:lnTo>
                      <a:pt x="457" y="99"/>
                    </a:lnTo>
                    <a:lnTo>
                      <a:pt x="449" y="88"/>
                    </a:lnTo>
                    <a:lnTo>
                      <a:pt x="441" y="78"/>
                    </a:lnTo>
                    <a:lnTo>
                      <a:pt x="432" y="70"/>
                    </a:lnTo>
                    <a:lnTo>
                      <a:pt x="422" y="61"/>
                    </a:lnTo>
                    <a:lnTo>
                      <a:pt x="413" y="54"/>
                    </a:lnTo>
                    <a:lnTo>
                      <a:pt x="403" y="47"/>
                    </a:lnTo>
                    <a:lnTo>
                      <a:pt x="393" y="42"/>
                    </a:lnTo>
                    <a:lnTo>
                      <a:pt x="383" y="37"/>
                    </a:lnTo>
                    <a:lnTo>
                      <a:pt x="372" y="33"/>
                    </a:lnTo>
                    <a:lnTo>
                      <a:pt x="360" y="30"/>
                    </a:lnTo>
                    <a:lnTo>
                      <a:pt x="346" y="28"/>
                    </a:lnTo>
                    <a:lnTo>
                      <a:pt x="33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72"/>
              <p:cNvSpPr>
                <a:spLocks/>
              </p:cNvSpPr>
              <p:nvPr userDrawn="1"/>
            </p:nvSpPr>
            <p:spPr bwMode="auto">
              <a:xfrm>
                <a:off x="2366" y="1749"/>
                <a:ext cx="74" cy="107"/>
              </a:xfrm>
              <a:custGeom>
                <a:avLst/>
                <a:gdLst>
                  <a:gd name="T0" fmla="*/ 111 w 222"/>
                  <a:gd name="T1" fmla="*/ 319 h 319"/>
                  <a:gd name="T2" fmla="*/ 85 w 222"/>
                  <a:gd name="T3" fmla="*/ 313 h 319"/>
                  <a:gd name="T4" fmla="*/ 68 w 222"/>
                  <a:gd name="T5" fmla="*/ 308 h 319"/>
                  <a:gd name="T6" fmla="*/ 51 w 222"/>
                  <a:gd name="T7" fmla="*/ 300 h 319"/>
                  <a:gd name="T8" fmla="*/ 37 w 222"/>
                  <a:gd name="T9" fmla="*/ 290 h 319"/>
                  <a:gd name="T10" fmla="*/ 24 w 222"/>
                  <a:gd name="T11" fmla="*/ 277 h 319"/>
                  <a:gd name="T12" fmla="*/ 14 w 222"/>
                  <a:gd name="T13" fmla="*/ 259 h 319"/>
                  <a:gd name="T14" fmla="*/ 6 w 222"/>
                  <a:gd name="T15" fmla="*/ 240 h 319"/>
                  <a:gd name="T16" fmla="*/ 2 w 222"/>
                  <a:gd name="T17" fmla="*/ 220 h 319"/>
                  <a:gd name="T18" fmla="*/ 0 w 222"/>
                  <a:gd name="T19" fmla="*/ 200 h 319"/>
                  <a:gd name="T20" fmla="*/ 0 w 222"/>
                  <a:gd name="T21" fmla="*/ 178 h 319"/>
                  <a:gd name="T22" fmla="*/ 4 w 222"/>
                  <a:gd name="T23" fmla="*/ 148 h 319"/>
                  <a:gd name="T24" fmla="*/ 16 w 222"/>
                  <a:gd name="T25" fmla="*/ 109 h 319"/>
                  <a:gd name="T26" fmla="*/ 30 w 222"/>
                  <a:gd name="T27" fmla="*/ 74 h 319"/>
                  <a:gd name="T28" fmla="*/ 46 w 222"/>
                  <a:gd name="T29" fmla="*/ 43 h 319"/>
                  <a:gd name="T30" fmla="*/ 64 w 222"/>
                  <a:gd name="T31" fmla="*/ 13 h 319"/>
                  <a:gd name="T32" fmla="*/ 74 w 222"/>
                  <a:gd name="T33" fmla="*/ 1 h 319"/>
                  <a:gd name="T34" fmla="*/ 84 w 222"/>
                  <a:gd name="T35" fmla="*/ 0 h 319"/>
                  <a:gd name="T36" fmla="*/ 92 w 222"/>
                  <a:gd name="T37" fmla="*/ 7 h 319"/>
                  <a:gd name="T38" fmla="*/ 95 w 222"/>
                  <a:gd name="T39" fmla="*/ 16 h 319"/>
                  <a:gd name="T40" fmla="*/ 88 w 222"/>
                  <a:gd name="T41" fmla="*/ 27 h 319"/>
                  <a:gd name="T42" fmla="*/ 63 w 222"/>
                  <a:gd name="T43" fmla="*/ 67 h 319"/>
                  <a:gd name="T44" fmla="*/ 43 w 222"/>
                  <a:gd name="T45" fmla="*/ 114 h 319"/>
                  <a:gd name="T46" fmla="*/ 32 w 222"/>
                  <a:gd name="T47" fmla="*/ 149 h 319"/>
                  <a:gd name="T48" fmla="*/ 27 w 222"/>
                  <a:gd name="T49" fmla="*/ 186 h 319"/>
                  <a:gd name="T50" fmla="*/ 28 w 222"/>
                  <a:gd name="T51" fmla="*/ 214 h 319"/>
                  <a:gd name="T52" fmla="*/ 32 w 222"/>
                  <a:gd name="T53" fmla="*/ 231 h 319"/>
                  <a:gd name="T54" fmla="*/ 38 w 222"/>
                  <a:gd name="T55" fmla="*/ 247 h 319"/>
                  <a:gd name="T56" fmla="*/ 47 w 222"/>
                  <a:gd name="T57" fmla="*/ 260 h 319"/>
                  <a:gd name="T58" fmla="*/ 57 w 222"/>
                  <a:gd name="T59" fmla="*/ 271 h 319"/>
                  <a:gd name="T60" fmla="*/ 69 w 222"/>
                  <a:gd name="T61" fmla="*/ 279 h 319"/>
                  <a:gd name="T62" fmla="*/ 89 w 222"/>
                  <a:gd name="T63" fmla="*/ 287 h 319"/>
                  <a:gd name="T64" fmla="*/ 117 w 222"/>
                  <a:gd name="T65" fmla="*/ 292 h 319"/>
                  <a:gd name="T66" fmla="*/ 145 w 222"/>
                  <a:gd name="T67" fmla="*/ 291 h 319"/>
                  <a:gd name="T68" fmla="*/ 171 w 222"/>
                  <a:gd name="T69" fmla="*/ 287 h 319"/>
                  <a:gd name="T70" fmla="*/ 197 w 222"/>
                  <a:gd name="T71" fmla="*/ 281 h 319"/>
                  <a:gd name="T72" fmla="*/ 209 w 222"/>
                  <a:gd name="T73" fmla="*/ 279 h 319"/>
                  <a:gd name="T74" fmla="*/ 218 w 222"/>
                  <a:gd name="T75" fmla="*/ 283 h 319"/>
                  <a:gd name="T76" fmla="*/ 222 w 222"/>
                  <a:gd name="T77" fmla="*/ 293 h 319"/>
                  <a:gd name="T78" fmla="*/ 218 w 222"/>
                  <a:gd name="T79" fmla="*/ 301 h 319"/>
                  <a:gd name="T80" fmla="*/ 195 w 222"/>
                  <a:gd name="T81" fmla="*/ 310 h 319"/>
                  <a:gd name="T82" fmla="*/ 153 w 222"/>
                  <a:gd name="T83" fmla="*/ 31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2" h="319">
                    <a:moveTo>
                      <a:pt x="129" y="319"/>
                    </a:moveTo>
                    <a:lnTo>
                      <a:pt x="111" y="319"/>
                    </a:lnTo>
                    <a:lnTo>
                      <a:pt x="93" y="315"/>
                    </a:lnTo>
                    <a:lnTo>
                      <a:pt x="85" y="313"/>
                    </a:lnTo>
                    <a:lnTo>
                      <a:pt x="76" y="311"/>
                    </a:lnTo>
                    <a:lnTo>
                      <a:pt x="68" y="308"/>
                    </a:lnTo>
                    <a:lnTo>
                      <a:pt x="59" y="305"/>
                    </a:lnTo>
                    <a:lnTo>
                      <a:pt x="51" y="300"/>
                    </a:lnTo>
                    <a:lnTo>
                      <a:pt x="44" y="295"/>
                    </a:lnTo>
                    <a:lnTo>
                      <a:pt x="37" y="290"/>
                    </a:lnTo>
                    <a:lnTo>
                      <a:pt x="31" y="283"/>
                    </a:lnTo>
                    <a:lnTo>
                      <a:pt x="24" y="277"/>
                    </a:lnTo>
                    <a:lnTo>
                      <a:pt x="19" y="268"/>
                    </a:lnTo>
                    <a:lnTo>
                      <a:pt x="14" y="259"/>
                    </a:lnTo>
                    <a:lnTo>
                      <a:pt x="9" y="250"/>
                    </a:lnTo>
                    <a:lnTo>
                      <a:pt x="6" y="240"/>
                    </a:lnTo>
                    <a:lnTo>
                      <a:pt x="3" y="230"/>
                    </a:lnTo>
                    <a:lnTo>
                      <a:pt x="2" y="220"/>
                    </a:lnTo>
                    <a:lnTo>
                      <a:pt x="0" y="210"/>
                    </a:lnTo>
                    <a:lnTo>
                      <a:pt x="0" y="200"/>
                    </a:lnTo>
                    <a:lnTo>
                      <a:pt x="0" y="189"/>
                    </a:lnTo>
                    <a:lnTo>
                      <a:pt x="0" y="178"/>
                    </a:lnTo>
                    <a:lnTo>
                      <a:pt x="1" y="169"/>
                    </a:lnTo>
                    <a:lnTo>
                      <a:pt x="4" y="148"/>
                    </a:lnTo>
                    <a:lnTo>
                      <a:pt x="9" y="128"/>
                    </a:lnTo>
                    <a:lnTo>
                      <a:pt x="16" y="109"/>
                    </a:lnTo>
                    <a:lnTo>
                      <a:pt x="22" y="91"/>
                    </a:lnTo>
                    <a:lnTo>
                      <a:pt x="30" y="74"/>
                    </a:lnTo>
                    <a:lnTo>
                      <a:pt x="38" y="57"/>
                    </a:lnTo>
                    <a:lnTo>
                      <a:pt x="46" y="43"/>
                    </a:lnTo>
                    <a:lnTo>
                      <a:pt x="52" y="32"/>
                    </a:lnTo>
                    <a:lnTo>
                      <a:pt x="64" y="13"/>
                    </a:lnTo>
                    <a:lnTo>
                      <a:pt x="70" y="5"/>
                    </a:lnTo>
                    <a:lnTo>
                      <a:pt x="74" y="1"/>
                    </a:lnTo>
                    <a:lnTo>
                      <a:pt x="79" y="0"/>
                    </a:lnTo>
                    <a:lnTo>
                      <a:pt x="84" y="0"/>
                    </a:lnTo>
                    <a:lnTo>
                      <a:pt x="89" y="2"/>
                    </a:lnTo>
                    <a:lnTo>
                      <a:pt x="92" y="7"/>
                    </a:lnTo>
                    <a:lnTo>
                      <a:pt x="95" y="11"/>
                    </a:lnTo>
                    <a:lnTo>
                      <a:pt x="95" y="16"/>
                    </a:lnTo>
                    <a:lnTo>
                      <a:pt x="92" y="21"/>
                    </a:lnTo>
                    <a:lnTo>
                      <a:pt x="88" y="27"/>
                    </a:lnTo>
                    <a:lnTo>
                      <a:pt x="77" y="43"/>
                    </a:lnTo>
                    <a:lnTo>
                      <a:pt x="63" y="67"/>
                    </a:lnTo>
                    <a:lnTo>
                      <a:pt x="49" y="97"/>
                    </a:lnTo>
                    <a:lnTo>
                      <a:pt x="43" y="114"/>
                    </a:lnTo>
                    <a:lnTo>
                      <a:pt x="36" y="131"/>
                    </a:lnTo>
                    <a:lnTo>
                      <a:pt x="32" y="149"/>
                    </a:lnTo>
                    <a:lnTo>
                      <a:pt x="28" y="168"/>
                    </a:lnTo>
                    <a:lnTo>
                      <a:pt x="27" y="186"/>
                    </a:lnTo>
                    <a:lnTo>
                      <a:pt x="27" y="204"/>
                    </a:lnTo>
                    <a:lnTo>
                      <a:pt x="28" y="214"/>
                    </a:lnTo>
                    <a:lnTo>
                      <a:pt x="30" y="223"/>
                    </a:lnTo>
                    <a:lnTo>
                      <a:pt x="32" y="231"/>
                    </a:lnTo>
                    <a:lnTo>
                      <a:pt x="35" y="240"/>
                    </a:lnTo>
                    <a:lnTo>
                      <a:pt x="38" y="247"/>
                    </a:lnTo>
                    <a:lnTo>
                      <a:pt x="43" y="255"/>
                    </a:lnTo>
                    <a:lnTo>
                      <a:pt x="47" y="260"/>
                    </a:lnTo>
                    <a:lnTo>
                      <a:pt x="51" y="266"/>
                    </a:lnTo>
                    <a:lnTo>
                      <a:pt x="57" y="271"/>
                    </a:lnTo>
                    <a:lnTo>
                      <a:pt x="63" y="275"/>
                    </a:lnTo>
                    <a:lnTo>
                      <a:pt x="69" y="279"/>
                    </a:lnTo>
                    <a:lnTo>
                      <a:pt x="75" y="282"/>
                    </a:lnTo>
                    <a:lnTo>
                      <a:pt x="89" y="287"/>
                    </a:lnTo>
                    <a:lnTo>
                      <a:pt x="103" y="291"/>
                    </a:lnTo>
                    <a:lnTo>
                      <a:pt x="117" y="292"/>
                    </a:lnTo>
                    <a:lnTo>
                      <a:pt x="131" y="292"/>
                    </a:lnTo>
                    <a:lnTo>
                      <a:pt x="145" y="291"/>
                    </a:lnTo>
                    <a:lnTo>
                      <a:pt x="158" y="290"/>
                    </a:lnTo>
                    <a:lnTo>
                      <a:pt x="171" y="287"/>
                    </a:lnTo>
                    <a:lnTo>
                      <a:pt x="182" y="285"/>
                    </a:lnTo>
                    <a:lnTo>
                      <a:pt x="197" y="281"/>
                    </a:lnTo>
                    <a:lnTo>
                      <a:pt x="204" y="279"/>
                    </a:lnTo>
                    <a:lnTo>
                      <a:pt x="209" y="279"/>
                    </a:lnTo>
                    <a:lnTo>
                      <a:pt x="214" y="280"/>
                    </a:lnTo>
                    <a:lnTo>
                      <a:pt x="218" y="283"/>
                    </a:lnTo>
                    <a:lnTo>
                      <a:pt x="221" y="287"/>
                    </a:lnTo>
                    <a:lnTo>
                      <a:pt x="222" y="293"/>
                    </a:lnTo>
                    <a:lnTo>
                      <a:pt x="221" y="298"/>
                    </a:lnTo>
                    <a:lnTo>
                      <a:pt x="218" y="301"/>
                    </a:lnTo>
                    <a:lnTo>
                      <a:pt x="212" y="305"/>
                    </a:lnTo>
                    <a:lnTo>
                      <a:pt x="195" y="310"/>
                    </a:lnTo>
                    <a:lnTo>
                      <a:pt x="174" y="314"/>
                    </a:lnTo>
                    <a:lnTo>
                      <a:pt x="153" y="318"/>
                    </a:lnTo>
                    <a:lnTo>
                      <a:pt x="129"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3"/>
              <p:cNvSpPr>
                <a:spLocks/>
              </p:cNvSpPr>
              <p:nvPr userDrawn="1"/>
            </p:nvSpPr>
            <p:spPr bwMode="auto">
              <a:xfrm>
                <a:off x="2453" y="1753"/>
                <a:ext cx="53" cy="71"/>
              </a:xfrm>
              <a:custGeom>
                <a:avLst/>
                <a:gdLst>
                  <a:gd name="T0" fmla="*/ 13 w 159"/>
                  <a:gd name="T1" fmla="*/ 214 h 214"/>
                  <a:gd name="T2" fmla="*/ 8 w 159"/>
                  <a:gd name="T3" fmla="*/ 214 h 214"/>
                  <a:gd name="T4" fmla="*/ 5 w 159"/>
                  <a:gd name="T5" fmla="*/ 211 h 214"/>
                  <a:gd name="T6" fmla="*/ 1 w 159"/>
                  <a:gd name="T7" fmla="*/ 207 h 214"/>
                  <a:gd name="T8" fmla="*/ 0 w 159"/>
                  <a:gd name="T9" fmla="*/ 203 h 214"/>
                  <a:gd name="T10" fmla="*/ 0 w 159"/>
                  <a:gd name="T11" fmla="*/ 197 h 214"/>
                  <a:gd name="T12" fmla="*/ 2 w 159"/>
                  <a:gd name="T13" fmla="*/ 193 h 214"/>
                  <a:gd name="T14" fmla="*/ 135 w 159"/>
                  <a:gd name="T15" fmla="*/ 6 h 214"/>
                  <a:gd name="T16" fmla="*/ 138 w 159"/>
                  <a:gd name="T17" fmla="*/ 2 h 214"/>
                  <a:gd name="T18" fmla="*/ 143 w 159"/>
                  <a:gd name="T19" fmla="*/ 0 h 214"/>
                  <a:gd name="T20" fmla="*/ 149 w 159"/>
                  <a:gd name="T21" fmla="*/ 1 h 214"/>
                  <a:gd name="T22" fmla="*/ 153 w 159"/>
                  <a:gd name="T23" fmla="*/ 3 h 214"/>
                  <a:gd name="T24" fmla="*/ 156 w 159"/>
                  <a:gd name="T25" fmla="*/ 6 h 214"/>
                  <a:gd name="T26" fmla="*/ 159 w 159"/>
                  <a:gd name="T27" fmla="*/ 12 h 214"/>
                  <a:gd name="T28" fmla="*/ 159 w 159"/>
                  <a:gd name="T29" fmla="*/ 16 h 214"/>
                  <a:gd name="T30" fmla="*/ 156 w 159"/>
                  <a:gd name="T31" fmla="*/ 22 h 214"/>
                  <a:gd name="T32" fmla="*/ 24 w 159"/>
                  <a:gd name="T33" fmla="*/ 208 h 214"/>
                  <a:gd name="T34" fmla="*/ 21 w 159"/>
                  <a:gd name="T35" fmla="*/ 210 h 214"/>
                  <a:gd name="T36" fmla="*/ 19 w 159"/>
                  <a:gd name="T37" fmla="*/ 213 h 214"/>
                  <a:gd name="T38" fmla="*/ 16 w 159"/>
                  <a:gd name="T39" fmla="*/ 214 h 214"/>
                  <a:gd name="T40" fmla="*/ 13 w 159"/>
                  <a:gd name="T4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214">
                    <a:moveTo>
                      <a:pt x="13" y="214"/>
                    </a:moveTo>
                    <a:lnTo>
                      <a:pt x="8" y="214"/>
                    </a:lnTo>
                    <a:lnTo>
                      <a:pt x="5" y="211"/>
                    </a:lnTo>
                    <a:lnTo>
                      <a:pt x="1" y="207"/>
                    </a:lnTo>
                    <a:lnTo>
                      <a:pt x="0" y="203"/>
                    </a:lnTo>
                    <a:lnTo>
                      <a:pt x="0" y="197"/>
                    </a:lnTo>
                    <a:lnTo>
                      <a:pt x="2" y="193"/>
                    </a:lnTo>
                    <a:lnTo>
                      <a:pt x="135" y="6"/>
                    </a:lnTo>
                    <a:lnTo>
                      <a:pt x="138" y="2"/>
                    </a:lnTo>
                    <a:lnTo>
                      <a:pt x="143" y="0"/>
                    </a:lnTo>
                    <a:lnTo>
                      <a:pt x="149" y="1"/>
                    </a:lnTo>
                    <a:lnTo>
                      <a:pt x="153" y="3"/>
                    </a:lnTo>
                    <a:lnTo>
                      <a:pt x="156" y="6"/>
                    </a:lnTo>
                    <a:lnTo>
                      <a:pt x="159" y="12"/>
                    </a:lnTo>
                    <a:lnTo>
                      <a:pt x="159" y="16"/>
                    </a:lnTo>
                    <a:lnTo>
                      <a:pt x="156" y="22"/>
                    </a:lnTo>
                    <a:lnTo>
                      <a:pt x="24" y="208"/>
                    </a:lnTo>
                    <a:lnTo>
                      <a:pt x="21" y="210"/>
                    </a:lnTo>
                    <a:lnTo>
                      <a:pt x="19" y="213"/>
                    </a:lnTo>
                    <a:lnTo>
                      <a:pt x="16" y="214"/>
                    </a:lnTo>
                    <a:lnTo>
                      <a:pt x="1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74"/>
              <p:cNvSpPr>
                <a:spLocks/>
              </p:cNvSpPr>
              <p:nvPr userDrawn="1"/>
            </p:nvSpPr>
            <p:spPr bwMode="auto">
              <a:xfrm>
                <a:off x="2519" y="1760"/>
                <a:ext cx="27" cy="62"/>
              </a:xfrm>
              <a:custGeom>
                <a:avLst/>
                <a:gdLst>
                  <a:gd name="T0" fmla="*/ 12 w 82"/>
                  <a:gd name="T1" fmla="*/ 184 h 184"/>
                  <a:gd name="T2" fmla="*/ 10 w 82"/>
                  <a:gd name="T3" fmla="*/ 183 h 184"/>
                  <a:gd name="T4" fmla="*/ 8 w 82"/>
                  <a:gd name="T5" fmla="*/ 183 h 184"/>
                  <a:gd name="T6" fmla="*/ 4 w 82"/>
                  <a:gd name="T7" fmla="*/ 180 h 184"/>
                  <a:gd name="T8" fmla="*/ 1 w 82"/>
                  <a:gd name="T9" fmla="*/ 176 h 184"/>
                  <a:gd name="T10" fmla="*/ 0 w 82"/>
                  <a:gd name="T11" fmla="*/ 171 h 184"/>
                  <a:gd name="T12" fmla="*/ 0 w 82"/>
                  <a:gd name="T13" fmla="*/ 166 h 184"/>
                  <a:gd name="T14" fmla="*/ 55 w 82"/>
                  <a:gd name="T15" fmla="*/ 8 h 184"/>
                  <a:gd name="T16" fmla="*/ 58 w 82"/>
                  <a:gd name="T17" fmla="*/ 4 h 184"/>
                  <a:gd name="T18" fmla="*/ 62 w 82"/>
                  <a:gd name="T19" fmla="*/ 1 h 184"/>
                  <a:gd name="T20" fmla="*/ 66 w 82"/>
                  <a:gd name="T21" fmla="*/ 0 h 184"/>
                  <a:gd name="T22" fmla="*/ 72 w 82"/>
                  <a:gd name="T23" fmla="*/ 0 h 184"/>
                  <a:gd name="T24" fmla="*/ 76 w 82"/>
                  <a:gd name="T25" fmla="*/ 3 h 184"/>
                  <a:gd name="T26" fmla="*/ 79 w 82"/>
                  <a:gd name="T27" fmla="*/ 7 h 184"/>
                  <a:gd name="T28" fmla="*/ 82 w 82"/>
                  <a:gd name="T29" fmla="*/ 11 h 184"/>
                  <a:gd name="T30" fmla="*/ 81 w 82"/>
                  <a:gd name="T31" fmla="*/ 17 h 184"/>
                  <a:gd name="T32" fmla="*/ 25 w 82"/>
                  <a:gd name="T33" fmla="*/ 174 h 184"/>
                  <a:gd name="T34" fmla="*/ 23 w 82"/>
                  <a:gd name="T35" fmla="*/ 179 h 184"/>
                  <a:gd name="T36" fmla="*/ 20 w 82"/>
                  <a:gd name="T37" fmla="*/ 181 h 184"/>
                  <a:gd name="T38" fmla="*/ 17 w 82"/>
                  <a:gd name="T39" fmla="*/ 183 h 184"/>
                  <a:gd name="T40" fmla="*/ 12 w 82"/>
                  <a:gd name="T4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2" h="184">
                    <a:moveTo>
                      <a:pt x="12" y="184"/>
                    </a:moveTo>
                    <a:lnTo>
                      <a:pt x="10" y="183"/>
                    </a:lnTo>
                    <a:lnTo>
                      <a:pt x="8" y="183"/>
                    </a:lnTo>
                    <a:lnTo>
                      <a:pt x="4" y="180"/>
                    </a:lnTo>
                    <a:lnTo>
                      <a:pt x="1" y="176"/>
                    </a:lnTo>
                    <a:lnTo>
                      <a:pt x="0" y="171"/>
                    </a:lnTo>
                    <a:lnTo>
                      <a:pt x="0" y="166"/>
                    </a:lnTo>
                    <a:lnTo>
                      <a:pt x="55" y="8"/>
                    </a:lnTo>
                    <a:lnTo>
                      <a:pt x="58" y="4"/>
                    </a:lnTo>
                    <a:lnTo>
                      <a:pt x="62" y="1"/>
                    </a:lnTo>
                    <a:lnTo>
                      <a:pt x="66" y="0"/>
                    </a:lnTo>
                    <a:lnTo>
                      <a:pt x="72" y="0"/>
                    </a:lnTo>
                    <a:lnTo>
                      <a:pt x="76" y="3"/>
                    </a:lnTo>
                    <a:lnTo>
                      <a:pt x="79" y="7"/>
                    </a:lnTo>
                    <a:lnTo>
                      <a:pt x="82" y="11"/>
                    </a:lnTo>
                    <a:lnTo>
                      <a:pt x="81" y="17"/>
                    </a:lnTo>
                    <a:lnTo>
                      <a:pt x="25" y="174"/>
                    </a:lnTo>
                    <a:lnTo>
                      <a:pt x="23" y="179"/>
                    </a:lnTo>
                    <a:lnTo>
                      <a:pt x="20" y="181"/>
                    </a:lnTo>
                    <a:lnTo>
                      <a:pt x="17" y="183"/>
                    </a:lnTo>
                    <a:lnTo>
                      <a:pt x="12"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75"/>
              <p:cNvSpPr>
                <a:spLocks/>
              </p:cNvSpPr>
              <p:nvPr userDrawn="1"/>
            </p:nvSpPr>
            <p:spPr bwMode="auto">
              <a:xfrm>
                <a:off x="1630" y="1645"/>
                <a:ext cx="71" cy="249"/>
              </a:xfrm>
              <a:custGeom>
                <a:avLst/>
                <a:gdLst>
                  <a:gd name="T0" fmla="*/ 87 w 212"/>
                  <a:gd name="T1" fmla="*/ 749 h 749"/>
                  <a:gd name="T2" fmla="*/ 87 w 212"/>
                  <a:gd name="T3" fmla="*/ 749 h 749"/>
                  <a:gd name="T4" fmla="*/ 87 w 212"/>
                  <a:gd name="T5" fmla="*/ 749 h 749"/>
                  <a:gd name="T6" fmla="*/ 81 w 212"/>
                  <a:gd name="T7" fmla="*/ 748 h 749"/>
                  <a:gd name="T8" fmla="*/ 77 w 212"/>
                  <a:gd name="T9" fmla="*/ 746 h 749"/>
                  <a:gd name="T10" fmla="*/ 75 w 212"/>
                  <a:gd name="T11" fmla="*/ 742 h 749"/>
                  <a:gd name="T12" fmla="*/ 73 w 212"/>
                  <a:gd name="T13" fmla="*/ 737 h 749"/>
                  <a:gd name="T14" fmla="*/ 0 w 212"/>
                  <a:gd name="T15" fmla="*/ 238 h 749"/>
                  <a:gd name="T16" fmla="*/ 0 w 212"/>
                  <a:gd name="T17" fmla="*/ 232 h 749"/>
                  <a:gd name="T18" fmla="*/ 3 w 212"/>
                  <a:gd name="T19" fmla="*/ 228 h 749"/>
                  <a:gd name="T20" fmla="*/ 7 w 212"/>
                  <a:gd name="T21" fmla="*/ 225 h 749"/>
                  <a:gd name="T22" fmla="*/ 11 w 212"/>
                  <a:gd name="T23" fmla="*/ 222 h 749"/>
                  <a:gd name="T24" fmla="*/ 17 w 212"/>
                  <a:gd name="T25" fmla="*/ 222 h 749"/>
                  <a:gd name="T26" fmla="*/ 22 w 212"/>
                  <a:gd name="T27" fmla="*/ 225 h 749"/>
                  <a:gd name="T28" fmla="*/ 25 w 212"/>
                  <a:gd name="T29" fmla="*/ 229 h 749"/>
                  <a:gd name="T30" fmla="*/ 27 w 212"/>
                  <a:gd name="T31" fmla="*/ 233 h 749"/>
                  <a:gd name="T32" fmla="*/ 87 w 212"/>
                  <a:gd name="T33" fmla="*/ 645 h 749"/>
                  <a:gd name="T34" fmla="*/ 186 w 212"/>
                  <a:gd name="T35" fmla="*/ 12 h 749"/>
                  <a:gd name="T36" fmla="*/ 187 w 212"/>
                  <a:gd name="T37" fmla="*/ 7 h 749"/>
                  <a:gd name="T38" fmla="*/ 192 w 212"/>
                  <a:gd name="T39" fmla="*/ 2 h 749"/>
                  <a:gd name="T40" fmla="*/ 196 w 212"/>
                  <a:gd name="T41" fmla="*/ 0 h 749"/>
                  <a:gd name="T42" fmla="*/ 201 w 212"/>
                  <a:gd name="T43" fmla="*/ 0 h 749"/>
                  <a:gd name="T44" fmla="*/ 207 w 212"/>
                  <a:gd name="T45" fmla="*/ 2 h 749"/>
                  <a:gd name="T46" fmla="*/ 210 w 212"/>
                  <a:gd name="T47" fmla="*/ 5 h 749"/>
                  <a:gd name="T48" fmla="*/ 212 w 212"/>
                  <a:gd name="T49" fmla="*/ 10 h 749"/>
                  <a:gd name="T50" fmla="*/ 212 w 212"/>
                  <a:gd name="T51" fmla="*/ 15 h 749"/>
                  <a:gd name="T52" fmla="*/ 100 w 212"/>
                  <a:gd name="T53" fmla="*/ 737 h 749"/>
                  <a:gd name="T54" fmla="*/ 99 w 212"/>
                  <a:gd name="T55" fmla="*/ 742 h 749"/>
                  <a:gd name="T56" fmla="*/ 95 w 212"/>
                  <a:gd name="T57" fmla="*/ 746 h 749"/>
                  <a:gd name="T58" fmla="*/ 91 w 212"/>
                  <a:gd name="T59" fmla="*/ 748 h 749"/>
                  <a:gd name="T60" fmla="*/ 87 w 212"/>
                  <a:gd name="T61" fmla="*/ 749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2" h="749">
                    <a:moveTo>
                      <a:pt x="87" y="749"/>
                    </a:moveTo>
                    <a:lnTo>
                      <a:pt x="87" y="749"/>
                    </a:lnTo>
                    <a:lnTo>
                      <a:pt x="87" y="749"/>
                    </a:lnTo>
                    <a:lnTo>
                      <a:pt x="81" y="748"/>
                    </a:lnTo>
                    <a:lnTo>
                      <a:pt x="77" y="746"/>
                    </a:lnTo>
                    <a:lnTo>
                      <a:pt x="75" y="742"/>
                    </a:lnTo>
                    <a:lnTo>
                      <a:pt x="73" y="737"/>
                    </a:lnTo>
                    <a:lnTo>
                      <a:pt x="0" y="238"/>
                    </a:lnTo>
                    <a:lnTo>
                      <a:pt x="0" y="232"/>
                    </a:lnTo>
                    <a:lnTo>
                      <a:pt x="3" y="228"/>
                    </a:lnTo>
                    <a:lnTo>
                      <a:pt x="7" y="225"/>
                    </a:lnTo>
                    <a:lnTo>
                      <a:pt x="11" y="222"/>
                    </a:lnTo>
                    <a:lnTo>
                      <a:pt x="17" y="222"/>
                    </a:lnTo>
                    <a:lnTo>
                      <a:pt x="22" y="225"/>
                    </a:lnTo>
                    <a:lnTo>
                      <a:pt x="25" y="229"/>
                    </a:lnTo>
                    <a:lnTo>
                      <a:pt x="27" y="233"/>
                    </a:lnTo>
                    <a:lnTo>
                      <a:pt x="87" y="645"/>
                    </a:lnTo>
                    <a:lnTo>
                      <a:pt x="186" y="12"/>
                    </a:lnTo>
                    <a:lnTo>
                      <a:pt x="187" y="7"/>
                    </a:lnTo>
                    <a:lnTo>
                      <a:pt x="192" y="2"/>
                    </a:lnTo>
                    <a:lnTo>
                      <a:pt x="196" y="0"/>
                    </a:lnTo>
                    <a:lnTo>
                      <a:pt x="201" y="0"/>
                    </a:lnTo>
                    <a:lnTo>
                      <a:pt x="207" y="2"/>
                    </a:lnTo>
                    <a:lnTo>
                      <a:pt x="210" y="5"/>
                    </a:lnTo>
                    <a:lnTo>
                      <a:pt x="212" y="10"/>
                    </a:lnTo>
                    <a:lnTo>
                      <a:pt x="212" y="15"/>
                    </a:lnTo>
                    <a:lnTo>
                      <a:pt x="100" y="737"/>
                    </a:lnTo>
                    <a:lnTo>
                      <a:pt x="99" y="742"/>
                    </a:lnTo>
                    <a:lnTo>
                      <a:pt x="95" y="746"/>
                    </a:lnTo>
                    <a:lnTo>
                      <a:pt x="91" y="748"/>
                    </a:lnTo>
                    <a:lnTo>
                      <a:pt x="87" y="7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6"/>
              <p:cNvSpPr>
                <a:spLocks/>
              </p:cNvSpPr>
              <p:nvPr userDrawn="1"/>
            </p:nvSpPr>
            <p:spPr bwMode="auto">
              <a:xfrm>
                <a:off x="1763" y="2251"/>
                <a:ext cx="489" cy="847"/>
              </a:xfrm>
              <a:custGeom>
                <a:avLst/>
                <a:gdLst>
                  <a:gd name="T0" fmla="*/ 1455 w 1467"/>
                  <a:gd name="T1" fmla="*/ 2539 h 2539"/>
                  <a:gd name="T2" fmla="*/ 1450 w 1467"/>
                  <a:gd name="T3" fmla="*/ 2539 h 2539"/>
                  <a:gd name="T4" fmla="*/ 1447 w 1467"/>
                  <a:gd name="T5" fmla="*/ 2538 h 2539"/>
                  <a:gd name="T6" fmla="*/ 1445 w 1467"/>
                  <a:gd name="T7" fmla="*/ 2536 h 2539"/>
                  <a:gd name="T8" fmla="*/ 1443 w 1467"/>
                  <a:gd name="T9" fmla="*/ 2533 h 2539"/>
                  <a:gd name="T10" fmla="*/ 2 w 1467"/>
                  <a:gd name="T11" fmla="*/ 21 h 2539"/>
                  <a:gd name="T12" fmla="*/ 0 w 1467"/>
                  <a:gd name="T13" fmla="*/ 15 h 2539"/>
                  <a:gd name="T14" fmla="*/ 0 w 1467"/>
                  <a:gd name="T15" fmla="*/ 10 h 2539"/>
                  <a:gd name="T16" fmla="*/ 2 w 1467"/>
                  <a:gd name="T17" fmla="*/ 5 h 2539"/>
                  <a:gd name="T18" fmla="*/ 6 w 1467"/>
                  <a:gd name="T19" fmla="*/ 2 h 2539"/>
                  <a:gd name="T20" fmla="*/ 12 w 1467"/>
                  <a:gd name="T21" fmla="*/ 0 h 2539"/>
                  <a:gd name="T22" fmla="*/ 17 w 1467"/>
                  <a:gd name="T23" fmla="*/ 0 h 2539"/>
                  <a:gd name="T24" fmla="*/ 22 w 1467"/>
                  <a:gd name="T25" fmla="*/ 3 h 2539"/>
                  <a:gd name="T26" fmla="*/ 25 w 1467"/>
                  <a:gd name="T27" fmla="*/ 7 h 2539"/>
                  <a:gd name="T28" fmla="*/ 1465 w 1467"/>
                  <a:gd name="T29" fmla="*/ 2519 h 2539"/>
                  <a:gd name="T30" fmla="*/ 1467 w 1467"/>
                  <a:gd name="T31" fmla="*/ 2524 h 2539"/>
                  <a:gd name="T32" fmla="*/ 1467 w 1467"/>
                  <a:gd name="T33" fmla="*/ 2529 h 2539"/>
                  <a:gd name="T34" fmla="*/ 1465 w 1467"/>
                  <a:gd name="T35" fmla="*/ 2534 h 2539"/>
                  <a:gd name="T36" fmla="*/ 1461 w 1467"/>
                  <a:gd name="T37" fmla="*/ 2538 h 2539"/>
                  <a:gd name="T38" fmla="*/ 1458 w 1467"/>
                  <a:gd name="T39" fmla="*/ 2539 h 2539"/>
                  <a:gd name="T40" fmla="*/ 1455 w 1467"/>
                  <a:gd name="T41" fmla="*/ 2539 h 2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7" h="2539">
                    <a:moveTo>
                      <a:pt x="1455" y="2539"/>
                    </a:moveTo>
                    <a:lnTo>
                      <a:pt x="1450" y="2539"/>
                    </a:lnTo>
                    <a:lnTo>
                      <a:pt x="1447" y="2538"/>
                    </a:lnTo>
                    <a:lnTo>
                      <a:pt x="1445" y="2536"/>
                    </a:lnTo>
                    <a:lnTo>
                      <a:pt x="1443" y="2533"/>
                    </a:lnTo>
                    <a:lnTo>
                      <a:pt x="2" y="21"/>
                    </a:lnTo>
                    <a:lnTo>
                      <a:pt x="0" y="15"/>
                    </a:lnTo>
                    <a:lnTo>
                      <a:pt x="0" y="10"/>
                    </a:lnTo>
                    <a:lnTo>
                      <a:pt x="2" y="5"/>
                    </a:lnTo>
                    <a:lnTo>
                      <a:pt x="6" y="2"/>
                    </a:lnTo>
                    <a:lnTo>
                      <a:pt x="12" y="0"/>
                    </a:lnTo>
                    <a:lnTo>
                      <a:pt x="17" y="0"/>
                    </a:lnTo>
                    <a:lnTo>
                      <a:pt x="22" y="3"/>
                    </a:lnTo>
                    <a:lnTo>
                      <a:pt x="25" y="7"/>
                    </a:lnTo>
                    <a:lnTo>
                      <a:pt x="1465" y="2519"/>
                    </a:lnTo>
                    <a:lnTo>
                      <a:pt x="1467" y="2524"/>
                    </a:lnTo>
                    <a:lnTo>
                      <a:pt x="1467" y="2529"/>
                    </a:lnTo>
                    <a:lnTo>
                      <a:pt x="1465" y="2534"/>
                    </a:lnTo>
                    <a:lnTo>
                      <a:pt x="1461" y="2538"/>
                    </a:lnTo>
                    <a:lnTo>
                      <a:pt x="1458" y="2539"/>
                    </a:lnTo>
                    <a:lnTo>
                      <a:pt x="1455" y="25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7"/>
              <p:cNvSpPr>
                <a:spLocks/>
              </p:cNvSpPr>
              <p:nvPr userDrawn="1"/>
            </p:nvSpPr>
            <p:spPr bwMode="auto">
              <a:xfrm>
                <a:off x="1724" y="2280"/>
                <a:ext cx="467" cy="803"/>
              </a:xfrm>
              <a:custGeom>
                <a:avLst/>
                <a:gdLst>
                  <a:gd name="T0" fmla="*/ 1388 w 1401"/>
                  <a:gd name="T1" fmla="*/ 2410 h 2410"/>
                  <a:gd name="T2" fmla="*/ 1385 w 1401"/>
                  <a:gd name="T3" fmla="*/ 2410 h 2410"/>
                  <a:gd name="T4" fmla="*/ 1381 w 1401"/>
                  <a:gd name="T5" fmla="*/ 2409 h 2410"/>
                  <a:gd name="T6" fmla="*/ 1378 w 1401"/>
                  <a:gd name="T7" fmla="*/ 2407 h 2410"/>
                  <a:gd name="T8" fmla="*/ 1376 w 1401"/>
                  <a:gd name="T9" fmla="*/ 2403 h 2410"/>
                  <a:gd name="T10" fmla="*/ 1 w 1401"/>
                  <a:gd name="T11" fmla="*/ 20 h 2410"/>
                  <a:gd name="T12" fmla="*/ 0 w 1401"/>
                  <a:gd name="T13" fmla="*/ 15 h 2410"/>
                  <a:gd name="T14" fmla="*/ 0 w 1401"/>
                  <a:gd name="T15" fmla="*/ 10 h 2410"/>
                  <a:gd name="T16" fmla="*/ 2 w 1401"/>
                  <a:gd name="T17" fmla="*/ 6 h 2410"/>
                  <a:gd name="T18" fmla="*/ 7 w 1401"/>
                  <a:gd name="T19" fmla="*/ 1 h 2410"/>
                  <a:gd name="T20" fmla="*/ 12 w 1401"/>
                  <a:gd name="T21" fmla="*/ 0 h 2410"/>
                  <a:gd name="T22" fmla="*/ 18 w 1401"/>
                  <a:gd name="T23" fmla="*/ 0 h 2410"/>
                  <a:gd name="T24" fmla="*/ 22 w 1401"/>
                  <a:gd name="T25" fmla="*/ 3 h 2410"/>
                  <a:gd name="T26" fmla="*/ 25 w 1401"/>
                  <a:gd name="T27" fmla="*/ 7 h 2410"/>
                  <a:gd name="T28" fmla="*/ 1400 w 1401"/>
                  <a:gd name="T29" fmla="*/ 2390 h 2410"/>
                  <a:gd name="T30" fmla="*/ 1401 w 1401"/>
                  <a:gd name="T31" fmla="*/ 2395 h 2410"/>
                  <a:gd name="T32" fmla="*/ 1401 w 1401"/>
                  <a:gd name="T33" fmla="*/ 2400 h 2410"/>
                  <a:gd name="T34" fmla="*/ 1399 w 1401"/>
                  <a:gd name="T35" fmla="*/ 2404 h 2410"/>
                  <a:gd name="T36" fmla="*/ 1394 w 1401"/>
                  <a:gd name="T37" fmla="*/ 2409 h 2410"/>
                  <a:gd name="T38" fmla="*/ 1391 w 1401"/>
                  <a:gd name="T39" fmla="*/ 2410 h 2410"/>
                  <a:gd name="T40" fmla="*/ 1388 w 1401"/>
                  <a:gd name="T41" fmla="*/ 2410 h 2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1" h="2410">
                    <a:moveTo>
                      <a:pt x="1388" y="2410"/>
                    </a:moveTo>
                    <a:lnTo>
                      <a:pt x="1385" y="2410"/>
                    </a:lnTo>
                    <a:lnTo>
                      <a:pt x="1381" y="2409"/>
                    </a:lnTo>
                    <a:lnTo>
                      <a:pt x="1378" y="2407"/>
                    </a:lnTo>
                    <a:lnTo>
                      <a:pt x="1376" y="2403"/>
                    </a:lnTo>
                    <a:lnTo>
                      <a:pt x="1" y="20"/>
                    </a:lnTo>
                    <a:lnTo>
                      <a:pt x="0" y="15"/>
                    </a:lnTo>
                    <a:lnTo>
                      <a:pt x="0" y="10"/>
                    </a:lnTo>
                    <a:lnTo>
                      <a:pt x="2" y="6"/>
                    </a:lnTo>
                    <a:lnTo>
                      <a:pt x="7" y="1"/>
                    </a:lnTo>
                    <a:lnTo>
                      <a:pt x="12" y="0"/>
                    </a:lnTo>
                    <a:lnTo>
                      <a:pt x="18" y="0"/>
                    </a:lnTo>
                    <a:lnTo>
                      <a:pt x="22" y="3"/>
                    </a:lnTo>
                    <a:lnTo>
                      <a:pt x="25" y="7"/>
                    </a:lnTo>
                    <a:lnTo>
                      <a:pt x="1400" y="2390"/>
                    </a:lnTo>
                    <a:lnTo>
                      <a:pt x="1401" y="2395"/>
                    </a:lnTo>
                    <a:lnTo>
                      <a:pt x="1401" y="2400"/>
                    </a:lnTo>
                    <a:lnTo>
                      <a:pt x="1399" y="2404"/>
                    </a:lnTo>
                    <a:lnTo>
                      <a:pt x="1394" y="2409"/>
                    </a:lnTo>
                    <a:lnTo>
                      <a:pt x="1391" y="2410"/>
                    </a:lnTo>
                    <a:lnTo>
                      <a:pt x="1388" y="24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8"/>
              <p:cNvSpPr>
                <a:spLocks/>
              </p:cNvSpPr>
              <p:nvPr userDrawn="1"/>
            </p:nvSpPr>
            <p:spPr bwMode="auto">
              <a:xfrm>
                <a:off x="1564" y="2590"/>
                <a:ext cx="270" cy="408"/>
              </a:xfrm>
              <a:custGeom>
                <a:avLst/>
                <a:gdLst>
                  <a:gd name="T0" fmla="*/ 9 w 810"/>
                  <a:gd name="T1" fmla="*/ 1224 h 1224"/>
                  <a:gd name="T2" fmla="*/ 2 w 810"/>
                  <a:gd name="T3" fmla="*/ 1219 h 1224"/>
                  <a:gd name="T4" fmla="*/ 0 w 810"/>
                  <a:gd name="T5" fmla="*/ 1209 h 1224"/>
                  <a:gd name="T6" fmla="*/ 5 w 810"/>
                  <a:gd name="T7" fmla="*/ 1200 h 1224"/>
                  <a:gd name="T8" fmla="*/ 40 w 810"/>
                  <a:gd name="T9" fmla="*/ 1190 h 1224"/>
                  <a:gd name="T10" fmla="*/ 163 w 810"/>
                  <a:gd name="T11" fmla="*/ 1156 h 1224"/>
                  <a:gd name="T12" fmla="*/ 278 w 810"/>
                  <a:gd name="T13" fmla="*/ 1118 h 1224"/>
                  <a:gd name="T14" fmla="*/ 371 w 810"/>
                  <a:gd name="T15" fmla="*/ 1083 h 1224"/>
                  <a:gd name="T16" fmla="*/ 434 w 810"/>
                  <a:gd name="T17" fmla="*/ 1054 h 1224"/>
                  <a:gd name="T18" fmla="*/ 494 w 810"/>
                  <a:gd name="T19" fmla="*/ 1025 h 1224"/>
                  <a:gd name="T20" fmla="*/ 551 w 810"/>
                  <a:gd name="T21" fmla="*/ 993 h 1224"/>
                  <a:gd name="T22" fmla="*/ 603 w 810"/>
                  <a:gd name="T23" fmla="*/ 957 h 1224"/>
                  <a:gd name="T24" fmla="*/ 648 w 810"/>
                  <a:gd name="T25" fmla="*/ 921 h 1224"/>
                  <a:gd name="T26" fmla="*/ 683 w 810"/>
                  <a:gd name="T27" fmla="*/ 881 h 1224"/>
                  <a:gd name="T28" fmla="*/ 709 w 810"/>
                  <a:gd name="T29" fmla="*/ 840 h 1224"/>
                  <a:gd name="T30" fmla="*/ 732 w 810"/>
                  <a:gd name="T31" fmla="*/ 765 h 1224"/>
                  <a:gd name="T32" fmla="*/ 754 w 810"/>
                  <a:gd name="T33" fmla="*/ 667 h 1224"/>
                  <a:gd name="T34" fmla="*/ 771 w 810"/>
                  <a:gd name="T35" fmla="*/ 576 h 1224"/>
                  <a:gd name="T36" fmla="*/ 779 w 810"/>
                  <a:gd name="T37" fmla="*/ 492 h 1224"/>
                  <a:gd name="T38" fmla="*/ 781 w 810"/>
                  <a:gd name="T39" fmla="*/ 416 h 1224"/>
                  <a:gd name="T40" fmla="*/ 778 w 810"/>
                  <a:gd name="T41" fmla="*/ 348 h 1224"/>
                  <a:gd name="T42" fmla="*/ 772 w 810"/>
                  <a:gd name="T43" fmla="*/ 287 h 1224"/>
                  <a:gd name="T44" fmla="*/ 762 w 810"/>
                  <a:gd name="T45" fmla="*/ 233 h 1224"/>
                  <a:gd name="T46" fmla="*/ 749 w 810"/>
                  <a:gd name="T47" fmla="*/ 184 h 1224"/>
                  <a:gd name="T48" fmla="*/ 735 w 810"/>
                  <a:gd name="T49" fmla="*/ 143 h 1224"/>
                  <a:gd name="T50" fmla="*/ 720 w 810"/>
                  <a:gd name="T51" fmla="*/ 109 h 1224"/>
                  <a:gd name="T52" fmla="*/ 706 w 810"/>
                  <a:gd name="T53" fmla="*/ 81 h 1224"/>
                  <a:gd name="T54" fmla="*/ 686 w 810"/>
                  <a:gd name="T55" fmla="*/ 48 h 1224"/>
                  <a:gd name="T56" fmla="*/ 669 w 810"/>
                  <a:gd name="T57" fmla="*/ 26 h 1224"/>
                  <a:gd name="T58" fmla="*/ 663 w 810"/>
                  <a:gd name="T59" fmla="*/ 19 h 1224"/>
                  <a:gd name="T60" fmla="*/ 663 w 810"/>
                  <a:gd name="T61" fmla="*/ 8 h 1224"/>
                  <a:gd name="T62" fmla="*/ 670 w 810"/>
                  <a:gd name="T63" fmla="*/ 1 h 1224"/>
                  <a:gd name="T64" fmla="*/ 680 w 810"/>
                  <a:gd name="T65" fmla="*/ 1 h 1224"/>
                  <a:gd name="T66" fmla="*/ 689 w 810"/>
                  <a:gd name="T67" fmla="*/ 8 h 1224"/>
                  <a:gd name="T68" fmla="*/ 709 w 810"/>
                  <a:gd name="T69" fmla="*/ 33 h 1224"/>
                  <a:gd name="T70" fmla="*/ 730 w 810"/>
                  <a:gd name="T71" fmla="*/ 67 h 1224"/>
                  <a:gd name="T72" fmla="*/ 746 w 810"/>
                  <a:gd name="T73" fmla="*/ 96 h 1224"/>
                  <a:gd name="T74" fmla="*/ 761 w 810"/>
                  <a:gd name="T75" fmla="*/ 133 h 1224"/>
                  <a:gd name="T76" fmla="*/ 776 w 810"/>
                  <a:gd name="T77" fmla="*/ 175 h 1224"/>
                  <a:gd name="T78" fmla="*/ 789 w 810"/>
                  <a:gd name="T79" fmla="*/ 223 h 1224"/>
                  <a:gd name="T80" fmla="*/ 800 w 810"/>
                  <a:gd name="T81" fmla="*/ 279 h 1224"/>
                  <a:gd name="T82" fmla="*/ 806 w 810"/>
                  <a:gd name="T83" fmla="*/ 343 h 1224"/>
                  <a:gd name="T84" fmla="*/ 810 w 810"/>
                  <a:gd name="T85" fmla="*/ 413 h 1224"/>
                  <a:gd name="T86" fmla="*/ 806 w 810"/>
                  <a:gd name="T87" fmla="*/ 491 h 1224"/>
                  <a:gd name="T88" fmla="*/ 798 w 810"/>
                  <a:gd name="T89" fmla="*/ 576 h 1224"/>
                  <a:gd name="T90" fmla="*/ 783 w 810"/>
                  <a:gd name="T91" fmla="*/ 670 h 1224"/>
                  <a:gd name="T92" fmla="*/ 758 w 810"/>
                  <a:gd name="T93" fmla="*/ 772 h 1224"/>
                  <a:gd name="T94" fmla="*/ 734 w 810"/>
                  <a:gd name="T95" fmla="*/ 848 h 1224"/>
                  <a:gd name="T96" fmla="*/ 708 w 810"/>
                  <a:gd name="T97" fmla="*/ 893 h 1224"/>
                  <a:gd name="T98" fmla="*/ 672 w 810"/>
                  <a:gd name="T99" fmla="*/ 934 h 1224"/>
                  <a:gd name="T100" fmla="*/ 627 w 810"/>
                  <a:gd name="T101" fmla="*/ 973 h 1224"/>
                  <a:gd name="T102" fmla="*/ 575 w 810"/>
                  <a:gd name="T103" fmla="*/ 1009 h 1224"/>
                  <a:gd name="T104" fmla="*/ 518 w 810"/>
                  <a:gd name="T105" fmla="*/ 1044 h 1224"/>
                  <a:gd name="T106" fmla="*/ 456 w 810"/>
                  <a:gd name="T107" fmla="*/ 1074 h 1224"/>
                  <a:gd name="T108" fmla="*/ 394 w 810"/>
                  <a:gd name="T109" fmla="*/ 1103 h 1224"/>
                  <a:gd name="T110" fmla="*/ 299 w 810"/>
                  <a:gd name="T111" fmla="*/ 1140 h 1224"/>
                  <a:gd name="T112" fmla="*/ 182 w 810"/>
                  <a:gd name="T113" fmla="*/ 1179 h 1224"/>
                  <a:gd name="T114" fmla="*/ 53 w 810"/>
                  <a:gd name="T115" fmla="*/ 1215 h 1224"/>
                  <a:gd name="T116" fmla="*/ 15 w 810"/>
                  <a:gd name="T117" fmla="*/ 1224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0" h="1224">
                    <a:moveTo>
                      <a:pt x="14" y="1224"/>
                    </a:moveTo>
                    <a:lnTo>
                      <a:pt x="9" y="1224"/>
                    </a:lnTo>
                    <a:lnTo>
                      <a:pt x="5" y="1222"/>
                    </a:lnTo>
                    <a:lnTo>
                      <a:pt x="2" y="1219"/>
                    </a:lnTo>
                    <a:lnTo>
                      <a:pt x="0" y="1214"/>
                    </a:lnTo>
                    <a:lnTo>
                      <a:pt x="0" y="1209"/>
                    </a:lnTo>
                    <a:lnTo>
                      <a:pt x="2" y="1203"/>
                    </a:lnTo>
                    <a:lnTo>
                      <a:pt x="5" y="1200"/>
                    </a:lnTo>
                    <a:lnTo>
                      <a:pt x="11" y="1198"/>
                    </a:lnTo>
                    <a:lnTo>
                      <a:pt x="40" y="1190"/>
                    </a:lnTo>
                    <a:lnTo>
                      <a:pt x="114" y="1170"/>
                    </a:lnTo>
                    <a:lnTo>
                      <a:pt x="163" y="1156"/>
                    </a:lnTo>
                    <a:lnTo>
                      <a:pt x="219" y="1139"/>
                    </a:lnTo>
                    <a:lnTo>
                      <a:pt x="278" y="1118"/>
                    </a:lnTo>
                    <a:lnTo>
                      <a:pt x="340" y="1094"/>
                    </a:lnTo>
                    <a:lnTo>
                      <a:pt x="371" y="1083"/>
                    </a:lnTo>
                    <a:lnTo>
                      <a:pt x="402" y="1068"/>
                    </a:lnTo>
                    <a:lnTo>
                      <a:pt x="434" y="1054"/>
                    </a:lnTo>
                    <a:lnTo>
                      <a:pt x="465" y="1040"/>
                    </a:lnTo>
                    <a:lnTo>
                      <a:pt x="494" y="1025"/>
                    </a:lnTo>
                    <a:lnTo>
                      <a:pt x="523" y="1009"/>
                    </a:lnTo>
                    <a:lnTo>
                      <a:pt x="551" y="993"/>
                    </a:lnTo>
                    <a:lnTo>
                      <a:pt x="578" y="976"/>
                    </a:lnTo>
                    <a:lnTo>
                      <a:pt x="603" y="957"/>
                    </a:lnTo>
                    <a:lnTo>
                      <a:pt x="627" y="939"/>
                    </a:lnTo>
                    <a:lnTo>
                      <a:pt x="648" y="921"/>
                    </a:lnTo>
                    <a:lnTo>
                      <a:pt x="667" y="901"/>
                    </a:lnTo>
                    <a:lnTo>
                      <a:pt x="683" y="881"/>
                    </a:lnTo>
                    <a:lnTo>
                      <a:pt x="697" y="860"/>
                    </a:lnTo>
                    <a:lnTo>
                      <a:pt x="709" y="840"/>
                    </a:lnTo>
                    <a:lnTo>
                      <a:pt x="717" y="817"/>
                    </a:lnTo>
                    <a:lnTo>
                      <a:pt x="732" y="765"/>
                    </a:lnTo>
                    <a:lnTo>
                      <a:pt x="745" y="714"/>
                    </a:lnTo>
                    <a:lnTo>
                      <a:pt x="754" y="667"/>
                    </a:lnTo>
                    <a:lnTo>
                      <a:pt x="763" y="620"/>
                    </a:lnTo>
                    <a:lnTo>
                      <a:pt x="771" y="576"/>
                    </a:lnTo>
                    <a:lnTo>
                      <a:pt x="775" y="533"/>
                    </a:lnTo>
                    <a:lnTo>
                      <a:pt x="779" y="492"/>
                    </a:lnTo>
                    <a:lnTo>
                      <a:pt x="780" y="454"/>
                    </a:lnTo>
                    <a:lnTo>
                      <a:pt x="781" y="416"/>
                    </a:lnTo>
                    <a:lnTo>
                      <a:pt x="780" y="382"/>
                    </a:lnTo>
                    <a:lnTo>
                      <a:pt x="778" y="348"/>
                    </a:lnTo>
                    <a:lnTo>
                      <a:pt x="776" y="317"/>
                    </a:lnTo>
                    <a:lnTo>
                      <a:pt x="772" y="287"/>
                    </a:lnTo>
                    <a:lnTo>
                      <a:pt x="767" y="259"/>
                    </a:lnTo>
                    <a:lnTo>
                      <a:pt x="762" y="233"/>
                    </a:lnTo>
                    <a:lnTo>
                      <a:pt x="756" y="208"/>
                    </a:lnTo>
                    <a:lnTo>
                      <a:pt x="749" y="184"/>
                    </a:lnTo>
                    <a:lnTo>
                      <a:pt x="743" y="164"/>
                    </a:lnTo>
                    <a:lnTo>
                      <a:pt x="735" y="143"/>
                    </a:lnTo>
                    <a:lnTo>
                      <a:pt x="727" y="125"/>
                    </a:lnTo>
                    <a:lnTo>
                      <a:pt x="720" y="109"/>
                    </a:lnTo>
                    <a:lnTo>
                      <a:pt x="712" y="94"/>
                    </a:lnTo>
                    <a:lnTo>
                      <a:pt x="706" y="81"/>
                    </a:lnTo>
                    <a:lnTo>
                      <a:pt x="698" y="68"/>
                    </a:lnTo>
                    <a:lnTo>
                      <a:pt x="686" y="48"/>
                    </a:lnTo>
                    <a:lnTo>
                      <a:pt x="676" y="34"/>
                    </a:lnTo>
                    <a:lnTo>
                      <a:pt x="669" y="26"/>
                    </a:lnTo>
                    <a:lnTo>
                      <a:pt x="666" y="24"/>
                    </a:lnTo>
                    <a:lnTo>
                      <a:pt x="663" y="19"/>
                    </a:lnTo>
                    <a:lnTo>
                      <a:pt x="662" y="14"/>
                    </a:lnTo>
                    <a:lnTo>
                      <a:pt x="663" y="8"/>
                    </a:lnTo>
                    <a:lnTo>
                      <a:pt x="666" y="4"/>
                    </a:lnTo>
                    <a:lnTo>
                      <a:pt x="670" y="1"/>
                    </a:lnTo>
                    <a:lnTo>
                      <a:pt x="676" y="0"/>
                    </a:lnTo>
                    <a:lnTo>
                      <a:pt x="680" y="1"/>
                    </a:lnTo>
                    <a:lnTo>
                      <a:pt x="684" y="4"/>
                    </a:lnTo>
                    <a:lnTo>
                      <a:pt x="689" y="8"/>
                    </a:lnTo>
                    <a:lnTo>
                      <a:pt x="697" y="18"/>
                    </a:lnTo>
                    <a:lnTo>
                      <a:pt x="709" y="33"/>
                    </a:lnTo>
                    <a:lnTo>
                      <a:pt x="722" y="54"/>
                    </a:lnTo>
                    <a:lnTo>
                      <a:pt x="730" y="67"/>
                    </a:lnTo>
                    <a:lnTo>
                      <a:pt x="737" y="81"/>
                    </a:lnTo>
                    <a:lnTo>
                      <a:pt x="746" y="96"/>
                    </a:lnTo>
                    <a:lnTo>
                      <a:pt x="753" y="113"/>
                    </a:lnTo>
                    <a:lnTo>
                      <a:pt x="761" y="133"/>
                    </a:lnTo>
                    <a:lnTo>
                      <a:pt x="769" y="153"/>
                    </a:lnTo>
                    <a:lnTo>
                      <a:pt x="776" y="175"/>
                    </a:lnTo>
                    <a:lnTo>
                      <a:pt x="783" y="198"/>
                    </a:lnTo>
                    <a:lnTo>
                      <a:pt x="789" y="223"/>
                    </a:lnTo>
                    <a:lnTo>
                      <a:pt x="794" y="251"/>
                    </a:lnTo>
                    <a:lnTo>
                      <a:pt x="800" y="279"/>
                    </a:lnTo>
                    <a:lnTo>
                      <a:pt x="804" y="311"/>
                    </a:lnTo>
                    <a:lnTo>
                      <a:pt x="806" y="343"/>
                    </a:lnTo>
                    <a:lnTo>
                      <a:pt x="808" y="377"/>
                    </a:lnTo>
                    <a:lnTo>
                      <a:pt x="810" y="413"/>
                    </a:lnTo>
                    <a:lnTo>
                      <a:pt x="808" y="451"/>
                    </a:lnTo>
                    <a:lnTo>
                      <a:pt x="806" y="491"/>
                    </a:lnTo>
                    <a:lnTo>
                      <a:pt x="803" y="533"/>
                    </a:lnTo>
                    <a:lnTo>
                      <a:pt x="798" y="576"/>
                    </a:lnTo>
                    <a:lnTo>
                      <a:pt x="791" y="622"/>
                    </a:lnTo>
                    <a:lnTo>
                      <a:pt x="783" y="670"/>
                    </a:lnTo>
                    <a:lnTo>
                      <a:pt x="771" y="720"/>
                    </a:lnTo>
                    <a:lnTo>
                      <a:pt x="758" y="772"/>
                    </a:lnTo>
                    <a:lnTo>
                      <a:pt x="743" y="826"/>
                    </a:lnTo>
                    <a:lnTo>
                      <a:pt x="734" y="848"/>
                    </a:lnTo>
                    <a:lnTo>
                      <a:pt x="723" y="871"/>
                    </a:lnTo>
                    <a:lnTo>
                      <a:pt x="708" y="893"/>
                    </a:lnTo>
                    <a:lnTo>
                      <a:pt x="692" y="913"/>
                    </a:lnTo>
                    <a:lnTo>
                      <a:pt x="672" y="934"/>
                    </a:lnTo>
                    <a:lnTo>
                      <a:pt x="651" y="954"/>
                    </a:lnTo>
                    <a:lnTo>
                      <a:pt x="627" y="973"/>
                    </a:lnTo>
                    <a:lnTo>
                      <a:pt x="602" y="992"/>
                    </a:lnTo>
                    <a:lnTo>
                      <a:pt x="575" y="1009"/>
                    </a:lnTo>
                    <a:lnTo>
                      <a:pt x="547" y="1026"/>
                    </a:lnTo>
                    <a:lnTo>
                      <a:pt x="518" y="1044"/>
                    </a:lnTo>
                    <a:lnTo>
                      <a:pt x="488" y="1059"/>
                    </a:lnTo>
                    <a:lnTo>
                      <a:pt x="456" y="1074"/>
                    </a:lnTo>
                    <a:lnTo>
                      <a:pt x="425" y="1089"/>
                    </a:lnTo>
                    <a:lnTo>
                      <a:pt x="394" y="1103"/>
                    </a:lnTo>
                    <a:lnTo>
                      <a:pt x="361" y="1116"/>
                    </a:lnTo>
                    <a:lnTo>
                      <a:pt x="299" y="1140"/>
                    </a:lnTo>
                    <a:lnTo>
                      <a:pt x="238" y="1160"/>
                    </a:lnTo>
                    <a:lnTo>
                      <a:pt x="182" y="1179"/>
                    </a:lnTo>
                    <a:lnTo>
                      <a:pt x="130" y="1194"/>
                    </a:lnTo>
                    <a:lnTo>
                      <a:pt x="53" y="1215"/>
                    </a:lnTo>
                    <a:lnTo>
                      <a:pt x="16" y="1224"/>
                    </a:lnTo>
                    <a:lnTo>
                      <a:pt x="15" y="1224"/>
                    </a:lnTo>
                    <a:lnTo>
                      <a:pt x="14" y="1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9"/>
              <p:cNvSpPr>
                <a:spLocks/>
              </p:cNvSpPr>
              <p:nvPr userDrawn="1"/>
            </p:nvSpPr>
            <p:spPr bwMode="auto">
              <a:xfrm>
                <a:off x="1670" y="2520"/>
                <a:ext cx="205" cy="510"/>
              </a:xfrm>
              <a:custGeom>
                <a:avLst/>
                <a:gdLst>
                  <a:gd name="T0" fmla="*/ 9 w 617"/>
                  <a:gd name="T1" fmla="*/ 1531 h 1531"/>
                  <a:gd name="T2" fmla="*/ 2 w 617"/>
                  <a:gd name="T3" fmla="*/ 1526 h 1531"/>
                  <a:gd name="T4" fmla="*/ 0 w 617"/>
                  <a:gd name="T5" fmla="*/ 1516 h 1531"/>
                  <a:gd name="T6" fmla="*/ 6 w 617"/>
                  <a:gd name="T7" fmla="*/ 1507 h 1531"/>
                  <a:gd name="T8" fmla="*/ 32 w 617"/>
                  <a:gd name="T9" fmla="*/ 1498 h 1531"/>
                  <a:gd name="T10" fmla="*/ 124 w 617"/>
                  <a:gd name="T11" fmla="*/ 1463 h 1531"/>
                  <a:gd name="T12" fmla="*/ 189 w 617"/>
                  <a:gd name="T13" fmla="*/ 1433 h 1531"/>
                  <a:gd name="T14" fmla="*/ 236 w 617"/>
                  <a:gd name="T15" fmla="*/ 1408 h 1531"/>
                  <a:gd name="T16" fmla="*/ 284 w 617"/>
                  <a:gd name="T17" fmla="*/ 1379 h 1531"/>
                  <a:gd name="T18" fmla="*/ 333 w 617"/>
                  <a:gd name="T19" fmla="*/ 1346 h 1531"/>
                  <a:gd name="T20" fmla="*/ 380 w 617"/>
                  <a:gd name="T21" fmla="*/ 1309 h 1531"/>
                  <a:gd name="T22" fmla="*/ 427 w 617"/>
                  <a:gd name="T23" fmla="*/ 1268 h 1531"/>
                  <a:gd name="T24" fmla="*/ 469 w 617"/>
                  <a:gd name="T25" fmla="*/ 1221 h 1531"/>
                  <a:gd name="T26" fmla="*/ 507 w 617"/>
                  <a:gd name="T27" fmla="*/ 1169 h 1531"/>
                  <a:gd name="T28" fmla="*/ 538 w 617"/>
                  <a:gd name="T29" fmla="*/ 1113 h 1531"/>
                  <a:gd name="T30" fmla="*/ 563 w 617"/>
                  <a:gd name="T31" fmla="*/ 1053 h 1531"/>
                  <a:gd name="T32" fmla="*/ 580 w 617"/>
                  <a:gd name="T33" fmla="*/ 986 h 1531"/>
                  <a:gd name="T34" fmla="*/ 589 w 617"/>
                  <a:gd name="T35" fmla="*/ 914 h 1531"/>
                  <a:gd name="T36" fmla="*/ 590 w 617"/>
                  <a:gd name="T37" fmla="*/ 836 h 1531"/>
                  <a:gd name="T38" fmla="*/ 584 w 617"/>
                  <a:gd name="T39" fmla="*/ 756 h 1531"/>
                  <a:gd name="T40" fmla="*/ 574 w 617"/>
                  <a:gd name="T41" fmla="*/ 673 h 1531"/>
                  <a:gd name="T42" fmla="*/ 559 w 617"/>
                  <a:gd name="T43" fmla="*/ 591 h 1531"/>
                  <a:gd name="T44" fmla="*/ 539 w 617"/>
                  <a:gd name="T45" fmla="*/ 508 h 1531"/>
                  <a:gd name="T46" fmla="*/ 519 w 617"/>
                  <a:gd name="T47" fmla="*/ 428 h 1531"/>
                  <a:gd name="T48" fmla="*/ 484 w 617"/>
                  <a:gd name="T49" fmla="*/ 314 h 1531"/>
                  <a:gd name="T50" fmla="*/ 439 w 617"/>
                  <a:gd name="T51" fmla="*/ 183 h 1531"/>
                  <a:gd name="T52" fmla="*/ 400 w 617"/>
                  <a:gd name="T53" fmla="*/ 83 h 1531"/>
                  <a:gd name="T54" fmla="*/ 377 w 617"/>
                  <a:gd name="T55" fmla="*/ 27 h 1531"/>
                  <a:gd name="T56" fmla="*/ 372 w 617"/>
                  <a:gd name="T57" fmla="*/ 13 h 1531"/>
                  <a:gd name="T58" fmla="*/ 375 w 617"/>
                  <a:gd name="T59" fmla="*/ 5 h 1531"/>
                  <a:gd name="T60" fmla="*/ 385 w 617"/>
                  <a:gd name="T61" fmla="*/ 0 h 1531"/>
                  <a:gd name="T62" fmla="*/ 394 w 617"/>
                  <a:gd name="T63" fmla="*/ 4 h 1531"/>
                  <a:gd name="T64" fmla="*/ 403 w 617"/>
                  <a:gd name="T65" fmla="*/ 20 h 1531"/>
                  <a:gd name="T66" fmla="*/ 429 w 617"/>
                  <a:gd name="T67" fmla="*/ 80 h 1531"/>
                  <a:gd name="T68" fmla="*/ 468 w 617"/>
                  <a:gd name="T69" fmla="*/ 183 h 1531"/>
                  <a:gd name="T70" fmla="*/ 514 w 617"/>
                  <a:gd name="T71" fmla="*/ 316 h 1531"/>
                  <a:gd name="T72" fmla="*/ 548 w 617"/>
                  <a:gd name="T73" fmla="*/ 430 h 1531"/>
                  <a:gd name="T74" fmla="*/ 569 w 617"/>
                  <a:gd name="T75" fmla="*/ 510 h 1531"/>
                  <a:gd name="T76" fmla="*/ 587 w 617"/>
                  <a:gd name="T77" fmla="*/ 593 h 1531"/>
                  <a:gd name="T78" fmla="*/ 602 w 617"/>
                  <a:gd name="T79" fmla="*/ 676 h 1531"/>
                  <a:gd name="T80" fmla="*/ 613 w 617"/>
                  <a:gd name="T81" fmla="*/ 759 h 1531"/>
                  <a:gd name="T82" fmla="*/ 617 w 617"/>
                  <a:gd name="T83" fmla="*/ 840 h 1531"/>
                  <a:gd name="T84" fmla="*/ 615 w 617"/>
                  <a:gd name="T85" fmla="*/ 918 h 1531"/>
                  <a:gd name="T86" fmla="*/ 606 w 617"/>
                  <a:gd name="T87" fmla="*/ 992 h 1531"/>
                  <a:gd name="T88" fmla="*/ 589 w 617"/>
                  <a:gd name="T89" fmla="*/ 1060 h 1531"/>
                  <a:gd name="T90" fmla="*/ 563 w 617"/>
                  <a:gd name="T91" fmla="*/ 1124 h 1531"/>
                  <a:gd name="T92" fmla="*/ 530 w 617"/>
                  <a:gd name="T93" fmla="*/ 1182 h 1531"/>
                  <a:gd name="T94" fmla="*/ 492 w 617"/>
                  <a:gd name="T95" fmla="*/ 1236 h 1531"/>
                  <a:gd name="T96" fmla="*/ 447 w 617"/>
                  <a:gd name="T97" fmla="*/ 1284 h 1531"/>
                  <a:gd name="T98" fmla="*/ 400 w 617"/>
                  <a:gd name="T99" fmla="*/ 1328 h 1531"/>
                  <a:gd name="T100" fmla="*/ 351 w 617"/>
                  <a:gd name="T101" fmla="*/ 1367 h 1531"/>
                  <a:gd name="T102" fmla="*/ 300 w 617"/>
                  <a:gd name="T103" fmla="*/ 1400 h 1531"/>
                  <a:gd name="T104" fmla="*/ 251 w 617"/>
                  <a:gd name="T105" fmla="*/ 1431 h 1531"/>
                  <a:gd name="T106" fmla="*/ 202 w 617"/>
                  <a:gd name="T107" fmla="*/ 1457 h 1531"/>
                  <a:gd name="T108" fmla="*/ 135 w 617"/>
                  <a:gd name="T109" fmla="*/ 1488 h 1531"/>
                  <a:gd name="T110" fmla="*/ 39 w 617"/>
                  <a:gd name="T111" fmla="*/ 1524 h 1531"/>
                  <a:gd name="T112" fmla="*/ 15 w 617"/>
                  <a:gd name="T113" fmla="*/ 1531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7" h="1531">
                    <a:moveTo>
                      <a:pt x="13" y="1531"/>
                    </a:moveTo>
                    <a:lnTo>
                      <a:pt x="9" y="1531"/>
                    </a:lnTo>
                    <a:lnTo>
                      <a:pt x="6" y="1529"/>
                    </a:lnTo>
                    <a:lnTo>
                      <a:pt x="2" y="1526"/>
                    </a:lnTo>
                    <a:lnTo>
                      <a:pt x="0" y="1521"/>
                    </a:lnTo>
                    <a:lnTo>
                      <a:pt x="0" y="1516"/>
                    </a:lnTo>
                    <a:lnTo>
                      <a:pt x="1" y="1511"/>
                    </a:lnTo>
                    <a:lnTo>
                      <a:pt x="6" y="1507"/>
                    </a:lnTo>
                    <a:lnTo>
                      <a:pt x="10" y="1505"/>
                    </a:lnTo>
                    <a:lnTo>
                      <a:pt x="32" y="1498"/>
                    </a:lnTo>
                    <a:lnTo>
                      <a:pt x="88" y="1478"/>
                    </a:lnTo>
                    <a:lnTo>
                      <a:pt x="124" y="1463"/>
                    </a:lnTo>
                    <a:lnTo>
                      <a:pt x="167" y="1444"/>
                    </a:lnTo>
                    <a:lnTo>
                      <a:pt x="189" y="1433"/>
                    </a:lnTo>
                    <a:lnTo>
                      <a:pt x="212" y="1421"/>
                    </a:lnTo>
                    <a:lnTo>
                      <a:pt x="236" y="1408"/>
                    </a:lnTo>
                    <a:lnTo>
                      <a:pt x="260" y="1394"/>
                    </a:lnTo>
                    <a:lnTo>
                      <a:pt x="284" y="1379"/>
                    </a:lnTo>
                    <a:lnTo>
                      <a:pt x="309" y="1364"/>
                    </a:lnTo>
                    <a:lnTo>
                      <a:pt x="333" y="1346"/>
                    </a:lnTo>
                    <a:lnTo>
                      <a:pt x="357" y="1328"/>
                    </a:lnTo>
                    <a:lnTo>
                      <a:pt x="380" y="1309"/>
                    </a:lnTo>
                    <a:lnTo>
                      <a:pt x="404" y="1288"/>
                    </a:lnTo>
                    <a:lnTo>
                      <a:pt x="427" y="1268"/>
                    </a:lnTo>
                    <a:lnTo>
                      <a:pt x="448" y="1245"/>
                    </a:lnTo>
                    <a:lnTo>
                      <a:pt x="469" y="1221"/>
                    </a:lnTo>
                    <a:lnTo>
                      <a:pt x="488" y="1195"/>
                    </a:lnTo>
                    <a:lnTo>
                      <a:pt x="507" y="1169"/>
                    </a:lnTo>
                    <a:lnTo>
                      <a:pt x="523" y="1142"/>
                    </a:lnTo>
                    <a:lnTo>
                      <a:pt x="538" y="1113"/>
                    </a:lnTo>
                    <a:lnTo>
                      <a:pt x="552" y="1084"/>
                    </a:lnTo>
                    <a:lnTo>
                      <a:pt x="563" y="1053"/>
                    </a:lnTo>
                    <a:lnTo>
                      <a:pt x="573" y="1020"/>
                    </a:lnTo>
                    <a:lnTo>
                      <a:pt x="580" y="986"/>
                    </a:lnTo>
                    <a:lnTo>
                      <a:pt x="586" y="950"/>
                    </a:lnTo>
                    <a:lnTo>
                      <a:pt x="589" y="914"/>
                    </a:lnTo>
                    <a:lnTo>
                      <a:pt x="590" y="876"/>
                    </a:lnTo>
                    <a:lnTo>
                      <a:pt x="590" y="836"/>
                    </a:lnTo>
                    <a:lnTo>
                      <a:pt x="588" y="796"/>
                    </a:lnTo>
                    <a:lnTo>
                      <a:pt x="584" y="756"/>
                    </a:lnTo>
                    <a:lnTo>
                      <a:pt x="579" y="715"/>
                    </a:lnTo>
                    <a:lnTo>
                      <a:pt x="574" y="673"/>
                    </a:lnTo>
                    <a:lnTo>
                      <a:pt x="566" y="632"/>
                    </a:lnTo>
                    <a:lnTo>
                      <a:pt x="559" y="591"/>
                    </a:lnTo>
                    <a:lnTo>
                      <a:pt x="549" y="549"/>
                    </a:lnTo>
                    <a:lnTo>
                      <a:pt x="539" y="508"/>
                    </a:lnTo>
                    <a:lnTo>
                      <a:pt x="529" y="468"/>
                    </a:lnTo>
                    <a:lnTo>
                      <a:pt x="519" y="428"/>
                    </a:lnTo>
                    <a:lnTo>
                      <a:pt x="507" y="389"/>
                    </a:lnTo>
                    <a:lnTo>
                      <a:pt x="484" y="314"/>
                    </a:lnTo>
                    <a:lnTo>
                      <a:pt x="461" y="245"/>
                    </a:lnTo>
                    <a:lnTo>
                      <a:pt x="439" y="183"/>
                    </a:lnTo>
                    <a:lnTo>
                      <a:pt x="418" y="128"/>
                    </a:lnTo>
                    <a:lnTo>
                      <a:pt x="400" y="83"/>
                    </a:lnTo>
                    <a:lnTo>
                      <a:pt x="386" y="49"/>
                    </a:lnTo>
                    <a:lnTo>
                      <a:pt x="377" y="27"/>
                    </a:lnTo>
                    <a:lnTo>
                      <a:pt x="373" y="19"/>
                    </a:lnTo>
                    <a:lnTo>
                      <a:pt x="372" y="13"/>
                    </a:lnTo>
                    <a:lnTo>
                      <a:pt x="373" y="9"/>
                    </a:lnTo>
                    <a:lnTo>
                      <a:pt x="375" y="5"/>
                    </a:lnTo>
                    <a:lnTo>
                      <a:pt x="379" y="1"/>
                    </a:lnTo>
                    <a:lnTo>
                      <a:pt x="385" y="0"/>
                    </a:lnTo>
                    <a:lnTo>
                      <a:pt x="390" y="0"/>
                    </a:lnTo>
                    <a:lnTo>
                      <a:pt x="394" y="4"/>
                    </a:lnTo>
                    <a:lnTo>
                      <a:pt x="398" y="8"/>
                    </a:lnTo>
                    <a:lnTo>
                      <a:pt x="403" y="20"/>
                    </a:lnTo>
                    <a:lnTo>
                      <a:pt x="414" y="45"/>
                    </a:lnTo>
                    <a:lnTo>
                      <a:pt x="429" y="80"/>
                    </a:lnTo>
                    <a:lnTo>
                      <a:pt x="447" y="127"/>
                    </a:lnTo>
                    <a:lnTo>
                      <a:pt x="468" y="183"/>
                    </a:lnTo>
                    <a:lnTo>
                      <a:pt x="490" y="245"/>
                    </a:lnTo>
                    <a:lnTo>
                      <a:pt x="514" y="316"/>
                    </a:lnTo>
                    <a:lnTo>
                      <a:pt x="537" y="391"/>
                    </a:lnTo>
                    <a:lnTo>
                      <a:pt x="548" y="430"/>
                    </a:lnTo>
                    <a:lnTo>
                      <a:pt x="559" y="470"/>
                    </a:lnTo>
                    <a:lnTo>
                      <a:pt x="569" y="510"/>
                    </a:lnTo>
                    <a:lnTo>
                      <a:pt x="578" y="551"/>
                    </a:lnTo>
                    <a:lnTo>
                      <a:pt x="587" y="593"/>
                    </a:lnTo>
                    <a:lnTo>
                      <a:pt x="595" y="634"/>
                    </a:lnTo>
                    <a:lnTo>
                      <a:pt x="602" y="676"/>
                    </a:lnTo>
                    <a:lnTo>
                      <a:pt x="607" y="717"/>
                    </a:lnTo>
                    <a:lnTo>
                      <a:pt x="613" y="759"/>
                    </a:lnTo>
                    <a:lnTo>
                      <a:pt x="615" y="800"/>
                    </a:lnTo>
                    <a:lnTo>
                      <a:pt x="617" y="840"/>
                    </a:lnTo>
                    <a:lnTo>
                      <a:pt x="617" y="879"/>
                    </a:lnTo>
                    <a:lnTo>
                      <a:pt x="615" y="918"/>
                    </a:lnTo>
                    <a:lnTo>
                      <a:pt x="611" y="956"/>
                    </a:lnTo>
                    <a:lnTo>
                      <a:pt x="606" y="992"/>
                    </a:lnTo>
                    <a:lnTo>
                      <a:pt x="598" y="1027"/>
                    </a:lnTo>
                    <a:lnTo>
                      <a:pt x="589" y="1060"/>
                    </a:lnTo>
                    <a:lnTo>
                      <a:pt x="577" y="1093"/>
                    </a:lnTo>
                    <a:lnTo>
                      <a:pt x="563" y="1124"/>
                    </a:lnTo>
                    <a:lnTo>
                      <a:pt x="548" y="1154"/>
                    </a:lnTo>
                    <a:lnTo>
                      <a:pt x="530" y="1182"/>
                    </a:lnTo>
                    <a:lnTo>
                      <a:pt x="511" y="1210"/>
                    </a:lnTo>
                    <a:lnTo>
                      <a:pt x="492" y="1236"/>
                    </a:lnTo>
                    <a:lnTo>
                      <a:pt x="470" y="1261"/>
                    </a:lnTo>
                    <a:lnTo>
                      <a:pt x="447" y="1284"/>
                    </a:lnTo>
                    <a:lnTo>
                      <a:pt x="424" y="1307"/>
                    </a:lnTo>
                    <a:lnTo>
                      <a:pt x="400" y="1328"/>
                    </a:lnTo>
                    <a:lnTo>
                      <a:pt x="376" y="1348"/>
                    </a:lnTo>
                    <a:lnTo>
                      <a:pt x="351" y="1367"/>
                    </a:lnTo>
                    <a:lnTo>
                      <a:pt x="325" y="1384"/>
                    </a:lnTo>
                    <a:lnTo>
                      <a:pt x="300" y="1400"/>
                    </a:lnTo>
                    <a:lnTo>
                      <a:pt x="276" y="1417"/>
                    </a:lnTo>
                    <a:lnTo>
                      <a:pt x="251" y="1431"/>
                    </a:lnTo>
                    <a:lnTo>
                      <a:pt x="226" y="1444"/>
                    </a:lnTo>
                    <a:lnTo>
                      <a:pt x="202" y="1457"/>
                    </a:lnTo>
                    <a:lnTo>
                      <a:pt x="179" y="1467"/>
                    </a:lnTo>
                    <a:lnTo>
                      <a:pt x="135" y="1488"/>
                    </a:lnTo>
                    <a:lnTo>
                      <a:pt x="97" y="1503"/>
                    </a:lnTo>
                    <a:lnTo>
                      <a:pt x="39" y="1524"/>
                    </a:lnTo>
                    <a:lnTo>
                      <a:pt x="18" y="1531"/>
                    </a:lnTo>
                    <a:lnTo>
                      <a:pt x="15" y="1531"/>
                    </a:lnTo>
                    <a:lnTo>
                      <a:pt x="13" y="15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80"/>
              <p:cNvSpPr>
                <a:spLocks/>
              </p:cNvSpPr>
              <p:nvPr userDrawn="1"/>
            </p:nvSpPr>
            <p:spPr bwMode="auto">
              <a:xfrm>
                <a:off x="1793" y="2482"/>
                <a:ext cx="125" cy="578"/>
              </a:xfrm>
              <a:custGeom>
                <a:avLst/>
                <a:gdLst>
                  <a:gd name="T0" fmla="*/ 117 w 375"/>
                  <a:gd name="T1" fmla="*/ 1732 h 1733"/>
                  <a:gd name="T2" fmla="*/ 112 w 375"/>
                  <a:gd name="T3" fmla="*/ 1728 h 1733"/>
                  <a:gd name="T4" fmla="*/ 108 w 375"/>
                  <a:gd name="T5" fmla="*/ 1721 h 1733"/>
                  <a:gd name="T6" fmla="*/ 110 w 375"/>
                  <a:gd name="T7" fmla="*/ 1711 h 1733"/>
                  <a:gd name="T8" fmla="*/ 118 w 375"/>
                  <a:gd name="T9" fmla="*/ 1705 h 1733"/>
                  <a:gd name="T10" fmla="*/ 141 w 375"/>
                  <a:gd name="T11" fmla="*/ 1686 h 1733"/>
                  <a:gd name="T12" fmla="*/ 170 w 375"/>
                  <a:gd name="T13" fmla="*/ 1659 h 1733"/>
                  <a:gd name="T14" fmla="*/ 192 w 375"/>
                  <a:gd name="T15" fmla="*/ 1633 h 1733"/>
                  <a:gd name="T16" fmla="*/ 216 w 375"/>
                  <a:gd name="T17" fmla="*/ 1602 h 1733"/>
                  <a:gd name="T18" fmla="*/ 240 w 375"/>
                  <a:gd name="T19" fmla="*/ 1564 h 1733"/>
                  <a:gd name="T20" fmla="*/ 264 w 375"/>
                  <a:gd name="T21" fmla="*/ 1520 h 1733"/>
                  <a:gd name="T22" fmla="*/ 287 w 375"/>
                  <a:gd name="T23" fmla="*/ 1467 h 1733"/>
                  <a:gd name="T24" fmla="*/ 307 w 375"/>
                  <a:gd name="T25" fmla="*/ 1408 h 1733"/>
                  <a:gd name="T26" fmla="*/ 325 w 375"/>
                  <a:gd name="T27" fmla="*/ 1341 h 1733"/>
                  <a:gd name="T28" fmla="*/ 338 w 375"/>
                  <a:gd name="T29" fmla="*/ 1264 h 1733"/>
                  <a:gd name="T30" fmla="*/ 345 w 375"/>
                  <a:gd name="T31" fmla="*/ 1180 h 1733"/>
                  <a:gd name="T32" fmla="*/ 347 w 375"/>
                  <a:gd name="T33" fmla="*/ 1086 h 1733"/>
                  <a:gd name="T34" fmla="*/ 343 w 375"/>
                  <a:gd name="T35" fmla="*/ 982 h 1733"/>
                  <a:gd name="T36" fmla="*/ 331 w 375"/>
                  <a:gd name="T37" fmla="*/ 871 h 1733"/>
                  <a:gd name="T38" fmla="*/ 314 w 375"/>
                  <a:gd name="T39" fmla="*/ 764 h 1733"/>
                  <a:gd name="T40" fmla="*/ 293 w 375"/>
                  <a:gd name="T41" fmla="*/ 665 h 1733"/>
                  <a:gd name="T42" fmla="*/ 270 w 375"/>
                  <a:gd name="T43" fmla="*/ 572 h 1733"/>
                  <a:gd name="T44" fmla="*/ 245 w 375"/>
                  <a:gd name="T45" fmla="*/ 488 h 1733"/>
                  <a:gd name="T46" fmla="*/ 217 w 375"/>
                  <a:gd name="T47" fmla="*/ 410 h 1733"/>
                  <a:gd name="T48" fmla="*/ 189 w 375"/>
                  <a:gd name="T49" fmla="*/ 340 h 1733"/>
                  <a:gd name="T50" fmla="*/ 161 w 375"/>
                  <a:gd name="T51" fmla="*/ 276 h 1733"/>
                  <a:gd name="T52" fmla="*/ 118 w 375"/>
                  <a:gd name="T53" fmla="*/ 195 h 1733"/>
                  <a:gd name="T54" fmla="*/ 69 w 375"/>
                  <a:gd name="T55" fmla="*/ 111 h 1733"/>
                  <a:gd name="T56" fmla="*/ 29 w 375"/>
                  <a:gd name="T57" fmla="*/ 55 h 1733"/>
                  <a:gd name="T58" fmla="*/ 6 w 375"/>
                  <a:gd name="T59" fmla="*/ 27 h 1733"/>
                  <a:gd name="T60" fmla="*/ 1 w 375"/>
                  <a:gd name="T61" fmla="*/ 18 h 1733"/>
                  <a:gd name="T62" fmla="*/ 1 w 375"/>
                  <a:gd name="T63" fmla="*/ 9 h 1733"/>
                  <a:gd name="T64" fmla="*/ 8 w 375"/>
                  <a:gd name="T65" fmla="*/ 1 h 1733"/>
                  <a:gd name="T66" fmla="*/ 19 w 375"/>
                  <a:gd name="T67" fmla="*/ 1 h 1733"/>
                  <a:gd name="T68" fmla="*/ 27 w 375"/>
                  <a:gd name="T69" fmla="*/ 9 h 1733"/>
                  <a:gd name="T70" fmla="*/ 49 w 375"/>
                  <a:gd name="T71" fmla="*/ 38 h 1733"/>
                  <a:gd name="T72" fmla="*/ 89 w 375"/>
                  <a:gd name="T73" fmla="*/ 95 h 1733"/>
                  <a:gd name="T74" fmla="*/ 127 w 375"/>
                  <a:gd name="T75" fmla="*/ 157 h 1733"/>
                  <a:gd name="T76" fmla="*/ 155 w 375"/>
                  <a:gd name="T77" fmla="*/ 206 h 1733"/>
                  <a:gd name="T78" fmla="*/ 183 w 375"/>
                  <a:gd name="T79" fmla="*/ 263 h 1733"/>
                  <a:gd name="T80" fmla="*/ 212 w 375"/>
                  <a:gd name="T81" fmla="*/ 327 h 1733"/>
                  <a:gd name="T82" fmla="*/ 242 w 375"/>
                  <a:gd name="T83" fmla="*/ 399 h 1733"/>
                  <a:gd name="T84" fmla="*/ 270 w 375"/>
                  <a:gd name="T85" fmla="*/ 478 h 1733"/>
                  <a:gd name="T86" fmla="*/ 295 w 375"/>
                  <a:gd name="T87" fmla="*/ 564 h 1733"/>
                  <a:gd name="T88" fmla="*/ 319 w 375"/>
                  <a:gd name="T89" fmla="*/ 657 h 1733"/>
                  <a:gd name="T90" fmla="*/ 341 w 375"/>
                  <a:gd name="T91" fmla="*/ 759 h 1733"/>
                  <a:gd name="T92" fmla="*/ 357 w 375"/>
                  <a:gd name="T93" fmla="*/ 867 h 1733"/>
                  <a:gd name="T94" fmla="*/ 370 w 375"/>
                  <a:gd name="T95" fmla="*/ 981 h 1733"/>
                  <a:gd name="T96" fmla="*/ 375 w 375"/>
                  <a:gd name="T97" fmla="*/ 1088 h 1733"/>
                  <a:gd name="T98" fmla="*/ 373 w 375"/>
                  <a:gd name="T99" fmla="*/ 1184 h 1733"/>
                  <a:gd name="T100" fmla="*/ 365 w 375"/>
                  <a:gd name="T101" fmla="*/ 1272 h 1733"/>
                  <a:gd name="T102" fmla="*/ 351 w 375"/>
                  <a:gd name="T103" fmla="*/ 1349 h 1733"/>
                  <a:gd name="T104" fmla="*/ 333 w 375"/>
                  <a:gd name="T105" fmla="*/ 1420 h 1733"/>
                  <a:gd name="T106" fmla="*/ 313 w 375"/>
                  <a:gd name="T107" fmla="*/ 1481 h 1733"/>
                  <a:gd name="T108" fmla="*/ 289 w 375"/>
                  <a:gd name="T109" fmla="*/ 1534 h 1733"/>
                  <a:gd name="T110" fmla="*/ 264 w 375"/>
                  <a:gd name="T111" fmla="*/ 1580 h 1733"/>
                  <a:gd name="T112" fmla="*/ 238 w 375"/>
                  <a:gd name="T113" fmla="*/ 1619 h 1733"/>
                  <a:gd name="T114" fmla="*/ 215 w 375"/>
                  <a:gd name="T115" fmla="*/ 1652 h 1733"/>
                  <a:gd name="T116" fmla="*/ 191 w 375"/>
                  <a:gd name="T117" fmla="*/ 1679 h 1733"/>
                  <a:gd name="T118" fmla="*/ 161 w 375"/>
                  <a:gd name="T119" fmla="*/ 1707 h 1733"/>
                  <a:gd name="T120" fmla="*/ 134 w 375"/>
                  <a:gd name="T121" fmla="*/ 1727 h 1733"/>
                  <a:gd name="T122" fmla="*/ 125 w 375"/>
                  <a:gd name="T123" fmla="*/ 173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5" h="1733">
                    <a:moveTo>
                      <a:pt x="121" y="1733"/>
                    </a:moveTo>
                    <a:lnTo>
                      <a:pt x="117" y="1732"/>
                    </a:lnTo>
                    <a:lnTo>
                      <a:pt x="114" y="1730"/>
                    </a:lnTo>
                    <a:lnTo>
                      <a:pt x="112" y="1728"/>
                    </a:lnTo>
                    <a:lnTo>
                      <a:pt x="110" y="1725"/>
                    </a:lnTo>
                    <a:lnTo>
                      <a:pt x="108" y="1721"/>
                    </a:lnTo>
                    <a:lnTo>
                      <a:pt x="108" y="1715"/>
                    </a:lnTo>
                    <a:lnTo>
                      <a:pt x="110" y="1711"/>
                    </a:lnTo>
                    <a:lnTo>
                      <a:pt x="114" y="1707"/>
                    </a:lnTo>
                    <a:lnTo>
                      <a:pt x="118" y="1705"/>
                    </a:lnTo>
                    <a:lnTo>
                      <a:pt x="127" y="1698"/>
                    </a:lnTo>
                    <a:lnTo>
                      <a:pt x="141" y="1686"/>
                    </a:lnTo>
                    <a:lnTo>
                      <a:pt x="159" y="1669"/>
                    </a:lnTo>
                    <a:lnTo>
                      <a:pt x="170" y="1659"/>
                    </a:lnTo>
                    <a:lnTo>
                      <a:pt x="181" y="1647"/>
                    </a:lnTo>
                    <a:lnTo>
                      <a:pt x="192" y="1633"/>
                    </a:lnTo>
                    <a:lnTo>
                      <a:pt x="204" y="1619"/>
                    </a:lnTo>
                    <a:lnTo>
                      <a:pt x="216" y="1602"/>
                    </a:lnTo>
                    <a:lnTo>
                      <a:pt x="227" y="1584"/>
                    </a:lnTo>
                    <a:lnTo>
                      <a:pt x="240" y="1564"/>
                    </a:lnTo>
                    <a:lnTo>
                      <a:pt x="252" y="1543"/>
                    </a:lnTo>
                    <a:lnTo>
                      <a:pt x="264" y="1520"/>
                    </a:lnTo>
                    <a:lnTo>
                      <a:pt x="275" y="1494"/>
                    </a:lnTo>
                    <a:lnTo>
                      <a:pt x="287" y="1467"/>
                    </a:lnTo>
                    <a:lnTo>
                      <a:pt x="297" y="1439"/>
                    </a:lnTo>
                    <a:lnTo>
                      <a:pt x="307" y="1408"/>
                    </a:lnTo>
                    <a:lnTo>
                      <a:pt x="316" y="1375"/>
                    </a:lnTo>
                    <a:lnTo>
                      <a:pt x="325" y="1341"/>
                    </a:lnTo>
                    <a:lnTo>
                      <a:pt x="331" y="1303"/>
                    </a:lnTo>
                    <a:lnTo>
                      <a:pt x="338" y="1264"/>
                    </a:lnTo>
                    <a:lnTo>
                      <a:pt x="342" y="1223"/>
                    </a:lnTo>
                    <a:lnTo>
                      <a:pt x="345" y="1180"/>
                    </a:lnTo>
                    <a:lnTo>
                      <a:pt x="347" y="1133"/>
                    </a:lnTo>
                    <a:lnTo>
                      <a:pt x="347" y="1086"/>
                    </a:lnTo>
                    <a:lnTo>
                      <a:pt x="346" y="1035"/>
                    </a:lnTo>
                    <a:lnTo>
                      <a:pt x="343" y="982"/>
                    </a:lnTo>
                    <a:lnTo>
                      <a:pt x="338" y="927"/>
                    </a:lnTo>
                    <a:lnTo>
                      <a:pt x="331" y="871"/>
                    </a:lnTo>
                    <a:lnTo>
                      <a:pt x="322" y="816"/>
                    </a:lnTo>
                    <a:lnTo>
                      <a:pt x="314" y="764"/>
                    </a:lnTo>
                    <a:lnTo>
                      <a:pt x="304" y="714"/>
                    </a:lnTo>
                    <a:lnTo>
                      <a:pt x="293" y="665"/>
                    </a:lnTo>
                    <a:lnTo>
                      <a:pt x="283" y="617"/>
                    </a:lnTo>
                    <a:lnTo>
                      <a:pt x="270" y="572"/>
                    </a:lnTo>
                    <a:lnTo>
                      <a:pt x="258" y="529"/>
                    </a:lnTo>
                    <a:lnTo>
                      <a:pt x="245" y="488"/>
                    </a:lnTo>
                    <a:lnTo>
                      <a:pt x="231" y="448"/>
                    </a:lnTo>
                    <a:lnTo>
                      <a:pt x="217" y="410"/>
                    </a:lnTo>
                    <a:lnTo>
                      <a:pt x="203" y="374"/>
                    </a:lnTo>
                    <a:lnTo>
                      <a:pt x="189" y="340"/>
                    </a:lnTo>
                    <a:lnTo>
                      <a:pt x="175" y="307"/>
                    </a:lnTo>
                    <a:lnTo>
                      <a:pt x="161" y="276"/>
                    </a:lnTo>
                    <a:lnTo>
                      <a:pt x="146" y="247"/>
                    </a:lnTo>
                    <a:lnTo>
                      <a:pt x="118" y="195"/>
                    </a:lnTo>
                    <a:lnTo>
                      <a:pt x="92" y="150"/>
                    </a:lnTo>
                    <a:lnTo>
                      <a:pt x="69" y="111"/>
                    </a:lnTo>
                    <a:lnTo>
                      <a:pt x="47" y="80"/>
                    </a:lnTo>
                    <a:lnTo>
                      <a:pt x="29" y="55"/>
                    </a:lnTo>
                    <a:lnTo>
                      <a:pt x="16" y="38"/>
                    </a:lnTo>
                    <a:lnTo>
                      <a:pt x="6" y="27"/>
                    </a:lnTo>
                    <a:lnTo>
                      <a:pt x="3" y="23"/>
                    </a:lnTo>
                    <a:lnTo>
                      <a:pt x="1" y="18"/>
                    </a:lnTo>
                    <a:lnTo>
                      <a:pt x="0" y="13"/>
                    </a:lnTo>
                    <a:lnTo>
                      <a:pt x="1" y="9"/>
                    </a:lnTo>
                    <a:lnTo>
                      <a:pt x="4" y="4"/>
                    </a:lnTo>
                    <a:lnTo>
                      <a:pt x="8" y="1"/>
                    </a:lnTo>
                    <a:lnTo>
                      <a:pt x="14" y="0"/>
                    </a:lnTo>
                    <a:lnTo>
                      <a:pt x="19" y="1"/>
                    </a:lnTo>
                    <a:lnTo>
                      <a:pt x="23" y="4"/>
                    </a:lnTo>
                    <a:lnTo>
                      <a:pt x="27" y="9"/>
                    </a:lnTo>
                    <a:lnTo>
                      <a:pt x="35" y="19"/>
                    </a:lnTo>
                    <a:lnTo>
                      <a:pt x="49" y="38"/>
                    </a:lnTo>
                    <a:lnTo>
                      <a:pt x="68" y="63"/>
                    </a:lnTo>
                    <a:lnTo>
                      <a:pt x="89" y="95"/>
                    </a:lnTo>
                    <a:lnTo>
                      <a:pt x="114" y="134"/>
                    </a:lnTo>
                    <a:lnTo>
                      <a:pt x="127" y="157"/>
                    </a:lnTo>
                    <a:lnTo>
                      <a:pt x="141" y="180"/>
                    </a:lnTo>
                    <a:lnTo>
                      <a:pt x="155" y="206"/>
                    </a:lnTo>
                    <a:lnTo>
                      <a:pt x="169" y="233"/>
                    </a:lnTo>
                    <a:lnTo>
                      <a:pt x="183" y="263"/>
                    </a:lnTo>
                    <a:lnTo>
                      <a:pt x="198" y="295"/>
                    </a:lnTo>
                    <a:lnTo>
                      <a:pt x="212" y="327"/>
                    </a:lnTo>
                    <a:lnTo>
                      <a:pt x="227" y="363"/>
                    </a:lnTo>
                    <a:lnTo>
                      <a:pt x="242" y="399"/>
                    </a:lnTo>
                    <a:lnTo>
                      <a:pt x="256" y="437"/>
                    </a:lnTo>
                    <a:lnTo>
                      <a:pt x="270" y="478"/>
                    </a:lnTo>
                    <a:lnTo>
                      <a:pt x="283" y="520"/>
                    </a:lnTo>
                    <a:lnTo>
                      <a:pt x="295" y="564"/>
                    </a:lnTo>
                    <a:lnTo>
                      <a:pt x="307" y="610"/>
                    </a:lnTo>
                    <a:lnTo>
                      <a:pt x="319" y="657"/>
                    </a:lnTo>
                    <a:lnTo>
                      <a:pt x="330" y="707"/>
                    </a:lnTo>
                    <a:lnTo>
                      <a:pt x="341" y="759"/>
                    </a:lnTo>
                    <a:lnTo>
                      <a:pt x="349" y="812"/>
                    </a:lnTo>
                    <a:lnTo>
                      <a:pt x="357" y="867"/>
                    </a:lnTo>
                    <a:lnTo>
                      <a:pt x="365" y="924"/>
                    </a:lnTo>
                    <a:lnTo>
                      <a:pt x="370" y="981"/>
                    </a:lnTo>
                    <a:lnTo>
                      <a:pt x="373" y="1035"/>
                    </a:lnTo>
                    <a:lnTo>
                      <a:pt x="375" y="1088"/>
                    </a:lnTo>
                    <a:lnTo>
                      <a:pt x="374" y="1137"/>
                    </a:lnTo>
                    <a:lnTo>
                      <a:pt x="373" y="1184"/>
                    </a:lnTo>
                    <a:lnTo>
                      <a:pt x="369" y="1230"/>
                    </a:lnTo>
                    <a:lnTo>
                      <a:pt x="365" y="1272"/>
                    </a:lnTo>
                    <a:lnTo>
                      <a:pt x="358" y="1312"/>
                    </a:lnTo>
                    <a:lnTo>
                      <a:pt x="351" y="1349"/>
                    </a:lnTo>
                    <a:lnTo>
                      <a:pt x="343" y="1386"/>
                    </a:lnTo>
                    <a:lnTo>
                      <a:pt x="333" y="1420"/>
                    </a:lnTo>
                    <a:lnTo>
                      <a:pt x="324" y="1451"/>
                    </a:lnTo>
                    <a:lnTo>
                      <a:pt x="313" y="1481"/>
                    </a:lnTo>
                    <a:lnTo>
                      <a:pt x="301" y="1508"/>
                    </a:lnTo>
                    <a:lnTo>
                      <a:pt x="289" y="1534"/>
                    </a:lnTo>
                    <a:lnTo>
                      <a:pt x="277" y="1558"/>
                    </a:lnTo>
                    <a:lnTo>
                      <a:pt x="264" y="1580"/>
                    </a:lnTo>
                    <a:lnTo>
                      <a:pt x="251" y="1601"/>
                    </a:lnTo>
                    <a:lnTo>
                      <a:pt x="238" y="1619"/>
                    </a:lnTo>
                    <a:lnTo>
                      <a:pt x="226" y="1637"/>
                    </a:lnTo>
                    <a:lnTo>
                      <a:pt x="215" y="1652"/>
                    </a:lnTo>
                    <a:lnTo>
                      <a:pt x="202" y="1666"/>
                    </a:lnTo>
                    <a:lnTo>
                      <a:pt x="191" y="1679"/>
                    </a:lnTo>
                    <a:lnTo>
                      <a:pt x="180" y="1689"/>
                    </a:lnTo>
                    <a:lnTo>
                      <a:pt x="161" y="1707"/>
                    </a:lnTo>
                    <a:lnTo>
                      <a:pt x="144" y="1720"/>
                    </a:lnTo>
                    <a:lnTo>
                      <a:pt x="134" y="1727"/>
                    </a:lnTo>
                    <a:lnTo>
                      <a:pt x="128" y="1730"/>
                    </a:lnTo>
                    <a:lnTo>
                      <a:pt x="125" y="1732"/>
                    </a:lnTo>
                    <a:lnTo>
                      <a:pt x="121" y="17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81"/>
              <p:cNvSpPr>
                <a:spLocks/>
              </p:cNvSpPr>
              <p:nvPr userDrawn="1"/>
            </p:nvSpPr>
            <p:spPr bwMode="auto">
              <a:xfrm>
                <a:off x="1781" y="2423"/>
                <a:ext cx="180" cy="642"/>
              </a:xfrm>
              <a:custGeom>
                <a:avLst/>
                <a:gdLst>
                  <a:gd name="T0" fmla="*/ 515 w 541"/>
                  <a:gd name="T1" fmla="*/ 1926 h 1926"/>
                  <a:gd name="T2" fmla="*/ 508 w 541"/>
                  <a:gd name="T3" fmla="*/ 1925 h 1926"/>
                  <a:gd name="T4" fmla="*/ 502 w 541"/>
                  <a:gd name="T5" fmla="*/ 1917 h 1926"/>
                  <a:gd name="T6" fmla="*/ 502 w 541"/>
                  <a:gd name="T7" fmla="*/ 1901 h 1926"/>
                  <a:gd name="T8" fmla="*/ 507 w 541"/>
                  <a:gd name="T9" fmla="*/ 1830 h 1926"/>
                  <a:gd name="T10" fmla="*/ 512 w 541"/>
                  <a:gd name="T11" fmla="*/ 1703 h 1926"/>
                  <a:gd name="T12" fmla="*/ 514 w 541"/>
                  <a:gd name="T13" fmla="*/ 1538 h 1926"/>
                  <a:gd name="T14" fmla="*/ 510 w 541"/>
                  <a:gd name="T15" fmla="*/ 1397 h 1926"/>
                  <a:gd name="T16" fmla="*/ 505 w 541"/>
                  <a:gd name="T17" fmla="*/ 1298 h 1926"/>
                  <a:gd name="T18" fmla="*/ 497 w 541"/>
                  <a:gd name="T19" fmla="*/ 1196 h 1926"/>
                  <a:gd name="T20" fmla="*/ 485 w 541"/>
                  <a:gd name="T21" fmla="*/ 1096 h 1926"/>
                  <a:gd name="T22" fmla="*/ 470 w 541"/>
                  <a:gd name="T23" fmla="*/ 996 h 1926"/>
                  <a:gd name="T24" fmla="*/ 449 w 541"/>
                  <a:gd name="T25" fmla="*/ 900 h 1926"/>
                  <a:gd name="T26" fmla="*/ 424 w 541"/>
                  <a:gd name="T27" fmla="*/ 810 h 1926"/>
                  <a:gd name="T28" fmla="*/ 394 w 541"/>
                  <a:gd name="T29" fmla="*/ 727 h 1926"/>
                  <a:gd name="T30" fmla="*/ 343 w 541"/>
                  <a:gd name="T31" fmla="*/ 621 h 1926"/>
                  <a:gd name="T32" fmla="*/ 276 w 541"/>
                  <a:gd name="T33" fmla="*/ 491 h 1926"/>
                  <a:gd name="T34" fmla="*/ 180 w 541"/>
                  <a:gd name="T35" fmla="*/ 317 h 1926"/>
                  <a:gd name="T36" fmla="*/ 74 w 541"/>
                  <a:gd name="T37" fmla="*/ 136 h 1926"/>
                  <a:gd name="T38" fmla="*/ 11 w 541"/>
                  <a:gd name="T39" fmla="*/ 35 h 1926"/>
                  <a:gd name="T40" fmla="*/ 0 w 541"/>
                  <a:gd name="T41" fmla="*/ 15 h 1926"/>
                  <a:gd name="T42" fmla="*/ 2 w 541"/>
                  <a:gd name="T43" fmla="*/ 5 h 1926"/>
                  <a:gd name="T44" fmla="*/ 11 w 541"/>
                  <a:gd name="T45" fmla="*/ 0 h 1926"/>
                  <a:gd name="T46" fmla="*/ 20 w 541"/>
                  <a:gd name="T47" fmla="*/ 2 h 1926"/>
                  <a:gd name="T48" fmla="*/ 33 w 541"/>
                  <a:gd name="T49" fmla="*/ 21 h 1926"/>
                  <a:gd name="T50" fmla="*/ 97 w 541"/>
                  <a:gd name="T51" fmla="*/ 122 h 1926"/>
                  <a:gd name="T52" fmla="*/ 204 w 541"/>
                  <a:gd name="T53" fmla="*/ 303 h 1926"/>
                  <a:gd name="T54" fmla="*/ 300 w 541"/>
                  <a:gd name="T55" fmla="*/ 478 h 1926"/>
                  <a:gd name="T56" fmla="*/ 368 w 541"/>
                  <a:gd name="T57" fmla="*/ 609 h 1926"/>
                  <a:gd name="T58" fmla="*/ 419 w 541"/>
                  <a:gd name="T59" fmla="*/ 716 h 1926"/>
                  <a:gd name="T60" fmla="*/ 450 w 541"/>
                  <a:gd name="T61" fmla="*/ 799 h 1926"/>
                  <a:gd name="T62" fmla="*/ 475 w 541"/>
                  <a:gd name="T63" fmla="*/ 890 h 1926"/>
                  <a:gd name="T64" fmla="*/ 495 w 541"/>
                  <a:gd name="T65" fmla="*/ 986 h 1926"/>
                  <a:gd name="T66" fmla="*/ 512 w 541"/>
                  <a:gd name="T67" fmla="*/ 1085 h 1926"/>
                  <a:gd name="T68" fmla="*/ 524 w 541"/>
                  <a:gd name="T69" fmla="*/ 1185 h 1926"/>
                  <a:gd name="T70" fmla="*/ 532 w 541"/>
                  <a:gd name="T71" fmla="*/ 1286 h 1926"/>
                  <a:gd name="T72" fmla="*/ 538 w 541"/>
                  <a:gd name="T73" fmla="*/ 1385 h 1926"/>
                  <a:gd name="T74" fmla="*/ 541 w 541"/>
                  <a:gd name="T75" fmla="*/ 1526 h 1926"/>
                  <a:gd name="T76" fmla="*/ 540 w 541"/>
                  <a:gd name="T77" fmla="*/ 1693 h 1926"/>
                  <a:gd name="T78" fmla="*/ 534 w 541"/>
                  <a:gd name="T79" fmla="*/ 1821 h 1926"/>
                  <a:gd name="T80" fmla="*/ 530 w 541"/>
                  <a:gd name="T81" fmla="*/ 1899 h 1926"/>
                  <a:gd name="T82" fmla="*/ 527 w 541"/>
                  <a:gd name="T83" fmla="*/ 1918 h 1926"/>
                  <a:gd name="T84" fmla="*/ 520 w 541"/>
                  <a:gd name="T85" fmla="*/ 1925 h 1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1" h="1926">
                    <a:moveTo>
                      <a:pt x="515" y="1926"/>
                    </a:moveTo>
                    <a:lnTo>
                      <a:pt x="515" y="1926"/>
                    </a:lnTo>
                    <a:lnTo>
                      <a:pt x="514" y="1926"/>
                    </a:lnTo>
                    <a:lnTo>
                      <a:pt x="508" y="1925"/>
                    </a:lnTo>
                    <a:lnTo>
                      <a:pt x="505" y="1922"/>
                    </a:lnTo>
                    <a:lnTo>
                      <a:pt x="502" y="1917"/>
                    </a:lnTo>
                    <a:lnTo>
                      <a:pt x="502" y="1912"/>
                    </a:lnTo>
                    <a:lnTo>
                      <a:pt x="502" y="1901"/>
                    </a:lnTo>
                    <a:lnTo>
                      <a:pt x="504" y="1873"/>
                    </a:lnTo>
                    <a:lnTo>
                      <a:pt x="507" y="1830"/>
                    </a:lnTo>
                    <a:lnTo>
                      <a:pt x="510" y="1773"/>
                    </a:lnTo>
                    <a:lnTo>
                      <a:pt x="512" y="1703"/>
                    </a:lnTo>
                    <a:lnTo>
                      <a:pt x="513" y="1626"/>
                    </a:lnTo>
                    <a:lnTo>
                      <a:pt x="514" y="1538"/>
                    </a:lnTo>
                    <a:lnTo>
                      <a:pt x="512" y="1445"/>
                    </a:lnTo>
                    <a:lnTo>
                      <a:pt x="510" y="1397"/>
                    </a:lnTo>
                    <a:lnTo>
                      <a:pt x="507" y="1347"/>
                    </a:lnTo>
                    <a:lnTo>
                      <a:pt x="505" y="1298"/>
                    </a:lnTo>
                    <a:lnTo>
                      <a:pt x="501" y="1247"/>
                    </a:lnTo>
                    <a:lnTo>
                      <a:pt x="497" y="1196"/>
                    </a:lnTo>
                    <a:lnTo>
                      <a:pt x="491" y="1145"/>
                    </a:lnTo>
                    <a:lnTo>
                      <a:pt x="485" y="1096"/>
                    </a:lnTo>
                    <a:lnTo>
                      <a:pt x="477" y="1045"/>
                    </a:lnTo>
                    <a:lnTo>
                      <a:pt x="470" y="996"/>
                    </a:lnTo>
                    <a:lnTo>
                      <a:pt x="460" y="948"/>
                    </a:lnTo>
                    <a:lnTo>
                      <a:pt x="449" y="900"/>
                    </a:lnTo>
                    <a:lnTo>
                      <a:pt x="437" y="854"/>
                    </a:lnTo>
                    <a:lnTo>
                      <a:pt x="424" y="810"/>
                    </a:lnTo>
                    <a:lnTo>
                      <a:pt x="410" y="768"/>
                    </a:lnTo>
                    <a:lnTo>
                      <a:pt x="394" y="727"/>
                    </a:lnTo>
                    <a:lnTo>
                      <a:pt x="377" y="689"/>
                    </a:lnTo>
                    <a:lnTo>
                      <a:pt x="343" y="621"/>
                    </a:lnTo>
                    <a:lnTo>
                      <a:pt x="310" y="555"/>
                    </a:lnTo>
                    <a:lnTo>
                      <a:pt x="276" y="491"/>
                    </a:lnTo>
                    <a:lnTo>
                      <a:pt x="244" y="430"/>
                    </a:lnTo>
                    <a:lnTo>
                      <a:pt x="180" y="317"/>
                    </a:lnTo>
                    <a:lnTo>
                      <a:pt x="123" y="218"/>
                    </a:lnTo>
                    <a:lnTo>
                      <a:pt x="74" y="136"/>
                    </a:lnTo>
                    <a:lnTo>
                      <a:pt x="37" y="75"/>
                    </a:lnTo>
                    <a:lnTo>
                      <a:pt x="11" y="35"/>
                    </a:lnTo>
                    <a:lnTo>
                      <a:pt x="2" y="21"/>
                    </a:lnTo>
                    <a:lnTo>
                      <a:pt x="0" y="15"/>
                    </a:lnTo>
                    <a:lnTo>
                      <a:pt x="0" y="10"/>
                    </a:lnTo>
                    <a:lnTo>
                      <a:pt x="2" y="5"/>
                    </a:lnTo>
                    <a:lnTo>
                      <a:pt x="5" y="2"/>
                    </a:lnTo>
                    <a:lnTo>
                      <a:pt x="11" y="0"/>
                    </a:lnTo>
                    <a:lnTo>
                      <a:pt x="16" y="0"/>
                    </a:lnTo>
                    <a:lnTo>
                      <a:pt x="20" y="2"/>
                    </a:lnTo>
                    <a:lnTo>
                      <a:pt x="25" y="5"/>
                    </a:lnTo>
                    <a:lnTo>
                      <a:pt x="33" y="21"/>
                    </a:lnTo>
                    <a:lnTo>
                      <a:pt x="59" y="61"/>
                    </a:lnTo>
                    <a:lnTo>
                      <a:pt x="97" y="122"/>
                    </a:lnTo>
                    <a:lnTo>
                      <a:pt x="147" y="204"/>
                    </a:lnTo>
                    <a:lnTo>
                      <a:pt x="204" y="303"/>
                    </a:lnTo>
                    <a:lnTo>
                      <a:pt x="268" y="417"/>
                    </a:lnTo>
                    <a:lnTo>
                      <a:pt x="300" y="478"/>
                    </a:lnTo>
                    <a:lnTo>
                      <a:pt x="333" y="542"/>
                    </a:lnTo>
                    <a:lnTo>
                      <a:pt x="368" y="609"/>
                    </a:lnTo>
                    <a:lnTo>
                      <a:pt x="402" y="677"/>
                    </a:lnTo>
                    <a:lnTo>
                      <a:pt x="419" y="716"/>
                    </a:lnTo>
                    <a:lnTo>
                      <a:pt x="435" y="757"/>
                    </a:lnTo>
                    <a:lnTo>
                      <a:pt x="450" y="799"/>
                    </a:lnTo>
                    <a:lnTo>
                      <a:pt x="463" y="844"/>
                    </a:lnTo>
                    <a:lnTo>
                      <a:pt x="475" y="890"/>
                    </a:lnTo>
                    <a:lnTo>
                      <a:pt x="486" y="937"/>
                    </a:lnTo>
                    <a:lnTo>
                      <a:pt x="495" y="986"/>
                    </a:lnTo>
                    <a:lnTo>
                      <a:pt x="504" y="1035"/>
                    </a:lnTo>
                    <a:lnTo>
                      <a:pt x="512" y="1085"/>
                    </a:lnTo>
                    <a:lnTo>
                      <a:pt x="518" y="1135"/>
                    </a:lnTo>
                    <a:lnTo>
                      <a:pt x="524" y="1185"/>
                    </a:lnTo>
                    <a:lnTo>
                      <a:pt x="528" y="1236"/>
                    </a:lnTo>
                    <a:lnTo>
                      <a:pt x="532" y="1286"/>
                    </a:lnTo>
                    <a:lnTo>
                      <a:pt x="535" y="1335"/>
                    </a:lnTo>
                    <a:lnTo>
                      <a:pt x="538" y="1385"/>
                    </a:lnTo>
                    <a:lnTo>
                      <a:pt x="540" y="1434"/>
                    </a:lnTo>
                    <a:lnTo>
                      <a:pt x="541" y="1526"/>
                    </a:lnTo>
                    <a:lnTo>
                      <a:pt x="541" y="1614"/>
                    </a:lnTo>
                    <a:lnTo>
                      <a:pt x="540" y="1693"/>
                    </a:lnTo>
                    <a:lnTo>
                      <a:pt x="538" y="1763"/>
                    </a:lnTo>
                    <a:lnTo>
                      <a:pt x="534" y="1821"/>
                    </a:lnTo>
                    <a:lnTo>
                      <a:pt x="532" y="1868"/>
                    </a:lnTo>
                    <a:lnTo>
                      <a:pt x="530" y="1899"/>
                    </a:lnTo>
                    <a:lnTo>
                      <a:pt x="529" y="1914"/>
                    </a:lnTo>
                    <a:lnTo>
                      <a:pt x="527" y="1918"/>
                    </a:lnTo>
                    <a:lnTo>
                      <a:pt x="525" y="1923"/>
                    </a:lnTo>
                    <a:lnTo>
                      <a:pt x="520" y="1925"/>
                    </a:lnTo>
                    <a:lnTo>
                      <a:pt x="515" y="19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82"/>
              <p:cNvSpPr>
                <a:spLocks/>
              </p:cNvSpPr>
              <p:nvPr userDrawn="1"/>
            </p:nvSpPr>
            <p:spPr bwMode="auto">
              <a:xfrm>
                <a:off x="1884" y="2558"/>
                <a:ext cx="141" cy="507"/>
              </a:xfrm>
              <a:custGeom>
                <a:avLst/>
                <a:gdLst>
                  <a:gd name="T0" fmla="*/ 405 w 423"/>
                  <a:gd name="T1" fmla="*/ 1521 h 1522"/>
                  <a:gd name="T2" fmla="*/ 397 w 423"/>
                  <a:gd name="T3" fmla="*/ 1514 h 1522"/>
                  <a:gd name="T4" fmla="*/ 396 w 423"/>
                  <a:gd name="T5" fmla="*/ 1498 h 1522"/>
                  <a:gd name="T6" fmla="*/ 392 w 423"/>
                  <a:gd name="T7" fmla="*/ 1424 h 1522"/>
                  <a:gd name="T8" fmla="*/ 381 w 423"/>
                  <a:gd name="T9" fmla="*/ 1290 h 1522"/>
                  <a:gd name="T10" fmla="*/ 365 w 423"/>
                  <a:gd name="T11" fmla="*/ 1157 h 1522"/>
                  <a:gd name="T12" fmla="*/ 350 w 423"/>
                  <a:gd name="T13" fmla="*/ 1057 h 1522"/>
                  <a:gd name="T14" fmla="*/ 331 w 423"/>
                  <a:gd name="T15" fmla="*/ 948 h 1522"/>
                  <a:gd name="T16" fmla="*/ 306 w 423"/>
                  <a:gd name="T17" fmla="*/ 832 h 1522"/>
                  <a:gd name="T18" fmla="*/ 277 w 423"/>
                  <a:gd name="T19" fmla="*/ 711 h 1522"/>
                  <a:gd name="T20" fmla="*/ 243 w 423"/>
                  <a:gd name="T21" fmla="*/ 587 h 1522"/>
                  <a:gd name="T22" fmla="*/ 202 w 423"/>
                  <a:gd name="T23" fmla="*/ 460 h 1522"/>
                  <a:gd name="T24" fmla="*/ 154 w 423"/>
                  <a:gd name="T25" fmla="*/ 332 h 1522"/>
                  <a:gd name="T26" fmla="*/ 99 w 423"/>
                  <a:gd name="T27" fmla="*/ 205 h 1522"/>
                  <a:gd name="T28" fmla="*/ 35 w 423"/>
                  <a:gd name="T29" fmla="*/ 81 h 1522"/>
                  <a:gd name="T30" fmla="*/ 0 w 423"/>
                  <a:gd name="T31" fmla="*/ 15 h 1522"/>
                  <a:gd name="T32" fmla="*/ 2 w 423"/>
                  <a:gd name="T33" fmla="*/ 5 h 1522"/>
                  <a:gd name="T34" fmla="*/ 12 w 423"/>
                  <a:gd name="T35" fmla="*/ 0 h 1522"/>
                  <a:gd name="T36" fmla="*/ 21 w 423"/>
                  <a:gd name="T37" fmla="*/ 2 h 1522"/>
                  <a:gd name="T38" fmla="*/ 59 w 423"/>
                  <a:gd name="T39" fmla="*/ 68 h 1522"/>
                  <a:gd name="T40" fmla="*/ 123 w 423"/>
                  <a:gd name="T41" fmla="*/ 193 h 1522"/>
                  <a:gd name="T42" fmla="*/ 179 w 423"/>
                  <a:gd name="T43" fmla="*/ 321 h 1522"/>
                  <a:gd name="T44" fmla="*/ 226 w 423"/>
                  <a:gd name="T45" fmla="*/ 450 h 1522"/>
                  <a:gd name="T46" fmla="*/ 269 w 423"/>
                  <a:gd name="T47" fmla="*/ 578 h 1522"/>
                  <a:gd name="T48" fmla="*/ 303 w 423"/>
                  <a:gd name="T49" fmla="*/ 704 h 1522"/>
                  <a:gd name="T50" fmla="*/ 333 w 423"/>
                  <a:gd name="T51" fmla="*/ 826 h 1522"/>
                  <a:gd name="T52" fmla="*/ 357 w 423"/>
                  <a:gd name="T53" fmla="*/ 942 h 1522"/>
                  <a:gd name="T54" fmla="*/ 377 w 423"/>
                  <a:gd name="T55" fmla="*/ 1052 h 1522"/>
                  <a:gd name="T56" fmla="*/ 392 w 423"/>
                  <a:gd name="T57" fmla="*/ 1154 h 1522"/>
                  <a:gd name="T58" fmla="*/ 408 w 423"/>
                  <a:gd name="T59" fmla="*/ 1288 h 1522"/>
                  <a:gd name="T60" fmla="*/ 419 w 423"/>
                  <a:gd name="T61" fmla="*/ 1423 h 1522"/>
                  <a:gd name="T62" fmla="*/ 423 w 423"/>
                  <a:gd name="T63" fmla="*/ 1497 h 1522"/>
                  <a:gd name="T64" fmla="*/ 422 w 423"/>
                  <a:gd name="T65" fmla="*/ 1514 h 1522"/>
                  <a:gd name="T66" fmla="*/ 415 w 423"/>
                  <a:gd name="T67" fmla="*/ 1521 h 1522"/>
                  <a:gd name="T68" fmla="*/ 410 w 423"/>
                  <a:gd name="T69" fmla="*/ 1522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3" h="1522">
                    <a:moveTo>
                      <a:pt x="410" y="1522"/>
                    </a:moveTo>
                    <a:lnTo>
                      <a:pt x="405" y="1521"/>
                    </a:lnTo>
                    <a:lnTo>
                      <a:pt x="400" y="1519"/>
                    </a:lnTo>
                    <a:lnTo>
                      <a:pt x="397" y="1514"/>
                    </a:lnTo>
                    <a:lnTo>
                      <a:pt x="396" y="1509"/>
                    </a:lnTo>
                    <a:lnTo>
                      <a:pt x="396" y="1498"/>
                    </a:lnTo>
                    <a:lnTo>
                      <a:pt x="395" y="1469"/>
                    </a:lnTo>
                    <a:lnTo>
                      <a:pt x="392" y="1424"/>
                    </a:lnTo>
                    <a:lnTo>
                      <a:pt x="387" y="1363"/>
                    </a:lnTo>
                    <a:lnTo>
                      <a:pt x="381" y="1290"/>
                    </a:lnTo>
                    <a:lnTo>
                      <a:pt x="371" y="1204"/>
                    </a:lnTo>
                    <a:lnTo>
                      <a:pt x="365" y="1157"/>
                    </a:lnTo>
                    <a:lnTo>
                      <a:pt x="358" y="1108"/>
                    </a:lnTo>
                    <a:lnTo>
                      <a:pt x="350" y="1057"/>
                    </a:lnTo>
                    <a:lnTo>
                      <a:pt x="341" y="1003"/>
                    </a:lnTo>
                    <a:lnTo>
                      <a:pt x="331" y="948"/>
                    </a:lnTo>
                    <a:lnTo>
                      <a:pt x="319" y="890"/>
                    </a:lnTo>
                    <a:lnTo>
                      <a:pt x="306" y="832"/>
                    </a:lnTo>
                    <a:lnTo>
                      <a:pt x="292" y="772"/>
                    </a:lnTo>
                    <a:lnTo>
                      <a:pt x="277" y="711"/>
                    </a:lnTo>
                    <a:lnTo>
                      <a:pt x="261" y="650"/>
                    </a:lnTo>
                    <a:lnTo>
                      <a:pt x="243" y="587"/>
                    </a:lnTo>
                    <a:lnTo>
                      <a:pt x="223" y="523"/>
                    </a:lnTo>
                    <a:lnTo>
                      <a:pt x="202" y="460"/>
                    </a:lnTo>
                    <a:lnTo>
                      <a:pt x="179" y="396"/>
                    </a:lnTo>
                    <a:lnTo>
                      <a:pt x="154" y="332"/>
                    </a:lnTo>
                    <a:lnTo>
                      <a:pt x="127" y="269"/>
                    </a:lnTo>
                    <a:lnTo>
                      <a:pt x="99" y="205"/>
                    </a:lnTo>
                    <a:lnTo>
                      <a:pt x="68" y="142"/>
                    </a:lnTo>
                    <a:lnTo>
                      <a:pt x="35" y="81"/>
                    </a:lnTo>
                    <a:lnTo>
                      <a:pt x="1" y="20"/>
                    </a:lnTo>
                    <a:lnTo>
                      <a:pt x="0" y="15"/>
                    </a:lnTo>
                    <a:lnTo>
                      <a:pt x="0" y="10"/>
                    </a:lnTo>
                    <a:lnTo>
                      <a:pt x="2" y="5"/>
                    </a:lnTo>
                    <a:lnTo>
                      <a:pt x="6" y="1"/>
                    </a:lnTo>
                    <a:lnTo>
                      <a:pt x="12" y="0"/>
                    </a:lnTo>
                    <a:lnTo>
                      <a:pt x="16" y="0"/>
                    </a:lnTo>
                    <a:lnTo>
                      <a:pt x="21" y="2"/>
                    </a:lnTo>
                    <a:lnTo>
                      <a:pt x="25" y="6"/>
                    </a:lnTo>
                    <a:lnTo>
                      <a:pt x="59" y="68"/>
                    </a:lnTo>
                    <a:lnTo>
                      <a:pt x="93" y="130"/>
                    </a:lnTo>
                    <a:lnTo>
                      <a:pt x="123" y="193"/>
                    </a:lnTo>
                    <a:lnTo>
                      <a:pt x="152" y="257"/>
                    </a:lnTo>
                    <a:lnTo>
                      <a:pt x="179" y="321"/>
                    </a:lnTo>
                    <a:lnTo>
                      <a:pt x="204" y="386"/>
                    </a:lnTo>
                    <a:lnTo>
                      <a:pt x="226" y="450"/>
                    </a:lnTo>
                    <a:lnTo>
                      <a:pt x="248" y="515"/>
                    </a:lnTo>
                    <a:lnTo>
                      <a:pt x="269" y="578"/>
                    </a:lnTo>
                    <a:lnTo>
                      <a:pt x="287" y="641"/>
                    </a:lnTo>
                    <a:lnTo>
                      <a:pt x="303" y="704"/>
                    </a:lnTo>
                    <a:lnTo>
                      <a:pt x="319" y="765"/>
                    </a:lnTo>
                    <a:lnTo>
                      <a:pt x="333" y="826"/>
                    </a:lnTo>
                    <a:lnTo>
                      <a:pt x="345" y="885"/>
                    </a:lnTo>
                    <a:lnTo>
                      <a:pt x="357" y="942"/>
                    </a:lnTo>
                    <a:lnTo>
                      <a:pt x="368" y="998"/>
                    </a:lnTo>
                    <a:lnTo>
                      <a:pt x="377" y="1052"/>
                    </a:lnTo>
                    <a:lnTo>
                      <a:pt x="385" y="1104"/>
                    </a:lnTo>
                    <a:lnTo>
                      <a:pt x="392" y="1154"/>
                    </a:lnTo>
                    <a:lnTo>
                      <a:pt x="398" y="1201"/>
                    </a:lnTo>
                    <a:lnTo>
                      <a:pt x="408" y="1288"/>
                    </a:lnTo>
                    <a:lnTo>
                      <a:pt x="414" y="1362"/>
                    </a:lnTo>
                    <a:lnTo>
                      <a:pt x="419" y="1423"/>
                    </a:lnTo>
                    <a:lnTo>
                      <a:pt x="422" y="1468"/>
                    </a:lnTo>
                    <a:lnTo>
                      <a:pt x="423" y="1497"/>
                    </a:lnTo>
                    <a:lnTo>
                      <a:pt x="423" y="1509"/>
                    </a:lnTo>
                    <a:lnTo>
                      <a:pt x="422" y="1514"/>
                    </a:lnTo>
                    <a:lnTo>
                      <a:pt x="420" y="1519"/>
                    </a:lnTo>
                    <a:lnTo>
                      <a:pt x="415" y="1521"/>
                    </a:lnTo>
                    <a:lnTo>
                      <a:pt x="410" y="1522"/>
                    </a:lnTo>
                    <a:lnTo>
                      <a:pt x="410" y="1522"/>
                    </a:lnTo>
                    <a:lnTo>
                      <a:pt x="410" y="15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83"/>
              <p:cNvSpPr>
                <a:spLocks/>
              </p:cNvSpPr>
              <p:nvPr userDrawn="1"/>
            </p:nvSpPr>
            <p:spPr bwMode="auto">
              <a:xfrm>
                <a:off x="2032" y="2814"/>
                <a:ext cx="69" cy="256"/>
              </a:xfrm>
              <a:custGeom>
                <a:avLst/>
                <a:gdLst>
                  <a:gd name="T0" fmla="*/ 188 w 205"/>
                  <a:gd name="T1" fmla="*/ 768 h 768"/>
                  <a:gd name="T2" fmla="*/ 188 w 205"/>
                  <a:gd name="T3" fmla="*/ 768 h 768"/>
                  <a:gd name="T4" fmla="*/ 186 w 205"/>
                  <a:gd name="T5" fmla="*/ 768 h 768"/>
                  <a:gd name="T6" fmla="*/ 181 w 205"/>
                  <a:gd name="T7" fmla="*/ 766 h 768"/>
                  <a:gd name="T8" fmla="*/ 178 w 205"/>
                  <a:gd name="T9" fmla="*/ 762 h 768"/>
                  <a:gd name="T10" fmla="*/ 175 w 205"/>
                  <a:gd name="T11" fmla="*/ 758 h 768"/>
                  <a:gd name="T12" fmla="*/ 175 w 205"/>
                  <a:gd name="T13" fmla="*/ 753 h 768"/>
                  <a:gd name="T14" fmla="*/ 176 w 205"/>
                  <a:gd name="T15" fmla="*/ 736 h 768"/>
                  <a:gd name="T16" fmla="*/ 178 w 205"/>
                  <a:gd name="T17" fmla="*/ 689 h 768"/>
                  <a:gd name="T18" fmla="*/ 178 w 205"/>
                  <a:gd name="T19" fmla="*/ 656 h 768"/>
                  <a:gd name="T20" fmla="*/ 177 w 205"/>
                  <a:gd name="T21" fmla="*/ 617 h 768"/>
                  <a:gd name="T22" fmla="*/ 173 w 205"/>
                  <a:gd name="T23" fmla="*/ 573 h 768"/>
                  <a:gd name="T24" fmla="*/ 168 w 205"/>
                  <a:gd name="T25" fmla="*/ 524 h 768"/>
                  <a:gd name="T26" fmla="*/ 165 w 205"/>
                  <a:gd name="T27" fmla="*/ 498 h 768"/>
                  <a:gd name="T28" fmla="*/ 161 w 205"/>
                  <a:gd name="T29" fmla="*/ 471 h 768"/>
                  <a:gd name="T30" fmla="*/ 156 w 205"/>
                  <a:gd name="T31" fmla="*/ 443 h 768"/>
                  <a:gd name="T32" fmla="*/ 151 w 205"/>
                  <a:gd name="T33" fmla="*/ 414 h 768"/>
                  <a:gd name="T34" fmla="*/ 144 w 205"/>
                  <a:gd name="T35" fmla="*/ 384 h 768"/>
                  <a:gd name="T36" fmla="*/ 137 w 205"/>
                  <a:gd name="T37" fmla="*/ 353 h 768"/>
                  <a:gd name="T38" fmla="*/ 128 w 205"/>
                  <a:gd name="T39" fmla="*/ 322 h 768"/>
                  <a:gd name="T40" fmla="*/ 118 w 205"/>
                  <a:gd name="T41" fmla="*/ 291 h 768"/>
                  <a:gd name="T42" fmla="*/ 109 w 205"/>
                  <a:gd name="T43" fmla="*/ 258 h 768"/>
                  <a:gd name="T44" fmla="*/ 97 w 205"/>
                  <a:gd name="T45" fmla="*/ 225 h 768"/>
                  <a:gd name="T46" fmla="*/ 84 w 205"/>
                  <a:gd name="T47" fmla="*/ 191 h 768"/>
                  <a:gd name="T48" fmla="*/ 70 w 205"/>
                  <a:gd name="T49" fmla="*/ 158 h 768"/>
                  <a:gd name="T50" fmla="*/ 55 w 205"/>
                  <a:gd name="T51" fmla="*/ 125 h 768"/>
                  <a:gd name="T52" fmla="*/ 38 w 205"/>
                  <a:gd name="T53" fmla="*/ 90 h 768"/>
                  <a:gd name="T54" fmla="*/ 20 w 205"/>
                  <a:gd name="T55" fmla="*/ 55 h 768"/>
                  <a:gd name="T56" fmla="*/ 1 w 205"/>
                  <a:gd name="T57" fmla="*/ 21 h 768"/>
                  <a:gd name="T58" fmla="*/ 0 w 205"/>
                  <a:gd name="T59" fmla="*/ 15 h 768"/>
                  <a:gd name="T60" fmla="*/ 0 w 205"/>
                  <a:gd name="T61" fmla="*/ 10 h 768"/>
                  <a:gd name="T62" fmla="*/ 2 w 205"/>
                  <a:gd name="T63" fmla="*/ 6 h 768"/>
                  <a:gd name="T64" fmla="*/ 6 w 205"/>
                  <a:gd name="T65" fmla="*/ 3 h 768"/>
                  <a:gd name="T66" fmla="*/ 11 w 205"/>
                  <a:gd name="T67" fmla="*/ 0 h 768"/>
                  <a:gd name="T68" fmla="*/ 16 w 205"/>
                  <a:gd name="T69" fmla="*/ 1 h 768"/>
                  <a:gd name="T70" fmla="*/ 21 w 205"/>
                  <a:gd name="T71" fmla="*/ 4 h 768"/>
                  <a:gd name="T72" fmla="*/ 24 w 205"/>
                  <a:gd name="T73" fmla="*/ 7 h 768"/>
                  <a:gd name="T74" fmla="*/ 44 w 205"/>
                  <a:gd name="T75" fmla="*/ 42 h 768"/>
                  <a:gd name="T76" fmla="*/ 62 w 205"/>
                  <a:gd name="T77" fmla="*/ 78 h 768"/>
                  <a:gd name="T78" fmla="*/ 80 w 205"/>
                  <a:gd name="T79" fmla="*/ 113 h 768"/>
                  <a:gd name="T80" fmla="*/ 95 w 205"/>
                  <a:gd name="T81" fmla="*/ 148 h 768"/>
                  <a:gd name="T82" fmla="*/ 110 w 205"/>
                  <a:gd name="T83" fmla="*/ 182 h 768"/>
                  <a:gd name="T84" fmla="*/ 123 w 205"/>
                  <a:gd name="T85" fmla="*/ 216 h 768"/>
                  <a:gd name="T86" fmla="*/ 135 w 205"/>
                  <a:gd name="T87" fmla="*/ 250 h 768"/>
                  <a:gd name="T88" fmla="*/ 144 w 205"/>
                  <a:gd name="T89" fmla="*/ 283 h 768"/>
                  <a:gd name="T90" fmla="*/ 154 w 205"/>
                  <a:gd name="T91" fmla="*/ 316 h 768"/>
                  <a:gd name="T92" fmla="*/ 163 w 205"/>
                  <a:gd name="T93" fmla="*/ 348 h 768"/>
                  <a:gd name="T94" fmla="*/ 170 w 205"/>
                  <a:gd name="T95" fmla="*/ 378 h 768"/>
                  <a:gd name="T96" fmla="*/ 177 w 205"/>
                  <a:gd name="T97" fmla="*/ 410 h 768"/>
                  <a:gd name="T98" fmla="*/ 183 w 205"/>
                  <a:gd name="T99" fmla="*/ 439 h 768"/>
                  <a:gd name="T100" fmla="*/ 188 w 205"/>
                  <a:gd name="T101" fmla="*/ 468 h 768"/>
                  <a:gd name="T102" fmla="*/ 192 w 205"/>
                  <a:gd name="T103" fmla="*/ 495 h 768"/>
                  <a:gd name="T104" fmla="*/ 195 w 205"/>
                  <a:gd name="T105" fmla="*/ 522 h 768"/>
                  <a:gd name="T106" fmla="*/ 200 w 205"/>
                  <a:gd name="T107" fmla="*/ 571 h 768"/>
                  <a:gd name="T108" fmla="*/ 204 w 205"/>
                  <a:gd name="T109" fmla="*/ 617 h 768"/>
                  <a:gd name="T110" fmla="*/ 205 w 205"/>
                  <a:gd name="T111" fmla="*/ 657 h 768"/>
                  <a:gd name="T112" fmla="*/ 205 w 205"/>
                  <a:gd name="T113" fmla="*/ 690 h 768"/>
                  <a:gd name="T114" fmla="*/ 203 w 205"/>
                  <a:gd name="T115" fmla="*/ 738 h 768"/>
                  <a:gd name="T116" fmla="*/ 202 w 205"/>
                  <a:gd name="T117" fmla="*/ 756 h 768"/>
                  <a:gd name="T118" fmla="*/ 199 w 205"/>
                  <a:gd name="T119" fmla="*/ 760 h 768"/>
                  <a:gd name="T120" fmla="*/ 197 w 205"/>
                  <a:gd name="T121" fmla="*/ 765 h 768"/>
                  <a:gd name="T122" fmla="*/ 193 w 205"/>
                  <a:gd name="T123" fmla="*/ 767 h 768"/>
                  <a:gd name="T124" fmla="*/ 188 w 205"/>
                  <a:gd name="T125" fmla="*/ 768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 h="768">
                    <a:moveTo>
                      <a:pt x="188" y="768"/>
                    </a:moveTo>
                    <a:lnTo>
                      <a:pt x="188" y="768"/>
                    </a:lnTo>
                    <a:lnTo>
                      <a:pt x="186" y="768"/>
                    </a:lnTo>
                    <a:lnTo>
                      <a:pt x="181" y="766"/>
                    </a:lnTo>
                    <a:lnTo>
                      <a:pt x="178" y="762"/>
                    </a:lnTo>
                    <a:lnTo>
                      <a:pt x="175" y="758"/>
                    </a:lnTo>
                    <a:lnTo>
                      <a:pt x="175" y="753"/>
                    </a:lnTo>
                    <a:lnTo>
                      <a:pt x="176" y="736"/>
                    </a:lnTo>
                    <a:lnTo>
                      <a:pt x="178" y="689"/>
                    </a:lnTo>
                    <a:lnTo>
                      <a:pt x="178" y="656"/>
                    </a:lnTo>
                    <a:lnTo>
                      <a:pt x="177" y="617"/>
                    </a:lnTo>
                    <a:lnTo>
                      <a:pt x="173" y="573"/>
                    </a:lnTo>
                    <a:lnTo>
                      <a:pt x="168" y="524"/>
                    </a:lnTo>
                    <a:lnTo>
                      <a:pt x="165" y="498"/>
                    </a:lnTo>
                    <a:lnTo>
                      <a:pt x="161" y="471"/>
                    </a:lnTo>
                    <a:lnTo>
                      <a:pt x="156" y="443"/>
                    </a:lnTo>
                    <a:lnTo>
                      <a:pt x="151" y="414"/>
                    </a:lnTo>
                    <a:lnTo>
                      <a:pt x="144" y="384"/>
                    </a:lnTo>
                    <a:lnTo>
                      <a:pt x="137" y="353"/>
                    </a:lnTo>
                    <a:lnTo>
                      <a:pt x="128" y="322"/>
                    </a:lnTo>
                    <a:lnTo>
                      <a:pt x="118" y="291"/>
                    </a:lnTo>
                    <a:lnTo>
                      <a:pt x="109" y="258"/>
                    </a:lnTo>
                    <a:lnTo>
                      <a:pt x="97" y="225"/>
                    </a:lnTo>
                    <a:lnTo>
                      <a:pt x="84" y="191"/>
                    </a:lnTo>
                    <a:lnTo>
                      <a:pt x="70" y="158"/>
                    </a:lnTo>
                    <a:lnTo>
                      <a:pt x="55" y="125"/>
                    </a:lnTo>
                    <a:lnTo>
                      <a:pt x="38" y="90"/>
                    </a:lnTo>
                    <a:lnTo>
                      <a:pt x="20" y="55"/>
                    </a:lnTo>
                    <a:lnTo>
                      <a:pt x="1" y="21"/>
                    </a:lnTo>
                    <a:lnTo>
                      <a:pt x="0" y="15"/>
                    </a:lnTo>
                    <a:lnTo>
                      <a:pt x="0" y="10"/>
                    </a:lnTo>
                    <a:lnTo>
                      <a:pt x="2" y="6"/>
                    </a:lnTo>
                    <a:lnTo>
                      <a:pt x="6" y="3"/>
                    </a:lnTo>
                    <a:lnTo>
                      <a:pt x="11" y="0"/>
                    </a:lnTo>
                    <a:lnTo>
                      <a:pt x="16" y="1"/>
                    </a:lnTo>
                    <a:lnTo>
                      <a:pt x="21" y="4"/>
                    </a:lnTo>
                    <a:lnTo>
                      <a:pt x="24" y="7"/>
                    </a:lnTo>
                    <a:lnTo>
                      <a:pt x="44" y="42"/>
                    </a:lnTo>
                    <a:lnTo>
                      <a:pt x="62" y="78"/>
                    </a:lnTo>
                    <a:lnTo>
                      <a:pt x="80" y="113"/>
                    </a:lnTo>
                    <a:lnTo>
                      <a:pt x="95" y="148"/>
                    </a:lnTo>
                    <a:lnTo>
                      <a:pt x="110" y="182"/>
                    </a:lnTo>
                    <a:lnTo>
                      <a:pt x="123" y="216"/>
                    </a:lnTo>
                    <a:lnTo>
                      <a:pt x="135" y="250"/>
                    </a:lnTo>
                    <a:lnTo>
                      <a:pt x="144" y="283"/>
                    </a:lnTo>
                    <a:lnTo>
                      <a:pt x="154" y="316"/>
                    </a:lnTo>
                    <a:lnTo>
                      <a:pt x="163" y="348"/>
                    </a:lnTo>
                    <a:lnTo>
                      <a:pt x="170" y="378"/>
                    </a:lnTo>
                    <a:lnTo>
                      <a:pt x="177" y="410"/>
                    </a:lnTo>
                    <a:lnTo>
                      <a:pt x="183" y="439"/>
                    </a:lnTo>
                    <a:lnTo>
                      <a:pt x="188" y="468"/>
                    </a:lnTo>
                    <a:lnTo>
                      <a:pt x="192" y="495"/>
                    </a:lnTo>
                    <a:lnTo>
                      <a:pt x="195" y="522"/>
                    </a:lnTo>
                    <a:lnTo>
                      <a:pt x="200" y="571"/>
                    </a:lnTo>
                    <a:lnTo>
                      <a:pt x="204" y="617"/>
                    </a:lnTo>
                    <a:lnTo>
                      <a:pt x="205" y="657"/>
                    </a:lnTo>
                    <a:lnTo>
                      <a:pt x="205" y="690"/>
                    </a:lnTo>
                    <a:lnTo>
                      <a:pt x="203" y="738"/>
                    </a:lnTo>
                    <a:lnTo>
                      <a:pt x="202" y="756"/>
                    </a:lnTo>
                    <a:lnTo>
                      <a:pt x="199" y="760"/>
                    </a:lnTo>
                    <a:lnTo>
                      <a:pt x="197" y="765"/>
                    </a:lnTo>
                    <a:lnTo>
                      <a:pt x="193" y="767"/>
                    </a:lnTo>
                    <a:lnTo>
                      <a:pt x="188" y="7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84"/>
              <p:cNvSpPr>
                <a:spLocks noEditPoints="1"/>
              </p:cNvSpPr>
              <p:nvPr userDrawn="1"/>
            </p:nvSpPr>
            <p:spPr bwMode="auto">
              <a:xfrm>
                <a:off x="1552" y="1929"/>
                <a:ext cx="193" cy="300"/>
              </a:xfrm>
              <a:custGeom>
                <a:avLst/>
                <a:gdLst>
                  <a:gd name="T0" fmla="*/ 201 w 579"/>
                  <a:gd name="T1" fmla="*/ 898 h 900"/>
                  <a:gd name="T2" fmla="*/ 139 w 579"/>
                  <a:gd name="T3" fmla="*/ 875 h 900"/>
                  <a:gd name="T4" fmla="*/ 83 w 579"/>
                  <a:gd name="T5" fmla="*/ 826 h 900"/>
                  <a:gd name="T6" fmla="*/ 41 w 579"/>
                  <a:gd name="T7" fmla="*/ 757 h 900"/>
                  <a:gd name="T8" fmla="*/ 13 w 579"/>
                  <a:gd name="T9" fmla="*/ 669 h 900"/>
                  <a:gd name="T10" fmla="*/ 1 w 579"/>
                  <a:gd name="T11" fmla="*/ 569 h 900"/>
                  <a:gd name="T12" fmla="*/ 5 w 579"/>
                  <a:gd name="T13" fmla="*/ 459 h 900"/>
                  <a:gd name="T14" fmla="*/ 28 w 579"/>
                  <a:gd name="T15" fmla="*/ 350 h 900"/>
                  <a:gd name="T16" fmla="*/ 62 w 579"/>
                  <a:gd name="T17" fmla="*/ 254 h 900"/>
                  <a:gd name="T18" fmla="*/ 107 w 579"/>
                  <a:gd name="T19" fmla="*/ 169 h 900"/>
                  <a:gd name="T20" fmla="*/ 161 w 579"/>
                  <a:gd name="T21" fmla="*/ 99 h 900"/>
                  <a:gd name="T22" fmla="*/ 220 w 579"/>
                  <a:gd name="T23" fmla="*/ 46 h 900"/>
                  <a:gd name="T24" fmla="*/ 284 w 579"/>
                  <a:gd name="T25" fmla="*/ 12 h 900"/>
                  <a:gd name="T26" fmla="*/ 350 w 579"/>
                  <a:gd name="T27" fmla="*/ 0 h 900"/>
                  <a:gd name="T28" fmla="*/ 402 w 579"/>
                  <a:gd name="T29" fmla="*/ 7 h 900"/>
                  <a:gd name="T30" fmla="*/ 464 w 579"/>
                  <a:gd name="T31" fmla="*/ 42 h 900"/>
                  <a:gd name="T32" fmla="*/ 514 w 579"/>
                  <a:gd name="T33" fmla="*/ 100 h 900"/>
                  <a:gd name="T34" fmla="*/ 551 w 579"/>
                  <a:gd name="T35" fmla="*/ 177 h 900"/>
                  <a:gd name="T36" fmla="*/ 573 w 579"/>
                  <a:gd name="T37" fmla="*/ 270 h 900"/>
                  <a:gd name="T38" fmla="*/ 579 w 579"/>
                  <a:gd name="T39" fmla="*/ 374 h 900"/>
                  <a:gd name="T40" fmla="*/ 567 w 579"/>
                  <a:gd name="T41" fmla="*/ 487 h 900"/>
                  <a:gd name="T42" fmla="*/ 539 w 579"/>
                  <a:gd name="T43" fmla="*/ 590 h 900"/>
                  <a:gd name="T44" fmla="*/ 500 w 579"/>
                  <a:gd name="T45" fmla="*/ 682 h 900"/>
                  <a:gd name="T46" fmla="*/ 451 w 579"/>
                  <a:gd name="T47" fmla="*/ 761 h 900"/>
                  <a:gd name="T48" fmla="*/ 395 w 579"/>
                  <a:gd name="T49" fmla="*/ 825 h 900"/>
                  <a:gd name="T50" fmla="*/ 334 w 579"/>
                  <a:gd name="T51" fmla="*/ 870 h 900"/>
                  <a:gd name="T52" fmla="*/ 269 w 579"/>
                  <a:gd name="T53" fmla="*/ 896 h 900"/>
                  <a:gd name="T54" fmla="*/ 350 w 579"/>
                  <a:gd name="T55" fmla="*/ 27 h 900"/>
                  <a:gd name="T56" fmla="*/ 289 w 579"/>
                  <a:gd name="T57" fmla="*/ 39 h 900"/>
                  <a:gd name="T58" fmla="*/ 231 w 579"/>
                  <a:gd name="T59" fmla="*/ 70 h 900"/>
                  <a:gd name="T60" fmla="*/ 176 w 579"/>
                  <a:gd name="T61" fmla="*/ 121 h 900"/>
                  <a:gd name="T62" fmla="*/ 127 w 579"/>
                  <a:gd name="T63" fmla="*/ 187 h 900"/>
                  <a:gd name="T64" fmla="*/ 59 w 579"/>
                  <a:gd name="T65" fmla="*/ 339 h 900"/>
                  <a:gd name="T66" fmla="*/ 36 w 579"/>
                  <a:gd name="T67" fmla="*/ 439 h 900"/>
                  <a:gd name="T68" fmla="*/ 27 w 579"/>
                  <a:gd name="T69" fmla="*/ 544 h 900"/>
                  <a:gd name="T70" fmla="*/ 35 w 579"/>
                  <a:gd name="T71" fmla="*/ 640 h 900"/>
                  <a:gd name="T72" fmla="*/ 56 w 579"/>
                  <a:gd name="T73" fmla="*/ 724 h 900"/>
                  <a:gd name="T74" fmla="*/ 92 w 579"/>
                  <a:gd name="T75" fmla="*/ 793 h 900"/>
                  <a:gd name="T76" fmla="*/ 139 w 579"/>
                  <a:gd name="T77" fmla="*/ 843 h 900"/>
                  <a:gd name="T78" fmla="*/ 198 w 579"/>
                  <a:gd name="T79" fmla="*/ 870 h 900"/>
                  <a:gd name="T80" fmla="*/ 266 w 579"/>
                  <a:gd name="T81" fmla="*/ 869 h 900"/>
                  <a:gd name="T82" fmla="*/ 325 w 579"/>
                  <a:gd name="T83" fmla="*/ 845 h 900"/>
                  <a:gd name="T84" fmla="*/ 381 w 579"/>
                  <a:gd name="T85" fmla="*/ 802 h 900"/>
                  <a:gd name="T86" fmla="*/ 433 w 579"/>
                  <a:gd name="T87" fmla="*/ 741 h 900"/>
                  <a:gd name="T88" fmla="*/ 501 w 579"/>
                  <a:gd name="T89" fmla="*/ 616 h 900"/>
                  <a:gd name="T90" fmla="*/ 536 w 579"/>
                  <a:gd name="T91" fmla="*/ 504 h 900"/>
                  <a:gd name="T92" fmla="*/ 551 w 579"/>
                  <a:gd name="T93" fmla="*/ 397 h 900"/>
                  <a:gd name="T94" fmla="*/ 550 w 579"/>
                  <a:gd name="T95" fmla="*/ 298 h 900"/>
                  <a:gd name="T96" fmla="*/ 533 w 579"/>
                  <a:gd name="T97" fmla="*/ 208 h 900"/>
                  <a:gd name="T98" fmla="*/ 503 w 579"/>
                  <a:gd name="T99" fmla="*/ 133 h 900"/>
                  <a:gd name="T100" fmla="*/ 460 w 579"/>
                  <a:gd name="T101" fmla="*/ 74 h 900"/>
                  <a:gd name="T102" fmla="*/ 406 w 579"/>
                  <a:gd name="T103" fmla="*/ 39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9" h="900">
                    <a:moveTo>
                      <a:pt x="229" y="900"/>
                    </a:moveTo>
                    <a:lnTo>
                      <a:pt x="229" y="900"/>
                    </a:lnTo>
                    <a:lnTo>
                      <a:pt x="220" y="900"/>
                    </a:lnTo>
                    <a:lnTo>
                      <a:pt x="211" y="899"/>
                    </a:lnTo>
                    <a:lnTo>
                      <a:pt x="201" y="898"/>
                    </a:lnTo>
                    <a:lnTo>
                      <a:pt x="191" y="896"/>
                    </a:lnTo>
                    <a:lnTo>
                      <a:pt x="178" y="893"/>
                    </a:lnTo>
                    <a:lnTo>
                      <a:pt x="164" y="887"/>
                    </a:lnTo>
                    <a:lnTo>
                      <a:pt x="151" y="882"/>
                    </a:lnTo>
                    <a:lnTo>
                      <a:pt x="139" y="875"/>
                    </a:lnTo>
                    <a:lnTo>
                      <a:pt x="126" y="867"/>
                    </a:lnTo>
                    <a:lnTo>
                      <a:pt x="116" y="858"/>
                    </a:lnTo>
                    <a:lnTo>
                      <a:pt x="104" y="848"/>
                    </a:lnTo>
                    <a:lnTo>
                      <a:pt x="94" y="838"/>
                    </a:lnTo>
                    <a:lnTo>
                      <a:pt x="83" y="826"/>
                    </a:lnTo>
                    <a:lnTo>
                      <a:pt x="73" y="814"/>
                    </a:lnTo>
                    <a:lnTo>
                      <a:pt x="65" y="801"/>
                    </a:lnTo>
                    <a:lnTo>
                      <a:pt x="56" y="787"/>
                    </a:lnTo>
                    <a:lnTo>
                      <a:pt x="49" y="772"/>
                    </a:lnTo>
                    <a:lnTo>
                      <a:pt x="41" y="757"/>
                    </a:lnTo>
                    <a:lnTo>
                      <a:pt x="35" y="740"/>
                    </a:lnTo>
                    <a:lnTo>
                      <a:pt x="28" y="723"/>
                    </a:lnTo>
                    <a:lnTo>
                      <a:pt x="23" y="706"/>
                    </a:lnTo>
                    <a:lnTo>
                      <a:pt x="17" y="687"/>
                    </a:lnTo>
                    <a:lnTo>
                      <a:pt x="13" y="669"/>
                    </a:lnTo>
                    <a:lnTo>
                      <a:pt x="10" y="650"/>
                    </a:lnTo>
                    <a:lnTo>
                      <a:pt x="7" y="630"/>
                    </a:lnTo>
                    <a:lnTo>
                      <a:pt x="3" y="610"/>
                    </a:lnTo>
                    <a:lnTo>
                      <a:pt x="2" y="589"/>
                    </a:lnTo>
                    <a:lnTo>
                      <a:pt x="1" y="569"/>
                    </a:lnTo>
                    <a:lnTo>
                      <a:pt x="0" y="547"/>
                    </a:lnTo>
                    <a:lnTo>
                      <a:pt x="0" y="526"/>
                    </a:lnTo>
                    <a:lnTo>
                      <a:pt x="1" y="504"/>
                    </a:lnTo>
                    <a:lnTo>
                      <a:pt x="3" y="481"/>
                    </a:lnTo>
                    <a:lnTo>
                      <a:pt x="5" y="459"/>
                    </a:lnTo>
                    <a:lnTo>
                      <a:pt x="9" y="436"/>
                    </a:lnTo>
                    <a:lnTo>
                      <a:pt x="13" y="413"/>
                    </a:lnTo>
                    <a:lnTo>
                      <a:pt x="17" y="391"/>
                    </a:lnTo>
                    <a:lnTo>
                      <a:pt x="23" y="370"/>
                    </a:lnTo>
                    <a:lnTo>
                      <a:pt x="28" y="350"/>
                    </a:lnTo>
                    <a:lnTo>
                      <a:pt x="34" y="329"/>
                    </a:lnTo>
                    <a:lnTo>
                      <a:pt x="40" y="310"/>
                    </a:lnTo>
                    <a:lnTo>
                      <a:pt x="47" y="290"/>
                    </a:lnTo>
                    <a:lnTo>
                      <a:pt x="54" y="272"/>
                    </a:lnTo>
                    <a:lnTo>
                      <a:pt x="62" y="254"/>
                    </a:lnTo>
                    <a:lnTo>
                      <a:pt x="70" y="235"/>
                    </a:lnTo>
                    <a:lnTo>
                      <a:pt x="79" y="218"/>
                    </a:lnTo>
                    <a:lnTo>
                      <a:pt x="88" y="202"/>
                    </a:lnTo>
                    <a:lnTo>
                      <a:pt x="97" y="184"/>
                    </a:lnTo>
                    <a:lnTo>
                      <a:pt x="107" y="169"/>
                    </a:lnTo>
                    <a:lnTo>
                      <a:pt x="117" y="154"/>
                    </a:lnTo>
                    <a:lnTo>
                      <a:pt x="127" y="139"/>
                    </a:lnTo>
                    <a:lnTo>
                      <a:pt x="138" y="125"/>
                    </a:lnTo>
                    <a:lnTo>
                      <a:pt x="149" y="112"/>
                    </a:lnTo>
                    <a:lnTo>
                      <a:pt x="161" y="99"/>
                    </a:lnTo>
                    <a:lnTo>
                      <a:pt x="172" y="87"/>
                    </a:lnTo>
                    <a:lnTo>
                      <a:pt x="184" y="75"/>
                    </a:lnTo>
                    <a:lnTo>
                      <a:pt x="196" y="65"/>
                    </a:lnTo>
                    <a:lnTo>
                      <a:pt x="207" y="55"/>
                    </a:lnTo>
                    <a:lnTo>
                      <a:pt x="220" y="46"/>
                    </a:lnTo>
                    <a:lnTo>
                      <a:pt x="232" y="38"/>
                    </a:lnTo>
                    <a:lnTo>
                      <a:pt x="245" y="30"/>
                    </a:lnTo>
                    <a:lnTo>
                      <a:pt x="258" y="23"/>
                    </a:lnTo>
                    <a:lnTo>
                      <a:pt x="271" y="17"/>
                    </a:lnTo>
                    <a:lnTo>
                      <a:pt x="284" y="12"/>
                    </a:lnTo>
                    <a:lnTo>
                      <a:pt x="297" y="7"/>
                    </a:lnTo>
                    <a:lnTo>
                      <a:pt x="310" y="4"/>
                    </a:lnTo>
                    <a:lnTo>
                      <a:pt x="323" y="2"/>
                    </a:lnTo>
                    <a:lnTo>
                      <a:pt x="337" y="1"/>
                    </a:lnTo>
                    <a:lnTo>
                      <a:pt x="350" y="0"/>
                    </a:lnTo>
                    <a:lnTo>
                      <a:pt x="360" y="0"/>
                    </a:lnTo>
                    <a:lnTo>
                      <a:pt x="368" y="1"/>
                    </a:lnTo>
                    <a:lnTo>
                      <a:pt x="378" y="2"/>
                    </a:lnTo>
                    <a:lnTo>
                      <a:pt x="388" y="4"/>
                    </a:lnTo>
                    <a:lnTo>
                      <a:pt x="402" y="7"/>
                    </a:lnTo>
                    <a:lnTo>
                      <a:pt x="415" y="13"/>
                    </a:lnTo>
                    <a:lnTo>
                      <a:pt x="428" y="18"/>
                    </a:lnTo>
                    <a:lnTo>
                      <a:pt x="441" y="26"/>
                    </a:lnTo>
                    <a:lnTo>
                      <a:pt x="453" y="33"/>
                    </a:lnTo>
                    <a:lnTo>
                      <a:pt x="464" y="42"/>
                    </a:lnTo>
                    <a:lnTo>
                      <a:pt x="475" y="52"/>
                    </a:lnTo>
                    <a:lnTo>
                      <a:pt x="486" y="62"/>
                    </a:lnTo>
                    <a:lnTo>
                      <a:pt x="496" y="74"/>
                    </a:lnTo>
                    <a:lnTo>
                      <a:pt x="505" y="86"/>
                    </a:lnTo>
                    <a:lnTo>
                      <a:pt x="514" y="100"/>
                    </a:lnTo>
                    <a:lnTo>
                      <a:pt x="523" y="114"/>
                    </a:lnTo>
                    <a:lnTo>
                      <a:pt x="531" y="128"/>
                    </a:lnTo>
                    <a:lnTo>
                      <a:pt x="538" y="145"/>
                    </a:lnTo>
                    <a:lnTo>
                      <a:pt x="545" y="161"/>
                    </a:lnTo>
                    <a:lnTo>
                      <a:pt x="551" y="177"/>
                    </a:lnTo>
                    <a:lnTo>
                      <a:pt x="557" y="194"/>
                    </a:lnTo>
                    <a:lnTo>
                      <a:pt x="562" y="213"/>
                    </a:lnTo>
                    <a:lnTo>
                      <a:pt x="566" y="231"/>
                    </a:lnTo>
                    <a:lnTo>
                      <a:pt x="570" y="250"/>
                    </a:lnTo>
                    <a:lnTo>
                      <a:pt x="573" y="270"/>
                    </a:lnTo>
                    <a:lnTo>
                      <a:pt x="576" y="290"/>
                    </a:lnTo>
                    <a:lnTo>
                      <a:pt x="578" y="311"/>
                    </a:lnTo>
                    <a:lnTo>
                      <a:pt x="579" y="331"/>
                    </a:lnTo>
                    <a:lnTo>
                      <a:pt x="579" y="353"/>
                    </a:lnTo>
                    <a:lnTo>
                      <a:pt x="579" y="374"/>
                    </a:lnTo>
                    <a:lnTo>
                      <a:pt x="578" y="397"/>
                    </a:lnTo>
                    <a:lnTo>
                      <a:pt x="576" y="419"/>
                    </a:lnTo>
                    <a:lnTo>
                      <a:pt x="573" y="441"/>
                    </a:lnTo>
                    <a:lnTo>
                      <a:pt x="570" y="464"/>
                    </a:lnTo>
                    <a:lnTo>
                      <a:pt x="567" y="487"/>
                    </a:lnTo>
                    <a:lnTo>
                      <a:pt x="562" y="509"/>
                    </a:lnTo>
                    <a:lnTo>
                      <a:pt x="557" y="531"/>
                    </a:lnTo>
                    <a:lnTo>
                      <a:pt x="552" y="550"/>
                    </a:lnTo>
                    <a:lnTo>
                      <a:pt x="545" y="571"/>
                    </a:lnTo>
                    <a:lnTo>
                      <a:pt x="539" y="590"/>
                    </a:lnTo>
                    <a:lnTo>
                      <a:pt x="532" y="610"/>
                    </a:lnTo>
                    <a:lnTo>
                      <a:pt x="525" y="628"/>
                    </a:lnTo>
                    <a:lnTo>
                      <a:pt x="517" y="646"/>
                    </a:lnTo>
                    <a:lnTo>
                      <a:pt x="509" y="665"/>
                    </a:lnTo>
                    <a:lnTo>
                      <a:pt x="500" y="682"/>
                    </a:lnTo>
                    <a:lnTo>
                      <a:pt x="491" y="699"/>
                    </a:lnTo>
                    <a:lnTo>
                      <a:pt x="482" y="716"/>
                    </a:lnTo>
                    <a:lnTo>
                      <a:pt x="472" y="731"/>
                    </a:lnTo>
                    <a:lnTo>
                      <a:pt x="462" y="747"/>
                    </a:lnTo>
                    <a:lnTo>
                      <a:pt x="451" y="761"/>
                    </a:lnTo>
                    <a:lnTo>
                      <a:pt x="441" y="775"/>
                    </a:lnTo>
                    <a:lnTo>
                      <a:pt x="430" y="788"/>
                    </a:lnTo>
                    <a:lnTo>
                      <a:pt x="419" y="801"/>
                    </a:lnTo>
                    <a:lnTo>
                      <a:pt x="407" y="813"/>
                    </a:lnTo>
                    <a:lnTo>
                      <a:pt x="395" y="825"/>
                    </a:lnTo>
                    <a:lnTo>
                      <a:pt x="383" y="835"/>
                    </a:lnTo>
                    <a:lnTo>
                      <a:pt x="372" y="845"/>
                    </a:lnTo>
                    <a:lnTo>
                      <a:pt x="359" y="855"/>
                    </a:lnTo>
                    <a:lnTo>
                      <a:pt x="347" y="862"/>
                    </a:lnTo>
                    <a:lnTo>
                      <a:pt x="334" y="870"/>
                    </a:lnTo>
                    <a:lnTo>
                      <a:pt x="321" y="877"/>
                    </a:lnTo>
                    <a:lnTo>
                      <a:pt x="308" y="883"/>
                    </a:lnTo>
                    <a:lnTo>
                      <a:pt x="295" y="888"/>
                    </a:lnTo>
                    <a:lnTo>
                      <a:pt x="282" y="893"/>
                    </a:lnTo>
                    <a:lnTo>
                      <a:pt x="269" y="896"/>
                    </a:lnTo>
                    <a:lnTo>
                      <a:pt x="256" y="898"/>
                    </a:lnTo>
                    <a:lnTo>
                      <a:pt x="243" y="900"/>
                    </a:lnTo>
                    <a:lnTo>
                      <a:pt x="229" y="900"/>
                    </a:lnTo>
                    <a:close/>
                    <a:moveTo>
                      <a:pt x="350" y="27"/>
                    </a:moveTo>
                    <a:lnTo>
                      <a:pt x="350" y="27"/>
                    </a:lnTo>
                    <a:lnTo>
                      <a:pt x="338" y="28"/>
                    </a:lnTo>
                    <a:lnTo>
                      <a:pt x="326" y="29"/>
                    </a:lnTo>
                    <a:lnTo>
                      <a:pt x="313" y="31"/>
                    </a:lnTo>
                    <a:lnTo>
                      <a:pt x="301" y="34"/>
                    </a:lnTo>
                    <a:lnTo>
                      <a:pt x="289" y="39"/>
                    </a:lnTo>
                    <a:lnTo>
                      <a:pt x="278" y="43"/>
                    </a:lnTo>
                    <a:lnTo>
                      <a:pt x="266" y="48"/>
                    </a:lnTo>
                    <a:lnTo>
                      <a:pt x="255" y="55"/>
                    </a:lnTo>
                    <a:lnTo>
                      <a:pt x="243" y="62"/>
                    </a:lnTo>
                    <a:lnTo>
                      <a:pt x="231" y="70"/>
                    </a:lnTo>
                    <a:lnTo>
                      <a:pt x="220" y="79"/>
                    </a:lnTo>
                    <a:lnTo>
                      <a:pt x="208" y="88"/>
                    </a:lnTo>
                    <a:lnTo>
                      <a:pt x="198" y="98"/>
                    </a:lnTo>
                    <a:lnTo>
                      <a:pt x="187" y="109"/>
                    </a:lnTo>
                    <a:lnTo>
                      <a:pt x="176" y="121"/>
                    </a:lnTo>
                    <a:lnTo>
                      <a:pt x="166" y="133"/>
                    </a:lnTo>
                    <a:lnTo>
                      <a:pt x="156" y="146"/>
                    </a:lnTo>
                    <a:lnTo>
                      <a:pt x="146" y="159"/>
                    </a:lnTo>
                    <a:lnTo>
                      <a:pt x="136" y="173"/>
                    </a:lnTo>
                    <a:lnTo>
                      <a:pt x="127" y="187"/>
                    </a:lnTo>
                    <a:lnTo>
                      <a:pt x="109" y="217"/>
                    </a:lnTo>
                    <a:lnTo>
                      <a:pt x="93" y="250"/>
                    </a:lnTo>
                    <a:lnTo>
                      <a:pt x="78" y="284"/>
                    </a:lnTo>
                    <a:lnTo>
                      <a:pt x="65" y="320"/>
                    </a:lnTo>
                    <a:lnTo>
                      <a:pt x="59" y="339"/>
                    </a:lnTo>
                    <a:lnTo>
                      <a:pt x="53" y="357"/>
                    </a:lnTo>
                    <a:lnTo>
                      <a:pt x="49" y="377"/>
                    </a:lnTo>
                    <a:lnTo>
                      <a:pt x="44" y="396"/>
                    </a:lnTo>
                    <a:lnTo>
                      <a:pt x="39" y="418"/>
                    </a:lnTo>
                    <a:lnTo>
                      <a:pt x="36" y="439"/>
                    </a:lnTo>
                    <a:lnTo>
                      <a:pt x="32" y="461"/>
                    </a:lnTo>
                    <a:lnTo>
                      <a:pt x="30" y="481"/>
                    </a:lnTo>
                    <a:lnTo>
                      <a:pt x="28" y="503"/>
                    </a:lnTo>
                    <a:lnTo>
                      <a:pt x="27" y="523"/>
                    </a:lnTo>
                    <a:lnTo>
                      <a:pt x="27" y="544"/>
                    </a:lnTo>
                    <a:lnTo>
                      <a:pt x="27" y="563"/>
                    </a:lnTo>
                    <a:lnTo>
                      <a:pt x="28" y="583"/>
                    </a:lnTo>
                    <a:lnTo>
                      <a:pt x="29" y="602"/>
                    </a:lnTo>
                    <a:lnTo>
                      <a:pt x="31" y="622"/>
                    </a:lnTo>
                    <a:lnTo>
                      <a:pt x="35" y="640"/>
                    </a:lnTo>
                    <a:lnTo>
                      <a:pt x="38" y="657"/>
                    </a:lnTo>
                    <a:lnTo>
                      <a:pt x="41" y="676"/>
                    </a:lnTo>
                    <a:lnTo>
                      <a:pt x="45" y="692"/>
                    </a:lnTo>
                    <a:lnTo>
                      <a:pt x="51" y="708"/>
                    </a:lnTo>
                    <a:lnTo>
                      <a:pt x="56" y="724"/>
                    </a:lnTo>
                    <a:lnTo>
                      <a:pt x="63" y="739"/>
                    </a:lnTo>
                    <a:lnTo>
                      <a:pt x="69" y="754"/>
                    </a:lnTo>
                    <a:lnTo>
                      <a:pt x="76" y="767"/>
                    </a:lnTo>
                    <a:lnTo>
                      <a:pt x="83" y="781"/>
                    </a:lnTo>
                    <a:lnTo>
                      <a:pt x="92" y="793"/>
                    </a:lnTo>
                    <a:lnTo>
                      <a:pt x="100" y="805"/>
                    </a:lnTo>
                    <a:lnTo>
                      <a:pt x="109" y="816"/>
                    </a:lnTo>
                    <a:lnTo>
                      <a:pt x="119" y="826"/>
                    </a:lnTo>
                    <a:lnTo>
                      <a:pt x="129" y="834"/>
                    </a:lnTo>
                    <a:lnTo>
                      <a:pt x="139" y="843"/>
                    </a:lnTo>
                    <a:lnTo>
                      <a:pt x="150" y="850"/>
                    </a:lnTo>
                    <a:lnTo>
                      <a:pt x="161" y="857"/>
                    </a:lnTo>
                    <a:lnTo>
                      <a:pt x="173" y="862"/>
                    </a:lnTo>
                    <a:lnTo>
                      <a:pt x="185" y="867"/>
                    </a:lnTo>
                    <a:lnTo>
                      <a:pt x="198" y="870"/>
                    </a:lnTo>
                    <a:lnTo>
                      <a:pt x="214" y="872"/>
                    </a:lnTo>
                    <a:lnTo>
                      <a:pt x="229" y="873"/>
                    </a:lnTo>
                    <a:lnTo>
                      <a:pt x="242" y="873"/>
                    </a:lnTo>
                    <a:lnTo>
                      <a:pt x="254" y="871"/>
                    </a:lnTo>
                    <a:lnTo>
                      <a:pt x="266" y="869"/>
                    </a:lnTo>
                    <a:lnTo>
                      <a:pt x="278" y="866"/>
                    </a:lnTo>
                    <a:lnTo>
                      <a:pt x="289" y="862"/>
                    </a:lnTo>
                    <a:lnTo>
                      <a:pt x="301" y="857"/>
                    </a:lnTo>
                    <a:lnTo>
                      <a:pt x="313" y="852"/>
                    </a:lnTo>
                    <a:lnTo>
                      <a:pt x="325" y="845"/>
                    </a:lnTo>
                    <a:lnTo>
                      <a:pt x="337" y="838"/>
                    </a:lnTo>
                    <a:lnTo>
                      <a:pt x="348" y="830"/>
                    </a:lnTo>
                    <a:lnTo>
                      <a:pt x="360" y="821"/>
                    </a:lnTo>
                    <a:lnTo>
                      <a:pt x="370" y="812"/>
                    </a:lnTo>
                    <a:lnTo>
                      <a:pt x="381" y="802"/>
                    </a:lnTo>
                    <a:lnTo>
                      <a:pt x="392" y="791"/>
                    </a:lnTo>
                    <a:lnTo>
                      <a:pt x="403" y="779"/>
                    </a:lnTo>
                    <a:lnTo>
                      <a:pt x="414" y="767"/>
                    </a:lnTo>
                    <a:lnTo>
                      <a:pt x="423" y="754"/>
                    </a:lnTo>
                    <a:lnTo>
                      <a:pt x="433" y="741"/>
                    </a:lnTo>
                    <a:lnTo>
                      <a:pt x="443" y="727"/>
                    </a:lnTo>
                    <a:lnTo>
                      <a:pt x="453" y="713"/>
                    </a:lnTo>
                    <a:lnTo>
                      <a:pt x="470" y="683"/>
                    </a:lnTo>
                    <a:lnTo>
                      <a:pt x="486" y="651"/>
                    </a:lnTo>
                    <a:lnTo>
                      <a:pt x="501" y="616"/>
                    </a:lnTo>
                    <a:lnTo>
                      <a:pt x="514" y="581"/>
                    </a:lnTo>
                    <a:lnTo>
                      <a:pt x="521" y="562"/>
                    </a:lnTo>
                    <a:lnTo>
                      <a:pt x="526" y="543"/>
                    </a:lnTo>
                    <a:lnTo>
                      <a:pt x="531" y="523"/>
                    </a:lnTo>
                    <a:lnTo>
                      <a:pt x="536" y="504"/>
                    </a:lnTo>
                    <a:lnTo>
                      <a:pt x="540" y="482"/>
                    </a:lnTo>
                    <a:lnTo>
                      <a:pt x="543" y="461"/>
                    </a:lnTo>
                    <a:lnTo>
                      <a:pt x="546" y="439"/>
                    </a:lnTo>
                    <a:lnTo>
                      <a:pt x="549" y="419"/>
                    </a:lnTo>
                    <a:lnTo>
                      <a:pt x="551" y="397"/>
                    </a:lnTo>
                    <a:lnTo>
                      <a:pt x="552" y="377"/>
                    </a:lnTo>
                    <a:lnTo>
                      <a:pt x="552" y="357"/>
                    </a:lnTo>
                    <a:lnTo>
                      <a:pt x="552" y="337"/>
                    </a:lnTo>
                    <a:lnTo>
                      <a:pt x="551" y="317"/>
                    </a:lnTo>
                    <a:lnTo>
                      <a:pt x="550" y="298"/>
                    </a:lnTo>
                    <a:lnTo>
                      <a:pt x="548" y="278"/>
                    </a:lnTo>
                    <a:lnTo>
                      <a:pt x="545" y="260"/>
                    </a:lnTo>
                    <a:lnTo>
                      <a:pt x="542" y="243"/>
                    </a:lnTo>
                    <a:lnTo>
                      <a:pt x="538" y="225"/>
                    </a:lnTo>
                    <a:lnTo>
                      <a:pt x="533" y="208"/>
                    </a:lnTo>
                    <a:lnTo>
                      <a:pt x="528" y="192"/>
                    </a:lnTo>
                    <a:lnTo>
                      <a:pt x="523" y="176"/>
                    </a:lnTo>
                    <a:lnTo>
                      <a:pt x="517" y="161"/>
                    </a:lnTo>
                    <a:lnTo>
                      <a:pt x="511" y="147"/>
                    </a:lnTo>
                    <a:lnTo>
                      <a:pt x="503" y="133"/>
                    </a:lnTo>
                    <a:lnTo>
                      <a:pt x="496" y="120"/>
                    </a:lnTo>
                    <a:lnTo>
                      <a:pt x="488" y="107"/>
                    </a:lnTo>
                    <a:lnTo>
                      <a:pt x="480" y="95"/>
                    </a:lnTo>
                    <a:lnTo>
                      <a:pt x="470" y="84"/>
                    </a:lnTo>
                    <a:lnTo>
                      <a:pt x="460" y="74"/>
                    </a:lnTo>
                    <a:lnTo>
                      <a:pt x="450" y="66"/>
                    </a:lnTo>
                    <a:lnTo>
                      <a:pt x="441" y="57"/>
                    </a:lnTo>
                    <a:lnTo>
                      <a:pt x="430" y="50"/>
                    </a:lnTo>
                    <a:lnTo>
                      <a:pt x="418" y="44"/>
                    </a:lnTo>
                    <a:lnTo>
                      <a:pt x="406" y="39"/>
                    </a:lnTo>
                    <a:lnTo>
                      <a:pt x="394" y="34"/>
                    </a:lnTo>
                    <a:lnTo>
                      <a:pt x="381" y="30"/>
                    </a:lnTo>
                    <a:lnTo>
                      <a:pt x="366" y="28"/>
                    </a:lnTo>
                    <a:lnTo>
                      <a:pt x="3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5"/>
              <p:cNvSpPr>
                <a:spLocks noEditPoints="1"/>
              </p:cNvSpPr>
              <p:nvPr userDrawn="1"/>
            </p:nvSpPr>
            <p:spPr bwMode="auto">
              <a:xfrm>
                <a:off x="1603" y="2010"/>
                <a:ext cx="91" cy="138"/>
              </a:xfrm>
              <a:custGeom>
                <a:avLst/>
                <a:gdLst>
                  <a:gd name="T0" fmla="*/ 101 w 273"/>
                  <a:gd name="T1" fmla="*/ 414 h 415"/>
                  <a:gd name="T2" fmla="*/ 66 w 273"/>
                  <a:gd name="T3" fmla="*/ 403 h 415"/>
                  <a:gd name="T4" fmla="*/ 35 w 273"/>
                  <a:gd name="T5" fmla="*/ 374 h 415"/>
                  <a:gd name="T6" fmla="*/ 12 w 273"/>
                  <a:gd name="T7" fmla="*/ 330 h 415"/>
                  <a:gd name="T8" fmla="*/ 1 w 273"/>
                  <a:gd name="T9" fmla="*/ 277 h 415"/>
                  <a:gd name="T10" fmla="*/ 1 w 273"/>
                  <a:gd name="T11" fmla="*/ 219 h 415"/>
                  <a:gd name="T12" fmla="*/ 13 w 273"/>
                  <a:gd name="T13" fmla="*/ 160 h 415"/>
                  <a:gd name="T14" fmla="*/ 33 w 273"/>
                  <a:gd name="T15" fmla="*/ 107 h 415"/>
                  <a:gd name="T16" fmla="*/ 59 w 273"/>
                  <a:gd name="T17" fmla="*/ 62 h 415"/>
                  <a:gd name="T18" fmla="*/ 91 w 273"/>
                  <a:gd name="T19" fmla="*/ 29 h 415"/>
                  <a:gd name="T20" fmla="*/ 126 w 273"/>
                  <a:gd name="T21" fmla="*/ 7 h 415"/>
                  <a:gd name="T22" fmla="*/ 163 w 273"/>
                  <a:gd name="T23" fmla="*/ 0 h 415"/>
                  <a:gd name="T24" fmla="*/ 195 w 273"/>
                  <a:gd name="T25" fmla="*/ 5 h 415"/>
                  <a:gd name="T26" fmla="*/ 229 w 273"/>
                  <a:gd name="T27" fmla="*/ 28 h 415"/>
                  <a:gd name="T28" fmla="*/ 254 w 273"/>
                  <a:gd name="T29" fmla="*/ 66 h 415"/>
                  <a:gd name="T30" fmla="*/ 269 w 273"/>
                  <a:gd name="T31" fmla="*/ 115 h 415"/>
                  <a:gd name="T32" fmla="*/ 273 w 273"/>
                  <a:gd name="T33" fmla="*/ 172 h 415"/>
                  <a:gd name="T34" fmla="*/ 265 w 273"/>
                  <a:gd name="T35" fmla="*/ 235 h 415"/>
                  <a:gd name="T36" fmla="*/ 248 w 273"/>
                  <a:gd name="T37" fmla="*/ 290 h 415"/>
                  <a:gd name="T38" fmla="*/ 224 w 273"/>
                  <a:gd name="T39" fmla="*/ 338 h 415"/>
                  <a:gd name="T40" fmla="*/ 194 w 273"/>
                  <a:gd name="T41" fmla="*/ 375 h 415"/>
                  <a:gd name="T42" fmla="*/ 159 w 273"/>
                  <a:gd name="T43" fmla="*/ 401 h 415"/>
                  <a:gd name="T44" fmla="*/ 122 w 273"/>
                  <a:gd name="T45" fmla="*/ 414 h 415"/>
                  <a:gd name="T46" fmla="*/ 163 w 273"/>
                  <a:gd name="T47" fmla="*/ 27 h 415"/>
                  <a:gd name="T48" fmla="*/ 133 w 273"/>
                  <a:gd name="T49" fmla="*/ 33 h 415"/>
                  <a:gd name="T50" fmla="*/ 104 w 273"/>
                  <a:gd name="T51" fmla="*/ 53 h 415"/>
                  <a:gd name="T52" fmla="*/ 78 w 273"/>
                  <a:gd name="T53" fmla="*/ 83 h 415"/>
                  <a:gd name="T54" fmla="*/ 55 w 273"/>
                  <a:gd name="T55" fmla="*/ 122 h 415"/>
                  <a:gd name="T56" fmla="*/ 38 w 273"/>
                  <a:gd name="T57" fmla="*/ 168 h 415"/>
                  <a:gd name="T58" fmla="*/ 28 w 273"/>
                  <a:gd name="T59" fmla="*/ 221 h 415"/>
                  <a:gd name="T60" fmla="*/ 28 w 273"/>
                  <a:gd name="T61" fmla="*/ 274 h 415"/>
                  <a:gd name="T62" fmla="*/ 38 w 273"/>
                  <a:gd name="T63" fmla="*/ 321 h 415"/>
                  <a:gd name="T64" fmla="*/ 55 w 273"/>
                  <a:gd name="T65" fmla="*/ 356 h 415"/>
                  <a:gd name="T66" fmla="*/ 79 w 273"/>
                  <a:gd name="T67" fmla="*/ 379 h 415"/>
                  <a:gd name="T68" fmla="*/ 107 w 273"/>
                  <a:gd name="T69" fmla="*/ 388 h 415"/>
                  <a:gd name="T70" fmla="*/ 140 w 273"/>
                  <a:gd name="T71" fmla="*/ 381 h 415"/>
                  <a:gd name="T72" fmla="*/ 171 w 273"/>
                  <a:gd name="T73" fmla="*/ 359 h 415"/>
                  <a:gd name="T74" fmla="*/ 199 w 273"/>
                  <a:gd name="T75" fmla="*/ 326 h 415"/>
                  <a:gd name="T76" fmla="*/ 223 w 273"/>
                  <a:gd name="T77" fmla="*/ 281 h 415"/>
                  <a:gd name="T78" fmla="*/ 239 w 273"/>
                  <a:gd name="T79" fmla="*/ 230 h 415"/>
                  <a:gd name="T80" fmla="*/ 246 w 273"/>
                  <a:gd name="T81" fmla="*/ 176 h 415"/>
                  <a:gd name="T82" fmla="*/ 243 w 273"/>
                  <a:gd name="T83" fmla="*/ 126 h 415"/>
                  <a:gd name="T84" fmla="*/ 231 w 273"/>
                  <a:gd name="T85" fmla="*/ 83 h 415"/>
                  <a:gd name="T86" fmla="*/ 212 w 273"/>
                  <a:gd name="T87" fmla="*/ 50 h 415"/>
                  <a:gd name="T88" fmla="*/ 186 w 273"/>
                  <a:gd name="T89" fmla="*/ 31 h 415"/>
                  <a:gd name="T90" fmla="*/ 163 w 273"/>
                  <a:gd name="T91" fmla="*/ 2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415">
                    <a:moveTo>
                      <a:pt x="109" y="415"/>
                    </a:moveTo>
                    <a:lnTo>
                      <a:pt x="109" y="415"/>
                    </a:lnTo>
                    <a:lnTo>
                      <a:pt x="101" y="414"/>
                    </a:lnTo>
                    <a:lnTo>
                      <a:pt x="91" y="413"/>
                    </a:lnTo>
                    <a:lnTo>
                      <a:pt x="78" y="409"/>
                    </a:lnTo>
                    <a:lnTo>
                      <a:pt x="66" y="403"/>
                    </a:lnTo>
                    <a:lnTo>
                      <a:pt x="54" y="395"/>
                    </a:lnTo>
                    <a:lnTo>
                      <a:pt x="45" y="385"/>
                    </a:lnTo>
                    <a:lnTo>
                      <a:pt x="35" y="374"/>
                    </a:lnTo>
                    <a:lnTo>
                      <a:pt x="26" y="361"/>
                    </a:lnTo>
                    <a:lnTo>
                      <a:pt x="19" y="346"/>
                    </a:lnTo>
                    <a:lnTo>
                      <a:pt x="12" y="330"/>
                    </a:lnTo>
                    <a:lnTo>
                      <a:pt x="8" y="313"/>
                    </a:lnTo>
                    <a:lnTo>
                      <a:pt x="4" y="296"/>
                    </a:lnTo>
                    <a:lnTo>
                      <a:pt x="1" y="277"/>
                    </a:lnTo>
                    <a:lnTo>
                      <a:pt x="0" y="258"/>
                    </a:lnTo>
                    <a:lnTo>
                      <a:pt x="0" y="238"/>
                    </a:lnTo>
                    <a:lnTo>
                      <a:pt x="1" y="219"/>
                    </a:lnTo>
                    <a:lnTo>
                      <a:pt x="5" y="199"/>
                    </a:lnTo>
                    <a:lnTo>
                      <a:pt x="8" y="179"/>
                    </a:lnTo>
                    <a:lnTo>
                      <a:pt x="13" y="160"/>
                    </a:lnTo>
                    <a:lnTo>
                      <a:pt x="19" y="141"/>
                    </a:lnTo>
                    <a:lnTo>
                      <a:pt x="25" y="124"/>
                    </a:lnTo>
                    <a:lnTo>
                      <a:pt x="33" y="107"/>
                    </a:lnTo>
                    <a:lnTo>
                      <a:pt x="40" y="92"/>
                    </a:lnTo>
                    <a:lnTo>
                      <a:pt x="50" y="76"/>
                    </a:lnTo>
                    <a:lnTo>
                      <a:pt x="59" y="62"/>
                    </a:lnTo>
                    <a:lnTo>
                      <a:pt x="70" y="50"/>
                    </a:lnTo>
                    <a:lnTo>
                      <a:pt x="79" y="39"/>
                    </a:lnTo>
                    <a:lnTo>
                      <a:pt x="91" y="29"/>
                    </a:lnTo>
                    <a:lnTo>
                      <a:pt x="102" y="20"/>
                    </a:lnTo>
                    <a:lnTo>
                      <a:pt x="114" y="13"/>
                    </a:lnTo>
                    <a:lnTo>
                      <a:pt x="126" y="7"/>
                    </a:lnTo>
                    <a:lnTo>
                      <a:pt x="139" y="3"/>
                    </a:lnTo>
                    <a:lnTo>
                      <a:pt x="150" y="0"/>
                    </a:lnTo>
                    <a:lnTo>
                      <a:pt x="163" y="0"/>
                    </a:lnTo>
                    <a:lnTo>
                      <a:pt x="173" y="0"/>
                    </a:lnTo>
                    <a:lnTo>
                      <a:pt x="182" y="1"/>
                    </a:lnTo>
                    <a:lnTo>
                      <a:pt x="195" y="5"/>
                    </a:lnTo>
                    <a:lnTo>
                      <a:pt x="207" y="12"/>
                    </a:lnTo>
                    <a:lnTo>
                      <a:pt x="219" y="19"/>
                    </a:lnTo>
                    <a:lnTo>
                      <a:pt x="229" y="28"/>
                    </a:lnTo>
                    <a:lnTo>
                      <a:pt x="238" y="40"/>
                    </a:lnTo>
                    <a:lnTo>
                      <a:pt x="247" y="52"/>
                    </a:lnTo>
                    <a:lnTo>
                      <a:pt x="254" y="66"/>
                    </a:lnTo>
                    <a:lnTo>
                      <a:pt x="260" y="81"/>
                    </a:lnTo>
                    <a:lnTo>
                      <a:pt x="265" y="97"/>
                    </a:lnTo>
                    <a:lnTo>
                      <a:pt x="269" y="115"/>
                    </a:lnTo>
                    <a:lnTo>
                      <a:pt x="271" y="134"/>
                    </a:lnTo>
                    <a:lnTo>
                      <a:pt x="273" y="152"/>
                    </a:lnTo>
                    <a:lnTo>
                      <a:pt x="273" y="172"/>
                    </a:lnTo>
                    <a:lnTo>
                      <a:pt x="271" y="193"/>
                    </a:lnTo>
                    <a:lnTo>
                      <a:pt x="269" y="213"/>
                    </a:lnTo>
                    <a:lnTo>
                      <a:pt x="265" y="235"/>
                    </a:lnTo>
                    <a:lnTo>
                      <a:pt x="261" y="255"/>
                    </a:lnTo>
                    <a:lnTo>
                      <a:pt x="254" y="273"/>
                    </a:lnTo>
                    <a:lnTo>
                      <a:pt x="248" y="290"/>
                    </a:lnTo>
                    <a:lnTo>
                      <a:pt x="241" y="307"/>
                    </a:lnTo>
                    <a:lnTo>
                      <a:pt x="233" y="324"/>
                    </a:lnTo>
                    <a:lnTo>
                      <a:pt x="224" y="338"/>
                    </a:lnTo>
                    <a:lnTo>
                      <a:pt x="214" y="352"/>
                    </a:lnTo>
                    <a:lnTo>
                      <a:pt x="204" y="365"/>
                    </a:lnTo>
                    <a:lnTo>
                      <a:pt x="194" y="375"/>
                    </a:lnTo>
                    <a:lnTo>
                      <a:pt x="183" y="385"/>
                    </a:lnTo>
                    <a:lnTo>
                      <a:pt x="171" y="394"/>
                    </a:lnTo>
                    <a:lnTo>
                      <a:pt x="159" y="401"/>
                    </a:lnTo>
                    <a:lnTo>
                      <a:pt x="147" y="408"/>
                    </a:lnTo>
                    <a:lnTo>
                      <a:pt x="135" y="411"/>
                    </a:lnTo>
                    <a:lnTo>
                      <a:pt x="122" y="414"/>
                    </a:lnTo>
                    <a:lnTo>
                      <a:pt x="109" y="415"/>
                    </a:lnTo>
                    <a:close/>
                    <a:moveTo>
                      <a:pt x="163" y="27"/>
                    </a:moveTo>
                    <a:lnTo>
                      <a:pt x="163" y="27"/>
                    </a:lnTo>
                    <a:lnTo>
                      <a:pt x="154" y="27"/>
                    </a:lnTo>
                    <a:lnTo>
                      <a:pt x="143" y="29"/>
                    </a:lnTo>
                    <a:lnTo>
                      <a:pt x="133" y="33"/>
                    </a:lnTo>
                    <a:lnTo>
                      <a:pt x="124" y="39"/>
                    </a:lnTo>
                    <a:lnTo>
                      <a:pt x="114" y="45"/>
                    </a:lnTo>
                    <a:lnTo>
                      <a:pt x="104" y="53"/>
                    </a:lnTo>
                    <a:lnTo>
                      <a:pt x="95" y="61"/>
                    </a:lnTo>
                    <a:lnTo>
                      <a:pt x="87" y="72"/>
                    </a:lnTo>
                    <a:lnTo>
                      <a:pt x="78" y="83"/>
                    </a:lnTo>
                    <a:lnTo>
                      <a:pt x="70" y="95"/>
                    </a:lnTo>
                    <a:lnTo>
                      <a:pt x="62" y="108"/>
                    </a:lnTo>
                    <a:lnTo>
                      <a:pt x="55" y="122"/>
                    </a:lnTo>
                    <a:lnTo>
                      <a:pt x="49" y="137"/>
                    </a:lnTo>
                    <a:lnTo>
                      <a:pt x="44" y="152"/>
                    </a:lnTo>
                    <a:lnTo>
                      <a:pt x="38" y="168"/>
                    </a:lnTo>
                    <a:lnTo>
                      <a:pt x="35" y="184"/>
                    </a:lnTo>
                    <a:lnTo>
                      <a:pt x="31" y="203"/>
                    </a:lnTo>
                    <a:lnTo>
                      <a:pt x="28" y="221"/>
                    </a:lnTo>
                    <a:lnTo>
                      <a:pt x="27" y="239"/>
                    </a:lnTo>
                    <a:lnTo>
                      <a:pt x="27" y="257"/>
                    </a:lnTo>
                    <a:lnTo>
                      <a:pt x="28" y="274"/>
                    </a:lnTo>
                    <a:lnTo>
                      <a:pt x="31" y="290"/>
                    </a:lnTo>
                    <a:lnTo>
                      <a:pt x="34" y="306"/>
                    </a:lnTo>
                    <a:lnTo>
                      <a:pt x="38" y="321"/>
                    </a:lnTo>
                    <a:lnTo>
                      <a:pt x="43" y="334"/>
                    </a:lnTo>
                    <a:lnTo>
                      <a:pt x="49" y="346"/>
                    </a:lnTo>
                    <a:lnTo>
                      <a:pt x="55" y="356"/>
                    </a:lnTo>
                    <a:lnTo>
                      <a:pt x="62" y="366"/>
                    </a:lnTo>
                    <a:lnTo>
                      <a:pt x="71" y="373"/>
                    </a:lnTo>
                    <a:lnTo>
                      <a:pt x="79" y="379"/>
                    </a:lnTo>
                    <a:lnTo>
                      <a:pt x="88" y="384"/>
                    </a:lnTo>
                    <a:lnTo>
                      <a:pt x="98" y="386"/>
                    </a:lnTo>
                    <a:lnTo>
                      <a:pt x="107" y="388"/>
                    </a:lnTo>
                    <a:lnTo>
                      <a:pt x="118" y="387"/>
                    </a:lnTo>
                    <a:lnTo>
                      <a:pt x="129" y="385"/>
                    </a:lnTo>
                    <a:lnTo>
                      <a:pt x="140" y="381"/>
                    </a:lnTo>
                    <a:lnTo>
                      <a:pt x="150" y="375"/>
                    </a:lnTo>
                    <a:lnTo>
                      <a:pt x="161" y="368"/>
                    </a:lnTo>
                    <a:lnTo>
                      <a:pt x="171" y="359"/>
                    </a:lnTo>
                    <a:lnTo>
                      <a:pt x="181" y="350"/>
                    </a:lnTo>
                    <a:lnTo>
                      <a:pt x="190" y="338"/>
                    </a:lnTo>
                    <a:lnTo>
                      <a:pt x="199" y="326"/>
                    </a:lnTo>
                    <a:lnTo>
                      <a:pt x="208" y="312"/>
                    </a:lnTo>
                    <a:lnTo>
                      <a:pt x="215" y="297"/>
                    </a:lnTo>
                    <a:lnTo>
                      <a:pt x="223" y="281"/>
                    </a:lnTo>
                    <a:lnTo>
                      <a:pt x="229" y="265"/>
                    </a:lnTo>
                    <a:lnTo>
                      <a:pt x="235" y="248"/>
                    </a:lnTo>
                    <a:lnTo>
                      <a:pt x="239" y="230"/>
                    </a:lnTo>
                    <a:lnTo>
                      <a:pt x="242" y="211"/>
                    </a:lnTo>
                    <a:lnTo>
                      <a:pt x="244" y="193"/>
                    </a:lnTo>
                    <a:lnTo>
                      <a:pt x="246" y="176"/>
                    </a:lnTo>
                    <a:lnTo>
                      <a:pt x="246" y="158"/>
                    </a:lnTo>
                    <a:lnTo>
                      <a:pt x="244" y="142"/>
                    </a:lnTo>
                    <a:lnTo>
                      <a:pt x="243" y="126"/>
                    </a:lnTo>
                    <a:lnTo>
                      <a:pt x="240" y="111"/>
                    </a:lnTo>
                    <a:lnTo>
                      <a:pt x="236" y="97"/>
                    </a:lnTo>
                    <a:lnTo>
                      <a:pt x="231" y="83"/>
                    </a:lnTo>
                    <a:lnTo>
                      <a:pt x="226" y="71"/>
                    </a:lnTo>
                    <a:lnTo>
                      <a:pt x="220" y="60"/>
                    </a:lnTo>
                    <a:lnTo>
                      <a:pt x="212" y="50"/>
                    </a:lnTo>
                    <a:lnTo>
                      <a:pt x="204" y="43"/>
                    </a:lnTo>
                    <a:lnTo>
                      <a:pt x="196" y="35"/>
                    </a:lnTo>
                    <a:lnTo>
                      <a:pt x="186" y="31"/>
                    </a:lnTo>
                    <a:lnTo>
                      <a:pt x="176" y="28"/>
                    </a:lnTo>
                    <a:lnTo>
                      <a:pt x="170" y="27"/>
                    </a:lnTo>
                    <a:lnTo>
                      <a:pt x="16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86"/>
              <p:cNvSpPr>
                <a:spLocks/>
              </p:cNvSpPr>
              <p:nvPr userDrawn="1"/>
            </p:nvSpPr>
            <p:spPr bwMode="auto">
              <a:xfrm>
                <a:off x="2435" y="2581"/>
                <a:ext cx="87" cy="565"/>
              </a:xfrm>
              <a:custGeom>
                <a:avLst/>
                <a:gdLst>
                  <a:gd name="T0" fmla="*/ 49 w 260"/>
                  <a:gd name="T1" fmla="*/ 1696 h 1697"/>
                  <a:gd name="T2" fmla="*/ 42 w 260"/>
                  <a:gd name="T3" fmla="*/ 1690 h 1697"/>
                  <a:gd name="T4" fmla="*/ 31 w 260"/>
                  <a:gd name="T5" fmla="*/ 1637 h 1697"/>
                  <a:gd name="T6" fmla="*/ 18 w 260"/>
                  <a:gd name="T7" fmla="*/ 1540 h 1697"/>
                  <a:gd name="T8" fmla="*/ 9 w 260"/>
                  <a:gd name="T9" fmla="*/ 1441 h 1697"/>
                  <a:gd name="T10" fmla="*/ 2 w 260"/>
                  <a:gd name="T11" fmla="*/ 1339 h 1697"/>
                  <a:gd name="T12" fmla="*/ 0 w 260"/>
                  <a:gd name="T13" fmla="*/ 1236 h 1697"/>
                  <a:gd name="T14" fmla="*/ 1 w 260"/>
                  <a:gd name="T15" fmla="*/ 1132 h 1697"/>
                  <a:gd name="T16" fmla="*/ 6 w 260"/>
                  <a:gd name="T17" fmla="*/ 1026 h 1697"/>
                  <a:gd name="T18" fmla="*/ 15 w 260"/>
                  <a:gd name="T19" fmla="*/ 920 h 1697"/>
                  <a:gd name="T20" fmla="*/ 27 w 260"/>
                  <a:gd name="T21" fmla="*/ 813 h 1697"/>
                  <a:gd name="T22" fmla="*/ 43 w 260"/>
                  <a:gd name="T23" fmla="*/ 705 h 1697"/>
                  <a:gd name="T24" fmla="*/ 63 w 260"/>
                  <a:gd name="T25" fmla="*/ 597 h 1697"/>
                  <a:gd name="T26" fmla="*/ 86 w 260"/>
                  <a:gd name="T27" fmla="*/ 489 h 1697"/>
                  <a:gd name="T28" fmla="*/ 113 w 260"/>
                  <a:gd name="T29" fmla="*/ 381 h 1697"/>
                  <a:gd name="T30" fmla="*/ 144 w 260"/>
                  <a:gd name="T31" fmla="*/ 274 h 1697"/>
                  <a:gd name="T32" fmla="*/ 177 w 260"/>
                  <a:gd name="T33" fmla="*/ 167 h 1697"/>
                  <a:gd name="T34" fmla="*/ 214 w 260"/>
                  <a:gd name="T35" fmla="*/ 61 h 1697"/>
                  <a:gd name="T36" fmla="*/ 238 w 260"/>
                  <a:gd name="T37" fmla="*/ 4 h 1697"/>
                  <a:gd name="T38" fmla="*/ 246 w 260"/>
                  <a:gd name="T39" fmla="*/ 0 h 1697"/>
                  <a:gd name="T40" fmla="*/ 256 w 260"/>
                  <a:gd name="T41" fmla="*/ 4 h 1697"/>
                  <a:gd name="T42" fmla="*/ 260 w 260"/>
                  <a:gd name="T43" fmla="*/ 14 h 1697"/>
                  <a:gd name="T44" fmla="*/ 240 w 260"/>
                  <a:gd name="T45" fmla="*/ 71 h 1697"/>
                  <a:gd name="T46" fmla="*/ 203 w 260"/>
                  <a:gd name="T47" fmla="*/ 176 h 1697"/>
                  <a:gd name="T48" fmla="*/ 170 w 260"/>
                  <a:gd name="T49" fmla="*/ 282 h 1697"/>
                  <a:gd name="T50" fmla="*/ 139 w 260"/>
                  <a:gd name="T51" fmla="*/ 387 h 1697"/>
                  <a:gd name="T52" fmla="*/ 112 w 260"/>
                  <a:gd name="T53" fmla="*/ 494 h 1697"/>
                  <a:gd name="T54" fmla="*/ 90 w 260"/>
                  <a:gd name="T55" fmla="*/ 601 h 1697"/>
                  <a:gd name="T56" fmla="*/ 70 w 260"/>
                  <a:gd name="T57" fmla="*/ 709 h 1697"/>
                  <a:gd name="T58" fmla="*/ 54 w 260"/>
                  <a:gd name="T59" fmla="*/ 815 h 1697"/>
                  <a:gd name="T60" fmla="*/ 42 w 260"/>
                  <a:gd name="T61" fmla="*/ 922 h 1697"/>
                  <a:gd name="T62" fmla="*/ 33 w 260"/>
                  <a:gd name="T63" fmla="*/ 1027 h 1697"/>
                  <a:gd name="T64" fmla="*/ 28 w 260"/>
                  <a:gd name="T65" fmla="*/ 1132 h 1697"/>
                  <a:gd name="T66" fmla="*/ 27 w 260"/>
                  <a:gd name="T67" fmla="*/ 1236 h 1697"/>
                  <a:gd name="T68" fmla="*/ 29 w 260"/>
                  <a:gd name="T69" fmla="*/ 1337 h 1697"/>
                  <a:gd name="T70" fmla="*/ 35 w 260"/>
                  <a:gd name="T71" fmla="*/ 1438 h 1697"/>
                  <a:gd name="T72" fmla="*/ 45 w 260"/>
                  <a:gd name="T73" fmla="*/ 1537 h 1697"/>
                  <a:gd name="T74" fmla="*/ 58 w 260"/>
                  <a:gd name="T75" fmla="*/ 1633 h 1697"/>
                  <a:gd name="T76" fmla="*/ 67 w 260"/>
                  <a:gd name="T77" fmla="*/ 1686 h 1697"/>
                  <a:gd name="T78" fmla="*/ 60 w 260"/>
                  <a:gd name="T79" fmla="*/ 1695 h 1697"/>
                  <a:gd name="T80" fmla="*/ 54 w 260"/>
                  <a:gd name="T81" fmla="*/ 1697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1697">
                    <a:moveTo>
                      <a:pt x="53" y="1697"/>
                    </a:moveTo>
                    <a:lnTo>
                      <a:pt x="49" y="1696"/>
                    </a:lnTo>
                    <a:lnTo>
                      <a:pt x="44" y="1694"/>
                    </a:lnTo>
                    <a:lnTo>
                      <a:pt x="42" y="1690"/>
                    </a:lnTo>
                    <a:lnTo>
                      <a:pt x="40" y="1686"/>
                    </a:lnTo>
                    <a:lnTo>
                      <a:pt x="31" y="1637"/>
                    </a:lnTo>
                    <a:lnTo>
                      <a:pt x="25" y="1589"/>
                    </a:lnTo>
                    <a:lnTo>
                      <a:pt x="18" y="1540"/>
                    </a:lnTo>
                    <a:lnTo>
                      <a:pt x="13" y="1491"/>
                    </a:lnTo>
                    <a:lnTo>
                      <a:pt x="9" y="1441"/>
                    </a:lnTo>
                    <a:lnTo>
                      <a:pt x="4" y="1390"/>
                    </a:lnTo>
                    <a:lnTo>
                      <a:pt x="2" y="1339"/>
                    </a:lnTo>
                    <a:lnTo>
                      <a:pt x="0" y="1288"/>
                    </a:lnTo>
                    <a:lnTo>
                      <a:pt x="0" y="1236"/>
                    </a:lnTo>
                    <a:lnTo>
                      <a:pt x="0" y="1184"/>
                    </a:lnTo>
                    <a:lnTo>
                      <a:pt x="1" y="1132"/>
                    </a:lnTo>
                    <a:lnTo>
                      <a:pt x="3" y="1079"/>
                    </a:lnTo>
                    <a:lnTo>
                      <a:pt x="6" y="1026"/>
                    </a:lnTo>
                    <a:lnTo>
                      <a:pt x="10" y="972"/>
                    </a:lnTo>
                    <a:lnTo>
                      <a:pt x="15" y="920"/>
                    </a:lnTo>
                    <a:lnTo>
                      <a:pt x="21" y="866"/>
                    </a:lnTo>
                    <a:lnTo>
                      <a:pt x="27" y="813"/>
                    </a:lnTo>
                    <a:lnTo>
                      <a:pt x="35" y="759"/>
                    </a:lnTo>
                    <a:lnTo>
                      <a:pt x="43" y="705"/>
                    </a:lnTo>
                    <a:lnTo>
                      <a:pt x="53" y="651"/>
                    </a:lnTo>
                    <a:lnTo>
                      <a:pt x="63" y="597"/>
                    </a:lnTo>
                    <a:lnTo>
                      <a:pt x="75" y="543"/>
                    </a:lnTo>
                    <a:lnTo>
                      <a:pt x="86" y="489"/>
                    </a:lnTo>
                    <a:lnTo>
                      <a:pt x="99" y="435"/>
                    </a:lnTo>
                    <a:lnTo>
                      <a:pt x="113" y="381"/>
                    </a:lnTo>
                    <a:lnTo>
                      <a:pt x="127" y="327"/>
                    </a:lnTo>
                    <a:lnTo>
                      <a:pt x="144" y="274"/>
                    </a:lnTo>
                    <a:lnTo>
                      <a:pt x="160" y="220"/>
                    </a:lnTo>
                    <a:lnTo>
                      <a:pt x="177" y="167"/>
                    </a:lnTo>
                    <a:lnTo>
                      <a:pt x="195" y="114"/>
                    </a:lnTo>
                    <a:lnTo>
                      <a:pt x="214" y="61"/>
                    </a:lnTo>
                    <a:lnTo>
                      <a:pt x="234" y="8"/>
                    </a:lnTo>
                    <a:lnTo>
                      <a:pt x="238" y="4"/>
                    </a:lnTo>
                    <a:lnTo>
                      <a:pt x="242" y="1"/>
                    </a:lnTo>
                    <a:lnTo>
                      <a:pt x="246" y="0"/>
                    </a:lnTo>
                    <a:lnTo>
                      <a:pt x="252" y="1"/>
                    </a:lnTo>
                    <a:lnTo>
                      <a:pt x="256" y="4"/>
                    </a:lnTo>
                    <a:lnTo>
                      <a:pt x="259" y="8"/>
                    </a:lnTo>
                    <a:lnTo>
                      <a:pt x="260" y="14"/>
                    </a:lnTo>
                    <a:lnTo>
                      <a:pt x="259" y="18"/>
                    </a:lnTo>
                    <a:lnTo>
                      <a:pt x="240" y="71"/>
                    </a:lnTo>
                    <a:lnTo>
                      <a:pt x="220" y="123"/>
                    </a:lnTo>
                    <a:lnTo>
                      <a:pt x="203" y="176"/>
                    </a:lnTo>
                    <a:lnTo>
                      <a:pt x="186" y="229"/>
                    </a:lnTo>
                    <a:lnTo>
                      <a:pt x="170" y="282"/>
                    </a:lnTo>
                    <a:lnTo>
                      <a:pt x="153" y="334"/>
                    </a:lnTo>
                    <a:lnTo>
                      <a:pt x="139" y="387"/>
                    </a:lnTo>
                    <a:lnTo>
                      <a:pt x="125" y="441"/>
                    </a:lnTo>
                    <a:lnTo>
                      <a:pt x="112" y="494"/>
                    </a:lnTo>
                    <a:lnTo>
                      <a:pt x="100" y="548"/>
                    </a:lnTo>
                    <a:lnTo>
                      <a:pt x="90" y="601"/>
                    </a:lnTo>
                    <a:lnTo>
                      <a:pt x="80" y="655"/>
                    </a:lnTo>
                    <a:lnTo>
                      <a:pt x="70" y="709"/>
                    </a:lnTo>
                    <a:lnTo>
                      <a:pt x="62" y="762"/>
                    </a:lnTo>
                    <a:lnTo>
                      <a:pt x="54" y="815"/>
                    </a:lnTo>
                    <a:lnTo>
                      <a:pt x="48" y="869"/>
                    </a:lnTo>
                    <a:lnTo>
                      <a:pt x="42" y="922"/>
                    </a:lnTo>
                    <a:lnTo>
                      <a:pt x="37" y="975"/>
                    </a:lnTo>
                    <a:lnTo>
                      <a:pt x="33" y="1027"/>
                    </a:lnTo>
                    <a:lnTo>
                      <a:pt x="30" y="1079"/>
                    </a:lnTo>
                    <a:lnTo>
                      <a:pt x="28" y="1132"/>
                    </a:lnTo>
                    <a:lnTo>
                      <a:pt x="27" y="1184"/>
                    </a:lnTo>
                    <a:lnTo>
                      <a:pt x="27" y="1236"/>
                    </a:lnTo>
                    <a:lnTo>
                      <a:pt x="27" y="1287"/>
                    </a:lnTo>
                    <a:lnTo>
                      <a:pt x="29" y="1337"/>
                    </a:lnTo>
                    <a:lnTo>
                      <a:pt x="31" y="1388"/>
                    </a:lnTo>
                    <a:lnTo>
                      <a:pt x="35" y="1438"/>
                    </a:lnTo>
                    <a:lnTo>
                      <a:pt x="40" y="1487"/>
                    </a:lnTo>
                    <a:lnTo>
                      <a:pt x="45" y="1537"/>
                    </a:lnTo>
                    <a:lnTo>
                      <a:pt x="51" y="1586"/>
                    </a:lnTo>
                    <a:lnTo>
                      <a:pt x="58" y="1633"/>
                    </a:lnTo>
                    <a:lnTo>
                      <a:pt x="67" y="1681"/>
                    </a:lnTo>
                    <a:lnTo>
                      <a:pt x="67" y="1686"/>
                    </a:lnTo>
                    <a:lnTo>
                      <a:pt x="65" y="1691"/>
                    </a:lnTo>
                    <a:lnTo>
                      <a:pt x="60" y="1695"/>
                    </a:lnTo>
                    <a:lnTo>
                      <a:pt x="56" y="1697"/>
                    </a:lnTo>
                    <a:lnTo>
                      <a:pt x="54" y="1697"/>
                    </a:lnTo>
                    <a:lnTo>
                      <a:pt x="53" y="16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87"/>
              <p:cNvSpPr>
                <a:spLocks/>
              </p:cNvSpPr>
              <p:nvPr userDrawn="1"/>
            </p:nvSpPr>
            <p:spPr bwMode="auto">
              <a:xfrm>
                <a:off x="2473" y="2617"/>
                <a:ext cx="49" cy="492"/>
              </a:xfrm>
              <a:custGeom>
                <a:avLst/>
                <a:gdLst>
                  <a:gd name="T0" fmla="*/ 92 w 148"/>
                  <a:gd name="T1" fmla="*/ 1476 h 1478"/>
                  <a:gd name="T2" fmla="*/ 86 w 148"/>
                  <a:gd name="T3" fmla="*/ 1472 h 1478"/>
                  <a:gd name="T4" fmla="*/ 73 w 148"/>
                  <a:gd name="T5" fmla="*/ 1426 h 1478"/>
                  <a:gd name="T6" fmla="*/ 53 w 148"/>
                  <a:gd name="T7" fmla="*/ 1343 h 1478"/>
                  <a:gd name="T8" fmla="*/ 36 w 148"/>
                  <a:gd name="T9" fmla="*/ 1257 h 1478"/>
                  <a:gd name="T10" fmla="*/ 23 w 148"/>
                  <a:gd name="T11" fmla="*/ 1171 h 1478"/>
                  <a:gd name="T12" fmla="*/ 12 w 148"/>
                  <a:gd name="T13" fmla="*/ 1084 h 1478"/>
                  <a:gd name="T14" fmla="*/ 5 w 148"/>
                  <a:gd name="T15" fmla="*/ 996 h 1478"/>
                  <a:gd name="T16" fmla="*/ 1 w 148"/>
                  <a:gd name="T17" fmla="*/ 907 h 1478"/>
                  <a:gd name="T18" fmla="*/ 0 w 148"/>
                  <a:gd name="T19" fmla="*/ 816 h 1478"/>
                  <a:gd name="T20" fmla="*/ 2 w 148"/>
                  <a:gd name="T21" fmla="*/ 725 h 1478"/>
                  <a:gd name="T22" fmla="*/ 8 w 148"/>
                  <a:gd name="T23" fmla="*/ 632 h 1478"/>
                  <a:gd name="T24" fmla="*/ 17 w 148"/>
                  <a:gd name="T25" fmla="*/ 539 h 1478"/>
                  <a:gd name="T26" fmla="*/ 28 w 148"/>
                  <a:gd name="T27" fmla="*/ 444 h 1478"/>
                  <a:gd name="T28" fmla="*/ 44 w 148"/>
                  <a:gd name="T29" fmla="*/ 350 h 1478"/>
                  <a:gd name="T30" fmla="*/ 62 w 148"/>
                  <a:gd name="T31" fmla="*/ 253 h 1478"/>
                  <a:gd name="T32" fmla="*/ 83 w 148"/>
                  <a:gd name="T33" fmla="*/ 157 h 1478"/>
                  <a:gd name="T34" fmla="*/ 108 w 148"/>
                  <a:gd name="T35" fmla="*/ 59 h 1478"/>
                  <a:gd name="T36" fmla="*/ 124 w 148"/>
                  <a:gd name="T37" fmla="*/ 5 h 1478"/>
                  <a:gd name="T38" fmla="*/ 133 w 148"/>
                  <a:gd name="T39" fmla="*/ 0 h 1478"/>
                  <a:gd name="T40" fmla="*/ 143 w 148"/>
                  <a:gd name="T41" fmla="*/ 3 h 1478"/>
                  <a:gd name="T42" fmla="*/ 148 w 148"/>
                  <a:gd name="T43" fmla="*/ 12 h 1478"/>
                  <a:gd name="T44" fmla="*/ 134 w 148"/>
                  <a:gd name="T45" fmla="*/ 66 h 1478"/>
                  <a:gd name="T46" fmla="*/ 110 w 148"/>
                  <a:gd name="T47" fmla="*/ 163 h 1478"/>
                  <a:gd name="T48" fmla="*/ 89 w 148"/>
                  <a:gd name="T49" fmla="*/ 259 h 1478"/>
                  <a:gd name="T50" fmla="*/ 70 w 148"/>
                  <a:gd name="T51" fmla="*/ 354 h 1478"/>
                  <a:gd name="T52" fmla="*/ 55 w 148"/>
                  <a:gd name="T53" fmla="*/ 448 h 1478"/>
                  <a:gd name="T54" fmla="*/ 44 w 148"/>
                  <a:gd name="T55" fmla="*/ 542 h 1478"/>
                  <a:gd name="T56" fmla="*/ 35 w 148"/>
                  <a:gd name="T57" fmla="*/ 633 h 1478"/>
                  <a:gd name="T58" fmla="*/ 29 w 148"/>
                  <a:gd name="T59" fmla="*/ 725 h 1478"/>
                  <a:gd name="T60" fmla="*/ 27 w 148"/>
                  <a:gd name="T61" fmla="*/ 816 h 1478"/>
                  <a:gd name="T62" fmla="*/ 28 w 148"/>
                  <a:gd name="T63" fmla="*/ 905 h 1478"/>
                  <a:gd name="T64" fmla="*/ 32 w 148"/>
                  <a:gd name="T65" fmla="*/ 993 h 1478"/>
                  <a:gd name="T66" fmla="*/ 39 w 148"/>
                  <a:gd name="T67" fmla="*/ 1080 h 1478"/>
                  <a:gd name="T68" fmla="*/ 49 w 148"/>
                  <a:gd name="T69" fmla="*/ 1167 h 1478"/>
                  <a:gd name="T70" fmla="*/ 63 w 148"/>
                  <a:gd name="T71" fmla="*/ 1252 h 1478"/>
                  <a:gd name="T72" fmla="*/ 79 w 148"/>
                  <a:gd name="T73" fmla="*/ 1336 h 1478"/>
                  <a:gd name="T74" fmla="*/ 99 w 148"/>
                  <a:gd name="T75" fmla="*/ 1419 h 1478"/>
                  <a:gd name="T76" fmla="*/ 110 w 148"/>
                  <a:gd name="T77" fmla="*/ 1466 h 1478"/>
                  <a:gd name="T78" fmla="*/ 105 w 148"/>
                  <a:gd name="T79" fmla="*/ 1474 h 1478"/>
                  <a:gd name="T80" fmla="*/ 99 w 148"/>
                  <a:gd name="T81"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478">
                    <a:moveTo>
                      <a:pt x="96" y="1478"/>
                    </a:moveTo>
                    <a:lnTo>
                      <a:pt x="92" y="1476"/>
                    </a:lnTo>
                    <a:lnTo>
                      <a:pt x="89" y="1474"/>
                    </a:lnTo>
                    <a:lnTo>
                      <a:pt x="86" y="1472"/>
                    </a:lnTo>
                    <a:lnTo>
                      <a:pt x="83" y="1468"/>
                    </a:lnTo>
                    <a:lnTo>
                      <a:pt x="73" y="1426"/>
                    </a:lnTo>
                    <a:lnTo>
                      <a:pt x="62" y="1385"/>
                    </a:lnTo>
                    <a:lnTo>
                      <a:pt x="53" y="1343"/>
                    </a:lnTo>
                    <a:lnTo>
                      <a:pt x="44" y="1299"/>
                    </a:lnTo>
                    <a:lnTo>
                      <a:pt x="36" y="1257"/>
                    </a:lnTo>
                    <a:lnTo>
                      <a:pt x="28" y="1214"/>
                    </a:lnTo>
                    <a:lnTo>
                      <a:pt x="23" y="1171"/>
                    </a:lnTo>
                    <a:lnTo>
                      <a:pt x="17" y="1128"/>
                    </a:lnTo>
                    <a:lnTo>
                      <a:pt x="12" y="1084"/>
                    </a:lnTo>
                    <a:lnTo>
                      <a:pt x="8" y="1040"/>
                    </a:lnTo>
                    <a:lnTo>
                      <a:pt x="5" y="996"/>
                    </a:lnTo>
                    <a:lnTo>
                      <a:pt x="2" y="951"/>
                    </a:lnTo>
                    <a:lnTo>
                      <a:pt x="1" y="907"/>
                    </a:lnTo>
                    <a:lnTo>
                      <a:pt x="0" y="861"/>
                    </a:lnTo>
                    <a:lnTo>
                      <a:pt x="0" y="816"/>
                    </a:lnTo>
                    <a:lnTo>
                      <a:pt x="1" y="770"/>
                    </a:lnTo>
                    <a:lnTo>
                      <a:pt x="2" y="725"/>
                    </a:lnTo>
                    <a:lnTo>
                      <a:pt x="5" y="679"/>
                    </a:lnTo>
                    <a:lnTo>
                      <a:pt x="8" y="632"/>
                    </a:lnTo>
                    <a:lnTo>
                      <a:pt x="12" y="586"/>
                    </a:lnTo>
                    <a:lnTo>
                      <a:pt x="17" y="539"/>
                    </a:lnTo>
                    <a:lnTo>
                      <a:pt x="23" y="492"/>
                    </a:lnTo>
                    <a:lnTo>
                      <a:pt x="28" y="444"/>
                    </a:lnTo>
                    <a:lnTo>
                      <a:pt x="36" y="397"/>
                    </a:lnTo>
                    <a:lnTo>
                      <a:pt x="44" y="350"/>
                    </a:lnTo>
                    <a:lnTo>
                      <a:pt x="53" y="302"/>
                    </a:lnTo>
                    <a:lnTo>
                      <a:pt x="62" y="253"/>
                    </a:lnTo>
                    <a:lnTo>
                      <a:pt x="73" y="206"/>
                    </a:lnTo>
                    <a:lnTo>
                      <a:pt x="83" y="157"/>
                    </a:lnTo>
                    <a:lnTo>
                      <a:pt x="95" y="108"/>
                    </a:lnTo>
                    <a:lnTo>
                      <a:pt x="108" y="59"/>
                    </a:lnTo>
                    <a:lnTo>
                      <a:pt x="122" y="9"/>
                    </a:lnTo>
                    <a:lnTo>
                      <a:pt x="124" y="5"/>
                    </a:lnTo>
                    <a:lnTo>
                      <a:pt x="128" y="2"/>
                    </a:lnTo>
                    <a:lnTo>
                      <a:pt x="133" y="0"/>
                    </a:lnTo>
                    <a:lnTo>
                      <a:pt x="139" y="1"/>
                    </a:lnTo>
                    <a:lnTo>
                      <a:pt x="143" y="3"/>
                    </a:lnTo>
                    <a:lnTo>
                      <a:pt x="147" y="7"/>
                    </a:lnTo>
                    <a:lnTo>
                      <a:pt x="148" y="12"/>
                    </a:lnTo>
                    <a:lnTo>
                      <a:pt x="148" y="17"/>
                    </a:lnTo>
                    <a:lnTo>
                      <a:pt x="134" y="66"/>
                    </a:lnTo>
                    <a:lnTo>
                      <a:pt x="122" y="114"/>
                    </a:lnTo>
                    <a:lnTo>
                      <a:pt x="110" y="163"/>
                    </a:lnTo>
                    <a:lnTo>
                      <a:pt x="99" y="211"/>
                    </a:lnTo>
                    <a:lnTo>
                      <a:pt x="89" y="259"/>
                    </a:lnTo>
                    <a:lnTo>
                      <a:pt x="79" y="306"/>
                    </a:lnTo>
                    <a:lnTo>
                      <a:pt x="70" y="354"/>
                    </a:lnTo>
                    <a:lnTo>
                      <a:pt x="63" y="401"/>
                    </a:lnTo>
                    <a:lnTo>
                      <a:pt x="55" y="448"/>
                    </a:lnTo>
                    <a:lnTo>
                      <a:pt x="49" y="495"/>
                    </a:lnTo>
                    <a:lnTo>
                      <a:pt x="44" y="542"/>
                    </a:lnTo>
                    <a:lnTo>
                      <a:pt x="39" y="588"/>
                    </a:lnTo>
                    <a:lnTo>
                      <a:pt x="35" y="633"/>
                    </a:lnTo>
                    <a:lnTo>
                      <a:pt x="32" y="680"/>
                    </a:lnTo>
                    <a:lnTo>
                      <a:pt x="29" y="725"/>
                    </a:lnTo>
                    <a:lnTo>
                      <a:pt x="28" y="770"/>
                    </a:lnTo>
                    <a:lnTo>
                      <a:pt x="27" y="816"/>
                    </a:lnTo>
                    <a:lnTo>
                      <a:pt x="27" y="860"/>
                    </a:lnTo>
                    <a:lnTo>
                      <a:pt x="28" y="905"/>
                    </a:lnTo>
                    <a:lnTo>
                      <a:pt x="29" y="950"/>
                    </a:lnTo>
                    <a:lnTo>
                      <a:pt x="32" y="993"/>
                    </a:lnTo>
                    <a:lnTo>
                      <a:pt x="35" y="1037"/>
                    </a:lnTo>
                    <a:lnTo>
                      <a:pt x="39" y="1080"/>
                    </a:lnTo>
                    <a:lnTo>
                      <a:pt x="44" y="1125"/>
                    </a:lnTo>
                    <a:lnTo>
                      <a:pt x="49" y="1167"/>
                    </a:lnTo>
                    <a:lnTo>
                      <a:pt x="55" y="1210"/>
                    </a:lnTo>
                    <a:lnTo>
                      <a:pt x="63" y="1252"/>
                    </a:lnTo>
                    <a:lnTo>
                      <a:pt x="70" y="1294"/>
                    </a:lnTo>
                    <a:lnTo>
                      <a:pt x="79" y="1336"/>
                    </a:lnTo>
                    <a:lnTo>
                      <a:pt x="89" y="1378"/>
                    </a:lnTo>
                    <a:lnTo>
                      <a:pt x="99" y="1419"/>
                    </a:lnTo>
                    <a:lnTo>
                      <a:pt x="109" y="1460"/>
                    </a:lnTo>
                    <a:lnTo>
                      <a:pt x="110" y="1466"/>
                    </a:lnTo>
                    <a:lnTo>
                      <a:pt x="108" y="1471"/>
                    </a:lnTo>
                    <a:lnTo>
                      <a:pt x="105" y="1474"/>
                    </a:lnTo>
                    <a:lnTo>
                      <a:pt x="101" y="1478"/>
                    </a:lnTo>
                    <a:lnTo>
                      <a:pt x="99" y="1478"/>
                    </a:lnTo>
                    <a:lnTo>
                      <a:pt x="96" y="1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8"/>
              <p:cNvSpPr>
                <a:spLocks/>
              </p:cNvSpPr>
              <p:nvPr userDrawn="1"/>
            </p:nvSpPr>
            <p:spPr bwMode="auto">
              <a:xfrm>
                <a:off x="2510" y="2664"/>
                <a:ext cx="64" cy="430"/>
              </a:xfrm>
              <a:custGeom>
                <a:avLst/>
                <a:gdLst>
                  <a:gd name="T0" fmla="*/ 172 w 191"/>
                  <a:gd name="T1" fmla="*/ 1288 h 1289"/>
                  <a:gd name="T2" fmla="*/ 166 w 191"/>
                  <a:gd name="T3" fmla="*/ 1283 h 1289"/>
                  <a:gd name="T4" fmla="*/ 137 w 191"/>
                  <a:gd name="T5" fmla="*/ 1184 h 1289"/>
                  <a:gd name="T6" fmla="*/ 90 w 191"/>
                  <a:gd name="T7" fmla="*/ 1002 h 1289"/>
                  <a:gd name="T8" fmla="*/ 54 w 191"/>
                  <a:gd name="T9" fmla="*/ 828 h 1289"/>
                  <a:gd name="T10" fmla="*/ 27 w 191"/>
                  <a:gd name="T11" fmla="*/ 662 h 1289"/>
                  <a:gd name="T12" fmla="*/ 13 w 191"/>
                  <a:gd name="T13" fmla="*/ 543 h 1289"/>
                  <a:gd name="T14" fmla="*/ 6 w 191"/>
                  <a:gd name="T15" fmla="*/ 467 h 1289"/>
                  <a:gd name="T16" fmla="*/ 2 w 191"/>
                  <a:gd name="T17" fmla="*/ 391 h 1289"/>
                  <a:gd name="T18" fmla="*/ 0 w 191"/>
                  <a:gd name="T19" fmla="*/ 318 h 1289"/>
                  <a:gd name="T20" fmla="*/ 1 w 191"/>
                  <a:gd name="T21" fmla="*/ 246 h 1289"/>
                  <a:gd name="T22" fmla="*/ 3 w 191"/>
                  <a:gd name="T23" fmla="*/ 177 h 1289"/>
                  <a:gd name="T24" fmla="*/ 8 w 191"/>
                  <a:gd name="T25" fmla="*/ 109 h 1289"/>
                  <a:gd name="T26" fmla="*/ 16 w 191"/>
                  <a:gd name="T27" fmla="*/ 43 h 1289"/>
                  <a:gd name="T28" fmla="*/ 22 w 191"/>
                  <a:gd name="T29" fmla="*/ 7 h 1289"/>
                  <a:gd name="T30" fmla="*/ 30 w 191"/>
                  <a:gd name="T31" fmla="*/ 0 h 1289"/>
                  <a:gd name="T32" fmla="*/ 41 w 191"/>
                  <a:gd name="T33" fmla="*/ 2 h 1289"/>
                  <a:gd name="T34" fmla="*/ 47 w 191"/>
                  <a:gd name="T35" fmla="*/ 10 h 1289"/>
                  <a:gd name="T36" fmla="*/ 43 w 191"/>
                  <a:gd name="T37" fmla="*/ 48 h 1289"/>
                  <a:gd name="T38" fmla="*/ 35 w 191"/>
                  <a:gd name="T39" fmla="*/ 113 h 1289"/>
                  <a:gd name="T40" fmla="*/ 30 w 191"/>
                  <a:gd name="T41" fmla="*/ 179 h 1289"/>
                  <a:gd name="T42" fmla="*/ 28 w 191"/>
                  <a:gd name="T43" fmla="*/ 249 h 1289"/>
                  <a:gd name="T44" fmla="*/ 27 w 191"/>
                  <a:gd name="T45" fmla="*/ 319 h 1289"/>
                  <a:gd name="T46" fmla="*/ 29 w 191"/>
                  <a:gd name="T47" fmla="*/ 391 h 1289"/>
                  <a:gd name="T48" fmla="*/ 36 w 191"/>
                  <a:gd name="T49" fmla="*/ 503 h 1289"/>
                  <a:gd name="T50" fmla="*/ 54 w 191"/>
                  <a:gd name="T51" fmla="*/ 660 h 1289"/>
                  <a:gd name="T52" fmla="*/ 81 w 191"/>
                  <a:gd name="T53" fmla="*/ 824 h 1289"/>
                  <a:gd name="T54" fmla="*/ 117 w 191"/>
                  <a:gd name="T55" fmla="*/ 997 h 1289"/>
                  <a:gd name="T56" fmla="*/ 164 w 191"/>
                  <a:gd name="T57" fmla="*/ 1178 h 1289"/>
                  <a:gd name="T58" fmla="*/ 191 w 191"/>
                  <a:gd name="T59" fmla="*/ 1277 h 1289"/>
                  <a:gd name="T60" fmla="*/ 185 w 191"/>
                  <a:gd name="T61" fmla="*/ 1286 h 1289"/>
                  <a:gd name="T62" fmla="*/ 179 w 191"/>
                  <a:gd name="T63" fmla="*/ 1289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1289">
                    <a:moveTo>
                      <a:pt x="177" y="1289"/>
                    </a:moveTo>
                    <a:lnTo>
                      <a:pt x="172" y="1288"/>
                    </a:lnTo>
                    <a:lnTo>
                      <a:pt x="169" y="1286"/>
                    </a:lnTo>
                    <a:lnTo>
                      <a:pt x="166" y="1283"/>
                    </a:lnTo>
                    <a:lnTo>
                      <a:pt x="164" y="1279"/>
                    </a:lnTo>
                    <a:lnTo>
                      <a:pt x="137" y="1184"/>
                    </a:lnTo>
                    <a:lnTo>
                      <a:pt x="113" y="1092"/>
                    </a:lnTo>
                    <a:lnTo>
                      <a:pt x="90" y="1002"/>
                    </a:lnTo>
                    <a:lnTo>
                      <a:pt x="71" y="913"/>
                    </a:lnTo>
                    <a:lnTo>
                      <a:pt x="54" y="828"/>
                    </a:lnTo>
                    <a:lnTo>
                      <a:pt x="40" y="744"/>
                    </a:lnTo>
                    <a:lnTo>
                      <a:pt x="27" y="662"/>
                    </a:lnTo>
                    <a:lnTo>
                      <a:pt x="17" y="582"/>
                    </a:lnTo>
                    <a:lnTo>
                      <a:pt x="13" y="543"/>
                    </a:lnTo>
                    <a:lnTo>
                      <a:pt x="9" y="504"/>
                    </a:lnTo>
                    <a:lnTo>
                      <a:pt x="6" y="467"/>
                    </a:lnTo>
                    <a:lnTo>
                      <a:pt x="4" y="429"/>
                    </a:lnTo>
                    <a:lnTo>
                      <a:pt x="2" y="391"/>
                    </a:lnTo>
                    <a:lnTo>
                      <a:pt x="1" y="354"/>
                    </a:lnTo>
                    <a:lnTo>
                      <a:pt x="0" y="318"/>
                    </a:lnTo>
                    <a:lnTo>
                      <a:pt x="0" y="282"/>
                    </a:lnTo>
                    <a:lnTo>
                      <a:pt x="1" y="246"/>
                    </a:lnTo>
                    <a:lnTo>
                      <a:pt x="2" y="212"/>
                    </a:lnTo>
                    <a:lnTo>
                      <a:pt x="3" y="177"/>
                    </a:lnTo>
                    <a:lnTo>
                      <a:pt x="5" y="144"/>
                    </a:lnTo>
                    <a:lnTo>
                      <a:pt x="8" y="109"/>
                    </a:lnTo>
                    <a:lnTo>
                      <a:pt x="11" y="77"/>
                    </a:lnTo>
                    <a:lnTo>
                      <a:pt x="16" y="43"/>
                    </a:lnTo>
                    <a:lnTo>
                      <a:pt x="20" y="12"/>
                    </a:lnTo>
                    <a:lnTo>
                      <a:pt x="22" y="7"/>
                    </a:lnTo>
                    <a:lnTo>
                      <a:pt x="26" y="2"/>
                    </a:lnTo>
                    <a:lnTo>
                      <a:pt x="30" y="0"/>
                    </a:lnTo>
                    <a:lnTo>
                      <a:pt x="35" y="0"/>
                    </a:lnTo>
                    <a:lnTo>
                      <a:pt x="41" y="2"/>
                    </a:lnTo>
                    <a:lnTo>
                      <a:pt x="45" y="6"/>
                    </a:lnTo>
                    <a:lnTo>
                      <a:pt x="47" y="10"/>
                    </a:lnTo>
                    <a:lnTo>
                      <a:pt x="47" y="15"/>
                    </a:lnTo>
                    <a:lnTo>
                      <a:pt x="43" y="48"/>
                    </a:lnTo>
                    <a:lnTo>
                      <a:pt x="38" y="80"/>
                    </a:lnTo>
                    <a:lnTo>
                      <a:pt x="35" y="113"/>
                    </a:lnTo>
                    <a:lnTo>
                      <a:pt x="32" y="146"/>
                    </a:lnTo>
                    <a:lnTo>
                      <a:pt x="30" y="179"/>
                    </a:lnTo>
                    <a:lnTo>
                      <a:pt x="29" y="214"/>
                    </a:lnTo>
                    <a:lnTo>
                      <a:pt x="28" y="249"/>
                    </a:lnTo>
                    <a:lnTo>
                      <a:pt x="27" y="283"/>
                    </a:lnTo>
                    <a:lnTo>
                      <a:pt x="27" y="319"/>
                    </a:lnTo>
                    <a:lnTo>
                      <a:pt x="28" y="354"/>
                    </a:lnTo>
                    <a:lnTo>
                      <a:pt x="29" y="391"/>
                    </a:lnTo>
                    <a:lnTo>
                      <a:pt x="31" y="428"/>
                    </a:lnTo>
                    <a:lnTo>
                      <a:pt x="36" y="503"/>
                    </a:lnTo>
                    <a:lnTo>
                      <a:pt x="44" y="580"/>
                    </a:lnTo>
                    <a:lnTo>
                      <a:pt x="54" y="660"/>
                    </a:lnTo>
                    <a:lnTo>
                      <a:pt x="67" y="741"/>
                    </a:lnTo>
                    <a:lnTo>
                      <a:pt x="81" y="824"/>
                    </a:lnTo>
                    <a:lnTo>
                      <a:pt x="98" y="909"/>
                    </a:lnTo>
                    <a:lnTo>
                      <a:pt x="117" y="997"/>
                    </a:lnTo>
                    <a:lnTo>
                      <a:pt x="139" y="1086"/>
                    </a:lnTo>
                    <a:lnTo>
                      <a:pt x="164" y="1178"/>
                    </a:lnTo>
                    <a:lnTo>
                      <a:pt x="190" y="1272"/>
                    </a:lnTo>
                    <a:lnTo>
                      <a:pt x="191" y="1277"/>
                    </a:lnTo>
                    <a:lnTo>
                      <a:pt x="189" y="1282"/>
                    </a:lnTo>
                    <a:lnTo>
                      <a:pt x="185" y="1286"/>
                    </a:lnTo>
                    <a:lnTo>
                      <a:pt x="181" y="1288"/>
                    </a:lnTo>
                    <a:lnTo>
                      <a:pt x="179" y="1289"/>
                    </a:lnTo>
                    <a:lnTo>
                      <a:pt x="177" y="1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89"/>
              <p:cNvSpPr>
                <a:spLocks/>
              </p:cNvSpPr>
              <p:nvPr userDrawn="1"/>
            </p:nvSpPr>
            <p:spPr bwMode="auto">
              <a:xfrm>
                <a:off x="1907" y="1799"/>
                <a:ext cx="732" cy="399"/>
              </a:xfrm>
              <a:custGeom>
                <a:avLst/>
                <a:gdLst>
                  <a:gd name="T0" fmla="*/ 1038 w 2197"/>
                  <a:gd name="T1" fmla="*/ 1199 h 1199"/>
                  <a:gd name="T2" fmla="*/ 744 w 2197"/>
                  <a:gd name="T3" fmla="*/ 1113 h 1199"/>
                  <a:gd name="T4" fmla="*/ 512 w 2197"/>
                  <a:gd name="T5" fmla="*/ 999 h 1199"/>
                  <a:gd name="T6" fmla="*/ 334 w 2197"/>
                  <a:gd name="T7" fmla="*/ 864 h 1199"/>
                  <a:gd name="T8" fmla="*/ 201 w 2197"/>
                  <a:gd name="T9" fmla="*/ 717 h 1199"/>
                  <a:gd name="T10" fmla="*/ 109 w 2197"/>
                  <a:gd name="T11" fmla="*/ 566 h 1199"/>
                  <a:gd name="T12" fmla="*/ 50 w 2197"/>
                  <a:gd name="T13" fmla="*/ 418 h 1199"/>
                  <a:gd name="T14" fmla="*/ 17 w 2197"/>
                  <a:gd name="T15" fmla="*/ 283 h 1199"/>
                  <a:gd name="T16" fmla="*/ 2 w 2197"/>
                  <a:gd name="T17" fmla="*/ 166 h 1199"/>
                  <a:gd name="T18" fmla="*/ 0 w 2197"/>
                  <a:gd name="T19" fmla="*/ 77 h 1199"/>
                  <a:gd name="T20" fmla="*/ 4 w 2197"/>
                  <a:gd name="T21" fmla="*/ 11 h 1199"/>
                  <a:gd name="T22" fmla="*/ 15 w 2197"/>
                  <a:gd name="T23" fmla="*/ 0 h 1199"/>
                  <a:gd name="T24" fmla="*/ 29 w 2197"/>
                  <a:gd name="T25" fmla="*/ 5 h 1199"/>
                  <a:gd name="T26" fmla="*/ 30 w 2197"/>
                  <a:gd name="T27" fmla="*/ 27 h 1199"/>
                  <a:gd name="T28" fmla="*/ 27 w 2197"/>
                  <a:gd name="T29" fmla="*/ 105 h 1199"/>
                  <a:gd name="T30" fmla="*/ 32 w 2197"/>
                  <a:gd name="T31" fmla="*/ 201 h 1199"/>
                  <a:gd name="T32" fmla="*/ 52 w 2197"/>
                  <a:gd name="T33" fmla="*/ 321 h 1199"/>
                  <a:gd name="T34" fmla="*/ 92 w 2197"/>
                  <a:gd name="T35" fmla="*/ 458 h 1199"/>
                  <a:gd name="T36" fmla="*/ 160 w 2197"/>
                  <a:gd name="T37" fmla="*/ 602 h 1199"/>
                  <a:gd name="T38" fmla="*/ 262 w 2197"/>
                  <a:gd name="T39" fmla="*/ 749 h 1199"/>
                  <a:gd name="T40" fmla="*/ 405 w 2197"/>
                  <a:gd name="T41" fmla="*/ 890 h 1199"/>
                  <a:gd name="T42" fmla="*/ 596 w 2197"/>
                  <a:gd name="T43" fmla="*/ 1015 h 1199"/>
                  <a:gd name="T44" fmla="*/ 841 w 2197"/>
                  <a:gd name="T45" fmla="*/ 1118 h 1199"/>
                  <a:gd name="T46" fmla="*/ 1058 w 2197"/>
                  <a:gd name="T47" fmla="*/ 1159 h 1199"/>
                  <a:gd name="T48" fmla="*/ 1146 w 2197"/>
                  <a:gd name="T49" fmla="*/ 1102 h 1199"/>
                  <a:gd name="T50" fmla="*/ 1393 w 2197"/>
                  <a:gd name="T51" fmla="*/ 942 h 1199"/>
                  <a:gd name="T52" fmla="*/ 1579 w 2197"/>
                  <a:gd name="T53" fmla="*/ 833 h 1199"/>
                  <a:gd name="T54" fmla="*/ 1711 w 2197"/>
                  <a:gd name="T55" fmla="*/ 765 h 1199"/>
                  <a:gd name="T56" fmla="*/ 1828 w 2197"/>
                  <a:gd name="T57" fmla="*/ 718 h 1199"/>
                  <a:gd name="T58" fmla="*/ 1888 w 2197"/>
                  <a:gd name="T59" fmla="*/ 703 h 1199"/>
                  <a:gd name="T60" fmla="*/ 1944 w 2197"/>
                  <a:gd name="T61" fmla="*/ 694 h 1199"/>
                  <a:gd name="T62" fmla="*/ 1994 w 2197"/>
                  <a:gd name="T63" fmla="*/ 693 h 1199"/>
                  <a:gd name="T64" fmla="*/ 2040 w 2197"/>
                  <a:gd name="T65" fmla="*/ 696 h 1199"/>
                  <a:gd name="T66" fmla="*/ 2114 w 2197"/>
                  <a:gd name="T67" fmla="*/ 713 h 1199"/>
                  <a:gd name="T68" fmla="*/ 2165 w 2197"/>
                  <a:gd name="T69" fmla="*/ 733 h 1199"/>
                  <a:gd name="T70" fmla="*/ 2196 w 2197"/>
                  <a:gd name="T71" fmla="*/ 755 h 1199"/>
                  <a:gd name="T72" fmla="*/ 2195 w 2197"/>
                  <a:gd name="T73" fmla="*/ 769 h 1199"/>
                  <a:gd name="T74" fmla="*/ 2181 w 2197"/>
                  <a:gd name="T75" fmla="*/ 774 h 1199"/>
                  <a:gd name="T76" fmla="*/ 2152 w 2197"/>
                  <a:gd name="T77" fmla="*/ 758 h 1199"/>
                  <a:gd name="T78" fmla="*/ 2105 w 2197"/>
                  <a:gd name="T79" fmla="*/ 738 h 1199"/>
                  <a:gd name="T80" fmla="*/ 2035 w 2197"/>
                  <a:gd name="T81" fmla="*/ 723 h 1199"/>
                  <a:gd name="T82" fmla="*/ 1962 w 2197"/>
                  <a:gd name="T83" fmla="*/ 720 h 1199"/>
                  <a:gd name="T84" fmla="*/ 1911 w 2197"/>
                  <a:gd name="T85" fmla="*/ 726 h 1199"/>
                  <a:gd name="T86" fmla="*/ 1855 w 2197"/>
                  <a:gd name="T87" fmla="*/ 738 h 1199"/>
                  <a:gd name="T88" fmla="*/ 1761 w 2197"/>
                  <a:gd name="T89" fmla="*/ 772 h 1199"/>
                  <a:gd name="T90" fmla="*/ 1633 w 2197"/>
                  <a:gd name="T91" fmla="*/ 836 h 1199"/>
                  <a:gd name="T92" fmla="*/ 1493 w 2197"/>
                  <a:gd name="T93" fmla="*/ 913 h 1199"/>
                  <a:gd name="T94" fmla="*/ 1231 w 2197"/>
                  <a:gd name="T95" fmla="*/ 1078 h 1199"/>
                  <a:gd name="T96" fmla="*/ 1093 w 2197"/>
                  <a:gd name="T97" fmla="*/ 1168 h 1199"/>
                  <a:gd name="T98" fmla="*/ 1044 w 2197"/>
                  <a:gd name="T99" fmla="*/ 1198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97" h="1199">
                    <a:moveTo>
                      <a:pt x="1040" y="1199"/>
                    </a:moveTo>
                    <a:lnTo>
                      <a:pt x="1039" y="1199"/>
                    </a:lnTo>
                    <a:lnTo>
                      <a:pt x="1038" y="1199"/>
                    </a:lnTo>
                    <a:lnTo>
                      <a:pt x="933" y="1173"/>
                    </a:lnTo>
                    <a:lnTo>
                      <a:pt x="835" y="1144"/>
                    </a:lnTo>
                    <a:lnTo>
                      <a:pt x="744" y="1113"/>
                    </a:lnTo>
                    <a:lnTo>
                      <a:pt x="661" y="1077"/>
                    </a:lnTo>
                    <a:lnTo>
                      <a:pt x="583" y="1039"/>
                    </a:lnTo>
                    <a:lnTo>
                      <a:pt x="512" y="999"/>
                    </a:lnTo>
                    <a:lnTo>
                      <a:pt x="447" y="955"/>
                    </a:lnTo>
                    <a:lnTo>
                      <a:pt x="387" y="910"/>
                    </a:lnTo>
                    <a:lnTo>
                      <a:pt x="334" y="864"/>
                    </a:lnTo>
                    <a:lnTo>
                      <a:pt x="284" y="816"/>
                    </a:lnTo>
                    <a:lnTo>
                      <a:pt x="241" y="767"/>
                    </a:lnTo>
                    <a:lnTo>
                      <a:pt x="201" y="717"/>
                    </a:lnTo>
                    <a:lnTo>
                      <a:pt x="166" y="666"/>
                    </a:lnTo>
                    <a:lnTo>
                      <a:pt x="136" y="616"/>
                    </a:lnTo>
                    <a:lnTo>
                      <a:pt x="109" y="566"/>
                    </a:lnTo>
                    <a:lnTo>
                      <a:pt x="86" y="516"/>
                    </a:lnTo>
                    <a:lnTo>
                      <a:pt x="67" y="466"/>
                    </a:lnTo>
                    <a:lnTo>
                      <a:pt x="50" y="418"/>
                    </a:lnTo>
                    <a:lnTo>
                      <a:pt x="37" y="371"/>
                    </a:lnTo>
                    <a:lnTo>
                      <a:pt x="26" y="326"/>
                    </a:lnTo>
                    <a:lnTo>
                      <a:pt x="17" y="283"/>
                    </a:lnTo>
                    <a:lnTo>
                      <a:pt x="11" y="241"/>
                    </a:lnTo>
                    <a:lnTo>
                      <a:pt x="5" y="202"/>
                    </a:lnTo>
                    <a:lnTo>
                      <a:pt x="2" y="166"/>
                    </a:lnTo>
                    <a:lnTo>
                      <a:pt x="1" y="133"/>
                    </a:lnTo>
                    <a:lnTo>
                      <a:pt x="0" y="104"/>
                    </a:lnTo>
                    <a:lnTo>
                      <a:pt x="0" y="77"/>
                    </a:lnTo>
                    <a:lnTo>
                      <a:pt x="1" y="55"/>
                    </a:lnTo>
                    <a:lnTo>
                      <a:pt x="3" y="24"/>
                    </a:lnTo>
                    <a:lnTo>
                      <a:pt x="4" y="11"/>
                    </a:lnTo>
                    <a:lnTo>
                      <a:pt x="6" y="7"/>
                    </a:lnTo>
                    <a:lnTo>
                      <a:pt x="10" y="2"/>
                    </a:lnTo>
                    <a:lnTo>
                      <a:pt x="15" y="0"/>
                    </a:lnTo>
                    <a:lnTo>
                      <a:pt x="20" y="0"/>
                    </a:lnTo>
                    <a:lnTo>
                      <a:pt x="25" y="2"/>
                    </a:lnTo>
                    <a:lnTo>
                      <a:pt x="29" y="5"/>
                    </a:lnTo>
                    <a:lnTo>
                      <a:pt x="31" y="10"/>
                    </a:lnTo>
                    <a:lnTo>
                      <a:pt x="31" y="15"/>
                    </a:lnTo>
                    <a:lnTo>
                      <a:pt x="30" y="27"/>
                    </a:lnTo>
                    <a:lnTo>
                      <a:pt x="28" y="57"/>
                    </a:lnTo>
                    <a:lnTo>
                      <a:pt x="27" y="79"/>
                    </a:lnTo>
                    <a:lnTo>
                      <a:pt x="27" y="105"/>
                    </a:lnTo>
                    <a:lnTo>
                      <a:pt x="28" y="133"/>
                    </a:lnTo>
                    <a:lnTo>
                      <a:pt x="29" y="165"/>
                    </a:lnTo>
                    <a:lnTo>
                      <a:pt x="32" y="201"/>
                    </a:lnTo>
                    <a:lnTo>
                      <a:pt x="37" y="239"/>
                    </a:lnTo>
                    <a:lnTo>
                      <a:pt x="43" y="279"/>
                    </a:lnTo>
                    <a:lnTo>
                      <a:pt x="52" y="321"/>
                    </a:lnTo>
                    <a:lnTo>
                      <a:pt x="62" y="365"/>
                    </a:lnTo>
                    <a:lnTo>
                      <a:pt x="75" y="410"/>
                    </a:lnTo>
                    <a:lnTo>
                      <a:pt x="92" y="458"/>
                    </a:lnTo>
                    <a:lnTo>
                      <a:pt x="111" y="505"/>
                    </a:lnTo>
                    <a:lnTo>
                      <a:pt x="134" y="554"/>
                    </a:lnTo>
                    <a:lnTo>
                      <a:pt x="160" y="602"/>
                    </a:lnTo>
                    <a:lnTo>
                      <a:pt x="190" y="652"/>
                    </a:lnTo>
                    <a:lnTo>
                      <a:pt x="223" y="701"/>
                    </a:lnTo>
                    <a:lnTo>
                      <a:pt x="262" y="749"/>
                    </a:lnTo>
                    <a:lnTo>
                      <a:pt x="304" y="797"/>
                    </a:lnTo>
                    <a:lnTo>
                      <a:pt x="352" y="844"/>
                    </a:lnTo>
                    <a:lnTo>
                      <a:pt x="405" y="890"/>
                    </a:lnTo>
                    <a:lnTo>
                      <a:pt x="463" y="933"/>
                    </a:lnTo>
                    <a:lnTo>
                      <a:pt x="526" y="975"/>
                    </a:lnTo>
                    <a:lnTo>
                      <a:pt x="596" y="1015"/>
                    </a:lnTo>
                    <a:lnTo>
                      <a:pt x="670" y="1053"/>
                    </a:lnTo>
                    <a:lnTo>
                      <a:pt x="752" y="1087"/>
                    </a:lnTo>
                    <a:lnTo>
                      <a:pt x="841" y="1118"/>
                    </a:lnTo>
                    <a:lnTo>
                      <a:pt x="936" y="1147"/>
                    </a:lnTo>
                    <a:lnTo>
                      <a:pt x="1038" y="1171"/>
                    </a:lnTo>
                    <a:lnTo>
                      <a:pt x="1058" y="1159"/>
                    </a:lnTo>
                    <a:lnTo>
                      <a:pt x="1083" y="1143"/>
                    </a:lnTo>
                    <a:lnTo>
                      <a:pt x="1112" y="1124"/>
                    </a:lnTo>
                    <a:lnTo>
                      <a:pt x="1146" y="1102"/>
                    </a:lnTo>
                    <a:lnTo>
                      <a:pt x="1220" y="1053"/>
                    </a:lnTo>
                    <a:lnTo>
                      <a:pt x="1304" y="999"/>
                    </a:lnTo>
                    <a:lnTo>
                      <a:pt x="1393" y="942"/>
                    </a:lnTo>
                    <a:lnTo>
                      <a:pt x="1486" y="886"/>
                    </a:lnTo>
                    <a:lnTo>
                      <a:pt x="1532" y="859"/>
                    </a:lnTo>
                    <a:lnTo>
                      <a:pt x="1579" y="833"/>
                    </a:lnTo>
                    <a:lnTo>
                      <a:pt x="1624" y="809"/>
                    </a:lnTo>
                    <a:lnTo>
                      <a:pt x="1668" y="786"/>
                    </a:lnTo>
                    <a:lnTo>
                      <a:pt x="1711" y="765"/>
                    </a:lnTo>
                    <a:lnTo>
                      <a:pt x="1752" y="747"/>
                    </a:lnTo>
                    <a:lnTo>
                      <a:pt x="1791" y="731"/>
                    </a:lnTo>
                    <a:lnTo>
                      <a:pt x="1828" y="718"/>
                    </a:lnTo>
                    <a:lnTo>
                      <a:pt x="1848" y="711"/>
                    </a:lnTo>
                    <a:lnTo>
                      <a:pt x="1869" y="707"/>
                    </a:lnTo>
                    <a:lnTo>
                      <a:pt x="1888" y="703"/>
                    </a:lnTo>
                    <a:lnTo>
                      <a:pt x="1907" y="699"/>
                    </a:lnTo>
                    <a:lnTo>
                      <a:pt x="1926" y="696"/>
                    </a:lnTo>
                    <a:lnTo>
                      <a:pt x="1944" y="694"/>
                    </a:lnTo>
                    <a:lnTo>
                      <a:pt x="1961" y="693"/>
                    </a:lnTo>
                    <a:lnTo>
                      <a:pt x="1978" y="693"/>
                    </a:lnTo>
                    <a:lnTo>
                      <a:pt x="1994" y="693"/>
                    </a:lnTo>
                    <a:lnTo>
                      <a:pt x="2010" y="693"/>
                    </a:lnTo>
                    <a:lnTo>
                      <a:pt x="2026" y="694"/>
                    </a:lnTo>
                    <a:lnTo>
                      <a:pt x="2040" y="696"/>
                    </a:lnTo>
                    <a:lnTo>
                      <a:pt x="2067" y="701"/>
                    </a:lnTo>
                    <a:lnTo>
                      <a:pt x="2091" y="706"/>
                    </a:lnTo>
                    <a:lnTo>
                      <a:pt x="2114" y="713"/>
                    </a:lnTo>
                    <a:lnTo>
                      <a:pt x="2134" y="719"/>
                    </a:lnTo>
                    <a:lnTo>
                      <a:pt x="2151" y="727"/>
                    </a:lnTo>
                    <a:lnTo>
                      <a:pt x="2165" y="733"/>
                    </a:lnTo>
                    <a:lnTo>
                      <a:pt x="2184" y="745"/>
                    </a:lnTo>
                    <a:lnTo>
                      <a:pt x="2193" y="750"/>
                    </a:lnTo>
                    <a:lnTo>
                      <a:pt x="2196" y="755"/>
                    </a:lnTo>
                    <a:lnTo>
                      <a:pt x="2197" y="759"/>
                    </a:lnTo>
                    <a:lnTo>
                      <a:pt x="2197" y="764"/>
                    </a:lnTo>
                    <a:lnTo>
                      <a:pt x="2195" y="769"/>
                    </a:lnTo>
                    <a:lnTo>
                      <a:pt x="2191" y="773"/>
                    </a:lnTo>
                    <a:lnTo>
                      <a:pt x="2186" y="774"/>
                    </a:lnTo>
                    <a:lnTo>
                      <a:pt x="2181" y="774"/>
                    </a:lnTo>
                    <a:lnTo>
                      <a:pt x="2177" y="772"/>
                    </a:lnTo>
                    <a:lnTo>
                      <a:pt x="2170" y="768"/>
                    </a:lnTo>
                    <a:lnTo>
                      <a:pt x="2152" y="758"/>
                    </a:lnTo>
                    <a:lnTo>
                      <a:pt x="2139" y="751"/>
                    </a:lnTo>
                    <a:lnTo>
                      <a:pt x="2123" y="745"/>
                    </a:lnTo>
                    <a:lnTo>
                      <a:pt x="2105" y="738"/>
                    </a:lnTo>
                    <a:lnTo>
                      <a:pt x="2084" y="733"/>
                    </a:lnTo>
                    <a:lnTo>
                      <a:pt x="2061" y="728"/>
                    </a:lnTo>
                    <a:lnTo>
                      <a:pt x="2035" y="723"/>
                    </a:lnTo>
                    <a:lnTo>
                      <a:pt x="2007" y="721"/>
                    </a:lnTo>
                    <a:lnTo>
                      <a:pt x="1977" y="720"/>
                    </a:lnTo>
                    <a:lnTo>
                      <a:pt x="1962" y="720"/>
                    </a:lnTo>
                    <a:lnTo>
                      <a:pt x="1945" y="721"/>
                    </a:lnTo>
                    <a:lnTo>
                      <a:pt x="1928" y="723"/>
                    </a:lnTo>
                    <a:lnTo>
                      <a:pt x="1911" y="726"/>
                    </a:lnTo>
                    <a:lnTo>
                      <a:pt x="1893" y="729"/>
                    </a:lnTo>
                    <a:lnTo>
                      <a:pt x="1874" y="733"/>
                    </a:lnTo>
                    <a:lnTo>
                      <a:pt x="1855" y="738"/>
                    </a:lnTo>
                    <a:lnTo>
                      <a:pt x="1836" y="744"/>
                    </a:lnTo>
                    <a:lnTo>
                      <a:pt x="1800" y="757"/>
                    </a:lnTo>
                    <a:lnTo>
                      <a:pt x="1761" y="772"/>
                    </a:lnTo>
                    <a:lnTo>
                      <a:pt x="1720" y="791"/>
                    </a:lnTo>
                    <a:lnTo>
                      <a:pt x="1677" y="812"/>
                    </a:lnTo>
                    <a:lnTo>
                      <a:pt x="1633" y="836"/>
                    </a:lnTo>
                    <a:lnTo>
                      <a:pt x="1586" y="860"/>
                    </a:lnTo>
                    <a:lnTo>
                      <a:pt x="1541" y="886"/>
                    </a:lnTo>
                    <a:lnTo>
                      <a:pt x="1493" y="913"/>
                    </a:lnTo>
                    <a:lnTo>
                      <a:pt x="1401" y="969"/>
                    </a:lnTo>
                    <a:lnTo>
                      <a:pt x="1313" y="1026"/>
                    </a:lnTo>
                    <a:lnTo>
                      <a:pt x="1231" y="1078"/>
                    </a:lnTo>
                    <a:lnTo>
                      <a:pt x="1161" y="1125"/>
                    </a:lnTo>
                    <a:lnTo>
                      <a:pt x="1124" y="1148"/>
                    </a:lnTo>
                    <a:lnTo>
                      <a:pt x="1093" y="1168"/>
                    </a:lnTo>
                    <a:lnTo>
                      <a:pt x="1067" y="1185"/>
                    </a:lnTo>
                    <a:lnTo>
                      <a:pt x="1047" y="1197"/>
                    </a:lnTo>
                    <a:lnTo>
                      <a:pt x="1044" y="1198"/>
                    </a:lnTo>
                    <a:lnTo>
                      <a:pt x="1040" y="1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90"/>
              <p:cNvSpPr>
                <a:spLocks/>
              </p:cNvSpPr>
              <p:nvPr userDrawn="1"/>
            </p:nvSpPr>
            <p:spPr bwMode="auto">
              <a:xfrm>
                <a:off x="1971" y="1838"/>
                <a:ext cx="569" cy="297"/>
              </a:xfrm>
              <a:custGeom>
                <a:avLst/>
                <a:gdLst>
                  <a:gd name="T0" fmla="*/ 839 w 1705"/>
                  <a:gd name="T1" fmla="*/ 889 h 891"/>
                  <a:gd name="T2" fmla="*/ 769 w 1705"/>
                  <a:gd name="T3" fmla="*/ 880 h 891"/>
                  <a:gd name="T4" fmla="*/ 690 w 1705"/>
                  <a:gd name="T5" fmla="*/ 859 h 891"/>
                  <a:gd name="T6" fmla="*/ 602 w 1705"/>
                  <a:gd name="T7" fmla="*/ 828 h 891"/>
                  <a:gd name="T8" fmla="*/ 503 w 1705"/>
                  <a:gd name="T9" fmla="*/ 782 h 891"/>
                  <a:gd name="T10" fmla="*/ 405 w 1705"/>
                  <a:gd name="T11" fmla="*/ 729 h 891"/>
                  <a:gd name="T12" fmla="*/ 333 w 1705"/>
                  <a:gd name="T13" fmla="*/ 678 h 891"/>
                  <a:gd name="T14" fmla="*/ 267 w 1705"/>
                  <a:gd name="T15" fmla="*/ 619 h 891"/>
                  <a:gd name="T16" fmla="*/ 209 w 1705"/>
                  <a:gd name="T17" fmla="*/ 555 h 891"/>
                  <a:gd name="T18" fmla="*/ 158 w 1705"/>
                  <a:gd name="T19" fmla="*/ 486 h 891"/>
                  <a:gd name="T20" fmla="*/ 115 w 1705"/>
                  <a:gd name="T21" fmla="*/ 413 h 891"/>
                  <a:gd name="T22" fmla="*/ 78 w 1705"/>
                  <a:gd name="T23" fmla="*/ 338 h 891"/>
                  <a:gd name="T24" fmla="*/ 49 w 1705"/>
                  <a:gd name="T25" fmla="*/ 262 h 891"/>
                  <a:gd name="T26" fmla="*/ 26 w 1705"/>
                  <a:gd name="T27" fmla="*/ 185 h 891"/>
                  <a:gd name="T28" fmla="*/ 10 w 1705"/>
                  <a:gd name="T29" fmla="*/ 110 h 891"/>
                  <a:gd name="T30" fmla="*/ 1 w 1705"/>
                  <a:gd name="T31" fmla="*/ 38 h 891"/>
                  <a:gd name="T32" fmla="*/ 3 w 1705"/>
                  <a:gd name="T33" fmla="*/ 4 h 891"/>
                  <a:gd name="T34" fmla="*/ 17 w 1705"/>
                  <a:gd name="T35" fmla="*/ 1 h 891"/>
                  <a:gd name="T36" fmla="*/ 27 w 1705"/>
                  <a:gd name="T37" fmla="*/ 13 h 891"/>
                  <a:gd name="T38" fmla="*/ 34 w 1705"/>
                  <a:gd name="T39" fmla="*/ 82 h 891"/>
                  <a:gd name="T40" fmla="*/ 47 w 1705"/>
                  <a:gd name="T41" fmla="*/ 154 h 891"/>
                  <a:gd name="T42" fmla="*/ 66 w 1705"/>
                  <a:gd name="T43" fmla="*/ 229 h 891"/>
                  <a:gd name="T44" fmla="*/ 92 w 1705"/>
                  <a:gd name="T45" fmla="*/ 302 h 891"/>
                  <a:gd name="T46" fmla="*/ 125 w 1705"/>
                  <a:gd name="T47" fmla="*/ 375 h 891"/>
                  <a:gd name="T48" fmla="*/ 165 w 1705"/>
                  <a:gd name="T49" fmla="*/ 447 h 891"/>
                  <a:gd name="T50" fmla="*/ 212 w 1705"/>
                  <a:gd name="T51" fmla="*/ 516 h 891"/>
                  <a:gd name="T52" fmla="*/ 266 w 1705"/>
                  <a:gd name="T53" fmla="*/ 579 h 891"/>
                  <a:gd name="T54" fmla="*/ 327 w 1705"/>
                  <a:gd name="T55" fmla="*/ 638 h 891"/>
                  <a:gd name="T56" fmla="*/ 395 w 1705"/>
                  <a:gd name="T57" fmla="*/ 691 h 891"/>
                  <a:gd name="T58" fmla="*/ 478 w 1705"/>
                  <a:gd name="T59" fmla="*/ 740 h 891"/>
                  <a:gd name="T60" fmla="*/ 575 w 1705"/>
                  <a:gd name="T61" fmla="*/ 787 h 891"/>
                  <a:gd name="T62" fmla="*/ 660 w 1705"/>
                  <a:gd name="T63" fmla="*/ 821 h 891"/>
                  <a:gd name="T64" fmla="*/ 738 w 1705"/>
                  <a:gd name="T65" fmla="*/ 845 h 891"/>
                  <a:gd name="T66" fmla="*/ 806 w 1705"/>
                  <a:gd name="T67" fmla="*/ 859 h 891"/>
                  <a:gd name="T68" fmla="*/ 866 w 1705"/>
                  <a:gd name="T69" fmla="*/ 864 h 891"/>
                  <a:gd name="T70" fmla="*/ 919 w 1705"/>
                  <a:gd name="T71" fmla="*/ 862 h 891"/>
                  <a:gd name="T72" fmla="*/ 964 w 1705"/>
                  <a:gd name="T73" fmla="*/ 856 h 891"/>
                  <a:gd name="T74" fmla="*/ 1014 w 1705"/>
                  <a:gd name="T75" fmla="*/ 840 h 891"/>
                  <a:gd name="T76" fmla="*/ 1068 w 1705"/>
                  <a:gd name="T77" fmla="*/ 809 h 891"/>
                  <a:gd name="T78" fmla="*/ 1231 w 1705"/>
                  <a:gd name="T79" fmla="*/ 686 h 891"/>
                  <a:gd name="T80" fmla="*/ 1347 w 1705"/>
                  <a:gd name="T81" fmla="*/ 608 h 891"/>
                  <a:gd name="T82" fmla="*/ 1468 w 1705"/>
                  <a:gd name="T83" fmla="*/ 537 h 891"/>
                  <a:gd name="T84" fmla="*/ 1528 w 1705"/>
                  <a:gd name="T85" fmla="*/ 509 h 891"/>
                  <a:gd name="T86" fmla="*/ 1585 w 1705"/>
                  <a:gd name="T87" fmla="*/ 488 h 891"/>
                  <a:gd name="T88" fmla="*/ 1641 w 1705"/>
                  <a:gd name="T89" fmla="*/ 474 h 891"/>
                  <a:gd name="T90" fmla="*/ 1692 w 1705"/>
                  <a:gd name="T91" fmla="*/ 469 h 891"/>
                  <a:gd name="T92" fmla="*/ 1705 w 1705"/>
                  <a:gd name="T93" fmla="*/ 478 h 891"/>
                  <a:gd name="T94" fmla="*/ 1702 w 1705"/>
                  <a:gd name="T95" fmla="*/ 493 h 891"/>
                  <a:gd name="T96" fmla="*/ 1694 w 1705"/>
                  <a:gd name="T97" fmla="*/ 496 h 891"/>
                  <a:gd name="T98" fmla="*/ 1687 w 1705"/>
                  <a:gd name="T99" fmla="*/ 496 h 891"/>
                  <a:gd name="T100" fmla="*/ 1638 w 1705"/>
                  <a:gd name="T101" fmla="*/ 502 h 891"/>
                  <a:gd name="T102" fmla="*/ 1584 w 1705"/>
                  <a:gd name="T103" fmla="*/ 516 h 891"/>
                  <a:gd name="T104" fmla="*/ 1509 w 1705"/>
                  <a:gd name="T105" fmla="*/ 547 h 891"/>
                  <a:gd name="T106" fmla="*/ 1390 w 1705"/>
                  <a:gd name="T107" fmla="*/ 613 h 891"/>
                  <a:gd name="T108" fmla="*/ 1275 w 1705"/>
                  <a:gd name="T109" fmla="*/ 688 h 891"/>
                  <a:gd name="T110" fmla="*/ 1119 w 1705"/>
                  <a:gd name="T111" fmla="*/ 804 h 891"/>
                  <a:gd name="T112" fmla="*/ 1050 w 1705"/>
                  <a:gd name="T113" fmla="*/ 853 h 891"/>
                  <a:gd name="T114" fmla="*/ 992 w 1705"/>
                  <a:gd name="T115" fmla="*/ 876 h 891"/>
                  <a:gd name="T116" fmla="*/ 949 w 1705"/>
                  <a:gd name="T117" fmla="*/ 886 h 891"/>
                  <a:gd name="T118" fmla="*/ 899 w 1705"/>
                  <a:gd name="T119" fmla="*/ 890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5" h="891">
                    <a:moveTo>
                      <a:pt x="881" y="891"/>
                    </a:moveTo>
                    <a:lnTo>
                      <a:pt x="861" y="890"/>
                    </a:lnTo>
                    <a:lnTo>
                      <a:pt x="839" y="889"/>
                    </a:lnTo>
                    <a:lnTo>
                      <a:pt x="816" y="887"/>
                    </a:lnTo>
                    <a:lnTo>
                      <a:pt x="794" y="884"/>
                    </a:lnTo>
                    <a:lnTo>
                      <a:pt x="769" y="880"/>
                    </a:lnTo>
                    <a:lnTo>
                      <a:pt x="744" y="874"/>
                    </a:lnTo>
                    <a:lnTo>
                      <a:pt x="717" y="868"/>
                    </a:lnTo>
                    <a:lnTo>
                      <a:pt x="690" y="859"/>
                    </a:lnTo>
                    <a:lnTo>
                      <a:pt x="662" y="850"/>
                    </a:lnTo>
                    <a:lnTo>
                      <a:pt x="632" y="840"/>
                    </a:lnTo>
                    <a:lnTo>
                      <a:pt x="602" y="828"/>
                    </a:lnTo>
                    <a:lnTo>
                      <a:pt x="570" y="815"/>
                    </a:lnTo>
                    <a:lnTo>
                      <a:pt x="537" y="800"/>
                    </a:lnTo>
                    <a:lnTo>
                      <a:pt x="503" y="782"/>
                    </a:lnTo>
                    <a:lnTo>
                      <a:pt x="468" y="765"/>
                    </a:lnTo>
                    <a:lnTo>
                      <a:pt x="432" y="745"/>
                    </a:lnTo>
                    <a:lnTo>
                      <a:pt x="405" y="729"/>
                    </a:lnTo>
                    <a:lnTo>
                      <a:pt x="380" y="713"/>
                    </a:lnTo>
                    <a:lnTo>
                      <a:pt x="356" y="696"/>
                    </a:lnTo>
                    <a:lnTo>
                      <a:pt x="333" y="678"/>
                    </a:lnTo>
                    <a:lnTo>
                      <a:pt x="310" y="659"/>
                    </a:lnTo>
                    <a:lnTo>
                      <a:pt x="288" y="640"/>
                    </a:lnTo>
                    <a:lnTo>
                      <a:pt x="267" y="619"/>
                    </a:lnTo>
                    <a:lnTo>
                      <a:pt x="247" y="599"/>
                    </a:lnTo>
                    <a:lnTo>
                      <a:pt x="228" y="577"/>
                    </a:lnTo>
                    <a:lnTo>
                      <a:pt x="209" y="555"/>
                    </a:lnTo>
                    <a:lnTo>
                      <a:pt x="191" y="532"/>
                    </a:lnTo>
                    <a:lnTo>
                      <a:pt x="174" y="509"/>
                    </a:lnTo>
                    <a:lnTo>
                      <a:pt x="158" y="486"/>
                    </a:lnTo>
                    <a:lnTo>
                      <a:pt x="143" y="462"/>
                    </a:lnTo>
                    <a:lnTo>
                      <a:pt x="129" y="438"/>
                    </a:lnTo>
                    <a:lnTo>
                      <a:pt x="115" y="413"/>
                    </a:lnTo>
                    <a:lnTo>
                      <a:pt x="102" y="388"/>
                    </a:lnTo>
                    <a:lnTo>
                      <a:pt x="90" y="364"/>
                    </a:lnTo>
                    <a:lnTo>
                      <a:pt x="78" y="338"/>
                    </a:lnTo>
                    <a:lnTo>
                      <a:pt x="67" y="313"/>
                    </a:lnTo>
                    <a:lnTo>
                      <a:pt x="57" y="287"/>
                    </a:lnTo>
                    <a:lnTo>
                      <a:pt x="49" y="262"/>
                    </a:lnTo>
                    <a:lnTo>
                      <a:pt x="40" y="236"/>
                    </a:lnTo>
                    <a:lnTo>
                      <a:pt x="33" y="211"/>
                    </a:lnTo>
                    <a:lnTo>
                      <a:pt x="26" y="185"/>
                    </a:lnTo>
                    <a:lnTo>
                      <a:pt x="20" y="161"/>
                    </a:lnTo>
                    <a:lnTo>
                      <a:pt x="14" y="135"/>
                    </a:lnTo>
                    <a:lnTo>
                      <a:pt x="10" y="110"/>
                    </a:lnTo>
                    <a:lnTo>
                      <a:pt x="7" y="86"/>
                    </a:lnTo>
                    <a:lnTo>
                      <a:pt x="3" y="61"/>
                    </a:lnTo>
                    <a:lnTo>
                      <a:pt x="1" y="38"/>
                    </a:lnTo>
                    <a:lnTo>
                      <a:pt x="0" y="14"/>
                    </a:lnTo>
                    <a:lnTo>
                      <a:pt x="0" y="8"/>
                    </a:lnTo>
                    <a:lnTo>
                      <a:pt x="3" y="4"/>
                    </a:lnTo>
                    <a:lnTo>
                      <a:pt x="8" y="1"/>
                    </a:lnTo>
                    <a:lnTo>
                      <a:pt x="12" y="0"/>
                    </a:lnTo>
                    <a:lnTo>
                      <a:pt x="17" y="1"/>
                    </a:lnTo>
                    <a:lnTo>
                      <a:pt x="22" y="3"/>
                    </a:lnTo>
                    <a:lnTo>
                      <a:pt x="25" y="7"/>
                    </a:lnTo>
                    <a:lnTo>
                      <a:pt x="27" y="13"/>
                    </a:lnTo>
                    <a:lnTo>
                      <a:pt x="28" y="35"/>
                    </a:lnTo>
                    <a:lnTo>
                      <a:pt x="30" y="59"/>
                    </a:lnTo>
                    <a:lnTo>
                      <a:pt x="34" y="82"/>
                    </a:lnTo>
                    <a:lnTo>
                      <a:pt x="37" y="107"/>
                    </a:lnTo>
                    <a:lnTo>
                      <a:pt x="41" y="130"/>
                    </a:lnTo>
                    <a:lnTo>
                      <a:pt x="47" y="154"/>
                    </a:lnTo>
                    <a:lnTo>
                      <a:pt x="52" y="179"/>
                    </a:lnTo>
                    <a:lnTo>
                      <a:pt x="58" y="204"/>
                    </a:lnTo>
                    <a:lnTo>
                      <a:pt x="66" y="229"/>
                    </a:lnTo>
                    <a:lnTo>
                      <a:pt x="74" y="253"/>
                    </a:lnTo>
                    <a:lnTo>
                      <a:pt x="82" y="278"/>
                    </a:lnTo>
                    <a:lnTo>
                      <a:pt x="92" y="302"/>
                    </a:lnTo>
                    <a:lnTo>
                      <a:pt x="103" y="327"/>
                    </a:lnTo>
                    <a:lnTo>
                      <a:pt x="114" y="352"/>
                    </a:lnTo>
                    <a:lnTo>
                      <a:pt x="125" y="375"/>
                    </a:lnTo>
                    <a:lnTo>
                      <a:pt x="138" y="400"/>
                    </a:lnTo>
                    <a:lnTo>
                      <a:pt x="151" y="424"/>
                    </a:lnTo>
                    <a:lnTo>
                      <a:pt x="165" y="447"/>
                    </a:lnTo>
                    <a:lnTo>
                      <a:pt x="180" y="470"/>
                    </a:lnTo>
                    <a:lnTo>
                      <a:pt x="196" y="493"/>
                    </a:lnTo>
                    <a:lnTo>
                      <a:pt x="212" y="516"/>
                    </a:lnTo>
                    <a:lnTo>
                      <a:pt x="229" y="537"/>
                    </a:lnTo>
                    <a:lnTo>
                      <a:pt x="247" y="559"/>
                    </a:lnTo>
                    <a:lnTo>
                      <a:pt x="266" y="579"/>
                    </a:lnTo>
                    <a:lnTo>
                      <a:pt x="285" y="600"/>
                    </a:lnTo>
                    <a:lnTo>
                      <a:pt x="306" y="619"/>
                    </a:lnTo>
                    <a:lnTo>
                      <a:pt x="327" y="638"/>
                    </a:lnTo>
                    <a:lnTo>
                      <a:pt x="349" y="656"/>
                    </a:lnTo>
                    <a:lnTo>
                      <a:pt x="372" y="673"/>
                    </a:lnTo>
                    <a:lnTo>
                      <a:pt x="395" y="691"/>
                    </a:lnTo>
                    <a:lnTo>
                      <a:pt x="419" y="706"/>
                    </a:lnTo>
                    <a:lnTo>
                      <a:pt x="445" y="721"/>
                    </a:lnTo>
                    <a:lnTo>
                      <a:pt x="478" y="740"/>
                    </a:lnTo>
                    <a:lnTo>
                      <a:pt x="512" y="756"/>
                    </a:lnTo>
                    <a:lnTo>
                      <a:pt x="543" y="773"/>
                    </a:lnTo>
                    <a:lnTo>
                      <a:pt x="575" y="787"/>
                    </a:lnTo>
                    <a:lnTo>
                      <a:pt x="604" y="800"/>
                    </a:lnTo>
                    <a:lnTo>
                      <a:pt x="633" y="812"/>
                    </a:lnTo>
                    <a:lnTo>
                      <a:pt x="660" y="821"/>
                    </a:lnTo>
                    <a:lnTo>
                      <a:pt x="687" y="831"/>
                    </a:lnTo>
                    <a:lnTo>
                      <a:pt x="713" y="839"/>
                    </a:lnTo>
                    <a:lnTo>
                      <a:pt x="738" y="845"/>
                    </a:lnTo>
                    <a:lnTo>
                      <a:pt x="761" y="850"/>
                    </a:lnTo>
                    <a:lnTo>
                      <a:pt x="784" y="855"/>
                    </a:lnTo>
                    <a:lnTo>
                      <a:pt x="806" y="859"/>
                    </a:lnTo>
                    <a:lnTo>
                      <a:pt x="827" y="861"/>
                    </a:lnTo>
                    <a:lnTo>
                      <a:pt x="847" y="863"/>
                    </a:lnTo>
                    <a:lnTo>
                      <a:pt x="866" y="864"/>
                    </a:lnTo>
                    <a:lnTo>
                      <a:pt x="884" y="864"/>
                    </a:lnTo>
                    <a:lnTo>
                      <a:pt x="902" y="863"/>
                    </a:lnTo>
                    <a:lnTo>
                      <a:pt x="919" y="862"/>
                    </a:lnTo>
                    <a:lnTo>
                      <a:pt x="935" y="861"/>
                    </a:lnTo>
                    <a:lnTo>
                      <a:pt x="950" y="858"/>
                    </a:lnTo>
                    <a:lnTo>
                      <a:pt x="964" y="856"/>
                    </a:lnTo>
                    <a:lnTo>
                      <a:pt x="977" y="853"/>
                    </a:lnTo>
                    <a:lnTo>
                      <a:pt x="990" y="848"/>
                    </a:lnTo>
                    <a:lnTo>
                      <a:pt x="1014" y="840"/>
                    </a:lnTo>
                    <a:lnTo>
                      <a:pt x="1035" y="830"/>
                    </a:lnTo>
                    <a:lnTo>
                      <a:pt x="1052" y="820"/>
                    </a:lnTo>
                    <a:lnTo>
                      <a:pt x="1068" y="809"/>
                    </a:lnTo>
                    <a:lnTo>
                      <a:pt x="1103" y="782"/>
                    </a:lnTo>
                    <a:lnTo>
                      <a:pt x="1162" y="737"/>
                    </a:lnTo>
                    <a:lnTo>
                      <a:pt x="1231" y="686"/>
                    </a:lnTo>
                    <a:lnTo>
                      <a:pt x="1268" y="660"/>
                    </a:lnTo>
                    <a:lnTo>
                      <a:pt x="1307" y="633"/>
                    </a:lnTo>
                    <a:lnTo>
                      <a:pt x="1347" y="608"/>
                    </a:lnTo>
                    <a:lnTo>
                      <a:pt x="1387" y="583"/>
                    </a:lnTo>
                    <a:lnTo>
                      <a:pt x="1427" y="559"/>
                    </a:lnTo>
                    <a:lnTo>
                      <a:pt x="1468" y="537"/>
                    </a:lnTo>
                    <a:lnTo>
                      <a:pt x="1488" y="528"/>
                    </a:lnTo>
                    <a:lnTo>
                      <a:pt x="1508" y="518"/>
                    </a:lnTo>
                    <a:lnTo>
                      <a:pt x="1528" y="509"/>
                    </a:lnTo>
                    <a:lnTo>
                      <a:pt x="1548" y="501"/>
                    </a:lnTo>
                    <a:lnTo>
                      <a:pt x="1567" y="494"/>
                    </a:lnTo>
                    <a:lnTo>
                      <a:pt x="1585" y="488"/>
                    </a:lnTo>
                    <a:lnTo>
                      <a:pt x="1605" y="481"/>
                    </a:lnTo>
                    <a:lnTo>
                      <a:pt x="1623" y="477"/>
                    </a:lnTo>
                    <a:lnTo>
                      <a:pt x="1641" y="474"/>
                    </a:lnTo>
                    <a:lnTo>
                      <a:pt x="1659" y="470"/>
                    </a:lnTo>
                    <a:lnTo>
                      <a:pt x="1676" y="469"/>
                    </a:lnTo>
                    <a:lnTo>
                      <a:pt x="1692" y="469"/>
                    </a:lnTo>
                    <a:lnTo>
                      <a:pt x="1698" y="470"/>
                    </a:lnTo>
                    <a:lnTo>
                      <a:pt x="1702" y="474"/>
                    </a:lnTo>
                    <a:lnTo>
                      <a:pt x="1705" y="478"/>
                    </a:lnTo>
                    <a:lnTo>
                      <a:pt x="1705" y="483"/>
                    </a:lnTo>
                    <a:lnTo>
                      <a:pt x="1704" y="489"/>
                    </a:lnTo>
                    <a:lnTo>
                      <a:pt x="1702" y="493"/>
                    </a:lnTo>
                    <a:lnTo>
                      <a:pt x="1700" y="494"/>
                    </a:lnTo>
                    <a:lnTo>
                      <a:pt x="1698" y="495"/>
                    </a:lnTo>
                    <a:lnTo>
                      <a:pt x="1694" y="496"/>
                    </a:lnTo>
                    <a:lnTo>
                      <a:pt x="1692" y="496"/>
                    </a:lnTo>
                    <a:lnTo>
                      <a:pt x="1689" y="496"/>
                    </a:lnTo>
                    <a:lnTo>
                      <a:pt x="1687" y="496"/>
                    </a:lnTo>
                    <a:lnTo>
                      <a:pt x="1672" y="496"/>
                    </a:lnTo>
                    <a:lnTo>
                      <a:pt x="1654" y="498"/>
                    </a:lnTo>
                    <a:lnTo>
                      <a:pt x="1638" y="502"/>
                    </a:lnTo>
                    <a:lnTo>
                      <a:pt x="1621" y="505"/>
                    </a:lnTo>
                    <a:lnTo>
                      <a:pt x="1603" y="510"/>
                    </a:lnTo>
                    <a:lnTo>
                      <a:pt x="1584" y="516"/>
                    </a:lnTo>
                    <a:lnTo>
                      <a:pt x="1566" y="522"/>
                    </a:lnTo>
                    <a:lnTo>
                      <a:pt x="1546" y="530"/>
                    </a:lnTo>
                    <a:lnTo>
                      <a:pt x="1509" y="547"/>
                    </a:lnTo>
                    <a:lnTo>
                      <a:pt x="1469" y="568"/>
                    </a:lnTo>
                    <a:lnTo>
                      <a:pt x="1430" y="589"/>
                    </a:lnTo>
                    <a:lnTo>
                      <a:pt x="1390" y="613"/>
                    </a:lnTo>
                    <a:lnTo>
                      <a:pt x="1351" y="638"/>
                    </a:lnTo>
                    <a:lnTo>
                      <a:pt x="1312" y="663"/>
                    </a:lnTo>
                    <a:lnTo>
                      <a:pt x="1275" y="688"/>
                    </a:lnTo>
                    <a:lnTo>
                      <a:pt x="1240" y="714"/>
                    </a:lnTo>
                    <a:lnTo>
                      <a:pt x="1174" y="762"/>
                    </a:lnTo>
                    <a:lnTo>
                      <a:pt x="1119" y="804"/>
                    </a:lnTo>
                    <a:lnTo>
                      <a:pt x="1084" y="831"/>
                    </a:lnTo>
                    <a:lnTo>
                      <a:pt x="1068" y="842"/>
                    </a:lnTo>
                    <a:lnTo>
                      <a:pt x="1050" y="853"/>
                    </a:lnTo>
                    <a:lnTo>
                      <a:pt x="1029" y="862"/>
                    </a:lnTo>
                    <a:lnTo>
                      <a:pt x="1005" y="872"/>
                    </a:lnTo>
                    <a:lnTo>
                      <a:pt x="992" y="876"/>
                    </a:lnTo>
                    <a:lnTo>
                      <a:pt x="978" y="880"/>
                    </a:lnTo>
                    <a:lnTo>
                      <a:pt x="964" y="883"/>
                    </a:lnTo>
                    <a:lnTo>
                      <a:pt x="949" y="886"/>
                    </a:lnTo>
                    <a:lnTo>
                      <a:pt x="933" y="888"/>
                    </a:lnTo>
                    <a:lnTo>
                      <a:pt x="917" y="889"/>
                    </a:lnTo>
                    <a:lnTo>
                      <a:pt x="899" y="890"/>
                    </a:lnTo>
                    <a:lnTo>
                      <a:pt x="881" y="8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91"/>
              <p:cNvSpPr>
                <a:spLocks/>
              </p:cNvSpPr>
              <p:nvPr userDrawn="1"/>
            </p:nvSpPr>
            <p:spPr bwMode="auto">
              <a:xfrm>
                <a:off x="2259" y="1817"/>
                <a:ext cx="127" cy="259"/>
              </a:xfrm>
              <a:custGeom>
                <a:avLst/>
                <a:gdLst>
                  <a:gd name="T0" fmla="*/ 337 w 381"/>
                  <a:gd name="T1" fmla="*/ 776 h 777"/>
                  <a:gd name="T2" fmla="*/ 310 w 381"/>
                  <a:gd name="T3" fmla="*/ 773 h 777"/>
                  <a:gd name="T4" fmla="*/ 280 w 381"/>
                  <a:gd name="T5" fmla="*/ 763 h 777"/>
                  <a:gd name="T6" fmla="*/ 246 w 381"/>
                  <a:gd name="T7" fmla="*/ 750 h 777"/>
                  <a:gd name="T8" fmla="*/ 216 w 381"/>
                  <a:gd name="T9" fmla="*/ 733 h 777"/>
                  <a:gd name="T10" fmla="*/ 188 w 381"/>
                  <a:gd name="T11" fmla="*/ 715 h 777"/>
                  <a:gd name="T12" fmla="*/ 159 w 381"/>
                  <a:gd name="T13" fmla="*/ 690 h 777"/>
                  <a:gd name="T14" fmla="*/ 129 w 381"/>
                  <a:gd name="T15" fmla="*/ 661 h 777"/>
                  <a:gd name="T16" fmla="*/ 101 w 381"/>
                  <a:gd name="T17" fmla="*/ 626 h 777"/>
                  <a:gd name="T18" fmla="*/ 74 w 381"/>
                  <a:gd name="T19" fmla="*/ 584 h 777"/>
                  <a:gd name="T20" fmla="*/ 51 w 381"/>
                  <a:gd name="T21" fmla="*/ 536 h 777"/>
                  <a:gd name="T22" fmla="*/ 29 w 381"/>
                  <a:gd name="T23" fmla="*/ 480 h 777"/>
                  <a:gd name="T24" fmla="*/ 13 w 381"/>
                  <a:gd name="T25" fmla="*/ 421 h 777"/>
                  <a:gd name="T26" fmla="*/ 4 w 381"/>
                  <a:gd name="T27" fmla="*/ 372 h 777"/>
                  <a:gd name="T28" fmla="*/ 0 w 381"/>
                  <a:gd name="T29" fmla="*/ 324 h 777"/>
                  <a:gd name="T30" fmla="*/ 1 w 381"/>
                  <a:gd name="T31" fmla="*/ 280 h 777"/>
                  <a:gd name="T32" fmla="*/ 4 w 381"/>
                  <a:gd name="T33" fmla="*/ 239 h 777"/>
                  <a:gd name="T34" fmla="*/ 11 w 381"/>
                  <a:gd name="T35" fmla="*/ 201 h 777"/>
                  <a:gd name="T36" fmla="*/ 20 w 381"/>
                  <a:gd name="T37" fmla="*/ 165 h 777"/>
                  <a:gd name="T38" fmla="*/ 32 w 381"/>
                  <a:gd name="T39" fmla="*/ 134 h 777"/>
                  <a:gd name="T40" fmla="*/ 51 w 381"/>
                  <a:gd name="T41" fmla="*/ 93 h 777"/>
                  <a:gd name="T42" fmla="*/ 77 w 381"/>
                  <a:gd name="T43" fmla="*/ 50 h 777"/>
                  <a:gd name="T44" fmla="*/ 107 w 381"/>
                  <a:gd name="T45" fmla="*/ 11 h 777"/>
                  <a:gd name="T46" fmla="*/ 120 w 381"/>
                  <a:gd name="T47" fmla="*/ 0 h 777"/>
                  <a:gd name="T48" fmla="*/ 129 w 381"/>
                  <a:gd name="T49" fmla="*/ 1 h 777"/>
                  <a:gd name="T50" fmla="*/ 137 w 381"/>
                  <a:gd name="T51" fmla="*/ 9 h 777"/>
                  <a:gd name="T52" fmla="*/ 136 w 381"/>
                  <a:gd name="T53" fmla="*/ 19 h 777"/>
                  <a:gd name="T54" fmla="*/ 126 w 381"/>
                  <a:gd name="T55" fmla="*/ 30 h 777"/>
                  <a:gd name="T56" fmla="*/ 97 w 381"/>
                  <a:gd name="T57" fmla="*/ 67 h 777"/>
                  <a:gd name="T58" fmla="*/ 73 w 381"/>
                  <a:gd name="T59" fmla="*/ 107 h 777"/>
                  <a:gd name="T60" fmla="*/ 56 w 381"/>
                  <a:gd name="T61" fmla="*/ 146 h 777"/>
                  <a:gd name="T62" fmla="*/ 45 w 381"/>
                  <a:gd name="T63" fmla="*/ 175 h 777"/>
                  <a:gd name="T64" fmla="*/ 38 w 381"/>
                  <a:gd name="T65" fmla="*/ 209 h 777"/>
                  <a:gd name="T66" fmla="*/ 31 w 381"/>
                  <a:gd name="T67" fmla="*/ 244 h 777"/>
                  <a:gd name="T68" fmla="*/ 27 w 381"/>
                  <a:gd name="T69" fmla="*/ 283 h 777"/>
                  <a:gd name="T70" fmla="*/ 27 w 381"/>
                  <a:gd name="T71" fmla="*/ 324 h 777"/>
                  <a:gd name="T72" fmla="*/ 31 w 381"/>
                  <a:gd name="T73" fmla="*/ 368 h 777"/>
                  <a:gd name="T74" fmla="*/ 40 w 381"/>
                  <a:gd name="T75" fmla="*/ 416 h 777"/>
                  <a:gd name="T76" fmla="*/ 55 w 381"/>
                  <a:gd name="T77" fmla="*/ 471 h 777"/>
                  <a:gd name="T78" fmla="*/ 74 w 381"/>
                  <a:gd name="T79" fmla="*/ 524 h 777"/>
                  <a:gd name="T80" fmla="*/ 98 w 381"/>
                  <a:gd name="T81" fmla="*/ 570 h 777"/>
                  <a:gd name="T82" fmla="*/ 123 w 381"/>
                  <a:gd name="T83" fmla="*/ 609 h 777"/>
                  <a:gd name="T84" fmla="*/ 149 w 381"/>
                  <a:gd name="T85" fmla="*/ 643 h 777"/>
                  <a:gd name="T86" fmla="*/ 176 w 381"/>
                  <a:gd name="T87" fmla="*/ 670 h 777"/>
                  <a:gd name="T88" fmla="*/ 203 w 381"/>
                  <a:gd name="T89" fmla="*/ 692 h 777"/>
                  <a:gd name="T90" fmla="*/ 230 w 381"/>
                  <a:gd name="T91" fmla="*/ 711 h 777"/>
                  <a:gd name="T92" fmla="*/ 262 w 381"/>
                  <a:gd name="T93" fmla="*/ 728 h 777"/>
                  <a:gd name="T94" fmla="*/ 301 w 381"/>
                  <a:gd name="T95" fmla="*/ 743 h 777"/>
                  <a:gd name="T96" fmla="*/ 332 w 381"/>
                  <a:gd name="T97" fmla="*/ 749 h 777"/>
                  <a:gd name="T98" fmla="*/ 356 w 381"/>
                  <a:gd name="T99" fmla="*/ 750 h 777"/>
                  <a:gd name="T100" fmla="*/ 369 w 381"/>
                  <a:gd name="T101" fmla="*/ 748 h 777"/>
                  <a:gd name="T102" fmla="*/ 378 w 381"/>
                  <a:gd name="T103" fmla="*/ 753 h 777"/>
                  <a:gd name="T104" fmla="*/ 381 w 381"/>
                  <a:gd name="T105" fmla="*/ 763 h 777"/>
                  <a:gd name="T106" fmla="*/ 377 w 381"/>
                  <a:gd name="T107" fmla="*/ 772 h 777"/>
                  <a:gd name="T108" fmla="*/ 361 w 381"/>
                  <a:gd name="T109" fmla="*/ 776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1" h="777">
                    <a:moveTo>
                      <a:pt x="349" y="777"/>
                    </a:moveTo>
                    <a:lnTo>
                      <a:pt x="337" y="776"/>
                    </a:lnTo>
                    <a:lnTo>
                      <a:pt x="324" y="775"/>
                    </a:lnTo>
                    <a:lnTo>
                      <a:pt x="310" y="773"/>
                    </a:lnTo>
                    <a:lnTo>
                      <a:pt x="295" y="769"/>
                    </a:lnTo>
                    <a:lnTo>
                      <a:pt x="280" y="763"/>
                    </a:lnTo>
                    <a:lnTo>
                      <a:pt x="262" y="758"/>
                    </a:lnTo>
                    <a:lnTo>
                      <a:pt x="246" y="750"/>
                    </a:lnTo>
                    <a:lnTo>
                      <a:pt x="229" y="741"/>
                    </a:lnTo>
                    <a:lnTo>
                      <a:pt x="216" y="733"/>
                    </a:lnTo>
                    <a:lnTo>
                      <a:pt x="202" y="725"/>
                    </a:lnTo>
                    <a:lnTo>
                      <a:pt x="188" y="715"/>
                    </a:lnTo>
                    <a:lnTo>
                      <a:pt x="174" y="703"/>
                    </a:lnTo>
                    <a:lnTo>
                      <a:pt x="159" y="690"/>
                    </a:lnTo>
                    <a:lnTo>
                      <a:pt x="145" y="677"/>
                    </a:lnTo>
                    <a:lnTo>
                      <a:pt x="129" y="661"/>
                    </a:lnTo>
                    <a:lnTo>
                      <a:pt x="115" y="645"/>
                    </a:lnTo>
                    <a:lnTo>
                      <a:pt x="101" y="626"/>
                    </a:lnTo>
                    <a:lnTo>
                      <a:pt x="88" y="606"/>
                    </a:lnTo>
                    <a:lnTo>
                      <a:pt x="74" y="584"/>
                    </a:lnTo>
                    <a:lnTo>
                      <a:pt x="63" y="560"/>
                    </a:lnTo>
                    <a:lnTo>
                      <a:pt x="51" y="536"/>
                    </a:lnTo>
                    <a:lnTo>
                      <a:pt x="40" y="509"/>
                    </a:lnTo>
                    <a:lnTo>
                      <a:pt x="29" y="480"/>
                    </a:lnTo>
                    <a:lnTo>
                      <a:pt x="19" y="448"/>
                    </a:lnTo>
                    <a:lnTo>
                      <a:pt x="13" y="421"/>
                    </a:lnTo>
                    <a:lnTo>
                      <a:pt x="9" y="396"/>
                    </a:lnTo>
                    <a:lnTo>
                      <a:pt x="4" y="372"/>
                    </a:lnTo>
                    <a:lnTo>
                      <a:pt x="2" y="348"/>
                    </a:lnTo>
                    <a:lnTo>
                      <a:pt x="0" y="324"/>
                    </a:lnTo>
                    <a:lnTo>
                      <a:pt x="0" y="301"/>
                    </a:lnTo>
                    <a:lnTo>
                      <a:pt x="1" y="280"/>
                    </a:lnTo>
                    <a:lnTo>
                      <a:pt x="2" y="258"/>
                    </a:lnTo>
                    <a:lnTo>
                      <a:pt x="4" y="239"/>
                    </a:lnTo>
                    <a:lnTo>
                      <a:pt x="7" y="219"/>
                    </a:lnTo>
                    <a:lnTo>
                      <a:pt x="11" y="201"/>
                    </a:lnTo>
                    <a:lnTo>
                      <a:pt x="16" y="183"/>
                    </a:lnTo>
                    <a:lnTo>
                      <a:pt x="20" y="165"/>
                    </a:lnTo>
                    <a:lnTo>
                      <a:pt x="26" y="149"/>
                    </a:lnTo>
                    <a:lnTo>
                      <a:pt x="32" y="134"/>
                    </a:lnTo>
                    <a:lnTo>
                      <a:pt x="38" y="120"/>
                    </a:lnTo>
                    <a:lnTo>
                      <a:pt x="51" y="93"/>
                    </a:lnTo>
                    <a:lnTo>
                      <a:pt x="64" y="69"/>
                    </a:lnTo>
                    <a:lnTo>
                      <a:pt x="77" y="50"/>
                    </a:lnTo>
                    <a:lnTo>
                      <a:pt x="88" y="34"/>
                    </a:lnTo>
                    <a:lnTo>
                      <a:pt x="107" y="11"/>
                    </a:lnTo>
                    <a:lnTo>
                      <a:pt x="115" y="3"/>
                    </a:lnTo>
                    <a:lnTo>
                      <a:pt x="120" y="0"/>
                    </a:lnTo>
                    <a:lnTo>
                      <a:pt x="125" y="0"/>
                    </a:lnTo>
                    <a:lnTo>
                      <a:pt x="129" y="1"/>
                    </a:lnTo>
                    <a:lnTo>
                      <a:pt x="134" y="5"/>
                    </a:lnTo>
                    <a:lnTo>
                      <a:pt x="137" y="9"/>
                    </a:lnTo>
                    <a:lnTo>
                      <a:pt x="137" y="14"/>
                    </a:lnTo>
                    <a:lnTo>
                      <a:pt x="136" y="19"/>
                    </a:lnTo>
                    <a:lnTo>
                      <a:pt x="133" y="23"/>
                    </a:lnTo>
                    <a:lnTo>
                      <a:pt x="126" y="30"/>
                    </a:lnTo>
                    <a:lnTo>
                      <a:pt x="109" y="52"/>
                    </a:lnTo>
                    <a:lnTo>
                      <a:pt x="97" y="67"/>
                    </a:lnTo>
                    <a:lnTo>
                      <a:pt x="85" y="86"/>
                    </a:lnTo>
                    <a:lnTo>
                      <a:pt x="73" y="107"/>
                    </a:lnTo>
                    <a:lnTo>
                      <a:pt x="61" y="132"/>
                    </a:lnTo>
                    <a:lnTo>
                      <a:pt x="56" y="146"/>
                    </a:lnTo>
                    <a:lnTo>
                      <a:pt x="51" y="160"/>
                    </a:lnTo>
                    <a:lnTo>
                      <a:pt x="45" y="175"/>
                    </a:lnTo>
                    <a:lnTo>
                      <a:pt x="41" y="191"/>
                    </a:lnTo>
                    <a:lnTo>
                      <a:pt x="38" y="209"/>
                    </a:lnTo>
                    <a:lnTo>
                      <a:pt x="33" y="226"/>
                    </a:lnTo>
                    <a:lnTo>
                      <a:pt x="31" y="244"/>
                    </a:lnTo>
                    <a:lnTo>
                      <a:pt x="29" y="263"/>
                    </a:lnTo>
                    <a:lnTo>
                      <a:pt x="27" y="283"/>
                    </a:lnTo>
                    <a:lnTo>
                      <a:pt x="27" y="304"/>
                    </a:lnTo>
                    <a:lnTo>
                      <a:pt x="27" y="324"/>
                    </a:lnTo>
                    <a:lnTo>
                      <a:pt x="29" y="346"/>
                    </a:lnTo>
                    <a:lnTo>
                      <a:pt x="31" y="368"/>
                    </a:lnTo>
                    <a:lnTo>
                      <a:pt x="34" y="392"/>
                    </a:lnTo>
                    <a:lnTo>
                      <a:pt x="40" y="416"/>
                    </a:lnTo>
                    <a:lnTo>
                      <a:pt x="46" y="441"/>
                    </a:lnTo>
                    <a:lnTo>
                      <a:pt x="55" y="471"/>
                    </a:lnTo>
                    <a:lnTo>
                      <a:pt x="65" y="498"/>
                    </a:lnTo>
                    <a:lnTo>
                      <a:pt x="74" y="524"/>
                    </a:lnTo>
                    <a:lnTo>
                      <a:pt x="86" y="548"/>
                    </a:lnTo>
                    <a:lnTo>
                      <a:pt x="98" y="570"/>
                    </a:lnTo>
                    <a:lnTo>
                      <a:pt x="110" y="591"/>
                    </a:lnTo>
                    <a:lnTo>
                      <a:pt x="123" y="609"/>
                    </a:lnTo>
                    <a:lnTo>
                      <a:pt x="136" y="626"/>
                    </a:lnTo>
                    <a:lnTo>
                      <a:pt x="149" y="643"/>
                    </a:lnTo>
                    <a:lnTo>
                      <a:pt x="163" y="657"/>
                    </a:lnTo>
                    <a:lnTo>
                      <a:pt x="176" y="670"/>
                    </a:lnTo>
                    <a:lnTo>
                      <a:pt x="190" y="681"/>
                    </a:lnTo>
                    <a:lnTo>
                      <a:pt x="203" y="692"/>
                    </a:lnTo>
                    <a:lnTo>
                      <a:pt x="217" y="702"/>
                    </a:lnTo>
                    <a:lnTo>
                      <a:pt x="230" y="711"/>
                    </a:lnTo>
                    <a:lnTo>
                      <a:pt x="242" y="717"/>
                    </a:lnTo>
                    <a:lnTo>
                      <a:pt x="262" y="728"/>
                    </a:lnTo>
                    <a:lnTo>
                      <a:pt x="283" y="736"/>
                    </a:lnTo>
                    <a:lnTo>
                      <a:pt x="301" y="743"/>
                    </a:lnTo>
                    <a:lnTo>
                      <a:pt x="318" y="747"/>
                    </a:lnTo>
                    <a:lnTo>
                      <a:pt x="332" y="749"/>
                    </a:lnTo>
                    <a:lnTo>
                      <a:pt x="345" y="750"/>
                    </a:lnTo>
                    <a:lnTo>
                      <a:pt x="356" y="750"/>
                    </a:lnTo>
                    <a:lnTo>
                      <a:pt x="364" y="748"/>
                    </a:lnTo>
                    <a:lnTo>
                      <a:pt x="369" y="748"/>
                    </a:lnTo>
                    <a:lnTo>
                      <a:pt x="375" y="749"/>
                    </a:lnTo>
                    <a:lnTo>
                      <a:pt x="378" y="753"/>
                    </a:lnTo>
                    <a:lnTo>
                      <a:pt x="381" y="758"/>
                    </a:lnTo>
                    <a:lnTo>
                      <a:pt x="381" y="763"/>
                    </a:lnTo>
                    <a:lnTo>
                      <a:pt x="380" y="768"/>
                    </a:lnTo>
                    <a:lnTo>
                      <a:pt x="377" y="772"/>
                    </a:lnTo>
                    <a:lnTo>
                      <a:pt x="371" y="774"/>
                    </a:lnTo>
                    <a:lnTo>
                      <a:pt x="361" y="776"/>
                    </a:lnTo>
                    <a:lnTo>
                      <a:pt x="34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92"/>
              <p:cNvSpPr>
                <a:spLocks/>
              </p:cNvSpPr>
              <p:nvPr userDrawn="1"/>
            </p:nvSpPr>
            <p:spPr bwMode="auto">
              <a:xfrm>
                <a:off x="2215" y="1861"/>
                <a:ext cx="135" cy="239"/>
              </a:xfrm>
              <a:custGeom>
                <a:avLst/>
                <a:gdLst>
                  <a:gd name="T0" fmla="*/ 390 w 406"/>
                  <a:gd name="T1" fmla="*/ 717 h 717"/>
                  <a:gd name="T2" fmla="*/ 377 w 406"/>
                  <a:gd name="T3" fmla="*/ 711 h 717"/>
                  <a:gd name="T4" fmla="*/ 336 w 406"/>
                  <a:gd name="T5" fmla="*/ 691 h 717"/>
                  <a:gd name="T6" fmla="*/ 296 w 406"/>
                  <a:gd name="T7" fmla="*/ 665 h 717"/>
                  <a:gd name="T8" fmla="*/ 250 w 406"/>
                  <a:gd name="T9" fmla="*/ 629 h 717"/>
                  <a:gd name="T10" fmla="*/ 199 w 406"/>
                  <a:gd name="T11" fmla="*/ 583 h 717"/>
                  <a:gd name="T12" fmla="*/ 160 w 406"/>
                  <a:gd name="T13" fmla="*/ 540 h 717"/>
                  <a:gd name="T14" fmla="*/ 134 w 406"/>
                  <a:gd name="T15" fmla="*/ 507 h 717"/>
                  <a:gd name="T16" fmla="*/ 109 w 406"/>
                  <a:gd name="T17" fmla="*/ 470 h 717"/>
                  <a:gd name="T18" fmla="*/ 84 w 406"/>
                  <a:gd name="T19" fmla="*/ 432 h 717"/>
                  <a:gd name="T20" fmla="*/ 62 w 406"/>
                  <a:gd name="T21" fmla="*/ 388 h 717"/>
                  <a:gd name="T22" fmla="*/ 42 w 406"/>
                  <a:gd name="T23" fmla="*/ 347 h 717"/>
                  <a:gd name="T24" fmla="*/ 27 w 406"/>
                  <a:gd name="T25" fmla="*/ 307 h 717"/>
                  <a:gd name="T26" fmla="*/ 16 w 406"/>
                  <a:gd name="T27" fmla="*/ 269 h 717"/>
                  <a:gd name="T28" fmla="*/ 9 w 406"/>
                  <a:gd name="T29" fmla="*/ 233 h 717"/>
                  <a:gd name="T30" fmla="*/ 3 w 406"/>
                  <a:gd name="T31" fmla="*/ 198 h 717"/>
                  <a:gd name="T32" fmla="*/ 0 w 406"/>
                  <a:gd name="T33" fmla="*/ 152 h 717"/>
                  <a:gd name="T34" fmla="*/ 2 w 406"/>
                  <a:gd name="T35" fmla="*/ 99 h 717"/>
                  <a:gd name="T36" fmla="*/ 10 w 406"/>
                  <a:gd name="T37" fmla="*/ 57 h 717"/>
                  <a:gd name="T38" fmla="*/ 21 w 406"/>
                  <a:gd name="T39" fmla="*/ 17 h 717"/>
                  <a:gd name="T40" fmla="*/ 28 w 406"/>
                  <a:gd name="T41" fmla="*/ 3 h 717"/>
                  <a:gd name="T42" fmla="*/ 38 w 406"/>
                  <a:gd name="T43" fmla="*/ 0 h 717"/>
                  <a:gd name="T44" fmla="*/ 48 w 406"/>
                  <a:gd name="T45" fmla="*/ 4 h 717"/>
                  <a:gd name="T46" fmla="*/ 51 w 406"/>
                  <a:gd name="T47" fmla="*/ 14 h 717"/>
                  <a:gd name="T48" fmla="*/ 47 w 406"/>
                  <a:gd name="T49" fmla="*/ 27 h 717"/>
                  <a:gd name="T50" fmla="*/ 36 w 406"/>
                  <a:gd name="T51" fmla="*/ 63 h 717"/>
                  <a:gd name="T52" fmla="*/ 30 w 406"/>
                  <a:gd name="T53" fmla="*/ 102 h 717"/>
                  <a:gd name="T54" fmla="*/ 28 w 406"/>
                  <a:gd name="T55" fmla="*/ 153 h 717"/>
                  <a:gd name="T56" fmla="*/ 30 w 406"/>
                  <a:gd name="T57" fmla="*/ 197 h 717"/>
                  <a:gd name="T58" fmla="*/ 36 w 406"/>
                  <a:gd name="T59" fmla="*/ 230 h 717"/>
                  <a:gd name="T60" fmla="*/ 43 w 406"/>
                  <a:gd name="T61" fmla="*/ 263 h 717"/>
                  <a:gd name="T62" fmla="*/ 54 w 406"/>
                  <a:gd name="T63" fmla="*/ 300 h 717"/>
                  <a:gd name="T64" fmla="*/ 68 w 406"/>
                  <a:gd name="T65" fmla="*/ 338 h 717"/>
                  <a:gd name="T66" fmla="*/ 85 w 406"/>
                  <a:gd name="T67" fmla="*/ 377 h 717"/>
                  <a:gd name="T68" fmla="*/ 108 w 406"/>
                  <a:gd name="T69" fmla="*/ 418 h 717"/>
                  <a:gd name="T70" fmla="*/ 131 w 406"/>
                  <a:gd name="T71" fmla="*/ 455 h 717"/>
                  <a:gd name="T72" fmla="*/ 156 w 406"/>
                  <a:gd name="T73" fmla="*/ 491 h 717"/>
                  <a:gd name="T74" fmla="*/ 180 w 406"/>
                  <a:gd name="T75" fmla="*/ 522 h 717"/>
                  <a:gd name="T76" fmla="*/ 218 w 406"/>
                  <a:gd name="T77" fmla="*/ 563 h 717"/>
                  <a:gd name="T78" fmla="*/ 268 w 406"/>
                  <a:gd name="T79" fmla="*/ 609 h 717"/>
                  <a:gd name="T80" fmla="*/ 312 w 406"/>
                  <a:gd name="T81" fmla="*/ 643 h 717"/>
                  <a:gd name="T82" fmla="*/ 351 w 406"/>
                  <a:gd name="T83" fmla="*/ 667 h 717"/>
                  <a:gd name="T84" fmla="*/ 389 w 406"/>
                  <a:gd name="T85" fmla="*/ 687 h 717"/>
                  <a:gd name="T86" fmla="*/ 402 w 406"/>
                  <a:gd name="T87" fmla="*/ 694 h 717"/>
                  <a:gd name="T88" fmla="*/ 406 w 406"/>
                  <a:gd name="T89" fmla="*/ 704 h 717"/>
                  <a:gd name="T90" fmla="*/ 403 w 406"/>
                  <a:gd name="T91" fmla="*/ 712 h 717"/>
                  <a:gd name="T92" fmla="*/ 396 w 406"/>
                  <a:gd name="T93"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717">
                    <a:moveTo>
                      <a:pt x="392" y="717"/>
                    </a:moveTo>
                    <a:lnTo>
                      <a:pt x="390" y="717"/>
                    </a:lnTo>
                    <a:lnTo>
                      <a:pt x="388" y="717"/>
                    </a:lnTo>
                    <a:lnTo>
                      <a:pt x="377" y="711"/>
                    </a:lnTo>
                    <a:lnTo>
                      <a:pt x="352" y="699"/>
                    </a:lnTo>
                    <a:lnTo>
                      <a:pt x="336" y="691"/>
                    </a:lnTo>
                    <a:lnTo>
                      <a:pt x="318" y="679"/>
                    </a:lnTo>
                    <a:lnTo>
                      <a:pt x="296" y="665"/>
                    </a:lnTo>
                    <a:lnTo>
                      <a:pt x="273" y="649"/>
                    </a:lnTo>
                    <a:lnTo>
                      <a:pt x="250" y="629"/>
                    </a:lnTo>
                    <a:lnTo>
                      <a:pt x="225" y="608"/>
                    </a:lnTo>
                    <a:lnTo>
                      <a:pt x="199" y="583"/>
                    </a:lnTo>
                    <a:lnTo>
                      <a:pt x="173" y="555"/>
                    </a:lnTo>
                    <a:lnTo>
                      <a:pt x="160" y="540"/>
                    </a:lnTo>
                    <a:lnTo>
                      <a:pt x="147" y="523"/>
                    </a:lnTo>
                    <a:lnTo>
                      <a:pt x="134" y="507"/>
                    </a:lnTo>
                    <a:lnTo>
                      <a:pt x="121" y="489"/>
                    </a:lnTo>
                    <a:lnTo>
                      <a:pt x="109" y="470"/>
                    </a:lnTo>
                    <a:lnTo>
                      <a:pt x="96" y="451"/>
                    </a:lnTo>
                    <a:lnTo>
                      <a:pt x="84" y="432"/>
                    </a:lnTo>
                    <a:lnTo>
                      <a:pt x="72" y="410"/>
                    </a:lnTo>
                    <a:lnTo>
                      <a:pt x="62" y="388"/>
                    </a:lnTo>
                    <a:lnTo>
                      <a:pt x="51" y="368"/>
                    </a:lnTo>
                    <a:lnTo>
                      <a:pt x="42" y="347"/>
                    </a:lnTo>
                    <a:lnTo>
                      <a:pt x="35" y="327"/>
                    </a:lnTo>
                    <a:lnTo>
                      <a:pt x="27" y="307"/>
                    </a:lnTo>
                    <a:lnTo>
                      <a:pt x="22" y="288"/>
                    </a:lnTo>
                    <a:lnTo>
                      <a:pt x="16" y="269"/>
                    </a:lnTo>
                    <a:lnTo>
                      <a:pt x="12" y="250"/>
                    </a:lnTo>
                    <a:lnTo>
                      <a:pt x="9" y="233"/>
                    </a:lnTo>
                    <a:lnTo>
                      <a:pt x="5" y="216"/>
                    </a:lnTo>
                    <a:lnTo>
                      <a:pt x="3" y="198"/>
                    </a:lnTo>
                    <a:lnTo>
                      <a:pt x="1" y="183"/>
                    </a:lnTo>
                    <a:lnTo>
                      <a:pt x="0" y="152"/>
                    </a:lnTo>
                    <a:lnTo>
                      <a:pt x="0" y="125"/>
                    </a:lnTo>
                    <a:lnTo>
                      <a:pt x="2" y="99"/>
                    </a:lnTo>
                    <a:lnTo>
                      <a:pt x="5" y="76"/>
                    </a:lnTo>
                    <a:lnTo>
                      <a:pt x="10" y="57"/>
                    </a:lnTo>
                    <a:lnTo>
                      <a:pt x="13" y="41"/>
                    </a:lnTo>
                    <a:lnTo>
                      <a:pt x="21" y="17"/>
                    </a:lnTo>
                    <a:lnTo>
                      <a:pt x="25" y="7"/>
                    </a:lnTo>
                    <a:lnTo>
                      <a:pt x="28" y="3"/>
                    </a:lnTo>
                    <a:lnTo>
                      <a:pt x="32" y="1"/>
                    </a:lnTo>
                    <a:lnTo>
                      <a:pt x="38" y="0"/>
                    </a:lnTo>
                    <a:lnTo>
                      <a:pt x="43" y="1"/>
                    </a:lnTo>
                    <a:lnTo>
                      <a:pt x="48" y="4"/>
                    </a:lnTo>
                    <a:lnTo>
                      <a:pt x="50" y="8"/>
                    </a:lnTo>
                    <a:lnTo>
                      <a:pt x="51" y="14"/>
                    </a:lnTo>
                    <a:lnTo>
                      <a:pt x="50" y="19"/>
                    </a:lnTo>
                    <a:lnTo>
                      <a:pt x="47" y="27"/>
                    </a:lnTo>
                    <a:lnTo>
                      <a:pt x="40" y="48"/>
                    </a:lnTo>
                    <a:lnTo>
                      <a:pt x="36" y="63"/>
                    </a:lnTo>
                    <a:lnTo>
                      <a:pt x="32" y="82"/>
                    </a:lnTo>
                    <a:lnTo>
                      <a:pt x="30" y="102"/>
                    </a:lnTo>
                    <a:lnTo>
                      <a:pt x="28" y="127"/>
                    </a:lnTo>
                    <a:lnTo>
                      <a:pt x="28" y="153"/>
                    </a:lnTo>
                    <a:lnTo>
                      <a:pt x="29" y="182"/>
                    </a:lnTo>
                    <a:lnTo>
                      <a:pt x="30" y="197"/>
                    </a:lnTo>
                    <a:lnTo>
                      <a:pt x="32" y="212"/>
                    </a:lnTo>
                    <a:lnTo>
                      <a:pt x="36" y="230"/>
                    </a:lnTo>
                    <a:lnTo>
                      <a:pt x="39" y="246"/>
                    </a:lnTo>
                    <a:lnTo>
                      <a:pt x="43" y="263"/>
                    </a:lnTo>
                    <a:lnTo>
                      <a:pt x="48" y="282"/>
                    </a:lnTo>
                    <a:lnTo>
                      <a:pt x="54" y="300"/>
                    </a:lnTo>
                    <a:lnTo>
                      <a:pt x="61" y="318"/>
                    </a:lnTo>
                    <a:lnTo>
                      <a:pt x="68" y="338"/>
                    </a:lnTo>
                    <a:lnTo>
                      <a:pt x="77" y="357"/>
                    </a:lnTo>
                    <a:lnTo>
                      <a:pt x="85" y="377"/>
                    </a:lnTo>
                    <a:lnTo>
                      <a:pt x="96" y="397"/>
                    </a:lnTo>
                    <a:lnTo>
                      <a:pt x="108" y="418"/>
                    </a:lnTo>
                    <a:lnTo>
                      <a:pt x="119" y="437"/>
                    </a:lnTo>
                    <a:lnTo>
                      <a:pt x="131" y="455"/>
                    </a:lnTo>
                    <a:lnTo>
                      <a:pt x="144" y="474"/>
                    </a:lnTo>
                    <a:lnTo>
                      <a:pt x="156" y="491"/>
                    </a:lnTo>
                    <a:lnTo>
                      <a:pt x="169" y="507"/>
                    </a:lnTo>
                    <a:lnTo>
                      <a:pt x="180" y="522"/>
                    </a:lnTo>
                    <a:lnTo>
                      <a:pt x="193" y="536"/>
                    </a:lnTo>
                    <a:lnTo>
                      <a:pt x="218" y="563"/>
                    </a:lnTo>
                    <a:lnTo>
                      <a:pt x="243" y="587"/>
                    </a:lnTo>
                    <a:lnTo>
                      <a:pt x="268" y="609"/>
                    </a:lnTo>
                    <a:lnTo>
                      <a:pt x="291" y="627"/>
                    </a:lnTo>
                    <a:lnTo>
                      <a:pt x="312" y="643"/>
                    </a:lnTo>
                    <a:lnTo>
                      <a:pt x="333" y="656"/>
                    </a:lnTo>
                    <a:lnTo>
                      <a:pt x="351" y="667"/>
                    </a:lnTo>
                    <a:lnTo>
                      <a:pt x="366" y="676"/>
                    </a:lnTo>
                    <a:lnTo>
                      <a:pt x="389" y="687"/>
                    </a:lnTo>
                    <a:lnTo>
                      <a:pt x="397" y="691"/>
                    </a:lnTo>
                    <a:lnTo>
                      <a:pt x="402" y="694"/>
                    </a:lnTo>
                    <a:lnTo>
                      <a:pt x="405" y="698"/>
                    </a:lnTo>
                    <a:lnTo>
                      <a:pt x="406" y="704"/>
                    </a:lnTo>
                    <a:lnTo>
                      <a:pt x="405" y="708"/>
                    </a:lnTo>
                    <a:lnTo>
                      <a:pt x="403" y="712"/>
                    </a:lnTo>
                    <a:lnTo>
                      <a:pt x="400" y="714"/>
                    </a:lnTo>
                    <a:lnTo>
                      <a:pt x="396" y="717"/>
                    </a:lnTo>
                    <a:lnTo>
                      <a:pt x="392"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93"/>
              <p:cNvSpPr>
                <a:spLocks/>
              </p:cNvSpPr>
              <p:nvPr userDrawn="1"/>
            </p:nvSpPr>
            <p:spPr bwMode="auto">
              <a:xfrm>
                <a:off x="2138" y="1885"/>
                <a:ext cx="183" cy="238"/>
              </a:xfrm>
              <a:custGeom>
                <a:avLst/>
                <a:gdLst>
                  <a:gd name="T0" fmla="*/ 535 w 550"/>
                  <a:gd name="T1" fmla="*/ 713 h 713"/>
                  <a:gd name="T2" fmla="*/ 524 w 550"/>
                  <a:gd name="T3" fmla="*/ 709 h 713"/>
                  <a:gd name="T4" fmla="*/ 477 w 550"/>
                  <a:gd name="T5" fmla="*/ 690 h 713"/>
                  <a:gd name="T6" fmla="*/ 422 w 550"/>
                  <a:gd name="T7" fmla="*/ 662 h 713"/>
                  <a:gd name="T8" fmla="*/ 380 w 550"/>
                  <a:gd name="T9" fmla="*/ 636 h 713"/>
                  <a:gd name="T10" fmla="*/ 335 w 550"/>
                  <a:gd name="T11" fmla="*/ 605 h 713"/>
                  <a:gd name="T12" fmla="*/ 288 w 550"/>
                  <a:gd name="T13" fmla="*/ 567 h 713"/>
                  <a:gd name="T14" fmla="*/ 242 w 550"/>
                  <a:gd name="T15" fmla="*/ 523 h 713"/>
                  <a:gd name="T16" fmla="*/ 199 w 550"/>
                  <a:gd name="T17" fmla="*/ 474 h 713"/>
                  <a:gd name="T18" fmla="*/ 161 w 550"/>
                  <a:gd name="T19" fmla="*/ 427 h 713"/>
                  <a:gd name="T20" fmla="*/ 127 w 550"/>
                  <a:gd name="T21" fmla="*/ 380 h 713"/>
                  <a:gd name="T22" fmla="*/ 99 w 550"/>
                  <a:gd name="T23" fmla="*/ 334 h 713"/>
                  <a:gd name="T24" fmla="*/ 77 w 550"/>
                  <a:gd name="T25" fmla="*/ 289 h 713"/>
                  <a:gd name="T26" fmla="*/ 57 w 550"/>
                  <a:gd name="T27" fmla="*/ 247 h 713"/>
                  <a:gd name="T28" fmla="*/ 41 w 550"/>
                  <a:gd name="T29" fmla="*/ 207 h 713"/>
                  <a:gd name="T30" fmla="*/ 23 w 550"/>
                  <a:gd name="T31" fmla="*/ 152 h 713"/>
                  <a:gd name="T32" fmla="*/ 9 w 550"/>
                  <a:gd name="T33" fmla="*/ 91 h 713"/>
                  <a:gd name="T34" fmla="*/ 0 w 550"/>
                  <a:gd name="T35" fmla="*/ 29 h 713"/>
                  <a:gd name="T36" fmla="*/ 1 w 550"/>
                  <a:gd name="T37" fmla="*/ 8 h 713"/>
                  <a:gd name="T38" fmla="*/ 8 w 550"/>
                  <a:gd name="T39" fmla="*/ 1 h 713"/>
                  <a:gd name="T40" fmla="*/ 13 w 550"/>
                  <a:gd name="T41" fmla="*/ 0 h 713"/>
                  <a:gd name="T42" fmla="*/ 23 w 550"/>
                  <a:gd name="T43" fmla="*/ 3 h 713"/>
                  <a:gd name="T44" fmla="*/ 27 w 550"/>
                  <a:gd name="T45" fmla="*/ 13 h 713"/>
                  <a:gd name="T46" fmla="*/ 31 w 550"/>
                  <a:gd name="T47" fmla="*/ 60 h 713"/>
                  <a:gd name="T48" fmla="*/ 41 w 550"/>
                  <a:gd name="T49" fmla="*/ 111 h 713"/>
                  <a:gd name="T50" fmla="*/ 60 w 550"/>
                  <a:gd name="T51" fmla="*/ 178 h 713"/>
                  <a:gd name="T52" fmla="*/ 75 w 550"/>
                  <a:gd name="T53" fmla="*/ 216 h 713"/>
                  <a:gd name="T54" fmla="*/ 91 w 550"/>
                  <a:gd name="T55" fmla="*/ 256 h 713"/>
                  <a:gd name="T56" fmla="*/ 112 w 550"/>
                  <a:gd name="T57" fmla="*/ 299 h 713"/>
                  <a:gd name="T58" fmla="*/ 137 w 550"/>
                  <a:gd name="T59" fmla="*/ 342 h 713"/>
                  <a:gd name="T60" fmla="*/ 166 w 550"/>
                  <a:gd name="T61" fmla="*/ 388 h 713"/>
                  <a:gd name="T62" fmla="*/ 201 w 550"/>
                  <a:gd name="T63" fmla="*/ 434 h 713"/>
                  <a:gd name="T64" fmla="*/ 240 w 550"/>
                  <a:gd name="T65" fmla="*/ 481 h 713"/>
                  <a:gd name="T66" fmla="*/ 285 w 550"/>
                  <a:gd name="T67" fmla="*/ 527 h 713"/>
                  <a:gd name="T68" fmla="*/ 328 w 550"/>
                  <a:gd name="T69" fmla="*/ 566 h 713"/>
                  <a:gd name="T70" fmla="*/ 374 w 550"/>
                  <a:gd name="T71" fmla="*/ 599 h 713"/>
                  <a:gd name="T72" fmla="*/ 416 w 550"/>
                  <a:gd name="T73" fmla="*/ 626 h 713"/>
                  <a:gd name="T74" fmla="*/ 456 w 550"/>
                  <a:gd name="T75" fmla="*/ 649 h 713"/>
                  <a:gd name="T76" fmla="*/ 516 w 550"/>
                  <a:gd name="T77" fmla="*/ 677 h 713"/>
                  <a:gd name="T78" fmla="*/ 541 w 550"/>
                  <a:gd name="T79" fmla="*/ 687 h 713"/>
                  <a:gd name="T80" fmla="*/ 549 w 550"/>
                  <a:gd name="T81" fmla="*/ 693 h 713"/>
                  <a:gd name="T82" fmla="*/ 550 w 550"/>
                  <a:gd name="T83" fmla="*/ 704 h 713"/>
                  <a:gd name="T84" fmla="*/ 544 w 550"/>
                  <a:gd name="T85" fmla="*/ 710 h 713"/>
                  <a:gd name="T86" fmla="*/ 537 w 550"/>
                  <a:gd name="T87" fmla="*/ 713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0" h="713">
                    <a:moveTo>
                      <a:pt x="537" y="713"/>
                    </a:moveTo>
                    <a:lnTo>
                      <a:pt x="535" y="713"/>
                    </a:lnTo>
                    <a:lnTo>
                      <a:pt x="532" y="713"/>
                    </a:lnTo>
                    <a:lnTo>
                      <a:pt x="524" y="709"/>
                    </a:lnTo>
                    <a:lnTo>
                      <a:pt x="505" y="702"/>
                    </a:lnTo>
                    <a:lnTo>
                      <a:pt x="477" y="690"/>
                    </a:lnTo>
                    <a:lnTo>
                      <a:pt x="442" y="673"/>
                    </a:lnTo>
                    <a:lnTo>
                      <a:pt x="422" y="662"/>
                    </a:lnTo>
                    <a:lnTo>
                      <a:pt x="402" y="649"/>
                    </a:lnTo>
                    <a:lnTo>
                      <a:pt x="380" y="636"/>
                    </a:lnTo>
                    <a:lnTo>
                      <a:pt x="357" y="621"/>
                    </a:lnTo>
                    <a:lnTo>
                      <a:pt x="335" y="605"/>
                    </a:lnTo>
                    <a:lnTo>
                      <a:pt x="312" y="586"/>
                    </a:lnTo>
                    <a:lnTo>
                      <a:pt x="288" y="567"/>
                    </a:lnTo>
                    <a:lnTo>
                      <a:pt x="266" y="546"/>
                    </a:lnTo>
                    <a:lnTo>
                      <a:pt x="242" y="523"/>
                    </a:lnTo>
                    <a:lnTo>
                      <a:pt x="219" y="498"/>
                    </a:lnTo>
                    <a:lnTo>
                      <a:pt x="199" y="474"/>
                    </a:lnTo>
                    <a:lnTo>
                      <a:pt x="179" y="450"/>
                    </a:lnTo>
                    <a:lnTo>
                      <a:pt x="161" y="427"/>
                    </a:lnTo>
                    <a:lnTo>
                      <a:pt x="144" y="403"/>
                    </a:lnTo>
                    <a:lnTo>
                      <a:pt x="127" y="380"/>
                    </a:lnTo>
                    <a:lnTo>
                      <a:pt x="113" y="356"/>
                    </a:lnTo>
                    <a:lnTo>
                      <a:pt x="99" y="334"/>
                    </a:lnTo>
                    <a:lnTo>
                      <a:pt x="87" y="312"/>
                    </a:lnTo>
                    <a:lnTo>
                      <a:pt x="77" y="289"/>
                    </a:lnTo>
                    <a:lnTo>
                      <a:pt x="66" y="268"/>
                    </a:lnTo>
                    <a:lnTo>
                      <a:pt x="57" y="247"/>
                    </a:lnTo>
                    <a:lnTo>
                      <a:pt x="49" y="227"/>
                    </a:lnTo>
                    <a:lnTo>
                      <a:pt x="41" y="207"/>
                    </a:lnTo>
                    <a:lnTo>
                      <a:pt x="35" y="188"/>
                    </a:lnTo>
                    <a:lnTo>
                      <a:pt x="23" y="152"/>
                    </a:lnTo>
                    <a:lnTo>
                      <a:pt x="14" y="120"/>
                    </a:lnTo>
                    <a:lnTo>
                      <a:pt x="9" y="91"/>
                    </a:lnTo>
                    <a:lnTo>
                      <a:pt x="4" y="65"/>
                    </a:lnTo>
                    <a:lnTo>
                      <a:pt x="0" y="29"/>
                    </a:lnTo>
                    <a:lnTo>
                      <a:pt x="0" y="13"/>
                    </a:lnTo>
                    <a:lnTo>
                      <a:pt x="1" y="8"/>
                    </a:lnTo>
                    <a:lnTo>
                      <a:pt x="3" y="3"/>
                    </a:lnTo>
                    <a:lnTo>
                      <a:pt x="8" y="1"/>
                    </a:lnTo>
                    <a:lnTo>
                      <a:pt x="13" y="0"/>
                    </a:lnTo>
                    <a:lnTo>
                      <a:pt x="13" y="0"/>
                    </a:lnTo>
                    <a:lnTo>
                      <a:pt x="18" y="1"/>
                    </a:lnTo>
                    <a:lnTo>
                      <a:pt x="23" y="3"/>
                    </a:lnTo>
                    <a:lnTo>
                      <a:pt x="26" y="8"/>
                    </a:lnTo>
                    <a:lnTo>
                      <a:pt x="27" y="13"/>
                    </a:lnTo>
                    <a:lnTo>
                      <a:pt x="27" y="26"/>
                    </a:lnTo>
                    <a:lnTo>
                      <a:pt x="31" y="60"/>
                    </a:lnTo>
                    <a:lnTo>
                      <a:pt x="36" y="84"/>
                    </a:lnTo>
                    <a:lnTo>
                      <a:pt x="41" y="111"/>
                    </a:lnTo>
                    <a:lnTo>
                      <a:pt x="50" y="144"/>
                    </a:lnTo>
                    <a:lnTo>
                      <a:pt x="60" y="178"/>
                    </a:lnTo>
                    <a:lnTo>
                      <a:pt x="67" y="197"/>
                    </a:lnTo>
                    <a:lnTo>
                      <a:pt x="75" y="216"/>
                    </a:lnTo>
                    <a:lnTo>
                      <a:pt x="82" y="235"/>
                    </a:lnTo>
                    <a:lnTo>
                      <a:pt x="91" y="256"/>
                    </a:lnTo>
                    <a:lnTo>
                      <a:pt x="102" y="278"/>
                    </a:lnTo>
                    <a:lnTo>
                      <a:pt x="112" y="299"/>
                    </a:lnTo>
                    <a:lnTo>
                      <a:pt x="124" y="321"/>
                    </a:lnTo>
                    <a:lnTo>
                      <a:pt x="137" y="342"/>
                    </a:lnTo>
                    <a:lnTo>
                      <a:pt x="151" y="365"/>
                    </a:lnTo>
                    <a:lnTo>
                      <a:pt x="166" y="388"/>
                    </a:lnTo>
                    <a:lnTo>
                      <a:pt x="182" y="410"/>
                    </a:lnTo>
                    <a:lnTo>
                      <a:pt x="201" y="434"/>
                    </a:lnTo>
                    <a:lnTo>
                      <a:pt x="219" y="457"/>
                    </a:lnTo>
                    <a:lnTo>
                      <a:pt x="240" y="481"/>
                    </a:lnTo>
                    <a:lnTo>
                      <a:pt x="261" y="503"/>
                    </a:lnTo>
                    <a:lnTo>
                      <a:pt x="285" y="527"/>
                    </a:lnTo>
                    <a:lnTo>
                      <a:pt x="307" y="547"/>
                    </a:lnTo>
                    <a:lnTo>
                      <a:pt x="328" y="566"/>
                    </a:lnTo>
                    <a:lnTo>
                      <a:pt x="351" y="583"/>
                    </a:lnTo>
                    <a:lnTo>
                      <a:pt x="374" y="599"/>
                    </a:lnTo>
                    <a:lnTo>
                      <a:pt x="395" y="613"/>
                    </a:lnTo>
                    <a:lnTo>
                      <a:pt x="416" y="626"/>
                    </a:lnTo>
                    <a:lnTo>
                      <a:pt x="436" y="638"/>
                    </a:lnTo>
                    <a:lnTo>
                      <a:pt x="456" y="649"/>
                    </a:lnTo>
                    <a:lnTo>
                      <a:pt x="489" y="665"/>
                    </a:lnTo>
                    <a:lnTo>
                      <a:pt x="516" y="677"/>
                    </a:lnTo>
                    <a:lnTo>
                      <a:pt x="535" y="685"/>
                    </a:lnTo>
                    <a:lnTo>
                      <a:pt x="541" y="687"/>
                    </a:lnTo>
                    <a:lnTo>
                      <a:pt x="545" y="689"/>
                    </a:lnTo>
                    <a:lnTo>
                      <a:pt x="549" y="693"/>
                    </a:lnTo>
                    <a:lnTo>
                      <a:pt x="550" y="699"/>
                    </a:lnTo>
                    <a:lnTo>
                      <a:pt x="550" y="704"/>
                    </a:lnTo>
                    <a:lnTo>
                      <a:pt x="547" y="707"/>
                    </a:lnTo>
                    <a:lnTo>
                      <a:pt x="544" y="710"/>
                    </a:lnTo>
                    <a:lnTo>
                      <a:pt x="541" y="713"/>
                    </a:lnTo>
                    <a:lnTo>
                      <a:pt x="537" y="7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94"/>
              <p:cNvSpPr>
                <a:spLocks/>
              </p:cNvSpPr>
              <p:nvPr userDrawn="1"/>
            </p:nvSpPr>
            <p:spPr bwMode="auto">
              <a:xfrm>
                <a:off x="2046" y="1861"/>
                <a:ext cx="242" cy="272"/>
              </a:xfrm>
              <a:custGeom>
                <a:avLst/>
                <a:gdLst>
                  <a:gd name="T0" fmla="*/ 705 w 726"/>
                  <a:gd name="T1" fmla="*/ 816 h 816"/>
                  <a:gd name="T2" fmla="*/ 677 w 726"/>
                  <a:gd name="T3" fmla="*/ 809 h 816"/>
                  <a:gd name="T4" fmla="*/ 647 w 726"/>
                  <a:gd name="T5" fmla="*/ 800 h 816"/>
                  <a:gd name="T6" fmla="*/ 607 w 726"/>
                  <a:gd name="T7" fmla="*/ 782 h 816"/>
                  <a:gd name="T8" fmla="*/ 555 w 726"/>
                  <a:gd name="T9" fmla="*/ 756 h 816"/>
                  <a:gd name="T10" fmla="*/ 492 w 726"/>
                  <a:gd name="T11" fmla="*/ 720 h 816"/>
                  <a:gd name="T12" fmla="*/ 417 w 726"/>
                  <a:gd name="T13" fmla="*/ 671 h 816"/>
                  <a:gd name="T14" fmla="*/ 351 w 726"/>
                  <a:gd name="T15" fmla="*/ 625 h 816"/>
                  <a:gd name="T16" fmla="*/ 309 w 726"/>
                  <a:gd name="T17" fmla="*/ 590 h 816"/>
                  <a:gd name="T18" fmla="*/ 268 w 726"/>
                  <a:gd name="T19" fmla="*/ 554 h 816"/>
                  <a:gd name="T20" fmla="*/ 231 w 726"/>
                  <a:gd name="T21" fmla="*/ 515 h 816"/>
                  <a:gd name="T22" fmla="*/ 195 w 726"/>
                  <a:gd name="T23" fmla="*/ 475 h 816"/>
                  <a:gd name="T24" fmla="*/ 164 w 726"/>
                  <a:gd name="T25" fmla="*/ 434 h 816"/>
                  <a:gd name="T26" fmla="*/ 135 w 726"/>
                  <a:gd name="T27" fmla="*/ 392 h 816"/>
                  <a:gd name="T28" fmla="*/ 108 w 726"/>
                  <a:gd name="T29" fmla="*/ 350 h 816"/>
                  <a:gd name="T30" fmla="*/ 84 w 726"/>
                  <a:gd name="T31" fmla="*/ 307 h 816"/>
                  <a:gd name="T32" fmla="*/ 63 w 726"/>
                  <a:gd name="T33" fmla="*/ 264 h 816"/>
                  <a:gd name="T34" fmla="*/ 45 w 726"/>
                  <a:gd name="T35" fmla="*/ 222 h 816"/>
                  <a:gd name="T36" fmla="*/ 30 w 726"/>
                  <a:gd name="T37" fmla="*/ 181 h 816"/>
                  <a:gd name="T38" fmla="*/ 18 w 726"/>
                  <a:gd name="T39" fmla="*/ 141 h 816"/>
                  <a:gd name="T40" fmla="*/ 9 w 726"/>
                  <a:gd name="T41" fmla="*/ 102 h 816"/>
                  <a:gd name="T42" fmla="*/ 3 w 726"/>
                  <a:gd name="T43" fmla="*/ 66 h 816"/>
                  <a:gd name="T44" fmla="*/ 0 w 726"/>
                  <a:gd name="T45" fmla="*/ 30 h 816"/>
                  <a:gd name="T46" fmla="*/ 1 w 726"/>
                  <a:gd name="T47" fmla="*/ 8 h 816"/>
                  <a:gd name="T48" fmla="*/ 8 w 726"/>
                  <a:gd name="T49" fmla="*/ 1 h 816"/>
                  <a:gd name="T50" fmla="*/ 18 w 726"/>
                  <a:gd name="T51" fmla="*/ 1 h 816"/>
                  <a:gd name="T52" fmla="*/ 26 w 726"/>
                  <a:gd name="T53" fmla="*/ 8 h 816"/>
                  <a:gd name="T54" fmla="*/ 27 w 726"/>
                  <a:gd name="T55" fmla="*/ 29 h 816"/>
                  <a:gd name="T56" fmla="*/ 30 w 726"/>
                  <a:gd name="T57" fmla="*/ 63 h 816"/>
                  <a:gd name="T58" fmla="*/ 36 w 726"/>
                  <a:gd name="T59" fmla="*/ 99 h 816"/>
                  <a:gd name="T60" fmla="*/ 45 w 726"/>
                  <a:gd name="T61" fmla="*/ 137 h 816"/>
                  <a:gd name="T62" fmla="*/ 57 w 726"/>
                  <a:gd name="T63" fmla="*/ 175 h 816"/>
                  <a:gd name="T64" fmla="*/ 71 w 726"/>
                  <a:gd name="T65" fmla="*/ 215 h 816"/>
                  <a:gd name="T66" fmla="*/ 88 w 726"/>
                  <a:gd name="T67" fmla="*/ 256 h 816"/>
                  <a:gd name="T68" fmla="*/ 109 w 726"/>
                  <a:gd name="T69" fmla="*/ 297 h 816"/>
                  <a:gd name="T70" fmla="*/ 131 w 726"/>
                  <a:gd name="T71" fmla="*/ 338 h 816"/>
                  <a:gd name="T72" fmla="*/ 157 w 726"/>
                  <a:gd name="T73" fmla="*/ 378 h 816"/>
                  <a:gd name="T74" fmla="*/ 185 w 726"/>
                  <a:gd name="T75" fmla="*/ 419 h 816"/>
                  <a:gd name="T76" fmla="*/ 217 w 726"/>
                  <a:gd name="T77" fmla="*/ 459 h 816"/>
                  <a:gd name="T78" fmla="*/ 250 w 726"/>
                  <a:gd name="T79" fmla="*/ 496 h 816"/>
                  <a:gd name="T80" fmla="*/ 287 w 726"/>
                  <a:gd name="T81" fmla="*/ 534 h 816"/>
                  <a:gd name="T82" fmla="*/ 326 w 726"/>
                  <a:gd name="T83" fmla="*/ 570 h 816"/>
                  <a:gd name="T84" fmla="*/ 367 w 726"/>
                  <a:gd name="T85" fmla="*/ 603 h 816"/>
                  <a:gd name="T86" fmla="*/ 432 w 726"/>
                  <a:gd name="T87" fmla="*/ 649 h 816"/>
                  <a:gd name="T88" fmla="*/ 506 w 726"/>
                  <a:gd name="T89" fmla="*/ 697 h 816"/>
                  <a:gd name="T90" fmla="*/ 568 w 726"/>
                  <a:gd name="T91" fmla="*/ 733 h 816"/>
                  <a:gd name="T92" fmla="*/ 617 w 726"/>
                  <a:gd name="T93" fmla="*/ 759 h 816"/>
                  <a:gd name="T94" fmla="*/ 656 w 726"/>
                  <a:gd name="T95" fmla="*/ 775 h 816"/>
                  <a:gd name="T96" fmla="*/ 684 w 726"/>
                  <a:gd name="T97" fmla="*/ 783 h 816"/>
                  <a:gd name="T98" fmla="*/ 707 w 726"/>
                  <a:gd name="T99" fmla="*/ 789 h 816"/>
                  <a:gd name="T100" fmla="*/ 712 w 726"/>
                  <a:gd name="T101" fmla="*/ 789 h 816"/>
                  <a:gd name="T102" fmla="*/ 721 w 726"/>
                  <a:gd name="T103" fmla="*/ 793 h 816"/>
                  <a:gd name="T104" fmla="*/ 726 w 726"/>
                  <a:gd name="T105" fmla="*/ 802 h 816"/>
                  <a:gd name="T106" fmla="*/ 722 w 726"/>
                  <a:gd name="T107" fmla="*/ 812 h 816"/>
                  <a:gd name="T108" fmla="*/ 713 w 726"/>
                  <a:gd name="T109" fmla="*/ 816 h 816"/>
                  <a:gd name="T110" fmla="*/ 712 w 726"/>
                  <a:gd name="T111" fmla="*/ 816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26" h="816">
                    <a:moveTo>
                      <a:pt x="712" y="816"/>
                    </a:moveTo>
                    <a:lnTo>
                      <a:pt x="705" y="816"/>
                    </a:lnTo>
                    <a:lnTo>
                      <a:pt x="689" y="813"/>
                    </a:lnTo>
                    <a:lnTo>
                      <a:pt x="677" y="809"/>
                    </a:lnTo>
                    <a:lnTo>
                      <a:pt x="663" y="805"/>
                    </a:lnTo>
                    <a:lnTo>
                      <a:pt x="647" y="800"/>
                    </a:lnTo>
                    <a:lnTo>
                      <a:pt x="628" y="792"/>
                    </a:lnTo>
                    <a:lnTo>
                      <a:pt x="607" y="782"/>
                    </a:lnTo>
                    <a:lnTo>
                      <a:pt x="582" y="771"/>
                    </a:lnTo>
                    <a:lnTo>
                      <a:pt x="555" y="756"/>
                    </a:lnTo>
                    <a:lnTo>
                      <a:pt x="525" y="740"/>
                    </a:lnTo>
                    <a:lnTo>
                      <a:pt x="492" y="720"/>
                    </a:lnTo>
                    <a:lnTo>
                      <a:pt x="455" y="697"/>
                    </a:lnTo>
                    <a:lnTo>
                      <a:pt x="417" y="671"/>
                    </a:lnTo>
                    <a:lnTo>
                      <a:pt x="373" y="641"/>
                    </a:lnTo>
                    <a:lnTo>
                      <a:pt x="351" y="625"/>
                    </a:lnTo>
                    <a:lnTo>
                      <a:pt x="329" y="608"/>
                    </a:lnTo>
                    <a:lnTo>
                      <a:pt x="309" y="590"/>
                    </a:lnTo>
                    <a:lnTo>
                      <a:pt x="288" y="572"/>
                    </a:lnTo>
                    <a:lnTo>
                      <a:pt x="268" y="554"/>
                    </a:lnTo>
                    <a:lnTo>
                      <a:pt x="249" y="534"/>
                    </a:lnTo>
                    <a:lnTo>
                      <a:pt x="231" y="515"/>
                    </a:lnTo>
                    <a:lnTo>
                      <a:pt x="212" y="495"/>
                    </a:lnTo>
                    <a:lnTo>
                      <a:pt x="195" y="475"/>
                    </a:lnTo>
                    <a:lnTo>
                      <a:pt x="179" y="454"/>
                    </a:lnTo>
                    <a:lnTo>
                      <a:pt x="164" y="434"/>
                    </a:lnTo>
                    <a:lnTo>
                      <a:pt x="149" y="413"/>
                    </a:lnTo>
                    <a:lnTo>
                      <a:pt x="135" y="392"/>
                    </a:lnTo>
                    <a:lnTo>
                      <a:pt x="121" y="371"/>
                    </a:lnTo>
                    <a:lnTo>
                      <a:pt x="108" y="350"/>
                    </a:lnTo>
                    <a:lnTo>
                      <a:pt x="96" y="328"/>
                    </a:lnTo>
                    <a:lnTo>
                      <a:pt x="84" y="307"/>
                    </a:lnTo>
                    <a:lnTo>
                      <a:pt x="73" y="286"/>
                    </a:lnTo>
                    <a:lnTo>
                      <a:pt x="63" y="264"/>
                    </a:lnTo>
                    <a:lnTo>
                      <a:pt x="54" y="244"/>
                    </a:lnTo>
                    <a:lnTo>
                      <a:pt x="45" y="222"/>
                    </a:lnTo>
                    <a:lnTo>
                      <a:pt x="38" y="202"/>
                    </a:lnTo>
                    <a:lnTo>
                      <a:pt x="30" y="181"/>
                    </a:lnTo>
                    <a:lnTo>
                      <a:pt x="25" y="161"/>
                    </a:lnTo>
                    <a:lnTo>
                      <a:pt x="18" y="141"/>
                    </a:lnTo>
                    <a:lnTo>
                      <a:pt x="14" y="122"/>
                    </a:lnTo>
                    <a:lnTo>
                      <a:pt x="9" y="102"/>
                    </a:lnTo>
                    <a:lnTo>
                      <a:pt x="6" y="84"/>
                    </a:lnTo>
                    <a:lnTo>
                      <a:pt x="3" y="66"/>
                    </a:lnTo>
                    <a:lnTo>
                      <a:pt x="1" y="47"/>
                    </a:lnTo>
                    <a:lnTo>
                      <a:pt x="0" y="30"/>
                    </a:lnTo>
                    <a:lnTo>
                      <a:pt x="0" y="14"/>
                    </a:lnTo>
                    <a:lnTo>
                      <a:pt x="1" y="8"/>
                    </a:lnTo>
                    <a:lnTo>
                      <a:pt x="4" y="4"/>
                    </a:lnTo>
                    <a:lnTo>
                      <a:pt x="8" y="1"/>
                    </a:lnTo>
                    <a:lnTo>
                      <a:pt x="14" y="0"/>
                    </a:lnTo>
                    <a:lnTo>
                      <a:pt x="18" y="1"/>
                    </a:lnTo>
                    <a:lnTo>
                      <a:pt x="22" y="4"/>
                    </a:lnTo>
                    <a:lnTo>
                      <a:pt x="26" y="8"/>
                    </a:lnTo>
                    <a:lnTo>
                      <a:pt x="27" y="14"/>
                    </a:lnTo>
                    <a:lnTo>
                      <a:pt x="27" y="29"/>
                    </a:lnTo>
                    <a:lnTo>
                      <a:pt x="28" y="46"/>
                    </a:lnTo>
                    <a:lnTo>
                      <a:pt x="30" y="63"/>
                    </a:lnTo>
                    <a:lnTo>
                      <a:pt x="33" y="81"/>
                    </a:lnTo>
                    <a:lnTo>
                      <a:pt x="36" y="99"/>
                    </a:lnTo>
                    <a:lnTo>
                      <a:pt x="40" y="117"/>
                    </a:lnTo>
                    <a:lnTo>
                      <a:pt x="45" y="137"/>
                    </a:lnTo>
                    <a:lnTo>
                      <a:pt x="50" y="155"/>
                    </a:lnTo>
                    <a:lnTo>
                      <a:pt x="57" y="175"/>
                    </a:lnTo>
                    <a:lnTo>
                      <a:pt x="63" y="195"/>
                    </a:lnTo>
                    <a:lnTo>
                      <a:pt x="71" y="215"/>
                    </a:lnTo>
                    <a:lnTo>
                      <a:pt x="80" y="235"/>
                    </a:lnTo>
                    <a:lnTo>
                      <a:pt x="88" y="256"/>
                    </a:lnTo>
                    <a:lnTo>
                      <a:pt x="98" y="276"/>
                    </a:lnTo>
                    <a:lnTo>
                      <a:pt x="109" y="297"/>
                    </a:lnTo>
                    <a:lnTo>
                      <a:pt x="120" y="317"/>
                    </a:lnTo>
                    <a:lnTo>
                      <a:pt x="131" y="338"/>
                    </a:lnTo>
                    <a:lnTo>
                      <a:pt x="144" y="358"/>
                    </a:lnTo>
                    <a:lnTo>
                      <a:pt x="157" y="378"/>
                    </a:lnTo>
                    <a:lnTo>
                      <a:pt x="171" y="398"/>
                    </a:lnTo>
                    <a:lnTo>
                      <a:pt x="185" y="419"/>
                    </a:lnTo>
                    <a:lnTo>
                      <a:pt x="201" y="438"/>
                    </a:lnTo>
                    <a:lnTo>
                      <a:pt x="217" y="459"/>
                    </a:lnTo>
                    <a:lnTo>
                      <a:pt x="233" y="478"/>
                    </a:lnTo>
                    <a:lnTo>
                      <a:pt x="250" y="496"/>
                    </a:lnTo>
                    <a:lnTo>
                      <a:pt x="269" y="516"/>
                    </a:lnTo>
                    <a:lnTo>
                      <a:pt x="287" y="534"/>
                    </a:lnTo>
                    <a:lnTo>
                      <a:pt x="306" y="552"/>
                    </a:lnTo>
                    <a:lnTo>
                      <a:pt x="326" y="570"/>
                    </a:lnTo>
                    <a:lnTo>
                      <a:pt x="346" y="587"/>
                    </a:lnTo>
                    <a:lnTo>
                      <a:pt x="367" y="603"/>
                    </a:lnTo>
                    <a:lnTo>
                      <a:pt x="390" y="619"/>
                    </a:lnTo>
                    <a:lnTo>
                      <a:pt x="432" y="649"/>
                    </a:lnTo>
                    <a:lnTo>
                      <a:pt x="471" y="674"/>
                    </a:lnTo>
                    <a:lnTo>
                      <a:pt x="506" y="697"/>
                    </a:lnTo>
                    <a:lnTo>
                      <a:pt x="539" y="717"/>
                    </a:lnTo>
                    <a:lnTo>
                      <a:pt x="568" y="733"/>
                    </a:lnTo>
                    <a:lnTo>
                      <a:pt x="595" y="747"/>
                    </a:lnTo>
                    <a:lnTo>
                      <a:pt x="617" y="759"/>
                    </a:lnTo>
                    <a:lnTo>
                      <a:pt x="638" y="767"/>
                    </a:lnTo>
                    <a:lnTo>
                      <a:pt x="656" y="775"/>
                    </a:lnTo>
                    <a:lnTo>
                      <a:pt x="671" y="780"/>
                    </a:lnTo>
                    <a:lnTo>
                      <a:pt x="684" y="783"/>
                    </a:lnTo>
                    <a:lnTo>
                      <a:pt x="694" y="787"/>
                    </a:lnTo>
                    <a:lnTo>
                      <a:pt x="707" y="789"/>
                    </a:lnTo>
                    <a:lnTo>
                      <a:pt x="712" y="789"/>
                    </a:lnTo>
                    <a:lnTo>
                      <a:pt x="712" y="789"/>
                    </a:lnTo>
                    <a:lnTo>
                      <a:pt x="717" y="790"/>
                    </a:lnTo>
                    <a:lnTo>
                      <a:pt x="721" y="793"/>
                    </a:lnTo>
                    <a:lnTo>
                      <a:pt x="724" y="798"/>
                    </a:lnTo>
                    <a:lnTo>
                      <a:pt x="726" y="802"/>
                    </a:lnTo>
                    <a:lnTo>
                      <a:pt x="725" y="807"/>
                    </a:lnTo>
                    <a:lnTo>
                      <a:pt x="722" y="812"/>
                    </a:lnTo>
                    <a:lnTo>
                      <a:pt x="719" y="815"/>
                    </a:lnTo>
                    <a:lnTo>
                      <a:pt x="713" y="816"/>
                    </a:lnTo>
                    <a:lnTo>
                      <a:pt x="712" y="816"/>
                    </a:lnTo>
                    <a:lnTo>
                      <a:pt x="712" y="8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95"/>
              <p:cNvSpPr>
                <a:spLocks/>
              </p:cNvSpPr>
              <p:nvPr userDrawn="1"/>
            </p:nvSpPr>
            <p:spPr bwMode="auto">
              <a:xfrm>
                <a:off x="815" y="3217"/>
                <a:ext cx="391" cy="723"/>
              </a:xfrm>
              <a:custGeom>
                <a:avLst/>
                <a:gdLst>
                  <a:gd name="T0" fmla="*/ 1154 w 1172"/>
                  <a:gd name="T1" fmla="*/ 2167 h 2168"/>
                  <a:gd name="T2" fmla="*/ 1147 w 1172"/>
                  <a:gd name="T3" fmla="*/ 2160 h 2168"/>
                  <a:gd name="T4" fmla="*/ 1145 w 1172"/>
                  <a:gd name="T5" fmla="*/ 2146 h 2168"/>
                  <a:gd name="T6" fmla="*/ 1144 w 1172"/>
                  <a:gd name="T7" fmla="*/ 2087 h 2168"/>
                  <a:gd name="T8" fmla="*/ 1139 w 1172"/>
                  <a:gd name="T9" fmla="*/ 1978 h 2168"/>
                  <a:gd name="T10" fmla="*/ 1129 w 1172"/>
                  <a:gd name="T11" fmla="*/ 1828 h 2168"/>
                  <a:gd name="T12" fmla="*/ 1112 w 1172"/>
                  <a:gd name="T13" fmla="*/ 1646 h 2168"/>
                  <a:gd name="T14" fmla="*/ 1094 w 1172"/>
                  <a:gd name="T15" fmla="*/ 1492 h 2168"/>
                  <a:gd name="T16" fmla="*/ 1077 w 1172"/>
                  <a:gd name="T17" fmla="*/ 1384 h 2168"/>
                  <a:gd name="T18" fmla="*/ 1059 w 1172"/>
                  <a:gd name="T19" fmla="*/ 1273 h 2168"/>
                  <a:gd name="T20" fmla="*/ 1036 w 1172"/>
                  <a:gd name="T21" fmla="*/ 1159 h 2168"/>
                  <a:gd name="T22" fmla="*/ 1010 w 1172"/>
                  <a:gd name="T23" fmla="*/ 1043 h 2168"/>
                  <a:gd name="T24" fmla="*/ 981 w 1172"/>
                  <a:gd name="T25" fmla="*/ 927 h 2168"/>
                  <a:gd name="T26" fmla="*/ 947 w 1172"/>
                  <a:gd name="T27" fmla="*/ 812 h 2168"/>
                  <a:gd name="T28" fmla="*/ 901 w 1172"/>
                  <a:gd name="T29" fmla="*/ 706 h 2168"/>
                  <a:gd name="T30" fmla="*/ 844 w 1172"/>
                  <a:gd name="T31" fmla="*/ 609 h 2168"/>
                  <a:gd name="T32" fmla="*/ 778 w 1172"/>
                  <a:gd name="T33" fmla="*/ 521 h 2168"/>
                  <a:gd name="T34" fmla="*/ 706 w 1172"/>
                  <a:gd name="T35" fmla="*/ 441 h 2168"/>
                  <a:gd name="T36" fmla="*/ 627 w 1172"/>
                  <a:gd name="T37" fmla="*/ 367 h 2168"/>
                  <a:gd name="T38" fmla="*/ 547 w 1172"/>
                  <a:gd name="T39" fmla="*/ 303 h 2168"/>
                  <a:gd name="T40" fmla="*/ 465 w 1172"/>
                  <a:gd name="T41" fmla="*/ 245 h 2168"/>
                  <a:gd name="T42" fmla="*/ 384 w 1172"/>
                  <a:gd name="T43" fmla="*/ 196 h 2168"/>
                  <a:gd name="T44" fmla="*/ 306 w 1172"/>
                  <a:gd name="T45" fmla="*/ 153 h 2168"/>
                  <a:gd name="T46" fmla="*/ 233 w 1172"/>
                  <a:gd name="T47" fmla="*/ 116 h 2168"/>
                  <a:gd name="T48" fmla="*/ 167 w 1172"/>
                  <a:gd name="T49" fmla="*/ 87 h 2168"/>
                  <a:gd name="T50" fmla="*/ 85 w 1172"/>
                  <a:gd name="T51" fmla="*/ 53 h 2168"/>
                  <a:gd name="T52" fmla="*/ 19 w 1172"/>
                  <a:gd name="T53" fmla="*/ 31 h 2168"/>
                  <a:gd name="T54" fmla="*/ 5 w 1172"/>
                  <a:gd name="T55" fmla="*/ 25 h 2168"/>
                  <a:gd name="T56" fmla="*/ 0 w 1172"/>
                  <a:gd name="T57" fmla="*/ 16 h 2168"/>
                  <a:gd name="T58" fmla="*/ 3 w 1172"/>
                  <a:gd name="T59" fmla="*/ 6 h 2168"/>
                  <a:gd name="T60" fmla="*/ 12 w 1172"/>
                  <a:gd name="T61" fmla="*/ 0 h 2168"/>
                  <a:gd name="T62" fmla="*/ 27 w 1172"/>
                  <a:gd name="T63" fmla="*/ 5 h 2168"/>
                  <a:gd name="T64" fmla="*/ 95 w 1172"/>
                  <a:gd name="T65" fmla="*/ 27 h 2168"/>
                  <a:gd name="T66" fmla="*/ 178 w 1172"/>
                  <a:gd name="T67" fmla="*/ 62 h 2168"/>
                  <a:gd name="T68" fmla="*/ 245 w 1172"/>
                  <a:gd name="T69" fmla="*/ 92 h 2168"/>
                  <a:gd name="T70" fmla="*/ 319 w 1172"/>
                  <a:gd name="T71" fmla="*/ 129 h 2168"/>
                  <a:gd name="T72" fmla="*/ 398 w 1172"/>
                  <a:gd name="T73" fmla="*/ 173 h 2168"/>
                  <a:gd name="T74" fmla="*/ 481 w 1172"/>
                  <a:gd name="T75" fmla="*/ 224 h 2168"/>
                  <a:gd name="T76" fmla="*/ 565 w 1172"/>
                  <a:gd name="T77" fmla="*/ 283 h 2168"/>
                  <a:gd name="T78" fmla="*/ 647 w 1172"/>
                  <a:gd name="T79" fmla="*/ 349 h 2168"/>
                  <a:gd name="T80" fmla="*/ 726 w 1172"/>
                  <a:gd name="T81" fmla="*/ 424 h 2168"/>
                  <a:gd name="T82" fmla="*/ 800 w 1172"/>
                  <a:gd name="T83" fmla="*/ 506 h 2168"/>
                  <a:gd name="T84" fmla="*/ 868 w 1172"/>
                  <a:gd name="T85" fmla="*/ 596 h 2168"/>
                  <a:gd name="T86" fmla="*/ 926 w 1172"/>
                  <a:gd name="T87" fmla="*/ 696 h 2168"/>
                  <a:gd name="T88" fmla="*/ 973 w 1172"/>
                  <a:gd name="T89" fmla="*/ 804 h 2168"/>
                  <a:gd name="T90" fmla="*/ 1007 w 1172"/>
                  <a:gd name="T91" fmla="*/ 919 h 2168"/>
                  <a:gd name="T92" fmla="*/ 1037 w 1172"/>
                  <a:gd name="T93" fmla="*/ 1037 h 2168"/>
                  <a:gd name="T94" fmla="*/ 1063 w 1172"/>
                  <a:gd name="T95" fmla="*/ 1152 h 2168"/>
                  <a:gd name="T96" fmla="*/ 1085 w 1172"/>
                  <a:gd name="T97" fmla="*/ 1268 h 2168"/>
                  <a:gd name="T98" fmla="*/ 1104 w 1172"/>
                  <a:gd name="T99" fmla="*/ 1380 h 2168"/>
                  <a:gd name="T100" fmla="*/ 1121 w 1172"/>
                  <a:gd name="T101" fmla="*/ 1489 h 2168"/>
                  <a:gd name="T102" fmla="*/ 1139 w 1172"/>
                  <a:gd name="T103" fmla="*/ 1643 h 2168"/>
                  <a:gd name="T104" fmla="*/ 1156 w 1172"/>
                  <a:gd name="T105" fmla="*/ 1826 h 2168"/>
                  <a:gd name="T106" fmla="*/ 1166 w 1172"/>
                  <a:gd name="T107" fmla="*/ 1977 h 2168"/>
                  <a:gd name="T108" fmla="*/ 1171 w 1172"/>
                  <a:gd name="T109" fmla="*/ 2086 h 2168"/>
                  <a:gd name="T110" fmla="*/ 1172 w 1172"/>
                  <a:gd name="T111" fmla="*/ 2146 h 2168"/>
                  <a:gd name="T112" fmla="*/ 1171 w 1172"/>
                  <a:gd name="T113" fmla="*/ 2160 h 2168"/>
                  <a:gd name="T114" fmla="*/ 1164 w 1172"/>
                  <a:gd name="T115" fmla="*/ 2167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2" h="2168">
                    <a:moveTo>
                      <a:pt x="1158" y="2168"/>
                    </a:moveTo>
                    <a:lnTo>
                      <a:pt x="1154" y="2167"/>
                    </a:lnTo>
                    <a:lnTo>
                      <a:pt x="1150" y="2165"/>
                    </a:lnTo>
                    <a:lnTo>
                      <a:pt x="1147" y="2160"/>
                    </a:lnTo>
                    <a:lnTo>
                      <a:pt x="1145" y="2155"/>
                    </a:lnTo>
                    <a:lnTo>
                      <a:pt x="1145" y="2146"/>
                    </a:lnTo>
                    <a:lnTo>
                      <a:pt x="1145" y="2123"/>
                    </a:lnTo>
                    <a:lnTo>
                      <a:pt x="1144" y="2087"/>
                    </a:lnTo>
                    <a:lnTo>
                      <a:pt x="1142" y="2037"/>
                    </a:lnTo>
                    <a:lnTo>
                      <a:pt x="1139" y="1978"/>
                    </a:lnTo>
                    <a:lnTo>
                      <a:pt x="1136" y="1908"/>
                    </a:lnTo>
                    <a:lnTo>
                      <a:pt x="1129" y="1828"/>
                    </a:lnTo>
                    <a:lnTo>
                      <a:pt x="1122" y="1741"/>
                    </a:lnTo>
                    <a:lnTo>
                      <a:pt x="1112" y="1646"/>
                    </a:lnTo>
                    <a:lnTo>
                      <a:pt x="1100" y="1545"/>
                    </a:lnTo>
                    <a:lnTo>
                      <a:pt x="1094" y="1492"/>
                    </a:lnTo>
                    <a:lnTo>
                      <a:pt x="1086" y="1439"/>
                    </a:lnTo>
                    <a:lnTo>
                      <a:pt x="1077" y="1384"/>
                    </a:lnTo>
                    <a:lnTo>
                      <a:pt x="1069" y="1329"/>
                    </a:lnTo>
                    <a:lnTo>
                      <a:pt x="1059" y="1273"/>
                    </a:lnTo>
                    <a:lnTo>
                      <a:pt x="1048" y="1216"/>
                    </a:lnTo>
                    <a:lnTo>
                      <a:pt x="1036" y="1159"/>
                    </a:lnTo>
                    <a:lnTo>
                      <a:pt x="1025" y="1100"/>
                    </a:lnTo>
                    <a:lnTo>
                      <a:pt x="1010" y="1043"/>
                    </a:lnTo>
                    <a:lnTo>
                      <a:pt x="996" y="985"/>
                    </a:lnTo>
                    <a:lnTo>
                      <a:pt x="981" y="927"/>
                    </a:lnTo>
                    <a:lnTo>
                      <a:pt x="965" y="868"/>
                    </a:lnTo>
                    <a:lnTo>
                      <a:pt x="947" y="812"/>
                    </a:lnTo>
                    <a:lnTo>
                      <a:pt x="925" y="758"/>
                    </a:lnTo>
                    <a:lnTo>
                      <a:pt x="901" y="706"/>
                    </a:lnTo>
                    <a:lnTo>
                      <a:pt x="874" y="657"/>
                    </a:lnTo>
                    <a:lnTo>
                      <a:pt x="844" y="609"/>
                    </a:lnTo>
                    <a:lnTo>
                      <a:pt x="812" y="564"/>
                    </a:lnTo>
                    <a:lnTo>
                      <a:pt x="778" y="521"/>
                    </a:lnTo>
                    <a:lnTo>
                      <a:pt x="743" y="480"/>
                    </a:lnTo>
                    <a:lnTo>
                      <a:pt x="706" y="441"/>
                    </a:lnTo>
                    <a:lnTo>
                      <a:pt x="667" y="403"/>
                    </a:lnTo>
                    <a:lnTo>
                      <a:pt x="627" y="367"/>
                    </a:lnTo>
                    <a:lnTo>
                      <a:pt x="587" y="334"/>
                    </a:lnTo>
                    <a:lnTo>
                      <a:pt x="547" y="303"/>
                    </a:lnTo>
                    <a:lnTo>
                      <a:pt x="506" y="274"/>
                    </a:lnTo>
                    <a:lnTo>
                      <a:pt x="465" y="245"/>
                    </a:lnTo>
                    <a:lnTo>
                      <a:pt x="424" y="220"/>
                    </a:lnTo>
                    <a:lnTo>
                      <a:pt x="384" y="196"/>
                    </a:lnTo>
                    <a:lnTo>
                      <a:pt x="344" y="173"/>
                    </a:lnTo>
                    <a:lnTo>
                      <a:pt x="306" y="153"/>
                    </a:lnTo>
                    <a:lnTo>
                      <a:pt x="269" y="133"/>
                    </a:lnTo>
                    <a:lnTo>
                      <a:pt x="233" y="116"/>
                    </a:lnTo>
                    <a:lnTo>
                      <a:pt x="200" y="101"/>
                    </a:lnTo>
                    <a:lnTo>
                      <a:pt x="167" y="87"/>
                    </a:lnTo>
                    <a:lnTo>
                      <a:pt x="137" y="74"/>
                    </a:lnTo>
                    <a:lnTo>
                      <a:pt x="85" y="53"/>
                    </a:lnTo>
                    <a:lnTo>
                      <a:pt x="45" y="39"/>
                    </a:lnTo>
                    <a:lnTo>
                      <a:pt x="19" y="31"/>
                    </a:lnTo>
                    <a:lnTo>
                      <a:pt x="9" y="27"/>
                    </a:lnTo>
                    <a:lnTo>
                      <a:pt x="5" y="25"/>
                    </a:lnTo>
                    <a:lnTo>
                      <a:pt x="2" y="21"/>
                    </a:lnTo>
                    <a:lnTo>
                      <a:pt x="0" y="16"/>
                    </a:lnTo>
                    <a:lnTo>
                      <a:pt x="0" y="10"/>
                    </a:lnTo>
                    <a:lnTo>
                      <a:pt x="3" y="6"/>
                    </a:lnTo>
                    <a:lnTo>
                      <a:pt x="6" y="3"/>
                    </a:lnTo>
                    <a:lnTo>
                      <a:pt x="12" y="0"/>
                    </a:lnTo>
                    <a:lnTo>
                      <a:pt x="17" y="1"/>
                    </a:lnTo>
                    <a:lnTo>
                      <a:pt x="27" y="5"/>
                    </a:lnTo>
                    <a:lnTo>
                      <a:pt x="54" y="13"/>
                    </a:lnTo>
                    <a:lnTo>
                      <a:pt x="95" y="27"/>
                    </a:lnTo>
                    <a:lnTo>
                      <a:pt x="148" y="49"/>
                    </a:lnTo>
                    <a:lnTo>
                      <a:pt x="178" y="62"/>
                    </a:lnTo>
                    <a:lnTo>
                      <a:pt x="210" y="76"/>
                    </a:lnTo>
                    <a:lnTo>
                      <a:pt x="245" y="92"/>
                    </a:lnTo>
                    <a:lnTo>
                      <a:pt x="282" y="109"/>
                    </a:lnTo>
                    <a:lnTo>
                      <a:pt x="319" y="129"/>
                    </a:lnTo>
                    <a:lnTo>
                      <a:pt x="358" y="150"/>
                    </a:lnTo>
                    <a:lnTo>
                      <a:pt x="398" y="173"/>
                    </a:lnTo>
                    <a:lnTo>
                      <a:pt x="439" y="198"/>
                    </a:lnTo>
                    <a:lnTo>
                      <a:pt x="481" y="224"/>
                    </a:lnTo>
                    <a:lnTo>
                      <a:pt x="522" y="253"/>
                    </a:lnTo>
                    <a:lnTo>
                      <a:pt x="565" y="283"/>
                    </a:lnTo>
                    <a:lnTo>
                      <a:pt x="606" y="315"/>
                    </a:lnTo>
                    <a:lnTo>
                      <a:pt x="647" y="349"/>
                    </a:lnTo>
                    <a:lnTo>
                      <a:pt x="687" y="385"/>
                    </a:lnTo>
                    <a:lnTo>
                      <a:pt x="726" y="424"/>
                    </a:lnTo>
                    <a:lnTo>
                      <a:pt x="764" y="463"/>
                    </a:lnTo>
                    <a:lnTo>
                      <a:pt x="800" y="506"/>
                    </a:lnTo>
                    <a:lnTo>
                      <a:pt x="836" y="550"/>
                    </a:lnTo>
                    <a:lnTo>
                      <a:pt x="868" y="596"/>
                    </a:lnTo>
                    <a:lnTo>
                      <a:pt x="898" y="645"/>
                    </a:lnTo>
                    <a:lnTo>
                      <a:pt x="926" y="696"/>
                    </a:lnTo>
                    <a:lnTo>
                      <a:pt x="951" y="748"/>
                    </a:lnTo>
                    <a:lnTo>
                      <a:pt x="973" y="804"/>
                    </a:lnTo>
                    <a:lnTo>
                      <a:pt x="991" y="861"/>
                    </a:lnTo>
                    <a:lnTo>
                      <a:pt x="1007" y="919"/>
                    </a:lnTo>
                    <a:lnTo>
                      <a:pt x="1022" y="978"/>
                    </a:lnTo>
                    <a:lnTo>
                      <a:pt x="1037" y="1037"/>
                    </a:lnTo>
                    <a:lnTo>
                      <a:pt x="1050" y="1095"/>
                    </a:lnTo>
                    <a:lnTo>
                      <a:pt x="1063" y="1152"/>
                    </a:lnTo>
                    <a:lnTo>
                      <a:pt x="1074" y="1210"/>
                    </a:lnTo>
                    <a:lnTo>
                      <a:pt x="1085" y="1268"/>
                    </a:lnTo>
                    <a:lnTo>
                      <a:pt x="1095" y="1324"/>
                    </a:lnTo>
                    <a:lnTo>
                      <a:pt x="1104" y="1380"/>
                    </a:lnTo>
                    <a:lnTo>
                      <a:pt x="1113" y="1435"/>
                    </a:lnTo>
                    <a:lnTo>
                      <a:pt x="1121" y="1489"/>
                    </a:lnTo>
                    <a:lnTo>
                      <a:pt x="1127" y="1542"/>
                    </a:lnTo>
                    <a:lnTo>
                      <a:pt x="1139" y="1643"/>
                    </a:lnTo>
                    <a:lnTo>
                      <a:pt x="1149" y="1738"/>
                    </a:lnTo>
                    <a:lnTo>
                      <a:pt x="1156" y="1826"/>
                    </a:lnTo>
                    <a:lnTo>
                      <a:pt x="1163" y="1906"/>
                    </a:lnTo>
                    <a:lnTo>
                      <a:pt x="1166" y="1977"/>
                    </a:lnTo>
                    <a:lnTo>
                      <a:pt x="1169" y="2037"/>
                    </a:lnTo>
                    <a:lnTo>
                      <a:pt x="1171" y="2086"/>
                    </a:lnTo>
                    <a:lnTo>
                      <a:pt x="1172" y="2123"/>
                    </a:lnTo>
                    <a:lnTo>
                      <a:pt x="1172" y="2146"/>
                    </a:lnTo>
                    <a:lnTo>
                      <a:pt x="1172" y="2155"/>
                    </a:lnTo>
                    <a:lnTo>
                      <a:pt x="1171" y="2160"/>
                    </a:lnTo>
                    <a:lnTo>
                      <a:pt x="1168" y="2165"/>
                    </a:lnTo>
                    <a:lnTo>
                      <a:pt x="1164" y="2167"/>
                    </a:lnTo>
                    <a:lnTo>
                      <a:pt x="1158" y="2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96"/>
              <p:cNvSpPr>
                <a:spLocks/>
              </p:cNvSpPr>
              <p:nvPr userDrawn="1"/>
            </p:nvSpPr>
            <p:spPr bwMode="auto">
              <a:xfrm>
                <a:off x="946" y="3022"/>
                <a:ext cx="372" cy="812"/>
              </a:xfrm>
              <a:custGeom>
                <a:avLst/>
                <a:gdLst>
                  <a:gd name="T0" fmla="*/ 928 w 1116"/>
                  <a:gd name="T1" fmla="*/ 2427 h 2437"/>
                  <a:gd name="T2" fmla="*/ 853 w 1116"/>
                  <a:gd name="T3" fmla="*/ 2324 h 2437"/>
                  <a:gd name="T4" fmla="*/ 793 w 1116"/>
                  <a:gd name="T5" fmla="*/ 2215 h 2437"/>
                  <a:gd name="T6" fmla="*/ 738 w 1116"/>
                  <a:gd name="T7" fmla="*/ 2073 h 2437"/>
                  <a:gd name="T8" fmla="*/ 704 w 1116"/>
                  <a:gd name="T9" fmla="*/ 1901 h 2437"/>
                  <a:gd name="T10" fmla="*/ 703 w 1116"/>
                  <a:gd name="T11" fmla="*/ 1703 h 2437"/>
                  <a:gd name="T12" fmla="*/ 751 w 1116"/>
                  <a:gd name="T13" fmla="*/ 1482 h 2437"/>
                  <a:gd name="T14" fmla="*/ 855 w 1116"/>
                  <a:gd name="T15" fmla="*/ 1249 h 2437"/>
                  <a:gd name="T16" fmla="*/ 951 w 1116"/>
                  <a:gd name="T17" fmla="*/ 1043 h 2437"/>
                  <a:gd name="T18" fmla="*/ 1022 w 1116"/>
                  <a:gd name="T19" fmla="*/ 854 h 2437"/>
                  <a:gd name="T20" fmla="*/ 1068 w 1116"/>
                  <a:gd name="T21" fmla="*/ 684 h 2437"/>
                  <a:gd name="T22" fmla="*/ 1088 w 1116"/>
                  <a:gd name="T23" fmla="*/ 531 h 2437"/>
                  <a:gd name="T24" fmla="*/ 1084 w 1116"/>
                  <a:gd name="T25" fmla="*/ 399 h 2437"/>
                  <a:gd name="T26" fmla="*/ 1055 w 1116"/>
                  <a:gd name="T27" fmla="*/ 284 h 2437"/>
                  <a:gd name="T28" fmla="*/ 1001 w 1116"/>
                  <a:gd name="T29" fmla="*/ 190 h 2437"/>
                  <a:gd name="T30" fmla="*/ 918 w 1116"/>
                  <a:gd name="T31" fmla="*/ 116 h 2437"/>
                  <a:gd name="T32" fmla="*/ 805 w 1116"/>
                  <a:gd name="T33" fmla="*/ 62 h 2437"/>
                  <a:gd name="T34" fmla="*/ 676 w 1116"/>
                  <a:gd name="T35" fmla="*/ 35 h 2437"/>
                  <a:gd name="T36" fmla="*/ 540 w 1116"/>
                  <a:gd name="T37" fmla="*/ 29 h 2437"/>
                  <a:gd name="T38" fmla="*/ 404 w 1116"/>
                  <a:gd name="T39" fmla="*/ 42 h 2437"/>
                  <a:gd name="T40" fmla="*/ 274 w 1116"/>
                  <a:gd name="T41" fmla="*/ 69 h 2437"/>
                  <a:gd name="T42" fmla="*/ 161 w 1116"/>
                  <a:gd name="T43" fmla="*/ 106 h 2437"/>
                  <a:gd name="T44" fmla="*/ 70 w 1116"/>
                  <a:gd name="T45" fmla="*/ 148 h 2437"/>
                  <a:gd name="T46" fmla="*/ 18 w 1116"/>
                  <a:gd name="T47" fmla="*/ 184 h 2437"/>
                  <a:gd name="T48" fmla="*/ 1 w 1116"/>
                  <a:gd name="T49" fmla="*/ 175 h 2437"/>
                  <a:gd name="T50" fmla="*/ 19 w 1116"/>
                  <a:gd name="T51" fmla="*/ 149 h 2437"/>
                  <a:gd name="T52" fmla="*/ 99 w 1116"/>
                  <a:gd name="T53" fmla="*/ 103 h 2437"/>
                  <a:gd name="T54" fmla="*/ 205 w 1116"/>
                  <a:gd name="T55" fmla="*/ 61 h 2437"/>
                  <a:gd name="T56" fmla="*/ 331 w 1116"/>
                  <a:gd name="T57" fmla="*/ 26 h 2437"/>
                  <a:gd name="T58" fmla="*/ 470 w 1116"/>
                  <a:gd name="T59" fmla="*/ 6 h 2437"/>
                  <a:gd name="T60" fmla="*/ 611 w 1116"/>
                  <a:gd name="T61" fmla="*/ 1 h 2437"/>
                  <a:gd name="T62" fmla="*/ 749 w 1116"/>
                  <a:gd name="T63" fmla="*/ 19 h 2437"/>
                  <a:gd name="T64" fmla="*/ 877 w 1116"/>
                  <a:gd name="T65" fmla="*/ 61 h 2437"/>
                  <a:gd name="T66" fmla="*/ 975 w 1116"/>
                  <a:gd name="T67" fmla="*/ 126 h 2437"/>
                  <a:gd name="T68" fmla="*/ 1033 w 1116"/>
                  <a:gd name="T69" fmla="*/ 189 h 2437"/>
                  <a:gd name="T70" fmla="*/ 1080 w 1116"/>
                  <a:gd name="T71" fmla="*/ 275 h 2437"/>
                  <a:gd name="T72" fmla="*/ 1109 w 1116"/>
                  <a:gd name="T73" fmla="*/ 382 h 2437"/>
                  <a:gd name="T74" fmla="*/ 1116 w 1116"/>
                  <a:gd name="T75" fmla="*/ 518 h 2437"/>
                  <a:gd name="T76" fmla="*/ 1096 w 1116"/>
                  <a:gd name="T77" fmla="*/ 684 h 2437"/>
                  <a:gd name="T78" fmla="*/ 1042 w 1116"/>
                  <a:gd name="T79" fmla="*/ 881 h 2437"/>
                  <a:gd name="T80" fmla="*/ 949 w 1116"/>
                  <a:gd name="T81" fmla="*/ 1115 h 2437"/>
                  <a:gd name="T82" fmla="*/ 823 w 1116"/>
                  <a:gd name="T83" fmla="*/ 1374 h 2437"/>
                  <a:gd name="T84" fmla="*/ 747 w 1116"/>
                  <a:gd name="T85" fmla="*/ 1600 h 2437"/>
                  <a:gd name="T86" fmla="*/ 725 w 1116"/>
                  <a:gd name="T87" fmla="*/ 1804 h 2437"/>
                  <a:gd name="T88" fmla="*/ 744 w 1116"/>
                  <a:gd name="T89" fmla="*/ 1984 h 2437"/>
                  <a:gd name="T90" fmla="*/ 789 w 1116"/>
                  <a:gd name="T91" fmla="*/ 2138 h 2437"/>
                  <a:gd name="T92" fmla="*/ 846 w 1116"/>
                  <a:gd name="T93" fmla="*/ 2260 h 2437"/>
                  <a:gd name="T94" fmla="*/ 914 w 1116"/>
                  <a:gd name="T95" fmla="*/ 2365 h 2437"/>
                  <a:gd name="T96" fmla="*/ 957 w 1116"/>
                  <a:gd name="T97" fmla="*/ 2418 h 2437"/>
                  <a:gd name="T98" fmla="*/ 949 w 1116"/>
                  <a:gd name="T99" fmla="*/ 2437 h 2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6" h="2437">
                    <a:moveTo>
                      <a:pt x="944" y="2437"/>
                    </a:moveTo>
                    <a:lnTo>
                      <a:pt x="939" y="2437"/>
                    </a:lnTo>
                    <a:lnTo>
                      <a:pt x="934" y="2433"/>
                    </a:lnTo>
                    <a:lnTo>
                      <a:pt x="928" y="2427"/>
                    </a:lnTo>
                    <a:lnTo>
                      <a:pt x="914" y="2410"/>
                    </a:lnTo>
                    <a:lnTo>
                      <a:pt x="893" y="2383"/>
                    </a:lnTo>
                    <a:lnTo>
                      <a:pt x="868" y="2346"/>
                    </a:lnTo>
                    <a:lnTo>
                      <a:pt x="853" y="2324"/>
                    </a:lnTo>
                    <a:lnTo>
                      <a:pt x="839" y="2301"/>
                    </a:lnTo>
                    <a:lnTo>
                      <a:pt x="824" y="2275"/>
                    </a:lnTo>
                    <a:lnTo>
                      <a:pt x="809" y="2246"/>
                    </a:lnTo>
                    <a:lnTo>
                      <a:pt x="793" y="2215"/>
                    </a:lnTo>
                    <a:lnTo>
                      <a:pt x="778" y="2183"/>
                    </a:lnTo>
                    <a:lnTo>
                      <a:pt x="764" y="2148"/>
                    </a:lnTo>
                    <a:lnTo>
                      <a:pt x="751" y="2112"/>
                    </a:lnTo>
                    <a:lnTo>
                      <a:pt x="738" y="2073"/>
                    </a:lnTo>
                    <a:lnTo>
                      <a:pt x="728" y="2033"/>
                    </a:lnTo>
                    <a:lnTo>
                      <a:pt x="718" y="1991"/>
                    </a:lnTo>
                    <a:lnTo>
                      <a:pt x="709" y="1947"/>
                    </a:lnTo>
                    <a:lnTo>
                      <a:pt x="704" y="1901"/>
                    </a:lnTo>
                    <a:lnTo>
                      <a:pt x="700" y="1854"/>
                    </a:lnTo>
                    <a:lnTo>
                      <a:pt x="698" y="1805"/>
                    </a:lnTo>
                    <a:lnTo>
                      <a:pt x="700" y="1754"/>
                    </a:lnTo>
                    <a:lnTo>
                      <a:pt x="703" y="1703"/>
                    </a:lnTo>
                    <a:lnTo>
                      <a:pt x="710" y="1650"/>
                    </a:lnTo>
                    <a:lnTo>
                      <a:pt x="720" y="1595"/>
                    </a:lnTo>
                    <a:lnTo>
                      <a:pt x="734" y="1540"/>
                    </a:lnTo>
                    <a:lnTo>
                      <a:pt x="751" y="1482"/>
                    </a:lnTo>
                    <a:lnTo>
                      <a:pt x="773" y="1423"/>
                    </a:lnTo>
                    <a:lnTo>
                      <a:pt x="798" y="1364"/>
                    </a:lnTo>
                    <a:lnTo>
                      <a:pt x="828" y="1303"/>
                    </a:lnTo>
                    <a:lnTo>
                      <a:pt x="855" y="1249"/>
                    </a:lnTo>
                    <a:lnTo>
                      <a:pt x="882" y="1196"/>
                    </a:lnTo>
                    <a:lnTo>
                      <a:pt x="907" y="1143"/>
                    </a:lnTo>
                    <a:lnTo>
                      <a:pt x="930" y="1093"/>
                    </a:lnTo>
                    <a:lnTo>
                      <a:pt x="951" y="1043"/>
                    </a:lnTo>
                    <a:lnTo>
                      <a:pt x="972" y="995"/>
                    </a:lnTo>
                    <a:lnTo>
                      <a:pt x="990" y="947"/>
                    </a:lnTo>
                    <a:lnTo>
                      <a:pt x="1007" y="900"/>
                    </a:lnTo>
                    <a:lnTo>
                      <a:pt x="1022" y="854"/>
                    </a:lnTo>
                    <a:lnTo>
                      <a:pt x="1036" y="810"/>
                    </a:lnTo>
                    <a:lnTo>
                      <a:pt x="1048" y="767"/>
                    </a:lnTo>
                    <a:lnTo>
                      <a:pt x="1059" y="725"/>
                    </a:lnTo>
                    <a:lnTo>
                      <a:pt x="1068" y="684"/>
                    </a:lnTo>
                    <a:lnTo>
                      <a:pt x="1075" y="644"/>
                    </a:lnTo>
                    <a:lnTo>
                      <a:pt x="1082" y="606"/>
                    </a:lnTo>
                    <a:lnTo>
                      <a:pt x="1086" y="568"/>
                    </a:lnTo>
                    <a:lnTo>
                      <a:pt x="1088" y="531"/>
                    </a:lnTo>
                    <a:lnTo>
                      <a:pt x="1090" y="497"/>
                    </a:lnTo>
                    <a:lnTo>
                      <a:pt x="1089" y="462"/>
                    </a:lnTo>
                    <a:lnTo>
                      <a:pt x="1088" y="430"/>
                    </a:lnTo>
                    <a:lnTo>
                      <a:pt x="1084" y="399"/>
                    </a:lnTo>
                    <a:lnTo>
                      <a:pt x="1080" y="368"/>
                    </a:lnTo>
                    <a:lnTo>
                      <a:pt x="1073" y="339"/>
                    </a:lnTo>
                    <a:lnTo>
                      <a:pt x="1065" y="311"/>
                    </a:lnTo>
                    <a:lnTo>
                      <a:pt x="1055" y="284"/>
                    </a:lnTo>
                    <a:lnTo>
                      <a:pt x="1044" y="259"/>
                    </a:lnTo>
                    <a:lnTo>
                      <a:pt x="1031" y="236"/>
                    </a:lnTo>
                    <a:lnTo>
                      <a:pt x="1016" y="212"/>
                    </a:lnTo>
                    <a:lnTo>
                      <a:pt x="1001" y="190"/>
                    </a:lnTo>
                    <a:lnTo>
                      <a:pt x="982" y="171"/>
                    </a:lnTo>
                    <a:lnTo>
                      <a:pt x="963" y="151"/>
                    </a:lnTo>
                    <a:lnTo>
                      <a:pt x="943" y="134"/>
                    </a:lnTo>
                    <a:lnTo>
                      <a:pt x="918" y="116"/>
                    </a:lnTo>
                    <a:lnTo>
                      <a:pt x="892" y="100"/>
                    </a:lnTo>
                    <a:lnTo>
                      <a:pt x="864" y="86"/>
                    </a:lnTo>
                    <a:lnTo>
                      <a:pt x="835" y="73"/>
                    </a:lnTo>
                    <a:lnTo>
                      <a:pt x="805" y="62"/>
                    </a:lnTo>
                    <a:lnTo>
                      <a:pt x="774" y="53"/>
                    </a:lnTo>
                    <a:lnTo>
                      <a:pt x="742" y="45"/>
                    </a:lnTo>
                    <a:lnTo>
                      <a:pt x="709" y="39"/>
                    </a:lnTo>
                    <a:lnTo>
                      <a:pt x="676" y="35"/>
                    </a:lnTo>
                    <a:lnTo>
                      <a:pt x="642" y="32"/>
                    </a:lnTo>
                    <a:lnTo>
                      <a:pt x="609" y="29"/>
                    </a:lnTo>
                    <a:lnTo>
                      <a:pt x="574" y="28"/>
                    </a:lnTo>
                    <a:lnTo>
                      <a:pt x="540" y="29"/>
                    </a:lnTo>
                    <a:lnTo>
                      <a:pt x="505" y="31"/>
                    </a:lnTo>
                    <a:lnTo>
                      <a:pt x="471" y="34"/>
                    </a:lnTo>
                    <a:lnTo>
                      <a:pt x="437" y="37"/>
                    </a:lnTo>
                    <a:lnTo>
                      <a:pt x="404" y="42"/>
                    </a:lnTo>
                    <a:lnTo>
                      <a:pt x="370" y="48"/>
                    </a:lnTo>
                    <a:lnTo>
                      <a:pt x="338" y="54"/>
                    </a:lnTo>
                    <a:lnTo>
                      <a:pt x="305" y="61"/>
                    </a:lnTo>
                    <a:lnTo>
                      <a:pt x="274" y="69"/>
                    </a:lnTo>
                    <a:lnTo>
                      <a:pt x="244" y="77"/>
                    </a:lnTo>
                    <a:lnTo>
                      <a:pt x="215" y="87"/>
                    </a:lnTo>
                    <a:lnTo>
                      <a:pt x="188" y="95"/>
                    </a:lnTo>
                    <a:lnTo>
                      <a:pt x="161" y="106"/>
                    </a:lnTo>
                    <a:lnTo>
                      <a:pt x="136" y="116"/>
                    </a:lnTo>
                    <a:lnTo>
                      <a:pt x="112" y="127"/>
                    </a:lnTo>
                    <a:lnTo>
                      <a:pt x="91" y="137"/>
                    </a:lnTo>
                    <a:lnTo>
                      <a:pt x="70" y="148"/>
                    </a:lnTo>
                    <a:lnTo>
                      <a:pt x="53" y="159"/>
                    </a:lnTo>
                    <a:lnTo>
                      <a:pt x="37" y="170"/>
                    </a:lnTo>
                    <a:lnTo>
                      <a:pt x="23" y="182"/>
                    </a:lnTo>
                    <a:lnTo>
                      <a:pt x="18" y="184"/>
                    </a:lnTo>
                    <a:lnTo>
                      <a:pt x="13" y="185"/>
                    </a:lnTo>
                    <a:lnTo>
                      <a:pt x="7" y="184"/>
                    </a:lnTo>
                    <a:lnTo>
                      <a:pt x="3" y="181"/>
                    </a:lnTo>
                    <a:lnTo>
                      <a:pt x="1" y="175"/>
                    </a:lnTo>
                    <a:lnTo>
                      <a:pt x="0" y="170"/>
                    </a:lnTo>
                    <a:lnTo>
                      <a:pt x="2" y="165"/>
                    </a:lnTo>
                    <a:lnTo>
                      <a:pt x="5" y="161"/>
                    </a:lnTo>
                    <a:lnTo>
                      <a:pt x="19" y="149"/>
                    </a:lnTo>
                    <a:lnTo>
                      <a:pt x="37" y="137"/>
                    </a:lnTo>
                    <a:lnTo>
                      <a:pt x="55" y="126"/>
                    </a:lnTo>
                    <a:lnTo>
                      <a:pt x="76" y="114"/>
                    </a:lnTo>
                    <a:lnTo>
                      <a:pt x="99" y="103"/>
                    </a:lnTo>
                    <a:lnTo>
                      <a:pt x="123" y="92"/>
                    </a:lnTo>
                    <a:lnTo>
                      <a:pt x="149" y="81"/>
                    </a:lnTo>
                    <a:lnTo>
                      <a:pt x="177" y="70"/>
                    </a:lnTo>
                    <a:lnTo>
                      <a:pt x="205" y="61"/>
                    </a:lnTo>
                    <a:lnTo>
                      <a:pt x="235" y="51"/>
                    </a:lnTo>
                    <a:lnTo>
                      <a:pt x="267" y="42"/>
                    </a:lnTo>
                    <a:lnTo>
                      <a:pt x="299" y="34"/>
                    </a:lnTo>
                    <a:lnTo>
                      <a:pt x="331" y="26"/>
                    </a:lnTo>
                    <a:lnTo>
                      <a:pt x="365" y="20"/>
                    </a:lnTo>
                    <a:lnTo>
                      <a:pt x="399" y="14"/>
                    </a:lnTo>
                    <a:lnTo>
                      <a:pt x="434" y="9"/>
                    </a:lnTo>
                    <a:lnTo>
                      <a:pt x="470" y="6"/>
                    </a:lnTo>
                    <a:lnTo>
                      <a:pt x="505" y="2"/>
                    </a:lnTo>
                    <a:lnTo>
                      <a:pt x="541" y="1"/>
                    </a:lnTo>
                    <a:lnTo>
                      <a:pt x="575" y="0"/>
                    </a:lnTo>
                    <a:lnTo>
                      <a:pt x="611" y="1"/>
                    </a:lnTo>
                    <a:lnTo>
                      <a:pt x="647" y="4"/>
                    </a:lnTo>
                    <a:lnTo>
                      <a:pt x="681" y="7"/>
                    </a:lnTo>
                    <a:lnTo>
                      <a:pt x="716" y="12"/>
                    </a:lnTo>
                    <a:lnTo>
                      <a:pt x="749" y="19"/>
                    </a:lnTo>
                    <a:lnTo>
                      <a:pt x="783" y="26"/>
                    </a:lnTo>
                    <a:lnTo>
                      <a:pt x="815" y="36"/>
                    </a:lnTo>
                    <a:lnTo>
                      <a:pt x="846" y="48"/>
                    </a:lnTo>
                    <a:lnTo>
                      <a:pt x="877" y="61"/>
                    </a:lnTo>
                    <a:lnTo>
                      <a:pt x="906" y="76"/>
                    </a:lnTo>
                    <a:lnTo>
                      <a:pt x="933" y="93"/>
                    </a:lnTo>
                    <a:lnTo>
                      <a:pt x="960" y="113"/>
                    </a:lnTo>
                    <a:lnTo>
                      <a:pt x="975" y="126"/>
                    </a:lnTo>
                    <a:lnTo>
                      <a:pt x="990" y="140"/>
                    </a:lnTo>
                    <a:lnTo>
                      <a:pt x="1005" y="155"/>
                    </a:lnTo>
                    <a:lnTo>
                      <a:pt x="1019" y="172"/>
                    </a:lnTo>
                    <a:lnTo>
                      <a:pt x="1033" y="189"/>
                    </a:lnTo>
                    <a:lnTo>
                      <a:pt x="1046" y="209"/>
                    </a:lnTo>
                    <a:lnTo>
                      <a:pt x="1058" y="229"/>
                    </a:lnTo>
                    <a:lnTo>
                      <a:pt x="1069" y="251"/>
                    </a:lnTo>
                    <a:lnTo>
                      <a:pt x="1080" y="275"/>
                    </a:lnTo>
                    <a:lnTo>
                      <a:pt x="1088" y="299"/>
                    </a:lnTo>
                    <a:lnTo>
                      <a:pt x="1097" y="325"/>
                    </a:lnTo>
                    <a:lnTo>
                      <a:pt x="1103" y="353"/>
                    </a:lnTo>
                    <a:lnTo>
                      <a:pt x="1109" y="382"/>
                    </a:lnTo>
                    <a:lnTo>
                      <a:pt x="1113" y="414"/>
                    </a:lnTo>
                    <a:lnTo>
                      <a:pt x="1115" y="447"/>
                    </a:lnTo>
                    <a:lnTo>
                      <a:pt x="1116" y="482"/>
                    </a:lnTo>
                    <a:lnTo>
                      <a:pt x="1116" y="518"/>
                    </a:lnTo>
                    <a:lnTo>
                      <a:pt x="1114" y="556"/>
                    </a:lnTo>
                    <a:lnTo>
                      <a:pt x="1110" y="597"/>
                    </a:lnTo>
                    <a:lnTo>
                      <a:pt x="1103" y="639"/>
                    </a:lnTo>
                    <a:lnTo>
                      <a:pt x="1096" y="684"/>
                    </a:lnTo>
                    <a:lnTo>
                      <a:pt x="1085" y="730"/>
                    </a:lnTo>
                    <a:lnTo>
                      <a:pt x="1073" y="779"/>
                    </a:lnTo>
                    <a:lnTo>
                      <a:pt x="1058" y="828"/>
                    </a:lnTo>
                    <a:lnTo>
                      <a:pt x="1042" y="881"/>
                    </a:lnTo>
                    <a:lnTo>
                      <a:pt x="1022" y="936"/>
                    </a:lnTo>
                    <a:lnTo>
                      <a:pt x="1001" y="993"/>
                    </a:lnTo>
                    <a:lnTo>
                      <a:pt x="976" y="1053"/>
                    </a:lnTo>
                    <a:lnTo>
                      <a:pt x="949" y="1115"/>
                    </a:lnTo>
                    <a:lnTo>
                      <a:pt x="920" y="1179"/>
                    </a:lnTo>
                    <a:lnTo>
                      <a:pt x="887" y="1246"/>
                    </a:lnTo>
                    <a:lnTo>
                      <a:pt x="852" y="1316"/>
                    </a:lnTo>
                    <a:lnTo>
                      <a:pt x="823" y="1374"/>
                    </a:lnTo>
                    <a:lnTo>
                      <a:pt x="798" y="1433"/>
                    </a:lnTo>
                    <a:lnTo>
                      <a:pt x="777" y="1490"/>
                    </a:lnTo>
                    <a:lnTo>
                      <a:pt x="760" y="1545"/>
                    </a:lnTo>
                    <a:lnTo>
                      <a:pt x="747" y="1600"/>
                    </a:lnTo>
                    <a:lnTo>
                      <a:pt x="737" y="1653"/>
                    </a:lnTo>
                    <a:lnTo>
                      <a:pt x="730" y="1705"/>
                    </a:lnTo>
                    <a:lnTo>
                      <a:pt x="727" y="1756"/>
                    </a:lnTo>
                    <a:lnTo>
                      <a:pt x="725" y="1804"/>
                    </a:lnTo>
                    <a:lnTo>
                      <a:pt x="727" y="1852"/>
                    </a:lnTo>
                    <a:lnTo>
                      <a:pt x="731" y="1897"/>
                    </a:lnTo>
                    <a:lnTo>
                      <a:pt x="736" y="1941"/>
                    </a:lnTo>
                    <a:lnTo>
                      <a:pt x="744" y="1984"/>
                    </a:lnTo>
                    <a:lnTo>
                      <a:pt x="754" y="2025"/>
                    </a:lnTo>
                    <a:lnTo>
                      <a:pt x="764" y="2064"/>
                    </a:lnTo>
                    <a:lnTo>
                      <a:pt x="776" y="2102"/>
                    </a:lnTo>
                    <a:lnTo>
                      <a:pt x="789" y="2138"/>
                    </a:lnTo>
                    <a:lnTo>
                      <a:pt x="803" y="2171"/>
                    </a:lnTo>
                    <a:lnTo>
                      <a:pt x="817" y="2202"/>
                    </a:lnTo>
                    <a:lnTo>
                      <a:pt x="831" y="2233"/>
                    </a:lnTo>
                    <a:lnTo>
                      <a:pt x="846" y="2260"/>
                    </a:lnTo>
                    <a:lnTo>
                      <a:pt x="860" y="2286"/>
                    </a:lnTo>
                    <a:lnTo>
                      <a:pt x="876" y="2309"/>
                    </a:lnTo>
                    <a:lnTo>
                      <a:pt x="889" y="2330"/>
                    </a:lnTo>
                    <a:lnTo>
                      <a:pt x="914" y="2365"/>
                    </a:lnTo>
                    <a:lnTo>
                      <a:pt x="934" y="2392"/>
                    </a:lnTo>
                    <a:lnTo>
                      <a:pt x="948" y="2409"/>
                    </a:lnTo>
                    <a:lnTo>
                      <a:pt x="953" y="2414"/>
                    </a:lnTo>
                    <a:lnTo>
                      <a:pt x="957" y="2418"/>
                    </a:lnTo>
                    <a:lnTo>
                      <a:pt x="958" y="2424"/>
                    </a:lnTo>
                    <a:lnTo>
                      <a:pt x="957" y="2429"/>
                    </a:lnTo>
                    <a:lnTo>
                      <a:pt x="953" y="2433"/>
                    </a:lnTo>
                    <a:lnTo>
                      <a:pt x="949" y="2437"/>
                    </a:lnTo>
                    <a:lnTo>
                      <a:pt x="944" y="24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97"/>
              <p:cNvSpPr>
                <a:spLocks/>
              </p:cNvSpPr>
              <p:nvPr userDrawn="1"/>
            </p:nvSpPr>
            <p:spPr bwMode="auto">
              <a:xfrm>
                <a:off x="1099" y="3006"/>
                <a:ext cx="1602" cy="402"/>
              </a:xfrm>
              <a:custGeom>
                <a:avLst/>
                <a:gdLst>
                  <a:gd name="T0" fmla="*/ 4784 w 4806"/>
                  <a:gd name="T1" fmla="*/ 1203 h 1207"/>
                  <a:gd name="T2" fmla="*/ 4769 w 4806"/>
                  <a:gd name="T3" fmla="*/ 1175 h 1207"/>
                  <a:gd name="T4" fmla="*/ 4701 w 4806"/>
                  <a:gd name="T5" fmla="*/ 1115 h 1207"/>
                  <a:gd name="T6" fmla="*/ 4577 w 4806"/>
                  <a:gd name="T7" fmla="*/ 1062 h 1207"/>
                  <a:gd name="T8" fmla="*/ 4396 w 4806"/>
                  <a:gd name="T9" fmla="*/ 1017 h 1207"/>
                  <a:gd name="T10" fmla="*/ 4157 w 4806"/>
                  <a:gd name="T11" fmla="*/ 979 h 1207"/>
                  <a:gd name="T12" fmla="*/ 3862 w 4806"/>
                  <a:gd name="T13" fmla="*/ 950 h 1207"/>
                  <a:gd name="T14" fmla="*/ 3511 w 4806"/>
                  <a:gd name="T15" fmla="*/ 927 h 1207"/>
                  <a:gd name="T16" fmla="*/ 3103 w 4806"/>
                  <a:gd name="T17" fmla="*/ 913 h 1207"/>
                  <a:gd name="T18" fmla="*/ 2640 w 4806"/>
                  <a:gd name="T19" fmla="*/ 905 h 1207"/>
                  <a:gd name="T20" fmla="*/ 2120 w 4806"/>
                  <a:gd name="T21" fmla="*/ 907 h 1207"/>
                  <a:gd name="T22" fmla="*/ 1545 w 4806"/>
                  <a:gd name="T23" fmla="*/ 915 h 1207"/>
                  <a:gd name="T24" fmla="*/ 1216 w 4806"/>
                  <a:gd name="T25" fmla="*/ 923 h 1207"/>
                  <a:gd name="T26" fmla="*/ 1095 w 4806"/>
                  <a:gd name="T27" fmla="*/ 915 h 1207"/>
                  <a:gd name="T28" fmla="*/ 932 w 4806"/>
                  <a:gd name="T29" fmla="*/ 877 h 1207"/>
                  <a:gd name="T30" fmla="*/ 774 w 4806"/>
                  <a:gd name="T31" fmla="*/ 815 h 1207"/>
                  <a:gd name="T32" fmla="*/ 624 w 4806"/>
                  <a:gd name="T33" fmla="*/ 729 h 1207"/>
                  <a:gd name="T34" fmla="*/ 486 w 4806"/>
                  <a:gd name="T35" fmla="*/ 630 h 1207"/>
                  <a:gd name="T36" fmla="*/ 360 w 4806"/>
                  <a:gd name="T37" fmla="*/ 521 h 1207"/>
                  <a:gd name="T38" fmla="*/ 249 w 4806"/>
                  <a:gd name="T39" fmla="*/ 407 h 1207"/>
                  <a:gd name="T40" fmla="*/ 155 w 4806"/>
                  <a:gd name="T41" fmla="*/ 293 h 1207"/>
                  <a:gd name="T42" fmla="*/ 81 w 4806"/>
                  <a:gd name="T43" fmla="*/ 188 h 1207"/>
                  <a:gd name="T44" fmla="*/ 29 w 4806"/>
                  <a:gd name="T45" fmla="*/ 93 h 1207"/>
                  <a:gd name="T46" fmla="*/ 0 w 4806"/>
                  <a:gd name="T47" fmla="*/ 16 h 1207"/>
                  <a:gd name="T48" fmla="*/ 5 w 4806"/>
                  <a:gd name="T49" fmla="*/ 2 h 1207"/>
                  <a:gd name="T50" fmla="*/ 19 w 4806"/>
                  <a:gd name="T51" fmla="*/ 1 h 1207"/>
                  <a:gd name="T52" fmla="*/ 32 w 4806"/>
                  <a:gd name="T53" fmla="*/ 29 h 1207"/>
                  <a:gd name="T54" fmla="*/ 66 w 4806"/>
                  <a:gd name="T55" fmla="*/ 103 h 1207"/>
                  <a:gd name="T56" fmla="*/ 122 w 4806"/>
                  <a:gd name="T57" fmla="*/ 197 h 1207"/>
                  <a:gd name="T58" fmla="*/ 199 w 4806"/>
                  <a:gd name="T59" fmla="*/ 304 h 1207"/>
                  <a:gd name="T60" fmla="*/ 297 w 4806"/>
                  <a:gd name="T61" fmla="*/ 418 h 1207"/>
                  <a:gd name="T62" fmla="*/ 410 w 4806"/>
                  <a:gd name="T63" fmla="*/ 531 h 1207"/>
                  <a:gd name="T64" fmla="*/ 538 w 4806"/>
                  <a:gd name="T65" fmla="*/ 639 h 1207"/>
                  <a:gd name="T66" fmla="*/ 681 w 4806"/>
                  <a:gd name="T67" fmla="*/ 736 h 1207"/>
                  <a:gd name="T68" fmla="*/ 833 w 4806"/>
                  <a:gd name="T69" fmla="*/ 815 h 1207"/>
                  <a:gd name="T70" fmla="*/ 996 w 4806"/>
                  <a:gd name="T71" fmla="*/ 870 h 1207"/>
                  <a:gd name="T72" fmla="*/ 1166 w 4806"/>
                  <a:gd name="T73" fmla="*/ 895 h 1207"/>
                  <a:gd name="T74" fmla="*/ 1515 w 4806"/>
                  <a:gd name="T75" fmla="*/ 888 h 1207"/>
                  <a:gd name="T76" fmla="*/ 2215 w 4806"/>
                  <a:gd name="T77" fmla="*/ 877 h 1207"/>
                  <a:gd name="T78" fmla="*/ 2629 w 4806"/>
                  <a:gd name="T79" fmla="*/ 877 h 1207"/>
                  <a:gd name="T80" fmla="*/ 3057 w 4806"/>
                  <a:gd name="T81" fmla="*/ 883 h 1207"/>
                  <a:gd name="T82" fmla="*/ 3480 w 4806"/>
                  <a:gd name="T83" fmla="*/ 898 h 1207"/>
                  <a:gd name="T84" fmla="*/ 3877 w 4806"/>
                  <a:gd name="T85" fmla="*/ 925 h 1207"/>
                  <a:gd name="T86" fmla="*/ 4229 w 4806"/>
                  <a:gd name="T87" fmla="*/ 964 h 1207"/>
                  <a:gd name="T88" fmla="*/ 4514 w 4806"/>
                  <a:gd name="T89" fmla="*/ 1020 h 1207"/>
                  <a:gd name="T90" fmla="*/ 4713 w 4806"/>
                  <a:gd name="T91" fmla="*/ 1094 h 1207"/>
                  <a:gd name="T92" fmla="*/ 4805 w 4806"/>
                  <a:gd name="T93" fmla="*/ 1189 h 1207"/>
                  <a:gd name="T94" fmla="*/ 4801 w 4806"/>
                  <a:gd name="T95" fmla="*/ 1203 h 1207"/>
                  <a:gd name="T96" fmla="*/ 4792 w 4806"/>
                  <a:gd name="T97" fmla="*/ 1207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06" h="1207">
                    <a:moveTo>
                      <a:pt x="4792" y="1207"/>
                    </a:moveTo>
                    <a:lnTo>
                      <a:pt x="4788" y="1206"/>
                    </a:lnTo>
                    <a:lnTo>
                      <a:pt x="4784" y="1203"/>
                    </a:lnTo>
                    <a:lnTo>
                      <a:pt x="4781" y="1201"/>
                    </a:lnTo>
                    <a:lnTo>
                      <a:pt x="4779" y="1197"/>
                    </a:lnTo>
                    <a:lnTo>
                      <a:pt x="4769" y="1175"/>
                    </a:lnTo>
                    <a:lnTo>
                      <a:pt x="4753" y="1154"/>
                    </a:lnTo>
                    <a:lnTo>
                      <a:pt x="4730" y="1134"/>
                    </a:lnTo>
                    <a:lnTo>
                      <a:pt x="4701" y="1115"/>
                    </a:lnTo>
                    <a:lnTo>
                      <a:pt x="4667" y="1096"/>
                    </a:lnTo>
                    <a:lnTo>
                      <a:pt x="4625" y="1078"/>
                    </a:lnTo>
                    <a:lnTo>
                      <a:pt x="4577" y="1062"/>
                    </a:lnTo>
                    <a:lnTo>
                      <a:pt x="4523" y="1046"/>
                    </a:lnTo>
                    <a:lnTo>
                      <a:pt x="4463" y="1031"/>
                    </a:lnTo>
                    <a:lnTo>
                      <a:pt x="4396" y="1017"/>
                    </a:lnTo>
                    <a:lnTo>
                      <a:pt x="4322" y="1004"/>
                    </a:lnTo>
                    <a:lnTo>
                      <a:pt x="4242" y="991"/>
                    </a:lnTo>
                    <a:lnTo>
                      <a:pt x="4157" y="979"/>
                    </a:lnTo>
                    <a:lnTo>
                      <a:pt x="4065" y="968"/>
                    </a:lnTo>
                    <a:lnTo>
                      <a:pt x="3967" y="958"/>
                    </a:lnTo>
                    <a:lnTo>
                      <a:pt x="3862" y="950"/>
                    </a:lnTo>
                    <a:lnTo>
                      <a:pt x="3751" y="941"/>
                    </a:lnTo>
                    <a:lnTo>
                      <a:pt x="3634" y="933"/>
                    </a:lnTo>
                    <a:lnTo>
                      <a:pt x="3511" y="927"/>
                    </a:lnTo>
                    <a:lnTo>
                      <a:pt x="3382" y="922"/>
                    </a:lnTo>
                    <a:lnTo>
                      <a:pt x="3246" y="916"/>
                    </a:lnTo>
                    <a:lnTo>
                      <a:pt x="3103" y="913"/>
                    </a:lnTo>
                    <a:lnTo>
                      <a:pt x="2955" y="910"/>
                    </a:lnTo>
                    <a:lnTo>
                      <a:pt x="2801" y="908"/>
                    </a:lnTo>
                    <a:lnTo>
                      <a:pt x="2640" y="905"/>
                    </a:lnTo>
                    <a:lnTo>
                      <a:pt x="2472" y="905"/>
                    </a:lnTo>
                    <a:lnTo>
                      <a:pt x="2300" y="905"/>
                    </a:lnTo>
                    <a:lnTo>
                      <a:pt x="2120" y="907"/>
                    </a:lnTo>
                    <a:lnTo>
                      <a:pt x="1935" y="909"/>
                    </a:lnTo>
                    <a:lnTo>
                      <a:pt x="1742" y="912"/>
                    </a:lnTo>
                    <a:lnTo>
                      <a:pt x="1545" y="915"/>
                    </a:lnTo>
                    <a:lnTo>
                      <a:pt x="1341" y="919"/>
                    </a:lnTo>
                    <a:lnTo>
                      <a:pt x="1224" y="923"/>
                    </a:lnTo>
                    <a:lnTo>
                      <a:pt x="1216" y="923"/>
                    </a:lnTo>
                    <a:lnTo>
                      <a:pt x="1207" y="923"/>
                    </a:lnTo>
                    <a:lnTo>
                      <a:pt x="1151" y="921"/>
                    </a:lnTo>
                    <a:lnTo>
                      <a:pt x="1095" y="915"/>
                    </a:lnTo>
                    <a:lnTo>
                      <a:pt x="1040" y="905"/>
                    </a:lnTo>
                    <a:lnTo>
                      <a:pt x="986" y="894"/>
                    </a:lnTo>
                    <a:lnTo>
                      <a:pt x="932" y="877"/>
                    </a:lnTo>
                    <a:lnTo>
                      <a:pt x="878" y="859"/>
                    </a:lnTo>
                    <a:lnTo>
                      <a:pt x="826" y="838"/>
                    </a:lnTo>
                    <a:lnTo>
                      <a:pt x="774" y="815"/>
                    </a:lnTo>
                    <a:lnTo>
                      <a:pt x="723" y="788"/>
                    </a:lnTo>
                    <a:lnTo>
                      <a:pt x="673" y="760"/>
                    </a:lnTo>
                    <a:lnTo>
                      <a:pt x="624" y="729"/>
                    </a:lnTo>
                    <a:lnTo>
                      <a:pt x="576" y="698"/>
                    </a:lnTo>
                    <a:lnTo>
                      <a:pt x="531" y="665"/>
                    </a:lnTo>
                    <a:lnTo>
                      <a:pt x="486" y="630"/>
                    </a:lnTo>
                    <a:lnTo>
                      <a:pt x="442" y="595"/>
                    </a:lnTo>
                    <a:lnTo>
                      <a:pt x="400" y="558"/>
                    </a:lnTo>
                    <a:lnTo>
                      <a:pt x="360" y="521"/>
                    </a:lnTo>
                    <a:lnTo>
                      <a:pt x="321" y="483"/>
                    </a:lnTo>
                    <a:lnTo>
                      <a:pt x="284" y="444"/>
                    </a:lnTo>
                    <a:lnTo>
                      <a:pt x="249" y="407"/>
                    </a:lnTo>
                    <a:lnTo>
                      <a:pt x="216" y="369"/>
                    </a:lnTo>
                    <a:lnTo>
                      <a:pt x="184" y="331"/>
                    </a:lnTo>
                    <a:lnTo>
                      <a:pt x="155" y="293"/>
                    </a:lnTo>
                    <a:lnTo>
                      <a:pt x="128" y="258"/>
                    </a:lnTo>
                    <a:lnTo>
                      <a:pt x="103" y="222"/>
                    </a:lnTo>
                    <a:lnTo>
                      <a:pt x="81" y="188"/>
                    </a:lnTo>
                    <a:lnTo>
                      <a:pt x="61" y="154"/>
                    </a:lnTo>
                    <a:lnTo>
                      <a:pt x="44" y="123"/>
                    </a:lnTo>
                    <a:lnTo>
                      <a:pt x="29" y="93"/>
                    </a:lnTo>
                    <a:lnTo>
                      <a:pt x="16" y="65"/>
                    </a:lnTo>
                    <a:lnTo>
                      <a:pt x="6" y="40"/>
                    </a:lnTo>
                    <a:lnTo>
                      <a:pt x="0" y="16"/>
                    </a:lnTo>
                    <a:lnTo>
                      <a:pt x="0" y="11"/>
                    </a:lnTo>
                    <a:lnTo>
                      <a:pt x="1" y="5"/>
                    </a:lnTo>
                    <a:lnTo>
                      <a:pt x="5" y="2"/>
                    </a:lnTo>
                    <a:lnTo>
                      <a:pt x="9" y="0"/>
                    </a:lnTo>
                    <a:lnTo>
                      <a:pt x="15" y="0"/>
                    </a:lnTo>
                    <a:lnTo>
                      <a:pt x="19" y="1"/>
                    </a:lnTo>
                    <a:lnTo>
                      <a:pt x="23" y="4"/>
                    </a:lnTo>
                    <a:lnTo>
                      <a:pt x="26" y="9"/>
                    </a:lnTo>
                    <a:lnTo>
                      <a:pt x="32" y="29"/>
                    </a:lnTo>
                    <a:lnTo>
                      <a:pt x="41" y="52"/>
                    </a:lnTo>
                    <a:lnTo>
                      <a:pt x="51" y="76"/>
                    </a:lnTo>
                    <a:lnTo>
                      <a:pt x="66" y="103"/>
                    </a:lnTo>
                    <a:lnTo>
                      <a:pt x="82" y="134"/>
                    </a:lnTo>
                    <a:lnTo>
                      <a:pt x="101" y="165"/>
                    </a:lnTo>
                    <a:lnTo>
                      <a:pt x="122" y="197"/>
                    </a:lnTo>
                    <a:lnTo>
                      <a:pt x="145" y="232"/>
                    </a:lnTo>
                    <a:lnTo>
                      <a:pt x="171" y="267"/>
                    </a:lnTo>
                    <a:lnTo>
                      <a:pt x="199" y="304"/>
                    </a:lnTo>
                    <a:lnTo>
                      <a:pt x="230" y="341"/>
                    </a:lnTo>
                    <a:lnTo>
                      <a:pt x="262" y="379"/>
                    </a:lnTo>
                    <a:lnTo>
                      <a:pt x="297" y="418"/>
                    </a:lnTo>
                    <a:lnTo>
                      <a:pt x="332" y="455"/>
                    </a:lnTo>
                    <a:lnTo>
                      <a:pt x="370" y="493"/>
                    </a:lnTo>
                    <a:lnTo>
                      <a:pt x="410" y="531"/>
                    </a:lnTo>
                    <a:lnTo>
                      <a:pt x="451" y="568"/>
                    </a:lnTo>
                    <a:lnTo>
                      <a:pt x="494" y="604"/>
                    </a:lnTo>
                    <a:lnTo>
                      <a:pt x="538" y="639"/>
                    </a:lnTo>
                    <a:lnTo>
                      <a:pt x="585" y="672"/>
                    </a:lnTo>
                    <a:lnTo>
                      <a:pt x="632" y="705"/>
                    </a:lnTo>
                    <a:lnTo>
                      <a:pt x="681" y="736"/>
                    </a:lnTo>
                    <a:lnTo>
                      <a:pt x="731" y="764"/>
                    </a:lnTo>
                    <a:lnTo>
                      <a:pt x="781" y="790"/>
                    </a:lnTo>
                    <a:lnTo>
                      <a:pt x="833" y="815"/>
                    </a:lnTo>
                    <a:lnTo>
                      <a:pt x="887" y="835"/>
                    </a:lnTo>
                    <a:lnTo>
                      <a:pt x="941" y="855"/>
                    </a:lnTo>
                    <a:lnTo>
                      <a:pt x="996" y="870"/>
                    </a:lnTo>
                    <a:lnTo>
                      <a:pt x="1051" y="882"/>
                    </a:lnTo>
                    <a:lnTo>
                      <a:pt x="1109" y="890"/>
                    </a:lnTo>
                    <a:lnTo>
                      <a:pt x="1166" y="895"/>
                    </a:lnTo>
                    <a:lnTo>
                      <a:pt x="1223" y="896"/>
                    </a:lnTo>
                    <a:lnTo>
                      <a:pt x="1340" y="892"/>
                    </a:lnTo>
                    <a:lnTo>
                      <a:pt x="1515" y="888"/>
                    </a:lnTo>
                    <a:lnTo>
                      <a:pt x="1722" y="884"/>
                    </a:lnTo>
                    <a:lnTo>
                      <a:pt x="1957" y="881"/>
                    </a:lnTo>
                    <a:lnTo>
                      <a:pt x="2215" y="877"/>
                    </a:lnTo>
                    <a:lnTo>
                      <a:pt x="2350" y="877"/>
                    </a:lnTo>
                    <a:lnTo>
                      <a:pt x="2489" y="876"/>
                    </a:lnTo>
                    <a:lnTo>
                      <a:pt x="2629" y="877"/>
                    </a:lnTo>
                    <a:lnTo>
                      <a:pt x="2770" y="878"/>
                    </a:lnTo>
                    <a:lnTo>
                      <a:pt x="2914" y="881"/>
                    </a:lnTo>
                    <a:lnTo>
                      <a:pt x="3057" y="883"/>
                    </a:lnTo>
                    <a:lnTo>
                      <a:pt x="3199" y="887"/>
                    </a:lnTo>
                    <a:lnTo>
                      <a:pt x="3341" y="892"/>
                    </a:lnTo>
                    <a:lnTo>
                      <a:pt x="3480" y="898"/>
                    </a:lnTo>
                    <a:lnTo>
                      <a:pt x="3616" y="905"/>
                    </a:lnTo>
                    <a:lnTo>
                      <a:pt x="3749" y="914"/>
                    </a:lnTo>
                    <a:lnTo>
                      <a:pt x="3877" y="925"/>
                    </a:lnTo>
                    <a:lnTo>
                      <a:pt x="4000" y="936"/>
                    </a:lnTo>
                    <a:lnTo>
                      <a:pt x="4118" y="950"/>
                    </a:lnTo>
                    <a:lnTo>
                      <a:pt x="4229" y="964"/>
                    </a:lnTo>
                    <a:lnTo>
                      <a:pt x="4332" y="981"/>
                    </a:lnTo>
                    <a:lnTo>
                      <a:pt x="4428" y="999"/>
                    </a:lnTo>
                    <a:lnTo>
                      <a:pt x="4514" y="1020"/>
                    </a:lnTo>
                    <a:lnTo>
                      <a:pt x="4591" y="1043"/>
                    </a:lnTo>
                    <a:lnTo>
                      <a:pt x="4658" y="1067"/>
                    </a:lnTo>
                    <a:lnTo>
                      <a:pt x="4713" y="1094"/>
                    </a:lnTo>
                    <a:lnTo>
                      <a:pt x="4756" y="1123"/>
                    </a:lnTo>
                    <a:lnTo>
                      <a:pt x="4788" y="1155"/>
                    </a:lnTo>
                    <a:lnTo>
                      <a:pt x="4805" y="1189"/>
                    </a:lnTo>
                    <a:lnTo>
                      <a:pt x="4806" y="1195"/>
                    </a:lnTo>
                    <a:lnTo>
                      <a:pt x="4804" y="1199"/>
                    </a:lnTo>
                    <a:lnTo>
                      <a:pt x="4801" y="1203"/>
                    </a:lnTo>
                    <a:lnTo>
                      <a:pt x="4796" y="1206"/>
                    </a:lnTo>
                    <a:lnTo>
                      <a:pt x="4794" y="1207"/>
                    </a:lnTo>
                    <a:lnTo>
                      <a:pt x="4792" y="1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98"/>
              <p:cNvSpPr>
                <a:spLocks/>
              </p:cNvSpPr>
              <p:nvPr userDrawn="1"/>
            </p:nvSpPr>
            <p:spPr bwMode="auto">
              <a:xfrm>
                <a:off x="1254" y="2967"/>
                <a:ext cx="1389" cy="377"/>
              </a:xfrm>
              <a:custGeom>
                <a:avLst/>
                <a:gdLst>
                  <a:gd name="T0" fmla="*/ 4100 w 4168"/>
                  <a:gd name="T1" fmla="*/ 1130 h 1132"/>
                  <a:gd name="T2" fmla="*/ 4023 w 4168"/>
                  <a:gd name="T3" fmla="*/ 1122 h 1132"/>
                  <a:gd name="T4" fmla="*/ 3905 w 4168"/>
                  <a:gd name="T5" fmla="*/ 1097 h 1132"/>
                  <a:gd name="T6" fmla="*/ 3737 w 4168"/>
                  <a:gd name="T7" fmla="*/ 1053 h 1132"/>
                  <a:gd name="T8" fmla="*/ 3513 w 4168"/>
                  <a:gd name="T9" fmla="*/ 982 h 1132"/>
                  <a:gd name="T10" fmla="*/ 3286 w 4168"/>
                  <a:gd name="T11" fmla="*/ 904 h 1132"/>
                  <a:gd name="T12" fmla="*/ 3155 w 4168"/>
                  <a:gd name="T13" fmla="*/ 867 h 1132"/>
                  <a:gd name="T14" fmla="*/ 3021 w 4168"/>
                  <a:gd name="T15" fmla="*/ 841 h 1132"/>
                  <a:gd name="T16" fmla="*/ 2883 w 4168"/>
                  <a:gd name="T17" fmla="*/ 824 h 1132"/>
                  <a:gd name="T18" fmla="*/ 2742 w 4168"/>
                  <a:gd name="T19" fmla="*/ 815 h 1132"/>
                  <a:gd name="T20" fmla="*/ 2596 w 4168"/>
                  <a:gd name="T21" fmla="*/ 814 h 1132"/>
                  <a:gd name="T22" fmla="*/ 2446 w 4168"/>
                  <a:gd name="T23" fmla="*/ 818 h 1132"/>
                  <a:gd name="T24" fmla="*/ 2187 w 4168"/>
                  <a:gd name="T25" fmla="*/ 838 h 1132"/>
                  <a:gd name="T26" fmla="*/ 1862 w 4168"/>
                  <a:gd name="T27" fmla="*/ 872 h 1132"/>
                  <a:gd name="T28" fmla="*/ 1577 w 4168"/>
                  <a:gd name="T29" fmla="*/ 905 h 1132"/>
                  <a:gd name="T30" fmla="*/ 1313 w 4168"/>
                  <a:gd name="T31" fmla="*/ 933 h 1132"/>
                  <a:gd name="T32" fmla="*/ 1042 w 4168"/>
                  <a:gd name="T33" fmla="*/ 955 h 1132"/>
                  <a:gd name="T34" fmla="*/ 821 w 4168"/>
                  <a:gd name="T35" fmla="*/ 945 h 1132"/>
                  <a:gd name="T36" fmla="*/ 631 w 4168"/>
                  <a:gd name="T37" fmla="*/ 890 h 1132"/>
                  <a:gd name="T38" fmla="*/ 471 w 4168"/>
                  <a:gd name="T39" fmla="*/ 800 h 1132"/>
                  <a:gd name="T40" fmla="*/ 340 w 4168"/>
                  <a:gd name="T41" fmla="*/ 686 h 1132"/>
                  <a:gd name="T42" fmla="*/ 233 w 4168"/>
                  <a:gd name="T43" fmla="*/ 555 h 1132"/>
                  <a:gd name="T44" fmla="*/ 150 w 4168"/>
                  <a:gd name="T45" fmla="*/ 420 h 1132"/>
                  <a:gd name="T46" fmla="*/ 87 w 4168"/>
                  <a:gd name="T47" fmla="*/ 290 h 1132"/>
                  <a:gd name="T48" fmla="*/ 44 w 4168"/>
                  <a:gd name="T49" fmla="*/ 175 h 1132"/>
                  <a:gd name="T50" fmla="*/ 16 w 4168"/>
                  <a:gd name="T51" fmla="*/ 84 h 1132"/>
                  <a:gd name="T52" fmla="*/ 0 w 4168"/>
                  <a:gd name="T53" fmla="*/ 16 h 1132"/>
                  <a:gd name="T54" fmla="*/ 5 w 4168"/>
                  <a:gd name="T55" fmla="*/ 2 h 1132"/>
                  <a:gd name="T56" fmla="*/ 21 w 4168"/>
                  <a:gd name="T57" fmla="*/ 2 h 1132"/>
                  <a:gd name="T58" fmla="*/ 29 w 4168"/>
                  <a:gd name="T59" fmla="*/ 24 h 1132"/>
                  <a:gd name="T60" fmla="*/ 50 w 4168"/>
                  <a:gd name="T61" fmla="*/ 104 h 1132"/>
                  <a:gd name="T62" fmla="*/ 82 w 4168"/>
                  <a:gd name="T63" fmla="*/ 202 h 1132"/>
                  <a:gd name="T64" fmla="*/ 131 w 4168"/>
                  <a:gd name="T65" fmla="*/ 320 h 1132"/>
                  <a:gd name="T66" fmla="*/ 198 w 4168"/>
                  <a:gd name="T67" fmla="*/ 450 h 1132"/>
                  <a:gd name="T68" fmla="*/ 286 w 4168"/>
                  <a:gd name="T69" fmla="*/ 581 h 1132"/>
                  <a:gd name="T70" fmla="*/ 397 w 4168"/>
                  <a:gd name="T71" fmla="*/ 704 h 1132"/>
                  <a:gd name="T72" fmla="*/ 534 w 4168"/>
                  <a:gd name="T73" fmla="*/ 810 h 1132"/>
                  <a:gd name="T74" fmla="*/ 699 w 4168"/>
                  <a:gd name="T75" fmla="*/ 887 h 1132"/>
                  <a:gd name="T76" fmla="*/ 893 w 4168"/>
                  <a:gd name="T77" fmla="*/ 927 h 1132"/>
                  <a:gd name="T78" fmla="*/ 1132 w 4168"/>
                  <a:gd name="T79" fmla="*/ 921 h 1132"/>
                  <a:gd name="T80" fmla="*/ 1399 w 4168"/>
                  <a:gd name="T81" fmla="*/ 897 h 1132"/>
                  <a:gd name="T82" fmla="*/ 1661 w 4168"/>
                  <a:gd name="T83" fmla="*/ 868 h 1132"/>
                  <a:gd name="T84" fmla="*/ 1970 w 4168"/>
                  <a:gd name="T85" fmla="*/ 832 h 1132"/>
                  <a:gd name="T86" fmla="*/ 2292 w 4168"/>
                  <a:gd name="T87" fmla="*/ 801 h 1132"/>
                  <a:gd name="T88" fmla="*/ 2498 w 4168"/>
                  <a:gd name="T89" fmla="*/ 789 h 1132"/>
                  <a:gd name="T90" fmla="*/ 2647 w 4168"/>
                  <a:gd name="T91" fmla="*/ 787 h 1132"/>
                  <a:gd name="T92" fmla="*/ 2792 w 4168"/>
                  <a:gd name="T93" fmla="*/ 790 h 1132"/>
                  <a:gd name="T94" fmla="*/ 2935 w 4168"/>
                  <a:gd name="T95" fmla="*/ 802 h 1132"/>
                  <a:gd name="T96" fmla="*/ 3072 w 4168"/>
                  <a:gd name="T97" fmla="*/ 822 h 1132"/>
                  <a:gd name="T98" fmla="*/ 3207 w 4168"/>
                  <a:gd name="T99" fmla="*/ 852 h 1132"/>
                  <a:gd name="T100" fmla="*/ 3338 w 4168"/>
                  <a:gd name="T101" fmla="*/ 893 h 1132"/>
                  <a:gd name="T102" fmla="*/ 3658 w 4168"/>
                  <a:gd name="T103" fmla="*/ 1001 h 1132"/>
                  <a:gd name="T104" fmla="*/ 3886 w 4168"/>
                  <a:gd name="T105" fmla="*/ 1066 h 1132"/>
                  <a:gd name="T106" fmla="*/ 4034 w 4168"/>
                  <a:gd name="T107" fmla="*/ 1096 h 1132"/>
                  <a:gd name="T108" fmla="*/ 4117 w 4168"/>
                  <a:gd name="T109" fmla="*/ 1104 h 1132"/>
                  <a:gd name="T110" fmla="*/ 4150 w 4168"/>
                  <a:gd name="T111" fmla="*/ 1104 h 1132"/>
                  <a:gd name="T112" fmla="*/ 4162 w 4168"/>
                  <a:gd name="T113" fmla="*/ 1105 h 1132"/>
                  <a:gd name="T114" fmla="*/ 4168 w 4168"/>
                  <a:gd name="T115" fmla="*/ 1120 h 1132"/>
                  <a:gd name="T116" fmla="*/ 4157 w 4168"/>
                  <a:gd name="T117" fmla="*/ 113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68" h="1132">
                    <a:moveTo>
                      <a:pt x="4131" y="1132"/>
                    </a:moveTo>
                    <a:lnTo>
                      <a:pt x="4117" y="1131"/>
                    </a:lnTo>
                    <a:lnTo>
                      <a:pt x="4100" y="1130"/>
                    </a:lnTo>
                    <a:lnTo>
                      <a:pt x="4078" y="1129"/>
                    </a:lnTo>
                    <a:lnTo>
                      <a:pt x="4054" y="1126"/>
                    </a:lnTo>
                    <a:lnTo>
                      <a:pt x="4023" y="1122"/>
                    </a:lnTo>
                    <a:lnTo>
                      <a:pt x="3989" y="1115"/>
                    </a:lnTo>
                    <a:lnTo>
                      <a:pt x="3950" y="1108"/>
                    </a:lnTo>
                    <a:lnTo>
                      <a:pt x="3905" y="1097"/>
                    </a:lnTo>
                    <a:lnTo>
                      <a:pt x="3855" y="1085"/>
                    </a:lnTo>
                    <a:lnTo>
                      <a:pt x="3799" y="1071"/>
                    </a:lnTo>
                    <a:lnTo>
                      <a:pt x="3737" y="1053"/>
                    </a:lnTo>
                    <a:lnTo>
                      <a:pt x="3669" y="1033"/>
                    </a:lnTo>
                    <a:lnTo>
                      <a:pt x="3595" y="1009"/>
                    </a:lnTo>
                    <a:lnTo>
                      <a:pt x="3513" y="982"/>
                    </a:lnTo>
                    <a:lnTo>
                      <a:pt x="3424" y="952"/>
                    </a:lnTo>
                    <a:lnTo>
                      <a:pt x="3328" y="918"/>
                    </a:lnTo>
                    <a:lnTo>
                      <a:pt x="3286" y="904"/>
                    </a:lnTo>
                    <a:lnTo>
                      <a:pt x="3243" y="890"/>
                    </a:lnTo>
                    <a:lnTo>
                      <a:pt x="3199" y="878"/>
                    </a:lnTo>
                    <a:lnTo>
                      <a:pt x="3155" y="867"/>
                    </a:lnTo>
                    <a:lnTo>
                      <a:pt x="3111" y="857"/>
                    </a:lnTo>
                    <a:lnTo>
                      <a:pt x="3067" y="849"/>
                    </a:lnTo>
                    <a:lnTo>
                      <a:pt x="3021" y="841"/>
                    </a:lnTo>
                    <a:lnTo>
                      <a:pt x="2976" y="835"/>
                    </a:lnTo>
                    <a:lnTo>
                      <a:pt x="2930" y="828"/>
                    </a:lnTo>
                    <a:lnTo>
                      <a:pt x="2883" y="824"/>
                    </a:lnTo>
                    <a:lnTo>
                      <a:pt x="2837" y="820"/>
                    </a:lnTo>
                    <a:lnTo>
                      <a:pt x="2789" y="817"/>
                    </a:lnTo>
                    <a:lnTo>
                      <a:pt x="2742" y="815"/>
                    </a:lnTo>
                    <a:lnTo>
                      <a:pt x="2693" y="814"/>
                    </a:lnTo>
                    <a:lnTo>
                      <a:pt x="2644" y="814"/>
                    </a:lnTo>
                    <a:lnTo>
                      <a:pt x="2596" y="814"/>
                    </a:lnTo>
                    <a:lnTo>
                      <a:pt x="2546" y="815"/>
                    </a:lnTo>
                    <a:lnTo>
                      <a:pt x="2497" y="816"/>
                    </a:lnTo>
                    <a:lnTo>
                      <a:pt x="2446" y="818"/>
                    </a:lnTo>
                    <a:lnTo>
                      <a:pt x="2395" y="822"/>
                    </a:lnTo>
                    <a:lnTo>
                      <a:pt x="2292" y="829"/>
                    </a:lnTo>
                    <a:lnTo>
                      <a:pt x="2187" y="838"/>
                    </a:lnTo>
                    <a:lnTo>
                      <a:pt x="2081" y="847"/>
                    </a:lnTo>
                    <a:lnTo>
                      <a:pt x="1972" y="859"/>
                    </a:lnTo>
                    <a:lnTo>
                      <a:pt x="1862" y="872"/>
                    </a:lnTo>
                    <a:lnTo>
                      <a:pt x="1749" y="885"/>
                    </a:lnTo>
                    <a:lnTo>
                      <a:pt x="1663" y="895"/>
                    </a:lnTo>
                    <a:lnTo>
                      <a:pt x="1577" y="905"/>
                    </a:lnTo>
                    <a:lnTo>
                      <a:pt x="1490" y="914"/>
                    </a:lnTo>
                    <a:lnTo>
                      <a:pt x="1402" y="924"/>
                    </a:lnTo>
                    <a:lnTo>
                      <a:pt x="1313" y="933"/>
                    </a:lnTo>
                    <a:lnTo>
                      <a:pt x="1223" y="940"/>
                    </a:lnTo>
                    <a:lnTo>
                      <a:pt x="1134" y="948"/>
                    </a:lnTo>
                    <a:lnTo>
                      <a:pt x="1042" y="955"/>
                    </a:lnTo>
                    <a:lnTo>
                      <a:pt x="964" y="958"/>
                    </a:lnTo>
                    <a:lnTo>
                      <a:pt x="891" y="953"/>
                    </a:lnTo>
                    <a:lnTo>
                      <a:pt x="821" y="945"/>
                    </a:lnTo>
                    <a:lnTo>
                      <a:pt x="754" y="932"/>
                    </a:lnTo>
                    <a:lnTo>
                      <a:pt x="690" y="912"/>
                    </a:lnTo>
                    <a:lnTo>
                      <a:pt x="631" y="890"/>
                    </a:lnTo>
                    <a:lnTo>
                      <a:pt x="574" y="864"/>
                    </a:lnTo>
                    <a:lnTo>
                      <a:pt x="522" y="833"/>
                    </a:lnTo>
                    <a:lnTo>
                      <a:pt x="471" y="800"/>
                    </a:lnTo>
                    <a:lnTo>
                      <a:pt x="424" y="764"/>
                    </a:lnTo>
                    <a:lnTo>
                      <a:pt x="380" y="725"/>
                    </a:lnTo>
                    <a:lnTo>
                      <a:pt x="340" y="686"/>
                    </a:lnTo>
                    <a:lnTo>
                      <a:pt x="301" y="643"/>
                    </a:lnTo>
                    <a:lnTo>
                      <a:pt x="266" y="599"/>
                    </a:lnTo>
                    <a:lnTo>
                      <a:pt x="233" y="555"/>
                    </a:lnTo>
                    <a:lnTo>
                      <a:pt x="203" y="511"/>
                    </a:lnTo>
                    <a:lnTo>
                      <a:pt x="176" y="465"/>
                    </a:lnTo>
                    <a:lnTo>
                      <a:pt x="150" y="420"/>
                    </a:lnTo>
                    <a:lnTo>
                      <a:pt x="127" y="376"/>
                    </a:lnTo>
                    <a:lnTo>
                      <a:pt x="107" y="333"/>
                    </a:lnTo>
                    <a:lnTo>
                      <a:pt x="87" y="290"/>
                    </a:lnTo>
                    <a:lnTo>
                      <a:pt x="71" y="249"/>
                    </a:lnTo>
                    <a:lnTo>
                      <a:pt x="57" y="211"/>
                    </a:lnTo>
                    <a:lnTo>
                      <a:pt x="44" y="175"/>
                    </a:lnTo>
                    <a:lnTo>
                      <a:pt x="33" y="141"/>
                    </a:lnTo>
                    <a:lnTo>
                      <a:pt x="24" y="111"/>
                    </a:lnTo>
                    <a:lnTo>
                      <a:pt x="16" y="84"/>
                    </a:lnTo>
                    <a:lnTo>
                      <a:pt x="11" y="62"/>
                    </a:lnTo>
                    <a:lnTo>
                      <a:pt x="2" y="28"/>
                    </a:lnTo>
                    <a:lnTo>
                      <a:pt x="0" y="16"/>
                    </a:lnTo>
                    <a:lnTo>
                      <a:pt x="0" y="11"/>
                    </a:lnTo>
                    <a:lnTo>
                      <a:pt x="2" y="5"/>
                    </a:lnTo>
                    <a:lnTo>
                      <a:pt x="5" y="2"/>
                    </a:lnTo>
                    <a:lnTo>
                      <a:pt x="11" y="0"/>
                    </a:lnTo>
                    <a:lnTo>
                      <a:pt x="16" y="0"/>
                    </a:lnTo>
                    <a:lnTo>
                      <a:pt x="21" y="2"/>
                    </a:lnTo>
                    <a:lnTo>
                      <a:pt x="25" y="5"/>
                    </a:lnTo>
                    <a:lnTo>
                      <a:pt x="27" y="11"/>
                    </a:lnTo>
                    <a:lnTo>
                      <a:pt x="29" y="24"/>
                    </a:lnTo>
                    <a:lnTo>
                      <a:pt x="37" y="55"/>
                    </a:lnTo>
                    <a:lnTo>
                      <a:pt x="43" y="78"/>
                    </a:lnTo>
                    <a:lnTo>
                      <a:pt x="50" y="104"/>
                    </a:lnTo>
                    <a:lnTo>
                      <a:pt x="59" y="134"/>
                    </a:lnTo>
                    <a:lnTo>
                      <a:pt x="70" y="166"/>
                    </a:lnTo>
                    <a:lnTo>
                      <a:pt x="82" y="202"/>
                    </a:lnTo>
                    <a:lnTo>
                      <a:pt x="96" y="239"/>
                    </a:lnTo>
                    <a:lnTo>
                      <a:pt x="112" y="279"/>
                    </a:lnTo>
                    <a:lnTo>
                      <a:pt x="131" y="320"/>
                    </a:lnTo>
                    <a:lnTo>
                      <a:pt x="151" y="363"/>
                    </a:lnTo>
                    <a:lnTo>
                      <a:pt x="174" y="406"/>
                    </a:lnTo>
                    <a:lnTo>
                      <a:pt x="198" y="450"/>
                    </a:lnTo>
                    <a:lnTo>
                      <a:pt x="225" y="494"/>
                    </a:lnTo>
                    <a:lnTo>
                      <a:pt x="255" y="538"/>
                    </a:lnTo>
                    <a:lnTo>
                      <a:pt x="286" y="581"/>
                    </a:lnTo>
                    <a:lnTo>
                      <a:pt x="321" y="624"/>
                    </a:lnTo>
                    <a:lnTo>
                      <a:pt x="357" y="665"/>
                    </a:lnTo>
                    <a:lnTo>
                      <a:pt x="397" y="704"/>
                    </a:lnTo>
                    <a:lnTo>
                      <a:pt x="441" y="742"/>
                    </a:lnTo>
                    <a:lnTo>
                      <a:pt x="486" y="777"/>
                    </a:lnTo>
                    <a:lnTo>
                      <a:pt x="534" y="810"/>
                    </a:lnTo>
                    <a:lnTo>
                      <a:pt x="586" y="839"/>
                    </a:lnTo>
                    <a:lnTo>
                      <a:pt x="640" y="865"/>
                    </a:lnTo>
                    <a:lnTo>
                      <a:pt x="699" y="887"/>
                    </a:lnTo>
                    <a:lnTo>
                      <a:pt x="760" y="905"/>
                    </a:lnTo>
                    <a:lnTo>
                      <a:pt x="825" y="919"/>
                    </a:lnTo>
                    <a:lnTo>
                      <a:pt x="893" y="927"/>
                    </a:lnTo>
                    <a:lnTo>
                      <a:pt x="965" y="931"/>
                    </a:lnTo>
                    <a:lnTo>
                      <a:pt x="1040" y="928"/>
                    </a:lnTo>
                    <a:lnTo>
                      <a:pt x="1132" y="921"/>
                    </a:lnTo>
                    <a:lnTo>
                      <a:pt x="1221" y="914"/>
                    </a:lnTo>
                    <a:lnTo>
                      <a:pt x="1311" y="906"/>
                    </a:lnTo>
                    <a:lnTo>
                      <a:pt x="1399" y="897"/>
                    </a:lnTo>
                    <a:lnTo>
                      <a:pt x="1487" y="887"/>
                    </a:lnTo>
                    <a:lnTo>
                      <a:pt x="1574" y="878"/>
                    </a:lnTo>
                    <a:lnTo>
                      <a:pt x="1661" y="868"/>
                    </a:lnTo>
                    <a:lnTo>
                      <a:pt x="1746" y="858"/>
                    </a:lnTo>
                    <a:lnTo>
                      <a:pt x="1858" y="845"/>
                    </a:lnTo>
                    <a:lnTo>
                      <a:pt x="1970" y="832"/>
                    </a:lnTo>
                    <a:lnTo>
                      <a:pt x="2079" y="820"/>
                    </a:lnTo>
                    <a:lnTo>
                      <a:pt x="2187" y="811"/>
                    </a:lnTo>
                    <a:lnTo>
                      <a:pt x="2292" y="801"/>
                    </a:lnTo>
                    <a:lnTo>
                      <a:pt x="2396" y="795"/>
                    </a:lnTo>
                    <a:lnTo>
                      <a:pt x="2447" y="791"/>
                    </a:lnTo>
                    <a:lnTo>
                      <a:pt x="2498" y="789"/>
                    </a:lnTo>
                    <a:lnTo>
                      <a:pt x="2548" y="788"/>
                    </a:lnTo>
                    <a:lnTo>
                      <a:pt x="2598" y="787"/>
                    </a:lnTo>
                    <a:lnTo>
                      <a:pt x="2647" y="787"/>
                    </a:lnTo>
                    <a:lnTo>
                      <a:pt x="2696" y="787"/>
                    </a:lnTo>
                    <a:lnTo>
                      <a:pt x="2745" y="788"/>
                    </a:lnTo>
                    <a:lnTo>
                      <a:pt x="2792" y="790"/>
                    </a:lnTo>
                    <a:lnTo>
                      <a:pt x="2840" y="793"/>
                    </a:lnTo>
                    <a:lnTo>
                      <a:pt x="2887" y="797"/>
                    </a:lnTo>
                    <a:lnTo>
                      <a:pt x="2935" y="802"/>
                    </a:lnTo>
                    <a:lnTo>
                      <a:pt x="2981" y="808"/>
                    </a:lnTo>
                    <a:lnTo>
                      <a:pt x="3027" y="814"/>
                    </a:lnTo>
                    <a:lnTo>
                      <a:pt x="3072" y="822"/>
                    </a:lnTo>
                    <a:lnTo>
                      <a:pt x="3117" y="831"/>
                    </a:lnTo>
                    <a:lnTo>
                      <a:pt x="3163" y="841"/>
                    </a:lnTo>
                    <a:lnTo>
                      <a:pt x="3207" y="852"/>
                    </a:lnTo>
                    <a:lnTo>
                      <a:pt x="3250" y="865"/>
                    </a:lnTo>
                    <a:lnTo>
                      <a:pt x="3294" y="878"/>
                    </a:lnTo>
                    <a:lnTo>
                      <a:pt x="3338" y="893"/>
                    </a:lnTo>
                    <a:lnTo>
                      <a:pt x="3455" y="935"/>
                    </a:lnTo>
                    <a:lnTo>
                      <a:pt x="3562" y="971"/>
                    </a:lnTo>
                    <a:lnTo>
                      <a:pt x="3658" y="1001"/>
                    </a:lnTo>
                    <a:lnTo>
                      <a:pt x="3744" y="1027"/>
                    </a:lnTo>
                    <a:lnTo>
                      <a:pt x="3819" y="1048"/>
                    </a:lnTo>
                    <a:lnTo>
                      <a:pt x="3886" y="1066"/>
                    </a:lnTo>
                    <a:lnTo>
                      <a:pt x="3943" y="1078"/>
                    </a:lnTo>
                    <a:lnTo>
                      <a:pt x="3992" y="1088"/>
                    </a:lnTo>
                    <a:lnTo>
                      <a:pt x="4034" y="1096"/>
                    </a:lnTo>
                    <a:lnTo>
                      <a:pt x="4069" y="1100"/>
                    </a:lnTo>
                    <a:lnTo>
                      <a:pt x="4096" y="1103"/>
                    </a:lnTo>
                    <a:lnTo>
                      <a:pt x="4117" y="1104"/>
                    </a:lnTo>
                    <a:lnTo>
                      <a:pt x="4132" y="1105"/>
                    </a:lnTo>
                    <a:lnTo>
                      <a:pt x="4143" y="1104"/>
                    </a:lnTo>
                    <a:lnTo>
                      <a:pt x="4150" y="1104"/>
                    </a:lnTo>
                    <a:lnTo>
                      <a:pt x="4152" y="1104"/>
                    </a:lnTo>
                    <a:lnTo>
                      <a:pt x="4157" y="1104"/>
                    </a:lnTo>
                    <a:lnTo>
                      <a:pt x="4162" y="1105"/>
                    </a:lnTo>
                    <a:lnTo>
                      <a:pt x="4166" y="1110"/>
                    </a:lnTo>
                    <a:lnTo>
                      <a:pt x="4168" y="1114"/>
                    </a:lnTo>
                    <a:lnTo>
                      <a:pt x="4168" y="1120"/>
                    </a:lnTo>
                    <a:lnTo>
                      <a:pt x="4166" y="1125"/>
                    </a:lnTo>
                    <a:lnTo>
                      <a:pt x="4163" y="1128"/>
                    </a:lnTo>
                    <a:lnTo>
                      <a:pt x="4157" y="1130"/>
                    </a:lnTo>
                    <a:lnTo>
                      <a:pt x="4151" y="1131"/>
                    </a:lnTo>
                    <a:lnTo>
                      <a:pt x="4131" y="1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9"/>
              <p:cNvSpPr>
                <a:spLocks/>
              </p:cNvSpPr>
              <p:nvPr userDrawn="1"/>
            </p:nvSpPr>
            <p:spPr bwMode="auto">
              <a:xfrm>
                <a:off x="708" y="3416"/>
                <a:ext cx="485" cy="596"/>
              </a:xfrm>
              <a:custGeom>
                <a:avLst/>
                <a:gdLst>
                  <a:gd name="T0" fmla="*/ 1436 w 1455"/>
                  <a:gd name="T1" fmla="*/ 1789 h 1790"/>
                  <a:gd name="T2" fmla="*/ 1430 w 1455"/>
                  <a:gd name="T3" fmla="*/ 1784 h 1790"/>
                  <a:gd name="T4" fmla="*/ 1427 w 1455"/>
                  <a:gd name="T5" fmla="*/ 1772 h 1790"/>
                  <a:gd name="T6" fmla="*/ 1420 w 1455"/>
                  <a:gd name="T7" fmla="*/ 1724 h 1790"/>
                  <a:gd name="T8" fmla="*/ 1405 w 1455"/>
                  <a:gd name="T9" fmla="*/ 1640 h 1790"/>
                  <a:gd name="T10" fmla="*/ 1380 w 1455"/>
                  <a:gd name="T11" fmla="*/ 1524 h 1790"/>
                  <a:gd name="T12" fmla="*/ 1347 w 1455"/>
                  <a:gd name="T13" fmla="*/ 1386 h 1790"/>
                  <a:gd name="T14" fmla="*/ 1314 w 1455"/>
                  <a:gd name="T15" fmla="*/ 1272 h 1790"/>
                  <a:gd name="T16" fmla="*/ 1288 w 1455"/>
                  <a:gd name="T17" fmla="*/ 1192 h 1790"/>
                  <a:gd name="T18" fmla="*/ 1260 w 1455"/>
                  <a:gd name="T19" fmla="*/ 1111 h 1790"/>
                  <a:gd name="T20" fmla="*/ 1229 w 1455"/>
                  <a:gd name="T21" fmla="*/ 1028 h 1790"/>
                  <a:gd name="T22" fmla="*/ 1194 w 1455"/>
                  <a:gd name="T23" fmla="*/ 946 h 1790"/>
                  <a:gd name="T24" fmla="*/ 1157 w 1455"/>
                  <a:gd name="T25" fmla="*/ 865 h 1790"/>
                  <a:gd name="T26" fmla="*/ 1087 w 1455"/>
                  <a:gd name="T27" fmla="*/ 736 h 1790"/>
                  <a:gd name="T28" fmla="*/ 989 w 1455"/>
                  <a:gd name="T29" fmla="*/ 580 h 1790"/>
                  <a:gd name="T30" fmla="*/ 891 w 1455"/>
                  <a:gd name="T31" fmla="*/ 447 h 1790"/>
                  <a:gd name="T32" fmla="*/ 794 w 1455"/>
                  <a:gd name="T33" fmla="*/ 337 h 1790"/>
                  <a:gd name="T34" fmla="*/ 698 w 1455"/>
                  <a:gd name="T35" fmla="*/ 247 h 1790"/>
                  <a:gd name="T36" fmla="*/ 604 w 1455"/>
                  <a:gd name="T37" fmla="*/ 176 h 1790"/>
                  <a:gd name="T38" fmla="*/ 513 w 1455"/>
                  <a:gd name="T39" fmla="*/ 121 h 1790"/>
                  <a:gd name="T40" fmla="*/ 428 w 1455"/>
                  <a:gd name="T41" fmla="*/ 81 h 1790"/>
                  <a:gd name="T42" fmla="*/ 347 w 1455"/>
                  <a:gd name="T43" fmla="*/ 54 h 1790"/>
                  <a:gd name="T44" fmla="*/ 273 w 1455"/>
                  <a:gd name="T45" fmla="*/ 37 h 1790"/>
                  <a:gd name="T46" fmla="*/ 207 w 1455"/>
                  <a:gd name="T47" fmla="*/ 28 h 1790"/>
                  <a:gd name="T48" fmla="*/ 149 w 1455"/>
                  <a:gd name="T49" fmla="*/ 26 h 1790"/>
                  <a:gd name="T50" fmla="*/ 100 w 1455"/>
                  <a:gd name="T51" fmla="*/ 29 h 1790"/>
                  <a:gd name="T52" fmla="*/ 62 w 1455"/>
                  <a:gd name="T53" fmla="*/ 34 h 1790"/>
                  <a:gd name="T54" fmla="*/ 26 w 1455"/>
                  <a:gd name="T55" fmla="*/ 41 h 1790"/>
                  <a:gd name="T56" fmla="*/ 13 w 1455"/>
                  <a:gd name="T57" fmla="*/ 45 h 1790"/>
                  <a:gd name="T58" fmla="*/ 4 w 1455"/>
                  <a:gd name="T59" fmla="*/ 40 h 1790"/>
                  <a:gd name="T60" fmla="*/ 0 w 1455"/>
                  <a:gd name="T61" fmla="*/ 30 h 1790"/>
                  <a:gd name="T62" fmla="*/ 4 w 1455"/>
                  <a:gd name="T63" fmla="*/ 22 h 1790"/>
                  <a:gd name="T64" fmla="*/ 17 w 1455"/>
                  <a:gd name="T65" fmla="*/ 16 h 1790"/>
                  <a:gd name="T66" fmla="*/ 55 w 1455"/>
                  <a:gd name="T67" fmla="*/ 8 h 1790"/>
                  <a:gd name="T68" fmla="*/ 94 w 1455"/>
                  <a:gd name="T69" fmla="*/ 2 h 1790"/>
                  <a:gd name="T70" fmla="*/ 145 w 1455"/>
                  <a:gd name="T71" fmla="*/ 0 h 1790"/>
                  <a:gd name="T72" fmla="*/ 204 w 1455"/>
                  <a:gd name="T73" fmla="*/ 2 h 1790"/>
                  <a:gd name="T74" fmla="*/ 273 w 1455"/>
                  <a:gd name="T75" fmla="*/ 10 h 1790"/>
                  <a:gd name="T76" fmla="*/ 350 w 1455"/>
                  <a:gd name="T77" fmla="*/ 27 h 1790"/>
                  <a:gd name="T78" fmla="*/ 432 w 1455"/>
                  <a:gd name="T79" fmla="*/ 55 h 1790"/>
                  <a:gd name="T80" fmla="*/ 521 w 1455"/>
                  <a:gd name="T81" fmla="*/ 95 h 1790"/>
                  <a:gd name="T82" fmla="*/ 613 w 1455"/>
                  <a:gd name="T83" fmla="*/ 151 h 1790"/>
                  <a:gd name="T84" fmla="*/ 711 w 1455"/>
                  <a:gd name="T85" fmla="*/ 223 h 1790"/>
                  <a:gd name="T86" fmla="*/ 809 w 1455"/>
                  <a:gd name="T87" fmla="*/ 314 h 1790"/>
                  <a:gd name="T88" fmla="*/ 909 w 1455"/>
                  <a:gd name="T89" fmla="*/ 427 h 1790"/>
                  <a:gd name="T90" fmla="*/ 1010 w 1455"/>
                  <a:gd name="T91" fmla="*/ 562 h 1790"/>
                  <a:gd name="T92" fmla="*/ 1110 w 1455"/>
                  <a:gd name="T93" fmla="*/ 722 h 1790"/>
                  <a:gd name="T94" fmla="*/ 1180 w 1455"/>
                  <a:gd name="T95" fmla="*/ 853 h 1790"/>
                  <a:gd name="T96" fmla="*/ 1219 w 1455"/>
                  <a:gd name="T97" fmla="*/ 935 h 1790"/>
                  <a:gd name="T98" fmla="*/ 1254 w 1455"/>
                  <a:gd name="T99" fmla="*/ 1018 h 1790"/>
                  <a:gd name="T100" fmla="*/ 1285 w 1455"/>
                  <a:gd name="T101" fmla="*/ 1101 h 1790"/>
                  <a:gd name="T102" fmla="*/ 1314 w 1455"/>
                  <a:gd name="T103" fmla="*/ 1183 h 1790"/>
                  <a:gd name="T104" fmla="*/ 1340 w 1455"/>
                  <a:gd name="T105" fmla="*/ 1264 h 1790"/>
                  <a:gd name="T106" fmla="*/ 1373 w 1455"/>
                  <a:gd name="T107" fmla="*/ 1380 h 1790"/>
                  <a:gd name="T108" fmla="*/ 1407 w 1455"/>
                  <a:gd name="T109" fmla="*/ 1519 h 1790"/>
                  <a:gd name="T110" fmla="*/ 1431 w 1455"/>
                  <a:gd name="T111" fmla="*/ 1636 h 1790"/>
                  <a:gd name="T112" fmla="*/ 1446 w 1455"/>
                  <a:gd name="T113" fmla="*/ 1721 h 1790"/>
                  <a:gd name="T114" fmla="*/ 1453 w 1455"/>
                  <a:gd name="T115" fmla="*/ 1768 h 1790"/>
                  <a:gd name="T116" fmla="*/ 1455 w 1455"/>
                  <a:gd name="T117" fmla="*/ 1780 h 1790"/>
                  <a:gd name="T118" fmla="*/ 1448 w 1455"/>
                  <a:gd name="T119" fmla="*/ 1788 h 1790"/>
                  <a:gd name="T120" fmla="*/ 1442 w 1455"/>
                  <a:gd name="T121" fmla="*/ 179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5" h="1790">
                    <a:moveTo>
                      <a:pt x="1442" y="1790"/>
                    </a:moveTo>
                    <a:lnTo>
                      <a:pt x="1436" y="1789"/>
                    </a:lnTo>
                    <a:lnTo>
                      <a:pt x="1432" y="1787"/>
                    </a:lnTo>
                    <a:lnTo>
                      <a:pt x="1430" y="1784"/>
                    </a:lnTo>
                    <a:lnTo>
                      <a:pt x="1428" y="1778"/>
                    </a:lnTo>
                    <a:lnTo>
                      <a:pt x="1427" y="1772"/>
                    </a:lnTo>
                    <a:lnTo>
                      <a:pt x="1424" y="1753"/>
                    </a:lnTo>
                    <a:lnTo>
                      <a:pt x="1420" y="1724"/>
                    </a:lnTo>
                    <a:lnTo>
                      <a:pt x="1414" y="1686"/>
                    </a:lnTo>
                    <a:lnTo>
                      <a:pt x="1405" y="1640"/>
                    </a:lnTo>
                    <a:lnTo>
                      <a:pt x="1393" y="1586"/>
                    </a:lnTo>
                    <a:lnTo>
                      <a:pt x="1380" y="1524"/>
                    </a:lnTo>
                    <a:lnTo>
                      <a:pt x="1365" y="1459"/>
                    </a:lnTo>
                    <a:lnTo>
                      <a:pt x="1347" y="1386"/>
                    </a:lnTo>
                    <a:lnTo>
                      <a:pt x="1325" y="1311"/>
                    </a:lnTo>
                    <a:lnTo>
                      <a:pt x="1314" y="1272"/>
                    </a:lnTo>
                    <a:lnTo>
                      <a:pt x="1301" y="1232"/>
                    </a:lnTo>
                    <a:lnTo>
                      <a:pt x="1288" y="1192"/>
                    </a:lnTo>
                    <a:lnTo>
                      <a:pt x="1275" y="1152"/>
                    </a:lnTo>
                    <a:lnTo>
                      <a:pt x="1260" y="1111"/>
                    </a:lnTo>
                    <a:lnTo>
                      <a:pt x="1245" y="1070"/>
                    </a:lnTo>
                    <a:lnTo>
                      <a:pt x="1229" y="1028"/>
                    </a:lnTo>
                    <a:lnTo>
                      <a:pt x="1212" y="987"/>
                    </a:lnTo>
                    <a:lnTo>
                      <a:pt x="1194" y="946"/>
                    </a:lnTo>
                    <a:lnTo>
                      <a:pt x="1176" y="905"/>
                    </a:lnTo>
                    <a:lnTo>
                      <a:pt x="1157" y="865"/>
                    </a:lnTo>
                    <a:lnTo>
                      <a:pt x="1136" y="825"/>
                    </a:lnTo>
                    <a:lnTo>
                      <a:pt x="1087" y="736"/>
                    </a:lnTo>
                    <a:lnTo>
                      <a:pt x="1039" y="654"/>
                    </a:lnTo>
                    <a:lnTo>
                      <a:pt x="989" y="580"/>
                    </a:lnTo>
                    <a:lnTo>
                      <a:pt x="941" y="510"/>
                    </a:lnTo>
                    <a:lnTo>
                      <a:pt x="891" y="447"/>
                    </a:lnTo>
                    <a:lnTo>
                      <a:pt x="842" y="389"/>
                    </a:lnTo>
                    <a:lnTo>
                      <a:pt x="794" y="337"/>
                    </a:lnTo>
                    <a:lnTo>
                      <a:pt x="745" y="290"/>
                    </a:lnTo>
                    <a:lnTo>
                      <a:pt x="698" y="247"/>
                    </a:lnTo>
                    <a:lnTo>
                      <a:pt x="650" y="210"/>
                    </a:lnTo>
                    <a:lnTo>
                      <a:pt x="604" y="176"/>
                    </a:lnTo>
                    <a:lnTo>
                      <a:pt x="558" y="147"/>
                    </a:lnTo>
                    <a:lnTo>
                      <a:pt x="513" y="121"/>
                    </a:lnTo>
                    <a:lnTo>
                      <a:pt x="470" y="100"/>
                    </a:lnTo>
                    <a:lnTo>
                      <a:pt x="428" y="81"/>
                    </a:lnTo>
                    <a:lnTo>
                      <a:pt x="387" y="66"/>
                    </a:lnTo>
                    <a:lnTo>
                      <a:pt x="347" y="54"/>
                    </a:lnTo>
                    <a:lnTo>
                      <a:pt x="309" y="45"/>
                    </a:lnTo>
                    <a:lnTo>
                      <a:pt x="273" y="37"/>
                    </a:lnTo>
                    <a:lnTo>
                      <a:pt x="239" y="32"/>
                    </a:lnTo>
                    <a:lnTo>
                      <a:pt x="207" y="28"/>
                    </a:lnTo>
                    <a:lnTo>
                      <a:pt x="177" y="27"/>
                    </a:lnTo>
                    <a:lnTo>
                      <a:pt x="149" y="26"/>
                    </a:lnTo>
                    <a:lnTo>
                      <a:pt x="123" y="27"/>
                    </a:lnTo>
                    <a:lnTo>
                      <a:pt x="100" y="29"/>
                    </a:lnTo>
                    <a:lnTo>
                      <a:pt x="80" y="32"/>
                    </a:lnTo>
                    <a:lnTo>
                      <a:pt x="62" y="34"/>
                    </a:lnTo>
                    <a:lnTo>
                      <a:pt x="48" y="37"/>
                    </a:lnTo>
                    <a:lnTo>
                      <a:pt x="26" y="41"/>
                    </a:lnTo>
                    <a:lnTo>
                      <a:pt x="18" y="45"/>
                    </a:lnTo>
                    <a:lnTo>
                      <a:pt x="13" y="45"/>
                    </a:lnTo>
                    <a:lnTo>
                      <a:pt x="8" y="43"/>
                    </a:lnTo>
                    <a:lnTo>
                      <a:pt x="4" y="40"/>
                    </a:lnTo>
                    <a:lnTo>
                      <a:pt x="1" y="36"/>
                    </a:lnTo>
                    <a:lnTo>
                      <a:pt x="0" y="30"/>
                    </a:lnTo>
                    <a:lnTo>
                      <a:pt x="2" y="25"/>
                    </a:lnTo>
                    <a:lnTo>
                      <a:pt x="4" y="22"/>
                    </a:lnTo>
                    <a:lnTo>
                      <a:pt x="10" y="19"/>
                    </a:lnTo>
                    <a:lnTo>
                      <a:pt x="17" y="16"/>
                    </a:lnTo>
                    <a:lnTo>
                      <a:pt x="39" y="11"/>
                    </a:lnTo>
                    <a:lnTo>
                      <a:pt x="55" y="8"/>
                    </a:lnTo>
                    <a:lnTo>
                      <a:pt x="73" y="6"/>
                    </a:lnTo>
                    <a:lnTo>
                      <a:pt x="94" y="2"/>
                    </a:lnTo>
                    <a:lnTo>
                      <a:pt x="118" y="1"/>
                    </a:lnTo>
                    <a:lnTo>
                      <a:pt x="145" y="0"/>
                    </a:lnTo>
                    <a:lnTo>
                      <a:pt x="173" y="0"/>
                    </a:lnTo>
                    <a:lnTo>
                      <a:pt x="204" y="2"/>
                    </a:lnTo>
                    <a:lnTo>
                      <a:pt x="238" y="6"/>
                    </a:lnTo>
                    <a:lnTo>
                      <a:pt x="273" y="10"/>
                    </a:lnTo>
                    <a:lnTo>
                      <a:pt x="310" y="18"/>
                    </a:lnTo>
                    <a:lnTo>
                      <a:pt x="350" y="27"/>
                    </a:lnTo>
                    <a:lnTo>
                      <a:pt x="390" y="40"/>
                    </a:lnTo>
                    <a:lnTo>
                      <a:pt x="432" y="55"/>
                    </a:lnTo>
                    <a:lnTo>
                      <a:pt x="476" y="74"/>
                    </a:lnTo>
                    <a:lnTo>
                      <a:pt x="521" y="95"/>
                    </a:lnTo>
                    <a:lnTo>
                      <a:pt x="567" y="121"/>
                    </a:lnTo>
                    <a:lnTo>
                      <a:pt x="613" y="151"/>
                    </a:lnTo>
                    <a:lnTo>
                      <a:pt x="662" y="185"/>
                    </a:lnTo>
                    <a:lnTo>
                      <a:pt x="711" y="223"/>
                    </a:lnTo>
                    <a:lnTo>
                      <a:pt x="759" y="266"/>
                    </a:lnTo>
                    <a:lnTo>
                      <a:pt x="809" y="314"/>
                    </a:lnTo>
                    <a:lnTo>
                      <a:pt x="860" y="367"/>
                    </a:lnTo>
                    <a:lnTo>
                      <a:pt x="909" y="427"/>
                    </a:lnTo>
                    <a:lnTo>
                      <a:pt x="960" y="491"/>
                    </a:lnTo>
                    <a:lnTo>
                      <a:pt x="1010" y="562"/>
                    </a:lnTo>
                    <a:lnTo>
                      <a:pt x="1060" y="639"/>
                    </a:lnTo>
                    <a:lnTo>
                      <a:pt x="1110" y="722"/>
                    </a:lnTo>
                    <a:lnTo>
                      <a:pt x="1160" y="812"/>
                    </a:lnTo>
                    <a:lnTo>
                      <a:pt x="1180" y="853"/>
                    </a:lnTo>
                    <a:lnTo>
                      <a:pt x="1200" y="894"/>
                    </a:lnTo>
                    <a:lnTo>
                      <a:pt x="1219" y="935"/>
                    </a:lnTo>
                    <a:lnTo>
                      <a:pt x="1236" y="976"/>
                    </a:lnTo>
                    <a:lnTo>
                      <a:pt x="1254" y="1018"/>
                    </a:lnTo>
                    <a:lnTo>
                      <a:pt x="1270" y="1059"/>
                    </a:lnTo>
                    <a:lnTo>
                      <a:pt x="1285" y="1101"/>
                    </a:lnTo>
                    <a:lnTo>
                      <a:pt x="1300" y="1142"/>
                    </a:lnTo>
                    <a:lnTo>
                      <a:pt x="1314" y="1183"/>
                    </a:lnTo>
                    <a:lnTo>
                      <a:pt x="1327" y="1224"/>
                    </a:lnTo>
                    <a:lnTo>
                      <a:pt x="1340" y="1264"/>
                    </a:lnTo>
                    <a:lnTo>
                      <a:pt x="1351" y="1303"/>
                    </a:lnTo>
                    <a:lnTo>
                      <a:pt x="1373" y="1380"/>
                    </a:lnTo>
                    <a:lnTo>
                      <a:pt x="1391" y="1452"/>
                    </a:lnTo>
                    <a:lnTo>
                      <a:pt x="1407" y="1519"/>
                    </a:lnTo>
                    <a:lnTo>
                      <a:pt x="1420" y="1581"/>
                    </a:lnTo>
                    <a:lnTo>
                      <a:pt x="1431" y="1636"/>
                    </a:lnTo>
                    <a:lnTo>
                      <a:pt x="1439" y="1682"/>
                    </a:lnTo>
                    <a:lnTo>
                      <a:pt x="1446" y="1721"/>
                    </a:lnTo>
                    <a:lnTo>
                      <a:pt x="1451" y="1749"/>
                    </a:lnTo>
                    <a:lnTo>
                      <a:pt x="1453" y="1768"/>
                    </a:lnTo>
                    <a:lnTo>
                      <a:pt x="1455" y="1775"/>
                    </a:lnTo>
                    <a:lnTo>
                      <a:pt x="1455" y="1780"/>
                    </a:lnTo>
                    <a:lnTo>
                      <a:pt x="1452" y="1785"/>
                    </a:lnTo>
                    <a:lnTo>
                      <a:pt x="1448" y="1788"/>
                    </a:lnTo>
                    <a:lnTo>
                      <a:pt x="1443" y="1790"/>
                    </a:lnTo>
                    <a:lnTo>
                      <a:pt x="1442" y="1790"/>
                    </a:lnTo>
                    <a:lnTo>
                      <a:pt x="1442" y="1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0"/>
              <p:cNvSpPr>
                <a:spLocks/>
              </p:cNvSpPr>
              <p:nvPr userDrawn="1"/>
            </p:nvSpPr>
            <p:spPr bwMode="auto">
              <a:xfrm>
                <a:off x="361" y="3061"/>
                <a:ext cx="1739" cy="1259"/>
              </a:xfrm>
              <a:custGeom>
                <a:avLst/>
                <a:gdLst>
                  <a:gd name="T0" fmla="*/ 143 w 5215"/>
                  <a:gd name="T1" fmla="*/ 3596 h 3777"/>
                  <a:gd name="T2" fmla="*/ 426 w 5215"/>
                  <a:gd name="T3" fmla="*/ 3223 h 3777"/>
                  <a:gd name="T4" fmla="*/ 754 w 5215"/>
                  <a:gd name="T5" fmla="*/ 2771 h 3777"/>
                  <a:gd name="T6" fmla="*/ 922 w 5215"/>
                  <a:gd name="T7" fmla="*/ 2528 h 3777"/>
                  <a:gd name="T8" fmla="*/ 1086 w 5215"/>
                  <a:gd name="T9" fmla="*/ 2282 h 3777"/>
                  <a:gd name="T10" fmla="*/ 1241 w 5215"/>
                  <a:gd name="T11" fmla="*/ 2037 h 3777"/>
                  <a:gd name="T12" fmla="*/ 1380 w 5215"/>
                  <a:gd name="T13" fmla="*/ 1799 h 3777"/>
                  <a:gd name="T14" fmla="*/ 1499 w 5215"/>
                  <a:gd name="T15" fmla="*/ 1574 h 3777"/>
                  <a:gd name="T16" fmla="*/ 1636 w 5215"/>
                  <a:gd name="T17" fmla="*/ 1299 h 3777"/>
                  <a:gd name="T18" fmla="*/ 1795 w 5215"/>
                  <a:gd name="T19" fmla="*/ 1034 h 3777"/>
                  <a:gd name="T20" fmla="*/ 1956 w 5215"/>
                  <a:gd name="T21" fmla="*/ 817 h 3777"/>
                  <a:gd name="T22" fmla="*/ 2118 w 5215"/>
                  <a:gd name="T23" fmla="*/ 641 h 3777"/>
                  <a:gd name="T24" fmla="*/ 2275 w 5215"/>
                  <a:gd name="T25" fmla="*/ 503 h 3777"/>
                  <a:gd name="T26" fmla="*/ 2426 w 5215"/>
                  <a:gd name="T27" fmla="*/ 398 h 3777"/>
                  <a:gd name="T28" fmla="*/ 2568 w 5215"/>
                  <a:gd name="T29" fmla="*/ 322 h 3777"/>
                  <a:gd name="T30" fmla="*/ 2696 w 5215"/>
                  <a:gd name="T31" fmla="*/ 270 h 3777"/>
                  <a:gd name="T32" fmla="*/ 2808 w 5215"/>
                  <a:gd name="T33" fmla="*/ 236 h 3777"/>
                  <a:gd name="T34" fmla="*/ 2899 w 5215"/>
                  <a:gd name="T35" fmla="*/ 219 h 3777"/>
                  <a:gd name="T36" fmla="*/ 2969 w 5215"/>
                  <a:gd name="T37" fmla="*/ 211 h 3777"/>
                  <a:gd name="T38" fmla="*/ 3321 w 5215"/>
                  <a:gd name="T39" fmla="*/ 183 h 3777"/>
                  <a:gd name="T40" fmla="*/ 3844 w 5215"/>
                  <a:gd name="T41" fmla="*/ 135 h 3777"/>
                  <a:gd name="T42" fmla="*/ 4413 w 5215"/>
                  <a:gd name="T43" fmla="*/ 80 h 3777"/>
                  <a:gd name="T44" fmla="*/ 4899 w 5215"/>
                  <a:gd name="T45" fmla="*/ 30 h 3777"/>
                  <a:gd name="T46" fmla="*/ 5176 w 5215"/>
                  <a:gd name="T47" fmla="*/ 2 h 3777"/>
                  <a:gd name="T48" fmla="*/ 5209 w 5215"/>
                  <a:gd name="T49" fmla="*/ 3 h 3777"/>
                  <a:gd name="T50" fmla="*/ 5213 w 5215"/>
                  <a:gd name="T51" fmla="*/ 17 h 3777"/>
                  <a:gd name="T52" fmla="*/ 5203 w 5215"/>
                  <a:gd name="T53" fmla="*/ 27 h 3777"/>
                  <a:gd name="T54" fmla="*/ 5023 w 5215"/>
                  <a:gd name="T55" fmla="*/ 45 h 3777"/>
                  <a:gd name="T56" fmla="*/ 4594 w 5215"/>
                  <a:gd name="T57" fmla="*/ 88 h 3777"/>
                  <a:gd name="T58" fmla="*/ 4038 w 5215"/>
                  <a:gd name="T59" fmla="*/ 143 h 3777"/>
                  <a:gd name="T60" fmla="*/ 3485 w 5215"/>
                  <a:gd name="T61" fmla="*/ 196 h 3777"/>
                  <a:gd name="T62" fmla="*/ 3061 w 5215"/>
                  <a:gd name="T63" fmla="*/ 233 h 3777"/>
                  <a:gd name="T64" fmla="*/ 2892 w 5215"/>
                  <a:gd name="T65" fmla="*/ 247 h 3777"/>
                  <a:gd name="T66" fmla="*/ 2769 w 5215"/>
                  <a:gd name="T67" fmla="*/ 274 h 3777"/>
                  <a:gd name="T68" fmla="*/ 2638 w 5215"/>
                  <a:gd name="T69" fmla="*/ 321 h 3777"/>
                  <a:gd name="T70" fmla="*/ 2502 w 5215"/>
                  <a:gd name="T71" fmla="*/ 387 h 3777"/>
                  <a:gd name="T72" fmla="*/ 2364 w 5215"/>
                  <a:gd name="T73" fmla="*/ 475 h 3777"/>
                  <a:gd name="T74" fmla="*/ 2223 w 5215"/>
                  <a:gd name="T75" fmla="*/ 585 h 3777"/>
                  <a:gd name="T76" fmla="*/ 2083 w 5215"/>
                  <a:gd name="T77" fmla="*/ 719 h 3777"/>
                  <a:gd name="T78" fmla="*/ 1945 w 5215"/>
                  <a:gd name="T79" fmla="*/ 879 h 3777"/>
                  <a:gd name="T80" fmla="*/ 1810 w 5215"/>
                  <a:gd name="T81" fmla="*/ 1063 h 3777"/>
                  <a:gd name="T82" fmla="*/ 1680 w 5215"/>
                  <a:gd name="T83" fmla="*/ 1275 h 3777"/>
                  <a:gd name="T84" fmla="*/ 1558 w 5215"/>
                  <a:gd name="T85" fmla="*/ 1514 h 3777"/>
                  <a:gd name="T86" fmla="*/ 1448 w 5215"/>
                  <a:gd name="T87" fmla="*/ 1731 h 3777"/>
                  <a:gd name="T88" fmla="*/ 1318 w 5215"/>
                  <a:gd name="T89" fmla="*/ 1962 h 3777"/>
                  <a:gd name="T90" fmla="*/ 1170 w 5215"/>
                  <a:gd name="T91" fmla="*/ 2203 h 3777"/>
                  <a:gd name="T92" fmla="*/ 1011 w 5215"/>
                  <a:gd name="T93" fmla="*/ 2446 h 3777"/>
                  <a:gd name="T94" fmla="*/ 845 w 5215"/>
                  <a:gd name="T95" fmla="*/ 2689 h 3777"/>
                  <a:gd name="T96" fmla="*/ 569 w 5215"/>
                  <a:gd name="T97" fmla="*/ 3074 h 3777"/>
                  <a:gd name="T98" fmla="*/ 267 w 5215"/>
                  <a:gd name="T99" fmla="*/ 3478 h 3777"/>
                  <a:gd name="T100" fmla="*/ 35 w 5215"/>
                  <a:gd name="T101" fmla="*/ 3777 h 3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15" h="3777">
                    <a:moveTo>
                      <a:pt x="0" y="3777"/>
                    </a:moveTo>
                    <a:lnTo>
                      <a:pt x="66" y="3694"/>
                    </a:lnTo>
                    <a:lnTo>
                      <a:pt x="143" y="3596"/>
                    </a:lnTo>
                    <a:lnTo>
                      <a:pt x="229" y="3483"/>
                    </a:lnTo>
                    <a:lnTo>
                      <a:pt x="324" y="3358"/>
                    </a:lnTo>
                    <a:lnTo>
                      <a:pt x="426" y="3223"/>
                    </a:lnTo>
                    <a:lnTo>
                      <a:pt x="532" y="3080"/>
                    </a:lnTo>
                    <a:lnTo>
                      <a:pt x="643" y="2927"/>
                    </a:lnTo>
                    <a:lnTo>
                      <a:pt x="754" y="2771"/>
                    </a:lnTo>
                    <a:lnTo>
                      <a:pt x="811" y="2691"/>
                    </a:lnTo>
                    <a:lnTo>
                      <a:pt x="867" y="2610"/>
                    </a:lnTo>
                    <a:lnTo>
                      <a:pt x="922" y="2528"/>
                    </a:lnTo>
                    <a:lnTo>
                      <a:pt x="978" y="2446"/>
                    </a:lnTo>
                    <a:lnTo>
                      <a:pt x="1032" y="2364"/>
                    </a:lnTo>
                    <a:lnTo>
                      <a:pt x="1086" y="2282"/>
                    </a:lnTo>
                    <a:lnTo>
                      <a:pt x="1139" y="2200"/>
                    </a:lnTo>
                    <a:lnTo>
                      <a:pt x="1191" y="2118"/>
                    </a:lnTo>
                    <a:lnTo>
                      <a:pt x="1241" y="2037"/>
                    </a:lnTo>
                    <a:lnTo>
                      <a:pt x="1289" y="1956"/>
                    </a:lnTo>
                    <a:lnTo>
                      <a:pt x="1336" y="1877"/>
                    </a:lnTo>
                    <a:lnTo>
                      <a:pt x="1380" y="1799"/>
                    </a:lnTo>
                    <a:lnTo>
                      <a:pt x="1422" y="1723"/>
                    </a:lnTo>
                    <a:lnTo>
                      <a:pt x="1462" y="1647"/>
                    </a:lnTo>
                    <a:lnTo>
                      <a:pt x="1499" y="1574"/>
                    </a:lnTo>
                    <a:lnTo>
                      <a:pt x="1533" y="1503"/>
                    </a:lnTo>
                    <a:lnTo>
                      <a:pt x="1584" y="1398"/>
                    </a:lnTo>
                    <a:lnTo>
                      <a:pt x="1636" y="1299"/>
                    </a:lnTo>
                    <a:lnTo>
                      <a:pt x="1688" y="1206"/>
                    </a:lnTo>
                    <a:lnTo>
                      <a:pt x="1741" y="1117"/>
                    </a:lnTo>
                    <a:lnTo>
                      <a:pt x="1795" y="1034"/>
                    </a:lnTo>
                    <a:lnTo>
                      <a:pt x="1848" y="957"/>
                    </a:lnTo>
                    <a:lnTo>
                      <a:pt x="1902" y="884"/>
                    </a:lnTo>
                    <a:lnTo>
                      <a:pt x="1956" y="817"/>
                    </a:lnTo>
                    <a:lnTo>
                      <a:pt x="2010" y="753"/>
                    </a:lnTo>
                    <a:lnTo>
                      <a:pt x="2064" y="695"/>
                    </a:lnTo>
                    <a:lnTo>
                      <a:pt x="2118" y="641"/>
                    </a:lnTo>
                    <a:lnTo>
                      <a:pt x="2171" y="591"/>
                    </a:lnTo>
                    <a:lnTo>
                      <a:pt x="2223" y="545"/>
                    </a:lnTo>
                    <a:lnTo>
                      <a:pt x="2275" y="503"/>
                    </a:lnTo>
                    <a:lnTo>
                      <a:pt x="2327" y="464"/>
                    </a:lnTo>
                    <a:lnTo>
                      <a:pt x="2378" y="430"/>
                    </a:lnTo>
                    <a:lnTo>
                      <a:pt x="2426" y="398"/>
                    </a:lnTo>
                    <a:lnTo>
                      <a:pt x="2475" y="369"/>
                    </a:lnTo>
                    <a:lnTo>
                      <a:pt x="2523" y="344"/>
                    </a:lnTo>
                    <a:lnTo>
                      <a:pt x="2568" y="322"/>
                    </a:lnTo>
                    <a:lnTo>
                      <a:pt x="2612" y="302"/>
                    </a:lnTo>
                    <a:lnTo>
                      <a:pt x="2655" y="284"/>
                    </a:lnTo>
                    <a:lnTo>
                      <a:pt x="2696" y="270"/>
                    </a:lnTo>
                    <a:lnTo>
                      <a:pt x="2735" y="257"/>
                    </a:lnTo>
                    <a:lnTo>
                      <a:pt x="2773" y="246"/>
                    </a:lnTo>
                    <a:lnTo>
                      <a:pt x="2808" y="236"/>
                    </a:lnTo>
                    <a:lnTo>
                      <a:pt x="2841" y="229"/>
                    </a:lnTo>
                    <a:lnTo>
                      <a:pt x="2871" y="223"/>
                    </a:lnTo>
                    <a:lnTo>
                      <a:pt x="2899" y="219"/>
                    </a:lnTo>
                    <a:lnTo>
                      <a:pt x="2925" y="216"/>
                    </a:lnTo>
                    <a:lnTo>
                      <a:pt x="2949" y="214"/>
                    </a:lnTo>
                    <a:lnTo>
                      <a:pt x="2969" y="211"/>
                    </a:lnTo>
                    <a:lnTo>
                      <a:pt x="3059" y="206"/>
                    </a:lnTo>
                    <a:lnTo>
                      <a:pt x="3178" y="196"/>
                    </a:lnTo>
                    <a:lnTo>
                      <a:pt x="3321" y="183"/>
                    </a:lnTo>
                    <a:lnTo>
                      <a:pt x="3483" y="169"/>
                    </a:lnTo>
                    <a:lnTo>
                      <a:pt x="3659" y="153"/>
                    </a:lnTo>
                    <a:lnTo>
                      <a:pt x="3844" y="135"/>
                    </a:lnTo>
                    <a:lnTo>
                      <a:pt x="4035" y="116"/>
                    </a:lnTo>
                    <a:lnTo>
                      <a:pt x="4227" y="98"/>
                    </a:lnTo>
                    <a:lnTo>
                      <a:pt x="4413" y="80"/>
                    </a:lnTo>
                    <a:lnTo>
                      <a:pt x="4590" y="61"/>
                    </a:lnTo>
                    <a:lnTo>
                      <a:pt x="4755" y="45"/>
                    </a:lnTo>
                    <a:lnTo>
                      <a:pt x="4899" y="30"/>
                    </a:lnTo>
                    <a:lnTo>
                      <a:pt x="5021" y="18"/>
                    </a:lnTo>
                    <a:lnTo>
                      <a:pt x="5115" y="9"/>
                    </a:lnTo>
                    <a:lnTo>
                      <a:pt x="5176" y="2"/>
                    </a:lnTo>
                    <a:lnTo>
                      <a:pt x="5199" y="0"/>
                    </a:lnTo>
                    <a:lnTo>
                      <a:pt x="5205" y="0"/>
                    </a:lnTo>
                    <a:lnTo>
                      <a:pt x="5209" y="3"/>
                    </a:lnTo>
                    <a:lnTo>
                      <a:pt x="5212" y="6"/>
                    </a:lnTo>
                    <a:lnTo>
                      <a:pt x="5215" y="12"/>
                    </a:lnTo>
                    <a:lnTo>
                      <a:pt x="5213" y="17"/>
                    </a:lnTo>
                    <a:lnTo>
                      <a:pt x="5211" y="21"/>
                    </a:lnTo>
                    <a:lnTo>
                      <a:pt x="5207" y="25"/>
                    </a:lnTo>
                    <a:lnTo>
                      <a:pt x="5203" y="27"/>
                    </a:lnTo>
                    <a:lnTo>
                      <a:pt x="5179" y="29"/>
                    </a:lnTo>
                    <a:lnTo>
                      <a:pt x="5117" y="36"/>
                    </a:lnTo>
                    <a:lnTo>
                      <a:pt x="5023" y="45"/>
                    </a:lnTo>
                    <a:lnTo>
                      <a:pt x="4901" y="57"/>
                    </a:lnTo>
                    <a:lnTo>
                      <a:pt x="4757" y="72"/>
                    </a:lnTo>
                    <a:lnTo>
                      <a:pt x="4594" y="88"/>
                    </a:lnTo>
                    <a:lnTo>
                      <a:pt x="4415" y="107"/>
                    </a:lnTo>
                    <a:lnTo>
                      <a:pt x="4229" y="125"/>
                    </a:lnTo>
                    <a:lnTo>
                      <a:pt x="4038" y="143"/>
                    </a:lnTo>
                    <a:lnTo>
                      <a:pt x="3846" y="162"/>
                    </a:lnTo>
                    <a:lnTo>
                      <a:pt x="3661" y="180"/>
                    </a:lnTo>
                    <a:lnTo>
                      <a:pt x="3485" y="196"/>
                    </a:lnTo>
                    <a:lnTo>
                      <a:pt x="3323" y="210"/>
                    </a:lnTo>
                    <a:lnTo>
                      <a:pt x="3180" y="223"/>
                    </a:lnTo>
                    <a:lnTo>
                      <a:pt x="3061" y="233"/>
                    </a:lnTo>
                    <a:lnTo>
                      <a:pt x="2971" y="238"/>
                    </a:lnTo>
                    <a:lnTo>
                      <a:pt x="2932" y="242"/>
                    </a:lnTo>
                    <a:lnTo>
                      <a:pt x="2892" y="247"/>
                    </a:lnTo>
                    <a:lnTo>
                      <a:pt x="2852" y="254"/>
                    </a:lnTo>
                    <a:lnTo>
                      <a:pt x="2811" y="263"/>
                    </a:lnTo>
                    <a:lnTo>
                      <a:pt x="2769" y="274"/>
                    </a:lnTo>
                    <a:lnTo>
                      <a:pt x="2726" y="288"/>
                    </a:lnTo>
                    <a:lnTo>
                      <a:pt x="2682" y="303"/>
                    </a:lnTo>
                    <a:lnTo>
                      <a:pt x="2638" y="321"/>
                    </a:lnTo>
                    <a:lnTo>
                      <a:pt x="2593" y="341"/>
                    </a:lnTo>
                    <a:lnTo>
                      <a:pt x="2547" y="363"/>
                    </a:lnTo>
                    <a:lnTo>
                      <a:pt x="2502" y="387"/>
                    </a:lnTo>
                    <a:lnTo>
                      <a:pt x="2457" y="414"/>
                    </a:lnTo>
                    <a:lnTo>
                      <a:pt x="2410" y="444"/>
                    </a:lnTo>
                    <a:lnTo>
                      <a:pt x="2364" y="475"/>
                    </a:lnTo>
                    <a:lnTo>
                      <a:pt x="2316" y="509"/>
                    </a:lnTo>
                    <a:lnTo>
                      <a:pt x="2270" y="546"/>
                    </a:lnTo>
                    <a:lnTo>
                      <a:pt x="2223" y="585"/>
                    </a:lnTo>
                    <a:lnTo>
                      <a:pt x="2176" y="627"/>
                    </a:lnTo>
                    <a:lnTo>
                      <a:pt x="2130" y="672"/>
                    </a:lnTo>
                    <a:lnTo>
                      <a:pt x="2083" y="719"/>
                    </a:lnTo>
                    <a:lnTo>
                      <a:pt x="2037" y="770"/>
                    </a:lnTo>
                    <a:lnTo>
                      <a:pt x="1990" y="822"/>
                    </a:lnTo>
                    <a:lnTo>
                      <a:pt x="1945" y="879"/>
                    </a:lnTo>
                    <a:lnTo>
                      <a:pt x="1900" y="937"/>
                    </a:lnTo>
                    <a:lnTo>
                      <a:pt x="1854" y="998"/>
                    </a:lnTo>
                    <a:lnTo>
                      <a:pt x="1810" y="1063"/>
                    </a:lnTo>
                    <a:lnTo>
                      <a:pt x="1767" y="1130"/>
                    </a:lnTo>
                    <a:lnTo>
                      <a:pt x="1724" y="1200"/>
                    </a:lnTo>
                    <a:lnTo>
                      <a:pt x="1680" y="1275"/>
                    </a:lnTo>
                    <a:lnTo>
                      <a:pt x="1639" y="1351"/>
                    </a:lnTo>
                    <a:lnTo>
                      <a:pt x="1598" y="1431"/>
                    </a:lnTo>
                    <a:lnTo>
                      <a:pt x="1558" y="1514"/>
                    </a:lnTo>
                    <a:lnTo>
                      <a:pt x="1524" y="1585"/>
                    </a:lnTo>
                    <a:lnTo>
                      <a:pt x="1487" y="1657"/>
                    </a:lnTo>
                    <a:lnTo>
                      <a:pt x="1448" y="1731"/>
                    </a:lnTo>
                    <a:lnTo>
                      <a:pt x="1407" y="1807"/>
                    </a:lnTo>
                    <a:lnTo>
                      <a:pt x="1363" y="1885"/>
                    </a:lnTo>
                    <a:lnTo>
                      <a:pt x="1318" y="1962"/>
                    </a:lnTo>
                    <a:lnTo>
                      <a:pt x="1270" y="2042"/>
                    </a:lnTo>
                    <a:lnTo>
                      <a:pt x="1220" y="2122"/>
                    </a:lnTo>
                    <a:lnTo>
                      <a:pt x="1170" y="2203"/>
                    </a:lnTo>
                    <a:lnTo>
                      <a:pt x="1118" y="2284"/>
                    </a:lnTo>
                    <a:lnTo>
                      <a:pt x="1065" y="2365"/>
                    </a:lnTo>
                    <a:lnTo>
                      <a:pt x="1011" y="2446"/>
                    </a:lnTo>
                    <a:lnTo>
                      <a:pt x="956" y="2528"/>
                    </a:lnTo>
                    <a:lnTo>
                      <a:pt x="901" y="2608"/>
                    </a:lnTo>
                    <a:lnTo>
                      <a:pt x="845" y="2689"/>
                    </a:lnTo>
                    <a:lnTo>
                      <a:pt x="789" y="2768"/>
                    </a:lnTo>
                    <a:lnTo>
                      <a:pt x="678" y="2924"/>
                    </a:lnTo>
                    <a:lnTo>
                      <a:pt x="569" y="3074"/>
                    </a:lnTo>
                    <a:lnTo>
                      <a:pt x="463" y="3218"/>
                    </a:lnTo>
                    <a:lnTo>
                      <a:pt x="362" y="3353"/>
                    </a:lnTo>
                    <a:lnTo>
                      <a:pt x="267" y="3478"/>
                    </a:lnTo>
                    <a:lnTo>
                      <a:pt x="179" y="3591"/>
                    </a:lnTo>
                    <a:lnTo>
                      <a:pt x="102" y="3692"/>
                    </a:lnTo>
                    <a:lnTo>
                      <a:pt x="35" y="3777"/>
                    </a:lnTo>
                    <a:lnTo>
                      <a:pt x="0" y="3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01"/>
              <p:cNvSpPr>
                <a:spLocks/>
              </p:cNvSpPr>
              <p:nvPr userDrawn="1"/>
            </p:nvSpPr>
            <p:spPr bwMode="auto">
              <a:xfrm>
                <a:off x="501" y="3501"/>
                <a:ext cx="645" cy="819"/>
              </a:xfrm>
              <a:custGeom>
                <a:avLst/>
                <a:gdLst>
                  <a:gd name="T0" fmla="*/ 94 w 1936"/>
                  <a:gd name="T1" fmla="*/ 2352 h 2457"/>
                  <a:gd name="T2" fmla="*/ 334 w 1936"/>
                  <a:gd name="T3" fmla="*/ 2082 h 2457"/>
                  <a:gd name="T4" fmla="*/ 621 w 1936"/>
                  <a:gd name="T5" fmla="*/ 1752 h 2457"/>
                  <a:gd name="T6" fmla="*/ 931 w 1936"/>
                  <a:gd name="T7" fmla="*/ 1388 h 2457"/>
                  <a:gd name="T8" fmla="*/ 1162 w 1936"/>
                  <a:gd name="T9" fmla="*/ 1108 h 2457"/>
                  <a:gd name="T10" fmla="*/ 1310 w 1936"/>
                  <a:gd name="T11" fmla="*/ 923 h 2457"/>
                  <a:gd name="T12" fmla="*/ 1448 w 1936"/>
                  <a:gd name="T13" fmla="*/ 745 h 2457"/>
                  <a:gd name="T14" fmla="*/ 1574 w 1936"/>
                  <a:gd name="T15" fmla="*/ 575 h 2457"/>
                  <a:gd name="T16" fmla="*/ 1687 w 1936"/>
                  <a:gd name="T17" fmla="*/ 418 h 2457"/>
                  <a:gd name="T18" fmla="*/ 1780 w 1936"/>
                  <a:gd name="T19" fmla="*/ 276 h 2457"/>
                  <a:gd name="T20" fmla="*/ 1850 w 1936"/>
                  <a:gd name="T21" fmla="*/ 152 h 2457"/>
                  <a:gd name="T22" fmla="*/ 1896 w 1936"/>
                  <a:gd name="T23" fmla="*/ 51 h 2457"/>
                  <a:gd name="T24" fmla="*/ 1911 w 1936"/>
                  <a:gd name="T25" fmla="*/ 6 h 2457"/>
                  <a:gd name="T26" fmla="*/ 1920 w 1936"/>
                  <a:gd name="T27" fmla="*/ 0 h 2457"/>
                  <a:gd name="T28" fmla="*/ 1931 w 1936"/>
                  <a:gd name="T29" fmla="*/ 2 h 2457"/>
                  <a:gd name="T30" fmla="*/ 1936 w 1936"/>
                  <a:gd name="T31" fmla="*/ 11 h 2457"/>
                  <a:gd name="T32" fmla="*/ 1929 w 1936"/>
                  <a:gd name="T33" fmla="*/ 41 h 2457"/>
                  <a:gd name="T34" fmla="*/ 1906 w 1936"/>
                  <a:gd name="T35" fmla="*/ 98 h 2457"/>
                  <a:gd name="T36" fmla="*/ 1873 w 1936"/>
                  <a:gd name="T37" fmla="*/ 165 h 2457"/>
                  <a:gd name="T38" fmla="*/ 1831 w 1936"/>
                  <a:gd name="T39" fmla="*/ 240 h 2457"/>
                  <a:gd name="T40" fmla="*/ 1781 w 1936"/>
                  <a:gd name="T41" fmla="*/ 322 h 2457"/>
                  <a:gd name="T42" fmla="*/ 1722 w 1936"/>
                  <a:gd name="T43" fmla="*/ 410 h 2457"/>
                  <a:gd name="T44" fmla="*/ 1623 w 1936"/>
                  <a:gd name="T45" fmla="*/ 553 h 2457"/>
                  <a:gd name="T46" fmla="*/ 1471 w 1936"/>
                  <a:gd name="T47" fmla="*/ 758 h 2457"/>
                  <a:gd name="T48" fmla="*/ 1304 w 1936"/>
                  <a:gd name="T49" fmla="*/ 973 h 2457"/>
                  <a:gd name="T50" fmla="*/ 1130 w 1936"/>
                  <a:gd name="T51" fmla="*/ 1190 h 2457"/>
                  <a:gd name="T52" fmla="*/ 953 w 1936"/>
                  <a:gd name="T53" fmla="*/ 1403 h 2457"/>
                  <a:gd name="T54" fmla="*/ 813 w 1936"/>
                  <a:gd name="T55" fmla="*/ 1570 h 2457"/>
                  <a:gd name="T56" fmla="*/ 702 w 1936"/>
                  <a:gd name="T57" fmla="*/ 1700 h 2457"/>
                  <a:gd name="T58" fmla="*/ 589 w 1936"/>
                  <a:gd name="T59" fmla="*/ 1832 h 2457"/>
                  <a:gd name="T60" fmla="*/ 476 w 1936"/>
                  <a:gd name="T61" fmla="*/ 1962 h 2457"/>
                  <a:gd name="T62" fmla="*/ 366 w 1936"/>
                  <a:gd name="T63" fmla="*/ 2088 h 2457"/>
                  <a:gd name="T64" fmla="*/ 261 w 1936"/>
                  <a:gd name="T65" fmla="*/ 2207 h 2457"/>
                  <a:gd name="T66" fmla="*/ 164 w 1936"/>
                  <a:gd name="T67" fmla="*/ 2316 h 2457"/>
                  <a:gd name="T68" fmla="*/ 77 w 1936"/>
                  <a:gd name="T69" fmla="*/ 2414 h 2457"/>
                  <a:gd name="T70" fmla="*/ 0 w 1936"/>
                  <a:gd name="T71" fmla="*/ 2457 h 2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6" h="2457">
                    <a:moveTo>
                      <a:pt x="0" y="2457"/>
                    </a:moveTo>
                    <a:lnTo>
                      <a:pt x="94" y="2352"/>
                    </a:lnTo>
                    <a:lnTo>
                      <a:pt x="206" y="2227"/>
                    </a:lnTo>
                    <a:lnTo>
                      <a:pt x="334" y="2082"/>
                    </a:lnTo>
                    <a:lnTo>
                      <a:pt x="473" y="1924"/>
                    </a:lnTo>
                    <a:lnTo>
                      <a:pt x="621" y="1752"/>
                    </a:lnTo>
                    <a:lnTo>
                      <a:pt x="774" y="1573"/>
                    </a:lnTo>
                    <a:lnTo>
                      <a:pt x="931" y="1388"/>
                    </a:lnTo>
                    <a:lnTo>
                      <a:pt x="1085" y="1200"/>
                    </a:lnTo>
                    <a:lnTo>
                      <a:pt x="1162" y="1108"/>
                    </a:lnTo>
                    <a:lnTo>
                      <a:pt x="1236" y="1015"/>
                    </a:lnTo>
                    <a:lnTo>
                      <a:pt x="1310" y="923"/>
                    </a:lnTo>
                    <a:lnTo>
                      <a:pt x="1380" y="833"/>
                    </a:lnTo>
                    <a:lnTo>
                      <a:pt x="1448" y="745"/>
                    </a:lnTo>
                    <a:lnTo>
                      <a:pt x="1513" y="659"/>
                    </a:lnTo>
                    <a:lnTo>
                      <a:pt x="1574" y="575"/>
                    </a:lnTo>
                    <a:lnTo>
                      <a:pt x="1633" y="495"/>
                    </a:lnTo>
                    <a:lnTo>
                      <a:pt x="1687" y="418"/>
                    </a:lnTo>
                    <a:lnTo>
                      <a:pt x="1735" y="344"/>
                    </a:lnTo>
                    <a:lnTo>
                      <a:pt x="1780" y="276"/>
                    </a:lnTo>
                    <a:lnTo>
                      <a:pt x="1817" y="212"/>
                    </a:lnTo>
                    <a:lnTo>
                      <a:pt x="1850" y="152"/>
                    </a:lnTo>
                    <a:lnTo>
                      <a:pt x="1877" y="99"/>
                    </a:lnTo>
                    <a:lnTo>
                      <a:pt x="1896" y="51"/>
                    </a:lnTo>
                    <a:lnTo>
                      <a:pt x="1909" y="10"/>
                    </a:lnTo>
                    <a:lnTo>
                      <a:pt x="1911" y="6"/>
                    </a:lnTo>
                    <a:lnTo>
                      <a:pt x="1916" y="1"/>
                    </a:lnTo>
                    <a:lnTo>
                      <a:pt x="1920" y="0"/>
                    </a:lnTo>
                    <a:lnTo>
                      <a:pt x="1925" y="0"/>
                    </a:lnTo>
                    <a:lnTo>
                      <a:pt x="1931" y="2"/>
                    </a:lnTo>
                    <a:lnTo>
                      <a:pt x="1934" y="6"/>
                    </a:lnTo>
                    <a:lnTo>
                      <a:pt x="1936" y="11"/>
                    </a:lnTo>
                    <a:lnTo>
                      <a:pt x="1935" y="16"/>
                    </a:lnTo>
                    <a:lnTo>
                      <a:pt x="1929" y="41"/>
                    </a:lnTo>
                    <a:lnTo>
                      <a:pt x="1919" y="69"/>
                    </a:lnTo>
                    <a:lnTo>
                      <a:pt x="1906" y="98"/>
                    </a:lnTo>
                    <a:lnTo>
                      <a:pt x="1891" y="131"/>
                    </a:lnTo>
                    <a:lnTo>
                      <a:pt x="1873" y="165"/>
                    </a:lnTo>
                    <a:lnTo>
                      <a:pt x="1853" y="202"/>
                    </a:lnTo>
                    <a:lnTo>
                      <a:pt x="1831" y="240"/>
                    </a:lnTo>
                    <a:lnTo>
                      <a:pt x="1807" y="280"/>
                    </a:lnTo>
                    <a:lnTo>
                      <a:pt x="1781" y="322"/>
                    </a:lnTo>
                    <a:lnTo>
                      <a:pt x="1753" y="365"/>
                    </a:lnTo>
                    <a:lnTo>
                      <a:pt x="1722" y="410"/>
                    </a:lnTo>
                    <a:lnTo>
                      <a:pt x="1691" y="457"/>
                    </a:lnTo>
                    <a:lnTo>
                      <a:pt x="1623" y="553"/>
                    </a:lnTo>
                    <a:lnTo>
                      <a:pt x="1548" y="654"/>
                    </a:lnTo>
                    <a:lnTo>
                      <a:pt x="1471" y="758"/>
                    </a:lnTo>
                    <a:lnTo>
                      <a:pt x="1389" y="865"/>
                    </a:lnTo>
                    <a:lnTo>
                      <a:pt x="1304" y="973"/>
                    </a:lnTo>
                    <a:lnTo>
                      <a:pt x="1217" y="1082"/>
                    </a:lnTo>
                    <a:lnTo>
                      <a:pt x="1130" y="1190"/>
                    </a:lnTo>
                    <a:lnTo>
                      <a:pt x="1041" y="1298"/>
                    </a:lnTo>
                    <a:lnTo>
                      <a:pt x="953" y="1403"/>
                    </a:lnTo>
                    <a:lnTo>
                      <a:pt x="867" y="1506"/>
                    </a:lnTo>
                    <a:lnTo>
                      <a:pt x="813" y="1570"/>
                    </a:lnTo>
                    <a:lnTo>
                      <a:pt x="758" y="1634"/>
                    </a:lnTo>
                    <a:lnTo>
                      <a:pt x="702" y="1700"/>
                    </a:lnTo>
                    <a:lnTo>
                      <a:pt x="646" y="1766"/>
                    </a:lnTo>
                    <a:lnTo>
                      <a:pt x="589" y="1832"/>
                    </a:lnTo>
                    <a:lnTo>
                      <a:pt x="532" y="1897"/>
                    </a:lnTo>
                    <a:lnTo>
                      <a:pt x="476" y="1962"/>
                    </a:lnTo>
                    <a:lnTo>
                      <a:pt x="421" y="2025"/>
                    </a:lnTo>
                    <a:lnTo>
                      <a:pt x="366" y="2088"/>
                    </a:lnTo>
                    <a:lnTo>
                      <a:pt x="313" y="2148"/>
                    </a:lnTo>
                    <a:lnTo>
                      <a:pt x="261" y="2207"/>
                    </a:lnTo>
                    <a:lnTo>
                      <a:pt x="212" y="2263"/>
                    </a:lnTo>
                    <a:lnTo>
                      <a:pt x="164" y="2316"/>
                    </a:lnTo>
                    <a:lnTo>
                      <a:pt x="120" y="2366"/>
                    </a:lnTo>
                    <a:lnTo>
                      <a:pt x="77" y="2414"/>
                    </a:lnTo>
                    <a:lnTo>
                      <a:pt x="38" y="2457"/>
                    </a:lnTo>
                    <a:lnTo>
                      <a:pt x="0" y="24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02"/>
              <p:cNvSpPr>
                <a:spLocks/>
              </p:cNvSpPr>
              <p:nvPr userDrawn="1"/>
            </p:nvSpPr>
            <p:spPr bwMode="auto">
              <a:xfrm>
                <a:off x="374" y="3057"/>
                <a:ext cx="1067" cy="1253"/>
              </a:xfrm>
              <a:custGeom>
                <a:avLst/>
                <a:gdLst>
                  <a:gd name="T0" fmla="*/ 11 w 3200"/>
                  <a:gd name="T1" fmla="*/ 3759 h 3760"/>
                  <a:gd name="T2" fmla="*/ 3 w 3200"/>
                  <a:gd name="T3" fmla="*/ 3754 h 3760"/>
                  <a:gd name="T4" fmla="*/ 0 w 3200"/>
                  <a:gd name="T5" fmla="*/ 3746 h 3760"/>
                  <a:gd name="T6" fmla="*/ 14 w 3200"/>
                  <a:gd name="T7" fmla="*/ 3712 h 3760"/>
                  <a:gd name="T8" fmla="*/ 99 w 3200"/>
                  <a:gd name="T9" fmla="*/ 3532 h 3760"/>
                  <a:gd name="T10" fmla="*/ 246 w 3200"/>
                  <a:gd name="T11" fmla="*/ 3218 h 3760"/>
                  <a:gd name="T12" fmla="*/ 435 w 3200"/>
                  <a:gd name="T13" fmla="*/ 2813 h 3760"/>
                  <a:gd name="T14" fmla="*/ 649 w 3200"/>
                  <a:gd name="T15" fmla="*/ 2360 h 3760"/>
                  <a:gd name="T16" fmla="*/ 867 w 3200"/>
                  <a:gd name="T17" fmla="*/ 1900 h 3760"/>
                  <a:gd name="T18" fmla="*/ 1069 w 3200"/>
                  <a:gd name="T19" fmla="*/ 1476 h 3760"/>
                  <a:gd name="T20" fmla="*/ 1237 w 3200"/>
                  <a:gd name="T21" fmla="*/ 1129 h 3760"/>
                  <a:gd name="T22" fmla="*/ 1336 w 3200"/>
                  <a:gd name="T23" fmla="*/ 938 h 3760"/>
                  <a:gd name="T24" fmla="*/ 1422 w 3200"/>
                  <a:gd name="T25" fmla="*/ 825 h 3760"/>
                  <a:gd name="T26" fmla="*/ 1531 w 3200"/>
                  <a:gd name="T27" fmla="*/ 718 h 3760"/>
                  <a:gd name="T28" fmla="*/ 1660 w 3200"/>
                  <a:gd name="T29" fmla="*/ 619 h 3760"/>
                  <a:gd name="T30" fmla="*/ 1802 w 3200"/>
                  <a:gd name="T31" fmla="*/ 526 h 3760"/>
                  <a:gd name="T32" fmla="*/ 1955 w 3200"/>
                  <a:gd name="T33" fmla="*/ 440 h 3760"/>
                  <a:gd name="T34" fmla="*/ 2116 w 3200"/>
                  <a:gd name="T35" fmla="*/ 363 h 3760"/>
                  <a:gd name="T36" fmla="*/ 2278 w 3200"/>
                  <a:gd name="T37" fmla="*/ 291 h 3760"/>
                  <a:gd name="T38" fmla="*/ 2439 w 3200"/>
                  <a:gd name="T39" fmla="*/ 228 h 3760"/>
                  <a:gd name="T40" fmla="*/ 2595 w 3200"/>
                  <a:gd name="T41" fmla="*/ 173 h 3760"/>
                  <a:gd name="T42" fmla="*/ 2740 w 3200"/>
                  <a:gd name="T43" fmla="*/ 124 h 3760"/>
                  <a:gd name="T44" fmla="*/ 2872 w 3200"/>
                  <a:gd name="T45" fmla="*/ 83 h 3760"/>
                  <a:gd name="T46" fmla="*/ 3035 w 3200"/>
                  <a:gd name="T47" fmla="*/ 38 h 3760"/>
                  <a:gd name="T48" fmla="*/ 3167 w 3200"/>
                  <a:gd name="T49" fmla="*/ 4 h 3760"/>
                  <a:gd name="T50" fmla="*/ 3192 w 3200"/>
                  <a:gd name="T51" fmla="*/ 1 h 3760"/>
                  <a:gd name="T52" fmla="*/ 3199 w 3200"/>
                  <a:gd name="T53" fmla="*/ 9 h 3760"/>
                  <a:gd name="T54" fmla="*/ 3199 w 3200"/>
                  <a:gd name="T55" fmla="*/ 19 h 3760"/>
                  <a:gd name="T56" fmla="*/ 3192 w 3200"/>
                  <a:gd name="T57" fmla="*/ 26 h 3760"/>
                  <a:gd name="T58" fmla="*/ 3176 w 3200"/>
                  <a:gd name="T59" fmla="*/ 29 h 3760"/>
                  <a:gd name="T60" fmla="*/ 3130 w 3200"/>
                  <a:gd name="T61" fmla="*/ 39 h 3760"/>
                  <a:gd name="T62" fmla="*/ 3013 w 3200"/>
                  <a:gd name="T63" fmla="*/ 68 h 3760"/>
                  <a:gd name="T64" fmla="*/ 2846 w 3200"/>
                  <a:gd name="T65" fmla="*/ 117 h 3760"/>
                  <a:gd name="T66" fmla="*/ 2715 w 3200"/>
                  <a:gd name="T67" fmla="*/ 159 h 3760"/>
                  <a:gd name="T68" fmla="*/ 2571 w 3200"/>
                  <a:gd name="T69" fmla="*/ 207 h 3760"/>
                  <a:gd name="T70" fmla="*/ 2419 w 3200"/>
                  <a:gd name="T71" fmla="*/ 265 h 3760"/>
                  <a:gd name="T72" fmla="*/ 2262 w 3200"/>
                  <a:gd name="T73" fmla="*/ 328 h 3760"/>
                  <a:gd name="T74" fmla="*/ 2104 w 3200"/>
                  <a:gd name="T75" fmla="*/ 398 h 3760"/>
                  <a:gd name="T76" fmla="*/ 1950 w 3200"/>
                  <a:gd name="T77" fmla="*/ 476 h 3760"/>
                  <a:gd name="T78" fmla="*/ 1802 w 3200"/>
                  <a:gd name="T79" fmla="*/ 559 h 3760"/>
                  <a:gd name="T80" fmla="*/ 1666 w 3200"/>
                  <a:gd name="T81" fmla="*/ 650 h 3760"/>
                  <a:gd name="T82" fmla="*/ 1544 w 3200"/>
                  <a:gd name="T83" fmla="*/ 745 h 3760"/>
                  <a:gd name="T84" fmla="*/ 1439 w 3200"/>
                  <a:gd name="T85" fmla="*/ 846 h 3760"/>
                  <a:gd name="T86" fmla="*/ 1357 w 3200"/>
                  <a:gd name="T87" fmla="*/ 954 h 3760"/>
                  <a:gd name="T88" fmla="*/ 1261 w 3200"/>
                  <a:gd name="T89" fmla="*/ 1141 h 3760"/>
                  <a:gd name="T90" fmla="*/ 1094 w 3200"/>
                  <a:gd name="T91" fmla="*/ 1488 h 3760"/>
                  <a:gd name="T92" fmla="*/ 891 w 3200"/>
                  <a:gd name="T93" fmla="*/ 1912 h 3760"/>
                  <a:gd name="T94" fmla="*/ 674 w 3200"/>
                  <a:gd name="T95" fmla="*/ 2372 h 3760"/>
                  <a:gd name="T96" fmla="*/ 460 w 3200"/>
                  <a:gd name="T97" fmla="*/ 2825 h 3760"/>
                  <a:gd name="T98" fmla="*/ 270 w 3200"/>
                  <a:gd name="T99" fmla="*/ 3230 h 3760"/>
                  <a:gd name="T100" fmla="*/ 123 w 3200"/>
                  <a:gd name="T101" fmla="*/ 3543 h 3760"/>
                  <a:gd name="T102" fmla="*/ 39 w 3200"/>
                  <a:gd name="T103" fmla="*/ 3724 h 3760"/>
                  <a:gd name="T104" fmla="*/ 24 w 3200"/>
                  <a:gd name="T105" fmla="*/ 3754 h 3760"/>
                  <a:gd name="T106" fmla="*/ 17 w 3200"/>
                  <a:gd name="T107" fmla="*/ 3759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0" h="3760">
                    <a:moveTo>
                      <a:pt x="14" y="3760"/>
                    </a:moveTo>
                    <a:lnTo>
                      <a:pt x="11" y="3759"/>
                    </a:lnTo>
                    <a:lnTo>
                      <a:pt x="7" y="3758"/>
                    </a:lnTo>
                    <a:lnTo>
                      <a:pt x="3" y="3754"/>
                    </a:lnTo>
                    <a:lnTo>
                      <a:pt x="1" y="3750"/>
                    </a:lnTo>
                    <a:lnTo>
                      <a:pt x="0" y="3746"/>
                    </a:lnTo>
                    <a:lnTo>
                      <a:pt x="1" y="3740"/>
                    </a:lnTo>
                    <a:lnTo>
                      <a:pt x="14" y="3712"/>
                    </a:lnTo>
                    <a:lnTo>
                      <a:pt x="47" y="3641"/>
                    </a:lnTo>
                    <a:lnTo>
                      <a:pt x="99" y="3532"/>
                    </a:lnTo>
                    <a:lnTo>
                      <a:pt x="165" y="3389"/>
                    </a:lnTo>
                    <a:lnTo>
                      <a:pt x="246" y="3218"/>
                    </a:lnTo>
                    <a:lnTo>
                      <a:pt x="337" y="3025"/>
                    </a:lnTo>
                    <a:lnTo>
                      <a:pt x="435" y="2813"/>
                    </a:lnTo>
                    <a:lnTo>
                      <a:pt x="541" y="2591"/>
                    </a:lnTo>
                    <a:lnTo>
                      <a:pt x="649" y="2360"/>
                    </a:lnTo>
                    <a:lnTo>
                      <a:pt x="759" y="2129"/>
                    </a:lnTo>
                    <a:lnTo>
                      <a:pt x="867" y="1900"/>
                    </a:lnTo>
                    <a:lnTo>
                      <a:pt x="971" y="1681"/>
                    </a:lnTo>
                    <a:lnTo>
                      <a:pt x="1069" y="1476"/>
                    </a:lnTo>
                    <a:lnTo>
                      <a:pt x="1159" y="1290"/>
                    </a:lnTo>
                    <a:lnTo>
                      <a:pt x="1237" y="1129"/>
                    </a:lnTo>
                    <a:lnTo>
                      <a:pt x="1302" y="997"/>
                    </a:lnTo>
                    <a:lnTo>
                      <a:pt x="1336" y="938"/>
                    </a:lnTo>
                    <a:lnTo>
                      <a:pt x="1376" y="881"/>
                    </a:lnTo>
                    <a:lnTo>
                      <a:pt x="1422" y="825"/>
                    </a:lnTo>
                    <a:lnTo>
                      <a:pt x="1474" y="771"/>
                    </a:lnTo>
                    <a:lnTo>
                      <a:pt x="1531" y="718"/>
                    </a:lnTo>
                    <a:lnTo>
                      <a:pt x="1594" y="668"/>
                    </a:lnTo>
                    <a:lnTo>
                      <a:pt x="1660" y="619"/>
                    </a:lnTo>
                    <a:lnTo>
                      <a:pt x="1730" y="572"/>
                    </a:lnTo>
                    <a:lnTo>
                      <a:pt x="1802" y="526"/>
                    </a:lnTo>
                    <a:lnTo>
                      <a:pt x="1878" y="483"/>
                    </a:lnTo>
                    <a:lnTo>
                      <a:pt x="1955" y="440"/>
                    </a:lnTo>
                    <a:lnTo>
                      <a:pt x="2035" y="401"/>
                    </a:lnTo>
                    <a:lnTo>
                      <a:pt x="2116" y="363"/>
                    </a:lnTo>
                    <a:lnTo>
                      <a:pt x="2197" y="326"/>
                    </a:lnTo>
                    <a:lnTo>
                      <a:pt x="2278" y="291"/>
                    </a:lnTo>
                    <a:lnTo>
                      <a:pt x="2359" y="259"/>
                    </a:lnTo>
                    <a:lnTo>
                      <a:pt x="2439" y="228"/>
                    </a:lnTo>
                    <a:lnTo>
                      <a:pt x="2518" y="200"/>
                    </a:lnTo>
                    <a:lnTo>
                      <a:pt x="2595" y="173"/>
                    </a:lnTo>
                    <a:lnTo>
                      <a:pt x="2669" y="147"/>
                    </a:lnTo>
                    <a:lnTo>
                      <a:pt x="2740" y="124"/>
                    </a:lnTo>
                    <a:lnTo>
                      <a:pt x="2809" y="103"/>
                    </a:lnTo>
                    <a:lnTo>
                      <a:pt x="2872" y="83"/>
                    </a:lnTo>
                    <a:lnTo>
                      <a:pt x="2932" y="66"/>
                    </a:lnTo>
                    <a:lnTo>
                      <a:pt x="3035" y="38"/>
                    </a:lnTo>
                    <a:lnTo>
                      <a:pt x="3115" y="17"/>
                    </a:lnTo>
                    <a:lnTo>
                      <a:pt x="3167" y="4"/>
                    </a:lnTo>
                    <a:lnTo>
                      <a:pt x="3186" y="0"/>
                    </a:lnTo>
                    <a:lnTo>
                      <a:pt x="3192" y="1"/>
                    </a:lnTo>
                    <a:lnTo>
                      <a:pt x="3196" y="4"/>
                    </a:lnTo>
                    <a:lnTo>
                      <a:pt x="3199" y="9"/>
                    </a:lnTo>
                    <a:lnTo>
                      <a:pt x="3200" y="14"/>
                    </a:lnTo>
                    <a:lnTo>
                      <a:pt x="3199" y="19"/>
                    </a:lnTo>
                    <a:lnTo>
                      <a:pt x="3196" y="24"/>
                    </a:lnTo>
                    <a:lnTo>
                      <a:pt x="3192" y="26"/>
                    </a:lnTo>
                    <a:lnTo>
                      <a:pt x="3188" y="27"/>
                    </a:lnTo>
                    <a:lnTo>
                      <a:pt x="3176" y="29"/>
                    </a:lnTo>
                    <a:lnTo>
                      <a:pt x="3157" y="32"/>
                    </a:lnTo>
                    <a:lnTo>
                      <a:pt x="3130" y="39"/>
                    </a:lnTo>
                    <a:lnTo>
                      <a:pt x="3098" y="46"/>
                    </a:lnTo>
                    <a:lnTo>
                      <a:pt x="3013" y="68"/>
                    </a:lnTo>
                    <a:lnTo>
                      <a:pt x="2906" y="98"/>
                    </a:lnTo>
                    <a:lnTo>
                      <a:pt x="2846" y="117"/>
                    </a:lnTo>
                    <a:lnTo>
                      <a:pt x="2782" y="136"/>
                    </a:lnTo>
                    <a:lnTo>
                      <a:pt x="2715" y="159"/>
                    </a:lnTo>
                    <a:lnTo>
                      <a:pt x="2643" y="182"/>
                    </a:lnTo>
                    <a:lnTo>
                      <a:pt x="2571" y="207"/>
                    </a:lnTo>
                    <a:lnTo>
                      <a:pt x="2495" y="235"/>
                    </a:lnTo>
                    <a:lnTo>
                      <a:pt x="2419" y="265"/>
                    </a:lnTo>
                    <a:lnTo>
                      <a:pt x="2340" y="296"/>
                    </a:lnTo>
                    <a:lnTo>
                      <a:pt x="2262" y="328"/>
                    </a:lnTo>
                    <a:lnTo>
                      <a:pt x="2183" y="363"/>
                    </a:lnTo>
                    <a:lnTo>
                      <a:pt x="2104" y="398"/>
                    </a:lnTo>
                    <a:lnTo>
                      <a:pt x="2027" y="436"/>
                    </a:lnTo>
                    <a:lnTo>
                      <a:pt x="1950" y="476"/>
                    </a:lnTo>
                    <a:lnTo>
                      <a:pt x="1876" y="517"/>
                    </a:lnTo>
                    <a:lnTo>
                      <a:pt x="1802" y="559"/>
                    </a:lnTo>
                    <a:lnTo>
                      <a:pt x="1733" y="603"/>
                    </a:lnTo>
                    <a:lnTo>
                      <a:pt x="1666" y="650"/>
                    </a:lnTo>
                    <a:lnTo>
                      <a:pt x="1602" y="696"/>
                    </a:lnTo>
                    <a:lnTo>
                      <a:pt x="1544" y="745"/>
                    </a:lnTo>
                    <a:lnTo>
                      <a:pt x="1489" y="796"/>
                    </a:lnTo>
                    <a:lnTo>
                      <a:pt x="1439" y="846"/>
                    </a:lnTo>
                    <a:lnTo>
                      <a:pt x="1396" y="899"/>
                    </a:lnTo>
                    <a:lnTo>
                      <a:pt x="1357" y="954"/>
                    </a:lnTo>
                    <a:lnTo>
                      <a:pt x="1326" y="1009"/>
                    </a:lnTo>
                    <a:lnTo>
                      <a:pt x="1261" y="1141"/>
                    </a:lnTo>
                    <a:lnTo>
                      <a:pt x="1183" y="1302"/>
                    </a:lnTo>
                    <a:lnTo>
                      <a:pt x="1094" y="1488"/>
                    </a:lnTo>
                    <a:lnTo>
                      <a:pt x="996" y="1693"/>
                    </a:lnTo>
                    <a:lnTo>
                      <a:pt x="891" y="1912"/>
                    </a:lnTo>
                    <a:lnTo>
                      <a:pt x="783" y="2141"/>
                    </a:lnTo>
                    <a:lnTo>
                      <a:pt x="674" y="2372"/>
                    </a:lnTo>
                    <a:lnTo>
                      <a:pt x="565" y="2602"/>
                    </a:lnTo>
                    <a:lnTo>
                      <a:pt x="460" y="2825"/>
                    </a:lnTo>
                    <a:lnTo>
                      <a:pt x="361" y="3036"/>
                    </a:lnTo>
                    <a:lnTo>
                      <a:pt x="270" y="3230"/>
                    </a:lnTo>
                    <a:lnTo>
                      <a:pt x="190" y="3400"/>
                    </a:lnTo>
                    <a:lnTo>
                      <a:pt x="123" y="3543"/>
                    </a:lnTo>
                    <a:lnTo>
                      <a:pt x="72" y="3653"/>
                    </a:lnTo>
                    <a:lnTo>
                      <a:pt x="39" y="3724"/>
                    </a:lnTo>
                    <a:lnTo>
                      <a:pt x="26" y="3751"/>
                    </a:lnTo>
                    <a:lnTo>
                      <a:pt x="24" y="3754"/>
                    </a:lnTo>
                    <a:lnTo>
                      <a:pt x="20" y="3758"/>
                    </a:lnTo>
                    <a:lnTo>
                      <a:pt x="17" y="3759"/>
                    </a:lnTo>
                    <a:lnTo>
                      <a:pt x="14" y="37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03"/>
              <p:cNvSpPr>
                <a:spLocks/>
              </p:cNvSpPr>
              <p:nvPr userDrawn="1"/>
            </p:nvSpPr>
            <p:spPr bwMode="auto">
              <a:xfrm>
                <a:off x="1180" y="3594"/>
                <a:ext cx="1769" cy="368"/>
              </a:xfrm>
              <a:custGeom>
                <a:avLst/>
                <a:gdLst>
                  <a:gd name="T0" fmla="*/ 3262 w 5309"/>
                  <a:gd name="T1" fmla="*/ 1102 h 1104"/>
                  <a:gd name="T2" fmla="*/ 3052 w 5309"/>
                  <a:gd name="T3" fmla="*/ 1087 h 1104"/>
                  <a:gd name="T4" fmla="*/ 2846 w 5309"/>
                  <a:gd name="T5" fmla="*/ 1056 h 1104"/>
                  <a:gd name="T6" fmla="*/ 2644 w 5309"/>
                  <a:gd name="T7" fmla="*/ 1010 h 1104"/>
                  <a:gd name="T8" fmla="*/ 2513 w 5309"/>
                  <a:gd name="T9" fmla="*/ 970 h 1104"/>
                  <a:gd name="T10" fmla="*/ 2418 w 5309"/>
                  <a:gd name="T11" fmla="*/ 933 h 1104"/>
                  <a:gd name="T12" fmla="*/ 2324 w 5309"/>
                  <a:gd name="T13" fmla="*/ 892 h 1104"/>
                  <a:gd name="T14" fmla="*/ 2149 w 5309"/>
                  <a:gd name="T15" fmla="*/ 806 h 1104"/>
                  <a:gd name="T16" fmla="*/ 1983 w 5309"/>
                  <a:gd name="T17" fmla="*/ 722 h 1104"/>
                  <a:gd name="T18" fmla="*/ 1827 w 5309"/>
                  <a:gd name="T19" fmla="*/ 638 h 1104"/>
                  <a:gd name="T20" fmla="*/ 1679 w 5309"/>
                  <a:gd name="T21" fmla="*/ 555 h 1104"/>
                  <a:gd name="T22" fmla="*/ 1538 w 5309"/>
                  <a:gd name="T23" fmla="*/ 477 h 1104"/>
                  <a:gd name="T24" fmla="*/ 1264 w 5309"/>
                  <a:gd name="T25" fmla="*/ 323 h 1104"/>
                  <a:gd name="T26" fmla="*/ 1106 w 5309"/>
                  <a:gd name="T27" fmla="*/ 239 h 1104"/>
                  <a:gd name="T28" fmla="*/ 957 w 5309"/>
                  <a:gd name="T29" fmla="*/ 166 h 1104"/>
                  <a:gd name="T30" fmla="*/ 817 w 5309"/>
                  <a:gd name="T31" fmla="*/ 106 h 1104"/>
                  <a:gd name="T32" fmla="*/ 683 w 5309"/>
                  <a:gd name="T33" fmla="*/ 61 h 1104"/>
                  <a:gd name="T34" fmla="*/ 555 w 5309"/>
                  <a:gd name="T35" fmla="*/ 34 h 1104"/>
                  <a:gd name="T36" fmla="*/ 430 w 5309"/>
                  <a:gd name="T37" fmla="*/ 24 h 1104"/>
                  <a:gd name="T38" fmla="*/ 307 w 5309"/>
                  <a:gd name="T39" fmla="*/ 36 h 1104"/>
                  <a:gd name="T40" fmla="*/ 185 w 5309"/>
                  <a:gd name="T41" fmla="*/ 70 h 1104"/>
                  <a:gd name="T42" fmla="*/ 61 w 5309"/>
                  <a:gd name="T43" fmla="*/ 128 h 1104"/>
                  <a:gd name="T44" fmla="*/ 9 w 5309"/>
                  <a:gd name="T45" fmla="*/ 155 h 1104"/>
                  <a:gd name="T46" fmla="*/ 0 w 5309"/>
                  <a:gd name="T47" fmla="*/ 143 h 1104"/>
                  <a:gd name="T48" fmla="*/ 5 w 5309"/>
                  <a:gd name="T49" fmla="*/ 130 h 1104"/>
                  <a:gd name="T50" fmla="*/ 133 w 5309"/>
                  <a:gd name="T51" fmla="*/ 62 h 1104"/>
                  <a:gd name="T52" fmla="*/ 261 w 5309"/>
                  <a:gd name="T53" fmla="*/ 20 h 1104"/>
                  <a:gd name="T54" fmla="*/ 388 w 5309"/>
                  <a:gd name="T55" fmla="*/ 1 h 1104"/>
                  <a:gd name="T56" fmla="*/ 517 w 5309"/>
                  <a:gd name="T57" fmla="*/ 4 h 1104"/>
                  <a:gd name="T58" fmla="*/ 649 w 5309"/>
                  <a:gd name="T59" fmla="*/ 27 h 1104"/>
                  <a:gd name="T60" fmla="*/ 785 w 5309"/>
                  <a:gd name="T61" fmla="*/ 66 h 1104"/>
                  <a:gd name="T62" fmla="*/ 925 w 5309"/>
                  <a:gd name="T63" fmla="*/ 123 h 1104"/>
                  <a:gd name="T64" fmla="*/ 1072 w 5309"/>
                  <a:gd name="T65" fmla="*/ 192 h 1104"/>
                  <a:gd name="T66" fmla="*/ 1227 w 5309"/>
                  <a:gd name="T67" fmla="*/ 273 h 1104"/>
                  <a:gd name="T68" fmla="*/ 1507 w 5309"/>
                  <a:gd name="T69" fmla="*/ 428 h 1104"/>
                  <a:gd name="T70" fmla="*/ 1644 w 5309"/>
                  <a:gd name="T71" fmla="*/ 506 h 1104"/>
                  <a:gd name="T72" fmla="*/ 1790 w 5309"/>
                  <a:gd name="T73" fmla="*/ 587 h 1104"/>
                  <a:gd name="T74" fmla="*/ 1943 w 5309"/>
                  <a:gd name="T75" fmla="*/ 669 h 1104"/>
                  <a:gd name="T76" fmla="*/ 2105 w 5309"/>
                  <a:gd name="T77" fmla="*/ 754 h 1104"/>
                  <a:gd name="T78" fmla="*/ 2277 w 5309"/>
                  <a:gd name="T79" fmla="*/ 839 h 1104"/>
                  <a:gd name="T80" fmla="*/ 2560 w 5309"/>
                  <a:gd name="T81" fmla="*/ 957 h 1104"/>
                  <a:gd name="T82" fmla="*/ 2915 w 5309"/>
                  <a:gd name="T83" fmla="*/ 1041 h 1104"/>
                  <a:gd name="T84" fmla="*/ 3283 w 5309"/>
                  <a:gd name="T85" fmla="*/ 1075 h 1104"/>
                  <a:gd name="T86" fmla="*/ 3653 w 5309"/>
                  <a:gd name="T87" fmla="*/ 1069 h 1104"/>
                  <a:gd name="T88" fmla="*/ 4012 w 5309"/>
                  <a:gd name="T89" fmla="*/ 1032 h 1104"/>
                  <a:gd name="T90" fmla="*/ 4349 w 5309"/>
                  <a:gd name="T91" fmla="*/ 974 h 1104"/>
                  <a:gd name="T92" fmla="*/ 4652 w 5309"/>
                  <a:gd name="T93" fmla="*/ 904 h 1104"/>
                  <a:gd name="T94" fmla="*/ 4909 w 5309"/>
                  <a:gd name="T95" fmla="*/ 833 h 1104"/>
                  <a:gd name="T96" fmla="*/ 5109 w 5309"/>
                  <a:gd name="T97" fmla="*/ 769 h 1104"/>
                  <a:gd name="T98" fmla="*/ 5267 w 5309"/>
                  <a:gd name="T99" fmla="*/ 714 h 1104"/>
                  <a:gd name="T100" fmla="*/ 5300 w 5309"/>
                  <a:gd name="T101" fmla="*/ 704 h 1104"/>
                  <a:gd name="T102" fmla="*/ 5309 w 5309"/>
                  <a:gd name="T103" fmla="*/ 717 h 1104"/>
                  <a:gd name="T104" fmla="*/ 5300 w 5309"/>
                  <a:gd name="T105" fmla="*/ 729 h 1104"/>
                  <a:gd name="T106" fmla="*/ 5202 w 5309"/>
                  <a:gd name="T107" fmla="*/ 766 h 1104"/>
                  <a:gd name="T108" fmla="*/ 4945 w 5309"/>
                  <a:gd name="T109" fmla="*/ 850 h 1104"/>
                  <a:gd name="T110" fmla="*/ 4769 w 5309"/>
                  <a:gd name="T111" fmla="*/ 901 h 1104"/>
                  <a:gd name="T112" fmla="*/ 4566 w 5309"/>
                  <a:gd name="T113" fmla="*/ 954 h 1104"/>
                  <a:gd name="T114" fmla="*/ 4341 w 5309"/>
                  <a:gd name="T115" fmla="*/ 1002 h 1104"/>
                  <a:gd name="T116" fmla="*/ 4100 w 5309"/>
                  <a:gd name="T117" fmla="*/ 1047 h 1104"/>
                  <a:gd name="T118" fmla="*/ 3844 w 5309"/>
                  <a:gd name="T119" fmla="*/ 1080 h 1104"/>
                  <a:gd name="T120" fmla="*/ 3580 w 5309"/>
                  <a:gd name="T121" fmla="*/ 110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09" h="1104">
                    <a:moveTo>
                      <a:pt x="3401" y="1104"/>
                    </a:moveTo>
                    <a:lnTo>
                      <a:pt x="3331" y="1103"/>
                    </a:lnTo>
                    <a:lnTo>
                      <a:pt x="3262" y="1102"/>
                    </a:lnTo>
                    <a:lnTo>
                      <a:pt x="3191" y="1097"/>
                    </a:lnTo>
                    <a:lnTo>
                      <a:pt x="3121" y="1093"/>
                    </a:lnTo>
                    <a:lnTo>
                      <a:pt x="3052" y="1087"/>
                    </a:lnTo>
                    <a:lnTo>
                      <a:pt x="2983" y="1078"/>
                    </a:lnTo>
                    <a:lnTo>
                      <a:pt x="2914" y="1068"/>
                    </a:lnTo>
                    <a:lnTo>
                      <a:pt x="2846" y="1056"/>
                    </a:lnTo>
                    <a:lnTo>
                      <a:pt x="2778" y="1043"/>
                    </a:lnTo>
                    <a:lnTo>
                      <a:pt x="2711" y="1027"/>
                    </a:lnTo>
                    <a:lnTo>
                      <a:pt x="2644" y="1010"/>
                    </a:lnTo>
                    <a:lnTo>
                      <a:pt x="2578" y="990"/>
                    </a:lnTo>
                    <a:lnTo>
                      <a:pt x="2546" y="981"/>
                    </a:lnTo>
                    <a:lnTo>
                      <a:pt x="2513" y="970"/>
                    </a:lnTo>
                    <a:lnTo>
                      <a:pt x="2481" y="958"/>
                    </a:lnTo>
                    <a:lnTo>
                      <a:pt x="2450" y="946"/>
                    </a:lnTo>
                    <a:lnTo>
                      <a:pt x="2418" y="933"/>
                    </a:lnTo>
                    <a:lnTo>
                      <a:pt x="2386" y="920"/>
                    </a:lnTo>
                    <a:lnTo>
                      <a:pt x="2356" y="906"/>
                    </a:lnTo>
                    <a:lnTo>
                      <a:pt x="2324" y="892"/>
                    </a:lnTo>
                    <a:lnTo>
                      <a:pt x="2265" y="863"/>
                    </a:lnTo>
                    <a:lnTo>
                      <a:pt x="2207" y="835"/>
                    </a:lnTo>
                    <a:lnTo>
                      <a:pt x="2149" y="806"/>
                    </a:lnTo>
                    <a:lnTo>
                      <a:pt x="2093" y="778"/>
                    </a:lnTo>
                    <a:lnTo>
                      <a:pt x="2037" y="750"/>
                    </a:lnTo>
                    <a:lnTo>
                      <a:pt x="1983" y="722"/>
                    </a:lnTo>
                    <a:lnTo>
                      <a:pt x="1930" y="694"/>
                    </a:lnTo>
                    <a:lnTo>
                      <a:pt x="1878" y="666"/>
                    </a:lnTo>
                    <a:lnTo>
                      <a:pt x="1827" y="638"/>
                    </a:lnTo>
                    <a:lnTo>
                      <a:pt x="1777" y="611"/>
                    </a:lnTo>
                    <a:lnTo>
                      <a:pt x="1727" y="582"/>
                    </a:lnTo>
                    <a:lnTo>
                      <a:pt x="1679" y="555"/>
                    </a:lnTo>
                    <a:lnTo>
                      <a:pt x="1631" y="530"/>
                    </a:lnTo>
                    <a:lnTo>
                      <a:pt x="1585" y="503"/>
                    </a:lnTo>
                    <a:lnTo>
                      <a:pt x="1538" y="477"/>
                    </a:lnTo>
                    <a:lnTo>
                      <a:pt x="1493" y="452"/>
                    </a:lnTo>
                    <a:lnTo>
                      <a:pt x="1376" y="386"/>
                    </a:lnTo>
                    <a:lnTo>
                      <a:pt x="1264" y="323"/>
                    </a:lnTo>
                    <a:lnTo>
                      <a:pt x="1210" y="294"/>
                    </a:lnTo>
                    <a:lnTo>
                      <a:pt x="1157" y="266"/>
                    </a:lnTo>
                    <a:lnTo>
                      <a:pt x="1106" y="239"/>
                    </a:lnTo>
                    <a:lnTo>
                      <a:pt x="1056" y="213"/>
                    </a:lnTo>
                    <a:lnTo>
                      <a:pt x="1006" y="188"/>
                    </a:lnTo>
                    <a:lnTo>
                      <a:pt x="957" y="166"/>
                    </a:lnTo>
                    <a:lnTo>
                      <a:pt x="910" y="144"/>
                    </a:lnTo>
                    <a:lnTo>
                      <a:pt x="863" y="125"/>
                    </a:lnTo>
                    <a:lnTo>
                      <a:pt x="817" y="106"/>
                    </a:lnTo>
                    <a:lnTo>
                      <a:pt x="772" y="89"/>
                    </a:lnTo>
                    <a:lnTo>
                      <a:pt x="727" y="74"/>
                    </a:lnTo>
                    <a:lnTo>
                      <a:pt x="683" y="61"/>
                    </a:lnTo>
                    <a:lnTo>
                      <a:pt x="640" y="50"/>
                    </a:lnTo>
                    <a:lnTo>
                      <a:pt x="598" y="41"/>
                    </a:lnTo>
                    <a:lnTo>
                      <a:pt x="555" y="34"/>
                    </a:lnTo>
                    <a:lnTo>
                      <a:pt x="514" y="29"/>
                    </a:lnTo>
                    <a:lnTo>
                      <a:pt x="471" y="25"/>
                    </a:lnTo>
                    <a:lnTo>
                      <a:pt x="430" y="24"/>
                    </a:lnTo>
                    <a:lnTo>
                      <a:pt x="389" y="27"/>
                    </a:lnTo>
                    <a:lnTo>
                      <a:pt x="348" y="30"/>
                    </a:lnTo>
                    <a:lnTo>
                      <a:pt x="307" y="36"/>
                    </a:lnTo>
                    <a:lnTo>
                      <a:pt x="266" y="45"/>
                    </a:lnTo>
                    <a:lnTo>
                      <a:pt x="225" y="57"/>
                    </a:lnTo>
                    <a:lnTo>
                      <a:pt x="185" y="70"/>
                    </a:lnTo>
                    <a:lnTo>
                      <a:pt x="144" y="87"/>
                    </a:lnTo>
                    <a:lnTo>
                      <a:pt x="103" y="106"/>
                    </a:lnTo>
                    <a:lnTo>
                      <a:pt x="61" y="128"/>
                    </a:lnTo>
                    <a:lnTo>
                      <a:pt x="20" y="153"/>
                    </a:lnTo>
                    <a:lnTo>
                      <a:pt x="15" y="155"/>
                    </a:lnTo>
                    <a:lnTo>
                      <a:pt x="9" y="155"/>
                    </a:lnTo>
                    <a:lnTo>
                      <a:pt x="5" y="153"/>
                    </a:lnTo>
                    <a:lnTo>
                      <a:pt x="1" y="149"/>
                    </a:lnTo>
                    <a:lnTo>
                      <a:pt x="0" y="143"/>
                    </a:lnTo>
                    <a:lnTo>
                      <a:pt x="0" y="139"/>
                    </a:lnTo>
                    <a:lnTo>
                      <a:pt x="2" y="133"/>
                    </a:lnTo>
                    <a:lnTo>
                      <a:pt x="5" y="130"/>
                    </a:lnTo>
                    <a:lnTo>
                      <a:pt x="48" y="104"/>
                    </a:lnTo>
                    <a:lnTo>
                      <a:pt x="91" y="82"/>
                    </a:lnTo>
                    <a:lnTo>
                      <a:pt x="133" y="62"/>
                    </a:lnTo>
                    <a:lnTo>
                      <a:pt x="176" y="45"/>
                    </a:lnTo>
                    <a:lnTo>
                      <a:pt x="219" y="31"/>
                    </a:lnTo>
                    <a:lnTo>
                      <a:pt x="261" y="20"/>
                    </a:lnTo>
                    <a:lnTo>
                      <a:pt x="303" y="11"/>
                    </a:lnTo>
                    <a:lnTo>
                      <a:pt x="346" y="5"/>
                    </a:lnTo>
                    <a:lnTo>
                      <a:pt x="388" y="1"/>
                    </a:lnTo>
                    <a:lnTo>
                      <a:pt x="431" y="0"/>
                    </a:lnTo>
                    <a:lnTo>
                      <a:pt x="474" y="1"/>
                    </a:lnTo>
                    <a:lnTo>
                      <a:pt x="517" y="4"/>
                    </a:lnTo>
                    <a:lnTo>
                      <a:pt x="561" y="9"/>
                    </a:lnTo>
                    <a:lnTo>
                      <a:pt x="604" y="17"/>
                    </a:lnTo>
                    <a:lnTo>
                      <a:pt x="649" y="27"/>
                    </a:lnTo>
                    <a:lnTo>
                      <a:pt x="693" y="37"/>
                    </a:lnTo>
                    <a:lnTo>
                      <a:pt x="738" y="51"/>
                    </a:lnTo>
                    <a:lnTo>
                      <a:pt x="785" y="66"/>
                    </a:lnTo>
                    <a:lnTo>
                      <a:pt x="830" y="84"/>
                    </a:lnTo>
                    <a:lnTo>
                      <a:pt x="877" y="102"/>
                    </a:lnTo>
                    <a:lnTo>
                      <a:pt x="925" y="123"/>
                    </a:lnTo>
                    <a:lnTo>
                      <a:pt x="974" y="144"/>
                    </a:lnTo>
                    <a:lnTo>
                      <a:pt x="1022" y="167"/>
                    </a:lnTo>
                    <a:lnTo>
                      <a:pt x="1072" y="192"/>
                    </a:lnTo>
                    <a:lnTo>
                      <a:pt x="1123" y="218"/>
                    </a:lnTo>
                    <a:lnTo>
                      <a:pt x="1174" y="245"/>
                    </a:lnTo>
                    <a:lnTo>
                      <a:pt x="1227" y="273"/>
                    </a:lnTo>
                    <a:lnTo>
                      <a:pt x="1281" y="302"/>
                    </a:lnTo>
                    <a:lnTo>
                      <a:pt x="1391" y="363"/>
                    </a:lnTo>
                    <a:lnTo>
                      <a:pt x="1507" y="428"/>
                    </a:lnTo>
                    <a:lnTo>
                      <a:pt x="1551" y="454"/>
                    </a:lnTo>
                    <a:lnTo>
                      <a:pt x="1598" y="480"/>
                    </a:lnTo>
                    <a:lnTo>
                      <a:pt x="1644" y="506"/>
                    </a:lnTo>
                    <a:lnTo>
                      <a:pt x="1692" y="533"/>
                    </a:lnTo>
                    <a:lnTo>
                      <a:pt x="1740" y="559"/>
                    </a:lnTo>
                    <a:lnTo>
                      <a:pt x="1790" y="587"/>
                    </a:lnTo>
                    <a:lnTo>
                      <a:pt x="1840" y="614"/>
                    </a:lnTo>
                    <a:lnTo>
                      <a:pt x="1891" y="642"/>
                    </a:lnTo>
                    <a:lnTo>
                      <a:pt x="1943" y="669"/>
                    </a:lnTo>
                    <a:lnTo>
                      <a:pt x="1996" y="697"/>
                    </a:lnTo>
                    <a:lnTo>
                      <a:pt x="2050" y="726"/>
                    </a:lnTo>
                    <a:lnTo>
                      <a:pt x="2105" y="754"/>
                    </a:lnTo>
                    <a:lnTo>
                      <a:pt x="2161" y="782"/>
                    </a:lnTo>
                    <a:lnTo>
                      <a:pt x="2219" y="810"/>
                    </a:lnTo>
                    <a:lnTo>
                      <a:pt x="2277" y="839"/>
                    </a:lnTo>
                    <a:lnTo>
                      <a:pt x="2336" y="867"/>
                    </a:lnTo>
                    <a:lnTo>
                      <a:pt x="2446" y="916"/>
                    </a:lnTo>
                    <a:lnTo>
                      <a:pt x="2560" y="957"/>
                    </a:lnTo>
                    <a:lnTo>
                      <a:pt x="2675" y="990"/>
                    </a:lnTo>
                    <a:lnTo>
                      <a:pt x="2794" y="1019"/>
                    </a:lnTo>
                    <a:lnTo>
                      <a:pt x="2915" y="1041"/>
                    </a:lnTo>
                    <a:lnTo>
                      <a:pt x="3037" y="1057"/>
                    </a:lnTo>
                    <a:lnTo>
                      <a:pt x="3159" y="1068"/>
                    </a:lnTo>
                    <a:lnTo>
                      <a:pt x="3283" y="1075"/>
                    </a:lnTo>
                    <a:lnTo>
                      <a:pt x="3406" y="1077"/>
                    </a:lnTo>
                    <a:lnTo>
                      <a:pt x="3529" y="1075"/>
                    </a:lnTo>
                    <a:lnTo>
                      <a:pt x="3653" y="1069"/>
                    </a:lnTo>
                    <a:lnTo>
                      <a:pt x="3775" y="1060"/>
                    </a:lnTo>
                    <a:lnTo>
                      <a:pt x="3894" y="1047"/>
                    </a:lnTo>
                    <a:lnTo>
                      <a:pt x="4012" y="1032"/>
                    </a:lnTo>
                    <a:lnTo>
                      <a:pt x="4128" y="1014"/>
                    </a:lnTo>
                    <a:lnTo>
                      <a:pt x="4240" y="995"/>
                    </a:lnTo>
                    <a:lnTo>
                      <a:pt x="4349" y="974"/>
                    </a:lnTo>
                    <a:lnTo>
                      <a:pt x="4455" y="952"/>
                    </a:lnTo>
                    <a:lnTo>
                      <a:pt x="4555" y="928"/>
                    </a:lnTo>
                    <a:lnTo>
                      <a:pt x="4652" y="904"/>
                    </a:lnTo>
                    <a:lnTo>
                      <a:pt x="4744" y="880"/>
                    </a:lnTo>
                    <a:lnTo>
                      <a:pt x="4830" y="857"/>
                    </a:lnTo>
                    <a:lnTo>
                      <a:pt x="4909" y="833"/>
                    </a:lnTo>
                    <a:lnTo>
                      <a:pt x="4984" y="810"/>
                    </a:lnTo>
                    <a:lnTo>
                      <a:pt x="5050" y="790"/>
                    </a:lnTo>
                    <a:lnTo>
                      <a:pt x="5109" y="769"/>
                    </a:lnTo>
                    <a:lnTo>
                      <a:pt x="5161" y="752"/>
                    </a:lnTo>
                    <a:lnTo>
                      <a:pt x="5205" y="737"/>
                    </a:lnTo>
                    <a:lnTo>
                      <a:pt x="5267" y="714"/>
                    </a:lnTo>
                    <a:lnTo>
                      <a:pt x="5290" y="704"/>
                    </a:lnTo>
                    <a:lnTo>
                      <a:pt x="5295" y="703"/>
                    </a:lnTo>
                    <a:lnTo>
                      <a:pt x="5300" y="704"/>
                    </a:lnTo>
                    <a:lnTo>
                      <a:pt x="5305" y="708"/>
                    </a:lnTo>
                    <a:lnTo>
                      <a:pt x="5308" y="712"/>
                    </a:lnTo>
                    <a:lnTo>
                      <a:pt x="5309" y="717"/>
                    </a:lnTo>
                    <a:lnTo>
                      <a:pt x="5308" y="723"/>
                    </a:lnTo>
                    <a:lnTo>
                      <a:pt x="5305" y="727"/>
                    </a:lnTo>
                    <a:lnTo>
                      <a:pt x="5300" y="729"/>
                    </a:lnTo>
                    <a:lnTo>
                      <a:pt x="5287" y="735"/>
                    </a:lnTo>
                    <a:lnTo>
                      <a:pt x="5254" y="748"/>
                    </a:lnTo>
                    <a:lnTo>
                      <a:pt x="5202" y="766"/>
                    </a:lnTo>
                    <a:lnTo>
                      <a:pt x="5132" y="791"/>
                    </a:lnTo>
                    <a:lnTo>
                      <a:pt x="5047" y="819"/>
                    </a:lnTo>
                    <a:lnTo>
                      <a:pt x="4945" y="850"/>
                    </a:lnTo>
                    <a:lnTo>
                      <a:pt x="4890" y="867"/>
                    </a:lnTo>
                    <a:lnTo>
                      <a:pt x="4831" y="884"/>
                    </a:lnTo>
                    <a:lnTo>
                      <a:pt x="4769" y="901"/>
                    </a:lnTo>
                    <a:lnTo>
                      <a:pt x="4704" y="919"/>
                    </a:lnTo>
                    <a:lnTo>
                      <a:pt x="4636" y="937"/>
                    </a:lnTo>
                    <a:lnTo>
                      <a:pt x="4566" y="954"/>
                    </a:lnTo>
                    <a:lnTo>
                      <a:pt x="4494" y="970"/>
                    </a:lnTo>
                    <a:lnTo>
                      <a:pt x="4418" y="987"/>
                    </a:lnTo>
                    <a:lnTo>
                      <a:pt x="4341" y="1002"/>
                    </a:lnTo>
                    <a:lnTo>
                      <a:pt x="4263" y="1019"/>
                    </a:lnTo>
                    <a:lnTo>
                      <a:pt x="4182" y="1033"/>
                    </a:lnTo>
                    <a:lnTo>
                      <a:pt x="4100" y="1047"/>
                    </a:lnTo>
                    <a:lnTo>
                      <a:pt x="4015" y="1059"/>
                    </a:lnTo>
                    <a:lnTo>
                      <a:pt x="3930" y="1069"/>
                    </a:lnTo>
                    <a:lnTo>
                      <a:pt x="3844" y="1080"/>
                    </a:lnTo>
                    <a:lnTo>
                      <a:pt x="3756" y="1088"/>
                    </a:lnTo>
                    <a:lnTo>
                      <a:pt x="3669" y="1095"/>
                    </a:lnTo>
                    <a:lnTo>
                      <a:pt x="3580" y="1100"/>
                    </a:lnTo>
                    <a:lnTo>
                      <a:pt x="3491" y="1103"/>
                    </a:lnTo>
                    <a:lnTo>
                      <a:pt x="3401" y="1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04"/>
              <p:cNvSpPr>
                <a:spLocks/>
              </p:cNvSpPr>
              <p:nvPr userDrawn="1"/>
            </p:nvSpPr>
            <p:spPr bwMode="auto">
              <a:xfrm>
                <a:off x="1234" y="3493"/>
                <a:ext cx="1642" cy="269"/>
              </a:xfrm>
              <a:custGeom>
                <a:avLst/>
                <a:gdLst>
                  <a:gd name="T0" fmla="*/ 2702 w 4926"/>
                  <a:gd name="T1" fmla="*/ 808 h 808"/>
                  <a:gd name="T2" fmla="*/ 2521 w 4926"/>
                  <a:gd name="T3" fmla="*/ 798 h 808"/>
                  <a:gd name="T4" fmla="*/ 2314 w 4926"/>
                  <a:gd name="T5" fmla="*/ 769 h 808"/>
                  <a:gd name="T6" fmla="*/ 2115 w 4926"/>
                  <a:gd name="T7" fmla="*/ 725 h 808"/>
                  <a:gd name="T8" fmla="*/ 1925 w 4926"/>
                  <a:gd name="T9" fmla="*/ 668 h 808"/>
                  <a:gd name="T10" fmla="*/ 1742 w 4926"/>
                  <a:gd name="T11" fmla="*/ 602 h 808"/>
                  <a:gd name="T12" fmla="*/ 1441 w 4926"/>
                  <a:gd name="T13" fmla="*/ 470 h 808"/>
                  <a:gd name="T14" fmla="*/ 1119 w 4926"/>
                  <a:gd name="T15" fmla="*/ 314 h 808"/>
                  <a:gd name="T16" fmla="*/ 813 w 4926"/>
                  <a:gd name="T17" fmla="*/ 172 h 808"/>
                  <a:gd name="T18" fmla="*/ 628 w 4926"/>
                  <a:gd name="T19" fmla="*/ 102 h 808"/>
                  <a:gd name="T20" fmla="*/ 482 w 4926"/>
                  <a:gd name="T21" fmla="*/ 60 h 808"/>
                  <a:gd name="T22" fmla="*/ 339 w 4926"/>
                  <a:gd name="T23" fmla="*/ 34 h 808"/>
                  <a:gd name="T24" fmla="*/ 195 w 4926"/>
                  <a:gd name="T25" fmla="*/ 28 h 808"/>
                  <a:gd name="T26" fmla="*/ 51 w 4926"/>
                  <a:gd name="T27" fmla="*/ 43 h 808"/>
                  <a:gd name="T28" fmla="*/ 2 w 4926"/>
                  <a:gd name="T29" fmla="*/ 46 h 808"/>
                  <a:gd name="T30" fmla="*/ 5 w 4926"/>
                  <a:gd name="T31" fmla="*/ 27 h 808"/>
                  <a:gd name="T32" fmla="*/ 120 w 4926"/>
                  <a:gd name="T33" fmla="*/ 6 h 808"/>
                  <a:gd name="T34" fmla="*/ 266 w 4926"/>
                  <a:gd name="T35" fmla="*/ 1 h 808"/>
                  <a:gd name="T36" fmla="*/ 412 w 4926"/>
                  <a:gd name="T37" fmla="*/ 18 h 808"/>
                  <a:gd name="T38" fmla="*/ 559 w 4926"/>
                  <a:gd name="T39" fmla="*/ 52 h 808"/>
                  <a:gd name="T40" fmla="*/ 707 w 4926"/>
                  <a:gd name="T41" fmla="*/ 101 h 808"/>
                  <a:gd name="T42" fmla="*/ 974 w 4926"/>
                  <a:gd name="T43" fmla="*/ 214 h 808"/>
                  <a:gd name="T44" fmla="*/ 1290 w 4926"/>
                  <a:gd name="T45" fmla="*/ 367 h 808"/>
                  <a:gd name="T46" fmla="*/ 1620 w 4926"/>
                  <a:gd name="T47" fmla="*/ 522 h 808"/>
                  <a:gd name="T48" fmla="*/ 1841 w 4926"/>
                  <a:gd name="T49" fmla="*/ 610 h 808"/>
                  <a:gd name="T50" fmla="*/ 2025 w 4926"/>
                  <a:gd name="T51" fmla="*/ 672 h 808"/>
                  <a:gd name="T52" fmla="*/ 2217 w 4926"/>
                  <a:gd name="T53" fmla="*/ 722 h 808"/>
                  <a:gd name="T54" fmla="*/ 2419 w 4926"/>
                  <a:gd name="T55" fmla="*/ 758 h 808"/>
                  <a:gd name="T56" fmla="*/ 2630 w 4926"/>
                  <a:gd name="T57" fmla="*/ 779 h 808"/>
                  <a:gd name="T58" fmla="*/ 2893 w 4926"/>
                  <a:gd name="T59" fmla="*/ 778 h 808"/>
                  <a:gd name="T60" fmla="*/ 3154 w 4926"/>
                  <a:gd name="T61" fmla="*/ 756 h 808"/>
                  <a:gd name="T62" fmla="*/ 3396 w 4926"/>
                  <a:gd name="T63" fmla="*/ 719 h 808"/>
                  <a:gd name="T64" fmla="*/ 3621 w 4926"/>
                  <a:gd name="T65" fmla="*/ 675 h 808"/>
                  <a:gd name="T66" fmla="*/ 3916 w 4926"/>
                  <a:gd name="T67" fmla="*/ 617 h 808"/>
                  <a:gd name="T68" fmla="*/ 4109 w 4926"/>
                  <a:gd name="T69" fmla="*/ 588 h 808"/>
                  <a:gd name="T70" fmla="*/ 4263 w 4926"/>
                  <a:gd name="T71" fmla="*/ 575 h 808"/>
                  <a:gd name="T72" fmla="*/ 4414 w 4926"/>
                  <a:gd name="T73" fmla="*/ 576 h 808"/>
                  <a:gd name="T74" fmla="*/ 4566 w 4926"/>
                  <a:gd name="T75" fmla="*/ 593 h 808"/>
                  <a:gd name="T76" fmla="*/ 4720 w 4926"/>
                  <a:gd name="T77" fmla="*/ 630 h 808"/>
                  <a:gd name="T78" fmla="*/ 4878 w 4926"/>
                  <a:gd name="T79" fmla="*/ 689 h 808"/>
                  <a:gd name="T80" fmla="*/ 4926 w 4926"/>
                  <a:gd name="T81" fmla="*/ 721 h 808"/>
                  <a:gd name="T82" fmla="*/ 4912 w 4926"/>
                  <a:gd name="T83" fmla="*/ 734 h 808"/>
                  <a:gd name="T84" fmla="*/ 4790 w 4926"/>
                  <a:gd name="T85" fmla="*/ 681 h 808"/>
                  <a:gd name="T86" fmla="*/ 4636 w 4926"/>
                  <a:gd name="T87" fmla="*/ 635 h 808"/>
                  <a:gd name="T88" fmla="*/ 4485 w 4926"/>
                  <a:gd name="T89" fmla="*/ 609 h 808"/>
                  <a:gd name="T90" fmla="*/ 4336 w 4926"/>
                  <a:gd name="T91" fmla="*/ 600 h 808"/>
                  <a:gd name="T92" fmla="*/ 4186 w 4926"/>
                  <a:gd name="T93" fmla="*/ 607 h 808"/>
                  <a:gd name="T94" fmla="*/ 4034 w 4926"/>
                  <a:gd name="T95" fmla="*/ 625 h 808"/>
                  <a:gd name="T96" fmla="*/ 3762 w 4926"/>
                  <a:gd name="T97" fmla="*/ 674 h 808"/>
                  <a:gd name="T98" fmla="*/ 3525 w 4926"/>
                  <a:gd name="T99" fmla="*/ 722 h 808"/>
                  <a:gd name="T100" fmla="*/ 3306 w 4926"/>
                  <a:gd name="T101" fmla="*/ 761 h 808"/>
                  <a:gd name="T102" fmla="*/ 3072 w 4926"/>
                  <a:gd name="T103" fmla="*/ 792 h 808"/>
                  <a:gd name="T104" fmla="*/ 2820 w 4926"/>
                  <a:gd name="T105" fmla="*/ 808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26" h="808">
                    <a:moveTo>
                      <a:pt x="2754" y="808"/>
                    </a:moveTo>
                    <a:lnTo>
                      <a:pt x="2737" y="808"/>
                    </a:lnTo>
                    <a:lnTo>
                      <a:pt x="2720" y="808"/>
                    </a:lnTo>
                    <a:lnTo>
                      <a:pt x="2702" y="808"/>
                    </a:lnTo>
                    <a:lnTo>
                      <a:pt x="2684" y="807"/>
                    </a:lnTo>
                    <a:lnTo>
                      <a:pt x="2629" y="806"/>
                    </a:lnTo>
                    <a:lnTo>
                      <a:pt x="2575" y="802"/>
                    </a:lnTo>
                    <a:lnTo>
                      <a:pt x="2521" y="798"/>
                    </a:lnTo>
                    <a:lnTo>
                      <a:pt x="2468" y="793"/>
                    </a:lnTo>
                    <a:lnTo>
                      <a:pt x="2416" y="785"/>
                    </a:lnTo>
                    <a:lnTo>
                      <a:pt x="2364" y="778"/>
                    </a:lnTo>
                    <a:lnTo>
                      <a:pt x="2314" y="769"/>
                    </a:lnTo>
                    <a:lnTo>
                      <a:pt x="2263" y="759"/>
                    </a:lnTo>
                    <a:lnTo>
                      <a:pt x="2213" y="748"/>
                    </a:lnTo>
                    <a:lnTo>
                      <a:pt x="2163" y="738"/>
                    </a:lnTo>
                    <a:lnTo>
                      <a:pt x="2115" y="725"/>
                    </a:lnTo>
                    <a:lnTo>
                      <a:pt x="2066" y="712"/>
                    </a:lnTo>
                    <a:lnTo>
                      <a:pt x="2019" y="698"/>
                    </a:lnTo>
                    <a:lnTo>
                      <a:pt x="1971" y="684"/>
                    </a:lnTo>
                    <a:lnTo>
                      <a:pt x="1925" y="668"/>
                    </a:lnTo>
                    <a:lnTo>
                      <a:pt x="1878" y="652"/>
                    </a:lnTo>
                    <a:lnTo>
                      <a:pt x="1832" y="636"/>
                    </a:lnTo>
                    <a:lnTo>
                      <a:pt x="1788" y="619"/>
                    </a:lnTo>
                    <a:lnTo>
                      <a:pt x="1742" y="602"/>
                    </a:lnTo>
                    <a:lnTo>
                      <a:pt x="1698" y="583"/>
                    </a:lnTo>
                    <a:lnTo>
                      <a:pt x="1611" y="546"/>
                    </a:lnTo>
                    <a:lnTo>
                      <a:pt x="1525" y="509"/>
                    </a:lnTo>
                    <a:lnTo>
                      <a:pt x="1441" y="470"/>
                    </a:lnTo>
                    <a:lnTo>
                      <a:pt x="1359" y="431"/>
                    </a:lnTo>
                    <a:lnTo>
                      <a:pt x="1278" y="392"/>
                    </a:lnTo>
                    <a:lnTo>
                      <a:pt x="1199" y="353"/>
                    </a:lnTo>
                    <a:lnTo>
                      <a:pt x="1119" y="314"/>
                    </a:lnTo>
                    <a:lnTo>
                      <a:pt x="1040" y="276"/>
                    </a:lnTo>
                    <a:lnTo>
                      <a:pt x="964" y="239"/>
                    </a:lnTo>
                    <a:lnTo>
                      <a:pt x="887" y="204"/>
                    </a:lnTo>
                    <a:lnTo>
                      <a:pt x="813" y="172"/>
                    </a:lnTo>
                    <a:lnTo>
                      <a:pt x="738" y="142"/>
                    </a:lnTo>
                    <a:lnTo>
                      <a:pt x="701" y="128"/>
                    </a:lnTo>
                    <a:lnTo>
                      <a:pt x="665" y="114"/>
                    </a:lnTo>
                    <a:lnTo>
                      <a:pt x="628" y="102"/>
                    </a:lnTo>
                    <a:lnTo>
                      <a:pt x="591" y="90"/>
                    </a:lnTo>
                    <a:lnTo>
                      <a:pt x="555" y="79"/>
                    </a:lnTo>
                    <a:lnTo>
                      <a:pt x="519" y="68"/>
                    </a:lnTo>
                    <a:lnTo>
                      <a:pt x="482" y="60"/>
                    </a:lnTo>
                    <a:lnTo>
                      <a:pt x="447" y="52"/>
                    </a:lnTo>
                    <a:lnTo>
                      <a:pt x="411" y="45"/>
                    </a:lnTo>
                    <a:lnTo>
                      <a:pt x="374" y="39"/>
                    </a:lnTo>
                    <a:lnTo>
                      <a:pt x="339" y="34"/>
                    </a:lnTo>
                    <a:lnTo>
                      <a:pt x="303" y="31"/>
                    </a:lnTo>
                    <a:lnTo>
                      <a:pt x="267" y="28"/>
                    </a:lnTo>
                    <a:lnTo>
                      <a:pt x="232" y="27"/>
                    </a:lnTo>
                    <a:lnTo>
                      <a:pt x="195" y="28"/>
                    </a:lnTo>
                    <a:lnTo>
                      <a:pt x="159" y="29"/>
                    </a:lnTo>
                    <a:lnTo>
                      <a:pt x="124" y="33"/>
                    </a:lnTo>
                    <a:lnTo>
                      <a:pt x="88" y="37"/>
                    </a:lnTo>
                    <a:lnTo>
                      <a:pt x="51" y="43"/>
                    </a:lnTo>
                    <a:lnTo>
                      <a:pt x="16" y="51"/>
                    </a:lnTo>
                    <a:lnTo>
                      <a:pt x="10" y="51"/>
                    </a:lnTo>
                    <a:lnTo>
                      <a:pt x="5" y="50"/>
                    </a:lnTo>
                    <a:lnTo>
                      <a:pt x="2" y="46"/>
                    </a:lnTo>
                    <a:lnTo>
                      <a:pt x="0" y="41"/>
                    </a:lnTo>
                    <a:lnTo>
                      <a:pt x="0" y="36"/>
                    </a:lnTo>
                    <a:lnTo>
                      <a:pt x="1" y="31"/>
                    </a:lnTo>
                    <a:lnTo>
                      <a:pt x="5" y="27"/>
                    </a:lnTo>
                    <a:lnTo>
                      <a:pt x="9" y="25"/>
                    </a:lnTo>
                    <a:lnTo>
                      <a:pt x="46" y="18"/>
                    </a:lnTo>
                    <a:lnTo>
                      <a:pt x="84" y="11"/>
                    </a:lnTo>
                    <a:lnTo>
                      <a:pt x="120" y="6"/>
                    </a:lnTo>
                    <a:lnTo>
                      <a:pt x="157" y="2"/>
                    </a:lnTo>
                    <a:lnTo>
                      <a:pt x="194" y="1"/>
                    </a:lnTo>
                    <a:lnTo>
                      <a:pt x="230" y="0"/>
                    </a:lnTo>
                    <a:lnTo>
                      <a:pt x="266" y="1"/>
                    </a:lnTo>
                    <a:lnTo>
                      <a:pt x="303" y="4"/>
                    </a:lnTo>
                    <a:lnTo>
                      <a:pt x="340" y="7"/>
                    </a:lnTo>
                    <a:lnTo>
                      <a:pt x="376" y="12"/>
                    </a:lnTo>
                    <a:lnTo>
                      <a:pt x="412" y="18"/>
                    </a:lnTo>
                    <a:lnTo>
                      <a:pt x="449" y="24"/>
                    </a:lnTo>
                    <a:lnTo>
                      <a:pt x="485" y="33"/>
                    </a:lnTo>
                    <a:lnTo>
                      <a:pt x="522" y="41"/>
                    </a:lnTo>
                    <a:lnTo>
                      <a:pt x="559" y="52"/>
                    </a:lnTo>
                    <a:lnTo>
                      <a:pt x="596" y="63"/>
                    </a:lnTo>
                    <a:lnTo>
                      <a:pt x="633" y="75"/>
                    </a:lnTo>
                    <a:lnTo>
                      <a:pt x="670" y="87"/>
                    </a:lnTo>
                    <a:lnTo>
                      <a:pt x="707" y="101"/>
                    </a:lnTo>
                    <a:lnTo>
                      <a:pt x="745" y="115"/>
                    </a:lnTo>
                    <a:lnTo>
                      <a:pt x="820" y="146"/>
                    </a:lnTo>
                    <a:lnTo>
                      <a:pt x="896" y="178"/>
                    </a:lnTo>
                    <a:lnTo>
                      <a:pt x="974" y="214"/>
                    </a:lnTo>
                    <a:lnTo>
                      <a:pt x="1051" y="251"/>
                    </a:lnTo>
                    <a:lnTo>
                      <a:pt x="1130" y="290"/>
                    </a:lnTo>
                    <a:lnTo>
                      <a:pt x="1211" y="328"/>
                    </a:lnTo>
                    <a:lnTo>
                      <a:pt x="1290" y="367"/>
                    </a:lnTo>
                    <a:lnTo>
                      <a:pt x="1370" y="406"/>
                    </a:lnTo>
                    <a:lnTo>
                      <a:pt x="1452" y="445"/>
                    </a:lnTo>
                    <a:lnTo>
                      <a:pt x="1535" y="484"/>
                    </a:lnTo>
                    <a:lnTo>
                      <a:pt x="1620" y="522"/>
                    </a:lnTo>
                    <a:lnTo>
                      <a:pt x="1707" y="558"/>
                    </a:lnTo>
                    <a:lnTo>
                      <a:pt x="1751" y="576"/>
                    </a:lnTo>
                    <a:lnTo>
                      <a:pt x="1795" y="593"/>
                    </a:lnTo>
                    <a:lnTo>
                      <a:pt x="1841" y="610"/>
                    </a:lnTo>
                    <a:lnTo>
                      <a:pt x="1886" y="626"/>
                    </a:lnTo>
                    <a:lnTo>
                      <a:pt x="1931" y="641"/>
                    </a:lnTo>
                    <a:lnTo>
                      <a:pt x="1978" y="657"/>
                    </a:lnTo>
                    <a:lnTo>
                      <a:pt x="2025" y="672"/>
                    </a:lnTo>
                    <a:lnTo>
                      <a:pt x="2073" y="686"/>
                    </a:lnTo>
                    <a:lnTo>
                      <a:pt x="2120" y="699"/>
                    </a:lnTo>
                    <a:lnTo>
                      <a:pt x="2169" y="711"/>
                    </a:lnTo>
                    <a:lnTo>
                      <a:pt x="2217" y="722"/>
                    </a:lnTo>
                    <a:lnTo>
                      <a:pt x="2267" y="732"/>
                    </a:lnTo>
                    <a:lnTo>
                      <a:pt x="2317" y="742"/>
                    </a:lnTo>
                    <a:lnTo>
                      <a:pt x="2368" y="751"/>
                    </a:lnTo>
                    <a:lnTo>
                      <a:pt x="2419" y="758"/>
                    </a:lnTo>
                    <a:lnTo>
                      <a:pt x="2471" y="766"/>
                    </a:lnTo>
                    <a:lnTo>
                      <a:pt x="2524" y="771"/>
                    </a:lnTo>
                    <a:lnTo>
                      <a:pt x="2577" y="775"/>
                    </a:lnTo>
                    <a:lnTo>
                      <a:pt x="2630" y="779"/>
                    </a:lnTo>
                    <a:lnTo>
                      <a:pt x="2685" y="780"/>
                    </a:lnTo>
                    <a:lnTo>
                      <a:pt x="2755" y="781"/>
                    </a:lnTo>
                    <a:lnTo>
                      <a:pt x="2825" y="780"/>
                    </a:lnTo>
                    <a:lnTo>
                      <a:pt x="2893" y="778"/>
                    </a:lnTo>
                    <a:lnTo>
                      <a:pt x="2960" y="774"/>
                    </a:lnTo>
                    <a:lnTo>
                      <a:pt x="3025" y="769"/>
                    </a:lnTo>
                    <a:lnTo>
                      <a:pt x="3090" y="762"/>
                    </a:lnTo>
                    <a:lnTo>
                      <a:pt x="3154" y="756"/>
                    </a:lnTo>
                    <a:lnTo>
                      <a:pt x="3215" y="747"/>
                    </a:lnTo>
                    <a:lnTo>
                      <a:pt x="3277" y="739"/>
                    </a:lnTo>
                    <a:lnTo>
                      <a:pt x="3337" y="729"/>
                    </a:lnTo>
                    <a:lnTo>
                      <a:pt x="3396" y="719"/>
                    </a:lnTo>
                    <a:lnTo>
                      <a:pt x="3454" y="708"/>
                    </a:lnTo>
                    <a:lnTo>
                      <a:pt x="3510" y="698"/>
                    </a:lnTo>
                    <a:lnTo>
                      <a:pt x="3566" y="687"/>
                    </a:lnTo>
                    <a:lnTo>
                      <a:pt x="3621" y="675"/>
                    </a:lnTo>
                    <a:lnTo>
                      <a:pt x="3675" y="664"/>
                    </a:lnTo>
                    <a:lnTo>
                      <a:pt x="3756" y="648"/>
                    </a:lnTo>
                    <a:lnTo>
                      <a:pt x="3837" y="632"/>
                    </a:lnTo>
                    <a:lnTo>
                      <a:pt x="3916" y="617"/>
                    </a:lnTo>
                    <a:lnTo>
                      <a:pt x="3994" y="604"/>
                    </a:lnTo>
                    <a:lnTo>
                      <a:pt x="4033" y="597"/>
                    </a:lnTo>
                    <a:lnTo>
                      <a:pt x="4071" y="592"/>
                    </a:lnTo>
                    <a:lnTo>
                      <a:pt x="4109" y="588"/>
                    </a:lnTo>
                    <a:lnTo>
                      <a:pt x="4148" y="583"/>
                    </a:lnTo>
                    <a:lnTo>
                      <a:pt x="4186" y="580"/>
                    </a:lnTo>
                    <a:lnTo>
                      <a:pt x="4224" y="577"/>
                    </a:lnTo>
                    <a:lnTo>
                      <a:pt x="4263" y="575"/>
                    </a:lnTo>
                    <a:lnTo>
                      <a:pt x="4300" y="573"/>
                    </a:lnTo>
                    <a:lnTo>
                      <a:pt x="4338" y="573"/>
                    </a:lnTo>
                    <a:lnTo>
                      <a:pt x="4376" y="573"/>
                    </a:lnTo>
                    <a:lnTo>
                      <a:pt x="4414" y="576"/>
                    </a:lnTo>
                    <a:lnTo>
                      <a:pt x="4452" y="578"/>
                    </a:lnTo>
                    <a:lnTo>
                      <a:pt x="4490" y="582"/>
                    </a:lnTo>
                    <a:lnTo>
                      <a:pt x="4528" y="586"/>
                    </a:lnTo>
                    <a:lnTo>
                      <a:pt x="4566" y="593"/>
                    </a:lnTo>
                    <a:lnTo>
                      <a:pt x="4605" y="599"/>
                    </a:lnTo>
                    <a:lnTo>
                      <a:pt x="4644" y="608"/>
                    </a:lnTo>
                    <a:lnTo>
                      <a:pt x="4682" y="619"/>
                    </a:lnTo>
                    <a:lnTo>
                      <a:pt x="4720" y="630"/>
                    </a:lnTo>
                    <a:lnTo>
                      <a:pt x="4759" y="643"/>
                    </a:lnTo>
                    <a:lnTo>
                      <a:pt x="4799" y="657"/>
                    </a:lnTo>
                    <a:lnTo>
                      <a:pt x="4838" y="672"/>
                    </a:lnTo>
                    <a:lnTo>
                      <a:pt x="4878" y="689"/>
                    </a:lnTo>
                    <a:lnTo>
                      <a:pt x="4918" y="708"/>
                    </a:lnTo>
                    <a:lnTo>
                      <a:pt x="4922" y="712"/>
                    </a:lnTo>
                    <a:lnTo>
                      <a:pt x="4925" y="716"/>
                    </a:lnTo>
                    <a:lnTo>
                      <a:pt x="4926" y="721"/>
                    </a:lnTo>
                    <a:lnTo>
                      <a:pt x="4925" y="727"/>
                    </a:lnTo>
                    <a:lnTo>
                      <a:pt x="4921" y="731"/>
                    </a:lnTo>
                    <a:lnTo>
                      <a:pt x="4916" y="733"/>
                    </a:lnTo>
                    <a:lnTo>
                      <a:pt x="4912" y="734"/>
                    </a:lnTo>
                    <a:lnTo>
                      <a:pt x="4906" y="732"/>
                    </a:lnTo>
                    <a:lnTo>
                      <a:pt x="4867" y="714"/>
                    </a:lnTo>
                    <a:lnTo>
                      <a:pt x="4828" y="698"/>
                    </a:lnTo>
                    <a:lnTo>
                      <a:pt x="4790" y="681"/>
                    </a:lnTo>
                    <a:lnTo>
                      <a:pt x="4751" y="667"/>
                    </a:lnTo>
                    <a:lnTo>
                      <a:pt x="4713" y="656"/>
                    </a:lnTo>
                    <a:lnTo>
                      <a:pt x="4674" y="645"/>
                    </a:lnTo>
                    <a:lnTo>
                      <a:pt x="4636" y="635"/>
                    </a:lnTo>
                    <a:lnTo>
                      <a:pt x="4598" y="626"/>
                    </a:lnTo>
                    <a:lnTo>
                      <a:pt x="4561" y="619"/>
                    </a:lnTo>
                    <a:lnTo>
                      <a:pt x="4523" y="613"/>
                    </a:lnTo>
                    <a:lnTo>
                      <a:pt x="4485" y="609"/>
                    </a:lnTo>
                    <a:lnTo>
                      <a:pt x="4448" y="605"/>
                    </a:lnTo>
                    <a:lnTo>
                      <a:pt x="4411" y="603"/>
                    </a:lnTo>
                    <a:lnTo>
                      <a:pt x="4373" y="600"/>
                    </a:lnTo>
                    <a:lnTo>
                      <a:pt x="4336" y="600"/>
                    </a:lnTo>
                    <a:lnTo>
                      <a:pt x="4298" y="600"/>
                    </a:lnTo>
                    <a:lnTo>
                      <a:pt x="4260" y="602"/>
                    </a:lnTo>
                    <a:lnTo>
                      <a:pt x="4223" y="604"/>
                    </a:lnTo>
                    <a:lnTo>
                      <a:pt x="4186" y="607"/>
                    </a:lnTo>
                    <a:lnTo>
                      <a:pt x="4148" y="610"/>
                    </a:lnTo>
                    <a:lnTo>
                      <a:pt x="4110" y="615"/>
                    </a:lnTo>
                    <a:lnTo>
                      <a:pt x="4073" y="620"/>
                    </a:lnTo>
                    <a:lnTo>
                      <a:pt x="4034" y="625"/>
                    </a:lnTo>
                    <a:lnTo>
                      <a:pt x="3996" y="631"/>
                    </a:lnTo>
                    <a:lnTo>
                      <a:pt x="3918" y="644"/>
                    </a:lnTo>
                    <a:lnTo>
                      <a:pt x="3840" y="659"/>
                    </a:lnTo>
                    <a:lnTo>
                      <a:pt x="3762" y="674"/>
                    </a:lnTo>
                    <a:lnTo>
                      <a:pt x="3681" y="691"/>
                    </a:lnTo>
                    <a:lnTo>
                      <a:pt x="3630" y="701"/>
                    </a:lnTo>
                    <a:lnTo>
                      <a:pt x="3578" y="712"/>
                    </a:lnTo>
                    <a:lnTo>
                      <a:pt x="3525" y="722"/>
                    </a:lnTo>
                    <a:lnTo>
                      <a:pt x="3472" y="732"/>
                    </a:lnTo>
                    <a:lnTo>
                      <a:pt x="3418" y="742"/>
                    </a:lnTo>
                    <a:lnTo>
                      <a:pt x="3363" y="752"/>
                    </a:lnTo>
                    <a:lnTo>
                      <a:pt x="3306" y="761"/>
                    </a:lnTo>
                    <a:lnTo>
                      <a:pt x="3250" y="770"/>
                    </a:lnTo>
                    <a:lnTo>
                      <a:pt x="3191" y="779"/>
                    </a:lnTo>
                    <a:lnTo>
                      <a:pt x="3132" y="785"/>
                    </a:lnTo>
                    <a:lnTo>
                      <a:pt x="3072" y="792"/>
                    </a:lnTo>
                    <a:lnTo>
                      <a:pt x="3011" y="797"/>
                    </a:lnTo>
                    <a:lnTo>
                      <a:pt x="2948" y="802"/>
                    </a:lnTo>
                    <a:lnTo>
                      <a:pt x="2885" y="806"/>
                    </a:lnTo>
                    <a:lnTo>
                      <a:pt x="2820" y="808"/>
                    </a:lnTo>
                    <a:lnTo>
                      <a:pt x="2754" y="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05"/>
              <p:cNvSpPr>
                <a:spLocks/>
              </p:cNvSpPr>
              <p:nvPr userDrawn="1"/>
            </p:nvSpPr>
            <p:spPr bwMode="auto">
              <a:xfrm>
                <a:off x="1222" y="3447"/>
                <a:ext cx="1625" cy="204"/>
              </a:xfrm>
              <a:custGeom>
                <a:avLst/>
                <a:gdLst>
                  <a:gd name="T0" fmla="*/ 4846 w 4877"/>
                  <a:gd name="T1" fmla="*/ 599 h 611"/>
                  <a:gd name="T2" fmla="*/ 4800 w 4877"/>
                  <a:gd name="T3" fmla="*/ 542 h 611"/>
                  <a:gd name="T4" fmla="*/ 4739 w 4877"/>
                  <a:gd name="T5" fmla="*/ 454 h 611"/>
                  <a:gd name="T6" fmla="*/ 4664 w 4877"/>
                  <a:gd name="T7" fmla="*/ 368 h 611"/>
                  <a:gd name="T8" fmla="*/ 4551 w 4877"/>
                  <a:gd name="T9" fmla="*/ 288 h 611"/>
                  <a:gd name="T10" fmla="*/ 4388 w 4877"/>
                  <a:gd name="T11" fmla="*/ 229 h 611"/>
                  <a:gd name="T12" fmla="*/ 4157 w 4877"/>
                  <a:gd name="T13" fmla="*/ 201 h 611"/>
                  <a:gd name="T14" fmla="*/ 3845 w 4877"/>
                  <a:gd name="T15" fmla="*/ 218 h 611"/>
                  <a:gd name="T16" fmla="*/ 3436 w 4877"/>
                  <a:gd name="T17" fmla="*/ 293 h 611"/>
                  <a:gd name="T18" fmla="*/ 2915 w 4877"/>
                  <a:gd name="T19" fmla="*/ 440 h 611"/>
                  <a:gd name="T20" fmla="*/ 2613 w 4877"/>
                  <a:gd name="T21" fmla="*/ 530 h 611"/>
                  <a:gd name="T22" fmla="*/ 2414 w 4877"/>
                  <a:gd name="T23" fmla="*/ 559 h 611"/>
                  <a:gd name="T24" fmla="*/ 2222 w 4877"/>
                  <a:gd name="T25" fmla="*/ 562 h 611"/>
                  <a:gd name="T26" fmla="*/ 2034 w 4877"/>
                  <a:gd name="T27" fmla="*/ 539 h 611"/>
                  <a:gd name="T28" fmla="*/ 1851 w 4877"/>
                  <a:gd name="T29" fmla="*/ 499 h 611"/>
                  <a:gd name="T30" fmla="*/ 1670 w 4877"/>
                  <a:gd name="T31" fmla="*/ 445 h 611"/>
                  <a:gd name="T32" fmla="*/ 1363 w 4877"/>
                  <a:gd name="T33" fmla="*/ 328 h 611"/>
                  <a:gd name="T34" fmla="*/ 1051 w 4877"/>
                  <a:gd name="T35" fmla="*/ 204 h 611"/>
                  <a:gd name="T36" fmla="*/ 783 w 4877"/>
                  <a:gd name="T37" fmla="*/ 112 h 611"/>
                  <a:gd name="T38" fmla="*/ 627 w 4877"/>
                  <a:gd name="T39" fmla="*/ 71 h 611"/>
                  <a:gd name="T40" fmla="*/ 469 w 4877"/>
                  <a:gd name="T41" fmla="*/ 42 h 611"/>
                  <a:gd name="T42" fmla="*/ 307 w 4877"/>
                  <a:gd name="T43" fmla="*/ 27 h 611"/>
                  <a:gd name="T44" fmla="*/ 142 w 4877"/>
                  <a:gd name="T45" fmla="*/ 31 h 611"/>
                  <a:gd name="T46" fmla="*/ 11 w 4877"/>
                  <a:gd name="T47" fmla="*/ 48 h 611"/>
                  <a:gd name="T48" fmla="*/ 1 w 4877"/>
                  <a:gd name="T49" fmla="*/ 31 h 611"/>
                  <a:gd name="T50" fmla="*/ 54 w 4877"/>
                  <a:gd name="T51" fmla="*/ 14 h 611"/>
                  <a:gd name="T52" fmla="*/ 223 w 4877"/>
                  <a:gd name="T53" fmla="*/ 0 h 611"/>
                  <a:gd name="T54" fmla="*/ 389 w 4877"/>
                  <a:gd name="T55" fmla="*/ 6 h 611"/>
                  <a:gd name="T56" fmla="*/ 551 w 4877"/>
                  <a:gd name="T57" fmla="*/ 28 h 611"/>
                  <a:gd name="T58" fmla="*/ 709 w 4877"/>
                  <a:gd name="T59" fmla="*/ 64 h 611"/>
                  <a:gd name="T60" fmla="*/ 905 w 4877"/>
                  <a:gd name="T61" fmla="*/ 123 h 611"/>
                  <a:gd name="T62" fmla="*/ 1210 w 4877"/>
                  <a:gd name="T63" fmla="*/ 239 h 611"/>
                  <a:gd name="T64" fmla="*/ 1545 w 4877"/>
                  <a:gd name="T65" fmla="*/ 372 h 611"/>
                  <a:gd name="T66" fmla="*/ 1765 w 4877"/>
                  <a:gd name="T67" fmla="*/ 446 h 611"/>
                  <a:gd name="T68" fmla="*/ 1945 w 4877"/>
                  <a:gd name="T69" fmla="*/ 494 h 611"/>
                  <a:gd name="T70" fmla="*/ 2128 w 4877"/>
                  <a:gd name="T71" fmla="*/ 526 h 611"/>
                  <a:gd name="T72" fmla="*/ 2316 w 4877"/>
                  <a:gd name="T73" fmla="*/ 537 h 611"/>
                  <a:gd name="T74" fmla="*/ 2509 w 4877"/>
                  <a:gd name="T75" fmla="*/ 523 h 611"/>
                  <a:gd name="T76" fmla="*/ 2707 w 4877"/>
                  <a:gd name="T77" fmla="*/ 478 h 611"/>
                  <a:gd name="T78" fmla="*/ 3187 w 4877"/>
                  <a:gd name="T79" fmla="*/ 329 h 611"/>
                  <a:gd name="T80" fmla="*/ 3656 w 4877"/>
                  <a:gd name="T81" fmla="*/ 220 h 611"/>
                  <a:gd name="T82" fmla="*/ 4020 w 4877"/>
                  <a:gd name="T83" fmla="*/ 176 h 611"/>
                  <a:gd name="T84" fmla="*/ 4293 w 4877"/>
                  <a:gd name="T85" fmla="*/ 185 h 611"/>
                  <a:gd name="T86" fmla="*/ 4493 w 4877"/>
                  <a:gd name="T87" fmla="*/ 232 h 611"/>
                  <a:gd name="T88" fmla="*/ 4631 w 4877"/>
                  <a:gd name="T89" fmla="*/ 306 h 611"/>
                  <a:gd name="T90" fmla="*/ 4726 w 4877"/>
                  <a:gd name="T91" fmla="*/ 393 h 611"/>
                  <a:gd name="T92" fmla="*/ 4790 w 4877"/>
                  <a:gd name="T93" fmla="*/ 479 h 611"/>
                  <a:gd name="T94" fmla="*/ 4846 w 4877"/>
                  <a:gd name="T95" fmla="*/ 560 h 611"/>
                  <a:gd name="T96" fmla="*/ 4876 w 4877"/>
                  <a:gd name="T97" fmla="*/ 592 h 611"/>
                  <a:gd name="T98" fmla="*/ 4872 w 4877"/>
                  <a:gd name="T99" fmla="*/ 608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77" h="611">
                    <a:moveTo>
                      <a:pt x="4864" y="611"/>
                    </a:moveTo>
                    <a:lnTo>
                      <a:pt x="4859" y="610"/>
                    </a:lnTo>
                    <a:lnTo>
                      <a:pt x="4856" y="608"/>
                    </a:lnTo>
                    <a:lnTo>
                      <a:pt x="4846" y="599"/>
                    </a:lnTo>
                    <a:lnTo>
                      <a:pt x="4836" y="590"/>
                    </a:lnTo>
                    <a:lnTo>
                      <a:pt x="4827" y="579"/>
                    </a:lnTo>
                    <a:lnTo>
                      <a:pt x="4818" y="568"/>
                    </a:lnTo>
                    <a:lnTo>
                      <a:pt x="4800" y="542"/>
                    </a:lnTo>
                    <a:lnTo>
                      <a:pt x="4781" y="514"/>
                    </a:lnTo>
                    <a:lnTo>
                      <a:pt x="4768" y="495"/>
                    </a:lnTo>
                    <a:lnTo>
                      <a:pt x="4754" y="474"/>
                    </a:lnTo>
                    <a:lnTo>
                      <a:pt x="4739" y="454"/>
                    </a:lnTo>
                    <a:lnTo>
                      <a:pt x="4723" y="432"/>
                    </a:lnTo>
                    <a:lnTo>
                      <a:pt x="4706" y="410"/>
                    </a:lnTo>
                    <a:lnTo>
                      <a:pt x="4686" y="389"/>
                    </a:lnTo>
                    <a:lnTo>
                      <a:pt x="4664" y="368"/>
                    </a:lnTo>
                    <a:lnTo>
                      <a:pt x="4640" y="347"/>
                    </a:lnTo>
                    <a:lnTo>
                      <a:pt x="4614" y="327"/>
                    </a:lnTo>
                    <a:lnTo>
                      <a:pt x="4584" y="308"/>
                    </a:lnTo>
                    <a:lnTo>
                      <a:pt x="4551" y="288"/>
                    </a:lnTo>
                    <a:lnTo>
                      <a:pt x="4516" y="271"/>
                    </a:lnTo>
                    <a:lnTo>
                      <a:pt x="4477" y="256"/>
                    </a:lnTo>
                    <a:lnTo>
                      <a:pt x="4435" y="241"/>
                    </a:lnTo>
                    <a:lnTo>
                      <a:pt x="4388" y="229"/>
                    </a:lnTo>
                    <a:lnTo>
                      <a:pt x="4336" y="218"/>
                    </a:lnTo>
                    <a:lnTo>
                      <a:pt x="4281" y="210"/>
                    </a:lnTo>
                    <a:lnTo>
                      <a:pt x="4222" y="204"/>
                    </a:lnTo>
                    <a:lnTo>
                      <a:pt x="4157" y="201"/>
                    </a:lnTo>
                    <a:lnTo>
                      <a:pt x="4087" y="201"/>
                    </a:lnTo>
                    <a:lnTo>
                      <a:pt x="4012" y="203"/>
                    </a:lnTo>
                    <a:lnTo>
                      <a:pt x="3931" y="209"/>
                    </a:lnTo>
                    <a:lnTo>
                      <a:pt x="3845" y="218"/>
                    </a:lnTo>
                    <a:lnTo>
                      <a:pt x="3752" y="231"/>
                    </a:lnTo>
                    <a:lnTo>
                      <a:pt x="3653" y="247"/>
                    </a:lnTo>
                    <a:lnTo>
                      <a:pt x="3548" y="268"/>
                    </a:lnTo>
                    <a:lnTo>
                      <a:pt x="3436" y="293"/>
                    </a:lnTo>
                    <a:lnTo>
                      <a:pt x="3317" y="323"/>
                    </a:lnTo>
                    <a:lnTo>
                      <a:pt x="3191" y="356"/>
                    </a:lnTo>
                    <a:lnTo>
                      <a:pt x="3057" y="395"/>
                    </a:lnTo>
                    <a:lnTo>
                      <a:pt x="2915" y="440"/>
                    </a:lnTo>
                    <a:lnTo>
                      <a:pt x="2766" y="488"/>
                    </a:lnTo>
                    <a:lnTo>
                      <a:pt x="2715" y="504"/>
                    </a:lnTo>
                    <a:lnTo>
                      <a:pt x="2664" y="518"/>
                    </a:lnTo>
                    <a:lnTo>
                      <a:pt x="2613" y="530"/>
                    </a:lnTo>
                    <a:lnTo>
                      <a:pt x="2563" y="541"/>
                    </a:lnTo>
                    <a:lnTo>
                      <a:pt x="2514" y="549"/>
                    </a:lnTo>
                    <a:lnTo>
                      <a:pt x="2464" y="555"/>
                    </a:lnTo>
                    <a:lnTo>
                      <a:pt x="2414" y="559"/>
                    </a:lnTo>
                    <a:lnTo>
                      <a:pt x="2366" y="563"/>
                    </a:lnTo>
                    <a:lnTo>
                      <a:pt x="2318" y="564"/>
                    </a:lnTo>
                    <a:lnTo>
                      <a:pt x="2270" y="563"/>
                    </a:lnTo>
                    <a:lnTo>
                      <a:pt x="2222" y="562"/>
                    </a:lnTo>
                    <a:lnTo>
                      <a:pt x="2175" y="557"/>
                    </a:lnTo>
                    <a:lnTo>
                      <a:pt x="2127" y="553"/>
                    </a:lnTo>
                    <a:lnTo>
                      <a:pt x="2081" y="546"/>
                    </a:lnTo>
                    <a:lnTo>
                      <a:pt x="2034" y="539"/>
                    </a:lnTo>
                    <a:lnTo>
                      <a:pt x="1988" y="530"/>
                    </a:lnTo>
                    <a:lnTo>
                      <a:pt x="1941" y="522"/>
                    </a:lnTo>
                    <a:lnTo>
                      <a:pt x="1896" y="511"/>
                    </a:lnTo>
                    <a:lnTo>
                      <a:pt x="1851" y="499"/>
                    </a:lnTo>
                    <a:lnTo>
                      <a:pt x="1805" y="486"/>
                    </a:lnTo>
                    <a:lnTo>
                      <a:pt x="1760" y="473"/>
                    </a:lnTo>
                    <a:lnTo>
                      <a:pt x="1716" y="459"/>
                    </a:lnTo>
                    <a:lnTo>
                      <a:pt x="1670" y="445"/>
                    </a:lnTo>
                    <a:lnTo>
                      <a:pt x="1626" y="429"/>
                    </a:lnTo>
                    <a:lnTo>
                      <a:pt x="1538" y="397"/>
                    </a:lnTo>
                    <a:lnTo>
                      <a:pt x="1450" y="364"/>
                    </a:lnTo>
                    <a:lnTo>
                      <a:pt x="1363" y="328"/>
                    </a:lnTo>
                    <a:lnTo>
                      <a:pt x="1275" y="294"/>
                    </a:lnTo>
                    <a:lnTo>
                      <a:pt x="1201" y="264"/>
                    </a:lnTo>
                    <a:lnTo>
                      <a:pt x="1126" y="233"/>
                    </a:lnTo>
                    <a:lnTo>
                      <a:pt x="1051" y="204"/>
                    </a:lnTo>
                    <a:lnTo>
                      <a:pt x="975" y="176"/>
                    </a:lnTo>
                    <a:lnTo>
                      <a:pt x="898" y="149"/>
                    </a:lnTo>
                    <a:lnTo>
                      <a:pt x="822" y="124"/>
                    </a:lnTo>
                    <a:lnTo>
                      <a:pt x="783" y="112"/>
                    </a:lnTo>
                    <a:lnTo>
                      <a:pt x="744" y="101"/>
                    </a:lnTo>
                    <a:lnTo>
                      <a:pt x="705" y="91"/>
                    </a:lnTo>
                    <a:lnTo>
                      <a:pt x="666" y="80"/>
                    </a:lnTo>
                    <a:lnTo>
                      <a:pt x="627" y="71"/>
                    </a:lnTo>
                    <a:lnTo>
                      <a:pt x="587" y="63"/>
                    </a:lnTo>
                    <a:lnTo>
                      <a:pt x="548" y="55"/>
                    </a:lnTo>
                    <a:lnTo>
                      <a:pt x="508" y="48"/>
                    </a:lnTo>
                    <a:lnTo>
                      <a:pt x="469" y="42"/>
                    </a:lnTo>
                    <a:lnTo>
                      <a:pt x="429" y="37"/>
                    </a:lnTo>
                    <a:lnTo>
                      <a:pt x="388" y="33"/>
                    </a:lnTo>
                    <a:lnTo>
                      <a:pt x="348" y="29"/>
                    </a:lnTo>
                    <a:lnTo>
                      <a:pt x="307" y="27"/>
                    </a:lnTo>
                    <a:lnTo>
                      <a:pt x="266" y="27"/>
                    </a:lnTo>
                    <a:lnTo>
                      <a:pt x="224" y="27"/>
                    </a:lnTo>
                    <a:lnTo>
                      <a:pt x="183" y="28"/>
                    </a:lnTo>
                    <a:lnTo>
                      <a:pt x="142" y="31"/>
                    </a:lnTo>
                    <a:lnTo>
                      <a:pt x="100" y="36"/>
                    </a:lnTo>
                    <a:lnTo>
                      <a:pt x="58" y="41"/>
                    </a:lnTo>
                    <a:lnTo>
                      <a:pt x="16" y="48"/>
                    </a:lnTo>
                    <a:lnTo>
                      <a:pt x="11" y="48"/>
                    </a:lnTo>
                    <a:lnTo>
                      <a:pt x="6" y="46"/>
                    </a:lnTo>
                    <a:lnTo>
                      <a:pt x="2" y="42"/>
                    </a:lnTo>
                    <a:lnTo>
                      <a:pt x="0" y="37"/>
                    </a:lnTo>
                    <a:lnTo>
                      <a:pt x="1" y="31"/>
                    </a:lnTo>
                    <a:lnTo>
                      <a:pt x="2" y="27"/>
                    </a:lnTo>
                    <a:lnTo>
                      <a:pt x="6" y="23"/>
                    </a:lnTo>
                    <a:lnTo>
                      <a:pt x="12" y="21"/>
                    </a:lnTo>
                    <a:lnTo>
                      <a:pt x="54" y="14"/>
                    </a:lnTo>
                    <a:lnTo>
                      <a:pt x="97" y="9"/>
                    </a:lnTo>
                    <a:lnTo>
                      <a:pt x="139" y="5"/>
                    </a:lnTo>
                    <a:lnTo>
                      <a:pt x="181" y="1"/>
                    </a:lnTo>
                    <a:lnTo>
                      <a:pt x="223" y="0"/>
                    </a:lnTo>
                    <a:lnTo>
                      <a:pt x="266" y="0"/>
                    </a:lnTo>
                    <a:lnTo>
                      <a:pt x="307" y="0"/>
                    </a:lnTo>
                    <a:lnTo>
                      <a:pt x="348" y="2"/>
                    </a:lnTo>
                    <a:lnTo>
                      <a:pt x="389" y="6"/>
                    </a:lnTo>
                    <a:lnTo>
                      <a:pt x="430" y="10"/>
                    </a:lnTo>
                    <a:lnTo>
                      <a:pt x="471" y="15"/>
                    </a:lnTo>
                    <a:lnTo>
                      <a:pt x="511" y="21"/>
                    </a:lnTo>
                    <a:lnTo>
                      <a:pt x="551" y="28"/>
                    </a:lnTo>
                    <a:lnTo>
                      <a:pt x="591" y="36"/>
                    </a:lnTo>
                    <a:lnTo>
                      <a:pt x="630" y="44"/>
                    </a:lnTo>
                    <a:lnTo>
                      <a:pt x="670" y="53"/>
                    </a:lnTo>
                    <a:lnTo>
                      <a:pt x="709" y="64"/>
                    </a:lnTo>
                    <a:lnTo>
                      <a:pt x="749" y="75"/>
                    </a:lnTo>
                    <a:lnTo>
                      <a:pt x="788" y="85"/>
                    </a:lnTo>
                    <a:lnTo>
                      <a:pt x="827" y="97"/>
                    </a:lnTo>
                    <a:lnTo>
                      <a:pt x="905" y="123"/>
                    </a:lnTo>
                    <a:lnTo>
                      <a:pt x="983" y="150"/>
                    </a:lnTo>
                    <a:lnTo>
                      <a:pt x="1058" y="178"/>
                    </a:lnTo>
                    <a:lnTo>
                      <a:pt x="1135" y="209"/>
                    </a:lnTo>
                    <a:lnTo>
                      <a:pt x="1210" y="239"/>
                    </a:lnTo>
                    <a:lnTo>
                      <a:pt x="1286" y="269"/>
                    </a:lnTo>
                    <a:lnTo>
                      <a:pt x="1371" y="304"/>
                    </a:lnTo>
                    <a:lnTo>
                      <a:pt x="1458" y="338"/>
                    </a:lnTo>
                    <a:lnTo>
                      <a:pt x="1545" y="372"/>
                    </a:lnTo>
                    <a:lnTo>
                      <a:pt x="1633" y="403"/>
                    </a:lnTo>
                    <a:lnTo>
                      <a:pt x="1677" y="418"/>
                    </a:lnTo>
                    <a:lnTo>
                      <a:pt x="1721" y="433"/>
                    </a:lnTo>
                    <a:lnTo>
                      <a:pt x="1765" y="446"/>
                    </a:lnTo>
                    <a:lnTo>
                      <a:pt x="1810" y="460"/>
                    </a:lnTo>
                    <a:lnTo>
                      <a:pt x="1855" y="472"/>
                    </a:lnTo>
                    <a:lnTo>
                      <a:pt x="1899" y="484"/>
                    </a:lnTo>
                    <a:lnTo>
                      <a:pt x="1945" y="494"/>
                    </a:lnTo>
                    <a:lnTo>
                      <a:pt x="1990" y="503"/>
                    </a:lnTo>
                    <a:lnTo>
                      <a:pt x="2036" y="512"/>
                    </a:lnTo>
                    <a:lnTo>
                      <a:pt x="2082" y="519"/>
                    </a:lnTo>
                    <a:lnTo>
                      <a:pt x="2128" y="526"/>
                    </a:lnTo>
                    <a:lnTo>
                      <a:pt x="2175" y="530"/>
                    </a:lnTo>
                    <a:lnTo>
                      <a:pt x="2222" y="533"/>
                    </a:lnTo>
                    <a:lnTo>
                      <a:pt x="2269" y="536"/>
                    </a:lnTo>
                    <a:lnTo>
                      <a:pt x="2316" y="537"/>
                    </a:lnTo>
                    <a:lnTo>
                      <a:pt x="2364" y="536"/>
                    </a:lnTo>
                    <a:lnTo>
                      <a:pt x="2412" y="532"/>
                    </a:lnTo>
                    <a:lnTo>
                      <a:pt x="2460" y="528"/>
                    </a:lnTo>
                    <a:lnTo>
                      <a:pt x="2509" y="523"/>
                    </a:lnTo>
                    <a:lnTo>
                      <a:pt x="2558" y="514"/>
                    </a:lnTo>
                    <a:lnTo>
                      <a:pt x="2608" y="504"/>
                    </a:lnTo>
                    <a:lnTo>
                      <a:pt x="2657" y="492"/>
                    </a:lnTo>
                    <a:lnTo>
                      <a:pt x="2707" y="478"/>
                    </a:lnTo>
                    <a:lnTo>
                      <a:pt x="2758" y="462"/>
                    </a:lnTo>
                    <a:lnTo>
                      <a:pt x="2909" y="413"/>
                    </a:lnTo>
                    <a:lnTo>
                      <a:pt x="3051" y="368"/>
                    </a:lnTo>
                    <a:lnTo>
                      <a:pt x="3187" y="329"/>
                    </a:lnTo>
                    <a:lnTo>
                      <a:pt x="3315" y="295"/>
                    </a:lnTo>
                    <a:lnTo>
                      <a:pt x="3436" y="266"/>
                    </a:lnTo>
                    <a:lnTo>
                      <a:pt x="3549" y="241"/>
                    </a:lnTo>
                    <a:lnTo>
                      <a:pt x="3656" y="220"/>
                    </a:lnTo>
                    <a:lnTo>
                      <a:pt x="3757" y="203"/>
                    </a:lnTo>
                    <a:lnTo>
                      <a:pt x="3850" y="190"/>
                    </a:lnTo>
                    <a:lnTo>
                      <a:pt x="3938" y="182"/>
                    </a:lnTo>
                    <a:lnTo>
                      <a:pt x="4020" y="176"/>
                    </a:lnTo>
                    <a:lnTo>
                      <a:pt x="4096" y="174"/>
                    </a:lnTo>
                    <a:lnTo>
                      <a:pt x="4167" y="175"/>
                    </a:lnTo>
                    <a:lnTo>
                      <a:pt x="4233" y="178"/>
                    </a:lnTo>
                    <a:lnTo>
                      <a:pt x="4293" y="185"/>
                    </a:lnTo>
                    <a:lnTo>
                      <a:pt x="4349" y="193"/>
                    </a:lnTo>
                    <a:lnTo>
                      <a:pt x="4401" y="204"/>
                    </a:lnTo>
                    <a:lnTo>
                      <a:pt x="4449" y="217"/>
                    </a:lnTo>
                    <a:lnTo>
                      <a:pt x="4493" y="232"/>
                    </a:lnTo>
                    <a:lnTo>
                      <a:pt x="4532" y="248"/>
                    </a:lnTo>
                    <a:lnTo>
                      <a:pt x="4569" y="267"/>
                    </a:lnTo>
                    <a:lnTo>
                      <a:pt x="4602" y="286"/>
                    </a:lnTo>
                    <a:lnTo>
                      <a:pt x="4631" y="306"/>
                    </a:lnTo>
                    <a:lnTo>
                      <a:pt x="4659" y="327"/>
                    </a:lnTo>
                    <a:lnTo>
                      <a:pt x="4683" y="349"/>
                    </a:lnTo>
                    <a:lnTo>
                      <a:pt x="4706" y="370"/>
                    </a:lnTo>
                    <a:lnTo>
                      <a:pt x="4726" y="393"/>
                    </a:lnTo>
                    <a:lnTo>
                      <a:pt x="4745" y="415"/>
                    </a:lnTo>
                    <a:lnTo>
                      <a:pt x="4761" y="437"/>
                    </a:lnTo>
                    <a:lnTo>
                      <a:pt x="4776" y="458"/>
                    </a:lnTo>
                    <a:lnTo>
                      <a:pt x="4790" y="479"/>
                    </a:lnTo>
                    <a:lnTo>
                      <a:pt x="4803" y="499"/>
                    </a:lnTo>
                    <a:lnTo>
                      <a:pt x="4821" y="526"/>
                    </a:lnTo>
                    <a:lnTo>
                      <a:pt x="4839" y="550"/>
                    </a:lnTo>
                    <a:lnTo>
                      <a:pt x="4846" y="560"/>
                    </a:lnTo>
                    <a:lnTo>
                      <a:pt x="4855" y="570"/>
                    </a:lnTo>
                    <a:lnTo>
                      <a:pt x="4863" y="580"/>
                    </a:lnTo>
                    <a:lnTo>
                      <a:pt x="4872" y="587"/>
                    </a:lnTo>
                    <a:lnTo>
                      <a:pt x="4876" y="592"/>
                    </a:lnTo>
                    <a:lnTo>
                      <a:pt x="4877" y="596"/>
                    </a:lnTo>
                    <a:lnTo>
                      <a:pt x="4877" y="601"/>
                    </a:lnTo>
                    <a:lnTo>
                      <a:pt x="4874" y="606"/>
                    </a:lnTo>
                    <a:lnTo>
                      <a:pt x="4872" y="608"/>
                    </a:lnTo>
                    <a:lnTo>
                      <a:pt x="4870" y="610"/>
                    </a:lnTo>
                    <a:lnTo>
                      <a:pt x="4867" y="611"/>
                    </a:lnTo>
                    <a:lnTo>
                      <a:pt x="4864" y="6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06"/>
              <p:cNvSpPr>
                <a:spLocks/>
              </p:cNvSpPr>
              <p:nvPr userDrawn="1"/>
            </p:nvSpPr>
            <p:spPr bwMode="auto">
              <a:xfrm>
                <a:off x="1202" y="3384"/>
                <a:ext cx="1588" cy="126"/>
              </a:xfrm>
              <a:custGeom>
                <a:avLst/>
                <a:gdLst>
                  <a:gd name="T0" fmla="*/ 4740 w 4762"/>
                  <a:gd name="T1" fmla="*/ 376 h 378"/>
                  <a:gd name="T2" fmla="*/ 4724 w 4762"/>
                  <a:gd name="T3" fmla="*/ 347 h 378"/>
                  <a:gd name="T4" fmla="*/ 4654 w 4762"/>
                  <a:gd name="T5" fmla="*/ 284 h 378"/>
                  <a:gd name="T6" fmla="*/ 4532 w 4762"/>
                  <a:gd name="T7" fmla="*/ 230 h 378"/>
                  <a:gd name="T8" fmla="*/ 4365 w 4762"/>
                  <a:gd name="T9" fmla="*/ 186 h 378"/>
                  <a:gd name="T10" fmla="*/ 4162 w 4762"/>
                  <a:gd name="T11" fmla="*/ 151 h 378"/>
                  <a:gd name="T12" fmla="*/ 3930 w 4762"/>
                  <a:gd name="T13" fmla="*/ 125 h 378"/>
                  <a:gd name="T14" fmla="*/ 3676 w 4762"/>
                  <a:gd name="T15" fmla="*/ 109 h 378"/>
                  <a:gd name="T16" fmla="*/ 3407 w 4762"/>
                  <a:gd name="T17" fmla="*/ 103 h 378"/>
                  <a:gd name="T18" fmla="*/ 3132 w 4762"/>
                  <a:gd name="T19" fmla="*/ 106 h 378"/>
                  <a:gd name="T20" fmla="*/ 2858 w 4762"/>
                  <a:gd name="T21" fmla="*/ 120 h 378"/>
                  <a:gd name="T22" fmla="*/ 2590 w 4762"/>
                  <a:gd name="T23" fmla="*/ 144 h 378"/>
                  <a:gd name="T24" fmla="*/ 2406 w 4762"/>
                  <a:gd name="T25" fmla="*/ 165 h 378"/>
                  <a:gd name="T26" fmla="*/ 2261 w 4762"/>
                  <a:gd name="T27" fmla="*/ 176 h 378"/>
                  <a:gd name="T28" fmla="*/ 2116 w 4762"/>
                  <a:gd name="T29" fmla="*/ 182 h 378"/>
                  <a:gd name="T30" fmla="*/ 1830 w 4762"/>
                  <a:gd name="T31" fmla="*/ 177 h 378"/>
                  <a:gd name="T32" fmla="*/ 1551 w 4762"/>
                  <a:gd name="T33" fmla="*/ 157 h 378"/>
                  <a:gd name="T34" fmla="*/ 1281 w 4762"/>
                  <a:gd name="T35" fmla="*/ 128 h 378"/>
                  <a:gd name="T36" fmla="*/ 1023 w 4762"/>
                  <a:gd name="T37" fmla="*/ 94 h 378"/>
                  <a:gd name="T38" fmla="*/ 803 w 4762"/>
                  <a:gd name="T39" fmla="*/ 65 h 378"/>
                  <a:gd name="T40" fmla="*/ 595 w 4762"/>
                  <a:gd name="T41" fmla="*/ 42 h 378"/>
                  <a:gd name="T42" fmla="*/ 402 w 4762"/>
                  <a:gd name="T43" fmla="*/ 28 h 378"/>
                  <a:gd name="T44" fmla="*/ 225 w 4762"/>
                  <a:gd name="T45" fmla="*/ 29 h 378"/>
                  <a:gd name="T46" fmla="*/ 143 w 4762"/>
                  <a:gd name="T47" fmla="*/ 36 h 378"/>
                  <a:gd name="T48" fmla="*/ 65 w 4762"/>
                  <a:gd name="T49" fmla="*/ 48 h 378"/>
                  <a:gd name="T50" fmla="*/ 10 w 4762"/>
                  <a:gd name="T51" fmla="*/ 58 h 378"/>
                  <a:gd name="T52" fmla="*/ 0 w 4762"/>
                  <a:gd name="T53" fmla="*/ 48 h 378"/>
                  <a:gd name="T54" fmla="*/ 4 w 4762"/>
                  <a:gd name="T55" fmla="*/ 34 h 378"/>
                  <a:gd name="T56" fmla="*/ 59 w 4762"/>
                  <a:gd name="T57" fmla="*/ 21 h 378"/>
                  <a:gd name="T58" fmla="*/ 139 w 4762"/>
                  <a:gd name="T59" fmla="*/ 9 h 378"/>
                  <a:gd name="T60" fmla="*/ 222 w 4762"/>
                  <a:gd name="T61" fmla="*/ 2 h 378"/>
                  <a:gd name="T62" fmla="*/ 401 w 4762"/>
                  <a:gd name="T63" fmla="*/ 1 h 378"/>
                  <a:gd name="T64" fmla="*/ 596 w 4762"/>
                  <a:gd name="T65" fmla="*/ 15 h 378"/>
                  <a:gd name="T66" fmla="*/ 804 w 4762"/>
                  <a:gd name="T67" fmla="*/ 38 h 378"/>
                  <a:gd name="T68" fmla="*/ 1026 w 4762"/>
                  <a:gd name="T69" fmla="*/ 67 h 378"/>
                  <a:gd name="T70" fmla="*/ 1285 w 4762"/>
                  <a:gd name="T71" fmla="*/ 101 h 378"/>
                  <a:gd name="T72" fmla="*/ 1553 w 4762"/>
                  <a:gd name="T73" fmla="*/ 130 h 378"/>
                  <a:gd name="T74" fmla="*/ 1831 w 4762"/>
                  <a:gd name="T75" fmla="*/ 150 h 378"/>
                  <a:gd name="T76" fmla="*/ 2115 w 4762"/>
                  <a:gd name="T77" fmla="*/ 155 h 378"/>
                  <a:gd name="T78" fmla="*/ 2259 w 4762"/>
                  <a:gd name="T79" fmla="*/ 149 h 378"/>
                  <a:gd name="T80" fmla="*/ 2404 w 4762"/>
                  <a:gd name="T81" fmla="*/ 138 h 378"/>
                  <a:gd name="T82" fmla="*/ 2580 w 4762"/>
                  <a:gd name="T83" fmla="*/ 118 h 378"/>
                  <a:gd name="T84" fmla="*/ 2832 w 4762"/>
                  <a:gd name="T85" fmla="*/ 95 h 378"/>
                  <a:gd name="T86" fmla="*/ 3099 w 4762"/>
                  <a:gd name="T87" fmla="*/ 81 h 378"/>
                  <a:gd name="T88" fmla="*/ 3373 w 4762"/>
                  <a:gd name="T89" fmla="*/ 77 h 378"/>
                  <a:gd name="T90" fmla="*/ 3645 w 4762"/>
                  <a:gd name="T91" fmla="*/ 82 h 378"/>
                  <a:gd name="T92" fmla="*/ 3906 w 4762"/>
                  <a:gd name="T93" fmla="*/ 97 h 378"/>
                  <a:gd name="T94" fmla="*/ 4148 w 4762"/>
                  <a:gd name="T95" fmla="*/ 122 h 378"/>
                  <a:gd name="T96" fmla="*/ 4362 w 4762"/>
                  <a:gd name="T97" fmla="*/ 159 h 378"/>
                  <a:gd name="T98" fmla="*/ 4539 w 4762"/>
                  <a:gd name="T99" fmla="*/ 205 h 378"/>
                  <a:gd name="T100" fmla="*/ 4671 w 4762"/>
                  <a:gd name="T101" fmla="*/ 265 h 378"/>
                  <a:gd name="T102" fmla="*/ 4749 w 4762"/>
                  <a:gd name="T103" fmla="*/ 335 h 378"/>
                  <a:gd name="T104" fmla="*/ 4759 w 4762"/>
                  <a:gd name="T105" fmla="*/ 372 h 378"/>
                  <a:gd name="T106" fmla="*/ 4750 w 4762"/>
                  <a:gd name="T107" fmla="*/ 37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62" h="378">
                    <a:moveTo>
                      <a:pt x="4748" y="378"/>
                    </a:moveTo>
                    <a:lnTo>
                      <a:pt x="4743" y="378"/>
                    </a:lnTo>
                    <a:lnTo>
                      <a:pt x="4740" y="376"/>
                    </a:lnTo>
                    <a:lnTo>
                      <a:pt x="4737" y="373"/>
                    </a:lnTo>
                    <a:lnTo>
                      <a:pt x="4735" y="369"/>
                    </a:lnTo>
                    <a:lnTo>
                      <a:pt x="4724" y="347"/>
                    </a:lnTo>
                    <a:lnTo>
                      <a:pt x="4706" y="325"/>
                    </a:lnTo>
                    <a:lnTo>
                      <a:pt x="4683" y="304"/>
                    </a:lnTo>
                    <a:lnTo>
                      <a:pt x="4654" y="284"/>
                    </a:lnTo>
                    <a:lnTo>
                      <a:pt x="4618" y="265"/>
                    </a:lnTo>
                    <a:lnTo>
                      <a:pt x="4577" y="247"/>
                    </a:lnTo>
                    <a:lnTo>
                      <a:pt x="4532" y="230"/>
                    </a:lnTo>
                    <a:lnTo>
                      <a:pt x="4481" y="215"/>
                    </a:lnTo>
                    <a:lnTo>
                      <a:pt x="4425" y="200"/>
                    </a:lnTo>
                    <a:lnTo>
                      <a:pt x="4365" y="186"/>
                    </a:lnTo>
                    <a:lnTo>
                      <a:pt x="4302" y="173"/>
                    </a:lnTo>
                    <a:lnTo>
                      <a:pt x="4234" y="162"/>
                    </a:lnTo>
                    <a:lnTo>
                      <a:pt x="4162" y="151"/>
                    </a:lnTo>
                    <a:lnTo>
                      <a:pt x="4088" y="142"/>
                    </a:lnTo>
                    <a:lnTo>
                      <a:pt x="4010" y="133"/>
                    </a:lnTo>
                    <a:lnTo>
                      <a:pt x="3930" y="125"/>
                    </a:lnTo>
                    <a:lnTo>
                      <a:pt x="3848" y="119"/>
                    </a:lnTo>
                    <a:lnTo>
                      <a:pt x="3763" y="114"/>
                    </a:lnTo>
                    <a:lnTo>
                      <a:pt x="3676" y="109"/>
                    </a:lnTo>
                    <a:lnTo>
                      <a:pt x="3588" y="106"/>
                    </a:lnTo>
                    <a:lnTo>
                      <a:pt x="3498" y="104"/>
                    </a:lnTo>
                    <a:lnTo>
                      <a:pt x="3407" y="103"/>
                    </a:lnTo>
                    <a:lnTo>
                      <a:pt x="3317" y="103"/>
                    </a:lnTo>
                    <a:lnTo>
                      <a:pt x="3225" y="104"/>
                    </a:lnTo>
                    <a:lnTo>
                      <a:pt x="3132" y="106"/>
                    </a:lnTo>
                    <a:lnTo>
                      <a:pt x="3040" y="110"/>
                    </a:lnTo>
                    <a:lnTo>
                      <a:pt x="2949" y="115"/>
                    </a:lnTo>
                    <a:lnTo>
                      <a:pt x="2858" y="120"/>
                    </a:lnTo>
                    <a:lnTo>
                      <a:pt x="2767" y="126"/>
                    </a:lnTo>
                    <a:lnTo>
                      <a:pt x="2679" y="135"/>
                    </a:lnTo>
                    <a:lnTo>
                      <a:pt x="2590" y="144"/>
                    </a:lnTo>
                    <a:lnTo>
                      <a:pt x="2505" y="155"/>
                    </a:lnTo>
                    <a:lnTo>
                      <a:pt x="2456" y="160"/>
                    </a:lnTo>
                    <a:lnTo>
                      <a:pt x="2406" y="165"/>
                    </a:lnTo>
                    <a:lnTo>
                      <a:pt x="2358" y="170"/>
                    </a:lnTo>
                    <a:lnTo>
                      <a:pt x="2309" y="173"/>
                    </a:lnTo>
                    <a:lnTo>
                      <a:pt x="2261" y="176"/>
                    </a:lnTo>
                    <a:lnTo>
                      <a:pt x="2212" y="178"/>
                    </a:lnTo>
                    <a:lnTo>
                      <a:pt x="2164" y="180"/>
                    </a:lnTo>
                    <a:lnTo>
                      <a:pt x="2116" y="182"/>
                    </a:lnTo>
                    <a:lnTo>
                      <a:pt x="2020" y="182"/>
                    </a:lnTo>
                    <a:lnTo>
                      <a:pt x="1925" y="180"/>
                    </a:lnTo>
                    <a:lnTo>
                      <a:pt x="1830" y="177"/>
                    </a:lnTo>
                    <a:lnTo>
                      <a:pt x="1736" y="172"/>
                    </a:lnTo>
                    <a:lnTo>
                      <a:pt x="1643" y="165"/>
                    </a:lnTo>
                    <a:lnTo>
                      <a:pt x="1551" y="157"/>
                    </a:lnTo>
                    <a:lnTo>
                      <a:pt x="1461" y="148"/>
                    </a:lnTo>
                    <a:lnTo>
                      <a:pt x="1371" y="137"/>
                    </a:lnTo>
                    <a:lnTo>
                      <a:pt x="1281" y="128"/>
                    </a:lnTo>
                    <a:lnTo>
                      <a:pt x="1194" y="116"/>
                    </a:lnTo>
                    <a:lnTo>
                      <a:pt x="1107" y="105"/>
                    </a:lnTo>
                    <a:lnTo>
                      <a:pt x="1023" y="94"/>
                    </a:lnTo>
                    <a:lnTo>
                      <a:pt x="948" y="83"/>
                    </a:lnTo>
                    <a:lnTo>
                      <a:pt x="874" y="75"/>
                    </a:lnTo>
                    <a:lnTo>
                      <a:pt x="803" y="65"/>
                    </a:lnTo>
                    <a:lnTo>
                      <a:pt x="732" y="56"/>
                    </a:lnTo>
                    <a:lnTo>
                      <a:pt x="663" y="49"/>
                    </a:lnTo>
                    <a:lnTo>
                      <a:pt x="595" y="42"/>
                    </a:lnTo>
                    <a:lnTo>
                      <a:pt x="529" y="36"/>
                    </a:lnTo>
                    <a:lnTo>
                      <a:pt x="465" y="32"/>
                    </a:lnTo>
                    <a:lnTo>
                      <a:pt x="402" y="28"/>
                    </a:lnTo>
                    <a:lnTo>
                      <a:pt x="341" y="27"/>
                    </a:lnTo>
                    <a:lnTo>
                      <a:pt x="282" y="27"/>
                    </a:lnTo>
                    <a:lnTo>
                      <a:pt x="225" y="29"/>
                    </a:lnTo>
                    <a:lnTo>
                      <a:pt x="197" y="30"/>
                    </a:lnTo>
                    <a:lnTo>
                      <a:pt x="170" y="33"/>
                    </a:lnTo>
                    <a:lnTo>
                      <a:pt x="143" y="36"/>
                    </a:lnTo>
                    <a:lnTo>
                      <a:pt x="116" y="39"/>
                    </a:lnTo>
                    <a:lnTo>
                      <a:pt x="90" y="42"/>
                    </a:lnTo>
                    <a:lnTo>
                      <a:pt x="65" y="48"/>
                    </a:lnTo>
                    <a:lnTo>
                      <a:pt x="41" y="52"/>
                    </a:lnTo>
                    <a:lnTo>
                      <a:pt x="16" y="58"/>
                    </a:lnTo>
                    <a:lnTo>
                      <a:pt x="10" y="58"/>
                    </a:lnTo>
                    <a:lnTo>
                      <a:pt x="6" y="56"/>
                    </a:lnTo>
                    <a:lnTo>
                      <a:pt x="2" y="53"/>
                    </a:lnTo>
                    <a:lnTo>
                      <a:pt x="0" y="48"/>
                    </a:lnTo>
                    <a:lnTo>
                      <a:pt x="0" y="42"/>
                    </a:lnTo>
                    <a:lnTo>
                      <a:pt x="1" y="38"/>
                    </a:lnTo>
                    <a:lnTo>
                      <a:pt x="4" y="34"/>
                    </a:lnTo>
                    <a:lnTo>
                      <a:pt x="9" y="32"/>
                    </a:lnTo>
                    <a:lnTo>
                      <a:pt x="34" y="26"/>
                    </a:lnTo>
                    <a:lnTo>
                      <a:pt x="59" y="21"/>
                    </a:lnTo>
                    <a:lnTo>
                      <a:pt x="85" y="16"/>
                    </a:lnTo>
                    <a:lnTo>
                      <a:pt x="112" y="12"/>
                    </a:lnTo>
                    <a:lnTo>
                      <a:pt x="139" y="9"/>
                    </a:lnTo>
                    <a:lnTo>
                      <a:pt x="166" y="6"/>
                    </a:lnTo>
                    <a:lnTo>
                      <a:pt x="194" y="3"/>
                    </a:lnTo>
                    <a:lnTo>
                      <a:pt x="222" y="2"/>
                    </a:lnTo>
                    <a:lnTo>
                      <a:pt x="279" y="0"/>
                    </a:lnTo>
                    <a:lnTo>
                      <a:pt x="340" y="0"/>
                    </a:lnTo>
                    <a:lnTo>
                      <a:pt x="401" y="1"/>
                    </a:lnTo>
                    <a:lnTo>
                      <a:pt x="464" y="5"/>
                    </a:lnTo>
                    <a:lnTo>
                      <a:pt x="529" y="9"/>
                    </a:lnTo>
                    <a:lnTo>
                      <a:pt x="596" y="15"/>
                    </a:lnTo>
                    <a:lnTo>
                      <a:pt x="664" y="22"/>
                    </a:lnTo>
                    <a:lnTo>
                      <a:pt x="734" y="29"/>
                    </a:lnTo>
                    <a:lnTo>
                      <a:pt x="804" y="38"/>
                    </a:lnTo>
                    <a:lnTo>
                      <a:pt x="877" y="48"/>
                    </a:lnTo>
                    <a:lnTo>
                      <a:pt x="951" y="57"/>
                    </a:lnTo>
                    <a:lnTo>
                      <a:pt x="1026" y="67"/>
                    </a:lnTo>
                    <a:lnTo>
                      <a:pt x="1111" y="78"/>
                    </a:lnTo>
                    <a:lnTo>
                      <a:pt x="1197" y="90"/>
                    </a:lnTo>
                    <a:lnTo>
                      <a:pt x="1285" y="101"/>
                    </a:lnTo>
                    <a:lnTo>
                      <a:pt x="1373" y="111"/>
                    </a:lnTo>
                    <a:lnTo>
                      <a:pt x="1463" y="121"/>
                    </a:lnTo>
                    <a:lnTo>
                      <a:pt x="1553" y="130"/>
                    </a:lnTo>
                    <a:lnTo>
                      <a:pt x="1644" y="137"/>
                    </a:lnTo>
                    <a:lnTo>
                      <a:pt x="1737" y="145"/>
                    </a:lnTo>
                    <a:lnTo>
                      <a:pt x="1831" y="150"/>
                    </a:lnTo>
                    <a:lnTo>
                      <a:pt x="1925" y="153"/>
                    </a:lnTo>
                    <a:lnTo>
                      <a:pt x="2019" y="155"/>
                    </a:lnTo>
                    <a:lnTo>
                      <a:pt x="2115" y="155"/>
                    </a:lnTo>
                    <a:lnTo>
                      <a:pt x="2162" y="153"/>
                    </a:lnTo>
                    <a:lnTo>
                      <a:pt x="2211" y="151"/>
                    </a:lnTo>
                    <a:lnTo>
                      <a:pt x="2259" y="149"/>
                    </a:lnTo>
                    <a:lnTo>
                      <a:pt x="2307" y="147"/>
                    </a:lnTo>
                    <a:lnTo>
                      <a:pt x="2356" y="143"/>
                    </a:lnTo>
                    <a:lnTo>
                      <a:pt x="2404" y="138"/>
                    </a:lnTo>
                    <a:lnTo>
                      <a:pt x="2453" y="133"/>
                    </a:lnTo>
                    <a:lnTo>
                      <a:pt x="2501" y="128"/>
                    </a:lnTo>
                    <a:lnTo>
                      <a:pt x="2580" y="118"/>
                    </a:lnTo>
                    <a:lnTo>
                      <a:pt x="2661" y="109"/>
                    </a:lnTo>
                    <a:lnTo>
                      <a:pt x="2746" y="102"/>
                    </a:lnTo>
                    <a:lnTo>
                      <a:pt x="2832" y="95"/>
                    </a:lnTo>
                    <a:lnTo>
                      <a:pt x="2919" y="90"/>
                    </a:lnTo>
                    <a:lnTo>
                      <a:pt x="3008" y="85"/>
                    </a:lnTo>
                    <a:lnTo>
                      <a:pt x="3099" y="81"/>
                    </a:lnTo>
                    <a:lnTo>
                      <a:pt x="3189" y="79"/>
                    </a:lnTo>
                    <a:lnTo>
                      <a:pt x="3281" y="78"/>
                    </a:lnTo>
                    <a:lnTo>
                      <a:pt x="3373" y="77"/>
                    </a:lnTo>
                    <a:lnTo>
                      <a:pt x="3464" y="78"/>
                    </a:lnTo>
                    <a:lnTo>
                      <a:pt x="3554" y="79"/>
                    </a:lnTo>
                    <a:lnTo>
                      <a:pt x="3645" y="82"/>
                    </a:lnTo>
                    <a:lnTo>
                      <a:pt x="3734" y="85"/>
                    </a:lnTo>
                    <a:lnTo>
                      <a:pt x="3821" y="91"/>
                    </a:lnTo>
                    <a:lnTo>
                      <a:pt x="3906" y="97"/>
                    </a:lnTo>
                    <a:lnTo>
                      <a:pt x="3989" y="104"/>
                    </a:lnTo>
                    <a:lnTo>
                      <a:pt x="4070" y="112"/>
                    </a:lnTo>
                    <a:lnTo>
                      <a:pt x="4148" y="122"/>
                    </a:lnTo>
                    <a:lnTo>
                      <a:pt x="4223" y="133"/>
                    </a:lnTo>
                    <a:lnTo>
                      <a:pt x="4295" y="145"/>
                    </a:lnTo>
                    <a:lnTo>
                      <a:pt x="4362" y="159"/>
                    </a:lnTo>
                    <a:lnTo>
                      <a:pt x="4426" y="173"/>
                    </a:lnTo>
                    <a:lnTo>
                      <a:pt x="4485" y="189"/>
                    </a:lnTo>
                    <a:lnTo>
                      <a:pt x="4539" y="205"/>
                    </a:lnTo>
                    <a:lnTo>
                      <a:pt x="4589" y="224"/>
                    </a:lnTo>
                    <a:lnTo>
                      <a:pt x="4633" y="243"/>
                    </a:lnTo>
                    <a:lnTo>
                      <a:pt x="4671" y="265"/>
                    </a:lnTo>
                    <a:lnTo>
                      <a:pt x="4703" y="286"/>
                    </a:lnTo>
                    <a:lnTo>
                      <a:pt x="4729" y="310"/>
                    </a:lnTo>
                    <a:lnTo>
                      <a:pt x="4749" y="335"/>
                    </a:lnTo>
                    <a:lnTo>
                      <a:pt x="4760" y="361"/>
                    </a:lnTo>
                    <a:lnTo>
                      <a:pt x="4762" y="366"/>
                    </a:lnTo>
                    <a:lnTo>
                      <a:pt x="4759" y="372"/>
                    </a:lnTo>
                    <a:lnTo>
                      <a:pt x="4756" y="375"/>
                    </a:lnTo>
                    <a:lnTo>
                      <a:pt x="4752" y="378"/>
                    </a:lnTo>
                    <a:lnTo>
                      <a:pt x="4750" y="378"/>
                    </a:lnTo>
                    <a:lnTo>
                      <a:pt x="4748" y="3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07"/>
              <p:cNvSpPr>
                <a:spLocks/>
              </p:cNvSpPr>
              <p:nvPr userDrawn="1"/>
            </p:nvSpPr>
            <p:spPr bwMode="auto">
              <a:xfrm>
                <a:off x="3224" y="3855"/>
                <a:ext cx="493" cy="465"/>
              </a:xfrm>
              <a:custGeom>
                <a:avLst/>
                <a:gdLst>
                  <a:gd name="T0" fmla="*/ 1418 w 1481"/>
                  <a:gd name="T1" fmla="*/ 1339 h 1394"/>
                  <a:gd name="T2" fmla="*/ 1346 w 1481"/>
                  <a:gd name="T3" fmla="*/ 1229 h 1394"/>
                  <a:gd name="T4" fmla="*/ 1269 w 1481"/>
                  <a:gd name="T5" fmla="*/ 1118 h 1394"/>
                  <a:gd name="T6" fmla="*/ 1187 w 1481"/>
                  <a:gd name="T7" fmla="*/ 1006 h 1394"/>
                  <a:gd name="T8" fmla="*/ 1102 w 1481"/>
                  <a:gd name="T9" fmla="*/ 897 h 1394"/>
                  <a:gd name="T10" fmla="*/ 1015 w 1481"/>
                  <a:gd name="T11" fmla="*/ 789 h 1394"/>
                  <a:gd name="T12" fmla="*/ 884 w 1481"/>
                  <a:gd name="T13" fmla="*/ 634 h 1394"/>
                  <a:gd name="T14" fmla="*/ 717 w 1481"/>
                  <a:gd name="T15" fmla="*/ 444 h 1394"/>
                  <a:gd name="T16" fmla="*/ 565 w 1481"/>
                  <a:gd name="T17" fmla="*/ 281 h 1394"/>
                  <a:gd name="T18" fmla="*/ 439 w 1481"/>
                  <a:gd name="T19" fmla="*/ 150 h 1394"/>
                  <a:gd name="T20" fmla="*/ 353 w 1481"/>
                  <a:gd name="T21" fmla="*/ 63 h 1394"/>
                  <a:gd name="T22" fmla="*/ 28 w 1481"/>
                  <a:gd name="T23" fmla="*/ 705 h 1394"/>
                  <a:gd name="T24" fmla="*/ 35 w 1481"/>
                  <a:gd name="T25" fmla="*/ 779 h 1394"/>
                  <a:gd name="T26" fmla="*/ 53 w 1481"/>
                  <a:gd name="T27" fmla="*/ 932 h 1394"/>
                  <a:gd name="T28" fmla="*/ 80 w 1481"/>
                  <a:gd name="T29" fmla="*/ 1144 h 1394"/>
                  <a:gd name="T30" fmla="*/ 116 w 1481"/>
                  <a:gd name="T31" fmla="*/ 1394 h 1394"/>
                  <a:gd name="T32" fmla="*/ 69 w 1481"/>
                  <a:gd name="T33" fmla="*/ 1258 h 1394"/>
                  <a:gd name="T34" fmla="*/ 35 w 1481"/>
                  <a:gd name="T35" fmla="*/ 1014 h 1394"/>
                  <a:gd name="T36" fmla="*/ 14 w 1481"/>
                  <a:gd name="T37" fmla="*/ 826 h 1394"/>
                  <a:gd name="T38" fmla="*/ 2 w 1481"/>
                  <a:gd name="T39" fmla="*/ 719 h 1394"/>
                  <a:gd name="T40" fmla="*/ 0 w 1481"/>
                  <a:gd name="T41" fmla="*/ 701 h 1394"/>
                  <a:gd name="T42" fmla="*/ 310 w 1481"/>
                  <a:gd name="T43" fmla="*/ 8 h 1394"/>
                  <a:gd name="T44" fmla="*/ 314 w 1481"/>
                  <a:gd name="T45" fmla="*/ 4 h 1394"/>
                  <a:gd name="T46" fmla="*/ 319 w 1481"/>
                  <a:gd name="T47" fmla="*/ 0 h 1394"/>
                  <a:gd name="T48" fmla="*/ 326 w 1481"/>
                  <a:gd name="T49" fmla="*/ 1 h 1394"/>
                  <a:gd name="T50" fmla="*/ 331 w 1481"/>
                  <a:gd name="T51" fmla="*/ 5 h 1394"/>
                  <a:gd name="T52" fmla="*/ 368 w 1481"/>
                  <a:gd name="T53" fmla="*/ 40 h 1394"/>
                  <a:gd name="T54" fmla="*/ 463 w 1481"/>
                  <a:gd name="T55" fmla="*/ 135 h 1394"/>
                  <a:gd name="T56" fmla="*/ 601 w 1481"/>
                  <a:gd name="T57" fmla="*/ 280 h 1394"/>
                  <a:gd name="T58" fmla="*/ 771 w 1481"/>
                  <a:gd name="T59" fmla="*/ 465 h 1394"/>
                  <a:gd name="T60" fmla="*/ 958 w 1481"/>
                  <a:gd name="T61" fmla="*/ 678 h 1394"/>
                  <a:gd name="T62" fmla="*/ 1053 w 1481"/>
                  <a:gd name="T63" fmla="*/ 793 h 1394"/>
                  <a:gd name="T64" fmla="*/ 1147 w 1481"/>
                  <a:gd name="T65" fmla="*/ 910 h 1394"/>
                  <a:gd name="T66" fmla="*/ 1239 w 1481"/>
                  <a:gd name="T67" fmla="*/ 1031 h 1394"/>
                  <a:gd name="T68" fmla="*/ 1327 w 1481"/>
                  <a:gd name="T69" fmla="*/ 1152 h 1394"/>
                  <a:gd name="T70" fmla="*/ 1408 w 1481"/>
                  <a:gd name="T71" fmla="*/ 1274 h 1394"/>
                  <a:gd name="T72" fmla="*/ 1481 w 1481"/>
                  <a:gd name="T7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1" h="1394">
                    <a:moveTo>
                      <a:pt x="1450" y="1394"/>
                    </a:moveTo>
                    <a:lnTo>
                      <a:pt x="1418" y="1339"/>
                    </a:lnTo>
                    <a:lnTo>
                      <a:pt x="1382" y="1284"/>
                    </a:lnTo>
                    <a:lnTo>
                      <a:pt x="1346" y="1229"/>
                    </a:lnTo>
                    <a:lnTo>
                      <a:pt x="1307" y="1174"/>
                    </a:lnTo>
                    <a:lnTo>
                      <a:pt x="1269" y="1118"/>
                    </a:lnTo>
                    <a:lnTo>
                      <a:pt x="1229" y="1063"/>
                    </a:lnTo>
                    <a:lnTo>
                      <a:pt x="1187" y="1006"/>
                    </a:lnTo>
                    <a:lnTo>
                      <a:pt x="1144" y="951"/>
                    </a:lnTo>
                    <a:lnTo>
                      <a:pt x="1102" y="897"/>
                    </a:lnTo>
                    <a:lnTo>
                      <a:pt x="1059" y="842"/>
                    </a:lnTo>
                    <a:lnTo>
                      <a:pt x="1015" y="789"/>
                    </a:lnTo>
                    <a:lnTo>
                      <a:pt x="972" y="737"/>
                    </a:lnTo>
                    <a:lnTo>
                      <a:pt x="884" y="634"/>
                    </a:lnTo>
                    <a:lnTo>
                      <a:pt x="799" y="537"/>
                    </a:lnTo>
                    <a:lnTo>
                      <a:pt x="717" y="444"/>
                    </a:lnTo>
                    <a:lnTo>
                      <a:pt x="638" y="359"/>
                    </a:lnTo>
                    <a:lnTo>
                      <a:pt x="565" y="281"/>
                    </a:lnTo>
                    <a:lnTo>
                      <a:pt x="498" y="211"/>
                    </a:lnTo>
                    <a:lnTo>
                      <a:pt x="439" y="150"/>
                    </a:lnTo>
                    <a:lnTo>
                      <a:pt x="391" y="101"/>
                    </a:lnTo>
                    <a:lnTo>
                      <a:pt x="353" y="63"/>
                    </a:lnTo>
                    <a:lnTo>
                      <a:pt x="326" y="37"/>
                    </a:lnTo>
                    <a:lnTo>
                      <a:pt x="28" y="705"/>
                    </a:lnTo>
                    <a:lnTo>
                      <a:pt x="30" y="731"/>
                    </a:lnTo>
                    <a:lnTo>
                      <a:pt x="35" y="779"/>
                    </a:lnTo>
                    <a:lnTo>
                      <a:pt x="43" y="847"/>
                    </a:lnTo>
                    <a:lnTo>
                      <a:pt x="53" y="932"/>
                    </a:lnTo>
                    <a:lnTo>
                      <a:pt x="66" y="1031"/>
                    </a:lnTo>
                    <a:lnTo>
                      <a:pt x="80" y="1144"/>
                    </a:lnTo>
                    <a:lnTo>
                      <a:pt x="97" y="1266"/>
                    </a:lnTo>
                    <a:lnTo>
                      <a:pt x="116" y="1394"/>
                    </a:lnTo>
                    <a:lnTo>
                      <a:pt x="89" y="1394"/>
                    </a:lnTo>
                    <a:lnTo>
                      <a:pt x="69" y="1258"/>
                    </a:lnTo>
                    <a:lnTo>
                      <a:pt x="52" y="1131"/>
                    </a:lnTo>
                    <a:lnTo>
                      <a:pt x="35" y="1014"/>
                    </a:lnTo>
                    <a:lnTo>
                      <a:pt x="24" y="911"/>
                    </a:lnTo>
                    <a:lnTo>
                      <a:pt x="14" y="826"/>
                    </a:lnTo>
                    <a:lnTo>
                      <a:pt x="6" y="761"/>
                    </a:lnTo>
                    <a:lnTo>
                      <a:pt x="2" y="719"/>
                    </a:lnTo>
                    <a:lnTo>
                      <a:pt x="0" y="704"/>
                    </a:lnTo>
                    <a:lnTo>
                      <a:pt x="0" y="701"/>
                    </a:lnTo>
                    <a:lnTo>
                      <a:pt x="1" y="698"/>
                    </a:lnTo>
                    <a:lnTo>
                      <a:pt x="310" y="8"/>
                    </a:lnTo>
                    <a:lnTo>
                      <a:pt x="312" y="6"/>
                    </a:lnTo>
                    <a:lnTo>
                      <a:pt x="314" y="4"/>
                    </a:lnTo>
                    <a:lnTo>
                      <a:pt x="316" y="1"/>
                    </a:lnTo>
                    <a:lnTo>
                      <a:pt x="319" y="0"/>
                    </a:lnTo>
                    <a:lnTo>
                      <a:pt x="323" y="0"/>
                    </a:lnTo>
                    <a:lnTo>
                      <a:pt x="326" y="1"/>
                    </a:lnTo>
                    <a:lnTo>
                      <a:pt x="329" y="3"/>
                    </a:lnTo>
                    <a:lnTo>
                      <a:pt x="331" y="5"/>
                    </a:lnTo>
                    <a:lnTo>
                      <a:pt x="342" y="14"/>
                    </a:lnTo>
                    <a:lnTo>
                      <a:pt x="368" y="40"/>
                    </a:lnTo>
                    <a:lnTo>
                      <a:pt x="409" y="81"/>
                    </a:lnTo>
                    <a:lnTo>
                      <a:pt x="463" y="135"/>
                    </a:lnTo>
                    <a:lnTo>
                      <a:pt x="528" y="202"/>
                    </a:lnTo>
                    <a:lnTo>
                      <a:pt x="601" y="280"/>
                    </a:lnTo>
                    <a:lnTo>
                      <a:pt x="683" y="368"/>
                    </a:lnTo>
                    <a:lnTo>
                      <a:pt x="771" y="465"/>
                    </a:lnTo>
                    <a:lnTo>
                      <a:pt x="863" y="568"/>
                    </a:lnTo>
                    <a:lnTo>
                      <a:pt x="958" y="678"/>
                    </a:lnTo>
                    <a:lnTo>
                      <a:pt x="1005" y="734"/>
                    </a:lnTo>
                    <a:lnTo>
                      <a:pt x="1053" y="793"/>
                    </a:lnTo>
                    <a:lnTo>
                      <a:pt x="1100" y="851"/>
                    </a:lnTo>
                    <a:lnTo>
                      <a:pt x="1147" y="910"/>
                    </a:lnTo>
                    <a:lnTo>
                      <a:pt x="1193" y="971"/>
                    </a:lnTo>
                    <a:lnTo>
                      <a:pt x="1239" y="1031"/>
                    </a:lnTo>
                    <a:lnTo>
                      <a:pt x="1284" y="1092"/>
                    </a:lnTo>
                    <a:lnTo>
                      <a:pt x="1327" y="1152"/>
                    </a:lnTo>
                    <a:lnTo>
                      <a:pt x="1368" y="1214"/>
                    </a:lnTo>
                    <a:lnTo>
                      <a:pt x="1408" y="1274"/>
                    </a:lnTo>
                    <a:lnTo>
                      <a:pt x="1446" y="1335"/>
                    </a:lnTo>
                    <a:lnTo>
                      <a:pt x="1481" y="1394"/>
                    </a:lnTo>
                    <a:lnTo>
                      <a:pt x="1450" y="1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08"/>
              <p:cNvSpPr>
                <a:spLocks/>
              </p:cNvSpPr>
              <p:nvPr userDrawn="1"/>
            </p:nvSpPr>
            <p:spPr bwMode="auto">
              <a:xfrm>
                <a:off x="2457" y="3166"/>
                <a:ext cx="645" cy="232"/>
              </a:xfrm>
              <a:custGeom>
                <a:avLst/>
                <a:gdLst>
                  <a:gd name="T0" fmla="*/ 1918 w 1935"/>
                  <a:gd name="T1" fmla="*/ 695 h 696"/>
                  <a:gd name="T2" fmla="*/ 1851 w 1935"/>
                  <a:gd name="T3" fmla="*/ 643 h 696"/>
                  <a:gd name="T4" fmla="*/ 1723 w 1935"/>
                  <a:gd name="T5" fmla="*/ 553 h 696"/>
                  <a:gd name="T6" fmla="*/ 1591 w 1935"/>
                  <a:gd name="T7" fmla="*/ 471 h 696"/>
                  <a:gd name="T8" fmla="*/ 1458 w 1935"/>
                  <a:gd name="T9" fmla="*/ 397 h 696"/>
                  <a:gd name="T10" fmla="*/ 1324 w 1935"/>
                  <a:gd name="T11" fmla="*/ 332 h 696"/>
                  <a:gd name="T12" fmla="*/ 1192 w 1935"/>
                  <a:gd name="T13" fmla="*/ 273 h 696"/>
                  <a:gd name="T14" fmla="*/ 1063 w 1935"/>
                  <a:gd name="T15" fmla="*/ 222 h 696"/>
                  <a:gd name="T16" fmla="*/ 940 w 1935"/>
                  <a:gd name="T17" fmla="*/ 179 h 696"/>
                  <a:gd name="T18" fmla="*/ 823 w 1935"/>
                  <a:gd name="T19" fmla="*/ 142 h 696"/>
                  <a:gd name="T20" fmla="*/ 715 w 1935"/>
                  <a:gd name="T21" fmla="*/ 110 h 696"/>
                  <a:gd name="T22" fmla="*/ 571 w 1935"/>
                  <a:gd name="T23" fmla="*/ 74 h 696"/>
                  <a:gd name="T24" fmla="*/ 426 w 1935"/>
                  <a:gd name="T25" fmla="*/ 43 h 696"/>
                  <a:gd name="T26" fmla="*/ 345 w 1935"/>
                  <a:gd name="T27" fmla="*/ 28 h 696"/>
                  <a:gd name="T28" fmla="*/ 13 w 1935"/>
                  <a:gd name="T29" fmla="*/ 27 h 696"/>
                  <a:gd name="T30" fmla="*/ 3 w 1935"/>
                  <a:gd name="T31" fmla="*/ 23 h 696"/>
                  <a:gd name="T32" fmla="*/ 0 w 1935"/>
                  <a:gd name="T33" fmla="*/ 13 h 696"/>
                  <a:gd name="T34" fmla="*/ 3 w 1935"/>
                  <a:gd name="T35" fmla="*/ 3 h 696"/>
                  <a:gd name="T36" fmla="*/ 13 w 1935"/>
                  <a:gd name="T37" fmla="*/ 0 h 696"/>
                  <a:gd name="T38" fmla="*/ 347 w 1935"/>
                  <a:gd name="T39" fmla="*/ 1 h 696"/>
                  <a:gd name="T40" fmla="*/ 430 w 1935"/>
                  <a:gd name="T41" fmla="*/ 16 h 696"/>
                  <a:gd name="T42" fmla="*/ 576 w 1935"/>
                  <a:gd name="T43" fmla="*/ 48 h 696"/>
                  <a:gd name="T44" fmla="*/ 721 w 1935"/>
                  <a:gd name="T45" fmla="*/ 84 h 696"/>
                  <a:gd name="T46" fmla="*/ 830 w 1935"/>
                  <a:gd name="T47" fmla="*/ 116 h 696"/>
                  <a:gd name="T48" fmla="*/ 948 w 1935"/>
                  <a:gd name="T49" fmla="*/ 153 h 696"/>
                  <a:gd name="T50" fmla="*/ 1073 w 1935"/>
                  <a:gd name="T51" fmla="*/ 198 h 696"/>
                  <a:gd name="T52" fmla="*/ 1203 w 1935"/>
                  <a:gd name="T53" fmla="*/ 248 h 696"/>
                  <a:gd name="T54" fmla="*/ 1336 w 1935"/>
                  <a:gd name="T55" fmla="*/ 307 h 696"/>
                  <a:gd name="T56" fmla="*/ 1471 w 1935"/>
                  <a:gd name="T57" fmla="*/ 374 h 696"/>
                  <a:gd name="T58" fmla="*/ 1605 w 1935"/>
                  <a:gd name="T59" fmla="*/ 448 h 696"/>
                  <a:gd name="T60" fmla="*/ 1738 w 1935"/>
                  <a:gd name="T61" fmla="*/ 530 h 696"/>
                  <a:gd name="T62" fmla="*/ 1867 w 1935"/>
                  <a:gd name="T63" fmla="*/ 623 h 696"/>
                  <a:gd name="T64" fmla="*/ 1934 w 1935"/>
                  <a:gd name="T65" fmla="*/ 676 h 696"/>
                  <a:gd name="T66" fmla="*/ 1935 w 1935"/>
                  <a:gd name="T67" fmla="*/ 687 h 696"/>
                  <a:gd name="T68" fmla="*/ 1929 w 1935"/>
                  <a:gd name="T69" fmla="*/ 693 h 696"/>
                  <a:gd name="T70" fmla="*/ 1924 w 1935"/>
                  <a:gd name="T71" fmla="*/ 695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35" h="696">
                    <a:moveTo>
                      <a:pt x="1922" y="696"/>
                    </a:moveTo>
                    <a:lnTo>
                      <a:pt x="1918" y="695"/>
                    </a:lnTo>
                    <a:lnTo>
                      <a:pt x="1913" y="693"/>
                    </a:lnTo>
                    <a:lnTo>
                      <a:pt x="1851" y="643"/>
                    </a:lnTo>
                    <a:lnTo>
                      <a:pt x="1787" y="597"/>
                    </a:lnTo>
                    <a:lnTo>
                      <a:pt x="1723" y="553"/>
                    </a:lnTo>
                    <a:lnTo>
                      <a:pt x="1657" y="511"/>
                    </a:lnTo>
                    <a:lnTo>
                      <a:pt x="1591" y="471"/>
                    </a:lnTo>
                    <a:lnTo>
                      <a:pt x="1524" y="433"/>
                    </a:lnTo>
                    <a:lnTo>
                      <a:pt x="1458" y="397"/>
                    </a:lnTo>
                    <a:lnTo>
                      <a:pt x="1391" y="363"/>
                    </a:lnTo>
                    <a:lnTo>
                      <a:pt x="1324" y="332"/>
                    </a:lnTo>
                    <a:lnTo>
                      <a:pt x="1258" y="301"/>
                    </a:lnTo>
                    <a:lnTo>
                      <a:pt x="1192" y="273"/>
                    </a:lnTo>
                    <a:lnTo>
                      <a:pt x="1127" y="247"/>
                    </a:lnTo>
                    <a:lnTo>
                      <a:pt x="1063" y="222"/>
                    </a:lnTo>
                    <a:lnTo>
                      <a:pt x="1001" y="200"/>
                    </a:lnTo>
                    <a:lnTo>
                      <a:pt x="940" y="179"/>
                    </a:lnTo>
                    <a:lnTo>
                      <a:pt x="881" y="160"/>
                    </a:lnTo>
                    <a:lnTo>
                      <a:pt x="823" y="142"/>
                    </a:lnTo>
                    <a:lnTo>
                      <a:pt x="768" y="125"/>
                    </a:lnTo>
                    <a:lnTo>
                      <a:pt x="715" y="110"/>
                    </a:lnTo>
                    <a:lnTo>
                      <a:pt x="664" y="97"/>
                    </a:lnTo>
                    <a:lnTo>
                      <a:pt x="571" y="74"/>
                    </a:lnTo>
                    <a:lnTo>
                      <a:pt x="491" y="56"/>
                    </a:lnTo>
                    <a:lnTo>
                      <a:pt x="426" y="43"/>
                    </a:lnTo>
                    <a:lnTo>
                      <a:pt x="377" y="34"/>
                    </a:lnTo>
                    <a:lnTo>
                      <a:pt x="345" y="28"/>
                    </a:lnTo>
                    <a:lnTo>
                      <a:pt x="333" y="27"/>
                    </a:lnTo>
                    <a:lnTo>
                      <a:pt x="13" y="27"/>
                    </a:lnTo>
                    <a:lnTo>
                      <a:pt x="7" y="26"/>
                    </a:lnTo>
                    <a:lnTo>
                      <a:pt x="3" y="23"/>
                    </a:lnTo>
                    <a:lnTo>
                      <a:pt x="1" y="18"/>
                    </a:lnTo>
                    <a:lnTo>
                      <a:pt x="0" y="13"/>
                    </a:lnTo>
                    <a:lnTo>
                      <a:pt x="1" y="8"/>
                    </a:lnTo>
                    <a:lnTo>
                      <a:pt x="3" y="3"/>
                    </a:lnTo>
                    <a:lnTo>
                      <a:pt x="7" y="1"/>
                    </a:lnTo>
                    <a:lnTo>
                      <a:pt x="13" y="0"/>
                    </a:lnTo>
                    <a:lnTo>
                      <a:pt x="335" y="0"/>
                    </a:lnTo>
                    <a:lnTo>
                      <a:pt x="347" y="1"/>
                    </a:lnTo>
                    <a:lnTo>
                      <a:pt x="380" y="7"/>
                    </a:lnTo>
                    <a:lnTo>
                      <a:pt x="430" y="16"/>
                    </a:lnTo>
                    <a:lnTo>
                      <a:pt x="495" y="29"/>
                    </a:lnTo>
                    <a:lnTo>
                      <a:pt x="576" y="48"/>
                    </a:lnTo>
                    <a:lnTo>
                      <a:pt x="670" y="70"/>
                    </a:lnTo>
                    <a:lnTo>
                      <a:pt x="721" y="84"/>
                    </a:lnTo>
                    <a:lnTo>
                      <a:pt x="774" y="99"/>
                    </a:lnTo>
                    <a:lnTo>
                      <a:pt x="830" y="116"/>
                    </a:lnTo>
                    <a:lnTo>
                      <a:pt x="888" y="134"/>
                    </a:lnTo>
                    <a:lnTo>
                      <a:pt x="948" y="153"/>
                    </a:lnTo>
                    <a:lnTo>
                      <a:pt x="1011" y="175"/>
                    </a:lnTo>
                    <a:lnTo>
                      <a:pt x="1073" y="198"/>
                    </a:lnTo>
                    <a:lnTo>
                      <a:pt x="1138" y="222"/>
                    </a:lnTo>
                    <a:lnTo>
                      <a:pt x="1203" y="248"/>
                    </a:lnTo>
                    <a:lnTo>
                      <a:pt x="1269" y="276"/>
                    </a:lnTo>
                    <a:lnTo>
                      <a:pt x="1336" y="307"/>
                    </a:lnTo>
                    <a:lnTo>
                      <a:pt x="1404" y="339"/>
                    </a:lnTo>
                    <a:lnTo>
                      <a:pt x="1471" y="374"/>
                    </a:lnTo>
                    <a:lnTo>
                      <a:pt x="1539" y="409"/>
                    </a:lnTo>
                    <a:lnTo>
                      <a:pt x="1605" y="448"/>
                    </a:lnTo>
                    <a:lnTo>
                      <a:pt x="1672" y="488"/>
                    </a:lnTo>
                    <a:lnTo>
                      <a:pt x="1738" y="530"/>
                    </a:lnTo>
                    <a:lnTo>
                      <a:pt x="1803" y="575"/>
                    </a:lnTo>
                    <a:lnTo>
                      <a:pt x="1867" y="623"/>
                    </a:lnTo>
                    <a:lnTo>
                      <a:pt x="1931" y="672"/>
                    </a:lnTo>
                    <a:lnTo>
                      <a:pt x="1934" y="676"/>
                    </a:lnTo>
                    <a:lnTo>
                      <a:pt x="1935" y="681"/>
                    </a:lnTo>
                    <a:lnTo>
                      <a:pt x="1935" y="687"/>
                    </a:lnTo>
                    <a:lnTo>
                      <a:pt x="1932" y="691"/>
                    </a:lnTo>
                    <a:lnTo>
                      <a:pt x="1929" y="693"/>
                    </a:lnTo>
                    <a:lnTo>
                      <a:pt x="1927" y="695"/>
                    </a:lnTo>
                    <a:lnTo>
                      <a:pt x="1924" y="695"/>
                    </a:lnTo>
                    <a:lnTo>
                      <a:pt x="1922" y="6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09"/>
              <p:cNvSpPr>
                <a:spLocks/>
              </p:cNvSpPr>
              <p:nvPr userDrawn="1"/>
            </p:nvSpPr>
            <p:spPr bwMode="auto">
              <a:xfrm>
                <a:off x="3093" y="3389"/>
                <a:ext cx="280" cy="931"/>
              </a:xfrm>
              <a:custGeom>
                <a:avLst/>
                <a:gdLst>
                  <a:gd name="T0" fmla="*/ 775 w 840"/>
                  <a:gd name="T1" fmla="*/ 2740 h 2793"/>
                  <a:gd name="T2" fmla="*/ 763 w 840"/>
                  <a:gd name="T3" fmla="*/ 2667 h 2793"/>
                  <a:gd name="T4" fmla="*/ 750 w 840"/>
                  <a:gd name="T5" fmla="*/ 2599 h 2793"/>
                  <a:gd name="T6" fmla="*/ 729 w 840"/>
                  <a:gd name="T7" fmla="*/ 2469 h 2793"/>
                  <a:gd name="T8" fmla="*/ 715 w 840"/>
                  <a:gd name="T9" fmla="*/ 2372 h 2793"/>
                  <a:gd name="T10" fmla="*/ 713 w 840"/>
                  <a:gd name="T11" fmla="*/ 2308 h 2793"/>
                  <a:gd name="T12" fmla="*/ 721 w 840"/>
                  <a:gd name="T13" fmla="*/ 2258 h 2793"/>
                  <a:gd name="T14" fmla="*/ 757 w 840"/>
                  <a:gd name="T15" fmla="*/ 2137 h 2793"/>
                  <a:gd name="T16" fmla="*/ 783 w 840"/>
                  <a:gd name="T17" fmla="*/ 2040 h 2793"/>
                  <a:gd name="T18" fmla="*/ 800 w 840"/>
                  <a:gd name="T19" fmla="*/ 1953 h 2793"/>
                  <a:gd name="T20" fmla="*/ 810 w 840"/>
                  <a:gd name="T21" fmla="*/ 1853 h 2793"/>
                  <a:gd name="T22" fmla="*/ 813 w 840"/>
                  <a:gd name="T23" fmla="*/ 1738 h 2793"/>
                  <a:gd name="T24" fmla="*/ 803 w 840"/>
                  <a:gd name="T25" fmla="*/ 1606 h 2793"/>
                  <a:gd name="T26" fmla="*/ 781 w 840"/>
                  <a:gd name="T27" fmla="*/ 1454 h 2793"/>
                  <a:gd name="T28" fmla="*/ 742 w 840"/>
                  <a:gd name="T29" fmla="*/ 1283 h 2793"/>
                  <a:gd name="T30" fmla="*/ 683 w 840"/>
                  <a:gd name="T31" fmla="*/ 1087 h 2793"/>
                  <a:gd name="T32" fmla="*/ 602 w 840"/>
                  <a:gd name="T33" fmla="*/ 867 h 2793"/>
                  <a:gd name="T34" fmla="*/ 514 w 840"/>
                  <a:gd name="T35" fmla="*/ 658 h 2793"/>
                  <a:gd name="T36" fmla="*/ 440 w 840"/>
                  <a:gd name="T37" fmla="*/ 520 h 2793"/>
                  <a:gd name="T38" fmla="*/ 352 w 840"/>
                  <a:gd name="T39" fmla="*/ 386 h 2793"/>
                  <a:gd name="T40" fmla="*/ 249 w 840"/>
                  <a:gd name="T41" fmla="*/ 259 h 2793"/>
                  <a:gd name="T42" fmla="*/ 134 w 840"/>
                  <a:gd name="T43" fmla="*/ 139 h 2793"/>
                  <a:gd name="T44" fmla="*/ 5 w 840"/>
                  <a:gd name="T45" fmla="*/ 24 h 2793"/>
                  <a:gd name="T46" fmla="*/ 1 w 840"/>
                  <a:gd name="T47" fmla="*/ 10 h 2793"/>
                  <a:gd name="T48" fmla="*/ 12 w 840"/>
                  <a:gd name="T49" fmla="*/ 0 h 2793"/>
                  <a:gd name="T50" fmla="*/ 67 w 840"/>
                  <a:gd name="T51" fmla="*/ 41 h 2793"/>
                  <a:gd name="T52" fmla="*/ 193 w 840"/>
                  <a:gd name="T53" fmla="*/ 159 h 2793"/>
                  <a:gd name="T54" fmla="*/ 306 w 840"/>
                  <a:gd name="T55" fmla="*/ 283 h 2793"/>
                  <a:gd name="T56" fmla="*/ 405 w 840"/>
                  <a:gd name="T57" fmla="*/ 415 h 2793"/>
                  <a:gd name="T58" fmla="*/ 490 w 840"/>
                  <a:gd name="T59" fmla="*/ 552 h 2793"/>
                  <a:gd name="T60" fmla="*/ 560 w 840"/>
                  <a:gd name="T61" fmla="*/ 694 h 2793"/>
                  <a:gd name="T62" fmla="*/ 659 w 840"/>
                  <a:gd name="T63" fmla="*/ 935 h 2793"/>
                  <a:gd name="T64" fmla="*/ 732 w 840"/>
                  <a:gd name="T65" fmla="*/ 1149 h 2793"/>
                  <a:gd name="T66" fmla="*/ 784 w 840"/>
                  <a:gd name="T67" fmla="*/ 1339 h 2793"/>
                  <a:gd name="T68" fmla="*/ 817 w 840"/>
                  <a:gd name="T69" fmla="*/ 1505 h 2793"/>
                  <a:gd name="T70" fmla="*/ 836 w 840"/>
                  <a:gd name="T71" fmla="*/ 1652 h 2793"/>
                  <a:gd name="T72" fmla="*/ 840 w 840"/>
                  <a:gd name="T73" fmla="*/ 1780 h 2793"/>
                  <a:gd name="T74" fmla="*/ 835 w 840"/>
                  <a:gd name="T75" fmla="*/ 1892 h 2793"/>
                  <a:gd name="T76" fmla="*/ 822 w 840"/>
                  <a:gd name="T77" fmla="*/ 1988 h 2793"/>
                  <a:gd name="T78" fmla="*/ 803 w 840"/>
                  <a:gd name="T79" fmla="*/ 2071 h 2793"/>
                  <a:gd name="T80" fmla="*/ 770 w 840"/>
                  <a:gd name="T81" fmla="*/ 2186 h 2793"/>
                  <a:gd name="T82" fmla="*/ 744 w 840"/>
                  <a:gd name="T83" fmla="*/ 2278 h 2793"/>
                  <a:gd name="T84" fmla="*/ 738 w 840"/>
                  <a:gd name="T85" fmla="*/ 2325 h 2793"/>
                  <a:gd name="T86" fmla="*/ 745 w 840"/>
                  <a:gd name="T87" fmla="*/ 2399 h 2793"/>
                  <a:gd name="T88" fmla="*/ 762 w 840"/>
                  <a:gd name="T89" fmla="*/ 2506 h 2793"/>
                  <a:gd name="T90" fmla="*/ 782 w 840"/>
                  <a:gd name="T91" fmla="*/ 2616 h 2793"/>
                  <a:gd name="T92" fmla="*/ 793 w 840"/>
                  <a:gd name="T93" fmla="*/ 2688 h 2793"/>
                  <a:gd name="T94" fmla="*/ 808 w 840"/>
                  <a:gd name="T95" fmla="*/ 2766 h 2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40" h="2793">
                    <a:moveTo>
                      <a:pt x="785" y="2793"/>
                    </a:moveTo>
                    <a:lnTo>
                      <a:pt x="781" y="2766"/>
                    </a:lnTo>
                    <a:lnTo>
                      <a:pt x="775" y="2740"/>
                    </a:lnTo>
                    <a:lnTo>
                      <a:pt x="771" y="2715"/>
                    </a:lnTo>
                    <a:lnTo>
                      <a:pt x="766" y="2690"/>
                    </a:lnTo>
                    <a:lnTo>
                      <a:pt x="763" y="2667"/>
                    </a:lnTo>
                    <a:lnTo>
                      <a:pt x="759" y="2643"/>
                    </a:lnTo>
                    <a:lnTo>
                      <a:pt x="755" y="2620"/>
                    </a:lnTo>
                    <a:lnTo>
                      <a:pt x="750" y="2599"/>
                    </a:lnTo>
                    <a:lnTo>
                      <a:pt x="743" y="2552"/>
                    </a:lnTo>
                    <a:lnTo>
                      <a:pt x="735" y="2509"/>
                    </a:lnTo>
                    <a:lnTo>
                      <a:pt x="729" y="2469"/>
                    </a:lnTo>
                    <a:lnTo>
                      <a:pt x="722" y="2434"/>
                    </a:lnTo>
                    <a:lnTo>
                      <a:pt x="718" y="2401"/>
                    </a:lnTo>
                    <a:lnTo>
                      <a:pt x="715" y="2372"/>
                    </a:lnTo>
                    <a:lnTo>
                      <a:pt x="713" y="2346"/>
                    </a:lnTo>
                    <a:lnTo>
                      <a:pt x="711" y="2325"/>
                    </a:lnTo>
                    <a:lnTo>
                      <a:pt x="713" y="2308"/>
                    </a:lnTo>
                    <a:lnTo>
                      <a:pt x="715" y="2292"/>
                    </a:lnTo>
                    <a:lnTo>
                      <a:pt x="718" y="2275"/>
                    </a:lnTo>
                    <a:lnTo>
                      <a:pt x="721" y="2258"/>
                    </a:lnTo>
                    <a:lnTo>
                      <a:pt x="732" y="2220"/>
                    </a:lnTo>
                    <a:lnTo>
                      <a:pt x="744" y="2179"/>
                    </a:lnTo>
                    <a:lnTo>
                      <a:pt x="757" y="2137"/>
                    </a:lnTo>
                    <a:lnTo>
                      <a:pt x="771" y="2090"/>
                    </a:lnTo>
                    <a:lnTo>
                      <a:pt x="777" y="2065"/>
                    </a:lnTo>
                    <a:lnTo>
                      <a:pt x="783" y="2040"/>
                    </a:lnTo>
                    <a:lnTo>
                      <a:pt x="789" y="2011"/>
                    </a:lnTo>
                    <a:lnTo>
                      <a:pt x="795" y="1983"/>
                    </a:lnTo>
                    <a:lnTo>
                      <a:pt x="800" y="1953"/>
                    </a:lnTo>
                    <a:lnTo>
                      <a:pt x="804" y="1921"/>
                    </a:lnTo>
                    <a:lnTo>
                      <a:pt x="808" y="1888"/>
                    </a:lnTo>
                    <a:lnTo>
                      <a:pt x="810" y="1853"/>
                    </a:lnTo>
                    <a:lnTo>
                      <a:pt x="812" y="1817"/>
                    </a:lnTo>
                    <a:lnTo>
                      <a:pt x="813" y="1778"/>
                    </a:lnTo>
                    <a:lnTo>
                      <a:pt x="813" y="1738"/>
                    </a:lnTo>
                    <a:lnTo>
                      <a:pt x="811" y="1696"/>
                    </a:lnTo>
                    <a:lnTo>
                      <a:pt x="808" y="1652"/>
                    </a:lnTo>
                    <a:lnTo>
                      <a:pt x="803" y="1606"/>
                    </a:lnTo>
                    <a:lnTo>
                      <a:pt x="798" y="1558"/>
                    </a:lnTo>
                    <a:lnTo>
                      <a:pt x="790" y="1507"/>
                    </a:lnTo>
                    <a:lnTo>
                      <a:pt x="781" y="1454"/>
                    </a:lnTo>
                    <a:lnTo>
                      <a:pt x="770" y="1399"/>
                    </a:lnTo>
                    <a:lnTo>
                      <a:pt x="757" y="1342"/>
                    </a:lnTo>
                    <a:lnTo>
                      <a:pt x="742" y="1283"/>
                    </a:lnTo>
                    <a:lnTo>
                      <a:pt x="724" y="1220"/>
                    </a:lnTo>
                    <a:lnTo>
                      <a:pt x="705" y="1155"/>
                    </a:lnTo>
                    <a:lnTo>
                      <a:pt x="683" y="1087"/>
                    </a:lnTo>
                    <a:lnTo>
                      <a:pt x="659" y="1016"/>
                    </a:lnTo>
                    <a:lnTo>
                      <a:pt x="633" y="944"/>
                    </a:lnTo>
                    <a:lnTo>
                      <a:pt x="602" y="867"/>
                    </a:lnTo>
                    <a:lnTo>
                      <a:pt x="571" y="788"/>
                    </a:lnTo>
                    <a:lnTo>
                      <a:pt x="535" y="705"/>
                    </a:lnTo>
                    <a:lnTo>
                      <a:pt x="514" y="658"/>
                    </a:lnTo>
                    <a:lnTo>
                      <a:pt x="491" y="611"/>
                    </a:lnTo>
                    <a:lnTo>
                      <a:pt x="466" y="565"/>
                    </a:lnTo>
                    <a:lnTo>
                      <a:pt x="440" y="520"/>
                    </a:lnTo>
                    <a:lnTo>
                      <a:pt x="412" y="474"/>
                    </a:lnTo>
                    <a:lnTo>
                      <a:pt x="383" y="430"/>
                    </a:lnTo>
                    <a:lnTo>
                      <a:pt x="352" y="386"/>
                    </a:lnTo>
                    <a:lnTo>
                      <a:pt x="319" y="343"/>
                    </a:lnTo>
                    <a:lnTo>
                      <a:pt x="285" y="300"/>
                    </a:lnTo>
                    <a:lnTo>
                      <a:pt x="249" y="259"/>
                    </a:lnTo>
                    <a:lnTo>
                      <a:pt x="213" y="218"/>
                    </a:lnTo>
                    <a:lnTo>
                      <a:pt x="174" y="177"/>
                    </a:lnTo>
                    <a:lnTo>
                      <a:pt x="134" y="139"/>
                    </a:lnTo>
                    <a:lnTo>
                      <a:pt x="93" y="100"/>
                    </a:lnTo>
                    <a:lnTo>
                      <a:pt x="50" y="61"/>
                    </a:lnTo>
                    <a:lnTo>
                      <a:pt x="5" y="24"/>
                    </a:lnTo>
                    <a:lnTo>
                      <a:pt x="2" y="20"/>
                    </a:lnTo>
                    <a:lnTo>
                      <a:pt x="0" y="14"/>
                    </a:lnTo>
                    <a:lnTo>
                      <a:pt x="1" y="10"/>
                    </a:lnTo>
                    <a:lnTo>
                      <a:pt x="3" y="5"/>
                    </a:lnTo>
                    <a:lnTo>
                      <a:pt x="7" y="1"/>
                    </a:lnTo>
                    <a:lnTo>
                      <a:pt x="12" y="0"/>
                    </a:lnTo>
                    <a:lnTo>
                      <a:pt x="17" y="0"/>
                    </a:lnTo>
                    <a:lnTo>
                      <a:pt x="23" y="3"/>
                    </a:lnTo>
                    <a:lnTo>
                      <a:pt x="67" y="41"/>
                    </a:lnTo>
                    <a:lnTo>
                      <a:pt x="111" y="79"/>
                    </a:lnTo>
                    <a:lnTo>
                      <a:pt x="153" y="119"/>
                    </a:lnTo>
                    <a:lnTo>
                      <a:pt x="193" y="159"/>
                    </a:lnTo>
                    <a:lnTo>
                      <a:pt x="233" y="200"/>
                    </a:lnTo>
                    <a:lnTo>
                      <a:pt x="270" y="241"/>
                    </a:lnTo>
                    <a:lnTo>
                      <a:pt x="306" y="283"/>
                    </a:lnTo>
                    <a:lnTo>
                      <a:pt x="341" y="326"/>
                    </a:lnTo>
                    <a:lnTo>
                      <a:pt x="373" y="371"/>
                    </a:lnTo>
                    <a:lnTo>
                      <a:pt x="405" y="415"/>
                    </a:lnTo>
                    <a:lnTo>
                      <a:pt x="435" y="460"/>
                    </a:lnTo>
                    <a:lnTo>
                      <a:pt x="463" y="506"/>
                    </a:lnTo>
                    <a:lnTo>
                      <a:pt x="490" y="552"/>
                    </a:lnTo>
                    <a:lnTo>
                      <a:pt x="515" y="598"/>
                    </a:lnTo>
                    <a:lnTo>
                      <a:pt x="539" y="647"/>
                    </a:lnTo>
                    <a:lnTo>
                      <a:pt x="560" y="694"/>
                    </a:lnTo>
                    <a:lnTo>
                      <a:pt x="596" y="778"/>
                    </a:lnTo>
                    <a:lnTo>
                      <a:pt x="628" y="857"/>
                    </a:lnTo>
                    <a:lnTo>
                      <a:pt x="659" y="935"/>
                    </a:lnTo>
                    <a:lnTo>
                      <a:pt x="686" y="1010"/>
                    </a:lnTo>
                    <a:lnTo>
                      <a:pt x="709" y="1081"/>
                    </a:lnTo>
                    <a:lnTo>
                      <a:pt x="732" y="1149"/>
                    </a:lnTo>
                    <a:lnTo>
                      <a:pt x="751" y="1215"/>
                    </a:lnTo>
                    <a:lnTo>
                      <a:pt x="769" y="1278"/>
                    </a:lnTo>
                    <a:lnTo>
                      <a:pt x="784" y="1339"/>
                    </a:lnTo>
                    <a:lnTo>
                      <a:pt x="797" y="1397"/>
                    </a:lnTo>
                    <a:lnTo>
                      <a:pt x="808" y="1452"/>
                    </a:lnTo>
                    <a:lnTo>
                      <a:pt x="817" y="1505"/>
                    </a:lnTo>
                    <a:lnTo>
                      <a:pt x="825" y="1557"/>
                    </a:lnTo>
                    <a:lnTo>
                      <a:pt x="831" y="1606"/>
                    </a:lnTo>
                    <a:lnTo>
                      <a:pt x="836" y="1652"/>
                    </a:lnTo>
                    <a:lnTo>
                      <a:pt x="838" y="1697"/>
                    </a:lnTo>
                    <a:lnTo>
                      <a:pt x="840" y="1739"/>
                    </a:lnTo>
                    <a:lnTo>
                      <a:pt x="840" y="1780"/>
                    </a:lnTo>
                    <a:lnTo>
                      <a:pt x="839" y="1819"/>
                    </a:lnTo>
                    <a:lnTo>
                      <a:pt x="838" y="1856"/>
                    </a:lnTo>
                    <a:lnTo>
                      <a:pt x="835" y="1892"/>
                    </a:lnTo>
                    <a:lnTo>
                      <a:pt x="830" y="1925"/>
                    </a:lnTo>
                    <a:lnTo>
                      <a:pt x="826" y="1957"/>
                    </a:lnTo>
                    <a:lnTo>
                      <a:pt x="822" y="1988"/>
                    </a:lnTo>
                    <a:lnTo>
                      <a:pt x="816" y="2017"/>
                    </a:lnTo>
                    <a:lnTo>
                      <a:pt x="810" y="2045"/>
                    </a:lnTo>
                    <a:lnTo>
                      <a:pt x="803" y="2071"/>
                    </a:lnTo>
                    <a:lnTo>
                      <a:pt x="797" y="2097"/>
                    </a:lnTo>
                    <a:lnTo>
                      <a:pt x="783" y="2144"/>
                    </a:lnTo>
                    <a:lnTo>
                      <a:pt x="770" y="2186"/>
                    </a:lnTo>
                    <a:lnTo>
                      <a:pt x="758" y="2226"/>
                    </a:lnTo>
                    <a:lnTo>
                      <a:pt x="748" y="2262"/>
                    </a:lnTo>
                    <a:lnTo>
                      <a:pt x="744" y="2278"/>
                    </a:lnTo>
                    <a:lnTo>
                      <a:pt x="742" y="2294"/>
                    </a:lnTo>
                    <a:lnTo>
                      <a:pt x="740" y="2309"/>
                    </a:lnTo>
                    <a:lnTo>
                      <a:pt x="738" y="2325"/>
                    </a:lnTo>
                    <a:lnTo>
                      <a:pt x="740" y="2345"/>
                    </a:lnTo>
                    <a:lnTo>
                      <a:pt x="742" y="2370"/>
                    </a:lnTo>
                    <a:lnTo>
                      <a:pt x="745" y="2399"/>
                    </a:lnTo>
                    <a:lnTo>
                      <a:pt x="749" y="2430"/>
                    </a:lnTo>
                    <a:lnTo>
                      <a:pt x="755" y="2466"/>
                    </a:lnTo>
                    <a:lnTo>
                      <a:pt x="762" y="2506"/>
                    </a:lnTo>
                    <a:lnTo>
                      <a:pt x="770" y="2548"/>
                    </a:lnTo>
                    <a:lnTo>
                      <a:pt x="777" y="2594"/>
                    </a:lnTo>
                    <a:lnTo>
                      <a:pt x="782" y="2616"/>
                    </a:lnTo>
                    <a:lnTo>
                      <a:pt x="786" y="2640"/>
                    </a:lnTo>
                    <a:lnTo>
                      <a:pt x="789" y="2663"/>
                    </a:lnTo>
                    <a:lnTo>
                      <a:pt x="793" y="2688"/>
                    </a:lnTo>
                    <a:lnTo>
                      <a:pt x="798" y="2713"/>
                    </a:lnTo>
                    <a:lnTo>
                      <a:pt x="803" y="2739"/>
                    </a:lnTo>
                    <a:lnTo>
                      <a:pt x="808" y="2766"/>
                    </a:lnTo>
                    <a:lnTo>
                      <a:pt x="812" y="2793"/>
                    </a:lnTo>
                    <a:lnTo>
                      <a:pt x="785" y="27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10"/>
              <p:cNvSpPr>
                <a:spLocks/>
              </p:cNvSpPr>
              <p:nvPr userDrawn="1"/>
            </p:nvSpPr>
            <p:spPr bwMode="auto">
              <a:xfrm>
                <a:off x="1166" y="3938"/>
                <a:ext cx="188" cy="382"/>
              </a:xfrm>
              <a:custGeom>
                <a:avLst/>
                <a:gdLst>
                  <a:gd name="T0" fmla="*/ 533 w 563"/>
                  <a:gd name="T1" fmla="*/ 1147 h 1147"/>
                  <a:gd name="T2" fmla="*/ 521 w 563"/>
                  <a:gd name="T3" fmla="*/ 1123 h 1147"/>
                  <a:gd name="T4" fmla="*/ 509 w 563"/>
                  <a:gd name="T5" fmla="*/ 1100 h 1147"/>
                  <a:gd name="T6" fmla="*/ 498 w 563"/>
                  <a:gd name="T7" fmla="*/ 1077 h 1147"/>
                  <a:gd name="T8" fmla="*/ 488 w 563"/>
                  <a:gd name="T9" fmla="*/ 1054 h 1147"/>
                  <a:gd name="T10" fmla="*/ 477 w 563"/>
                  <a:gd name="T11" fmla="*/ 1033 h 1147"/>
                  <a:gd name="T12" fmla="*/ 466 w 563"/>
                  <a:gd name="T13" fmla="*/ 1011 h 1147"/>
                  <a:gd name="T14" fmla="*/ 455 w 563"/>
                  <a:gd name="T15" fmla="*/ 990 h 1147"/>
                  <a:gd name="T16" fmla="*/ 445 w 563"/>
                  <a:gd name="T17" fmla="*/ 970 h 1147"/>
                  <a:gd name="T18" fmla="*/ 433 w 563"/>
                  <a:gd name="T19" fmla="*/ 943 h 1147"/>
                  <a:gd name="T20" fmla="*/ 413 w 563"/>
                  <a:gd name="T21" fmla="*/ 904 h 1147"/>
                  <a:gd name="T22" fmla="*/ 394 w 563"/>
                  <a:gd name="T23" fmla="*/ 863 h 1147"/>
                  <a:gd name="T24" fmla="*/ 371 w 563"/>
                  <a:gd name="T25" fmla="*/ 818 h 1147"/>
                  <a:gd name="T26" fmla="*/ 347 w 563"/>
                  <a:gd name="T27" fmla="*/ 769 h 1147"/>
                  <a:gd name="T28" fmla="*/ 322 w 563"/>
                  <a:gd name="T29" fmla="*/ 718 h 1147"/>
                  <a:gd name="T30" fmla="*/ 296 w 563"/>
                  <a:gd name="T31" fmla="*/ 663 h 1147"/>
                  <a:gd name="T32" fmla="*/ 269 w 563"/>
                  <a:gd name="T33" fmla="*/ 607 h 1147"/>
                  <a:gd name="T34" fmla="*/ 241 w 563"/>
                  <a:gd name="T35" fmla="*/ 548 h 1147"/>
                  <a:gd name="T36" fmla="*/ 212 w 563"/>
                  <a:gd name="T37" fmla="*/ 486 h 1147"/>
                  <a:gd name="T38" fmla="*/ 183 w 563"/>
                  <a:gd name="T39" fmla="*/ 424 h 1147"/>
                  <a:gd name="T40" fmla="*/ 153 w 563"/>
                  <a:gd name="T41" fmla="*/ 359 h 1147"/>
                  <a:gd name="T42" fmla="*/ 123 w 563"/>
                  <a:gd name="T43" fmla="*/ 293 h 1147"/>
                  <a:gd name="T44" fmla="*/ 92 w 563"/>
                  <a:gd name="T45" fmla="*/ 225 h 1147"/>
                  <a:gd name="T46" fmla="*/ 62 w 563"/>
                  <a:gd name="T47" fmla="*/ 157 h 1147"/>
                  <a:gd name="T48" fmla="*/ 31 w 563"/>
                  <a:gd name="T49" fmla="*/ 88 h 1147"/>
                  <a:gd name="T50" fmla="*/ 1 w 563"/>
                  <a:gd name="T51" fmla="*/ 18 h 1147"/>
                  <a:gd name="T52" fmla="*/ 0 w 563"/>
                  <a:gd name="T53" fmla="*/ 12 h 1147"/>
                  <a:gd name="T54" fmla="*/ 1 w 563"/>
                  <a:gd name="T55" fmla="*/ 8 h 1147"/>
                  <a:gd name="T56" fmla="*/ 4 w 563"/>
                  <a:gd name="T57" fmla="*/ 4 h 1147"/>
                  <a:gd name="T58" fmla="*/ 8 w 563"/>
                  <a:gd name="T59" fmla="*/ 1 h 1147"/>
                  <a:gd name="T60" fmla="*/ 14 w 563"/>
                  <a:gd name="T61" fmla="*/ 0 h 1147"/>
                  <a:gd name="T62" fmla="*/ 18 w 563"/>
                  <a:gd name="T63" fmla="*/ 1 h 1147"/>
                  <a:gd name="T64" fmla="*/ 23 w 563"/>
                  <a:gd name="T65" fmla="*/ 3 h 1147"/>
                  <a:gd name="T66" fmla="*/ 25 w 563"/>
                  <a:gd name="T67" fmla="*/ 7 h 1147"/>
                  <a:gd name="T68" fmla="*/ 56 w 563"/>
                  <a:gd name="T69" fmla="*/ 77 h 1147"/>
                  <a:gd name="T70" fmla="*/ 86 w 563"/>
                  <a:gd name="T71" fmla="*/ 146 h 1147"/>
                  <a:gd name="T72" fmla="*/ 117 w 563"/>
                  <a:gd name="T73" fmla="*/ 214 h 1147"/>
                  <a:gd name="T74" fmla="*/ 147 w 563"/>
                  <a:gd name="T75" fmla="*/ 282 h 1147"/>
                  <a:gd name="T76" fmla="*/ 178 w 563"/>
                  <a:gd name="T77" fmla="*/ 348 h 1147"/>
                  <a:gd name="T78" fmla="*/ 208 w 563"/>
                  <a:gd name="T79" fmla="*/ 413 h 1147"/>
                  <a:gd name="T80" fmla="*/ 237 w 563"/>
                  <a:gd name="T81" fmla="*/ 476 h 1147"/>
                  <a:gd name="T82" fmla="*/ 266 w 563"/>
                  <a:gd name="T83" fmla="*/ 537 h 1147"/>
                  <a:gd name="T84" fmla="*/ 294 w 563"/>
                  <a:gd name="T85" fmla="*/ 595 h 1147"/>
                  <a:gd name="T86" fmla="*/ 321 w 563"/>
                  <a:gd name="T87" fmla="*/ 653 h 1147"/>
                  <a:gd name="T88" fmla="*/ 347 w 563"/>
                  <a:gd name="T89" fmla="*/ 707 h 1147"/>
                  <a:gd name="T90" fmla="*/ 372 w 563"/>
                  <a:gd name="T91" fmla="*/ 757 h 1147"/>
                  <a:gd name="T92" fmla="*/ 396 w 563"/>
                  <a:gd name="T93" fmla="*/ 806 h 1147"/>
                  <a:gd name="T94" fmla="*/ 417 w 563"/>
                  <a:gd name="T95" fmla="*/ 851 h 1147"/>
                  <a:gd name="T96" fmla="*/ 438 w 563"/>
                  <a:gd name="T97" fmla="*/ 892 h 1147"/>
                  <a:gd name="T98" fmla="*/ 456 w 563"/>
                  <a:gd name="T99" fmla="*/ 931 h 1147"/>
                  <a:gd name="T100" fmla="*/ 470 w 563"/>
                  <a:gd name="T101" fmla="*/ 958 h 1147"/>
                  <a:gd name="T102" fmla="*/ 480 w 563"/>
                  <a:gd name="T103" fmla="*/ 980 h 1147"/>
                  <a:gd name="T104" fmla="*/ 491 w 563"/>
                  <a:gd name="T105" fmla="*/ 1001 h 1147"/>
                  <a:gd name="T106" fmla="*/ 502 w 563"/>
                  <a:gd name="T107" fmla="*/ 1023 h 1147"/>
                  <a:gd name="T108" fmla="*/ 514 w 563"/>
                  <a:gd name="T109" fmla="*/ 1046 h 1147"/>
                  <a:gd name="T110" fmla="*/ 524 w 563"/>
                  <a:gd name="T111" fmla="*/ 1069 h 1147"/>
                  <a:gd name="T112" fmla="*/ 536 w 563"/>
                  <a:gd name="T113" fmla="*/ 1093 h 1147"/>
                  <a:gd name="T114" fmla="*/ 549 w 563"/>
                  <a:gd name="T115" fmla="*/ 1118 h 1147"/>
                  <a:gd name="T116" fmla="*/ 561 w 563"/>
                  <a:gd name="T117" fmla="*/ 1143 h 1147"/>
                  <a:gd name="T118" fmla="*/ 563 w 563"/>
                  <a:gd name="T119" fmla="*/ 1147 h 1147"/>
                  <a:gd name="T120" fmla="*/ 533 w 563"/>
                  <a:gd name="T121" fmla="*/ 114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3" h="1147">
                    <a:moveTo>
                      <a:pt x="533" y="1147"/>
                    </a:moveTo>
                    <a:lnTo>
                      <a:pt x="521" y="1123"/>
                    </a:lnTo>
                    <a:lnTo>
                      <a:pt x="509" y="1100"/>
                    </a:lnTo>
                    <a:lnTo>
                      <a:pt x="498" y="1077"/>
                    </a:lnTo>
                    <a:lnTo>
                      <a:pt x="488" y="1054"/>
                    </a:lnTo>
                    <a:lnTo>
                      <a:pt x="477" y="1033"/>
                    </a:lnTo>
                    <a:lnTo>
                      <a:pt x="466" y="1011"/>
                    </a:lnTo>
                    <a:lnTo>
                      <a:pt x="455" y="990"/>
                    </a:lnTo>
                    <a:lnTo>
                      <a:pt x="445" y="970"/>
                    </a:lnTo>
                    <a:lnTo>
                      <a:pt x="433" y="943"/>
                    </a:lnTo>
                    <a:lnTo>
                      <a:pt x="413" y="904"/>
                    </a:lnTo>
                    <a:lnTo>
                      <a:pt x="394" y="863"/>
                    </a:lnTo>
                    <a:lnTo>
                      <a:pt x="371" y="818"/>
                    </a:lnTo>
                    <a:lnTo>
                      <a:pt x="347" y="769"/>
                    </a:lnTo>
                    <a:lnTo>
                      <a:pt x="322" y="718"/>
                    </a:lnTo>
                    <a:lnTo>
                      <a:pt x="296" y="663"/>
                    </a:lnTo>
                    <a:lnTo>
                      <a:pt x="269" y="607"/>
                    </a:lnTo>
                    <a:lnTo>
                      <a:pt x="241" y="548"/>
                    </a:lnTo>
                    <a:lnTo>
                      <a:pt x="212" y="486"/>
                    </a:lnTo>
                    <a:lnTo>
                      <a:pt x="183" y="424"/>
                    </a:lnTo>
                    <a:lnTo>
                      <a:pt x="153" y="359"/>
                    </a:lnTo>
                    <a:lnTo>
                      <a:pt x="123" y="293"/>
                    </a:lnTo>
                    <a:lnTo>
                      <a:pt x="92" y="225"/>
                    </a:lnTo>
                    <a:lnTo>
                      <a:pt x="62" y="157"/>
                    </a:lnTo>
                    <a:lnTo>
                      <a:pt x="31" y="88"/>
                    </a:lnTo>
                    <a:lnTo>
                      <a:pt x="1" y="18"/>
                    </a:lnTo>
                    <a:lnTo>
                      <a:pt x="0" y="12"/>
                    </a:lnTo>
                    <a:lnTo>
                      <a:pt x="1" y="8"/>
                    </a:lnTo>
                    <a:lnTo>
                      <a:pt x="4" y="4"/>
                    </a:lnTo>
                    <a:lnTo>
                      <a:pt x="8" y="1"/>
                    </a:lnTo>
                    <a:lnTo>
                      <a:pt x="14" y="0"/>
                    </a:lnTo>
                    <a:lnTo>
                      <a:pt x="18" y="1"/>
                    </a:lnTo>
                    <a:lnTo>
                      <a:pt x="23" y="3"/>
                    </a:lnTo>
                    <a:lnTo>
                      <a:pt x="25" y="7"/>
                    </a:lnTo>
                    <a:lnTo>
                      <a:pt x="56" y="77"/>
                    </a:lnTo>
                    <a:lnTo>
                      <a:pt x="86" y="146"/>
                    </a:lnTo>
                    <a:lnTo>
                      <a:pt x="117" y="214"/>
                    </a:lnTo>
                    <a:lnTo>
                      <a:pt x="147" y="282"/>
                    </a:lnTo>
                    <a:lnTo>
                      <a:pt x="178" y="348"/>
                    </a:lnTo>
                    <a:lnTo>
                      <a:pt x="208" y="413"/>
                    </a:lnTo>
                    <a:lnTo>
                      <a:pt x="237" y="476"/>
                    </a:lnTo>
                    <a:lnTo>
                      <a:pt x="266" y="537"/>
                    </a:lnTo>
                    <a:lnTo>
                      <a:pt x="294" y="595"/>
                    </a:lnTo>
                    <a:lnTo>
                      <a:pt x="321" y="653"/>
                    </a:lnTo>
                    <a:lnTo>
                      <a:pt x="347" y="707"/>
                    </a:lnTo>
                    <a:lnTo>
                      <a:pt x="372" y="757"/>
                    </a:lnTo>
                    <a:lnTo>
                      <a:pt x="396" y="806"/>
                    </a:lnTo>
                    <a:lnTo>
                      <a:pt x="417" y="851"/>
                    </a:lnTo>
                    <a:lnTo>
                      <a:pt x="438" y="892"/>
                    </a:lnTo>
                    <a:lnTo>
                      <a:pt x="456" y="931"/>
                    </a:lnTo>
                    <a:lnTo>
                      <a:pt x="470" y="958"/>
                    </a:lnTo>
                    <a:lnTo>
                      <a:pt x="480" y="980"/>
                    </a:lnTo>
                    <a:lnTo>
                      <a:pt x="491" y="1001"/>
                    </a:lnTo>
                    <a:lnTo>
                      <a:pt x="502" y="1023"/>
                    </a:lnTo>
                    <a:lnTo>
                      <a:pt x="514" y="1046"/>
                    </a:lnTo>
                    <a:lnTo>
                      <a:pt x="524" y="1069"/>
                    </a:lnTo>
                    <a:lnTo>
                      <a:pt x="536" y="1093"/>
                    </a:lnTo>
                    <a:lnTo>
                      <a:pt x="549" y="1118"/>
                    </a:lnTo>
                    <a:lnTo>
                      <a:pt x="561" y="1143"/>
                    </a:lnTo>
                    <a:lnTo>
                      <a:pt x="563" y="1147"/>
                    </a:lnTo>
                    <a:lnTo>
                      <a:pt x="533"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11"/>
              <p:cNvSpPr>
                <a:spLocks/>
              </p:cNvSpPr>
              <p:nvPr userDrawn="1"/>
            </p:nvSpPr>
            <p:spPr bwMode="auto">
              <a:xfrm>
                <a:off x="200" y="2934"/>
                <a:ext cx="3186" cy="1386"/>
              </a:xfrm>
              <a:custGeom>
                <a:avLst/>
                <a:gdLst>
                  <a:gd name="T0" fmla="*/ 145 w 9557"/>
                  <a:gd name="T1" fmla="*/ 3871 h 4158"/>
                  <a:gd name="T2" fmla="*/ 823 w 9557"/>
                  <a:gd name="T3" fmla="*/ 2860 h 4158"/>
                  <a:gd name="T4" fmla="*/ 1177 w 9557"/>
                  <a:gd name="T5" fmla="*/ 2201 h 4158"/>
                  <a:gd name="T6" fmla="*/ 1521 w 9557"/>
                  <a:gd name="T7" fmla="*/ 1164 h 4158"/>
                  <a:gd name="T8" fmla="*/ 1878 w 9557"/>
                  <a:gd name="T9" fmla="*/ 584 h 4158"/>
                  <a:gd name="T10" fmla="*/ 2673 w 9557"/>
                  <a:gd name="T11" fmla="*/ 94 h 4158"/>
                  <a:gd name="T12" fmla="*/ 3607 w 9557"/>
                  <a:gd name="T13" fmla="*/ 8 h 4158"/>
                  <a:gd name="T14" fmla="*/ 4053 w 9557"/>
                  <a:gd name="T15" fmla="*/ 103 h 4158"/>
                  <a:gd name="T16" fmla="*/ 4728 w 9557"/>
                  <a:gd name="T17" fmla="*/ 323 h 4158"/>
                  <a:gd name="T18" fmla="*/ 5177 w 9557"/>
                  <a:gd name="T19" fmla="*/ 354 h 4158"/>
                  <a:gd name="T20" fmla="*/ 6114 w 9557"/>
                  <a:gd name="T21" fmla="*/ 412 h 4158"/>
                  <a:gd name="T22" fmla="*/ 6524 w 9557"/>
                  <a:gd name="T23" fmla="*/ 539 h 4158"/>
                  <a:gd name="T24" fmla="*/ 6954 w 9557"/>
                  <a:gd name="T25" fmla="*/ 577 h 4158"/>
                  <a:gd name="T26" fmla="*/ 7396 w 9557"/>
                  <a:gd name="T27" fmla="*/ 577 h 4158"/>
                  <a:gd name="T28" fmla="*/ 8211 w 9557"/>
                  <a:gd name="T29" fmla="*/ 871 h 4158"/>
                  <a:gd name="T30" fmla="*/ 8956 w 9557"/>
                  <a:gd name="T31" fmla="*/ 1562 h 4158"/>
                  <a:gd name="T32" fmla="*/ 9417 w 9557"/>
                  <a:gd name="T33" fmla="*/ 2436 h 4158"/>
                  <a:gd name="T34" fmla="*/ 9553 w 9557"/>
                  <a:gd name="T35" fmla="*/ 2993 h 4158"/>
                  <a:gd name="T36" fmla="*/ 9474 w 9557"/>
                  <a:gd name="T37" fmla="*/ 3527 h 4158"/>
                  <a:gd name="T38" fmla="*/ 9099 w 9557"/>
                  <a:gd name="T39" fmla="*/ 3473 h 4158"/>
                  <a:gd name="T40" fmla="*/ 8597 w 9557"/>
                  <a:gd name="T41" fmla="*/ 3049 h 4158"/>
                  <a:gd name="T42" fmla="*/ 8285 w 9557"/>
                  <a:gd name="T43" fmla="*/ 2903 h 4158"/>
                  <a:gd name="T44" fmla="*/ 7922 w 9557"/>
                  <a:gd name="T45" fmla="*/ 2958 h 4158"/>
                  <a:gd name="T46" fmla="*/ 7342 w 9557"/>
                  <a:gd name="T47" fmla="*/ 3145 h 4158"/>
                  <a:gd name="T48" fmla="*/ 6449 w 9557"/>
                  <a:gd name="T49" fmla="*/ 3227 h 4158"/>
                  <a:gd name="T50" fmla="*/ 5623 w 9557"/>
                  <a:gd name="T51" fmla="*/ 3161 h 4158"/>
                  <a:gd name="T52" fmla="*/ 4761 w 9557"/>
                  <a:gd name="T53" fmla="*/ 2808 h 4158"/>
                  <a:gd name="T54" fmla="*/ 3428 w 9557"/>
                  <a:gd name="T55" fmla="*/ 2166 h 4158"/>
                  <a:gd name="T56" fmla="*/ 3201 w 9557"/>
                  <a:gd name="T57" fmla="*/ 2368 h 4158"/>
                  <a:gd name="T58" fmla="*/ 2918 w 9557"/>
                  <a:gd name="T59" fmla="*/ 3085 h 4158"/>
                  <a:gd name="T60" fmla="*/ 2495 w 9557"/>
                  <a:gd name="T61" fmla="*/ 4063 h 4158"/>
                  <a:gd name="T62" fmla="*/ 2513 w 9557"/>
                  <a:gd name="T63" fmla="*/ 3973 h 4158"/>
                  <a:gd name="T64" fmla="*/ 2967 w 9557"/>
                  <a:gd name="T65" fmla="*/ 2865 h 4158"/>
                  <a:gd name="T66" fmla="*/ 3190 w 9557"/>
                  <a:gd name="T67" fmla="*/ 2336 h 4158"/>
                  <a:gd name="T68" fmla="*/ 3399 w 9557"/>
                  <a:gd name="T69" fmla="*/ 2147 h 4158"/>
                  <a:gd name="T70" fmla="*/ 4314 w 9557"/>
                  <a:gd name="T71" fmla="*/ 2563 h 4158"/>
                  <a:gd name="T72" fmla="*/ 5418 w 9557"/>
                  <a:gd name="T73" fmla="*/ 3077 h 4158"/>
                  <a:gd name="T74" fmla="*/ 6122 w 9557"/>
                  <a:gd name="T75" fmla="*/ 3195 h 4158"/>
                  <a:gd name="T76" fmla="*/ 7134 w 9557"/>
                  <a:gd name="T77" fmla="*/ 3163 h 4158"/>
                  <a:gd name="T78" fmla="*/ 7747 w 9557"/>
                  <a:gd name="T79" fmla="*/ 2988 h 4158"/>
                  <a:gd name="T80" fmla="*/ 8197 w 9557"/>
                  <a:gd name="T81" fmla="*/ 2873 h 4158"/>
                  <a:gd name="T82" fmla="*/ 8470 w 9557"/>
                  <a:gd name="T83" fmla="*/ 2937 h 4158"/>
                  <a:gd name="T84" fmla="*/ 9037 w 9557"/>
                  <a:gd name="T85" fmla="*/ 3393 h 4158"/>
                  <a:gd name="T86" fmla="*/ 9472 w 9557"/>
                  <a:gd name="T87" fmla="*/ 3452 h 4158"/>
                  <a:gd name="T88" fmla="*/ 9518 w 9557"/>
                  <a:gd name="T89" fmla="*/ 2913 h 4158"/>
                  <a:gd name="T90" fmla="*/ 9340 w 9557"/>
                  <a:gd name="T91" fmla="*/ 2311 h 4158"/>
                  <a:gd name="T92" fmla="*/ 8841 w 9557"/>
                  <a:gd name="T93" fmla="*/ 1455 h 4158"/>
                  <a:gd name="T94" fmla="*/ 8060 w 9557"/>
                  <a:gd name="T95" fmla="*/ 823 h 4158"/>
                  <a:gd name="T96" fmla="*/ 7280 w 9557"/>
                  <a:gd name="T97" fmla="*/ 591 h 4158"/>
                  <a:gd name="T98" fmla="*/ 6887 w 9557"/>
                  <a:gd name="T99" fmla="*/ 627 h 4158"/>
                  <a:gd name="T100" fmla="*/ 6589 w 9557"/>
                  <a:gd name="T101" fmla="*/ 587 h 4158"/>
                  <a:gd name="T102" fmla="*/ 6180 w 9557"/>
                  <a:gd name="T103" fmla="*/ 452 h 4158"/>
                  <a:gd name="T104" fmla="*/ 5178 w 9557"/>
                  <a:gd name="T105" fmla="*/ 381 h 4158"/>
                  <a:gd name="T106" fmla="*/ 4725 w 9557"/>
                  <a:gd name="T107" fmla="*/ 349 h 4158"/>
                  <a:gd name="T108" fmla="*/ 4043 w 9557"/>
                  <a:gd name="T109" fmla="*/ 129 h 4158"/>
                  <a:gd name="T110" fmla="*/ 3603 w 9557"/>
                  <a:gd name="T111" fmla="*/ 34 h 4158"/>
                  <a:gd name="T112" fmla="*/ 2683 w 9557"/>
                  <a:gd name="T113" fmla="*/ 119 h 4158"/>
                  <a:gd name="T114" fmla="*/ 1899 w 9557"/>
                  <a:gd name="T115" fmla="*/ 601 h 4158"/>
                  <a:gd name="T116" fmla="*/ 1543 w 9557"/>
                  <a:gd name="T117" fmla="*/ 1176 h 4158"/>
                  <a:gd name="T118" fmla="*/ 1203 w 9557"/>
                  <a:gd name="T119" fmla="*/ 2207 h 4158"/>
                  <a:gd name="T120" fmla="*/ 847 w 9557"/>
                  <a:gd name="T121" fmla="*/ 2873 h 4158"/>
                  <a:gd name="T122" fmla="*/ 169 w 9557"/>
                  <a:gd name="T123" fmla="*/ 3884 h 4158"/>
                  <a:gd name="T124" fmla="*/ 0 w 9557"/>
                  <a:gd name="T125" fmla="*/ 4158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57" h="4158">
                    <a:moveTo>
                      <a:pt x="0" y="4158"/>
                    </a:moveTo>
                    <a:lnTo>
                      <a:pt x="9" y="4140"/>
                    </a:lnTo>
                    <a:lnTo>
                      <a:pt x="18" y="4122"/>
                    </a:lnTo>
                    <a:lnTo>
                      <a:pt x="26" y="4103"/>
                    </a:lnTo>
                    <a:lnTo>
                      <a:pt x="35" y="4085"/>
                    </a:lnTo>
                    <a:lnTo>
                      <a:pt x="45" y="4062"/>
                    </a:lnTo>
                    <a:lnTo>
                      <a:pt x="55" y="4038"/>
                    </a:lnTo>
                    <a:lnTo>
                      <a:pt x="67" y="4013"/>
                    </a:lnTo>
                    <a:lnTo>
                      <a:pt x="79" y="3987"/>
                    </a:lnTo>
                    <a:lnTo>
                      <a:pt x="93" y="3960"/>
                    </a:lnTo>
                    <a:lnTo>
                      <a:pt x="108" y="3932"/>
                    </a:lnTo>
                    <a:lnTo>
                      <a:pt x="126" y="3902"/>
                    </a:lnTo>
                    <a:lnTo>
                      <a:pt x="145" y="3871"/>
                    </a:lnTo>
                    <a:lnTo>
                      <a:pt x="187" y="3803"/>
                    </a:lnTo>
                    <a:lnTo>
                      <a:pt x="235" y="3729"/>
                    </a:lnTo>
                    <a:lnTo>
                      <a:pt x="287" y="3651"/>
                    </a:lnTo>
                    <a:lnTo>
                      <a:pt x="343" y="3569"/>
                    </a:lnTo>
                    <a:lnTo>
                      <a:pt x="402" y="3481"/>
                    </a:lnTo>
                    <a:lnTo>
                      <a:pt x="465" y="3392"/>
                    </a:lnTo>
                    <a:lnTo>
                      <a:pt x="514" y="3319"/>
                    </a:lnTo>
                    <a:lnTo>
                      <a:pt x="565" y="3246"/>
                    </a:lnTo>
                    <a:lnTo>
                      <a:pt x="617" y="3170"/>
                    </a:lnTo>
                    <a:lnTo>
                      <a:pt x="669" y="3094"/>
                    </a:lnTo>
                    <a:lnTo>
                      <a:pt x="721" y="3017"/>
                    </a:lnTo>
                    <a:lnTo>
                      <a:pt x="772" y="2938"/>
                    </a:lnTo>
                    <a:lnTo>
                      <a:pt x="823" y="2860"/>
                    </a:lnTo>
                    <a:lnTo>
                      <a:pt x="872" y="2783"/>
                    </a:lnTo>
                    <a:lnTo>
                      <a:pt x="920" y="2705"/>
                    </a:lnTo>
                    <a:lnTo>
                      <a:pt x="966" y="2628"/>
                    </a:lnTo>
                    <a:lnTo>
                      <a:pt x="1010" y="2552"/>
                    </a:lnTo>
                    <a:lnTo>
                      <a:pt x="1050" y="2477"/>
                    </a:lnTo>
                    <a:lnTo>
                      <a:pt x="1069" y="2442"/>
                    </a:lnTo>
                    <a:lnTo>
                      <a:pt x="1088" y="2405"/>
                    </a:lnTo>
                    <a:lnTo>
                      <a:pt x="1105" y="2369"/>
                    </a:lnTo>
                    <a:lnTo>
                      <a:pt x="1122" y="2335"/>
                    </a:lnTo>
                    <a:lnTo>
                      <a:pt x="1137" y="2300"/>
                    </a:lnTo>
                    <a:lnTo>
                      <a:pt x="1151" y="2266"/>
                    </a:lnTo>
                    <a:lnTo>
                      <a:pt x="1165" y="2233"/>
                    </a:lnTo>
                    <a:lnTo>
                      <a:pt x="1177" y="2201"/>
                    </a:lnTo>
                    <a:lnTo>
                      <a:pt x="1197" y="2104"/>
                    </a:lnTo>
                    <a:lnTo>
                      <a:pt x="1218" y="2011"/>
                    </a:lnTo>
                    <a:lnTo>
                      <a:pt x="1241" y="1919"/>
                    </a:lnTo>
                    <a:lnTo>
                      <a:pt x="1266" y="1832"/>
                    </a:lnTo>
                    <a:lnTo>
                      <a:pt x="1291" y="1746"/>
                    </a:lnTo>
                    <a:lnTo>
                      <a:pt x="1317" y="1663"/>
                    </a:lnTo>
                    <a:lnTo>
                      <a:pt x="1345" y="1583"/>
                    </a:lnTo>
                    <a:lnTo>
                      <a:pt x="1373" y="1507"/>
                    </a:lnTo>
                    <a:lnTo>
                      <a:pt x="1402" y="1432"/>
                    </a:lnTo>
                    <a:lnTo>
                      <a:pt x="1431" y="1361"/>
                    </a:lnTo>
                    <a:lnTo>
                      <a:pt x="1460" y="1292"/>
                    </a:lnTo>
                    <a:lnTo>
                      <a:pt x="1491" y="1226"/>
                    </a:lnTo>
                    <a:lnTo>
                      <a:pt x="1521" y="1164"/>
                    </a:lnTo>
                    <a:lnTo>
                      <a:pt x="1550" y="1104"/>
                    </a:lnTo>
                    <a:lnTo>
                      <a:pt x="1580" y="1047"/>
                    </a:lnTo>
                    <a:lnTo>
                      <a:pt x="1609" y="993"/>
                    </a:lnTo>
                    <a:lnTo>
                      <a:pt x="1637" y="942"/>
                    </a:lnTo>
                    <a:lnTo>
                      <a:pt x="1665" y="894"/>
                    </a:lnTo>
                    <a:lnTo>
                      <a:pt x="1694" y="849"/>
                    </a:lnTo>
                    <a:lnTo>
                      <a:pt x="1719" y="807"/>
                    </a:lnTo>
                    <a:lnTo>
                      <a:pt x="1744" y="768"/>
                    </a:lnTo>
                    <a:lnTo>
                      <a:pt x="1768" y="733"/>
                    </a:lnTo>
                    <a:lnTo>
                      <a:pt x="1791" y="700"/>
                    </a:lnTo>
                    <a:lnTo>
                      <a:pt x="1812" y="670"/>
                    </a:lnTo>
                    <a:lnTo>
                      <a:pt x="1849" y="621"/>
                    </a:lnTo>
                    <a:lnTo>
                      <a:pt x="1878" y="584"/>
                    </a:lnTo>
                    <a:lnTo>
                      <a:pt x="1898" y="560"/>
                    </a:lnTo>
                    <a:lnTo>
                      <a:pt x="1907" y="548"/>
                    </a:lnTo>
                    <a:lnTo>
                      <a:pt x="1966" y="487"/>
                    </a:lnTo>
                    <a:lnTo>
                      <a:pt x="2026" y="429"/>
                    </a:lnTo>
                    <a:lnTo>
                      <a:pt x="2091" y="377"/>
                    </a:lnTo>
                    <a:lnTo>
                      <a:pt x="2158" y="328"/>
                    </a:lnTo>
                    <a:lnTo>
                      <a:pt x="2227" y="284"/>
                    </a:lnTo>
                    <a:lnTo>
                      <a:pt x="2297" y="244"/>
                    </a:lnTo>
                    <a:lnTo>
                      <a:pt x="2371" y="206"/>
                    </a:lnTo>
                    <a:lnTo>
                      <a:pt x="2444" y="173"/>
                    </a:lnTo>
                    <a:lnTo>
                      <a:pt x="2520" y="143"/>
                    </a:lnTo>
                    <a:lnTo>
                      <a:pt x="2596" y="116"/>
                    </a:lnTo>
                    <a:lnTo>
                      <a:pt x="2673" y="94"/>
                    </a:lnTo>
                    <a:lnTo>
                      <a:pt x="2751" y="73"/>
                    </a:lnTo>
                    <a:lnTo>
                      <a:pt x="2827" y="55"/>
                    </a:lnTo>
                    <a:lnTo>
                      <a:pt x="2905" y="41"/>
                    </a:lnTo>
                    <a:lnTo>
                      <a:pt x="2982" y="28"/>
                    </a:lnTo>
                    <a:lnTo>
                      <a:pt x="3057" y="18"/>
                    </a:lnTo>
                    <a:lnTo>
                      <a:pt x="3133" y="11"/>
                    </a:lnTo>
                    <a:lnTo>
                      <a:pt x="3206" y="5"/>
                    </a:lnTo>
                    <a:lnTo>
                      <a:pt x="3279" y="2"/>
                    </a:lnTo>
                    <a:lnTo>
                      <a:pt x="3349" y="0"/>
                    </a:lnTo>
                    <a:lnTo>
                      <a:pt x="3417" y="0"/>
                    </a:lnTo>
                    <a:lnTo>
                      <a:pt x="3483" y="2"/>
                    </a:lnTo>
                    <a:lnTo>
                      <a:pt x="3546" y="4"/>
                    </a:lnTo>
                    <a:lnTo>
                      <a:pt x="3607" y="8"/>
                    </a:lnTo>
                    <a:lnTo>
                      <a:pt x="3664" y="14"/>
                    </a:lnTo>
                    <a:lnTo>
                      <a:pt x="3718" y="19"/>
                    </a:lnTo>
                    <a:lnTo>
                      <a:pt x="3768" y="27"/>
                    </a:lnTo>
                    <a:lnTo>
                      <a:pt x="3814" y="34"/>
                    </a:lnTo>
                    <a:lnTo>
                      <a:pt x="3855" y="42"/>
                    </a:lnTo>
                    <a:lnTo>
                      <a:pt x="3893" y="51"/>
                    </a:lnTo>
                    <a:lnTo>
                      <a:pt x="3925" y="59"/>
                    </a:lnTo>
                    <a:lnTo>
                      <a:pt x="3952" y="68"/>
                    </a:lnTo>
                    <a:lnTo>
                      <a:pt x="3971" y="74"/>
                    </a:lnTo>
                    <a:lnTo>
                      <a:pt x="3991" y="81"/>
                    </a:lnTo>
                    <a:lnTo>
                      <a:pt x="4011" y="88"/>
                    </a:lnTo>
                    <a:lnTo>
                      <a:pt x="4031" y="96"/>
                    </a:lnTo>
                    <a:lnTo>
                      <a:pt x="4053" y="103"/>
                    </a:lnTo>
                    <a:lnTo>
                      <a:pt x="4075" y="112"/>
                    </a:lnTo>
                    <a:lnTo>
                      <a:pt x="4096" y="121"/>
                    </a:lnTo>
                    <a:lnTo>
                      <a:pt x="4119" y="129"/>
                    </a:lnTo>
                    <a:lnTo>
                      <a:pt x="4172" y="149"/>
                    </a:lnTo>
                    <a:lnTo>
                      <a:pt x="4228" y="170"/>
                    </a:lnTo>
                    <a:lnTo>
                      <a:pt x="4285" y="191"/>
                    </a:lnTo>
                    <a:lnTo>
                      <a:pt x="4344" y="213"/>
                    </a:lnTo>
                    <a:lnTo>
                      <a:pt x="4405" y="233"/>
                    </a:lnTo>
                    <a:lnTo>
                      <a:pt x="4468" y="254"/>
                    </a:lnTo>
                    <a:lnTo>
                      <a:pt x="4531" y="273"/>
                    </a:lnTo>
                    <a:lnTo>
                      <a:pt x="4596" y="290"/>
                    </a:lnTo>
                    <a:lnTo>
                      <a:pt x="4662" y="308"/>
                    </a:lnTo>
                    <a:lnTo>
                      <a:pt x="4728" y="323"/>
                    </a:lnTo>
                    <a:lnTo>
                      <a:pt x="4761" y="329"/>
                    </a:lnTo>
                    <a:lnTo>
                      <a:pt x="4796" y="334"/>
                    </a:lnTo>
                    <a:lnTo>
                      <a:pt x="4829" y="340"/>
                    </a:lnTo>
                    <a:lnTo>
                      <a:pt x="4863" y="345"/>
                    </a:lnTo>
                    <a:lnTo>
                      <a:pt x="4896" y="350"/>
                    </a:lnTo>
                    <a:lnTo>
                      <a:pt x="4931" y="353"/>
                    </a:lnTo>
                    <a:lnTo>
                      <a:pt x="4964" y="355"/>
                    </a:lnTo>
                    <a:lnTo>
                      <a:pt x="4998" y="357"/>
                    </a:lnTo>
                    <a:lnTo>
                      <a:pt x="5032" y="358"/>
                    </a:lnTo>
                    <a:lnTo>
                      <a:pt x="5066" y="358"/>
                    </a:lnTo>
                    <a:lnTo>
                      <a:pt x="5099" y="358"/>
                    </a:lnTo>
                    <a:lnTo>
                      <a:pt x="5133" y="356"/>
                    </a:lnTo>
                    <a:lnTo>
                      <a:pt x="5177" y="354"/>
                    </a:lnTo>
                    <a:lnTo>
                      <a:pt x="5221" y="352"/>
                    </a:lnTo>
                    <a:lnTo>
                      <a:pt x="5266" y="351"/>
                    </a:lnTo>
                    <a:lnTo>
                      <a:pt x="5311" y="350"/>
                    </a:lnTo>
                    <a:lnTo>
                      <a:pt x="5404" y="350"/>
                    </a:lnTo>
                    <a:lnTo>
                      <a:pt x="5497" y="352"/>
                    </a:lnTo>
                    <a:lnTo>
                      <a:pt x="5591" y="355"/>
                    </a:lnTo>
                    <a:lnTo>
                      <a:pt x="5683" y="360"/>
                    </a:lnTo>
                    <a:lnTo>
                      <a:pt x="5775" y="368"/>
                    </a:lnTo>
                    <a:lnTo>
                      <a:pt x="5865" y="377"/>
                    </a:lnTo>
                    <a:lnTo>
                      <a:pt x="5951" y="387"/>
                    </a:lnTo>
                    <a:lnTo>
                      <a:pt x="6035" y="399"/>
                    </a:lnTo>
                    <a:lnTo>
                      <a:pt x="6075" y="406"/>
                    </a:lnTo>
                    <a:lnTo>
                      <a:pt x="6114" y="412"/>
                    </a:lnTo>
                    <a:lnTo>
                      <a:pt x="6152" y="420"/>
                    </a:lnTo>
                    <a:lnTo>
                      <a:pt x="6189" y="426"/>
                    </a:lnTo>
                    <a:lnTo>
                      <a:pt x="6223" y="435"/>
                    </a:lnTo>
                    <a:lnTo>
                      <a:pt x="6257" y="442"/>
                    </a:lnTo>
                    <a:lnTo>
                      <a:pt x="6288" y="451"/>
                    </a:lnTo>
                    <a:lnTo>
                      <a:pt x="6318" y="460"/>
                    </a:lnTo>
                    <a:lnTo>
                      <a:pt x="6346" y="468"/>
                    </a:lnTo>
                    <a:lnTo>
                      <a:pt x="6372" y="477"/>
                    </a:lnTo>
                    <a:lnTo>
                      <a:pt x="6397" y="487"/>
                    </a:lnTo>
                    <a:lnTo>
                      <a:pt x="6419" y="496"/>
                    </a:lnTo>
                    <a:lnTo>
                      <a:pt x="6453" y="512"/>
                    </a:lnTo>
                    <a:lnTo>
                      <a:pt x="6488" y="526"/>
                    </a:lnTo>
                    <a:lnTo>
                      <a:pt x="6524" y="539"/>
                    </a:lnTo>
                    <a:lnTo>
                      <a:pt x="6560" y="550"/>
                    </a:lnTo>
                    <a:lnTo>
                      <a:pt x="6597" y="561"/>
                    </a:lnTo>
                    <a:lnTo>
                      <a:pt x="6635" y="572"/>
                    </a:lnTo>
                    <a:lnTo>
                      <a:pt x="6673" y="581"/>
                    </a:lnTo>
                    <a:lnTo>
                      <a:pt x="6711" y="589"/>
                    </a:lnTo>
                    <a:lnTo>
                      <a:pt x="6765" y="598"/>
                    </a:lnTo>
                    <a:lnTo>
                      <a:pt x="6810" y="604"/>
                    </a:lnTo>
                    <a:lnTo>
                      <a:pt x="6842" y="608"/>
                    </a:lnTo>
                    <a:lnTo>
                      <a:pt x="6859" y="609"/>
                    </a:lnTo>
                    <a:lnTo>
                      <a:pt x="6871" y="603"/>
                    </a:lnTo>
                    <a:lnTo>
                      <a:pt x="6891" y="596"/>
                    </a:lnTo>
                    <a:lnTo>
                      <a:pt x="6919" y="587"/>
                    </a:lnTo>
                    <a:lnTo>
                      <a:pt x="6954" y="577"/>
                    </a:lnTo>
                    <a:lnTo>
                      <a:pt x="6976" y="573"/>
                    </a:lnTo>
                    <a:lnTo>
                      <a:pt x="6999" y="569"/>
                    </a:lnTo>
                    <a:lnTo>
                      <a:pt x="7025" y="565"/>
                    </a:lnTo>
                    <a:lnTo>
                      <a:pt x="7052" y="562"/>
                    </a:lnTo>
                    <a:lnTo>
                      <a:pt x="7081" y="559"/>
                    </a:lnTo>
                    <a:lnTo>
                      <a:pt x="7113" y="558"/>
                    </a:lnTo>
                    <a:lnTo>
                      <a:pt x="7147" y="557"/>
                    </a:lnTo>
                    <a:lnTo>
                      <a:pt x="7182" y="557"/>
                    </a:lnTo>
                    <a:lnTo>
                      <a:pt x="7221" y="558"/>
                    </a:lnTo>
                    <a:lnTo>
                      <a:pt x="7261" y="561"/>
                    </a:lnTo>
                    <a:lnTo>
                      <a:pt x="7304" y="564"/>
                    </a:lnTo>
                    <a:lnTo>
                      <a:pt x="7348" y="570"/>
                    </a:lnTo>
                    <a:lnTo>
                      <a:pt x="7396" y="577"/>
                    </a:lnTo>
                    <a:lnTo>
                      <a:pt x="7446" y="586"/>
                    </a:lnTo>
                    <a:lnTo>
                      <a:pt x="7498" y="597"/>
                    </a:lnTo>
                    <a:lnTo>
                      <a:pt x="7552" y="610"/>
                    </a:lnTo>
                    <a:lnTo>
                      <a:pt x="7609" y="625"/>
                    </a:lnTo>
                    <a:lnTo>
                      <a:pt x="7667" y="642"/>
                    </a:lnTo>
                    <a:lnTo>
                      <a:pt x="7729" y="662"/>
                    </a:lnTo>
                    <a:lnTo>
                      <a:pt x="7792" y="683"/>
                    </a:lnTo>
                    <a:lnTo>
                      <a:pt x="7858" y="708"/>
                    </a:lnTo>
                    <a:lnTo>
                      <a:pt x="7927" y="735"/>
                    </a:lnTo>
                    <a:lnTo>
                      <a:pt x="7999" y="765"/>
                    </a:lnTo>
                    <a:lnTo>
                      <a:pt x="8072" y="799"/>
                    </a:lnTo>
                    <a:lnTo>
                      <a:pt x="8142" y="834"/>
                    </a:lnTo>
                    <a:lnTo>
                      <a:pt x="8211" y="871"/>
                    </a:lnTo>
                    <a:lnTo>
                      <a:pt x="8279" y="912"/>
                    </a:lnTo>
                    <a:lnTo>
                      <a:pt x="8344" y="955"/>
                    </a:lnTo>
                    <a:lnTo>
                      <a:pt x="8409" y="1001"/>
                    </a:lnTo>
                    <a:lnTo>
                      <a:pt x="8472" y="1048"/>
                    </a:lnTo>
                    <a:lnTo>
                      <a:pt x="8532" y="1098"/>
                    </a:lnTo>
                    <a:lnTo>
                      <a:pt x="8590" y="1149"/>
                    </a:lnTo>
                    <a:lnTo>
                      <a:pt x="8648" y="1203"/>
                    </a:lnTo>
                    <a:lnTo>
                      <a:pt x="8704" y="1260"/>
                    </a:lnTo>
                    <a:lnTo>
                      <a:pt x="8758" y="1317"/>
                    </a:lnTo>
                    <a:lnTo>
                      <a:pt x="8809" y="1376"/>
                    </a:lnTo>
                    <a:lnTo>
                      <a:pt x="8860" y="1437"/>
                    </a:lnTo>
                    <a:lnTo>
                      <a:pt x="8909" y="1498"/>
                    </a:lnTo>
                    <a:lnTo>
                      <a:pt x="8956" y="1562"/>
                    </a:lnTo>
                    <a:lnTo>
                      <a:pt x="9002" y="1626"/>
                    </a:lnTo>
                    <a:lnTo>
                      <a:pt x="9046" y="1691"/>
                    </a:lnTo>
                    <a:lnTo>
                      <a:pt x="9088" y="1757"/>
                    </a:lnTo>
                    <a:lnTo>
                      <a:pt x="9128" y="1824"/>
                    </a:lnTo>
                    <a:lnTo>
                      <a:pt x="9167" y="1891"/>
                    </a:lnTo>
                    <a:lnTo>
                      <a:pt x="9204" y="1959"/>
                    </a:lnTo>
                    <a:lnTo>
                      <a:pt x="9239" y="2027"/>
                    </a:lnTo>
                    <a:lnTo>
                      <a:pt x="9274" y="2095"/>
                    </a:lnTo>
                    <a:lnTo>
                      <a:pt x="9305" y="2164"/>
                    </a:lnTo>
                    <a:lnTo>
                      <a:pt x="9335" y="2232"/>
                    </a:lnTo>
                    <a:lnTo>
                      <a:pt x="9365" y="2300"/>
                    </a:lnTo>
                    <a:lnTo>
                      <a:pt x="9392" y="2368"/>
                    </a:lnTo>
                    <a:lnTo>
                      <a:pt x="9417" y="2436"/>
                    </a:lnTo>
                    <a:lnTo>
                      <a:pt x="9441" y="2503"/>
                    </a:lnTo>
                    <a:lnTo>
                      <a:pt x="9463" y="2570"/>
                    </a:lnTo>
                    <a:lnTo>
                      <a:pt x="9483" y="2635"/>
                    </a:lnTo>
                    <a:lnTo>
                      <a:pt x="9502" y="2701"/>
                    </a:lnTo>
                    <a:lnTo>
                      <a:pt x="9510" y="2731"/>
                    </a:lnTo>
                    <a:lnTo>
                      <a:pt x="9518" y="2762"/>
                    </a:lnTo>
                    <a:lnTo>
                      <a:pt x="9524" y="2792"/>
                    </a:lnTo>
                    <a:lnTo>
                      <a:pt x="9531" y="2823"/>
                    </a:lnTo>
                    <a:lnTo>
                      <a:pt x="9536" y="2852"/>
                    </a:lnTo>
                    <a:lnTo>
                      <a:pt x="9541" y="2881"/>
                    </a:lnTo>
                    <a:lnTo>
                      <a:pt x="9545" y="2910"/>
                    </a:lnTo>
                    <a:lnTo>
                      <a:pt x="9548" y="2938"/>
                    </a:lnTo>
                    <a:lnTo>
                      <a:pt x="9553" y="2993"/>
                    </a:lnTo>
                    <a:lnTo>
                      <a:pt x="9556" y="3046"/>
                    </a:lnTo>
                    <a:lnTo>
                      <a:pt x="9557" y="3097"/>
                    </a:lnTo>
                    <a:lnTo>
                      <a:pt x="9556" y="3145"/>
                    </a:lnTo>
                    <a:lnTo>
                      <a:pt x="9552" y="3193"/>
                    </a:lnTo>
                    <a:lnTo>
                      <a:pt x="9548" y="3237"/>
                    </a:lnTo>
                    <a:lnTo>
                      <a:pt x="9542" y="3280"/>
                    </a:lnTo>
                    <a:lnTo>
                      <a:pt x="9534" y="3320"/>
                    </a:lnTo>
                    <a:lnTo>
                      <a:pt x="9526" y="3359"/>
                    </a:lnTo>
                    <a:lnTo>
                      <a:pt x="9518" y="3395"/>
                    </a:lnTo>
                    <a:lnTo>
                      <a:pt x="9508" y="3429"/>
                    </a:lnTo>
                    <a:lnTo>
                      <a:pt x="9498" y="3461"/>
                    </a:lnTo>
                    <a:lnTo>
                      <a:pt x="9485" y="3496"/>
                    </a:lnTo>
                    <a:lnTo>
                      <a:pt x="9474" y="3527"/>
                    </a:lnTo>
                    <a:lnTo>
                      <a:pt x="9462" y="3553"/>
                    </a:lnTo>
                    <a:lnTo>
                      <a:pt x="9452" y="3575"/>
                    </a:lnTo>
                    <a:lnTo>
                      <a:pt x="9436" y="3605"/>
                    </a:lnTo>
                    <a:lnTo>
                      <a:pt x="9429" y="3617"/>
                    </a:lnTo>
                    <a:lnTo>
                      <a:pt x="9425" y="3620"/>
                    </a:lnTo>
                    <a:lnTo>
                      <a:pt x="9422" y="3623"/>
                    </a:lnTo>
                    <a:lnTo>
                      <a:pt x="9416" y="3624"/>
                    </a:lnTo>
                    <a:lnTo>
                      <a:pt x="9412" y="3623"/>
                    </a:lnTo>
                    <a:lnTo>
                      <a:pt x="9171" y="3514"/>
                    </a:lnTo>
                    <a:lnTo>
                      <a:pt x="9153" y="3505"/>
                    </a:lnTo>
                    <a:lnTo>
                      <a:pt x="9136" y="3495"/>
                    </a:lnTo>
                    <a:lnTo>
                      <a:pt x="9117" y="3484"/>
                    </a:lnTo>
                    <a:lnTo>
                      <a:pt x="9099" y="3473"/>
                    </a:lnTo>
                    <a:lnTo>
                      <a:pt x="9079" y="3460"/>
                    </a:lnTo>
                    <a:lnTo>
                      <a:pt x="9060" y="3446"/>
                    </a:lnTo>
                    <a:lnTo>
                      <a:pt x="9041" y="3430"/>
                    </a:lnTo>
                    <a:lnTo>
                      <a:pt x="9021" y="3415"/>
                    </a:lnTo>
                    <a:lnTo>
                      <a:pt x="8981" y="3382"/>
                    </a:lnTo>
                    <a:lnTo>
                      <a:pt x="8940" y="3346"/>
                    </a:lnTo>
                    <a:lnTo>
                      <a:pt x="8898" y="3308"/>
                    </a:lnTo>
                    <a:lnTo>
                      <a:pt x="8856" y="3270"/>
                    </a:lnTo>
                    <a:lnTo>
                      <a:pt x="8785" y="3205"/>
                    </a:lnTo>
                    <a:lnTo>
                      <a:pt x="8710" y="3140"/>
                    </a:lnTo>
                    <a:lnTo>
                      <a:pt x="8673" y="3109"/>
                    </a:lnTo>
                    <a:lnTo>
                      <a:pt x="8636" y="3079"/>
                    </a:lnTo>
                    <a:lnTo>
                      <a:pt x="8597" y="3049"/>
                    </a:lnTo>
                    <a:lnTo>
                      <a:pt x="8559" y="3022"/>
                    </a:lnTo>
                    <a:lnTo>
                      <a:pt x="8520" y="2996"/>
                    </a:lnTo>
                    <a:lnTo>
                      <a:pt x="8481" y="2974"/>
                    </a:lnTo>
                    <a:lnTo>
                      <a:pt x="8462" y="2963"/>
                    </a:lnTo>
                    <a:lnTo>
                      <a:pt x="8442" y="2953"/>
                    </a:lnTo>
                    <a:lnTo>
                      <a:pt x="8422" y="2944"/>
                    </a:lnTo>
                    <a:lnTo>
                      <a:pt x="8402" y="2935"/>
                    </a:lnTo>
                    <a:lnTo>
                      <a:pt x="8383" y="2927"/>
                    </a:lnTo>
                    <a:lnTo>
                      <a:pt x="8364" y="2921"/>
                    </a:lnTo>
                    <a:lnTo>
                      <a:pt x="8344" y="2914"/>
                    </a:lnTo>
                    <a:lnTo>
                      <a:pt x="8325" y="2910"/>
                    </a:lnTo>
                    <a:lnTo>
                      <a:pt x="8304" y="2906"/>
                    </a:lnTo>
                    <a:lnTo>
                      <a:pt x="8285" y="2903"/>
                    </a:lnTo>
                    <a:lnTo>
                      <a:pt x="8265" y="2900"/>
                    </a:lnTo>
                    <a:lnTo>
                      <a:pt x="8246" y="2900"/>
                    </a:lnTo>
                    <a:lnTo>
                      <a:pt x="8222" y="2900"/>
                    </a:lnTo>
                    <a:lnTo>
                      <a:pt x="8198" y="2900"/>
                    </a:lnTo>
                    <a:lnTo>
                      <a:pt x="8175" y="2903"/>
                    </a:lnTo>
                    <a:lnTo>
                      <a:pt x="8149" y="2906"/>
                    </a:lnTo>
                    <a:lnTo>
                      <a:pt x="8123" y="2909"/>
                    </a:lnTo>
                    <a:lnTo>
                      <a:pt x="8096" y="2913"/>
                    </a:lnTo>
                    <a:lnTo>
                      <a:pt x="8068" y="2920"/>
                    </a:lnTo>
                    <a:lnTo>
                      <a:pt x="8040" y="2926"/>
                    </a:lnTo>
                    <a:lnTo>
                      <a:pt x="8001" y="2936"/>
                    </a:lnTo>
                    <a:lnTo>
                      <a:pt x="7962" y="2946"/>
                    </a:lnTo>
                    <a:lnTo>
                      <a:pt x="7922" y="2958"/>
                    </a:lnTo>
                    <a:lnTo>
                      <a:pt x="7881" y="2971"/>
                    </a:lnTo>
                    <a:lnTo>
                      <a:pt x="7840" y="2985"/>
                    </a:lnTo>
                    <a:lnTo>
                      <a:pt x="7798" y="2999"/>
                    </a:lnTo>
                    <a:lnTo>
                      <a:pt x="7756" y="3013"/>
                    </a:lnTo>
                    <a:lnTo>
                      <a:pt x="7712" y="3028"/>
                    </a:lnTo>
                    <a:lnTo>
                      <a:pt x="7669" y="3043"/>
                    </a:lnTo>
                    <a:lnTo>
                      <a:pt x="7624" y="3058"/>
                    </a:lnTo>
                    <a:lnTo>
                      <a:pt x="7580" y="3073"/>
                    </a:lnTo>
                    <a:lnTo>
                      <a:pt x="7533" y="3088"/>
                    </a:lnTo>
                    <a:lnTo>
                      <a:pt x="7487" y="3103"/>
                    </a:lnTo>
                    <a:lnTo>
                      <a:pt x="7439" y="3118"/>
                    </a:lnTo>
                    <a:lnTo>
                      <a:pt x="7391" y="3132"/>
                    </a:lnTo>
                    <a:lnTo>
                      <a:pt x="7342" y="3145"/>
                    </a:lnTo>
                    <a:lnTo>
                      <a:pt x="7291" y="3157"/>
                    </a:lnTo>
                    <a:lnTo>
                      <a:pt x="7242" y="3169"/>
                    </a:lnTo>
                    <a:lnTo>
                      <a:pt x="7190" y="3180"/>
                    </a:lnTo>
                    <a:lnTo>
                      <a:pt x="7138" y="3189"/>
                    </a:lnTo>
                    <a:lnTo>
                      <a:pt x="7084" y="3197"/>
                    </a:lnTo>
                    <a:lnTo>
                      <a:pt x="7030" y="3204"/>
                    </a:lnTo>
                    <a:lnTo>
                      <a:pt x="6976" y="3209"/>
                    </a:lnTo>
                    <a:lnTo>
                      <a:pt x="6920" y="3212"/>
                    </a:lnTo>
                    <a:lnTo>
                      <a:pt x="6878" y="3213"/>
                    </a:lnTo>
                    <a:lnTo>
                      <a:pt x="6772" y="3218"/>
                    </a:lnTo>
                    <a:lnTo>
                      <a:pt x="6666" y="3222"/>
                    </a:lnTo>
                    <a:lnTo>
                      <a:pt x="6558" y="3225"/>
                    </a:lnTo>
                    <a:lnTo>
                      <a:pt x="6449" y="3227"/>
                    </a:lnTo>
                    <a:lnTo>
                      <a:pt x="6339" y="3229"/>
                    </a:lnTo>
                    <a:lnTo>
                      <a:pt x="6229" y="3226"/>
                    </a:lnTo>
                    <a:lnTo>
                      <a:pt x="6174" y="3225"/>
                    </a:lnTo>
                    <a:lnTo>
                      <a:pt x="6118" y="3222"/>
                    </a:lnTo>
                    <a:lnTo>
                      <a:pt x="6062" y="3219"/>
                    </a:lnTo>
                    <a:lnTo>
                      <a:pt x="6007" y="3216"/>
                    </a:lnTo>
                    <a:lnTo>
                      <a:pt x="5952" y="3210"/>
                    </a:lnTo>
                    <a:lnTo>
                      <a:pt x="5897" y="3205"/>
                    </a:lnTo>
                    <a:lnTo>
                      <a:pt x="5842" y="3198"/>
                    </a:lnTo>
                    <a:lnTo>
                      <a:pt x="5787" y="3190"/>
                    </a:lnTo>
                    <a:lnTo>
                      <a:pt x="5732" y="3181"/>
                    </a:lnTo>
                    <a:lnTo>
                      <a:pt x="5678" y="3171"/>
                    </a:lnTo>
                    <a:lnTo>
                      <a:pt x="5623" y="3161"/>
                    </a:lnTo>
                    <a:lnTo>
                      <a:pt x="5569" y="3148"/>
                    </a:lnTo>
                    <a:lnTo>
                      <a:pt x="5516" y="3135"/>
                    </a:lnTo>
                    <a:lnTo>
                      <a:pt x="5462" y="3120"/>
                    </a:lnTo>
                    <a:lnTo>
                      <a:pt x="5409" y="3103"/>
                    </a:lnTo>
                    <a:lnTo>
                      <a:pt x="5356" y="3085"/>
                    </a:lnTo>
                    <a:lnTo>
                      <a:pt x="5304" y="3066"/>
                    </a:lnTo>
                    <a:lnTo>
                      <a:pt x="5253" y="3045"/>
                    </a:lnTo>
                    <a:lnTo>
                      <a:pt x="5201" y="3022"/>
                    </a:lnTo>
                    <a:lnTo>
                      <a:pt x="5150" y="2999"/>
                    </a:lnTo>
                    <a:lnTo>
                      <a:pt x="5064" y="2955"/>
                    </a:lnTo>
                    <a:lnTo>
                      <a:pt x="4970" y="2910"/>
                    </a:lnTo>
                    <a:lnTo>
                      <a:pt x="4868" y="2860"/>
                    </a:lnTo>
                    <a:lnTo>
                      <a:pt x="4761" y="2808"/>
                    </a:lnTo>
                    <a:lnTo>
                      <a:pt x="4649" y="2754"/>
                    </a:lnTo>
                    <a:lnTo>
                      <a:pt x="4535" y="2699"/>
                    </a:lnTo>
                    <a:lnTo>
                      <a:pt x="4419" y="2642"/>
                    </a:lnTo>
                    <a:lnTo>
                      <a:pt x="4302" y="2586"/>
                    </a:lnTo>
                    <a:lnTo>
                      <a:pt x="4187" y="2531"/>
                    </a:lnTo>
                    <a:lnTo>
                      <a:pt x="4075" y="2476"/>
                    </a:lnTo>
                    <a:lnTo>
                      <a:pt x="3965" y="2424"/>
                    </a:lnTo>
                    <a:lnTo>
                      <a:pt x="3861" y="2374"/>
                    </a:lnTo>
                    <a:lnTo>
                      <a:pt x="3764" y="2327"/>
                    </a:lnTo>
                    <a:lnTo>
                      <a:pt x="3674" y="2284"/>
                    </a:lnTo>
                    <a:lnTo>
                      <a:pt x="3593" y="2245"/>
                    </a:lnTo>
                    <a:lnTo>
                      <a:pt x="3523" y="2212"/>
                    </a:lnTo>
                    <a:lnTo>
                      <a:pt x="3428" y="2166"/>
                    </a:lnTo>
                    <a:lnTo>
                      <a:pt x="3422" y="2167"/>
                    </a:lnTo>
                    <a:lnTo>
                      <a:pt x="3415" y="2170"/>
                    </a:lnTo>
                    <a:lnTo>
                      <a:pt x="3404" y="2174"/>
                    </a:lnTo>
                    <a:lnTo>
                      <a:pt x="3392" y="2180"/>
                    </a:lnTo>
                    <a:lnTo>
                      <a:pt x="3376" y="2188"/>
                    </a:lnTo>
                    <a:lnTo>
                      <a:pt x="3359" y="2200"/>
                    </a:lnTo>
                    <a:lnTo>
                      <a:pt x="3339" y="2214"/>
                    </a:lnTo>
                    <a:lnTo>
                      <a:pt x="3319" y="2232"/>
                    </a:lnTo>
                    <a:lnTo>
                      <a:pt x="3295" y="2254"/>
                    </a:lnTo>
                    <a:lnTo>
                      <a:pt x="3270" y="2280"/>
                    </a:lnTo>
                    <a:lnTo>
                      <a:pt x="3243" y="2311"/>
                    </a:lnTo>
                    <a:lnTo>
                      <a:pt x="3215" y="2348"/>
                    </a:lnTo>
                    <a:lnTo>
                      <a:pt x="3201" y="2368"/>
                    </a:lnTo>
                    <a:lnTo>
                      <a:pt x="3186" y="2390"/>
                    </a:lnTo>
                    <a:lnTo>
                      <a:pt x="3171" y="2414"/>
                    </a:lnTo>
                    <a:lnTo>
                      <a:pt x="3155" y="2438"/>
                    </a:lnTo>
                    <a:lnTo>
                      <a:pt x="3138" y="2464"/>
                    </a:lnTo>
                    <a:lnTo>
                      <a:pt x="3123" y="2492"/>
                    </a:lnTo>
                    <a:lnTo>
                      <a:pt x="3106" y="2523"/>
                    </a:lnTo>
                    <a:lnTo>
                      <a:pt x="3090" y="2554"/>
                    </a:lnTo>
                    <a:lnTo>
                      <a:pt x="3072" y="2618"/>
                    </a:lnTo>
                    <a:lnTo>
                      <a:pt x="3051" y="2693"/>
                    </a:lnTo>
                    <a:lnTo>
                      <a:pt x="3023" y="2780"/>
                    </a:lnTo>
                    <a:lnTo>
                      <a:pt x="2991" y="2875"/>
                    </a:lnTo>
                    <a:lnTo>
                      <a:pt x="2956" y="2977"/>
                    </a:lnTo>
                    <a:lnTo>
                      <a:pt x="2918" y="3085"/>
                    </a:lnTo>
                    <a:lnTo>
                      <a:pt x="2876" y="3197"/>
                    </a:lnTo>
                    <a:lnTo>
                      <a:pt x="2833" y="3312"/>
                    </a:lnTo>
                    <a:lnTo>
                      <a:pt x="2788" y="3426"/>
                    </a:lnTo>
                    <a:lnTo>
                      <a:pt x="2742" y="3539"/>
                    </a:lnTo>
                    <a:lnTo>
                      <a:pt x="2696" y="3650"/>
                    </a:lnTo>
                    <a:lnTo>
                      <a:pt x="2649" y="3755"/>
                    </a:lnTo>
                    <a:lnTo>
                      <a:pt x="2626" y="3805"/>
                    </a:lnTo>
                    <a:lnTo>
                      <a:pt x="2603" y="3855"/>
                    </a:lnTo>
                    <a:lnTo>
                      <a:pt x="2581" y="3901"/>
                    </a:lnTo>
                    <a:lnTo>
                      <a:pt x="2558" y="3945"/>
                    </a:lnTo>
                    <a:lnTo>
                      <a:pt x="2537" y="3987"/>
                    </a:lnTo>
                    <a:lnTo>
                      <a:pt x="2515" y="4026"/>
                    </a:lnTo>
                    <a:lnTo>
                      <a:pt x="2495" y="4063"/>
                    </a:lnTo>
                    <a:lnTo>
                      <a:pt x="2475" y="4096"/>
                    </a:lnTo>
                    <a:lnTo>
                      <a:pt x="2466" y="4112"/>
                    </a:lnTo>
                    <a:lnTo>
                      <a:pt x="2456" y="4127"/>
                    </a:lnTo>
                    <a:lnTo>
                      <a:pt x="2445" y="4142"/>
                    </a:lnTo>
                    <a:lnTo>
                      <a:pt x="2433" y="4158"/>
                    </a:lnTo>
                    <a:lnTo>
                      <a:pt x="2400" y="4158"/>
                    </a:lnTo>
                    <a:lnTo>
                      <a:pt x="2414" y="4139"/>
                    </a:lnTo>
                    <a:lnTo>
                      <a:pt x="2428" y="4119"/>
                    </a:lnTo>
                    <a:lnTo>
                      <a:pt x="2441" y="4101"/>
                    </a:lnTo>
                    <a:lnTo>
                      <a:pt x="2452" y="4082"/>
                    </a:lnTo>
                    <a:lnTo>
                      <a:pt x="2472" y="4049"/>
                    </a:lnTo>
                    <a:lnTo>
                      <a:pt x="2493" y="4012"/>
                    </a:lnTo>
                    <a:lnTo>
                      <a:pt x="2513" y="3973"/>
                    </a:lnTo>
                    <a:lnTo>
                      <a:pt x="2536" y="3931"/>
                    </a:lnTo>
                    <a:lnTo>
                      <a:pt x="2557" y="3887"/>
                    </a:lnTo>
                    <a:lnTo>
                      <a:pt x="2580" y="3841"/>
                    </a:lnTo>
                    <a:lnTo>
                      <a:pt x="2603" y="3792"/>
                    </a:lnTo>
                    <a:lnTo>
                      <a:pt x="2625" y="3742"/>
                    </a:lnTo>
                    <a:lnTo>
                      <a:pt x="2672" y="3637"/>
                    </a:lnTo>
                    <a:lnTo>
                      <a:pt x="2718" y="3527"/>
                    </a:lnTo>
                    <a:lnTo>
                      <a:pt x="2764" y="3414"/>
                    </a:lnTo>
                    <a:lnTo>
                      <a:pt x="2809" y="3300"/>
                    </a:lnTo>
                    <a:lnTo>
                      <a:pt x="2852" y="3185"/>
                    </a:lnTo>
                    <a:lnTo>
                      <a:pt x="2893" y="3074"/>
                    </a:lnTo>
                    <a:lnTo>
                      <a:pt x="2931" y="2966"/>
                    </a:lnTo>
                    <a:lnTo>
                      <a:pt x="2967" y="2865"/>
                    </a:lnTo>
                    <a:lnTo>
                      <a:pt x="2998" y="2770"/>
                    </a:lnTo>
                    <a:lnTo>
                      <a:pt x="3025" y="2683"/>
                    </a:lnTo>
                    <a:lnTo>
                      <a:pt x="3047" y="2609"/>
                    </a:lnTo>
                    <a:lnTo>
                      <a:pt x="3064" y="2545"/>
                    </a:lnTo>
                    <a:lnTo>
                      <a:pt x="3064" y="2544"/>
                    </a:lnTo>
                    <a:lnTo>
                      <a:pt x="3065" y="2543"/>
                    </a:lnTo>
                    <a:lnTo>
                      <a:pt x="3083" y="2507"/>
                    </a:lnTo>
                    <a:lnTo>
                      <a:pt x="3103" y="2473"/>
                    </a:lnTo>
                    <a:lnTo>
                      <a:pt x="3121" y="2442"/>
                    </a:lnTo>
                    <a:lnTo>
                      <a:pt x="3138" y="2412"/>
                    </a:lnTo>
                    <a:lnTo>
                      <a:pt x="3157" y="2385"/>
                    </a:lnTo>
                    <a:lnTo>
                      <a:pt x="3174" y="2360"/>
                    </a:lnTo>
                    <a:lnTo>
                      <a:pt x="3190" y="2336"/>
                    </a:lnTo>
                    <a:lnTo>
                      <a:pt x="3206" y="2314"/>
                    </a:lnTo>
                    <a:lnTo>
                      <a:pt x="3223" y="2294"/>
                    </a:lnTo>
                    <a:lnTo>
                      <a:pt x="3239" y="2275"/>
                    </a:lnTo>
                    <a:lnTo>
                      <a:pt x="3254" y="2258"/>
                    </a:lnTo>
                    <a:lnTo>
                      <a:pt x="3268" y="2242"/>
                    </a:lnTo>
                    <a:lnTo>
                      <a:pt x="3282" y="2228"/>
                    </a:lnTo>
                    <a:lnTo>
                      <a:pt x="3296" y="2215"/>
                    </a:lnTo>
                    <a:lnTo>
                      <a:pt x="3309" y="2204"/>
                    </a:lnTo>
                    <a:lnTo>
                      <a:pt x="3321" y="2193"/>
                    </a:lnTo>
                    <a:lnTo>
                      <a:pt x="3345" y="2176"/>
                    </a:lnTo>
                    <a:lnTo>
                      <a:pt x="3365" y="2163"/>
                    </a:lnTo>
                    <a:lnTo>
                      <a:pt x="3383" y="2153"/>
                    </a:lnTo>
                    <a:lnTo>
                      <a:pt x="3399" y="2147"/>
                    </a:lnTo>
                    <a:lnTo>
                      <a:pt x="3420" y="2140"/>
                    </a:lnTo>
                    <a:lnTo>
                      <a:pt x="3430" y="2139"/>
                    </a:lnTo>
                    <a:lnTo>
                      <a:pt x="3433" y="2139"/>
                    </a:lnTo>
                    <a:lnTo>
                      <a:pt x="3436" y="2140"/>
                    </a:lnTo>
                    <a:lnTo>
                      <a:pt x="3535" y="2188"/>
                    </a:lnTo>
                    <a:lnTo>
                      <a:pt x="3605" y="2221"/>
                    </a:lnTo>
                    <a:lnTo>
                      <a:pt x="3686" y="2260"/>
                    </a:lnTo>
                    <a:lnTo>
                      <a:pt x="3775" y="2302"/>
                    </a:lnTo>
                    <a:lnTo>
                      <a:pt x="3873" y="2350"/>
                    </a:lnTo>
                    <a:lnTo>
                      <a:pt x="3976" y="2400"/>
                    </a:lnTo>
                    <a:lnTo>
                      <a:pt x="4086" y="2452"/>
                    </a:lnTo>
                    <a:lnTo>
                      <a:pt x="4199" y="2506"/>
                    </a:lnTo>
                    <a:lnTo>
                      <a:pt x="4314" y="2563"/>
                    </a:lnTo>
                    <a:lnTo>
                      <a:pt x="4431" y="2619"/>
                    </a:lnTo>
                    <a:lnTo>
                      <a:pt x="4546" y="2675"/>
                    </a:lnTo>
                    <a:lnTo>
                      <a:pt x="4661" y="2730"/>
                    </a:lnTo>
                    <a:lnTo>
                      <a:pt x="4773" y="2784"/>
                    </a:lnTo>
                    <a:lnTo>
                      <a:pt x="4880" y="2836"/>
                    </a:lnTo>
                    <a:lnTo>
                      <a:pt x="4982" y="2885"/>
                    </a:lnTo>
                    <a:lnTo>
                      <a:pt x="5075" y="2932"/>
                    </a:lnTo>
                    <a:lnTo>
                      <a:pt x="5162" y="2974"/>
                    </a:lnTo>
                    <a:lnTo>
                      <a:pt x="5213" y="2998"/>
                    </a:lnTo>
                    <a:lnTo>
                      <a:pt x="5263" y="3020"/>
                    </a:lnTo>
                    <a:lnTo>
                      <a:pt x="5314" y="3041"/>
                    </a:lnTo>
                    <a:lnTo>
                      <a:pt x="5366" y="3060"/>
                    </a:lnTo>
                    <a:lnTo>
                      <a:pt x="5418" y="3077"/>
                    </a:lnTo>
                    <a:lnTo>
                      <a:pt x="5471" y="3094"/>
                    </a:lnTo>
                    <a:lnTo>
                      <a:pt x="5524" y="3109"/>
                    </a:lnTo>
                    <a:lnTo>
                      <a:pt x="5578" y="3122"/>
                    </a:lnTo>
                    <a:lnTo>
                      <a:pt x="5631" y="3135"/>
                    </a:lnTo>
                    <a:lnTo>
                      <a:pt x="5685" y="3145"/>
                    </a:lnTo>
                    <a:lnTo>
                      <a:pt x="5738" y="3155"/>
                    </a:lnTo>
                    <a:lnTo>
                      <a:pt x="5792" y="3164"/>
                    </a:lnTo>
                    <a:lnTo>
                      <a:pt x="5848" y="3171"/>
                    </a:lnTo>
                    <a:lnTo>
                      <a:pt x="5903" y="3178"/>
                    </a:lnTo>
                    <a:lnTo>
                      <a:pt x="5957" y="3183"/>
                    </a:lnTo>
                    <a:lnTo>
                      <a:pt x="6012" y="3189"/>
                    </a:lnTo>
                    <a:lnTo>
                      <a:pt x="6067" y="3192"/>
                    </a:lnTo>
                    <a:lnTo>
                      <a:pt x="6122" y="3195"/>
                    </a:lnTo>
                    <a:lnTo>
                      <a:pt x="6177" y="3198"/>
                    </a:lnTo>
                    <a:lnTo>
                      <a:pt x="6231" y="3199"/>
                    </a:lnTo>
                    <a:lnTo>
                      <a:pt x="6341" y="3202"/>
                    </a:lnTo>
                    <a:lnTo>
                      <a:pt x="6450" y="3201"/>
                    </a:lnTo>
                    <a:lnTo>
                      <a:pt x="6558" y="3198"/>
                    </a:lnTo>
                    <a:lnTo>
                      <a:pt x="6666" y="3195"/>
                    </a:lnTo>
                    <a:lnTo>
                      <a:pt x="6772" y="3191"/>
                    </a:lnTo>
                    <a:lnTo>
                      <a:pt x="6877" y="3186"/>
                    </a:lnTo>
                    <a:lnTo>
                      <a:pt x="6919" y="3185"/>
                    </a:lnTo>
                    <a:lnTo>
                      <a:pt x="6974" y="3182"/>
                    </a:lnTo>
                    <a:lnTo>
                      <a:pt x="7028" y="3177"/>
                    </a:lnTo>
                    <a:lnTo>
                      <a:pt x="7081" y="3170"/>
                    </a:lnTo>
                    <a:lnTo>
                      <a:pt x="7134" y="3163"/>
                    </a:lnTo>
                    <a:lnTo>
                      <a:pt x="7185" y="3153"/>
                    </a:lnTo>
                    <a:lnTo>
                      <a:pt x="7236" y="3142"/>
                    </a:lnTo>
                    <a:lnTo>
                      <a:pt x="7286" y="3131"/>
                    </a:lnTo>
                    <a:lnTo>
                      <a:pt x="7336" y="3118"/>
                    </a:lnTo>
                    <a:lnTo>
                      <a:pt x="7384" y="3106"/>
                    </a:lnTo>
                    <a:lnTo>
                      <a:pt x="7432" y="3091"/>
                    </a:lnTo>
                    <a:lnTo>
                      <a:pt x="7479" y="3077"/>
                    </a:lnTo>
                    <a:lnTo>
                      <a:pt x="7526" y="3062"/>
                    </a:lnTo>
                    <a:lnTo>
                      <a:pt x="7571" y="3047"/>
                    </a:lnTo>
                    <a:lnTo>
                      <a:pt x="7616" y="3032"/>
                    </a:lnTo>
                    <a:lnTo>
                      <a:pt x="7661" y="3017"/>
                    </a:lnTo>
                    <a:lnTo>
                      <a:pt x="7704" y="3002"/>
                    </a:lnTo>
                    <a:lnTo>
                      <a:pt x="7747" y="2988"/>
                    </a:lnTo>
                    <a:lnTo>
                      <a:pt x="7790" y="2973"/>
                    </a:lnTo>
                    <a:lnTo>
                      <a:pt x="7832" y="2959"/>
                    </a:lnTo>
                    <a:lnTo>
                      <a:pt x="7873" y="2945"/>
                    </a:lnTo>
                    <a:lnTo>
                      <a:pt x="7914" y="2932"/>
                    </a:lnTo>
                    <a:lnTo>
                      <a:pt x="7954" y="2920"/>
                    </a:lnTo>
                    <a:lnTo>
                      <a:pt x="7994" y="2909"/>
                    </a:lnTo>
                    <a:lnTo>
                      <a:pt x="8033" y="2899"/>
                    </a:lnTo>
                    <a:lnTo>
                      <a:pt x="8062" y="2893"/>
                    </a:lnTo>
                    <a:lnTo>
                      <a:pt x="8091" y="2887"/>
                    </a:lnTo>
                    <a:lnTo>
                      <a:pt x="8118" y="2882"/>
                    </a:lnTo>
                    <a:lnTo>
                      <a:pt x="8145" y="2879"/>
                    </a:lnTo>
                    <a:lnTo>
                      <a:pt x="8172" y="2876"/>
                    </a:lnTo>
                    <a:lnTo>
                      <a:pt x="8197" y="2873"/>
                    </a:lnTo>
                    <a:lnTo>
                      <a:pt x="8222" y="2873"/>
                    </a:lnTo>
                    <a:lnTo>
                      <a:pt x="8246" y="2873"/>
                    </a:lnTo>
                    <a:lnTo>
                      <a:pt x="8266" y="2873"/>
                    </a:lnTo>
                    <a:lnTo>
                      <a:pt x="8287" y="2876"/>
                    </a:lnTo>
                    <a:lnTo>
                      <a:pt x="8307" y="2879"/>
                    </a:lnTo>
                    <a:lnTo>
                      <a:pt x="8328" y="2883"/>
                    </a:lnTo>
                    <a:lnTo>
                      <a:pt x="8348" y="2889"/>
                    </a:lnTo>
                    <a:lnTo>
                      <a:pt x="8369" y="2894"/>
                    </a:lnTo>
                    <a:lnTo>
                      <a:pt x="8389" y="2901"/>
                    </a:lnTo>
                    <a:lnTo>
                      <a:pt x="8410" y="2909"/>
                    </a:lnTo>
                    <a:lnTo>
                      <a:pt x="8430" y="2918"/>
                    </a:lnTo>
                    <a:lnTo>
                      <a:pt x="8450" y="2927"/>
                    </a:lnTo>
                    <a:lnTo>
                      <a:pt x="8470" y="2937"/>
                    </a:lnTo>
                    <a:lnTo>
                      <a:pt x="8491" y="2948"/>
                    </a:lnTo>
                    <a:lnTo>
                      <a:pt x="8531" y="2972"/>
                    </a:lnTo>
                    <a:lnTo>
                      <a:pt x="8571" y="2998"/>
                    </a:lnTo>
                    <a:lnTo>
                      <a:pt x="8610" y="3026"/>
                    </a:lnTo>
                    <a:lnTo>
                      <a:pt x="8649" y="3055"/>
                    </a:lnTo>
                    <a:lnTo>
                      <a:pt x="8687" y="3086"/>
                    </a:lnTo>
                    <a:lnTo>
                      <a:pt x="8726" y="3117"/>
                    </a:lnTo>
                    <a:lnTo>
                      <a:pt x="8801" y="3183"/>
                    </a:lnTo>
                    <a:lnTo>
                      <a:pt x="8874" y="3250"/>
                    </a:lnTo>
                    <a:lnTo>
                      <a:pt x="8916" y="3288"/>
                    </a:lnTo>
                    <a:lnTo>
                      <a:pt x="8957" y="3325"/>
                    </a:lnTo>
                    <a:lnTo>
                      <a:pt x="8997" y="3360"/>
                    </a:lnTo>
                    <a:lnTo>
                      <a:pt x="9037" y="3393"/>
                    </a:lnTo>
                    <a:lnTo>
                      <a:pt x="9075" y="3423"/>
                    </a:lnTo>
                    <a:lnTo>
                      <a:pt x="9112" y="3449"/>
                    </a:lnTo>
                    <a:lnTo>
                      <a:pt x="9130" y="3461"/>
                    </a:lnTo>
                    <a:lnTo>
                      <a:pt x="9147" y="3471"/>
                    </a:lnTo>
                    <a:lnTo>
                      <a:pt x="9165" y="3481"/>
                    </a:lnTo>
                    <a:lnTo>
                      <a:pt x="9182" y="3489"/>
                    </a:lnTo>
                    <a:lnTo>
                      <a:pt x="9412" y="3592"/>
                    </a:lnTo>
                    <a:lnTo>
                      <a:pt x="9423" y="3573"/>
                    </a:lnTo>
                    <a:lnTo>
                      <a:pt x="9437" y="3542"/>
                    </a:lnTo>
                    <a:lnTo>
                      <a:pt x="9445" y="3523"/>
                    </a:lnTo>
                    <a:lnTo>
                      <a:pt x="9454" y="3502"/>
                    </a:lnTo>
                    <a:lnTo>
                      <a:pt x="9464" y="3478"/>
                    </a:lnTo>
                    <a:lnTo>
                      <a:pt x="9472" y="3452"/>
                    </a:lnTo>
                    <a:lnTo>
                      <a:pt x="9482" y="3421"/>
                    </a:lnTo>
                    <a:lnTo>
                      <a:pt x="9492" y="3388"/>
                    </a:lnTo>
                    <a:lnTo>
                      <a:pt x="9501" y="3353"/>
                    </a:lnTo>
                    <a:lnTo>
                      <a:pt x="9508" y="3315"/>
                    </a:lnTo>
                    <a:lnTo>
                      <a:pt x="9515" y="3276"/>
                    </a:lnTo>
                    <a:lnTo>
                      <a:pt x="9521" y="3234"/>
                    </a:lnTo>
                    <a:lnTo>
                      <a:pt x="9525" y="3190"/>
                    </a:lnTo>
                    <a:lnTo>
                      <a:pt x="9529" y="3144"/>
                    </a:lnTo>
                    <a:lnTo>
                      <a:pt x="9530" y="3096"/>
                    </a:lnTo>
                    <a:lnTo>
                      <a:pt x="9529" y="3046"/>
                    </a:lnTo>
                    <a:lnTo>
                      <a:pt x="9526" y="2994"/>
                    </a:lnTo>
                    <a:lnTo>
                      <a:pt x="9521" y="2940"/>
                    </a:lnTo>
                    <a:lnTo>
                      <a:pt x="9518" y="2913"/>
                    </a:lnTo>
                    <a:lnTo>
                      <a:pt x="9515" y="2885"/>
                    </a:lnTo>
                    <a:lnTo>
                      <a:pt x="9509" y="2856"/>
                    </a:lnTo>
                    <a:lnTo>
                      <a:pt x="9504" y="2827"/>
                    </a:lnTo>
                    <a:lnTo>
                      <a:pt x="9498" y="2798"/>
                    </a:lnTo>
                    <a:lnTo>
                      <a:pt x="9492" y="2769"/>
                    </a:lnTo>
                    <a:lnTo>
                      <a:pt x="9484" y="2738"/>
                    </a:lnTo>
                    <a:lnTo>
                      <a:pt x="9476" y="2707"/>
                    </a:lnTo>
                    <a:lnTo>
                      <a:pt x="9457" y="2643"/>
                    </a:lnTo>
                    <a:lnTo>
                      <a:pt x="9437" y="2578"/>
                    </a:lnTo>
                    <a:lnTo>
                      <a:pt x="9415" y="2512"/>
                    </a:lnTo>
                    <a:lnTo>
                      <a:pt x="9392" y="2446"/>
                    </a:lnTo>
                    <a:lnTo>
                      <a:pt x="9367" y="2379"/>
                    </a:lnTo>
                    <a:lnTo>
                      <a:pt x="9340" y="2311"/>
                    </a:lnTo>
                    <a:lnTo>
                      <a:pt x="9312" y="2243"/>
                    </a:lnTo>
                    <a:lnTo>
                      <a:pt x="9281" y="2176"/>
                    </a:lnTo>
                    <a:lnTo>
                      <a:pt x="9249" y="2108"/>
                    </a:lnTo>
                    <a:lnTo>
                      <a:pt x="9215" y="2040"/>
                    </a:lnTo>
                    <a:lnTo>
                      <a:pt x="9181" y="1972"/>
                    </a:lnTo>
                    <a:lnTo>
                      <a:pt x="9144" y="1905"/>
                    </a:lnTo>
                    <a:lnTo>
                      <a:pt x="9105" y="1838"/>
                    </a:lnTo>
                    <a:lnTo>
                      <a:pt x="9065" y="1772"/>
                    </a:lnTo>
                    <a:lnTo>
                      <a:pt x="9024" y="1708"/>
                    </a:lnTo>
                    <a:lnTo>
                      <a:pt x="8980" y="1643"/>
                    </a:lnTo>
                    <a:lnTo>
                      <a:pt x="8936" y="1579"/>
                    </a:lnTo>
                    <a:lnTo>
                      <a:pt x="8888" y="1517"/>
                    </a:lnTo>
                    <a:lnTo>
                      <a:pt x="8841" y="1455"/>
                    </a:lnTo>
                    <a:lnTo>
                      <a:pt x="8790" y="1395"/>
                    </a:lnTo>
                    <a:lnTo>
                      <a:pt x="8738" y="1336"/>
                    </a:lnTo>
                    <a:lnTo>
                      <a:pt x="8685" y="1279"/>
                    </a:lnTo>
                    <a:lnTo>
                      <a:pt x="8630" y="1224"/>
                    </a:lnTo>
                    <a:lnTo>
                      <a:pt x="8574" y="1171"/>
                    </a:lnTo>
                    <a:lnTo>
                      <a:pt x="8516" y="1119"/>
                    </a:lnTo>
                    <a:lnTo>
                      <a:pt x="8455" y="1070"/>
                    </a:lnTo>
                    <a:lnTo>
                      <a:pt x="8394" y="1022"/>
                    </a:lnTo>
                    <a:lnTo>
                      <a:pt x="8330" y="978"/>
                    </a:lnTo>
                    <a:lnTo>
                      <a:pt x="8265" y="935"/>
                    </a:lnTo>
                    <a:lnTo>
                      <a:pt x="8198" y="895"/>
                    </a:lnTo>
                    <a:lnTo>
                      <a:pt x="8130" y="858"/>
                    </a:lnTo>
                    <a:lnTo>
                      <a:pt x="8060" y="823"/>
                    </a:lnTo>
                    <a:lnTo>
                      <a:pt x="7986" y="789"/>
                    </a:lnTo>
                    <a:lnTo>
                      <a:pt x="7912" y="759"/>
                    </a:lnTo>
                    <a:lnTo>
                      <a:pt x="7842" y="731"/>
                    </a:lnTo>
                    <a:lnTo>
                      <a:pt x="7775" y="706"/>
                    </a:lnTo>
                    <a:lnTo>
                      <a:pt x="7710" y="684"/>
                    </a:lnTo>
                    <a:lnTo>
                      <a:pt x="7648" y="665"/>
                    </a:lnTo>
                    <a:lnTo>
                      <a:pt x="7588" y="648"/>
                    </a:lnTo>
                    <a:lnTo>
                      <a:pt x="7531" y="634"/>
                    </a:lnTo>
                    <a:lnTo>
                      <a:pt x="7476" y="621"/>
                    </a:lnTo>
                    <a:lnTo>
                      <a:pt x="7423" y="611"/>
                    </a:lnTo>
                    <a:lnTo>
                      <a:pt x="7373" y="602"/>
                    </a:lnTo>
                    <a:lnTo>
                      <a:pt x="7326" y="596"/>
                    </a:lnTo>
                    <a:lnTo>
                      <a:pt x="7280" y="591"/>
                    </a:lnTo>
                    <a:lnTo>
                      <a:pt x="7238" y="588"/>
                    </a:lnTo>
                    <a:lnTo>
                      <a:pt x="7198" y="586"/>
                    </a:lnTo>
                    <a:lnTo>
                      <a:pt x="7161" y="586"/>
                    </a:lnTo>
                    <a:lnTo>
                      <a:pt x="7125" y="586"/>
                    </a:lnTo>
                    <a:lnTo>
                      <a:pt x="7092" y="588"/>
                    </a:lnTo>
                    <a:lnTo>
                      <a:pt x="7061" y="590"/>
                    </a:lnTo>
                    <a:lnTo>
                      <a:pt x="7032" y="594"/>
                    </a:lnTo>
                    <a:lnTo>
                      <a:pt x="7006" y="597"/>
                    </a:lnTo>
                    <a:lnTo>
                      <a:pt x="6982" y="601"/>
                    </a:lnTo>
                    <a:lnTo>
                      <a:pt x="6961" y="605"/>
                    </a:lnTo>
                    <a:lnTo>
                      <a:pt x="6942" y="610"/>
                    </a:lnTo>
                    <a:lnTo>
                      <a:pt x="6910" y="618"/>
                    </a:lnTo>
                    <a:lnTo>
                      <a:pt x="6887" y="627"/>
                    </a:lnTo>
                    <a:lnTo>
                      <a:pt x="6874" y="632"/>
                    </a:lnTo>
                    <a:lnTo>
                      <a:pt x="6869" y="635"/>
                    </a:lnTo>
                    <a:lnTo>
                      <a:pt x="6866" y="636"/>
                    </a:lnTo>
                    <a:lnTo>
                      <a:pt x="6863" y="636"/>
                    </a:lnTo>
                    <a:lnTo>
                      <a:pt x="6850" y="636"/>
                    </a:lnTo>
                    <a:lnTo>
                      <a:pt x="6818" y="632"/>
                    </a:lnTo>
                    <a:lnTo>
                      <a:pt x="6796" y="630"/>
                    </a:lnTo>
                    <a:lnTo>
                      <a:pt x="6769" y="626"/>
                    </a:lnTo>
                    <a:lnTo>
                      <a:pt x="6739" y="622"/>
                    </a:lnTo>
                    <a:lnTo>
                      <a:pt x="6706" y="615"/>
                    </a:lnTo>
                    <a:lnTo>
                      <a:pt x="6666" y="608"/>
                    </a:lnTo>
                    <a:lnTo>
                      <a:pt x="6627" y="598"/>
                    </a:lnTo>
                    <a:lnTo>
                      <a:pt x="6589" y="587"/>
                    </a:lnTo>
                    <a:lnTo>
                      <a:pt x="6552" y="576"/>
                    </a:lnTo>
                    <a:lnTo>
                      <a:pt x="6515" y="563"/>
                    </a:lnTo>
                    <a:lnTo>
                      <a:pt x="6478" y="550"/>
                    </a:lnTo>
                    <a:lnTo>
                      <a:pt x="6443" y="536"/>
                    </a:lnTo>
                    <a:lnTo>
                      <a:pt x="6408" y="520"/>
                    </a:lnTo>
                    <a:lnTo>
                      <a:pt x="6386" y="512"/>
                    </a:lnTo>
                    <a:lnTo>
                      <a:pt x="6362" y="502"/>
                    </a:lnTo>
                    <a:lnTo>
                      <a:pt x="6336" y="493"/>
                    </a:lnTo>
                    <a:lnTo>
                      <a:pt x="6309" y="485"/>
                    </a:lnTo>
                    <a:lnTo>
                      <a:pt x="6278" y="476"/>
                    </a:lnTo>
                    <a:lnTo>
                      <a:pt x="6247" y="467"/>
                    </a:lnTo>
                    <a:lnTo>
                      <a:pt x="6215" y="460"/>
                    </a:lnTo>
                    <a:lnTo>
                      <a:pt x="6180" y="452"/>
                    </a:lnTo>
                    <a:lnTo>
                      <a:pt x="6107" y="438"/>
                    </a:lnTo>
                    <a:lnTo>
                      <a:pt x="6028" y="425"/>
                    </a:lnTo>
                    <a:lnTo>
                      <a:pt x="5946" y="413"/>
                    </a:lnTo>
                    <a:lnTo>
                      <a:pt x="5859" y="404"/>
                    </a:lnTo>
                    <a:lnTo>
                      <a:pt x="5771" y="395"/>
                    </a:lnTo>
                    <a:lnTo>
                      <a:pt x="5680" y="387"/>
                    </a:lnTo>
                    <a:lnTo>
                      <a:pt x="5588" y="382"/>
                    </a:lnTo>
                    <a:lnTo>
                      <a:pt x="5496" y="379"/>
                    </a:lnTo>
                    <a:lnTo>
                      <a:pt x="5403" y="377"/>
                    </a:lnTo>
                    <a:lnTo>
                      <a:pt x="5312" y="377"/>
                    </a:lnTo>
                    <a:lnTo>
                      <a:pt x="5267" y="378"/>
                    </a:lnTo>
                    <a:lnTo>
                      <a:pt x="5222" y="379"/>
                    </a:lnTo>
                    <a:lnTo>
                      <a:pt x="5178" y="381"/>
                    </a:lnTo>
                    <a:lnTo>
                      <a:pt x="5135" y="383"/>
                    </a:lnTo>
                    <a:lnTo>
                      <a:pt x="5100" y="385"/>
                    </a:lnTo>
                    <a:lnTo>
                      <a:pt x="5067" y="385"/>
                    </a:lnTo>
                    <a:lnTo>
                      <a:pt x="5032" y="385"/>
                    </a:lnTo>
                    <a:lnTo>
                      <a:pt x="4998" y="384"/>
                    </a:lnTo>
                    <a:lnTo>
                      <a:pt x="4963" y="382"/>
                    </a:lnTo>
                    <a:lnTo>
                      <a:pt x="4930" y="380"/>
                    </a:lnTo>
                    <a:lnTo>
                      <a:pt x="4895" y="377"/>
                    </a:lnTo>
                    <a:lnTo>
                      <a:pt x="4861" y="372"/>
                    </a:lnTo>
                    <a:lnTo>
                      <a:pt x="4826" y="367"/>
                    </a:lnTo>
                    <a:lnTo>
                      <a:pt x="4793" y="361"/>
                    </a:lnTo>
                    <a:lnTo>
                      <a:pt x="4758" y="356"/>
                    </a:lnTo>
                    <a:lnTo>
                      <a:pt x="4725" y="349"/>
                    </a:lnTo>
                    <a:lnTo>
                      <a:pt x="4658" y="333"/>
                    </a:lnTo>
                    <a:lnTo>
                      <a:pt x="4591" y="317"/>
                    </a:lnTo>
                    <a:lnTo>
                      <a:pt x="4525" y="299"/>
                    </a:lnTo>
                    <a:lnTo>
                      <a:pt x="4461" y="279"/>
                    </a:lnTo>
                    <a:lnTo>
                      <a:pt x="4397" y="259"/>
                    </a:lnTo>
                    <a:lnTo>
                      <a:pt x="4336" y="238"/>
                    </a:lnTo>
                    <a:lnTo>
                      <a:pt x="4276" y="217"/>
                    </a:lnTo>
                    <a:lnTo>
                      <a:pt x="4219" y="195"/>
                    </a:lnTo>
                    <a:lnTo>
                      <a:pt x="4163" y="175"/>
                    </a:lnTo>
                    <a:lnTo>
                      <a:pt x="4109" y="154"/>
                    </a:lnTo>
                    <a:lnTo>
                      <a:pt x="4087" y="146"/>
                    </a:lnTo>
                    <a:lnTo>
                      <a:pt x="4065" y="137"/>
                    </a:lnTo>
                    <a:lnTo>
                      <a:pt x="4043" y="129"/>
                    </a:lnTo>
                    <a:lnTo>
                      <a:pt x="4023" y="122"/>
                    </a:lnTo>
                    <a:lnTo>
                      <a:pt x="4002" y="114"/>
                    </a:lnTo>
                    <a:lnTo>
                      <a:pt x="3982" y="107"/>
                    </a:lnTo>
                    <a:lnTo>
                      <a:pt x="3962" y="99"/>
                    </a:lnTo>
                    <a:lnTo>
                      <a:pt x="3944" y="93"/>
                    </a:lnTo>
                    <a:lnTo>
                      <a:pt x="3917" y="84"/>
                    </a:lnTo>
                    <a:lnTo>
                      <a:pt x="3884" y="76"/>
                    </a:lnTo>
                    <a:lnTo>
                      <a:pt x="3848" y="68"/>
                    </a:lnTo>
                    <a:lnTo>
                      <a:pt x="3807" y="60"/>
                    </a:lnTo>
                    <a:lnTo>
                      <a:pt x="3761" y="53"/>
                    </a:lnTo>
                    <a:lnTo>
                      <a:pt x="3713" y="46"/>
                    </a:lnTo>
                    <a:lnTo>
                      <a:pt x="3659" y="40"/>
                    </a:lnTo>
                    <a:lnTo>
                      <a:pt x="3603" y="34"/>
                    </a:lnTo>
                    <a:lnTo>
                      <a:pt x="3543" y="31"/>
                    </a:lnTo>
                    <a:lnTo>
                      <a:pt x="3481" y="28"/>
                    </a:lnTo>
                    <a:lnTo>
                      <a:pt x="3416" y="27"/>
                    </a:lnTo>
                    <a:lnTo>
                      <a:pt x="3349" y="27"/>
                    </a:lnTo>
                    <a:lnTo>
                      <a:pt x="3279" y="28"/>
                    </a:lnTo>
                    <a:lnTo>
                      <a:pt x="3208" y="31"/>
                    </a:lnTo>
                    <a:lnTo>
                      <a:pt x="3135" y="37"/>
                    </a:lnTo>
                    <a:lnTo>
                      <a:pt x="3062" y="44"/>
                    </a:lnTo>
                    <a:lnTo>
                      <a:pt x="2986" y="54"/>
                    </a:lnTo>
                    <a:lnTo>
                      <a:pt x="2910" y="66"/>
                    </a:lnTo>
                    <a:lnTo>
                      <a:pt x="2835" y="81"/>
                    </a:lnTo>
                    <a:lnTo>
                      <a:pt x="2758" y="98"/>
                    </a:lnTo>
                    <a:lnTo>
                      <a:pt x="2683" y="119"/>
                    </a:lnTo>
                    <a:lnTo>
                      <a:pt x="2606" y="141"/>
                    </a:lnTo>
                    <a:lnTo>
                      <a:pt x="2531" y="167"/>
                    </a:lnTo>
                    <a:lnTo>
                      <a:pt x="2457" y="196"/>
                    </a:lnTo>
                    <a:lnTo>
                      <a:pt x="2384" y="230"/>
                    </a:lnTo>
                    <a:lnTo>
                      <a:pt x="2312" y="265"/>
                    </a:lnTo>
                    <a:lnTo>
                      <a:pt x="2242" y="305"/>
                    </a:lnTo>
                    <a:lnTo>
                      <a:pt x="2174" y="350"/>
                    </a:lnTo>
                    <a:lnTo>
                      <a:pt x="2108" y="397"/>
                    </a:lnTo>
                    <a:lnTo>
                      <a:pt x="2046" y="450"/>
                    </a:lnTo>
                    <a:lnTo>
                      <a:pt x="1985" y="506"/>
                    </a:lnTo>
                    <a:lnTo>
                      <a:pt x="1928" y="567"/>
                    </a:lnTo>
                    <a:lnTo>
                      <a:pt x="1918" y="577"/>
                    </a:lnTo>
                    <a:lnTo>
                      <a:pt x="1899" y="601"/>
                    </a:lnTo>
                    <a:lnTo>
                      <a:pt x="1870" y="638"/>
                    </a:lnTo>
                    <a:lnTo>
                      <a:pt x="1833" y="687"/>
                    </a:lnTo>
                    <a:lnTo>
                      <a:pt x="1812" y="717"/>
                    </a:lnTo>
                    <a:lnTo>
                      <a:pt x="1790" y="749"/>
                    </a:lnTo>
                    <a:lnTo>
                      <a:pt x="1766" y="785"/>
                    </a:lnTo>
                    <a:lnTo>
                      <a:pt x="1741" y="823"/>
                    </a:lnTo>
                    <a:lnTo>
                      <a:pt x="1715" y="865"/>
                    </a:lnTo>
                    <a:lnTo>
                      <a:pt x="1688" y="909"/>
                    </a:lnTo>
                    <a:lnTo>
                      <a:pt x="1660" y="956"/>
                    </a:lnTo>
                    <a:lnTo>
                      <a:pt x="1632" y="1007"/>
                    </a:lnTo>
                    <a:lnTo>
                      <a:pt x="1603" y="1061"/>
                    </a:lnTo>
                    <a:lnTo>
                      <a:pt x="1574" y="1117"/>
                    </a:lnTo>
                    <a:lnTo>
                      <a:pt x="1543" y="1176"/>
                    </a:lnTo>
                    <a:lnTo>
                      <a:pt x="1514" y="1239"/>
                    </a:lnTo>
                    <a:lnTo>
                      <a:pt x="1484" y="1304"/>
                    </a:lnTo>
                    <a:lnTo>
                      <a:pt x="1455" y="1373"/>
                    </a:lnTo>
                    <a:lnTo>
                      <a:pt x="1426" y="1443"/>
                    </a:lnTo>
                    <a:lnTo>
                      <a:pt x="1398" y="1518"/>
                    </a:lnTo>
                    <a:lnTo>
                      <a:pt x="1370" y="1594"/>
                    </a:lnTo>
                    <a:lnTo>
                      <a:pt x="1343" y="1673"/>
                    </a:lnTo>
                    <a:lnTo>
                      <a:pt x="1316" y="1755"/>
                    </a:lnTo>
                    <a:lnTo>
                      <a:pt x="1291" y="1840"/>
                    </a:lnTo>
                    <a:lnTo>
                      <a:pt x="1267" y="1928"/>
                    </a:lnTo>
                    <a:lnTo>
                      <a:pt x="1244" y="2018"/>
                    </a:lnTo>
                    <a:lnTo>
                      <a:pt x="1223" y="2111"/>
                    </a:lnTo>
                    <a:lnTo>
                      <a:pt x="1203" y="2207"/>
                    </a:lnTo>
                    <a:lnTo>
                      <a:pt x="1191" y="2241"/>
                    </a:lnTo>
                    <a:lnTo>
                      <a:pt x="1177" y="2274"/>
                    </a:lnTo>
                    <a:lnTo>
                      <a:pt x="1163" y="2309"/>
                    </a:lnTo>
                    <a:lnTo>
                      <a:pt x="1147" y="2343"/>
                    </a:lnTo>
                    <a:lnTo>
                      <a:pt x="1131" y="2379"/>
                    </a:lnTo>
                    <a:lnTo>
                      <a:pt x="1113" y="2415"/>
                    </a:lnTo>
                    <a:lnTo>
                      <a:pt x="1094" y="2451"/>
                    </a:lnTo>
                    <a:lnTo>
                      <a:pt x="1075" y="2488"/>
                    </a:lnTo>
                    <a:lnTo>
                      <a:pt x="1034" y="2564"/>
                    </a:lnTo>
                    <a:lnTo>
                      <a:pt x="991" y="2640"/>
                    </a:lnTo>
                    <a:lnTo>
                      <a:pt x="944" y="2717"/>
                    </a:lnTo>
                    <a:lnTo>
                      <a:pt x="896" y="2796"/>
                    </a:lnTo>
                    <a:lnTo>
                      <a:pt x="847" y="2873"/>
                    </a:lnTo>
                    <a:lnTo>
                      <a:pt x="795" y="2952"/>
                    </a:lnTo>
                    <a:lnTo>
                      <a:pt x="744" y="3031"/>
                    </a:lnTo>
                    <a:lnTo>
                      <a:pt x="691" y="3108"/>
                    </a:lnTo>
                    <a:lnTo>
                      <a:pt x="640" y="3185"/>
                    </a:lnTo>
                    <a:lnTo>
                      <a:pt x="588" y="3261"/>
                    </a:lnTo>
                    <a:lnTo>
                      <a:pt x="537" y="3334"/>
                    </a:lnTo>
                    <a:lnTo>
                      <a:pt x="487" y="3407"/>
                    </a:lnTo>
                    <a:lnTo>
                      <a:pt x="425" y="3496"/>
                    </a:lnTo>
                    <a:lnTo>
                      <a:pt x="365" y="3583"/>
                    </a:lnTo>
                    <a:lnTo>
                      <a:pt x="309" y="3666"/>
                    </a:lnTo>
                    <a:lnTo>
                      <a:pt x="257" y="3743"/>
                    </a:lnTo>
                    <a:lnTo>
                      <a:pt x="210" y="3816"/>
                    </a:lnTo>
                    <a:lnTo>
                      <a:pt x="169" y="3884"/>
                    </a:lnTo>
                    <a:lnTo>
                      <a:pt x="149" y="3915"/>
                    </a:lnTo>
                    <a:lnTo>
                      <a:pt x="132" y="3945"/>
                    </a:lnTo>
                    <a:lnTo>
                      <a:pt x="117" y="3973"/>
                    </a:lnTo>
                    <a:lnTo>
                      <a:pt x="104" y="3999"/>
                    </a:lnTo>
                    <a:lnTo>
                      <a:pt x="91" y="4025"/>
                    </a:lnTo>
                    <a:lnTo>
                      <a:pt x="80" y="4049"/>
                    </a:lnTo>
                    <a:lnTo>
                      <a:pt x="69" y="4073"/>
                    </a:lnTo>
                    <a:lnTo>
                      <a:pt x="60" y="4095"/>
                    </a:lnTo>
                    <a:lnTo>
                      <a:pt x="52" y="4112"/>
                    </a:lnTo>
                    <a:lnTo>
                      <a:pt x="45" y="4127"/>
                    </a:lnTo>
                    <a:lnTo>
                      <a:pt x="38" y="4143"/>
                    </a:lnTo>
                    <a:lnTo>
                      <a:pt x="31" y="4158"/>
                    </a:lnTo>
                    <a:lnTo>
                      <a:pt x="0" y="4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12"/>
              <p:cNvSpPr>
                <a:spLocks noEditPoints="1"/>
              </p:cNvSpPr>
              <p:nvPr userDrawn="1"/>
            </p:nvSpPr>
            <p:spPr bwMode="auto">
              <a:xfrm>
                <a:off x="2432" y="3120"/>
                <a:ext cx="954" cy="1022"/>
              </a:xfrm>
              <a:custGeom>
                <a:avLst/>
                <a:gdLst>
                  <a:gd name="T0" fmla="*/ 2441 w 2862"/>
                  <a:gd name="T1" fmla="*/ 2937 h 3066"/>
                  <a:gd name="T2" fmla="*/ 2326 w 2862"/>
                  <a:gd name="T3" fmla="*/ 2857 h 3066"/>
                  <a:gd name="T4" fmla="*/ 2015 w 2862"/>
                  <a:gd name="T5" fmla="*/ 2582 h 3066"/>
                  <a:gd name="T6" fmla="*/ 1786 w 2862"/>
                  <a:gd name="T7" fmla="*/ 2416 h 3066"/>
                  <a:gd name="T8" fmla="*/ 1669 w 2862"/>
                  <a:gd name="T9" fmla="*/ 2363 h 3066"/>
                  <a:gd name="T10" fmla="*/ 1551 w 2862"/>
                  <a:gd name="T11" fmla="*/ 2342 h 3066"/>
                  <a:gd name="T12" fmla="*/ 1527 w 2862"/>
                  <a:gd name="T13" fmla="*/ 2323 h 3066"/>
                  <a:gd name="T14" fmla="*/ 1462 w 2862"/>
                  <a:gd name="T15" fmla="*/ 2164 h 3066"/>
                  <a:gd name="T16" fmla="*/ 1311 w 2862"/>
                  <a:gd name="T17" fmla="*/ 1781 h 3066"/>
                  <a:gd name="T18" fmla="*/ 1122 w 2862"/>
                  <a:gd name="T19" fmla="*/ 1390 h 3066"/>
                  <a:gd name="T20" fmla="*/ 850 w 2862"/>
                  <a:gd name="T21" fmla="*/ 950 h 3066"/>
                  <a:gd name="T22" fmla="*/ 483 w 2862"/>
                  <a:gd name="T23" fmla="*/ 493 h 3066"/>
                  <a:gd name="T24" fmla="*/ 6 w 2862"/>
                  <a:gd name="T25" fmla="*/ 55 h 3066"/>
                  <a:gd name="T26" fmla="*/ 8 w 2862"/>
                  <a:gd name="T27" fmla="*/ 32 h 3066"/>
                  <a:gd name="T28" fmla="*/ 164 w 2862"/>
                  <a:gd name="T29" fmla="*/ 51 h 3066"/>
                  <a:gd name="T30" fmla="*/ 294 w 2862"/>
                  <a:gd name="T31" fmla="*/ 14 h 3066"/>
                  <a:gd name="T32" fmla="*/ 466 w 2862"/>
                  <a:gd name="T33" fmla="*/ 0 h 3066"/>
                  <a:gd name="T34" fmla="*/ 778 w 2862"/>
                  <a:gd name="T35" fmla="*/ 33 h 3066"/>
                  <a:gd name="T36" fmla="*/ 1126 w 2862"/>
                  <a:gd name="T37" fmla="*/ 136 h 3066"/>
                  <a:gd name="T38" fmla="*/ 1516 w 2862"/>
                  <a:gd name="T39" fmla="*/ 313 h 3066"/>
                  <a:gd name="T40" fmla="*/ 1895 w 2862"/>
                  <a:gd name="T41" fmla="*/ 591 h 3066"/>
                  <a:gd name="T42" fmla="*/ 2214 w 2862"/>
                  <a:gd name="T43" fmla="*/ 940 h 3066"/>
                  <a:gd name="T44" fmla="*/ 2472 w 2862"/>
                  <a:gd name="T45" fmla="*/ 1333 h 3066"/>
                  <a:gd name="T46" fmla="*/ 2670 w 2862"/>
                  <a:gd name="T47" fmla="*/ 1742 h 3066"/>
                  <a:gd name="T48" fmla="*/ 2807 w 2862"/>
                  <a:gd name="T49" fmla="*/ 2143 h 3066"/>
                  <a:gd name="T50" fmla="*/ 2846 w 2862"/>
                  <a:gd name="T51" fmla="*/ 2323 h 3066"/>
                  <a:gd name="T52" fmla="*/ 2861 w 2862"/>
                  <a:gd name="T53" fmla="*/ 2587 h 3066"/>
                  <a:gd name="T54" fmla="*/ 2823 w 2862"/>
                  <a:gd name="T55" fmla="*/ 2837 h 3066"/>
                  <a:gd name="T56" fmla="*/ 2757 w 2862"/>
                  <a:gd name="T57" fmla="*/ 3017 h 3066"/>
                  <a:gd name="T58" fmla="*/ 2722 w 2862"/>
                  <a:gd name="T59" fmla="*/ 3066 h 3066"/>
                  <a:gd name="T60" fmla="*/ 1635 w 2862"/>
                  <a:gd name="T61" fmla="*/ 2325 h 3066"/>
                  <a:gd name="T62" fmla="*/ 1757 w 2862"/>
                  <a:gd name="T63" fmla="*/ 2369 h 3066"/>
                  <a:gd name="T64" fmla="*/ 1955 w 2862"/>
                  <a:gd name="T65" fmla="*/ 2498 h 3066"/>
                  <a:gd name="T66" fmla="*/ 2262 w 2862"/>
                  <a:gd name="T67" fmla="*/ 2767 h 3066"/>
                  <a:gd name="T68" fmla="*/ 2452 w 2862"/>
                  <a:gd name="T69" fmla="*/ 2913 h 3066"/>
                  <a:gd name="T70" fmla="*/ 2750 w 2862"/>
                  <a:gd name="T71" fmla="*/ 2965 h 3066"/>
                  <a:gd name="T72" fmla="*/ 2806 w 2862"/>
                  <a:gd name="T73" fmla="*/ 2795 h 3066"/>
                  <a:gd name="T74" fmla="*/ 2835 w 2862"/>
                  <a:gd name="T75" fmla="*/ 2538 h 3066"/>
                  <a:gd name="T76" fmla="*/ 2814 w 2862"/>
                  <a:gd name="T77" fmla="*/ 2298 h 3066"/>
                  <a:gd name="T78" fmla="*/ 2762 w 2862"/>
                  <a:gd name="T79" fmla="*/ 2085 h 3066"/>
                  <a:gd name="T80" fmla="*/ 2617 w 2862"/>
                  <a:gd name="T81" fmla="*/ 1685 h 3066"/>
                  <a:gd name="T82" fmla="*/ 2410 w 2862"/>
                  <a:gd name="T83" fmla="*/ 1280 h 3066"/>
                  <a:gd name="T84" fmla="*/ 2146 w 2862"/>
                  <a:gd name="T85" fmla="*/ 897 h 3066"/>
                  <a:gd name="T86" fmla="*/ 1821 w 2862"/>
                  <a:gd name="T87" fmla="*/ 561 h 3066"/>
                  <a:gd name="T88" fmla="*/ 1435 w 2862"/>
                  <a:gd name="T89" fmla="*/ 300 h 3066"/>
                  <a:gd name="T90" fmla="*/ 1004 w 2862"/>
                  <a:gd name="T91" fmla="*/ 123 h 3066"/>
                  <a:gd name="T92" fmla="*/ 668 w 2862"/>
                  <a:gd name="T93" fmla="*/ 42 h 3066"/>
                  <a:gd name="T94" fmla="*/ 430 w 2862"/>
                  <a:gd name="T95" fmla="*/ 27 h 3066"/>
                  <a:gd name="T96" fmla="*/ 266 w 2862"/>
                  <a:gd name="T97" fmla="*/ 46 h 3066"/>
                  <a:gd name="T98" fmla="*/ 171 w 2862"/>
                  <a:gd name="T99" fmla="*/ 78 h 3066"/>
                  <a:gd name="T100" fmla="*/ 150 w 2862"/>
                  <a:gd name="T101" fmla="*/ 137 h 3066"/>
                  <a:gd name="T102" fmla="*/ 596 w 2862"/>
                  <a:gd name="T103" fmla="*/ 580 h 3066"/>
                  <a:gd name="T104" fmla="*/ 939 w 2862"/>
                  <a:gd name="T105" fmla="*/ 1031 h 3066"/>
                  <a:gd name="T106" fmla="*/ 1189 w 2862"/>
                  <a:gd name="T107" fmla="*/ 1460 h 3066"/>
                  <a:gd name="T108" fmla="*/ 1363 w 2862"/>
                  <a:gd name="T109" fmla="*/ 1834 h 3066"/>
                  <a:gd name="T110" fmla="*/ 1509 w 2862"/>
                  <a:gd name="T111" fmla="*/ 2212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2" h="3066">
                    <a:moveTo>
                      <a:pt x="2722" y="3066"/>
                    </a:moveTo>
                    <a:lnTo>
                      <a:pt x="2719" y="3065"/>
                    </a:lnTo>
                    <a:lnTo>
                      <a:pt x="2717" y="3065"/>
                    </a:lnTo>
                    <a:lnTo>
                      <a:pt x="2476" y="2956"/>
                    </a:lnTo>
                    <a:lnTo>
                      <a:pt x="2458" y="2947"/>
                    </a:lnTo>
                    <a:lnTo>
                      <a:pt x="2441" y="2937"/>
                    </a:lnTo>
                    <a:lnTo>
                      <a:pt x="2422" y="2926"/>
                    </a:lnTo>
                    <a:lnTo>
                      <a:pt x="2404" y="2915"/>
                    </a:lnTo>
                    <a:lnTo>
                      <a:pt x="2384" y="2902"/>
                    </a:lnTo>
                    <a:lnTo>
                      <a:pt x="2365" y="2888"/>
                    </a:lnTo>
                    <a:lnTo>
                      <a:pt x="2346" y="2872"/>
                    </a:lnTo>
                    <a:lnTo>
                      <a:pt x="2326" y="2857"/>
                    </a:lnTo>
                    <a:lnTo>
                      <a:pt x="2286" y="2824"/>
                    </a:lnTo>
                    <a:lnTo>
                      <a:pt x="2245" y="2788"/>
                    </a:lnTo>
                    <a:lnTo>
                      <a:pt x="2203" y="2750"/>
                    </a:lnTo>
                    <a:lnTo>
                      <a:pt x="2161" y="2712"/>
                    </a:lnTo>
                    <a:lnTo>
                      <a:pt x="2090" y="2647"/>
                    </a:lnTo>
                    <a:lnTo>
                      <a:pt x="2015" y="2582"/>
                    </a:lnTo>
                    <a:lnTo>
                      <a:pt x="1978" y="2551"/>
                    </a:lnTo>
                    <a:lnTo>
                      <a:pt x="1941" y="2521"/>
                    </a:lnTo>
                    <a:lnTo>
                      <a:pt x="1902" y="2491"/>
                    </a:lnTo>
                    <a:lnTo>
                      <a:pt x="1864" y="2464"/>
                    </a:lnTo>
                    <a:lnTo>
                      <a:pt x="1825" y="2438"/>
                    </a:lnTo>
                    <a:lnTo>
                      <a:pt x="1786" y="2416"/>
                    </a:lnTo>
                    <a:lnTo>
                      <a:pt x="1767" y="2405"/>
                    </a:lnTo>
                    <a:lnTo>
                      <a:pt x="1747" y="2395"/>
                    </a:lnTo>
                    <a:lnTo>
                      <a:pt x="1727" y="2386"/>
                    </a:lnTo>
                    <a:lnTo>
                      <a:pt x="1707" y="2377"/>
                    </a:lnTo>
                    <a:lnTo>
                      <a:pt x="1688" y="2369"/>
                    </a:lnTo>
                    <a:lnTo>
                      <a:pt x="1669" y="2363"/>
                    </a:lnTo>
                    <a:lnTo>
                      <a:pt x="1649" y="2356"/>
                    </a:lnTo>
                    <a:lnTo>
                      <a:pt x="1630" y="2352"/>
                    </a:lnTo>
                    <a:lnTo>
                      <a:pt x="1609" y="2348"/>
                    </a:lnTo>
                    <a:lnTo>
                      <a:pt x="1590" y="2345"/>
                    </a:lnTo>
                    <a:lnTo>
                      <a:pt x="1570" y="2342"/>
                    </a:lnTo>
                    <a:lnTo>
                      <a:pt x="1551" y="2342"/>
                    </a:lnTo>
                    <a:lnTo>
                      <a:pt x="1547" y="2341"/>
                    </a:lnTo>
                    <a:lnTo>
                      <a:pt x="1542" y="2340"/>
                    </a:lnTo>
                    <a:lnTo>
                      <a:pt x="1539" y="2338"/>
                    </a:lnTo>
                    <a:lnTo>
                      <a:pt x="1535" y="2334"/>
                    </a:lnTo>
                    <a:lnTo>
                      <a:pt x="1530" y="2329"/>
                    </a:lnTo>
                    <a:lnTo>
                      <a:pt x="1527" y="2323"/>
                    </a:lnTo>
                    <a:lnTo>
                      <a:pt x="1523" y="2315"/>
                    </a:lnTo>
                    <a:lnTo>
                      <a:pt x="1517" y="2307"/>
                    </a:lnTo>
                    <a:lnTo>
                      <a:pt x="1508" y="2283"/>
                    </a:lnTo>
                    <a:lnTo>
                      <a:pt x="1495" y="2252"/>
                    </a:lnTo>
                    <a:lnTo>
                      <a:pt x="1480" y="2213"/>
                    </a:lnTo>
                    <a:lnTo>
                      <a:pt x="1462" y="2164"/>
                    </a:lnTo>
                    <a:lnTo>
                      <a:pt x="1434" y="2087"/>
                    </a:lnTo>
                    <a:lnTo>
                      <a:pt x="1400" y="1997"/>
                    </a:lnTo>
                    <a:lnTo>
                      <a:pt x="1380" y="1946"/>
                    </a:lnTo>
                    <a:lnTo>
                      <a:pt x="1359" y="1894"/>
                    </a:lnTo>
                    <a:lnTo>
                      <a:pt x="1336" y="1839"/>
                    </a:lnTo>
                    <a:lnTo>
                      <a:pt x="1311" y="1781"/>
                    </a:lnTo>
                    <a:lnTo>
                      <a:pt x="1285" y="1721"/>
                    </a:lnTo>
                    <a:lnTo>
                      <a:pt x="1256" y="1659"/>
                    </a:lnTo>
                    <a:lnTo>
                      <a:pt x="1226" y="1594"/>
                    </a:lnTo>
                    <a:lnTo>
                      <a:pt x="1193" y="1528"/>
                    </a:lnTo>
                    <a:lnTo>
                      <a:pt x="1159" y="1460"/>
                    </a:lnTo>
                    <a:lnTo>
                      <a:pt x="1122" y="1390"/>
                    </a:lnTo>
                    <a:lnTo>
                      <a:pt x="1082" y="1320"/>
                    </a:lnTo>
                    <a:lnTo>
                      <a:pt x="1041" y="1248"/>
                    </a:lnTo>
                    <a:lnTo>
                      <a:pt x="997" y="1174"/>
                    </a:lnTo>
                    <a:lnTo>
                      <a:pt x="950" y="1100"/>
                    </a:lnTo>
                    <a:lnTo>
                      <a:pt x="902" y="1025"/>
                    </a:lnTo>
                    <a:lnTo>
                      <a:pt x="850" y="950"/>
                    </a:lnTo>
                    <a:lnTo>
                      <a:pt x="796" y="874"/>
                    </a:lnTo>
                    <a:lnTo>
                      <a:pt x="740" y="798"/>
                    </a:lnTo>
                    <a:lnTo>
                      <a:pt x="679" y="721"/>
                    </a:lnTo>
                    <a:lnTo>
                      <a:pt x="617" y="645"/>
                    </a:lnTo>
                    <a:lnTo>
                      <a:pt x="552" y="569"/>
                    </a:lnTo>
                    <a:lnTo>
                      <a:pt x="483" y="493"/>
                    </a:lnTo>
                    <a:lnTo>
                      <a:pt x="412" y="418"/>
                    </a:lnTo>
                    <a:lnTo>
                      <a:pt x="337" y="343"/>
                    </a:lnTo>
                    <a:lnTo>
                      <a:pt x="259" y="270"/>
                    </a:lnTo>
                    <a:lnTo>
                      <a:pt x="178" y="196"/>
                    </a:lnTo>
                    <a:lnTo>
                      <a:pt x="93" y="125"/>
                    </a:lnTo>
                    <a:lnTo>
                      <a:pt x="6" y="55"/>
                    </a:lnTo>
                    <a:lnTo>
                      <a:pt x="2" y="52"/>
                    </a:lnTo>
                    <a:lnTo>
                      <a:pt x="0" y="47"/>
                    </a:lnTo>
                    <a:lnTo>
                      <a:pt x="0" y="43"/>
                    </a:lnTo>
                    <a:lnTo>
                      <a:pt x="1" y="39"/>
                    </a:lnTo>
                    <a:lnTo>
                      <a:pt x="3" y="34"/>
                    </a:lnTo>
                    <a:lnTo>
                      <a:pt x="8" y="32"/>
                    </a:lnTo>
                    <a:lnTo>
                      <a:pt x="12" y="31"/>
                    </a:lnTo>
                    <a:lnTo>
                      <a:pt x="16" y="31"/>
                    </a:lnTo>
                    <a:lnTo>
                      <a:pt x="70" y="41"/>
                    </a:lnTo>
                    <a:lnTo>
                      <a:pt x="115" y="46"/>
                    </a:lnTo>
                    <a:lnTo>
                      <a:pt x="147" y="50"/>
                    </a:lnTo>
                    <a:lnTo>
                      <a:pt x="164" y="51"/>
                    </a:lnTo>
                    <a:lnTo>
                      <a:pt x="175" y="46"/>
                    </a:lnTo>
                    <a:lnTo>
                      <a:pt x="193" y="39"/>
                    </a:lnTo>
                    <a:lnTo>
                      <a:pt x="219" y="30"/>
                    </a:lnTo>
                    <a:lnTo>
                      <a:pt x="253" y="22"/>
                    </a:lnTo>
                    <a:lnTo>
                      <a:pt x="272" y="17"/>
                    </a:lnTo>
                    <a:lnTo>
                      <a:pt x="294" y="14"/>
                    </a:lnTo>
                    <a:lnTo>
                      <a:pt x="318" y="10"/>
                    </a:lnTo>
                    <a:lnTo>
                      <a:pt x="344" y="6"/>
                    </a:lnTo>
                    <a:lnTo>
                      <a:pt x="371" y="3"/>
                    </a:lnTo>
                    <a:lnTo>
                      <a:pt x="401" y="1"/>
                    </a:lnTo>
                    <a:lnTo>
                      <a:pt x="432" y="0"/>
                    </a:lnTo>
                    <a:lnTo>
                      <a:pt x="466" y="0"/>
                    </a:lnTo>
                    <a:lnTo>
                      <a:pt x="515" y="1"/>
                    </a:lnTo>
                    <a:lnTo>
                      <a:pt x="566" y="3"/>
                    </a:lnTo>
                    <a:lnTo>
                      <a:pt x="617" y="9"/>
                    </a:lnTo>
                    <a:lnTo>
                      <a:pt x="670" y="15"/>
                    </a:lnTo>
                    <a:lnTo>
                      <a:pt x="724" y="24"/>
                    </a:lnTo>
                    <a:lnTo>
                      <a:pt x="778" y="33"/>
                    </a:lnTo>
                    <a:lnTo>
                      <a:pt x="834" y="46"/>
                    </a:lnTo>
                    <a:lnTo>
                      <a:pt x="890" y="60"/>
                    </a:lnTo>
                    <a:lnTo>
                      <a:pt x="948" y="77"/>
                    </a:lnTo>
                    <a:lnTo>
                      <a:pt x="1007" y="94"/>
                    </a:lnTo>
                    <a:lnTo>
                      <a:pt x="1066" y="114"/>
                    </a:lnTo>
                    <a:lnTo>
                      <a:pt x="1126" y="136"/>
                    </a:lnTo>
                    <a:lnTo>
                      <a:pt x="1188" y="160"/>
                    </a:lnTo>
                    <a:lnTo>
                      <a:pt x="1250" y="185"/>
                    </a:lnTo>
                    <a:lnTo>
                      <a:pt x="1313" y="212"/>
                    </a:lnTo>
                    <a:lnTo>
                      <a:pt x="1377" y="241"/>
                    </a:lnTo>
                    <a:lnTo>
                      <a:pt x="1447" y="276"/>
                    </a:lnTo>
                    <a:lnTo>
                      <a:pt x="1516" y="313"/>
                    </a:lnTo>
                    <a:lnTo>
                      <a:pt x="1584" y="354"/>
                    </a:lnTo>
                    <a:lnTo>
                      <a:pt x="1649" y="397"/>
                    </a:lnTo>
                    <a:lnTo>
                      <a:pt x="1714" y="443"/>
                    </a:lnTo>
                    <a:lnTo>
                      <a:pt x="1777" y="490"/>
                    </a:lnTo>
                    <a:lnTo>
                      <a:pt x="1837" y="540"/>
                    </a:lnTo>
                    <a:lnTo>
                      <a:pt x="1895" y="591"/>
                    </a:lnTo>
                    <a:lnTo>
                      <a:pt x="1953" y="645"/>
                    </a:lnTo>
                    <a:lnTo>
                      <a:pt x="2009" y="702"/>
                    </a:lnTo>
                    <a:lnTo>
                      <a:pt x="2063" y="759"/>
                    </a:lnTo>
                    <a:lnTo>
                      <a:pt x="2114" y="818"/>
                    </a:lnTo>
                    <a:lnTo>
                      <a:pt x="2165" y="879"/>
                    </a:lnTo>
                    <a:lnTo>
                      <a:pt x="2214" y="940"/>
                    </a:lnTo>
                    <a:lnTo>
                      <a:pt x="2261" y="1004"/>
                    </a:lnTo>
                    <a:lnTo>
                      <a:pt x="2307" y="1068"/>
                    </a:lnTo>
                    <a:lnTo>
                      <a:pt x="2351" y="1133"/>
                    </a:lnTo>
                    <a:lnTo>
                      <a:pt x="2393" y="1199"/>
                    </a:lnTo>
                    <a:lnTo>
                      <a:pt x="2433" y="1266"/>
                    </a:lnTo>
                    <a:lnTo>
                      <a:pt x="2472" y="1333"/>
                    </a:lnTo>
                    <a:lnTo>
                      <a:pt x="2509" y="1401"/>
                    </a:lnTo>
                    <a:lnTo>
                      <a:pt x="2544" y="1469"/>
                    </a:lnTo>
                    <a:lnTo>
                      <a:pt x="2579" y="1537"/>
                    </a:lnTo>
                    <a:lnTo>
                      <a:pt x="2610" y="1606"/>
                    </a:lnTo>
                    <a:lnTo>
                      <a:pt x="2640" y="1674"/>
                    </a:lnTo>
                    <a:lnTo>
                      <a:pt x="2670" y="1742"/>
                    </a:lnTo>
                    <a:lnTo>
                      <a:pt x="2697" y="1810"/>
                    </a:lnTo>
                    <a:lnTo>
                      <a:pt x="2722" y="1878"/>
                    </a:lnTo>
                    <a:lnTo>
                      <a:pt x="2746" y="1945"/>
                    </a:lnTo>
                    <a:lnTo>
                      <a:pt x="2768" y="2012"/>
                    </a:lnTo>
                    <a:lnTo>
                      <a:pt x="2788" y="2077"/>
                    </a:lnTo>
                    <a:lnTo>
                      <a:pt x="2807" y="2143"/>
                    </a:lnTo>
                    <a:lnTo>
                      <a:pt x="2815" y="2173"/>
                    </a:lnTo>
                    <a:lnTo>
                      <a:pt x="2823" y="2204"/>
                    </a:lnTo>
                    <a:lnTo>
                      <a:pt x="2829" y="2234"/>
                    </a:lnTo>
                    <a:lnTo>
                      <a:pt x="2836" y="2265"/>
                    </a:lnTo>
                    <a:lnTo>
                      <a:pt x="2841" y="2294"/>
                    </a:lnTo>
                    <a:lnTo>
                      <a:pt x="2846" y="2323"/>
                    </a:lnTo>
                    <a:lnTo>
                      <a:pt x="2850" y="2352"/>
                    </a:lnTo>
                    <a:lnTo>
                      <a:pt x="2853" y="2380"/>
                    </a:lnTo>
                    <a:lnTo>
                      <a:pt x="2858" y="2435"/>
                    </a:lnTo>
                    <a:lnTo>
                      <a:pt x="2861" y="2488"/>
                    </a:lnTo>
                    <a:lnTo>
                      <a:pt x="2862" y="2539"/>
                    </a:lnTo>
                    <a:lnTo>
                      <a:pt x="2861" y="2587"/>
                    </a:lnTo>
                    <a:lnTo>
                      <a:pt x="2857" y="2635"/>
                    </a:lnTo>
                    <a:lnTo>
                      <a:pt x="2853" y="2679"/>
                    </a:lnTo>
                    <a:lnTo>
                      <a:pt x="2847" y="2722"/>
                    </a:lnTo>
                    <a:lnTo>
                      <a:pt x="2839" y="2762"/>
                    </a:lnTo>
                    <a:lnTo>
                      <a:pt x="2831" y="2801"/>
                    </a:lnTo>
                    <a:lnTo>
                      <a:pt x="2823" y="2837"/>
                    </a:lnTo>
                    <a:lnTo>
                      <a:pt x="2813" y="2871"/>
                    </a:lnTo>
                    <a:lnTo>
                      <a:pt x="2803" y="2903"/>
                    </a:lnTo>
                    <a:lnTo>
                      <a:pt x="2790" y="2938"/>
                    </a:lnTo>
                    <a:lnTo>
                      <a:pt x="2779" y="2969"/>
                    </a:lnTo>
                    <a:lnTo>
                      <a:pt x="2767" y="2995"/>
                    </a:lnTo>
                    <a:lnTo>
                      <a:pt x="2757" y="3017"/>
                    </a:lnTo>
                    <a:lnTo>
                      <a:pt x="2741" y="3047"/>
                    </a:lnTo>
                    <a:lnTo>
                      <a:pt x="2734" y="3059"/>
                    </a:lnTo>
                    <a:lnTo>
                      <a:pt x="2731" y="3061"/>
                    </a:lnTo>
                    <a:lnTo>
                      <a:pt x="2729" y="3063"/>
                    </a:lnTo>
                    <a:lnTo>
                      <a:pt x="2726" y="3065"/>
                    </a:lnTo>
                    <a:lnTo>
                      <a:pt x="2722" y="3066"/>
                    </a:lnTo>
                    <a:close/>
                    <a:moveTo>
                      <a:pt x="1554" y="2315"/>
                    </a:moveTo>
                    <a:lnTo>
                      <a:pt x="1554" y="2315"/>
                    </a:lnTo>
                    <a:lnTo>
                      <a:pt x="1575" y="2317"/>
                    </a:lnTo>
                    <a:lnTo>
                      <a:pt x="1595" y="2319"/>
                    </a:lnTo>
                    <a:lnTo>
                      <a:pt x="1615" y="2322"/>
                    </a:lnTo>
                    <a:lnTo>
                      <a:pt x="1635" y="2325"/>
                    </a:lnTo>
                    <a:lnTo>
                      <a:pt x="1656" y="2331"/>
                    </a:lnTo>
                    <a:lnTo>
                      <a:pt x="1676" y="2337"/>
                    </a:lnTo>
                    <a:lnTo>
                      <a:pt x="1697" y="2343"/>
                    </a:lnTo>
                    <a:lnTo>
                      <a:pt x="1717" y="2352"/>
                    </a:lnTo>
                    <a:lnTo>
                      <a:pt x="1737" y="2361"/>
                    </a:lnTo>
                    <a:lnTo>
                      <a:pt x="1757" y="2369"/>
                    </a:lnTo>
                    <a:lnTo>
                      <a:pt x="1778" y="2380"/>
                    </a:lnTo>
                    <a:lnTo>
                      <a:pt x="1797" y="2391"/>
                    </a:lnTo>
                    <a:lnTo>
                      <a:pt x="1837" y="2415"/>
                    </a:lnTo>
                    <a:lnTo>
                      <a:pt x="1877" y="2441"/>
                    </a:lnTo>
                    <a:lnTo>
                      <a:pt x="1916" y="2468"/>
                    </a:lnTo>
                    <a:lnTo>
                      <a:pt x="1955" y="2498"/>
                    </a:lnTo>
                    <a:lnTo>
                      <a:pt x="1994" y="2528"/>
                    </a:lnTo>
                    <a:lnTo>
                      <a:pt x="2031" y="2560"/>
                    </a:lnTo>
                    <a:lnTo>
                      <a:pt x="2106" y="2625"/>
                    </a:lnTo>
                    <a:lnTo>
                      <a:pt x="2179" y="2692"/>
                    </a:lnTo>
                    <a:lnTo>
                      <a:pt x="2221" y="2730"/>
                    </a:lnTo>
                    <a:lnTo>
                      <a:pt x="2262" y="2767"/>
                    </a:lnTo>
                    <a:lnTo>
                      <a:pt x="2302" y="2802"/>
                    </a:lnTo>
                    <a:lnTo>
                      <a:pt x="2342" y="2835"/>
                    </a:lnTo>
                    <a:lnTo>
                      <a:pt x="2380" y="2865"/>
                    </a:lnTo>
                    <a:lnTo>
                      <a:pt x="2417" y="2891"/>
                    </a:lnTo>
                    <a:lnTo>
                      <a:pt x="2435" y="2903"/>
                    </a:lnTo>
                    <a:lnTo>
                      <a:pt x="2452" y="2913"/>
                    </a:lnTo>
                    <a:lnTo>
                      <a:pt x="2470" y="2923"/>
                    </a:lnTo>
                    <a:lnTo>
                      <a:pt x="2487" y="2931"/>
                    </a:lnTo>
                    <a:lnTo>
                      <a:pt x="2717" y="3034"/>
                    </a:lnTo>
                    <a:lnTo>
                      <a:pt x="2728" y="3015"/>
                    </a:lnTo>
                    <a:lnTo>
                      <a:pt x="2742" y="2984"/>
                    </a:lnTo>
                    <a:lnTo>
                      <a:pt x="2750" y="2965"/>
                    </a:lnTo>
                    <a:lnTo>
                      <a:pt x="2759" y="2944"/>
                    </a:lnTo>
                    <a:lnTo>
                      <a:pt x="2769" y="2920"/>
                    </a:lnTo>
                    <a:lnTo>
                      <a:pt x="2777" y="2894"/>
                    </a:lnTo>
                    <a:lnTo>
                      <a:pt x="2787" y="2863"/>
                    </a:lnTo>
                    <a:lnTo>
                      <a:pt x="2797" y="2830"/>
                    </a:lnTo>
                    <a:lnTo>
                      <a:pt x="2806" y="2795"/>
                    </a:lnTo>
                    <a:lnTo>
                      <a:pt x="2813" y="2757"/>
                    </a:lnTo>
                    <a:lnTo>
                      <a:pt x="2820" y="2718"/>
                    </a:lnTo>
                    <a:lnTo>
                      <a:pt x="2826" y="2676"/>
                    </a:lnTo>
                    <a:lnTo>
                      <a:pt x="2830" y="2632"/>
                    </a:lnTo>
                    <a:lnTo>
                      <a:pt x="2834" y="2586"/>
                    </a:lnTo>
                    <a:lnTo>
                      <a:pt x="2835" y="2538"/>
                    </a:lnTo>
                    <a:lnTo>
                      <a:pt x="2834" y="2488"/>
                    </a:lnTo>
                    <a:lnTo>
                      <a:pt x="2831" y="2436"/>
                    </a:lnTo>
                    <a:lnTo>
                      <a:pt x="2826" y="2382"/>
                    </a:lnTo>
                    <a:lnTo>
                      <a:pt x="2823" y="2355"/>
                    </a:lnTo>
                    <a:lnTo>
                      <a:pt x="2820" y="2327"/>
                    </a:lnTo>
                    <a:lnTo>
                      <a:pt x="2814" y="2298"/>
                    </a:lnTo>
                    <a:lnTo>
                      <a:pt x="2809" y="2269"/>
                    </a:lnTo>
                    <a:lnTo>
                      <a:pt x="2803" y="2240"/>
                    </a:lnTo>
                    <a:lnTo>
                      <a:pt x="2797" y="2211"/>
                    </a:lnTo>
                    <a:lnTo>
                      <a:pt x="2789" y="2180"/>
                    </a:lnTo>
                    <a:lnTo>
                      <a:pt x="2781" y="2149"/>
                    </a:lnTo>
                    <a:lnTo>
                      <a:pt x="2762" y="2085"/>
                    </a:lnTo>
                    <a:lnTo>
                      <a:pt x="2742" y="2020"/>
                    </a:lnTo>
                    <a:lnTo>
                      <a:pt x="2720" y="1954"/>
                    </a:lnTo>
                    <a:lnTo>
                      <a:pt x="2697" y="1888"/>
                    </a:lnTo>
                    <a:lnTo>
                      <a:pt x="2672" y="1821"/>
                    </a:lnTo>
                    <a:lnTo>
                      <a:pt x="2645" y="1753"/>
                    </a:lnTo>
                    <a:lnTo>
                      <a:pt x="2617" y="1685"/>
                    </a:lnTo>
                    <a:lnTo>
                      <a:pt x="2586" y="1618"/>
                    </a:lnTo>
                    <a:lnTo>
                      <a:pt x="2554" y="1550"/>
                    </a:lnTo>
                    <a:lnTo>
                      <a:pt x="2520" y="1482"/>
                    </a:lnTo>
                    <a:lnTo>
                      <a:pt x="2486" y="1414"/>
                    </a:lnTo>
                    <a:lnTo>
                      <a:pt x="2449" y="1347"/>
                    </a:lnTo>
                    <a:lnTo>
                      <a:pt x="2410" y="1280"/>
                    </a:lnTo>
                    <a:lnTo>
                      <a:pt x="2370" y="1214"/>
                    </a:lnTo>
                    <a:lnTo>
                      <a:pt x="2329" y="1150"/>
                    </a:lnTo>
                    <a:lnTo>
                      <a:pt x="2285" y="1085"/>
                    </a:lnTo>
                    <a:lnTo>
                      <a:pt x="2241" y="1021"/>
                    </a:lnTo>
                    <a:lnTo>
                      <a:pt x="2193" y="959"/>
                    </a:lnTo>
                    <a:lnTo>
                      <a:pt x="2146" y="897"/>
                    </a:lnTo>
                    <a:lnTo>
                      <a:pt x="2095" y="837"/>
                    </a:lnTo>
                    <a:lnTo>
                      <a:pt x="2043" y="778"/>
                    </a:lnTo>
                    <a:lnTo>
                      <a:pt x="1990" y="721"/>
                    </a:lnTo>
                    <a:lnTo>
                      <a:pt x="1935" y="666"/>
                    </a:lnTo>
                    <a:lnTo>
                      <a:pt x="1879" y="613"/>
                    </a:lnTo>
                    <a:lnTo>
                      <a:pt x="1821" y="561"/>
                    </a:lnTo>
                    <a:lnTo>
                      <a:pt x="1760" y="512"/>
                    </a:lnTo>
                    <a:lnTo>
                      <a:pt x="1699" y="464"/>
                    </a:lnTo>
                    <a:lnTo>
                      <a:pt x="1635" y="420"/>
                    </a:lnTo>
                    <a:lnTo>
                      <a:pt x="1570" y="377"/>
                    </a:lnTo>
                    <a:lnTo>
                      <a:pt x="1503" y="337"/>
                    </a:lnTo>
                    <a:lnTo>
                      <a:pt x="1435" y="300"/>
                    </a:lnTo>
                    <a:lnTo>
                      <a:pt x="1365" y="265"/>
                    </a:lnTo>
                    <a:lnTo>
                      <a:pt x="1287" y="230"/>
                    </a:lnTo>
                    <a:lnTo>
                      <a:pt x="1213" y="199"/>
                    </a:lnTo>
                    <a:lnTo>
                      <a:pt x="1140" y="170"/>
                    </a:lnTo>
                    <a:lnTo>
                      <a:pt x="1071" y="145"/>
                    </a:lnTo>
                    <a:lnTo>
                      <a:pt x="1004" y="123"/>
                    </a:lnTo>
                    <a:lnTo>
                      <a:pt x="941" y="104"/>
                    </a:lnTo>
                    <a:lnTo>
                      <a:pt x="880" y="86"/>
                    </a:lnTo>
                    <a:lnTo>
                      <a:pt x="823" y="72"/>
                    </a:lnTo>
                    <a:lnTo>
                      <a:pt x="768" y="60"/>
                    </a:lnTo>
                    <a:lnTo>
                      <a:pt x="716" y="51"/>
                    </a:lnTo>
                    <a:lnTo>
                      <a:pt x="668" y="42"/>
                    </a:lnTo>
                    <a:lnTo>
                      <a:pt x="621" y="37"/>
                    </a:lnTo>
                    <a:lnTo>
                      <a:pt x="578" y="32"/>
                    </a:lnTo>
                    <a:lnTo>
                      <a:pt x="538" y="29"/>
                    </a:lnTo>
                    <a:lnTo>
                      <a:pt x="500" y="27"/>
                    </a:lnTo>
                    <a:lnTo>
                      <a:pt x="466" y="27"/>
                    </a:lnTo>
                    <a:lnTo>
                      <a:pt x="430" y="27"/>
                    </a:lnTo>
                    <a:lnTo>
                      <a:pt x="397" y="29"/>
                    </a:lnTo>
                    <a:lnTo>
                      <a:pt x="366" y="31"/>
                    </a:lnTo>
                    <a:lnTo>
                      <a:pt x="337" y="34"/>
                    </a:lnTo>
                    <a:lnTo>
                      <a:pt x="311" y="38"/>
                    </a:lnTo>
                    <a:lnTo>
                      <a:pt x="287" y="42"/>
                    </a:lnTo>
                    <a:lnTo>
                      <a:pt x="266" y="46"/>
                    </a:lnTo>
                    <a:lnTo>
                      <a:pt x="246" y="52"/>
                    </a:lnTo>
                    <a:lnTo>
                      <a:pt x="215" y="60"/>
                    </a:lnTo>
                    <a:lnTo>
                      <a:pt x="192" y="69"/>
                    </a:lnTo>
                    <a:lnTo>
                      <a:pt x="178" y="74"/>
                    </a:lnTo>
                    <a:lnTo>
                      <a:pt x="174" y="77"/>
                    </a:lnTo>
                    <a:lnTo>
                      <a:pt x="171" y="78"/>
                    </a:lnTo>
                    <a:lnTo>
                      <a:pt x="168" y="78"/>
                    </a:lnTo>
                    <a:lnTo>
                      <a:pt x="159" y="78"/>
                    </a:lnTo>
                    <a:lnTo>
                      <a:pt x="138" y="77"/>
                    </a:lnTo>
                    <a:lnTo>
                      <a:pt x="106" y="72"/>
                    </a:lnTo>
                    <a:lnTo>
                      <a:pt x="64" y="67"/>
                    </a:lnTo>
                    <a:lnTo>
                      <a:pt x="150" y="137"/>
                    </a:lnTo>
                    <a:lnTo>
                      <a:pt x="232" y="208"/>
                    </a:lnTo>
                    <a:lnTo>
                      <a:pt x="311" y="282"/>
                    </a:lnTo>
                    <a:lnTo>
                      <a:pt x="387" y="355"/>
                    </a:lnTo>
                    <a:lnTo>
                      <a:pt x="460" y="430"/>
                    </a:lnTo>
                    <a:lnTo>
                      <a:pt x="529" y="504"/>
                    </a:lnTo>
                    <a:lnTo>
                      <a:pt x="596" y="580"/>
                    </a:lnTo>
                    <a:lnTo>
                      <a:pt x="660" y="655"/>
                    </a:lnTo>
                    <a:lnTo>
                      <a:pt x="722" y="731"/>
                    </a:lnTo>
                    <a:lnTo>
                      <a:pt x="780" y="806"/>
                    </a:lnTo>
                    <a:lnTo>
                      <a:pt x="835" y="882"/>
                    </a:lnTo>
                    <a:lnTo>
                      <a:pt x="888" y="956"/>
                    </a:lnTo>
                    <a:lnTo>
                      <a:pt x="939" y="1031"/>
                    </a:lnTo>
                    <a:lnTo>
                      <a:pt x="986" y="1105"/>
                    </a:lnTo>
                    <a:lnTo>
                      <a:pt x="1031" y="1179"/>
                    </a:lnTo>
                    <a:lnTo>
                      <a:pt x="1075" y="1251"/>
                    </a:lnTo>
                    <a:lnTo>
                      <a:pt x="1115" y="1322"/>
                    </a:lnTo>
                    <a:lnTo>
                      <a:pt x="1153" y="1391"/>
                    </a:lnTo>
                    <a:lnTo>
                      <a:pt x="1189" y="1460"/>
                    </a:lnTo>
                    <a:lnTo>
                      <a:pt x="1224" y="1527"/>
                    </a:lnTo>
                    <a:lnTo>
                      <a:pt x="1255" y="1592"/>
                    </a:lnTo>
                    <a:lnTo>
                      <a:pt x="1285" y="1656"/>
                    </a:lnTo>
                    <a:lnTo>
                      <a:pt x="1313" y="1717"/>
                    </a:lnTo>
                    <a:lnTo>
                      <a:pt x="1339" y="1777"/>
                    </a:lnTo>
                    <a:lnTo>
                      <a:pt x="1363" y="1834"/>
                    </a:lnTo>
                    <a:lnTo>
                      <a:pt x="1386" y="1888"/>
                    </a:lnTo>
                    <a:lnTo>
                      <a:pt x="1406" y="1940"/>
                    </a:lnTo>
                    <a:lnTo>
                      <a:pt x="1426" y="1989"/>
                    </a:lnTo>
                    <a:lnTo>
                      <a:pt x="1459" y="2078"/>
                    </a:lnTo>
                    <a:lnTo>
                      <a:pt x="1487" y="2155"/>
                    </a:lnTo>
                    <a:lnTo>
                      <a:pt x="1509" y="2212"/>
                    </a:lnTo>
                    <a:lnTo>
                      <a:pt x="1527" y="2260"/>
                    </a:lnTo>
                    <a:lnTo>
                      <a:pt x="1536" y="2280"/>
                    </a:lnTo>
                    <a:lnTo>
                      <a:pt x="1542" y="2296"/>
                    </a:lnTo>
                    <a:lnTo>
                      <a:pt x="1549" y="2308"/>
                    </a:lnTo>
                    <a:lnTo>
                      <a:pt x="1554" y="2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13"/>
              <p:cNvSpPr>
                <a:spLocks/>
              </p:cNvSpPr>
              <p:nvPr userDrawn="1"/>
            </p:nvSpPr>
            <p:spPr bwMode="auto">
              <a:xfrm>
                <a:off x="779" y="3190"/>
                <a:ext cx="391" cy="723"/>
              </a:xfrm>
              <a:custGeom>
                <a:avLst/>
                <a:gdLst>
                  <a:gd name="T0" fmla="*/ 1153 w 1172"/>
                  <a:gd name="T1" fmla="*/ 2167 h 2168"/>
                  <a:gd name="T2" fmla="*/ 1147 w 1172"/>
                  <a:gd name="T3" fmla="*/ 2160 h 2168"/>
                  <a:gd name="T4" fmla="*/ 1145 w 1172"/>
                  <a:gd name="T5" fmla="*/ 2146 h 2168"/>
                  <a:gd name="T6" fmla="*/ 1144 w 1172"/>
                  <a:gd name="T7" fmla="*/ 2087 h 2168"/>
                  <a:gd name="T8" fmla="*/ 1139 w 1172"/>
                  <a:gd name="T9" fmla="*/ 1978 h 2168"/>
                  <a:gd name="T10" fmla="*/ 1129 w 1172"/>
                  <a:gd name="T11" fmla="*/ 1828 h 2168"/>
                  <a:gd name="T12" fmla="*/ 1112 w 1172"/>
                  <a:gd name="T13" fmla="*/ 1646 h 2168"/>
                  <a:gd name="T14" fmla="*/ 1094 w 1172"/>
                  <a:gd name="T15" fmla="*/ 1492 h 2168"/>
                  <a:gd name="T16" fmla="*/ 1077 w 1172"/>
                  <a:gd name="T17" fmla="*/ 1384 h 2168"/>
                  <a:gd name="T18" fmla="*/ 1059 w 1172"/>
                  <a:gd name="T19" fmla="*/ 1272 h 2168"/>
                  <a:gd name="T20" fmla="*/ 1036 w 1172"/>
                  <a:gd name="T21" fmla="*/ 1159 h 2168"/>
                  <a:gd name="T22" fmla="*/ 1010 w 1172"/>
                  <a:gd name="T23" fmla="*/ 1043 h 2168"/>
                  <a:gd name="T24" fmla="*/ 981 w 1172"/>
                  <a:gd name="T25" fmla="*/ 927 h 2168"/>
                  <a:gd name="T26" fmla="*/ 947 w 1172"/>
                  <a:gd name="T27" fmla="*/ 812 h 2168"/>
                  <a:gd name="T28" fmla="*/ 901 w 1172"/>
                  <a:gd name="T29" fmla="*/ 706 h 2168"/>
                  <a:gd name="T30" fmla="*/ 844 w 1172"/>
                  <a:gd name="T31" fmla="*/ 609 h 2168"/>
                  <a:gd name="T32" fmla="*/ 778 w 1172"/>
                  <a:gd name="T33" fmla="*/ 521 h 2168"/>
                  <a:gd name="T34" fmla="*/ 705 w 1172"/>
                  <a:gd name="T35" fmla="*/ 441 h 2168"/>
                  <a:gd name="T36" fmla="*/ 627 w 1172"/>
                  <a:gd name="T37" fmla="*/ 367 h 2168"/>
                  <a:gd name="T38" fmla="*/ 546 w 1172"/>
                  <a:gd name="T39" fmla="*/ 303 h 2168"/>
                  <a:gd name="T40" fmla="*/ 465 w 1172"/>
                  <a:gd name="T41" fmla="*/ 245 h 2168"/>
                  <a:gd name="T42" fmla="*/ 384 w 1172"/>
                  <a:gd name="T43" fmla="*/ 196 h 2168"/>
                  <a:gd name="T44" fmla="*/ 306 w 1172"/>
                  <a:gd name="T45" fmla="*/ 153 h 2168"/>
                  <a:gd name="T46" fmla="*/ 233 w 1172"/>
                  <a:gd name="T47" fmla="*/ 116 h 2168"/>
                  <a:gd name="T48" fmla="*/ 167 w 1172"/>
                  <a:gd name="T49" fmla="*/ 86 h 2168"/>
                  <a:gd name="T50" fmla="*/ 85 w 1172"/>
                  <a:gd name="T51" fmla="*/ 53 h 2168"/>
                  <a:gd name="T52" fmla="*/ 19 w 1172"/>
                  <a:gd name="T53" fmla="*/ 31 h 2168"/>
                  <a:gd name="T54" fmla="*/ 5 w 1172"/>
                  <a:gd name="T55" fmla="*/ 25 h 2168"/>
                  <a:gd name="T56" fmla="*/ 0 w 1172"/>
                  <a:gd name="T57" fmla="*/ 16 h 2168"/>
                  <a:gd name="T58" fmla="*/ 3 w 1172"/>
                  <a:gd name="T59" fmla="*/ 6 h 2168"/>
                  <a:gd name="T60" fmla="*/ 12 w 1172"/>
                  <a:gd name="T61" fmla="*/ 0 h 2168"/>
                  <a:gd name="T62" fmla="*/ 27 w 1172"/>
                  <a:gd name="T63" fmla="*/ 5 h 2168"/>
                  <a:gd name="T64" fmla="*/ 95 w 1172"/>
                  <a:gd name="T65" fmla="*/ 27 h 2168"/>
                  <a:gd name="T66" fmla="*/ 177 w 1172"/>
                  <a:gd name="T67" fmla="*/ 61 h 2168"/>
                  <a:gd name="T68" fmla="*/ 245 w 1172"/>
                  <a:gd name="T69" fmla="*/ 92 h 2168"/>
                  <a:gd name="T70" fmla="*/ 319 w 1172"/>
                  <a:gd name="T71" fmla="*/ 129 h 2168"/>
                  <a:gd name="T72" fmla="*/ 398 w 1172"/>
                  <a:gd name="T73" fmla="*/ 173 h 2168"/>
                  <a:gd name="T74" fmla="*/ 480 w 1172"/>
                  <a:gd name="T75" fmla="*/ 224 h 2168"/>
                  <a:gd name="T76" fmla="*/ 565 w 1172"/>
                  <a:gd name="T77" fmla="*/ 282 h 2168"/>
                  <a:gd name="T78" fmla="*/ 647 w 1172"/>
                  <a:gd name="T79" fmla="*/ 349 h 2168"/>
                  <a:gd name="T80" fmla="*/ 727 w 1172"/>
                  <a:gd name="T81" fmla="*/ 424 h 2168"/>
                  <a:gd name="T82" fmla="*/ 800 w 1172"/>
                  <a:gd name="T83" fmla="*/ 506 h 2168"/>
                  <a:gd name="T84" fmla="*/ 868 w 1172"/>
                  <a:gd name="T85" fmla="*/ 596 h 2168"/>
                  <a:gd name="T86" fmla="*/ 925 w 1172"/>
                  <a:gd name="T87" fmla="*/ 696 h 2168"/>
                  <a:gd name="T88" fmla="*/ 973 w 1172"/>
                  <a:gd name="T89" fmla="*/ 804 h 2168"/>
                  <a:gd name="T90" fmla="*/ 1007 w 1172"/>
                  <a:gd name="T91" fmla="*/ 919 h 2168"/>
                  <a:gd name="T92" fmla="*/ 1037 w 1172"/>
                  <a:gd name="T93" fmla="*/ 1037 h 2168"/>
                  <a:gd name="T94" fmla="*/ 1062 w 1172"/>
                  <a:gd name="T95" fmla="*/ 1152 h 2168"/>
                  <a:gd name="T96" fmla="*/ 1085 w 1172"/>
                  <a:gd name="T97" fmla="*/ 1268 h 2168"/>
                  <a:gd name="T98" fmla="*/ 1104 w 1172"/>
                  <a:gd name="T99" fmla="*/ 1380 h 2168"/>
                  <a:gd name="T100" fmla="*/ 1121 w 1172"/>
                  <a:gd name="T101" fmla="*/ 1489 h 2168"/>
                  <a:gd name="T102" fmla="*/ 1139 w 1172"/>
                  <a:gd name="T103" fmla="*/ 1642 h 2168"/>
                  <a:gd name="T104" fmla="*/ 1156 w 1172"/>
                  <a:gd name="T105" fmla="*/ 1826 h 2168"/>
                  <a:gd name="T106" fmla="*/ 1166 w 1172"/>
                  <a:gd name="T107" fmla="*/ 1977 h 2168"/>
                  <a:gd name="T108" fmla="*/ 1171 w 1172"/>
                  <a:gd name="T109" fmla="*/ 2086 h 2168"/>
                  <a:gd name="T110" fmla="*/ 1172 w 1172"/>
                  <a:gd name="T111" fmla="*/ 2146 h 2168"/>
                  <a:gd name="T112" fmla="*/ 1171 w 1172"/>
                  <a:gd name="T113" fmla="*/ 2160 h 2168"/>
                  <a:gd name="T114" fmla="*/ 1164 w 1172"/>
                  <a:gd name="T115" fmla="*/ 2167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2" h="2168">
                    <a:moveTo>
                      <a:pt x="1158" y="2168"/>
                    </a:moveTo>
                    <a:lnTo>
                      <a:pt x="1153" y="2167"/>
                    </a:lnTo>
                    <a:lnTo>
                      <a:pt x="1149" y="2165"/>
                    </a:lnTo>
                    <a:lnTo>
                      <a:pt x="1147" y="2160"/>
                    </a:lnTo>
                    <a:lnTo>
                      <a:pt x="1145" y="2155"/>
                    </a:lnTo>
                    <a:lnTo>
                      <a:pt x="1145" y="2146"/>
                    </a:lnTo>
                    <a:lnTo>
                      <a:pt x="1144" y="2123"/>
                    </a:lnTo>
                    <a:lnTo>
                      <a:pt x="1144" y="2087"/>
                    </a:lnTo>
                    <a:lnTo>
                      <a:pt x="1142" y="2037"/>
                    </a:lnTo>
                    <a:lnTo>
                      <a:pt x="1139" y="1978"/>
                    </a:lnTo>
                    <a:lnTo>
                      <a:pt x="1136" y="1908"/>
                    </a:lnTo>
                    <a:lnTo>
                      <a:pt x="1129" y="1828"/>
                    </a:lnTo>
                    <a:lnTo>
                      <a:pt x="1122" y="1741"/>
                    </a:lnTo>
                    <a:lnTo>
                      <a:pt x="1112" y="1646"/>
                    </a:lnTo>
                    <a:lnTo>
                      <a:pt x="1100" y="1545"/>
                    </a:lnTo>
                    <a:lnTo>
                      <a:pt x="1094" y="1492"/>
                    </a:lnTo>
                    <a:lnTo>
                      <a:pt x="1086" y="1438"/>
                    </a:lnTo>
                    <a:lnTo>
                      <a:pt x="1077" y="1384"/>
                    </a:lnTo>
                    <a:lnTo>
                      <a:pt x="1069" y="1329"/>
                    </a:lnTo>
                    <a:lnTo>
                      <a:pt x="1059" y="1272"/>
                    </a:lnTo>
                    <a:lnTo>
                      <a:pt x="1048" y="1216"/>
                    </a:lnTo>
                    <a:lnTo>
                      <a:pt x="1036" y="1159"/>
                    </a:lnTo>
                    <a:lnTo>
                      <a:pt x="1025" y="1100"/>
                    </a:lnTo>
                    <a:lnTo>
                      <a:pt x="1010" y="1043"/>
                    </a:lnTo>
                    <a:lnTo>
                      <a:pt x="996" y="985"/>
                    </a:lnTo>
                    <a:lnTo>
                      <a:pt x="981" y="927"/>
                    </a:lnTo>
                    <a:lnTo>
                      <a:pt x="965" y="868"/>
                    </a:lnTo>
                    <a:lnTo>
                      <a:pt x="947" y="812"/>
                    </a:lnTo>
                    <a:lnTo>
                      <a:pt x="925" y="758"/>
                    </a:lnTo>
                    <a:lnTo>
                      <a:pt x="901" y="706"/>
                    </a:lnTo>
                    <a:lnTo>
                      <a:pt x="873" y="657"/>
                    </a:lnTo>
                    <a:lnTo>
                      <a:pt x="844" y="609"/>
                    </a:lnTo>
                    <a:lnTo>
                      <a:pt x="812" y="564"/>
                    </a:lnTo>
                    <a:lnTo>
                      <a:pt x="778" y="521"/>
                    </a:lnTo>
                    <a:lnTo>
                      <a:pt x="743" y="480"/>
                    </a:lnTo>
                    <a:lnTo>
                      <a:pt x="705" y="441"/>
                    </a:lnTo>
                    <a:lnTo>
                      <a:pt x="667" y="403"/>
                    </a:lnTo>
                    <a:lnTo>
                      <a:pt x="627" y="367"/>
                    </a:lnTo>
                    <a:lnTo>
                      <a:pt x="587" y="334"/>
                    </a:lnTo>
                    <a:lnTo>
                      <a:pt x="546" y="303"/>
                    </a:lnTo>
                    <a:lnTo>
                      <a:pt x="506" y="274"/>
                    </a:lnTo>
                    <a:lnTo>
                      <a:pt x="465" y="245"/>
                    </a:lnTo>
                    <a:lnTo>
                      <a:pt x="424" y="220"/>
                    </a:lnTo>
                    <a:lnTo>
                      <a:pt x="384" y="196"/>
                    </a:lnTo>
                    <a:lnTo>
                      <a:pt x="344" y="173"/>
                    </a:lnTo>
                    <a:lnTo>
                      <a:pt x="306" y="153"/>
                    </a:lnTo>
                    <a:lnTo>
                      <a:pt x="269" y="133"/>
                    </a:lnTo>
                    <a:lnTo>
                      <a:pt x="233" y="116"/>
                    </a:lnTo>
                    <a:lnTo>
                      <a:pt x="200" y="100"/>
                    </a:lnTo>
                    <a:lnTo>
                      <a:pt x="167" y="86"/>
                    </a:lnTo>
                    <a:lnTo>
                      <a:pt x="137" y="74"/>
                    </a:lnTo>
                    <a:lnTo>
                      <a:pt x="85" y="53"/>
                    </a:lnTo>
                    <a:lnTo>
                      <a:pt x="45" y="39"/>
                    </a:lnTo>
                    <a:lnTo>
                      <a:pt x="19" y="31"/>
                    </a:lnTo>
                    <a:lnTo>
                      <a:pt x="10" y="27"/>
                    </a:lnTo>
                    <a:lnTo>
                      <a:pt x="5" y="25"/>
                    </a:lnTo>
                    <a:lnTo>
                      <a:pt x="1" y="21"/>
                    </a:lnTo>
                    <a:lnTo>
                      <a:pt x="0" y="16"/>
                    </a:lnTo>
                    <a:lnTo>
                      <a:pt x="0" y="10"/>
                    </a:lnTo>
                    <a:lnTo>
                      <a:pt x="3" y="6"/>
                    </a:lnTo>
                    <a:lnTo>
                      <a:pt x="6" y="3"/>
                    </a:lnTo>
                    <a:lnTo>
                      <a:pt x="12" y="0"/>
                    </a:lnTo>
                    <a:lnTo>
                      <a:pt x="17" y="2"/>
                    </a:lnTo>
                    <a:lnTo>
                      <a:pt x="27" y="5"/>
                    </a:lnTo>
                    <a:lnTo>
                      <a:pt x="54" y="13"/>
                    </a:lnTo>
                    <a:lnTo>
                      <a:pt x="95" y="27"/>
                    </a:lnTo>
                    <a:lnTo>
                      <a:pt x="147" y="49"/>
                    </a:lnTo>
                    <a:lnTo>
                      <a:pt x="177" y="61"/>
                    </a:lnTo>
                    <a:lnTo>
                      <a:pt x="210" y="76"/>
                    </a:lnTo>
                    <a:lnTo>
                      <a:pt x="245" y="92"/>
                    </a:lnTo>
                    <a:lnTo>
                      <a:pt x="281" y="109"/>
                    </a:lnTo>
                    <a:lnTo>
                      <a:pt x="319" y="129"/>
                    </a:lnTo>
                    <a:lnTo>
                      <a:pt x="358" y="150"/>
                    </a:lnTo>
                    <a:lnTo>
                      <a:pt x="398" y="173"/>
                    </a:lnTo>
                    <a:lnTo>
                      <a:pt x="439" y="198"/>
                    </a:lnTo>
                    <a:lnTo>
                      <a:pt x="480" y="224"/>
                    </a:lnTo>
                    <a:lnTo>
                      <a:pt x="522" y="252"/>
                    </a:lnTo>
                    <a:lnTo>
                      <a:pt x="565" y="282"/>
                    </a:lnTo>
                    <a:lnTo>
                      <a:pt x="606" y="315"/>
                    </a:lnTo>
                    <a:lnTo>
                      <a:pt x="647" y="349"/>
                    </a:lnTo>
                    <a:lnTo>
                      <a:pt x="687" y="385"/>
                    </a:lnTo>
                    <a:lnTo>
                      <a:pt x="727" y="424"/>
                    </a:lnTo>
                    <a:lnTo>
                      <a:pt x="764" y="464"/>
                    </a:lnTo>
                    <a:lnTo>
                      <a:pt x="800" y="506"/>
                    </a:lnTo>
                    <a:lnTo>
                      <a:pt x="834" y="550"/>
                    </a:lnTo>
                    <a:lnTo>
                      <a:pt x="868" y="596"/>
                    </a:lnTo>
                    <a:lnTo>
                      <a:pt x="898" y="645"/>
                    </a:lnTo>
                    <a:lnTo>
                      <a:pt x="925" y="696"/>
                    </a:lnTo>
                    <a:lnTo>
                      <a:pt x="951" y="749"/>
                    </a:lnTo>
                    <a:lnTo>
                      <a:pt x="973" y="804"/>
                    </a:lnTo>
                    <a:lnTo>
                      <a:pt x="991" y="861"/>
                    </a:lnTo>
                    <a:lnTo>
                      <a:pt x="1007" y="919"/>
                    </a:lnTo>
                    <a:lnTo>
                      <a:pt x="1022" y="977"/>
                    </a:lnTo>
                    <a:lnTo>
                      <a:pt x="1037" y="1037"/>
                    </a:lnTo>
                    <a:lnTo>
                      <a:pt x="1050" y="1095"/>
                    </a:lnTo>
                    <a:lnTo>
                      <a:pt x="1062" y="1152"/>
                    </a:lnTo>
                    <a:lnTo>
                      <a:pt x="1074" y="1211"/>
                    </a:lnTo>
                    <a:lnTo>
                      <a:pt x="1085" y="1268"/>
                    </a:lnTo>
                    <a:lnTo>
                      <a:pt x="1095" y="1324"/>
                    </a:lnTo>
                    <a:lnTo>
                      <a:pt x="1104" y="1380"/>
                    </a:lnTo>
                    <a:lnTo>
                      <a:pt x="1113" y="1435"/>
                    </a:lnTo>
                    <a:lnTo>
                      <a:pt x="1121" y="1489"/>
                    </a:lnTo>
                    <a:lnTo>
                      <a:pt x="1127" y="1541"/>
                    </a:lnTo>
                    <a:lnTo>
                      <a:pt x="1139" y="1642"/>
                    </a:lnTo>
                    <a:lnTo>
                      <a:pt x="1149" y="1738"/>
                    </a:lnTo>
                    <a:lnTo>
                      <a:pt x="1156" y="1826"/>
                    </a:lnTo>
                    <a:lnTo>
                      <a:pt x="1163" y="1906"/>
                    </a:lnTo>
                    <a:lnTo>
                      <a:pt x="1166" y="1977"/>
                    </a:lnTo>
                    <a:lnTo>
                      <a:pt x="1169" y="2037"/>
                    </a:lnTo>
                    <a:lnTo>
                      <a:pt x="1171" y="2086"/>
                    </a:lnTo>
                    <a:lnTo>
                      <a:pt x="1171" y="2123"/>
                    </a:lnTo>
                    <a:lnTo>
                      <a:pt x="1172" y="2146"/>
                    </a:lnTo>
                    <a:lnTo>
                      <a:pt x="1172" y="2155"/>
                    </a:lnTo>
                    <a:lnTo>
                      <a:pt x="1171" y="2160"/>
                    </a:lnTo>
                    <a:lnTo>
                      <a:pt x="1168" y="2165"/>
                    </a:lnTo>
                    <a:lnTo>
                      <a:pt x="1164" y="2167"/>
                    </a:lnTo>
                    <a:lnTo>
                      <a:pt x="1158" y="2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14"/>
              <p:cNvSpPr>
                <a:spLocks/>
              </p:cNvSpPr>
              <p:nvPr userDrawn="1"/>
            </p:nvSpPr>
            <p:spPr bwMode="auto">
              <a:xfrm>
                <a:off x="910" y="3040"/>
                <a:ext cx="359" cy="767"/>
              </a:xfrm>
              <a:custGeom>
                <a:avLst/>
                <a:gdLst>
                  <a:gd name="T0" fmla="*/ 927 w 1077"/>
                  <a:gd name="T1" fmla="*/ 2291 h 2301"/>
                  <a:gd name="T2" fmla="*/ 840 w 1077"/>
                  <a:gd name="T3" fmla="*/ 2181 h 2301"/>
                  <a:gd name="T4" fmla="*/ 771 w 1077"/>
                  <a:gd name="T5" fmla="*/ 2066 h 2301"/>
                  <a:gd name="T6" fmla="*/ 708 w 1077"/>
                  <a:gd name="T7" fmla="*/ 1919 h 2301"/>
                  <a:gd name="T8" fmla="*/ 670 w 1077"/>
                  <a:gd name="T9" fmla="*/ 1745 h 2301"/>
                  <a:gd name="T10" fmla="*/ 674 w 1077"/>
                  <a:gd name="T11" fmla="*/ 1548 h 2301"/>
                  <a:gd name="T12" fmla="*/ 734 w 1077"/>
                  <a:gd name="T13" fmla="*/ 1335 h 2301"/>
                  <a:gd name="T14" fmla="*/ 851 w 1077"/>
                  <a:gd name="T15" fmla="*/ 1133 h 2301"/>
                  <a:gd name="T16" fmla="*/ 930 w 1077"/>
                  <a:gd name="T17" fmla="*/ 1002 h 2301"/>
                  <a:gd name="T18" fmla="*/ 988 w 1077"/>
                  <a:gd name="T19" fmla="*/ 879 h 2301"/>
                  <a:gd name="T20" fmla="*/ 1028 w 1077"/>
                  <a:gd name="T21" fmla="*/ 764 h 2301"/>
                  <a:gd name="T22" fmla="*/ 1047 w 1077"/>
                  <a:gd name="T23" fmla="*/ 656 h 2301"/>
                  <a:gd name="T24" fmla="*/ 1048 w 1077"/>
                  <a:gd name="T25" fmla="*/ 554 h 2301"/>
                  <a:gd name="T26" fmla="*/ 1030 w 1077"/>
                  <a:gd name="T27" fmla="*/ 460 h 2301"/>
                  <a:gd name="T28" fmla="*/ 991 w 1077"/>
                  <a:gd name="T29" fmla="*/ 374 h 2301"/>
                  <a:gd name="T30" fmla="*/ 926 w 1077"/>
                  <a:gd name="T31" fmla="*/ 288 h 2301"/>
                  <a:gd name="T32" fmla="*/ 815 w 1077"/>
                  <a:gd name="T33" fmla="*/ 195 h 2301"/>
                  <a:gd name="T34" fmla="*/ 683 w 1077"/>
                  <a:gd name="T35" fmla="*/ 125 h 2301"/>
                  <a:gd name="T36" fmla="*/ 541 w 1077"/>
                  <a:gd name="T37" fmla="*/ 76 h 2301"/>
                  <a:gd name="T38" fmla="*/ 398 w 1077"/>
                  <a:gd name="T39" fmla="*/ 46 h 2301"/>
                  <a:gd name="T40" fmla="*/ 264 w 1077"/>
                  <a:gd name="T41" fmla="*/ 32 h 2301"/>
                  <a:gd name="T42" fmla="*/ 149 w 1077"/>
                  <a:gd name="T43" fmla="*/ 28 h 2301"/>
                  <a:gd name="T44" fmla="*/ 60 w 1077"/>
                  <a:gd name="T45" fmla="*/ 37 h 2301"/>
                  <a:gd name="T46" fmla="*/ 14 w 1077"/>
                  <a:gd name="T47" fmla="*/ 49 h 2301"/>
                  <a:gd name="T48" fmla="*/ 0 w 1077"/>
                  <a:gd name="T49" fmla="*/ 35 h 2301"/>
                  <a:gd name="T50" fmla="*/ 23 w 1077"/>
                  <a:gd name="T51" fmla="*/ 18 h 2301"/>
                  <a:gd name="T52" fmla="*/ 101 w 1077"/>
                  <a:gd name="T53" fmla="*/ 4 h 2301"/>
                  <a:gd name="T54" fmla="*/ 211 w 1077"/>
                  <a:gd name="T55" fmla="*/ 1 h 2301"/>
                  <a:gd name="T56" fmla="*/ 343 w 1077"/>
                  <a:gd name="T57" fmla="*/ 11 h 2301"/>
                  <a:gd name="T58" fmla="*/ 487 w 1077"/>
                  <a:gd name="T59" fmla="*/ 36 h 2301"/>
                  <a:gd name="T60" fmla="*/ 633 w 1077"/>
                  <a:gd name="T61" fmla="*/ 78 h 2301"/>
                  <a:gd name="T62" fmla="*/ 773 w 1077"/>
                  <a:gd name="T63" fmla="*/ 140 h 2301"/>
                  <a:gd name="T64" fmla="*/ 895 w 1077"/>
                  <a:gd name="T65" fmla="*/ 221 h 2301"/>
                  <a:gd name="T66" fmla="*/ 987 w 1077"/>
                  <a:gd name="T67" fmla="*/ 318 h 2301"/>
                  <a:gd name="T68" fmla="*/ 1038 w 1077"/>
                  <a:gd name="T69" fmla="*/ 404 h 2301"/>
                  <a:gd name="T70" fmla="*/ 1068 w 1077"/>
                  <a:gd name="T71" fmla="*/ 498 h 2301"/>
                  <a:gd name="T72" fmla="*/ 1077 w 1077"/>
                  <a:gd name="T73" fmla="*/ 599 h 2301"/>
                  <a:gd name="T74" fmla="*/ 1068 w 1077"/>
                  <a:gd name="T75" fmla="*/ 709 h 2301"/>
                  <a:gd name="T76" fmla="*/ 1038 w 1077"/>
                  <a:gd name="T77" fmla="*/ 825 h 2301"/>
                  <a:gd name="T78" fmla="*/ 987 w 1077"/>
                  <a:gd name="T79" fmla="*/ 948 h 2301"/>
                  <a:gd name="T80" fmla="*/ 917 w 1077"/>
                  <a:gd name="T81" fmla="*/ 1079 h 2301"/>
                  <a:gd name="T82" fmla="*/ 815 w 1077"/>
                  <a:gd name="T83" fmla="*/ 1236 h 2301"/>
                  <a:gd name="T84" fmla="*/ 722 w 1077"/>
                  <a:gd name="T85" fmla="*/ 1450 h 2301"/>
                  <a:gd name="T86" fmla="*/ 693 w 1077"/>
                  <a:gd name="T87" fmla="*/ 1650 h 2301"/>
                  <a:gd name="T88" fmla="*/ 713 w 1077"/>
                  <a:gd name="T89" fmla="*/ 1830 h 2301"/>
                  <a:gd name="T90" fmla="*/ 763 w 1077"/>
                  <a:gd name="T91" fmla="*/ 1986 h 2301"/>
                  <a:gd name="T92" fmla="*/ 829 w 1077"/>
                  <a:gd name="T93" fmla="*/ 2114 h 2301"/>
                  <a:gd name="T94" fmla="*/ 907 w 1077"/>
                  <a:gd name="T95" fmla="*/ 2225 h 2301"/>
                  <a:gd name="T96" fmla="*/ 957 w 1077"/>
                  <a:gd name="T97" fmla="*/ 2282 h 2301"/>
                  <a:gd name="T98" fmla="*/ 949 w 1077"/>
                  <a:gd name="T99" fmla="*/ 2300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7" h="2301">
                    <a:moveTo>
                      <a:pt x="944" y="2301"/>
                    </a:moveTo>
                    <a:lnTo>
                      <a:pt x="939" y="2301"/>
                    </a:lnTo>
                    <a:lnTo>
                      <a:pt x="934" y="2298"/>
                    </a:lnTo>
                    <a:lnTo>
                      <a:pt x="927" y="2291"/>
                    </a:lnTo>
                    <a:lnTo>
                      <a:pt x="911" y="2273"/>
                    </a:lnTo>
                    <a:lnTo>
                      <a:pt x="886" y="2244"/>
                    </a:lnTo>
                    <a:lnTo>
                      <a:pt x="857" y="2205"/>
                    </a:lnTo>
                    <a:lnTo>
                      <a:pt x="840" y="2181"/>
                    </a:lnTo>
                    <a:lnTo>
                      <a:pt x="824" y="2155"/>
                    </a:lnTo>
                    <a:lnTo>
                      <a:pt x="805" y="2128"/>
                    </a:lnTo>
                    <a:lnTo>
                      <a:pt x="788" y="2098"/>
                    </a:lnTo>
                    <a:lnTo>
                      <a:pt x="771" y="2066"/>
                    </a:lnTo>
                    <a:lnTo>
                      <a:pt x="755" y="2032"/>
                    </a:lnTo>
                    <a:lnTo>
                      <a:pt x="738" y="1996"/>
                    </a:lnTo>
                    <a:lnTo>
                      <a:pt x="722" y="1959"/>
                    </a:lnTo>
                    <a:lnTo>
                      <a:pt x="708" y="1919"/>
                    </a:lnTo>
                    <a:lnTo>
                      <a:pt x="696" y="1878"/>
                    </a:lnTo>
                    <a:lnTo>
                      <a:pt x="686" y="1835"/>
                    </a:lnTo>
                    <a:lnTo>
                      <a:pt x="677" y="1790"/>
                    </a:lnTo>
                    <a:lnTo>
                      <a:pt x="670" y="1745"/>
                    </a:lnTo>
                    <a:lnTo>
                      <a:pt x="667" y="1697"/>
                    </a:lnTo>
                    <a:lnTo>
                      <a:pt x="666" y="1649"/>
                    </a:lnTo>
                    <a:lnTo>
                      <a:pt x="668" y="1599"/>
                    </a:lnTo>
                    <a:lnTo>
                      <a:pt x="674" y="1548"/>
                    </a:lnTo>
                    <a:lnTo>
                      <a:pt x="682" y="1497"/>
                    </a:lnTo>
                    <a:lnTo>
                      <a:pt x="695" y="1444"/>
                    </a:lnTo>
                    <a:lnTo>
                      <a:pt x="713" y="1390"/>
                    </a:lnTo>
                    <a:lnTo>
                      <a:pt x="734" y="1335"/>
                    </a:lnTo>
                    <a:lnTo>
                      <a:pt x="761" y="1280"/>
                    </a:lnTo>
                    <a:lnTo>
                      <a:pt x="792" y="1222"/>
                    </a:lnTo>
                    <a:lnTo>
                      <a:pt x="828" y="1166"/>
                    </a:lnTo>
                    <a:lnTo>
                      <a:pt x="851" y="1133"/>
                    </a:lnTo>
                    <a:lnTo>
                      <a:pt x="872" y="1099"/>
                    </a:lnTo>
                    <a:lnTo>
                      <a:pt x="893" y="1067"/>
                    </a:lnTo>
                    <a:lnTo>
                      <a:pt x="911" y="1035"/>
                    </a:lnTo>
                    <a:lnTo>
                      <a:pt x="930" y="1002"/>
                    </a:lnTo>
                    <a:lnTo>
                      <a:pt x="946" y="971"/>
                    </a:lnTo>
                    <a:lnTo>
                      <a:pt x="961" y="940"/>
                    </a:lnTo>
                    <a:lnTo>
                      <a:pt x="975" y="909"/>
                    </a:lnTo>
                    <a:lnTo>
                      <a:pt x="988" y="879"/>
                    </a:lnTo>
                    <a:lnTo>
                      <a:pt x="1000" y="850"/>
                    </a:lnTo>
                    <a:lnTo>
                      <a:pt x="1011" y="821"/>
                    </a:lnTo>
                    <a:lnTo>
                      <a:pt x="1019" y="792"/>
                    </a:lnTo>
                    <a:lnTo>
                      <a:pt x="1028" y="764"/>
                    </a:lnTo>
                    <a:lnTo>
                      <a:pt x="1034" y="735"/>
                    </a:lnTo>
                    <a:lnTo>
                      <a:pt x="1040" y="709"/>
                    </a:lnTo>
                    <a:lnTo>
                      <a:pt x="1044" y="682"/>
                    </a:lnTo>
                    <a:lnTo>
                      <a:pt x="1047" y="656"/>
                    </a:lnTo>
                    <a:lnTo>
                      <a:pt x="1049" y="630"/>
                    </a:lnTo>
                    <a:lnTo>
                      <a:pt x="1051" y="604"/>
                    </a:lnTo>
                    <a:lnTo>
                      <a:pt x="1049" y="579"/>
                    </a:lnTo>
                    <a:lnTo>
                      <a:pt x="1048" y="554"/>
                    </a:lnTo>
                    <a:lnTo>
                      <a:pt x="1045" y="529"/>
                    </a:lnTo>
                    <a:lnTo>
                      <a:pt x="1041" y="507"/>
                    </a:lnTo>
                    <a:lnTo>
                      <a:pt x="1036" y="483"/>
                    </a:lnTo>
                    <a:lnTo>
                      <a:pt x="1030" y="460"/>
                    </a:lnTo>
                    <a:lnTo>
                      <a:pt x="1022" y="438"/>
                    </a:lnTo>
                    <a:lnTo>
                      <a:pt x="1013" y="416"/>
                    </a:lnTo>
                    <a:lnTo>
                      <a:pt x="1003" y="394"/>
                    </a:lnTo>
                    <a:lnTo>
                      <a:pt x="991" y="374"/>
                    </a:lnTo>
                    <a:lnTo>
                      <a:pt x="979" y="353"/>
                    </a:lnTo>
                    <a:lnTo>
                      <a:pt x="965" y="334"/>
                    </a:lnTo>
                    <a:lnTo>
                      <a:pt x="950" y="315"/>
                    </a:lnTo>
                    <a:lnTo>
                      <a:pt x="926" y="288"/>
                    </a:lnTo>
                    <a:lnTo>
                      <a:pt x="901" y="262"/>
                    </a:lnTo>
                    <a:lnTo>
                      <a:pt x="873" y="238"/>
                    </a:lnTo>
                    <a:lnTo>
                      <a:pt x="845" y="215"/>
                    </a:lnTo>
                    <a:lnTo>
                      <a:pt x="815" y="195"/>
                    </a:lnTo>
                    <a:lnTo>
                      <a:pt x="784" y="175"/>
                    </a:lnTo>
                    <a:lnTo>
                      <a:pt x="751" y="157"/>
                    </a:lnTo>
                    <a:lnTo>
                      <a:pt x="718" y="140"/>
                    </a:lnTo>
                    <a:lnTo>
                      <a:pt x="683" y="125"/>
                    </a:lnTo>
                    <a:lnTo>
                      <a:pt x="649" y="110"/>
                    </a:lnTo>
                    <a:lnTo>
                      <a:pt x="613" y="99"/>
                    </a:lnTo>
                    <a:lnTo>
                      <a:pt x="578" y="87"/>
                    </a:lnTo>
                    <a:lnTo>
                      <a:pt x="541" y="76"/>
                    </a:lnTo>
                    <a:lnTo>
                      <a:pt x="505" y="67"/>
                    </a:lnTo>
                    <a:lnTo>
                      <a:pt x="470" y="59"/>
                    </a:lnTo>
                    <a:lnTo>
                      <a:pt x="434" y="52"/>
                    </a:lnTo>
                    <a:lnTo>
                      <a:pt x="398" y="46"/>
                    </a:lnTo>
                    <a:lnTo>
                      <a:pt x="364" y="41"/>
                    </a:lnTo>
                    <a:lnTo>
                      <a:pt x="329" y="37"/>
                    </a:lnTo>
                    <a:lnTo>
                      <a:pt x="297" y="34"/>
                    </a:lnTo>
                    <a:lnTo>
                      <a:pt x="264" y="32"/>
                    </a:lnTo>
                    <a:lnTo>
                      <a:pt x="233" y="30"/>
                    </a:lnTo>
                    <a:lnTo>
                      <a:pt x="204" y="28"/>
                    </a:lnTo>
                    <a:lnTo>
                      <a:pt x="176" y="28"/>
                    </a:lnTo>
                    <a:lnTo>
                      <a:pt x="149" y="28"/>
                    </a:lnTo>
                    <a:lnTo>
                      <a:pt x="124" y="31"/>
                    </a:lnTo>
                    <a:lnTo>
                      <a:pt x="100" y="32"/>
                    </a:lnTo>
                    <a:lnTo>
                      <a:pt x="80" y="34"/>
                    </a:lnTo>
                    <a:lnTo>
                      <a:pt x="60" y="37"/>
                    </a:lnTo>
                    <a:lnTo>
                      <a:pt x="44" y="40"/>
                    </a:lnTo>
                    <a:lnTo>
                      <a:pt x="30" y="44"/>
                    </a:lnTo>
                    <a:lnTo>
                      <a:pt x="18" y="48"/>
                    </a:lnTo>
                    <a:lnTo>
                      <a:pt x="14" y="49"/>
                    </a:lnTo>
                    <a:lnTo>
                      <a:pt x="8" y="48"/>
                    </a:lnTo>
                    <a:lnTo>
                      <a:pt x="4" y="45"/>
                    </a:lnTo>
                    <a:lnTo>
                      <a:pt x="1" y="40"/>
                    </a:lnTo>
                    <a:lnTo>
                      <a:pt x="0" y="35"/>
                    </a:lnTo>
                    <a:lnTo>
                      <a:pt x="1" y="30"/>
                    </a:lnTo>
                    <a:lnTo>
                      <a:pt x="4" y="25"/>
                    </a:lnTo>
                    <a:lnTo>
                      <a:pt x="8" y="23"/>
                    </a:lnTo>
                    <a:lnTo>
                      <a:pt x="23" y="18"/>
                    </a:lnTo>
                    <a:lnTo>
                      <a:pt x="39" y="13"/>
                    </a:lnTo>
                    <a:lnTo>
                      <a:pt x="57" y="10"/>
                    </a:lnTo>
                    <a:lnTo>
                      <a:pt x="79" y="7"/>
                    </a:lnTo>
                    <a:lnTo>
                      <a:pt x="101" y="4"/>
                    </a:lnTo>
                    <a:lnTo>
                      <a:pt x="126" y="3"/>
                    </a:lnTo>
                    <a:lnTo>
                      <a:pt x="153" y="1"/>
                    </a:lnTo>
                    <a:lnTo>
                      <a:pt x="181" y="0"/>
                    </a:lnTo>
                    <a:lnTo>
                      <a:pt x="211" y="1"/>
                    </a:lnTo>
                    <a:lnTo>
                      <a:pt x="243" y="3"/>
                    </a:lnTo>
                    <a:lnTo>
                      <a:pt x="275" y="5"/>
                    </a:lnTo>
                    <a:lnTo>
                      <a:pt x="309" y="8"/>
                    </a:lnTo>
                    <a:lnTo>
                      <a:pt x="343" y="11"/>
                    </a:lnTo>
                    <a:lnTo>
                      <a:pt x="379" y="17"/>
                    </a:lnTo>
                    <a:lnTo>
                      <a:pt x="414" y="22"/>
                    </a:lnTo>
                    <a:lnTo>
                      <a:pt x="450" y="28"/>
                    </a:lnTo>
                    <a:lnTo>
                      <a:pt x="487" y="36"/>
                    </a:lnTo>
                    <a:lnTo>
                      <a:pt x="524" y="46"/>
                    </a:lnTo>
                    <a:lnTo>
                      <a:pt x="560" y="55"/>
                    </a:lnTo>
                    <a:lnTo>
                      <a:pt x="597" y="66"/>
                    </a:lnTo>
                    <a:lnTo>
                      <a:pt x="633" y="78"/>
                    </a:lnTo>
                    <a:lnTo>
                      <a:pt x="669" y="92"/>
                    </a:lnTo>
                    <a:lnTo>
                      <a:pt x="704" y="106"/>
                    </a:lnTo>
                    <a:lnTo>
                      <a:pt x="738" y="122"/>
                    </a:lnTo>
                    <a:lnTo>
                      <a:pt x="773" y="140"/>
                    </a:lnTo>
                    <a:lnTo>
                      <a:pt x="805" y="158"/>
                    </a:lnTo>
                    <a:lnTo>
                      <a:pt x="837" y="177"/>
                    </a:lnTo>
                    <a:lnTo>
                      <a:pt x="867" y="199"/>
                    </a:lnTo>
                    <a:lnTo>
                      <a:pt x="895" y="221"/>
                    </a:lnTo>
                    <a:lnTo>
                      <a:pt x="923" y="245"/>
                    </a:lnTo>
                    <a:lnTo>
                      <a:pt x="948" y="270"/>
                    </a:lnTo>
                    <a:lnTo>
                      <a:pt x="972" y="297"/>
                    </a:lnTo>
                    <a:lnTo>
                      <a:pt x="987" y="318"/>
                    </a:lnTo>
                    <a:lnTo>
                      <a:pt x="1002" y="338"/>
                    </a:lnTo>
                    <a:lnTo>
                      <a:pt x="1015" y="360"/>
                    </a:lnTo>
                    <a:lnTo>
                      <a:pt x="1027" y="381"/>
                    </a:lnTo>
                    <a:lnTo>
                      <a:pt x="1038" y="404"/>
                    </a:lnTo>
                    <a:lnTo>
                      <a:pt x="1047" y="427"/>
                    </a:lnTo>
                    <a:lnTo>
                      <a:pt x="1055" y="451"/>
                    </a:lnTo>
                    <a:lnTo>
                      <a:pt x="1062" y="474"/>
                    </a:lnTo>
                    <a:lnTo>
                      <a:pt x="1068" y="498"/>
                    </a:lnTo>
                    <a:lnTo>
                      <a:pt x="1072" y="523"/>
                    </a:lnTo>
                    <a:lnTo>
                      <a:pt x="1075" y="548"/>
                    </a:lnTo>
                    <a:lnTo>
                      <a:pt x="1076" y="574"/>
                    </a:lnTo>
                    <a:lnTo>
                      <a:pt x="1077" y="599"/>
                    </a:lnTo>
                    <a:lnTo>
                      <a:pt x="1076" y="626"/>
                    </a:lnTo>
                    <a:lnTo>
                      <a:pt x="1075" y="653"/>
                    </a:lnTo>
                    <a:lnTo>
                      <a:pt x="1072" y="680"/>
                    </a:lnTo>
                    <a:lnTo>
                      <a:pt x="1068" y="709"/>
                    </a:lnTo>
                    <a:lnTo>
                      <a:pt x="1061" y="737"/>
                    </a:lnTo>
                    <a:lnTo>
                      <a:pt x="1055" y="766"/>
                    </a:lnTo>
                    <a:lnTo>
                      <a:pt x="1046" y="795"/>
                    </a:lnTo>
                    <a:lnTo>
                      <a:pt x="1038" y="825"/>
                    </a:lnTo>
                    <a:lnTo>
                      <a:pt x="1027" y="854"/>
                    </a:lnTo>
                    <a:lnTo>
                      <a:pt x="1015" y="886"/>
                    </a:lnTo>
                    <a:lnTo>
                      <a:pt x="1002" y="917"/>
                    </a:lnTo>
                    <a:lnTo>
                      <a:pt x="987" y="948"/>
                    </a:lnTo>
                    <a:lnTo>
                      <a:pt x="972" y="979"/>
                    </a:lnTo>
                    <a:lnTo>
                      <a:pt x="954" y="1013"/>
                    </a:lnTo>
                    <a:lnTo>
                      <a:pt x="936" y="1045"/>
                    </a:lnTo>
                    <a:lnTo>
                      <a:pt x="917" y="1079"/>
                    </a:lnTo>
                    <a:lnTo>
                      <a:pt x="896" y="1112"/>
                    </a:lnTo>
                    <a:lnTo>
                      <a:pt x="873" y="1147"/>
                    </a:lnTo>
                    <a:lnTo>
                      <a:pt x="851" y="1181"/>
                    </a:lnTo>
                    <a:lnTo>
                      <a:pt x="815" y="1236"/>
                    </a:lnTo>
                    <a:lnTo>
                      <a:pt x="785" y="1290"/>
                    </a:lnTo>
                    <a:lnTo>
                      <a:pt x="760" y="1344"/>
                    </a:lnTo>
                    <a:lnTo>
                      <a:pt x="738" y="1397"/>
                    </a:lnTo>
                    <a:lnTo>
                      <a:pt x="722" y="1450"/>
                    </a:lnTo>
                    <a:lnTo>
                      <a:pt x="709" y="1501"/>
                    </a:lnTo>
                    <a:lnTo>
                      <a:pt x="701" y="1552"/>
                    </a:lnTo>
                    <a:lnTo>
                      <a:pt x="695" y="1601"/>
                    </a:lnTo>
                    <a:lnTo>
                      <a:pt x="693" y="1650"/>
                    </a:lnTo>
                    <a:lnTo>
                      <a:pt x="694" y="1696"/>
                    </a:lnTo>
                    <a:lnTo>
                      <a:pt x="697" y="1743"/>
                    </a:lnTo>
                    <a:lnTo>
                      <a:pt x="704" y="1787"/>
                    </a:lnTo>
                    <a:lnTo>
                      <a:pt x="713" y="1830"/>
                    </a:lnTo>
                    <a:lnTo>
                      <a:pt x="722" y="1871"/>
                    </a:lnTo>
                    <a:lnTo>
                      <a:pt x="735" y="1911"/>
                    </a:lnTo>
                    <a:lnTo>
                      <a:pt x="748" y="1949"/>
                    </a:lnTo>
                    <a:lnTo>
                      <a:pt x="763" y="1986"/>
                    </a:lnTo>
                    <a:lnTo>
                      <a:pt x="778" y="2021"/>
                    </a:lnTo>
                    <a:lnTo>
                      <a:pt x="795" y="2054"/>
                    </a:lnTo>
                    <a:lnTo>
                      <a:pt x="812" y="2085"/>
                    </a:lnTo>
                    <a:lnTo>
                      <a:pt x="829" y="2114"/>
                    </a:lnTo>
                    <a:lnTo>
                      <a:pt x="845" y="2141"/>
                    </a:lnTo>
                    <a:lnTo>
                      <a:pt x="863" y="2165"/>
                    </a:lnTo>
                    <a:lnTo>
                      <a:pt x="878" y="2187"/>
                    </a:lnTo>
                    <a:lnTo>
                      <a:pt x="907" y="2225"/>
                    </a:lnTo>
                    <a:lnTo>
                      <a:pt x="931" y="2253"/>
                    </a:lnTo>
                    <a:lnTo>
                      <a:pt x="947" y="2272"/>
                    </a:lnTo>
                    <a:lnTo>
                      <a:pt x="953" y="2278"/>
                    </a:lnTo>
                    <a:lnTo>
                      <a:pt x="957" y="2282"/>
                    </a:lnTo>
                    <a:lnTo>
                      <a:pt x="958" y="2288"/>
                    </a:lnTo>
                    <a:lnTo>
                      <a:pt x="957" y="2292"/>
                    </a:lnTo>
                    <a:lnTo>
                      <a:pt x="953" y="2298"/>
                    </a:lnTo>
                    <a:lnTo>
                      <a:pt x="949" y="2300"/>
                    </a:lnTo>
                    <a:lnTo>
                      <a:pt x="944" y="2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15"/>
              <p:cNvSpPr>
                <a:spLocks/>
              </p:cNvSpPr>
              <p:nvPr userDrawn="1"/>
            </p:nvSpPr>
            <p:spPr bwMode="auto">
              <a:xfrm>
                <a:off x="1063" y="2979"/>
                <a:ext cx="1628" cy="416"/>
              </a:xfrm>
              <a:custGeom>
                <a:avLst/>
                <a:gdLst>
                  <a:gd name="T0" fmla="*/ 4862 w 4884"/>
                  <a:gd name="T1" fmla="*/ 1245 h 1249"/>
                  <a:gd name="T2" fmla="*/ 4845 w 4884"/>
                  <a:gd name="T3" fmla="*/ 1212 h 1249"/>
                  <a:gd name="T4" fmla="*/ 4723 w 4884"/>
                  <a:gd name="T5" fmla="*/ 1144 h 1249"/>
                  <a:gd name="T6" fmla="*/ 4491 w 4884"/>
                  <a:gd name="T7" fmla="*/ 1087 h 1249"/>
                  <a:gd name="T8" fmla="*/ 4171 w 4884"/>
                  <a:gd name="T9" fmla="*/ 1039 h 1249"/>
                  <a:gd name="T10" fmla="*/ 3787 w 4884"/>
                  <a:gd name="T11" fmla="*/ 1000 h 1249"/>
                  <a:gd name="T12" fmla="*/ 3358 w 4884"/>
                  <a:gd name="T13" fmla="*/ 970 h 1249"/>
                  <a:gd name="T14" fmla="*/ 2909 w 4884"/>
                  <a:gd name="T15" fmla="*/ 949 h 1249"/>
                  <a:gd name="T16" fmla="*/ 2462 w 4884"/>
                  <a:gd name="T17" fmla="*/ 932 h 1249"/>
                  <a:gd name="T18" fmla="*/ 1904 w 4884"/>
                  <a:gd name="T19" fmla="*/ 922 h 1249"/>
                  <a:gd name="T20" fmla="*/ 1441 w 4884"/>
                  <a:gd name="T21" fmla="*/ 920 h 1249"/>
                  <a:gd name="T22" fmla="*/ 1252 w 4884"/>
                  <a:gd name="T23" fmla="*/ 924 h 1249"/>
                  <a:gd name="T24" fmla="*/ 1129 w 4884"/>
                  <a:gd name="T25" fmla="*/ 916 h 1249"/>
                  <a:gd name="T26" fmla="*/ 962 w 4884"/>
                  <a:gd name="T27" fmla="*/ 878 h 1249"/>
                  <a:gd name="T28" fmla="*/ 800 w 4884"/>
                  <a:gd name="T29" fmla="*/ 815 h 1249"/>
                  <a:gd name="T30" fmla="*/ 645 w 4884"/>
                  <a:gd name="T31" fmla="*/ 729 h 1249"/>
                  <a:gd name="T32" fmla="*/ 502 w 4884"/>
                  <a:gd name="T33" fmla="*/ 629 h 1249"/>
                  <a:gd name="T34" fmla="*/ 372 w 4884"/>
                  <a:gd name="T35" fmla="*/ 519 h 1249"/>
                  <a:gd name="T36" fmla="*/ 257 w 4884"/>
                  <a:gd name="T37" fmla="*/ 405 h 1249"/>
                  <a:gd name="T38" fmla="*/ 159 w 4884"/>
                  <a:gd name="T39" fmla="*/ 291 h 1249"/>
                  <a:gd name="T40" fmla="*/ 83 w 4884"/>
                  <a:gd name="T41" fmla="*/ 185 h 1249"/>
                  <a:gd name="T42" fmla="*/ 29 w 4884"/>
                  <a:gd name="T43" fmla="*/ 93 h 1249"/>
                  <a:gd name="T44" fmla="*/ 0 w 4884"/>
                  <a:gd name="T45" fmla="*/ 17 h 1249"/>
                  <a:gd name="T46" fmla="*/ 4 w 4884"/>
                  <a:gd name="T47" fmla="*/ 3 h 1249"/>
                  <a:gd name="T48" fmla="*/ 19 w 4884"/>
                  <a:gd name="T49" fmla="*/ 2 h 1249"/>
                  <a:gd name="T50" fmla="*/ 32 w 4884"/>
                  <a:gd name="T51" fmla="*/ 32 h 1249"/>
                  <a:gd name="T52" fmla="*/ 69 w 4884"/>
                  <a:gd name="T53" fmla="*/ 113 h 1249"/>
                  <a:gd name="T54" fmla="*/ 130 w 4884"/>
                  <a:gd name="T55" fmla="*/ 209 h 1249"/>
                  <a:gd name="T56" fmla="*/ 212 w 4884"/>
                  <a:gd name="T57" fmla="*/ 315 h 1249"/>
                  <a:gd name="T58" fmla="*/ 313 w 4884"/>
                  <a:gd name="T59" fmla="*/ 426 h 1249"/>
                  <a:gd name="T60" fmla="*/ 431 w 4884"/>
                  <a:gd name="T61" fmla="*/ 537 h 1249"/>
                  <a:gd name="T62" fmla="*/ 563 w 4884"/>
                  <a:gd name="T63" fmla="*/ 642 h 1249"/>
                  <a:gd name="T64" fmla="*/ 707 w 4884"/>
                  <a:gd name="T65" fmla="*/ 736 h 1249"/>
                  <a:gd name="T66" fmla="*/ 860 w 4884"/>
                  <a:gd name="T67" fmla="*/ 813 h 1249"/>
                  <a:gd name="T68" fmla="*/ 1021 w 4884"/>
                  <a:gd name="T69" fmla="*/ 868 h 1249"/>
                  <a:gd name="T70" fmla="*/ 1187 w 4884"/>
                  <a:gd name="T71" fmla="*/ 895 h 1249"/>
                  <a:gd name="T72" fmla="*/ 1261 w 4884"/>
                  <a:gd name="T73" fmla="*/ 897 h 1249"/>
                  <a:gd name="T74" fmla="*/ 1753 w 4884"/>
                  <a:gd name="T75" fmla="*/ 896 h 1249"/>
                  <a:gd name="T76" fmla="*/ 2285 w 4884"/>
                  <a:gd name="T77" fmla="*/ 903 h 1249"/>
                  <a:gd name="T78" fmla="*/ 2740 w 4884"/>
                  <a:gd name="T79" fmla="*/ 916 h 1249"/>
                  <a:gd name="T80" fmla="*/ 3214 w 4884"/>
                  <a:gd name="T81" fmla="*/ 937 h 1249"/>
                  <a:gd name="T82" fmla="*/ 3679 w 4884"/>
                  <a:gd name="T83" fmla="*/ 966 h 1249"/>
                  <a:gd name="T84" fmla="*/ 4105 w 4884"/>
                  <a:gd name="T85" fmla="*/ 1006 h 1249"/>
                  <a:gd name="T86" fmla="*/ 4464 w 4884"/>
                  <a:gd name="T87" fmla="*/ 1057 h 1249"/>
                  <a:gd name="T88" fmla="*/ 4728 w 4884"/>
                  <a:gd name="T89" fmla="*/ 1122 h 1249"/>
                  <a:gd name="T90" fmla="*/ 4869 w 4884"/>
                  <a:gd name="T91" fmla="*/ 1202 h 1249"/>
                  <a:gd name="T92" fmla="*/ 4882 w 4884"/>
                  <a:gd name="T93" fmla="*/ 1242 h 1249"/>
                  <a:gd name="T94" fmla="*/ 4872 w 4884"/>
                  <a:gd name="T95" fmla="*/ 1248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84" h="1249">
                    <a:moveTo>
                      <a:pt x="4870" y="1249"/>
                    </a:moveTo>
                    <a:lnTo>
                      <a:pt x="4865" y="1248"/>
                    </a:lnTo>
                    <a:lnTo>
                      <a:pt x="4862" y="1245"/>
                    </a:lnTo>
                    <a:lnTo>
                      <a:pt x="4859" y="1241"/>
                    </a:lnTo>
                    <a:lnTo>
                      <a:pt x="4857" y="1237"/>
                    </a:lnTo>
                    <a:lnTo>
                      <a:pt x="4845" y="1212"/>
                    </a:lnTo>
                    <a:lnTo>
                      <a:pt x="4818" y="1188"/>
                    </a:lnTo>
                    <a:lnTo>
                      <a:pt x="4777" y="1166"/>
                    </a:lnTo>
                    <a:lnTo>
                      <a:pt x="4723" y="1144"/>
                    </a:lnTo>
                    <a:lnTo>
                      <a:pt x="4657" y="1125"/>
                    </a:lnTo>
                    <a:lnTo>
                      <a:pt x="4579" y="1105"/>
                    </a:lnTo>
                    <a:lnTo>
                      <a:pt x="4491" y="1087"/>
                    </a:lnTo>
                    <a:lnTo>
                      <a:pt x="4393" y="1071"/>
                    </a:lnTo>
                    <a:lnTo>
                      <a:pt x="4287" y="1054"/>
                    </a:lnTo>
                    <a:lnTo>
                      <a:pt x="4171" y="1039"/>
                    </a:lnTo>
                    <a:lnTo>
                      <a:pt x="4049" y="1025"/>
                    </a:lnTo>
                    <a:lnTo>
                      <a:pt x="3920" y="1012"/>
                    </a:lnTo>
                    <a:lnTo>
                      <a:pt x="3787" y="1000"/>
                    </a:lnTo>
                    <a:lnTo>
                      <a:pt x="3647" y="990"/>
                    </a:lnTo>
                    <a:lnTo>
                      <a:pt x="3505" y="980"/>
                    </a:lnTo>
                    <a:lnTo>
                      <a:pt x="3358" y="970"/>
                    </a:lnTo>
                    <a:lnTo>
                      <a:pt x="3210" y="963"/>
                    </a:lnTo>
                    <a:lnTo>
                      <a:pt x="3060" y="955"/>
                    </a:lnTo>
                    <a:lnTo>
                      <a:pt x="2909" y="949"/>
                    </a:lnTo>
                    <a:lnTo>
                      <a:pt x="2759" y="942"/>
                    </a:lnTo>
                    <a:lnTo>
                      <a:pt x="2609" y="937"/>
                    </a:lnTo>
                    <a:lnTo>
                      <a:pt x="2462" y="932"/>
                    </a:lnTo>
                    <a:lnTo>
                      <a:pt x="2316" y="929"/>
                    </a:lnTo>
                    <a:lnTo>
                      <a:pt x="2174" y="926"/>
                    </a:lnTo>
                    <a:lnTo>
                      <a:pt x="1904" y="922"/>
                    </a:lnTo>
                    <a:lnTo>
                      <a:pt x="1657" y="920"/>
                    </a:lnTo>
                    <a:lnTo>
                      <a:pt x="1545" y="920"/>
                    </a:lnTo>
                    <a:lnTo>
                      <a:pt x="1441" y="920"/>
                    </a:lnTo>
                    <a:lnTo>
                      <a:pt x="1346" y="922"/>
                    </a:lnTo>
                    <a:lnTo>
                      <a:pt x="1261" y="924"/>
                    </a:lnTo>
                    <a:lnTo>
                      <a:pt x="1252" y="924"/>
                    </a:lnTo>
                    <a:lnTo>
                      <a:pt x="1244" y="924"/>
                    </a:lnTo>
                    <a:lnTo>
                      <a:pt x="1186" y="922"/>
                    </a:lnTo>
                    <a:lnTo>
                      <a:pt x="1129" y="916"/>
                    </a:lnTo>
                    <a:lnTo>
                      <a:pt x="1073" y="906"/>
                    </a:lnTo>
                    <a:lnTo>
                      <a:pt x="1017" y="894"/>
                    </a:lnTo>
                    <a:lnTo>
                      <a:pt x="962" y="878"/>
                    </a:lnTo>
                    <a:lnTo>
                      <a:pt x="907" y="860"/>
                    </a:lnTo>
                    <a:lnTo>
                      <a:pt x="853" y="838"/>
                    </a:lnTo>
                    <a:lnTo>
                      <a:pt x="800" y="815"/>
                    </a:lnTo>
                    <a:lnTo>
                      <a:pt x="747" y="788"/>
                    </a:lnTo>
                    <a:lnTo>
                      <a:pt x="696" y="760"/>
                    </a:lnTo>
                    <a:lnTo>
                      <a:pt x="645" y="729"/>
                    </a:lnTo>
                    <a:lnTo>
                      <a:pt x="597" y="697"/>
                    </a:lnTo>
                    <a:lnTo>
                      <a:pt x="548" y="664"/>
                    </a:lnTo>
                    <a:lnTo>
                      <a:pt x="502" y="629"/>
                    </a:lnTo>
                    <a:lnTo>
                      <a:pt x="458" y="593"/>
                    </a:lnTo>
                    <a:lnTo>
                      <a:pt x="413" y="557"/>
                    </a:lnTo>
                    <a:lnTo>
                      <a:pt x="372" y="519"/>
                    </a:lnTo>
                    <a:lnTo>
                      <a:pt x="331" y="481"/>
                    </a:lnTo>
                    <a:lnTo>
                      <a:pt x="293" y="442"/>
                    </a:lnTo>
                    <a:lnTo>
                      <a:pt x="257" y="405"/>
                    </a:lnTo>
                    <a:lnTo>
                      <a:pt x="222" y="367"/>
                    </a:lnTo>
                    <a:lnTo>
                      <a:pt x="190" y="329"/>
                    </a:lnTo>
                    <a:lnTo>
                      <a:pt x="159" y="291"/>
                    </a:lnTo>
                    <a:lnTo>
                      <a:pt x="131" y="256"/>
                    </a:lnTo>
                    <a:lnTo>
                      <a:pt x="106" y="220"/>
                    </a:lnTo>
                    <a:lnTo>
                      <a:pt x="83" y="185"/>
                    </a:lnTo>
                    <a:lnTo>
                      <a:pt x="62" y="153"/>
                    </a:lnTo>
                    <a:lnTo>
                      <a:pt x="44" y="122"/>
                    </a:lnTo>
                    <a:lnTo>
                      <a:pt x="29" y="93"/>
                    </a:lnTo>
                    <a:lnTo>
                      <a:pt x="16" y="64"/>
                    </a:lnTo>
                    <a:lnTo>
                      <a:pt x="6" y="40"/>
                    </a:lnTo>
                    <a:lnTo>
                      <a:pt x="0" y="17"/>
                    </a:lnTo>
                    <a:lnTo>
                      <a:pt x="0" y="12"/>
                    </a:lnTo>
                    <a:lnTo>
                      <a:pt x="1" y="6"/>
                    </a:lnTo>
                    <a:lnTo>
                      <a:pt x="4" y="3"/>
                    </a:lnTo>
                    <a:lnTo>
                      <a:pt x="9" y="1"/>
                    </a:lnTo>
                    <a:lnTo>
                      <a:pt x="15" y="0"/>
                    </a:lnTo>
                    <a:lnTo>
                      <a:pt x="19" y="2"/>
                    </a:lnTo>
                    <a:lnTo>
                      <a:pt x="23" y="5"/>
                    </a:lnTo>
                    <a:lnTo>
                      <a:pt x="26" y="10"/>
                    </a:lnTo>
                    <a:lnTo>
                      <a:pt x="32" y="32"/>
                    </a:lnTo>
                    <a:lnTo>
                      <a:pt x="42" y="57"/>
                    </a:lnTo>
                    <a:lnTo>
                      <a:pt x="54" y="84"/>
                    </a:lnTo>
                    <a:lnTo>
                      <a:pt x="69" y="113"/>
                    </a:lnTo>
                    <a:lnTo>
                      <a:pt x="87" y="143"/>
                    </a:lnTo>
                    <a:lnTo>
                      <a:pt x="108" y="176"/>
                    </a:lnTo>
                    <a:lnTo>
                      <a:pt x="130" y="209"/>
                    </a:lnTo>
                    <a:lnTo>
                      <a:pt x="155" y="244"/>
                    </a:lnTo>
                    <a:lnTo>
                      <a:pt x="182" y="279"/>
                    </a:lnTo>
                    <a:lnTo>
                      <a:pt x="212" y="315"/>
                    </a:lnTo>
                    <a:lnTo>
                      <a:pt x="244" y="352"/>
                    </a:lnTo>
                    <a:lnTo>
                      <a:pt x="277" y="389"/>
                    </a:lnTo>
                    <a:lnTo>
                      <a:pt x="313" y="426"/>
                    </a:lnTo>
                    <a:lnTo>
                      <a:pt x="351" y="464"/>
                    </a:lnTo>
                    <a:lnTo>
                      <a:pt x="389" y="501"/>
                    </a:lnTo>
                    <a:lnTo>
                      <a:pt x="431" y="537"/>
                    </a:lnTo>
                    <a:lnTo>
                      <a:pt x="474" y="573"/>
                    </a:lnTo>
                    <a:lnTo>
                      <a:pt x="518" y="609"/>
                    </a:lnTo>
                    <a:lnTo>
                      <a:pt x="563" y="642"/>
                    </a:lnTo>
                    <a:lnTo>
                      <a:pt x="610" y="675"/>
                    </a:lnTo>
                    <a:lnTo>
                      <a:pt x="658" y="707"/>
                    </a:lnTo>
                    <a:lnTo>
                      <a:pt x="707" y="736"/>
                    </a:lnTo>
                    <a:lnTo>
                      <a:pt x="758" y="764"/>
                    </a:lnTo>
                    <a:lnTo>
                      <a:pt x="808" y="790"/>
                    </a:lnTo>
                    <a:lnTo>
                      <a:pt x="860" y="813"/>
                    </a:lnTo>
                    <a:lnTo>
                      <a:pt x="913" y="834"/>
                    </a:lnTo>
                    <a:lnTo>
                      <a:pt x="967" y="852"/>
                    </a:lnTo>
                    <a:lnTo>
                      <a:pt x="1021" y="868"/>
                    </a:lnTo>
                    <a:lnTo>
                      <a:pt x="1076" y="879"/>
                    </a:lnTo>
                    <a:lnTo>
                      <a:pt x="1131" y="889"/>
                    </a:lnTo>
                    <a:lnTo>
                      <a:pt x="1187" y="895"/>
                    </a:lnTo>
                    <a:lnTo>
                      <a:pt x="1243" y="897"/>
                    </a:lnTo>
                    <a:lnTo>
                      <a:pt x="1252" y="897"/>
                    </a:lnTo>
                    <a:lnTo>
                      <a:pt x="1261" y="897"/>
                    </a:lnTo>
                    <a:lnTo>
                      <a:pt x="1373" y="895"/>
                    </a:lnTo>
                    <a:lnTo>
                      <a:pt x="1541" y="895"/>
                    </a:lnTo>
                    <a:lnTo>
                      <a:pt x="1753" y="896"/>
                    </a:lnTo>
                    <a:lnTo>
                      <a:pt x="2005" y="898"/>
                    </a:lnTo>
                    <a:lnTo>
                      <a:pt x="2141" y="900"/>
                    </a:lnTo>
                    <a:lnTo>
                      <a:pt x="2285" y="903"/>
                    </a:lnTo>
                    <a:lnTo>
                      <a:pt x="2433" y="906"/>
                    </a:lnTo>
                    <a:lnTo>
                      <a:pt x="2585" y="911"/>
                    </a:lnTo>
                    <a:lnTo>
                      <a:pt x="2740" y="916"/>
                    </a:lnTo>
                    <a:lnTo>
                      <a:pt x="2898" y="922"/>
                    </a:lnTo>
                    <a:lnTo>
                      <a:pt x="3057" y="928"/>
                    </a:lnTo>
                    <a:lnTo>
                      <a:pt x="3214" y="937"/>
                    </a:lnTo>
                    <a:lnTo>
                      <a:pt x="3372" y="945"/>
                    </a:lnTo>
                    <a:lnTo>
                      <a:pt x="3527" y="955"/>
                    </a:lnTo>
                    <a:lnTo>
                      <a:pt x="3679" y="966"/>
                    </a:lnTo>
                    <a:lnTo>
                      <a:pt x="3827" y="978"/>
                    </a:lnTo>
                    <a:lnTo>
                      <a:pt x="3969" y="991"/>
                    </a:lnTo>
                    <a:lnTo>
                      <a:pt x="4105" y="1006"/>
                    </a:lnTo>
                    <a:lnTo>
                      <a:pt x="4234" y="1021"/>
                    </a:lnTo>
                    <a:lnTo>
                      <a:pt x="4353" y="1038"/>
                    </a:lnTo>
                    <a:lnTo>
                      <a:pt x="4464" y="1057"/>
                    </a:lnTo>
                    <a:lnTo>
                      <a:pt x="4564" y="1077"/>
                    </a:lnTo>
                    <a:lnTo>
                      <a:pt x="4653" y="1099"/>
                    </a:lnTo>
                    <a:lnTo>
                      <a:pt x="4728" y="1122"/>
                    </a:lnTo>
                    <a:lnTo>
                      <a:pt x="4790" y="1147"/>
                    </a:lnTo>
                    <a:lnTo>
                      <a:pt x="4837" y="1173"/>
                    </a:lnTo>
                    <a:lnTo>
                      <a:pt x="4869" y="1202"/>
                    </a:lnTo>
                    <a:lnTo>
                      <a:pt x="4884" y="1232"/>
                    </a:lnTo>
                    <a:lnTo>
                      <a:pt x="4884" y="1238"/>
                    </a:lnTo>
                    <a:lnTo>
                      <a:pt x="4882" y="1242"/>
                    </a:lnTo>
                    <a:lnTo>
                      <a:pt x="4877" y="1245"/>
                    </a:lnTo>
                    <a:lnTo>
                      <a:pt x="4873" y="1248"/>
                    </a:lnTo>
                    <a:lnTo>
                      <a:pt x="4872" y="1248"/>
                    </a:lnTo>
                    <a:lnTo>
                      <a:pt x="4870" y="1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16"/>
              <p:cNvSpPr>
                <a:spLocks/>
              </p:cNvSpPr>
              <p:nvPr userDrawn="1"/>
            </p:nvSpPr>
            <p:spPr bwMode="auto">
              <a:xfrm>
                <a:off x="672" y="3389"/>
                <a:ext cx="485" cy="596"/>
              </a:xfrm>
              <a:custGeom>
                <a:avLst/>
                <a:gdLst>
                  <a:gd name="T0" fmla="*/ 1436 w 1455"/>
                  <a:gd name="T1" fmla="*/ 1789 h 1790"/>
                  <a:gd name="T2" fmla="*/ 1429 w 1455"/>
                  <a:gd name="T3" fmla="*/ 1783 h 1790"/>
                  <a:gd name="T4" fmla="*/ 1427 w 1455"/>
                  <a:gd name="T5" fmla="*/ 1772 h 1790"/>
                  <a:gd name="T6" fmla="*/ 1419 w 1455"/>
                  <a:gd name="T7" fmla="*/ 1724 h 1790"/>
                  <a:gd name="T8" fmla="*/ 1404 w 1455"/>
                  <a:gd name="T9" fmla="*/ 1640 h 1790"/>
                  <a:gd name="T10" fmla="*/ 1380 w 1455"/>
                  <a:gd name="T11" fmla="*/ 1525 h 1790"/>
                  <a:gd name="T12" fmla="*/ 1347 w 1455"/>
                  <a:gd name="T13" fmla="*/ 1386 h 1790"/>
                  <a:gd name="T14" fmla="*/ 1314 w 1455"/>
                  <a:gd name="T15" fmla="*/ 1272 h 1790"/>
                  <a:gd name="T16" fmla="*/ 1288 w 1455"/>
                  <a:gd name="T17" fmla="*/ 1192 h 1790"/>
                  <a:gd name="T18" fmla="*/ 1260 w 1455"/>
                  <a:gd name="T19" fmla="*/ 1111 h 1790"/>
                  <a:gd name="T20" fmla="*/ 1229 w 1455"/>
                  <a:gd name="T21" fmla="*/ 1028 h 1790"/>
                  <a:gd name="T22" fmla="*/ 1194 w 1455"/>
                  <a:gd name="T23" fmla="*/ 946 h 1790"/>
                  <a:gd name="T24" fmla="*/ 1155 w 1455"/>
                  <a:gd name="T25" fmla="*/ 865 h 1790"/>
                  <a:gd name="T26" fmla="*/ 1087 w 1455"/>
                  <a:gd name="T27" fmla="*/ 737 h 1790"/>
                  <a:gd name="T28" fmla="*/ 989 w 1455"/>
                  <a:gd name="T29" fmla="*/ 579 h 1790"/>
                  <a:gd name="T30" fmla="*/ 891 w 1455"/>
                  <a:gd name="T31" fmla="*/ 447 h 1790"/>
                  <a:gd name="T32" fmla="*/ 794 w 1455"/>
                  <a:gd name="T33" fmla="*/ 337 h 1790"/>
                  <a:gd name="T34" fmla="*/ 698 w 1455"/>
                  <a:gd name="T35" fmla="*/ 248 h 1790"/>
                  <a:gd name="T36" fmla="*/ 604 w 1455"/>
                  <a:gd name="T37" fmla="*/ 176 h 1790"/>
                  <a:gd name="T38" fmla="*/ 513 w 1455"/>
                  <a:gd name="T39" fmla="*/ 121 h 1790"/>
                  <a:gd name="T40" fmla="*/ 428 w 1455"/>
                  <a:gd name="T41" fmla="*/ 81 h 1790"/>
                  <a:gd name="T42" fmla="*/ 347 w 1455"/>
                  <a:gd name="T43" fmla="*/ 54 h 1790"/>
                  <a:gd name="T44" fmla="*/ 273 w 1455"/>
                  <a:gd name="T45" fmla="*/ 37 h 1790"/>
                  <a:gd name="T46" fmla="*/ 206 w 1455"/>
                  <a:gd name="T47" fmla="*/ 28 h 1790"/>
                  <a:gd name="T48" fmla="*/ 149 w 1455"/>
                  <a:gd name="T49" fmla="*/ 26 h 1790"/>
                  <a:gd name="T50" fmla="*/ 101 w 1455"/>
                  <a:gd name="T51" fmla="*/ 29 h 1790"/>
                  <a:gd name="T52" fmla="*/ 62 w 1455"/>
                  <a:gd name="T53" fmla="*/ 34 h 1790"/>
                  <a:gd name="T54" fmla="*/ 26 w 1455"/>
                  <a:gd name="T55" fmla="*/ 41 h 1790"/>
                  <a:gd name="T56" fmla="*/ 13 w 1455"/>
                  <a:gd name="T57" fmla="*/ 45 h 1790"/>
                  <a:gd name="T58" fmla="*/ 4 w 1455"/>
                  <a:gd name="T59" fmla="*/ 40 h 1790"/>
                  <a:gd name="T60" fmla="*/ 0 w 1455"/>
                  <a:gd name="T61" fmla="*/ 31 h 1790"/>
                  <a:gd name="T62" fmla="*/ 4 w 1455"/>
                  <a:gd name="T63" fmla="*/ 21 h 1790"/>
                  <a:gd name="T64" fmla="*/ 17 w 1455"/>
                  <a:gd name="T65" fmla="*/ 17 h 1790"/>
                  <a:gd name="T66" fmla="*/ 54 w 1455"/>
                  <a:gd name="T67" fmla="*/ 8 h 1790"/>
                  <a:gd name="T68" fmla="*/ 94 w 1455"/>
                  <a:gd name="T69" fmla="*/ 2 h 1790"/>
                  <a:gd name="T70" fmla="*/ 145 w 1455"/>
                  <a:gd name="T71" fmla="*/ 0 h 1790"/>
                  <a:gd name="T72" fmla="*/ 204 w 1455"/>
                  <a:gd name="T73" fmla="*/ 1 h 1790"/>
                  <a:gd name="T74" fmla="*/ 273 w 1455"/>
                  <a:gd name="T75" fmla="*/ 10 h 1790"/>
                  <a:gd name="T76" fmla="*/ 350 w 1455"/>
                  <a:gd name="T77" fmla="*/ 27 h 1790"/>
                  <a:gd name="T78" fmla="*/ 432 w 1455"/>
                  <a:gd name="T79" fmla="*/ 55 h 1790"/>
                  <a:gd name="T80" fmla="*/ 521 w 1455"/>
                  <a:gd name="T81" fmla="*/ 95 h 1790"/>
                  <a:gd name="T82" fmla="*/ 613 w 1455"/>
                  <a:gd name="T83" fmla="*/ 150 h 1790"/>
                  <a:gd name="T84" fmla="*/ 711 w 1455"/>
                  <a:gd name="T85" fmla="*/ 223 h 1790"/>
                  <a:gd name="T86" fmla="*/ 809 w 1455"/>
                  <a:gd name="T87" fmla="*/ 314 h 1790"/>
                  <a:gd name="T88" fmla="*/ 909 w 1455"/>
                  <a:gd name="T89" fmla="*/ 427 h 1790"/>
                  <a:gd name="T90" fmla="*/ 1010 w 1455"/>
                  <a:gd name="T91" fmla="*/ 562 h 1790"/>
                  <a:gd name="T92" fmla="*/ 1110 w 1455"/>
                  <a:gd name="T93" fmla="*/ 722 h 1790"/>
                  <a:gd name="T94" fmla="*/ 1180 w 1455"/>
                  <a:gd name="T95" fmla="*/ 853 h 1790"/>
                  <a:gd name="T96" fmla="*/ 1218 w 1455"/>
                  <a:gd name="T97" fmla="*/ 935 h 1790"/>
                  <a:gd name="T98" fmla="*/ 1254 w 1455"/>
                  <a:gd name="T99" fmla="*/ 1018 h 1790"/>
                  <a:gd name="T100" fmla="*/ 1285 w 1455"/>
                  <a:gd name="T101" fmla="*/ 1101 h 1790"/>
                  <a:gd name="T102" fmla="*/ 1314 w 1455"/>
                  <a:gd name="T103" fmla="*/ 1183 h 1790"/>
                  <a:gd name="T104" fmla="*/ 1339 w 1455"/>
                  <a:gd name="T105" fmla="*/ 1264 h 1790"/>
                  <a:gd name="T106" fmla="*/ 1373 w 1455"/>
                  <a:gd name="T107" fmla="*/ 1380 h 1790"/>
                  <a:gd name="T108" fmla="*/ 1407 w 1455"/>
                  <a:gd name="T109" fmla="*/ 1519 h 1790"/>
                  <a:gd name="T110" fmla="*/ 1431 w 1455"/>
                  <a:gd name="T111" fmla="*/ 1636 h 1790"/>
                  <a:gd name="T112" fmla="*/ 1446 w 1455"/>
                  <a:gd name="T113" fmla="*/ 1721 h 1790"/>
                  <a:gd name="T114" fmla="*/ 1454 w 1455"/>
                  <a:gd name="T115" fmla="*/ 1767 h 1790"/>
                  <a:gd name="T116" fmla="*/ 1455 w 1455"/>
                  <a:gd name="T117" fmla="*/ 1780 h 1790"/>
                  <a:gd name="T118" fmla="*/ 1448 w 1455"/>
                  <a:gd name="T119" fmla="*/ 1788 h 1790"/>
                  <a:gd name="T120" fmla="*/ 1442 w 1455"/>
                  <a:gd name="T121" fmla="*/ 179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5" h="1790">
                    <a:moveTo>
                      <a:pt x="1441" y="1790"/>
                    </a:moveTo>
                    <a:lnTo>
                      <a:pt x="1436" y="1789"/>
                    </a:lnTo>
                    <a:lnTo>
                      <a:pt x="1432" y="1787"/>
                    </a:lnTo>
                    <a:lnTo>
                      <a:pt x="1429" y="1783"/>
                    </a:lnTo>
                    <a:lnTo>
                      <a:pt x="1428" y="1778"/>
                    </a:lnTo>
                    <a:lnTo>
                      <a:pt x="1427" y="1772"/>
                    </a:lnTo>
                    <a:lnTo>
                      <a:pt x="1424" y="1753"/>
                    </a:lnTo>
                    <a:lnTo>
                      <a:pt x="1419" y="1724"/>
                    </a:lnTo>
                    <a:lnTo>
                      <a:pt x="1412" y="1686"/>
                    </a:lnTo>
                    <a:lnTo>
                      <a:pt x="1404" y="1640"/>
                    </a:lnTo>
                    <a:lnTo>
                      <a:pt x="1393" y="1586"/>
                    </a:lnTo>
                    <a:lnTo>
                      <a:pt x="1380" y="1525"/>
                    </a:lnTo>
                    <a:lnTo>
                      <a:pt x="1365" y="1459"/>
                    </a:lnTo>
                    <a:lnTo>
                      <a:pt x="1347" y="1386"/>
                    </a:lnTo>
                    <a:lnTo>
                      <a:pt x="1325" y="1311"/>
                    </a:lnTo>
                    <a:lnTo>
                      <a:pt x="1314" y="1272"/>
                    </a:lnTo>
                    <a:lnTo>
                      <a:pt x="1301" y="1232"/>
                    </a:lnTo>
                    <a:lnTo>
                      <a:pt x="1288" y="1192"/>
                    </a:lnTo>
                    <a:lnTo>
                      <a:pt x="1274" y="1151"/>
                    </a:lnTo>
                    <a:lnTo>
                      <a:pt x="1260" y="1111"/>
                    </a:lnTo>
                    <a:lnTo>
                      <a:pt x="1245" y="1069"/>
                    </a:lnTo>
                    <a:lnTo>
                      <a:pt x="1229" y="1028"/>
                    </a:lnTo>
                    <a:lnTo>
                      <a:pt x="1212" y="987"/>
                    </a:lnTo>
                    <a:lnTo>
                      <a:pt x="1194" y="946"/>
                    </a:lnTo>
                    <a:lnTo>
                      <a:pt x="1175" y="905"/>
                    </a:lnTo>
                    <a:lnTo>
                      <a:pt x="1155" y="865"/>
                    </a:lnTo>
                    <a:lnTo>
                      <a:pt x="1136" y="825"/>
                    </a:lnTo>
                    <a:lnTo>
                      <a:pt x="1087" y="737"/>
                    </a:lnTo>
                    <a:lnTo>
                      <a:pt x="1039" y="654"/>
                    </a:lnTo>
                    <a:lnTo>
                      <a:pt x="989" y="579"/>
                    </a:lnTo>
                    <a:lnTo>
                      <a:pt x="941" y="510"/>
                    </a:lnTo>
                    <a:lnTo>
                      <a:pt x="891" y="447"/>
                    </a:lnTo>
                    <a:lnTo>
                      <a:pt x="842" y="389"/>
                    </a:lnTo>
                    <a:lnTo>
                      <a:pt x="794" y="337"/>
                    </a:lnTo>
                    <a:lnTo>
                      <a:pt x="745" y="290"/>
                    </a:lnTo>
                    <a:lnTo>
                      <a:pt x="698" y="248"/>
                    </a:lnTo>
                    <a:lnTo>
                      <a:pt x="650" y="210"/>
                    </a:lnTo>
                    <a:lnTo>
                      <a:pt x="604" y="176"/>
                    </a:lnTo>
                    <a:lnTo>
                      <a:pt x="558" y="147"/>
                    </a:lnTo>
                    <a:lnTo>
                      <a:pt x="513" y="121"/>
                    </a:lnTo>
                    <a:lnTo>
                      <a:pt x="470" y="100"/>
                    </a:lnTo>
                    <a:lnTo>
                      <a:pt x="428" y="81"/>
                    </a:lnTo>
                    <a:lnTo>
                      <a:pt x="387" y="66"/>
                    </a:lnTo>
                    <a:lnTo>
                      <a:pt x="347" y="54"/>
                    </a:lnTo>
                    <a:lnTo>
                      <a:pt x="309" y="45"/>
                    </a:lnTo>
                    <a:lnTo>
                      <a:pt x="273" y="37"/>
                    </a:lnTo>
                    <a:lnTo>
                      <a:pt x="239" y="32"/>
                    </a:lnTo>
                    <a:lnTo>
                      <a:pt x="206" y="28"/>
                    </a:lnTo>
                    <a:lnTo>
                      <a:pt x="177" y="27"/>
                    </a:lnTo>
                    <a:lnTo>
                      <a:pt x="149" y="26"/>
                    </a:lnTo>
                    <a:lnTo>
                      <a:pt x="123" y="27"/>
                    </a:lnTo>
                    <a:lnTo>
                      <a:pt x="101" y="29"/>
                    </a:lnTo>
                    <a:lnTo>
                      <a:pt x="80" y="32"/>
                    </a:lnTo>
                    <a:lnTo>
                      <a:pt x="62" y="34"/>
                    </a:lnTo>
                    <a:lnTo>
                      <a:pt x="47" y="37"/>
                    </a:lnTo>
                    <a:lnTo>
                      <a:pt x="26" y="41"/>
                    </a:lnTo>
                    <a:lnTo>
                      <a:pt x="18" y="45"/>
                    </a:lnTo>
                    <a:lnTo>
                      <a:pt x="13" y="45"/>
                    </a:lnTo>
                    <a:lnTo>
                      <a:pt x="8" y="43"/>
                    </a:lnTo>
                    <a:lnTo>
                      <a:pt x="4" y="40"/>
                    </a:lnTo>
                    <a:lnTo>
                      <a:pt x="1" y="36"/>
                    </a:lnTo>
                    <a:lnTo>
                      <a:pt x="0" y="31"/>
                    </a:lnTo>
                    <a:lnTo>
                      <a:pt x="2" y="25"/>
                    </a:lnTo>
                    <a:lnTo>
                      <a:pt x="4" y="21"/>
                    </a:lnTo>
                    <a:lnTo>
                      <a:pt x="10" y="19"/>
                    </a:lnTo>
                    <a:lnTo>
                      <a:pt x="17" y="17"/>
                    </a:lnTo>
                    <a:lnTo>
                      <a:pt x="39" y="11"/>
                    </a:lnTo>
                    <a:lnTo>
                      <a:pt x="54" y="8"/>
                    </a:lnTo>
                    <a:lnTo>
                      <a:pt x="72" y="6"/>
                    </a:lnTo>
                    <a:lnTo>
                      <a:pt x="94" y="2"/>
                    </a:lnTo>
                    <a:lnTo>
                      <a:pt x="118" y="1"/>
                    </a:lnTo>
                    <a:lnTo>
                      <a:pt x="145" y="0"/>
                    </a:lnTo>
                    <a:lnTo>
                      <a:pt x="173" y="0"/>
                    </a:lnTo>
                    <a:lnTo>
                      <a:pt x="204" y="1"/>
                    </a:lnTo>
                    <a:lnTo>
                      <a:pt x="238" y="5"/>
                    </a:lnTo>
                    <a:lnTo>
                      <a:pt x="273" y="10"/>
                    </a:lnTo>
                    <a:lnTo>
                      <a:pt x="310" y="18"/>
                    </a:lnTo>
                    <a:lnTo>
                      <a:pt x="350" y="27"/>
                    </a:lnTo>
                    <a:lnTo>
                      <a:pt x="390" y="39"/>
                    </a:lnTo>
                    <a:lnTo>
                      <a:pt x="432" y="55"/>
                    </a:lnTo>
                    <a:lnTo>
                      <a:pt x="476" y="74"/>
                    </a:lnTo>
                    <a:lnTo>
                      <a:pt x="521" y="95"/>
                    </a:lnTo>
                    <a:lnTo>
                      <a:pt x="567" y="121"/>
                    </a:lnTo>
                    <a:lnTo>
                      <a:pt x="613" y="150"/>
                    </a:lnTo>
                    <a:lnTo>
                      <a:pt x="662" y="185"/>
                    </a:lnTo>
                    <a:lnTo>
                      <a:pt x="711" y="223"/>
                    </a:lnTo>
                    <a:lnTo>
                      <a:pt x="759" y="266"/>
                    </a:lnTo>
                    <a:lnTo>
                      <a:pt x="809" y="314"/>
                    </a:lnTo>
                    <a:lnTo>
                      <a:pt x="860" y="367"/>
                    </a:lnTo>
                    <a:lnTo>
                      <a:pt x="909" y="427"/>
                    </a:lnTo>
                    <a:lnTo>
                      <a:pt x="960" y="491"/>
                    </a:lnTo>
                    <a:lnTo>
                      <a:pt x="1010" y="562"/>
                    </a:lnTo>
                    <a:lnTo>
                      <a:pt x="1060" y="638"/>
                    </a:lnTo>
                    <a:lnTo>
                      <a:pt x="1110" y="722"/>
                    </a:lnTo>
                    <a:lnTo>
                      <a:pt x="1160" y="812"/>
                    </a:lnTo>
                    <a:lnTo>
                      <a:pt x="1180" y="853"/>
                    </a:lnTo>
                    <a:lnTo>
                      <a:pt x="1200" y="894"/>
                    </a:lnTo>
                    <a:lnTo>
                      <a:pt x="1218" y="935"/>
                    </a:lnTo>
                    <a:lnTo>
                      <a:pt x="1236" y="976"/>
                    </a:lnTo>
                    <a:lnTo>
                      <a:pt x="1254" y="1018"/>
                    </a:lnTo>
                    <a:lnTo>
                      <a:pt x="1270" y="1059"/>
                    </a:lnTo>
                    <a:lnTo>
                      <a:pt x="1285" y="1101"/>
                    </a:lnTo>
                    <a:lnTo>
                      <a:pt x="1300" y="1142"/>
                    </a:lnTo>
                    <a:lnTo>
                      <a:pt x="1314" y="1183"/>
                    </a:lnTo>
                    <a:lnTo>
                      <a:pt x="1327" y="1223"/>
                    </a:lnTo>
                    <a:lnTo>
                      <a:pt x="1339" y="1264"/>
                    </a:lnTo>
                    <a:lnTo>
                      <a:pt x="1351" y="1303"/>
                    </a:lnTo>
                    <a:lnTo>
                      <a:pt x="1373" y="1380"/>
                    </a:lnTo>
                    <a:lnTo>
                      <a:pt x="1391" y="1452"/>
                    </a:lnTo>
                    <a:lnTo>
                      <a:pt x="1407" y="1519"/>
                    </a:lnTo>
                    <a:lnTo>
                      <a:pt x="1420" y="1581"/>
                    </a:lnTo>
                    <a:lnTo>
                      <a:pt x="1431" y="1636"/>
                    </a:lnTo>
                    <a:lnTo>
                      <a:pt x="1439" y="1682"/>
                    </a:lnTo>
                    <a:lnTo>
                      <a:pt x="1446" y="1721"/>
                    </a:lnTo>
                    <a:lnTo>
                      <a:pt x="1451" y="1749"/>
                    </a:lnTo>
                    <a:lnTo>
                      <a:pt x="1454" y="1767"/>
                    </a:lnTo>
                    <a:lnTo>
                      <a:pt x="1455" y="1775"/>
                    </a:lnTo>
                    <a:lnTo>
                      <a:pt x="1455" y="1780"/>
                    </a:lnTo>
                    <a:lnTo>
                      <a:pt x="1451" y="1785"/>
                    </a:lnTo>
                    <a:lnTo>
                      <a:pt x="1448" y="1788"/>
                    </a:lnTo>
                    <a:lnTo>
                      <a:pt x="1443" y="1790"/>
                    </a:lnTo>
                    <a:lnTo>
                      <a:pt x="1442" y="1790"/>
                    </a:lnTo>
                    <a:lnTo>
                      <a:pt x="1441" y="1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17"/>
              <p:cNvSpPr>
                <a:spLocks/>
              </p:cNvSpPr>
              <p:nvPr userDrawn="1"/>
            </p:nvSpPr>
            <p:spPr bwMode="auto">
              <a:xfrm>
                <a:off x="304" y="3051"/>
                <a:ext cx="1534" cy="1269"/>
              </a:xfrm>
              <a:custGeom>
                <a:avLst/>
                <a:gdLst>
                  <a:gd name="T0" fmla="*/ 122 w 4604"/>
                  <a:gd name="T1" fmla="*/ 3655 h 3808"/>
                  <a:gd name="T2" fmla="*/ 401 w 4604"/>
                  <a:gd name="T3" fmla="*/ 3293 h 3808"/>
                  <a:gd name="T4" fmla="*/ 748 w 4604"/>
                  <a:gd name="T5" fmla="*/ 2821 h 3808"/>
                  <a:gd name="T6" fmla="*/ 930 w 4604"/>
                  <a:gd name="T7" fmla="*/ 2562 h 3808"/>
                  <a:gd name="T8" fmla="*/ 1109 w 4604"/>
                  <a:gd name="T9" fmla="*/ 2297 h 3808"/>
                  <a:gd name="T10" fmla="*/ 1278 w 4604"/>
                  <a:gd name="T11" fmla="*/ 2032 h 3808"/>
                  <a:gd name="T12" fmla="*/ 1431 w 4604"/>
                  <a:gd name="T13" fmla="*/ 1774 h 3808"/>
                  <a:gd name="T14" fmla="*/ 1562 w 4604"/>
                  <a:gd name="T15" fmla="*/ 1530 h 3808"/>
                  <a:gd name="T16" fmla="*/ 1701 w 4604"/>
                  <a:gd name="T17" fmla="*/ 1249 h 3808"/>
                  <a:gd name="T18" fmla="*/ 1860 w 4604"/>
                  <a:gd name="T19" fmla="*/ 984 h 3808"/>
                  <a:gd name="T20" fmla="*/ 2021 w 4604"/>
                  <a:gd name="T21" fmla="*/ 767 h 3808"/>
                  <a:gd name="T22" fmla="*/ 2183 w 4604"/>
                  <a:gd name="T23" fmla="*/ 591 h 3808"/>
                  <a:gd name="T24" fmla="*/ 2340 w 4604"/>
                  <a:gd name="T25" fmla="*/ 453 h 3808"/>
                  <a:gd name="T26" fmla="*/ 2491 w 4604"/>
                  <a:gd name="T27" fmla="*/ 348 h 3808"/>
                  <a:gd name="T28" fmla="*/ 2633 w 4604"/>
                  <a:gd name="T29" fmla="*/ 272 h 3808"/>
                  <a:gd name="T30" fmla="*/ 2761 w 4604"/>
                  <a:gd name="T31" fmla="*/ 219 h 3808"/>
                  <a:gd name="T32" fmla="*/ 2873 w 4604"/>
                  <a:gd name="T33" fmla="*/ 186 h 3808"/>
                  <a:gd name="T34" fmla="*/ 2964 w 4604"/>
                  <a:gd name="T35" fmla="*/ 169 h 3808"/>
                  <a:gd name="T36" fmla="*/ 3034 w 4604"/>
                  <a:gd name="T37" fmla="*/ 162 h 3808"/>
                  <a:gd name="T38" fmla="*/ 3324 w 4604"/>
                  <a:gd name="T39" fmla="*/ 139 h 3808"/>
                  <a:gd name="T40" fmla="*/ 3698 w 4604"/>
                  <a:gd name="T41" fmla="*/ 101 h 3808"/>
                  <a:gd name="T42" fmla="*/ 4080 w 4604"/>
                  <a:gd name="T43" fmla="*/ 59 h 3808"/>
                  <a:gd name="T44" fmla="*/ 4396 w 4604"/>
                  <a:gd name="T45" fmla="*/ 22 h 3808"/>
                  <a:gd name="T46" fmla="*/ 4573 w 4604"/>
                  <a:gd name="T47" fmla="*/ 1 h 3808"/>
                  <a:gd name="T48" fmla="*/ 4598 w 4604"/>
                  <a:gd name="T49" fmla="*/ 2 h 3808"/>
                  <a:gd name="T50" fmla="*/ 4603 w 4604"/>
                  <a:gd name="T51" fmla="*/ 17 h 3808"/>
                  <a:gd name="T52" fmla="*/ 4592 w 4604"/>
                  <a:gd name="T53" fmla="*/ 27 h 3808"/>
                  <a:gd name="T54" fmla="*/ 4478 w 4604"/>
                  <a:gd name="T55" fmla="*/ 40 h 3808"/>
                  <a:gd name="T56" fmla="*/ 4199 w 4604"/>
                  <a:gd name="T57" fmla="*/ 72 h 3808"/>
                  <a:gd name="T58" fmla="*/ 3830 w 4604"/>
                  <a:gd name="T59" fmla="*/ 114 h 3808"/>
                  <a:gd name="T60" fmla="*/ 3445 w 4604"/>
                  <a:gd name="T61" fmla="*/ 154 h 3808"/>
                  <a:gd name="T62" fmla="*/ 3119 w 4604"/>
                  <a:gd name="T63" fmla="*/ 183 h 3808"/>
                  <a:gd name="T64" fmla="*/ 2957 w 4604"/>
                  <a:gd name="T65" fmla="*/ 197 h 3808"/>
                  <a:gd name="T66" fmla="*/ 2834 w 4604"/>
                  <a:gd name="T67" fmla="*/ 224 h 3808"/>
                  <a:gd name="T68" fmla="*/ 2703 w 4604"/>
                  <a:gd name="T69" fmla="*/ 271 h 3808"/>
                  <a:gd name="T70" fmla="*/ 2567 w 4604"/>
                  <a:gd name="T71" fmla="*/ 337 h 3808"/>
                  <a:gd name="T72" fmla="*/ 2429 w 4604"/>
                  <a:gd name="T73" fmla="*/ 425 h 3808"/>
                  <a:gd name="T74" fmla="*/ 2288 w 4604"/>
                  <a:gd name="T75" fmla="*/ 535 h 3808"/>
                  <a:gd name="T76" fmla="*/ 2148 w 4604"/>
                  <a:gd name="T77" fmla="*/ 669 h 3808"/>
                  <a:gd name="T78" fmla="*/ 2010 w 4604"/>
                  <a:gd name="T79" fmla="*/ 828 h 3808"/>
                  <a:gd name="T80" fmla="*/ 1875 w 4604"/>
                  <a:gd name="T81" fmla="*/ 1013 h 3808"/>
                  <a:gd name="T82" fmla="*/ 1745 w 4604"/>
                  <a:gd name="T83" fmla="*/ 1225 h 3808"/>
                  <a:gd name="T84" fmla="*/ 1623 w 4604"/>
                  <a:gd name="T85" fmla="*/ 1464 h 3808"/>
                  <a:gd name="T86" fmla="*/ 1505 w 4604"/>
                  <a:gd name="T87" fmla="*/ 1699 h 3808"/>
                  <a:gd name="T88" fmla="*/ 1361 w 4604"/>
                  <a:gd name="T89" fmla="*/ 1948 h 3808"/>
                  <a:gd name="T90" fmla="*/ 1199 w 4604"/>
                  <a:gd name="T91" fmla="*/ 2207 h 3808"/>
                  <a:gd name="T92" fmla="*/ 1026 w 4604"/>
                  <a:gd name="T93" fmla="*/ 2469 h 3808"/>
                  <a:gd name="T94" fmla="*/ 847 w 4604"/>
                  <a:gd name="T95" fmla="*/ 2729 h 3808"/>
                  <a:gd name="T96" fmla="*/ 554 w 4604"/>
                  <a:gd name="T97" fmla="*/ 3133 h 3808"/>
                  <a:gd name="T98" fmla="*/ 247 w 4604"/>
                  <a:gd name="T99" fmla="*/ 3539 h 3808"/>
                  <a:gd name="T100" fmla="*/ 35 w 4604"/>
                  <a:gd name="T101" fmla="*/ 3808 h 3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04" h="3808">
                    <a:moveTo>
                      <a:pt x="0" y="3808"/>
                    </a:moveTo>
                    <a:lnTo>
                      <a:pt x="53" y="3741"/>
                    </a:lnTo>
                    <a:lnTo>
                      <a:pt x="122" y="3655"/>
                    </a:lnTo>
                    <a:lnTo>
                      <a:pt x="204" y="3549"/>
                    </a:lnTo>
                    <a:lnTo>
                      <a:pt x="297" y="3428"/>
                    </a:lnTo>
                    <a:lnTo>
                      <a:pt x="401" y="3293"/>
                    </a:lnTo>
                    <a:lnTo>
                      <a:pt x="511" y="3145"/>
                    </a:lnTo>
                    <a:lnTo>
                      <a:pt x="628" y="2988"/>
                    </a:lnTo>
                    <a:lnTo>
                      <a:pt x="748" y="2821"/>
                    </a:lnTo>
                    <a:lnTo>
                      <a:pt x="808" y="2736"/>
                    </a:lnTo>
                    <a:lnTo>
                      <a:pt x="869" y="2650"/>
                    </a:lnTo>
                    <a:lnTo>
                      <a:pt x="930" y="2562"/>
                    </a:lnTo>
                    <a:lnTo>
                      <a:pt x="991" y="2475"/>
                    </a:lnTo>
                    <a:lnTo>
                      <a:pt x="1050" y="2386"/>
                    </a:lnTo>
                    <a:lnTo>
                      <a:pt x="1109" y="2297"/>
                    </a:lnTo>
                    <a:lnTo>
                      <a:pt x="1167" y="2208"/>
                    </a:lnTo>
                    <a:lnTo>
                      <a:pt x="1223" y="2120"/>
                    </a:lnTo>
                    <a:lnTo>
                      <a:pt x="1278" y="2032"/>
                    </a:lnTo>
                    <a:lnTo>
                      <a:pt x="1332" y="1945"/>
                    </a:lnTo>
                    <a:lnTo>
                      <a:pt x="1383" y="1858"/>
                    </a:lnTo>
                    <a:lnTo>
                      <a:pt x="1431" y="1774"/>
                    </a:lnTo>
                    <a:lnTo>
                      <a:pt x="1478" y="1691"/>
                    </a:lnTo>
                    <a:lnTo>
                      <a:pt x="1521" y="1609"/>
                    </a:lnTo>
                    <a:lnTo>
                      <a:pt x="1562" y="1530"/>
                    </a:lnTo>
                    <a:lnTo>
                      <a:pt x="1598" y="1453"/>
                    </a:lnTo>
                    <a:lnTo>
                      <a:pt x="1649" y="1348"/>
                    </a:lnTo>
                    <a:lnTo>
                      <a:pt x="1701" y="1249"/>
                    </a:lnTo>
                    <a:lnTo>
                      <a:pt x="1753" y="1156"/>
                    </a:lnTo>
                    <a:lnTo>
                      <a:pt x="1806" y="1067"/>
                    </a:lnTo>
                    <a:lnTo>
                      <a:pt x="1860" y="984"/>
                    </a:lnTo>
                    <a:lnTo>
                      <a:pt x="1913" y="907"/>
                    </a:lnTo>
                    <a:lnTo>
                      <a:pt x="1967" y="834"/>
                    </a:lnTo>
                    <a:lnTo>
                      <a:pt x="2021" y="767"/>
                    </a:lnTo>
                    <a:lnTo>
                      <a:pt x="2075" y="703"/>
                    </a:lnTo>
                    <a:lnTo>
                      <a:pt x="2129" y="645"/>
                    </a:lnTo>
                    <a:lnTo>
                      <a:pt x="2183" y="591"/>
                    </a:lnTo>
                    <a:lnTo>
                      <a:pt x="2236" y="541"/>
                    </a:lnTo>
                    <a:lnTo>
                      <a:pt x="2288" y="495"/>
                    </a:lnTo>
                    <a:lnTo>
                      <a:pt x="2340" y="453"/>
                    </a:lnTo>
                    <a:lnTo>
                      <a:pt x="2392" y="414"/>
                    </a:lnTo>
                    <a:lnTo>
                      <a:pt x="2442" y="380"/>
                    </a:lnTo>
                    <a:lnTo>
                      <a:pt x="2491" y="348"/>
                    </a:lnTo>
                    <a:lnTo>
                      <a:pt x="2540" y="319"/>
                    </a:lnTo>
                    <a:lnTo>
                      <a:pt x="2588" y="294"/>
                    </a:lnTo>
                    <a:lnTo>
                      <a:pt x="2633" y="272"/>
                    </a:lnTo>
                    <a:lnTo>
                      <a:pt x="2677" y="252"/>
                    </a:lnTo>
                    <a:lnTo>
                      <a:pt x="2720" y="234"/>
                    </a:lnTo>
                    <a:lnTo>
                      <a:pt x="2761" y="219"/>
                    </a:lnTo>
                    <a:lnTo>
                      <a:pt x="2800" y="207"/>
                    </a:lnTo>
                    <a:lnTo>
                      <a:pt x="2838" y="195"/>
                    </a:lnTo>
                    <a:lnTo>
                      <a:pt x="2873" y="186"/>
                    </a:lnTo>
                    <a:lnTo>
                      <a:pt x="2906" y="179"/>
                    </a:lnTo>
                    <a:lnTo>
                      <a:pt x="2936" y="173"/>
                    </a:lnTo>
                    <a:lnTo>
                      <a:pt x="2964" y="169"/>
                    </a:lnTo>
                    <a:lnTo>
                      <a:pt x="2990" y="166"/>
                    </a:lnTo>
                    <a:lnTo>
                      <a:pt x="3014" y="164"/>
                    </a:lnTo>
                    <a:lnTo>
                      <a:pt x="3034" y="162"/>
                    </a:lnTo>
                    <a:lnTo>
                      <a:pt x="3117" y="156"/>
                    </a:lnTo>
                    <a:lnTo>
                      <a:pt x="3214" y="149"/>
                    </a:lnTo>
                    <a:lnTo>
                      <a:pt x="3324" y="139"/>
                    </a:lnTo>
                    <a:lnTo>
                      <a:pt x="3443" y="127"/>
                    </a:lnTo>
                    <a:lnTo>
                      <a:pt x="3568" y="114"/>
                    </a:lnTo>
                    <a:lnTo>
                      <a:pt x="3698" y="101"/>
                    </a:lnTo>
                    <a:lnTo>
                      <a:pt x="3827" y="87"/>
                    </a:lnTo>
                    <a:lnTo>
                      <a:pt x="3956" y="73"/>
                    </a:lnTo>
                    <a:lnTo>
                      <a:pt x="4080" y="59"/>
                    </a:lnTo>
                    <a:lnTo>
                      <a:pt x="4197" y="45"/>
                    </a:lnTo>
                    <a:lnTo>
                      <a:pt x="4302" y="33"/>
                    </a:lnTo>
                    <a:lnTo>
                      <a:pt x="4396" y="22"/>
                    </a:lnTo>
                    <a:lnTo>
                      <a:pt x="4475" y="13"/>
                    </a:lnTo>
                    <a:lnTo>
                      <a:pt x="4534" y="6"/>
                    </a:lnTo>
                    <a:lnTo>
                      <a:pt x="4573" y="1"/>
                    </a:lnTo>
                    <a:lnTo>
                      <a:pt x="4588" y="0"/>
                    </a:lnTo>
                    <a:lnTo>
                      <a:pt x="4594" y="0"/>
                    </a:lnTo>
                    <a:lnTo>
                      <a:pt x="4598" y="2"/>
                    </a:lnTo>
                    <a:lnTo>
                      <a:pt x="4601" y="6"/>
                    </a:lnTo>
                    <a:lnTo>
                      <a:pt x="4604" y="11"/>
                    </a:lnTo>
                    <a:lnTo>
                      <a:pt x="4603" y="17"/>
                    </a:lnTo>
                    <a:lnTo>
                      <a:pt x="4600" y="21"/>
                    </a:lnTo>
                    <a:lnTo>
                      <a:pt x="4597" y="24"/>
                    </a:lnTo>
                    <a:lnTo>
                      <a:pt x="4592" y="27"/>
                    </a:lnTo>
                    <a:lnTo>
                      <a:pt x="4577" y="28"/>
                    </a:lnTo>
                    <a:lnTo>
                      <a:pt x="4538" y="33"/>
                    </a:lnTo>
                    <a:lnTo>
                      <a:pt x="4478" y="40"/>
                    </a:lnTo>
                    <a:lnTo>
                      <a:pt x="4400" y="49"/>
                    </a:lnTo>
                    <a:lnTo>
                      <a:pt x="4306" y="60"/>
                    </a:lnTo>
                    <a:lnTo>
                      <a:pt x="4199" y="72"/>
                    </a:lnTo>
                    <a:lnTo>
                      <a:pt x="4082" y="86"/>
                    </a:lnTo>
                    <a:lnTo>
                      <a:pt x="3959" y="99"/>
                    </a:lnTo>
                    <a:lnTo>
                      <a:pt x="3830" y="114"/>
                    </a:lnTo>
                    <a:lnTo>
                      <a:pt x="3700" y="128"/>
                    </a:lnTo>
                    <a:lnTo>
                      <a:pt x="3570" y="141"/>
                    </a:lnTo>
                    <a:lnTo>
                      <a:pt x="3445" y="154"/>
                    </a:lnTo>
                    <a:lnTo>
                      <a:pt x="3326" y="166"/>
                    </a:lnTo>
                    <a:lnTo>
                      <a:pt x="3216" y="176"/>
                    </a:lnTo>
                    <a:lnTo>
                      <a:pt x="3119" y="183"/>
                    </a:lnTo>
                    <a:lnTo>
                      <a:pt x="3036" y="189"/>
                    </a:lnTo>
                    <a:lnTo>
                      <a:pt x="2997" y="192"/>
                    </a:lnTo>
                    <a:lnTo>
                      <a:pt x="2957" y="197"/>
                    </a:lnTo>
                    <a:lnTo>
                      <a:pt x="2917" y="204"/>
                    </a:lnTo>
                    <a:lnTo>
                      <a:pt x="2876" y="213"/>
                    </a:lnTo>
                    <a:lnTo>
                      <a:pt x="2834" y="224"/>
                    </a:lnTo>
                    <a:lnTo>
                      <a:pt x="2791" y="237"/>
                    </a:lnTo>
                    <a:lnTo>
                      <a:pt x="2746" y="253"/>
                    </a:lnTo>
                    <a:lnTo>
                      <a:pt x="2703" y="271"/>
                    </a:lnTo>
                    <a:lnTo>
                      <a:pt x="2658" y="291"/>
                    </a:lnTo>
                    <a:lnTo>
                      <a:pt x="2612" y="313"/>
                    </a:lnTo>
                    <a:lnTo>
                      <a:pt x="2567" y="337"/>
                    </a:lnTo>
                    <a:lnTo>
                      <a:pt x="2522" y="364"/>
                    </a:lnTo>
                    <a:lnTo>
                      <a:pt x="2475" y="394"/>
                    </a:lnTo>
                    <a:lnTo>
                      <a:pt x="2429" y="425"/>
                    </a:lnTo>
                    <a:lnTo>
                      <a:pt x="2381" y="459"/>
                    </a:lnTo>
                    <a:lnTo>
                      <a:pt x="2335" y="496"/>
                    </a:lnTo>
                    <a:lnTo>
                      <a:pt x="2288" y="535"/>
                    </a:lnTo>
                    <a:lnTo>
                      <a:pt x="2241" y="577"/>
                    </a:lnTo>
                    <a:lnTo>
                      <a:pt x="2195" y="622"/>
                    </a:lnTo>
                    <a:lnTo>
                      <a:pt x="2148" y="669"/>
                    </a:lnTo>
                    <a:lnTo>
                      <a:pt x="2102" y="720"/>
                    </a:lnTo>
                    <a:lnTo>
                      <a:pt x="2055" y="773"/>
                    </a:lnTo>
                    <a:lnTo>
                      <a:pt x="2010" y="828"/>
                    </a:lnTo>
                    <a:lnTo>
                      <a:pt x="1965" y="887"/>
                    </a:lnTo>
                    <a:lnTo>
                      <a:pt x="1919" y="948"/>
                    </a:lnTo>
                    <a:lnTo>
                      <a:pt x="1875" y="1013"/>
                    </a:lnTo>
                    <a:lnTo>
                      <a:pt x="1831" y="1080"/>
                    </a:lnTo>
                    <a:lnTo>
                      <a:pt x="1787" y="1150"/>
                    </a:lnTo>
                    <a:lnTo>
                      <a:pt x="1745" y="1225"/>
                    </a:lnTo>
                    <a:lnTo>
                      <a:pt x="1703" y="1301"/>
                    </a:lnTo>
                    <a:lnTo>
                      <a:pt x="1663" y="1381"/>
                    </a:lnTo>
                    <a:lnTo>
                      <a:pt x="1623" y="1464"/>
                    </a:lnTo>
                    <a:lnTo>
                      <a:pt x="1587" y="1540"/>
                    </a:lnTo>
                    <a:lnTo>
                      <a:pt x="1547" y="1619"/>
                    </a:lnTo>
                    <a:lnTo>
                      <a:pt x="1505" y="1699"/>
                    </a:lnTo>
                    <a:lnTo>
                      <a:pt x="1459" y="1781"/>
                    </a:lnTo>
                    <a:lnTo>
                      <a:pt x="1411" y="1864"/>
                    </a:lnTo>
                    <a:lnTo>
                      <a:pt x="1361" y="1948"/>
                    </a:lnTo>
                    <a:lnTo>
                      <a:pt x="1309" y="2034"/>
                    </a:lnTo>
                    <a:lnTo>
                      <a:pt x="1255" y="2121"/>
                    </a:lnTo>
                    <a:lnTo>
                      <a:pt x="1199" y="2207"/>
                    </a:lnTo>
                    <a:lnTo>
                      <a:pt x="1143" y="2295"/>
                    </a:lnTo>
                    <a:lnTo>
                      <a:pt x="1084" y="2382"/>
                    </a:lnTo>
                    <a:lnTo>
                      <a:pt x="1026" y="2469"/>
                    </a:lnTo>
                    <a:lnTo>
                      <a:pt x="967" y="2557"/>
                    </a:lnTo>
                    <a:lnTo>
                      <a:pt x="907" y="2643"/>
                    </a:lnTo>
                    <a:lnTo>
                      <a:pt x="847" y="2729"/>
                    </a:lnTo>
                    <a:lnTo>
                      <a:pt x="788" y="2813"/>
                    </a:lnTo>
                    <a:lnTo>
                      <a:pt x="669" y="2977"/>
                    </a:lnTo>
                    <a:lnTo>
                      <a:pt x="554" y="3133"/>
                    </a:lnTo>
                    <a:lnTo>
                      <a:pt x="444" y="3280"/>
                    </a:lnTo>
                    <a:lnTo>
                      <a:pt x="341" y="3416"/>
                    </a:lnTo>
                    <a:lnTo>
                      <a:pt x="247" y="3539"/>
                    </a:lnTo>
                    <a:lnTo>
                      <a:pt x="162" y="3646"/>
                    </a:lnTo>
                    <a:lnTo>
                      <a:pt x="92" y="3737"/>
                    </a:lnTo>
                    <a:lnTo>
                      <a:pt x="35" y="3808"/>
                    </a:lnTo>
                    <a:lnTo>
                      <a:pt x="0" y="38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18"/>
              <p:cNvSpPr>
                <a:spLocks/>
              </p:cNvSpPr>
              <p:nvPr userDrawn="1"/>
            </p:nvSpPr>
            <p:spPr bwMode="auto">
              <a:xfrm>
                <a:off x="440" y="3474"/>
                <a:ext cx="670" cy="846"/>
              </a:xfrm>
              <a:custGeom>
                <a:avLst/>
                <a:gdLst>
                  <a:gd name="T0" fmla="*/ 76 w 2008"/>
                  <a:gd name="T1" fmla="*/ 2453 h 2538"/>
                  <a:gd name="T2" fmla="*/ 300 w 2008"/>
                  <a:gd name="T3" fmla="*/ 2203 h 2538"/>
                  <a:gd name="T4" fmla="*/ 589 w 2008"/>
                  <a:gd name="T5" fmla="*/ 1873 h 2538"/>
                  <a:gd name="T6" fmla="*/ 914 w 2008"/>
                  <a:gd name="T7" fmla="*/ 1494 h 2538"/>
                  <a:gd name="T8" fmla="*/ 1161 w 2008"/>
                  <a:gd name="T9" fmla="*/ 1197 h 2538"/>
                  <a:gd name="T10" fmla="*/ 1322 w 2008"/>
                  <a:gd name="T11" fmla="*/ 999 h 2538"/>
                  <a:gd name="T12" fmla="*/ 1474 w 2008"/>
                  <a:gd name="T13" fmla="*/ 807 h 2538"/>
                  <a:gd name="T14" fmla="*/ 1613 w 2008"/>
                  <a:gd name="T15" fmla="*/ 623 h 2538"/>
                  <a:gd name="T16" fmla="*/ 1736 w 2008"/>
                  <a:gd name="T17" fmla="*/ 451 h 2538"/>
                  <a:gd name="T18" fmla="*/ 1839 w 2008"/>
                  <a:gd name="T19" fmla="*/ 297 h 2538"/>
                  <a:gd name="T20" fmla="*/ 1917 w 2008"/>
                  <a:gd name="T21" fmla="*/ 163 h 2538"/>
                  <a:gd name="T22" fmla="*/ 1968 w 2008"/>
                  <a:gd name="T23" fmla="*/ 54 h 2538"/>
                  <a:gd name="T24" fmla="*/ 1984 w 2008"/>
                  <a:gd name="T25" fmla="*/ 4 h 2538"/>
                  <a:gd name="T26" fmla="*/ 1993 w 2008"/>
                  <a:gd name="T27" fmla="*/ 0 h 2538"/>
                  <a:gd name="T28" fmla="*/ 2004 w 2008"/>
                  <a:gd name="T29" fmla="*/ 2 h 2538"/>
                  <a:gd name="T30" fmla="*/ 2008 w 2008"/>
                  <a:gd name="T31" fmla="*/ 11 h 2538"/>
                  <a:gd name="T32" fmla="*/ 2002 w 2008"/>
                  <a:gd name="T33" fmla="*/ 41 h 2538"/>
                  <a:gd name="T34" fmla="*/ 1979 w 2008"/>
                  <a:gd name="T35" fmla="*/ 98 h 2538"/>
                  <a:gd name="T36" fmla="*/ 1947 w 2008"/>
                  <a:gd name="T37" fmla="*/ 165 h 2538"/>
                  <a:gd name="T38" fmla="*/ 1904 w 2008"/>
                  <a:gd name="T39" fmla="*/ 240 h 2538"/>
                  <a:gd name="T40" fmla="*/ 1854 w 2008"/>
                  <a:gd name="T41" fmla="*/ 322 h 2538"/>
                  <a:gd name="T42" fmla="*/ 1795 w 2008"/>
                  <a:gd name="T43" fmla="*/ 410 h 2538"/>
                  <a:gd name="T44" fmla="*/ 1695 w 2008"/>
                  <a:gd name="T45" fmla="*/ 553 h 2538"/>
                  <a:gd name="T46" fmla="*/ 1544 w 2008"/>
                  <a:gd name="T47" fmla="*/ 758 h 2538"/>
                  <a:gd name="T48" fmla="*/ 1376 w 2008"/>
                  <a:gd name="T49" fmla="*/ 973 h 2538"/>
                  <a:gd name="T50" fmla="*/ 1203 w 2008"/>
                  <a:gd name="T51" fmla="*/ 1190 h 2538"/>
                  <a:gd name="T52" fmla="*/ 1027 w 2008"/>
                  <a:gd name="T53" fmla="*/ 1403 h 2538"/>
                  <a:gd name="T54" fmla="*/ 879 w 2008"/>
                  <a:gd name="T55" fmla="*/ 1578 h 2538"/>
                  <a:gd name="T56" fmla="*/ 752 w 2008"/>
                  <a:gd name="T57" fmla="*/ 1727 h 2538"/>
                  <a:gd name="T58" fmla="*/ 623 w 2008"/>
                  <a:gd name="T59" fmla="*/ 1876 h 2538"/>
                  <a:gd name="T60" fmla="*/ 496 w 2008"/>
                  <a:gd name="T61" fmla="*/ 2023 h 2538"/>
                  <a:gd name="T62" fmla="*/ 374 w 2008"/>
                  <a:gd name="T63" fmla="*/ 2162 h 2538"/>
                  <a:gd name="T64" fmla="*/ 261 w 2008"/>
                  <a:gd name="T65" fmla="*/ 2290 h 2538"/>
                  <a:gd name="T66" fmla="*/ 159 w 2008"/>
                  <a:gd name="T67" fmla="*/ 2403 h 2538"/>
                  <a:gd name="T68" fmla="*/ 73 w 2008"/>
                  <a:gd name="T69" fmla="*/ 2499 h 2538"/>
                  <a:gd name="T70" fmla="*/ 0 w 2008"/>
                  <a:gd name="T71" fmla="*/ 2538 h 2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8" h="2538">
                    <a:moveTo>
                      <a:pt x="0" y="2538"/>
                    </a:moveTo>
                    <a:lnTo>
                      <a:pt x="76" y="2453"/>
                    </a:lnTo>
                    <a:lnTo>
                      <a:pt x="178" y="2339"/>
                    </a:lnTo>
                    <a:lnTo>
                      <a:pt x="300" y="2203"/>
                    </a:lnTo>
                    <a:lnTo>
                      <a:pt x="438" y="2047"/>
                    </a:lnTo>
                    <a:lnTo>
                      <a:pt x="589" y="1873"/>
                    </a:lnTo>
                    <a:lnTo>
                      <a:pt x="749" y="1688"/>
                    </a:lnTo>
                    <a:lnTo>
                      <a:pt x="914" y="1494"/>
                    </a:lnTo>
                    <a:lnTo>
                      <a:pt x="1079" y="1297"/>
                    </a:lnTo>
                    <a:lnTo>
                      <a:pt x="1161" y="1197"/>
                    </a:lnTo>
                    <a:lnTo>
                      <a:pt x="1242" y="1098"/>
                    </a:lnTo>
                    <a:lnTo>
                      <a:pt x="1322" y="999"/>
                    </a:lnTo>
                    <a:lnTo>
                      <a:pt x="1399" y="902"/>
                    </a:lnTo>
                    <a:lnTo>
                      <a:pt x="1474" y="807"/>
                    </a:lnTo>
                    <a:lnTo>
                      <a:pt x="1545" y="714"/>
                    </a:lnTo>
                    <a:lnTo>
                      <a:pt x="1613" y="623"/>
                    </a:lnTo>
                    <a:lnTo>
                      <a:pt x="1677" y="536"/>
                    </a:lnTo>
                    <a:lnTo>
                      <a:pt x="1736" y="451"/>
                    </a:lnTo>
                    <a:lnTo>
                      <a:pt x="1790" y="373"/>
                    </a:lnTo>
                    <a:lnTo>
                      <a:pt x="1839" y="297"/>
                    </a:lnTo>
                    <a:lnTo>
                      <a:pt x="1882" y="228"/>
                    </a:lnTo>
                    <a:lnTo>
                      <a:pt x="1917" y="163"/>
                    </a:lnTo>
                    <a:lnTo>
                      <a:pt x="1947" y="106"/>
                    </a:lnTo>
                    <a:lnTo>
                      <a:pt x="1968" y="54"/>
                    </a:lnTo>
                    <a:lnTo>
                      <a:pt x="1982" y="10"/>
                    </a:lnTo>
                    <a:lnTo>
                      <a:pt x="1984" y="4"/>
                    </a:lnTo>
                    <a:lnTo>
                      <a:pt x="1989" y="1"/>
                    </a:lnTo>
                    <a:lnTo>
                      <a:pt x="1993" y="0"/>
                    </a:lnTo>
                    <a:lnTo>
                      <a:pt x="1998" y="0"/>
                    </a:lnTo>
                    <a:lnTo>
                      <a:pt x="2004" y="2"/>
                    </a:lnTo>
                    <a:lnTo>
                      <a:pt x="2007" y="6"/>
                    </a:lnTo>
                    <a:lnTo>
                      <a:pt x="2008" y="11"/>
                    </a:lnTo>
                    <a:lnTo>
                      <a:pt x="2008" y="16"/>
                    </a:lnTo>
                    <a:lnTo>
                      <a:pt x="2002" y="41"/>
                    </a:lnTo>
                    <a:lnTo>
                      <a:pt x="1992" y="69"/>
                    </a:lnTo>
                    <a:lnTo>
                      <a:pt x="1979" y="98"/>
                    </a:lnTo>
                    <a:lnTo>
                      <a:pt x="1964" y="131"/>
                    </a:lnTo>
                    <a:lnTo>
                      <a:pt x="1947" y="165"/>
                    </a:lnTo>
                    <a:lnTo>
                      <a:pt x="1926" y="202"/>
                    </a:lnTo>
                    <a:lnTo>
                      <a:pt x="1904" y="240"/>
                    </a:lnTo>
                    <a:lnTo>
                      <a:pt x="1880" y="280"/>
                    </a:lnTo>
                    <a:lnTo>
                      <a:pt x="1854" y="322"/>
                    </a:lnTo>
                    <a:lnTo>
                      <a:pt x="1826" y="365"/>
                    </a:lnTo>
                    <a:lnTo>
                      <a:pt x="1795" y="410"/>
                    </a:lnTo>
                    <a:lnTo>
                      <a:pt x="1764" y="457"/>
                    </a:lnTo>
                    <a:lnTo>
                      <a:pt x="1695" y="553"/>
                    </a:lnTo>
                    <a:lnTo>
                      <a:pt x="1621" y="654"/>
                    </a:lnTo>
                    <a:lnTo>
                      <a:pt x="1544" y="758"/>
                    </a:lnTo>
                    <a:lnTo>
                      <a:pt x="1462" y="865"/>
                    </a:lnTo>
                    <a:lnTo>
                      <a:pt x="1376" y="973"/>
                    </a:lnTo>
                    <a:lnTo>
                      <a:pt x="1290" y="1081"/>
                    </a:lnTo>
                    <a:lnTo>
                      <a:pt x="1203" y="1190"/>
                    </a:lnTo>
                    <a:lnTo>
                      <a:pt x="1114" y="1298"/>
                    </a:lnTo>
                    <a:lnTo>
                      <a:pt x="1027" y="1403"/>
                    </a:lnTo>
                    <a:lnTo>
                      <a:pt x="940" y="1506"/>
                    </a:lnTo>
                    <a:lnTo>
                      <a:pt x="879" y="1578"/>
                    </a:lnTo>
                    <a:lnTo>
                      <a:pt x="816" y="1653"/>
                    </a:lnTo>
                    <a:lnTo>
                      <a:pt x="752" y="1727"/>
                    </a:lnTo>
                    <a:lnTo>
                      <a:pt x="687" y="1802"/>
                    </a:lnTo>
                    <a:lnTo>
                      <a:pt x="623" y="1876"/>
                    </a:lnTo>
                    <a:lnTo>
                      <a:pt x="559" y="1951"/>
                    </a:lnTo>
                    <a:lnTo>
                      <a:pt x="496" y="2023"/>
                    </a:lnTo>
                    <a:lnTo>
                      <a:pt x="434" y="2093"/>
                    </a:lnTo>
                    <a:lnTo>
                      <a:pt x="374" y="2162"/>
                    </a:lnTo>
                    <a:lnTo>
                      <a:pt x="316" y="2227"/>
                    </a:lnTo>
                    <a:lnTo>
                      <a:pt x="261" y="2290"/>
                    </a:lnTo>
                    <a:lnTo>
                      <a:pt x="208" y="2349"/>
                    </a:lnTo>
                    <a:lnTo>
                      <a:pt x="159" y="2403"/>
                    </a:lnTo>
                    <a:lnTo>
                      <a:pt x="114" y="2454"/>
                    </a:lnTo>
                    <a:lnTo>
                      <a:pt x="73" y="2499"/>
                    </a:lnTo>
                    <a:lnTo>
                      <a:pt x="36" y="2538"/>
                    </a:lnTo>
                    <a:lnTo>
                      <a:pt x="0" y="2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19"/>
              <p:cNvSpPr>
                <a:spLocks/>
              </p:cNvSpPr>
              <p:nvPr userDrawn="1"/>
            </p:nvSpPr>
            <p:spPr bwMode="auto">
              <a:xfrm>
                <a:off x="338" y="3040"/>
                <a:ext cx="1023" cy="1243"/>
              </a:xfrm>
              <a:custGeom>
                <a:avLst/>
                <a:gdLst>
                  <a:gd name="T0" fmla="*/ 11 w 3069"/>
                  <a:gd name="T1" fmla="*/ 3729 h 3729"/>
                  <a:gd name="T2" fmla="*/ 3 w 3069"/>
                  <a:gd name="T3" fmla="*/ 3724 h 3729"/>
                  <a:gd name="T4" fmla="*/ 0 w 3069"/>
                  <a:gd name="T5" fmla="*/ 3715 h 3729"/>
                  <a:gd name="T6" fmla="*/ 14 w 3069"/>
                  <a:gd name="T7" fmla="*/ 3682 h 3729"/>
                  <a:gd name="T8" fmla="*/ 98 w 3069"/>
                  <a:gd name="T9" fmla="*/ 3501 h 3729"/>
                  <a:gd name="T10" fmla="*/ 245 w 3069"/>
                  <a:gd name="T11" fmla="*/ 3188 h 3729"/>
                  <a:gd name="T12" fmla="*/ 435 w 3069"/>
                  <a:gd name="T13" fmla="*/ 2783 h 3729"/>
                  <a:gd name="T14" fmla="*/ 649 w 3069"/>
                  <a:gd name="T15" fmla="*/ 2330 h 3729"/>
                  <a:gd name="T16" fmla="*/ 867 w 3069"/>
                  <a:gd name="T17" fmla="*/ 1870 h 3729"/>
                  <a:gd name="T18" fmla="*/ 1069 w 3069"/>
                  <a:gd name="T19" fmla="*/ 1446 h 3729"/>
                  <a:gd name="T20" fmla="*/ 1237 w 3069"/>
                  <a:gd name="T21" fmla="*/ 1099 h 3729"/>
                  <a:gd name="T22" fmla="*/ 1334 w 3069"/>
                  <a:gd name="T23" fmla="*/ 910 h 3729"/>
                  <a:gd name="T24" fmla="*/ 1414 w 3069"/>
                  <a:gd name="T25" fmla="*/ 801 h 3729"/>
                  <a:gd name="T26" fmla="*/ 1516 w 3069"/>
                  <a:gd name="T27" fmla="*/ 699 h 3729"/>
                  <a:gd name="T28" fmla="*/ 1634 w 3069"/>
                  <a:gd name="T29" fmla="*/ 602 h 3729"/>
                  <a:gd name="T30" fmla="*/ 1763 w 3069"/>
                  <a:gd name="T31" fmla="*/ 512 h 3729"/>
                  <a:gd name="T32" fmla="*/ 1904 w 3069"/>
                  <a:gd name="T33" fmla="*/ 430 h 3729"/>
                  <a:gd name="T34" fmla="*/ 2049 w 3069"/>
                  <a:gd name="T35" fmla="*/ 353 h 3729"/>
                  <a:gd name="T36" fmla="*/ 2197 w 3069"/>
                  <a:gd name="T37" fmla="*/ 284 h 3729"/>
                  <a:gd name="T38" fmla="*/ 2344 w 3069"/>
                  <a:gd name="T39" fmla="*/ 223 h 3729"/>
                  <a:gd name="T40" fmla="*/ 2486 w 3069"/>
                  <a:gd name="T41" fmla="*/ 169 h 3729"/>
                  <a:gd name="T42" fmla="*/ 2620 w 3069"/>
                  <a:gd name="T43" fmla="*/ 121 h 3729"/>
                  <a:gd name="T44" fmla="*/ 2743 w 3069"/>
                  <a:gd name="T45" fmla="*/ 81 h 3729"/>
                  <a:gd name="T46" fmla="*/ 2850 w 3069"/>
                  <a:gd name="T47" fmla="*/ 50 h 3729"/>
                  <a:gd name="T48" fmla="*/ 2938 w 3069"/>
                  <a:gd name="T49" fmla="*/ 25 h 3729"/>
                  <a:gd name="T50" fmla="*/ 3005 w 3069"/>
                  <a:gd name="T51" fmla="*/ 9 h 3729"/>
                  <a:gd name="T52" fmla="*/ 3046 w 3069"/>
                  <a:gd name="T53" fmla="*/ 1 h 3729"/>
                  <a:gd name="T54" fmla="*/ 3061 w 3069"/>
                  <a:gd name="T55" fmla="*/ 1 h 3729"/>
                  <a:gd name="T56" fmla="*/ 3068 w 3069"/>
                  <a:gd name="T57" fmla="*/ 9 h 3729"/>
                  <a:gd name="T58" fmla="*/ 3068 w 3069"/>
                  <a:gd name="T59" fmla="*/ 19 h 3729"/>
                  <a:gd name="T60" fmla="*/ 3061 w 3069"/>
                  <a:gd name="T61" fmla="*/ 26 h 3729"/>
                  <a:gd name="T62" fmla="*/ 3045 w 3069"/>
                  <a:gd name="T63" fmla="*/ 28 h 3729"/>
                  <a:gd name="T64" fmla="*/ 3002 w 3069"/>
                  <a:gd name="T65" fmla="*/ 37 h 3729"/>
                  <a:gd name="T66" fmla="*/ 2893 w 3069"/>
                  <a:gd name="T67" fmla="*/ 65 h 3729"/>
                  <a:gd name="T68" fmla="*/ 2739 w 3069"/>
                  <a:gd name="T69" fmla="*/ 110 h 3729"/>
                  <a:gd name="T70" fmla="*/ 2618 w 3069"/>
                  <a:gd name="T71" fmla="*/ 150 h 3729"/>
                  <a:gd name="T72" fmla="*/ 2486 w 3069"/>
                  <a:gd name="T73" fmla="*/ 197 h 3729"/>
                  <a:gd name="T74" fmla="*/ 2345 w 3069"/>
                  <a:gd name="T75" fmla="*/ 251 h 3729"/>
                  <a:gd name="T76" fmla="*/ 2202 w 3069"/>
                  <a:gd name="T77" fmla="*/ 311 h 3729"/>
                  <a:gd name="T78" fmla="*/ 2056 w 3069"/>
                  <a:gd name="T79" fmla="*/ 379 h 3729"/>
                  <a:gd name="T80" fmla="*/ 1913 w 3069"/>
                  <a:gd name="T81" fmla="*/ 454 h 3729"/>
                  <a:gd name="T82" fmla="*/ 1777 w 3069"/>
                  <a:gd name="T83" fmla="*/ 536 h 3729"/>
                  <a:gd name="T84" fmla="*/ 1650 w 3069"/>
                  <a:gd name="T85" fmla="*/ 623 h 3729"/>
                  <a:gd name="T86" fmla="*/ 1534 w 3069"/>
                  <a:gd name="T87" fmla="*/ 717 h 3729"/>
                  <a:gd name="T88" fmla="*/ 1436 w 3069"/>
                  <a:gd name="T89" fmla="*/ 817 h 3729"/>
                  <a:gd name="T90" fmla="*/ 1357 w 3069"/>
                  <a:gd name="T91" fmla="*/ 924 h 3729"/>
                  <a:gd name="T92" fmla="*/ 1261 w 3069"/>
                  <a:gd name="T93" fmla="*/ 1111 h 3729"/>
                  <a:gd name="T94" fmla="*/ 1094 w 3069"/>
                  <a:gd name="T95" fmla="*/ 1458 h 3729"/>
                  <a:gd name="T96" fmla="*/ 891 w 3069"/>
                  <a:gd name="T97" fmla="*/ 1882 h 3729"/>
                  <a:gd name="T98" fmla="*/ 674 w 3069"/>
                  <a:gd name="T99" fmla="*/ 2342 h 3729"/>
                  <a:gd name="T100" fmla="*/ 460 w 3069"/>
                  <a:gd name="T101" fmla="*/ 2795 h 3729"/>
                  <a:gd name="T102" fmla="*/ 270 w 3069"/>
                  <a:gd name="T103" fmla="*/ 3199 h 3729"/>
                  <a:gd name="T104" fmla="*/ 123 w 3069"/>
                  <a:gd name="T105" fmla="*/ 3513 h 3729"/>
                  <a:gd name="T106" fmla="*/ 39 w 3069"/>
                  <a:gd name="T107" fmla="*/ 3694 h 3729"/>
                  <a:gd name="T108" fmla="*/ 24 w 3069"/>
                  <a:gd name="T109" fmla="*/ 3724 h 3729"/>
                  <a:gd name="T110" fmla="*/ 17 w 3069"/>
                  <a:gd name="T111" fmla="*/ 3729 h 3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9" h="3729">
                    <a:moveTo>
                      <a:pt x="13" y="3729"/>
                    </a:moveTo>
                    <a:lnTo>
                      <a:pt x="11" y="3729"/>
                    </a:lnTo>
                    <a:lnTo>
                      <a:pt x="8" y="3728"/>
                    </a:lnTo>
                    <a:lnTo>
                      <a:pt x="3" y="3724"/>
                    </a:lnTo>
                    <a:lnTo>
                      <a:pt x="1" y="3720"/>
                    </a:lnTo>
                    <a:lnTo>
                      <a:pt x="0" y="3715"/>
                    </a:lnTo>
                    <a:lnTo>
                      <a:pt x="1" y="3710"/>
                    </a:lnTo>
                    <a:lnTo>
                      <a:pt x="14" y="3682"/>
                    </a:lnTo>
                    <a:lnTo>
                      <a:pt x="47" y="3611"/>
                    </a:lnTo>
                    <a:lnTo>
                      <a:pt x="98" y="3501"/>
                    </a:lnTo>
                    <a:lnTo>
                      <a:pt x="165" y="3359"/>
                    </a:lnTo>
                    <a:lnTo>
                      <a:pt x="245" y="3188"/>
                    </a:lnTo>
                    <a:lnTo>
                      <a:pt x="337" y="2995"/>
                    </a:lnTo>
                    <a:lnTo>
                      <a:pt x="435" y="2783"/>
                    </a:lnTo>
                    <a:lnTo>
                      <a:pt x="541" y="2560"/>
                    </a:lnTo>
                    <a:lnTo>
                      <a:pt x="649" y="2330"/>
                    </a:lnTo>
                    <a:lnTo>
                      <a:pt x="758" y="2099"/>
                    </a:lnTo>
                    <a:lnTo>
                      <a:pt x="867" y="1870"/>
                    </a:lnTo>
                    <a:lnTo>
                      <a:pt x="971" y="1651"/>
                    </a:lnTo>
                    <a:lnTo>
                      <a:pt x="1069" y="1446"/>
                    </a:lnTo>
                    <a:lnTo>
                      <a:pt x="1159" y="1260"/>
                    </a:lnTo>
                    <a:lnTo>
                      <a:pt x="1237" y="1099"/>
                    </a:lnTo>
                    <a:lnTo>
                      <a:pt x="1302" y="968"/>
                    </a:lnTo>
                    <a:lnTo>
                      <a:pt x="1334" y="910"/>
                    </a:lnTo>
                    <a:lnTo>
                      <a:pt x="1371" y="855"/>
                    </a:lnTo>
                    <a:lnTo>
                      <a:pt x="1414" y="801"/>
                    </a:lnTo>
                    <a:lnTo>
                      <a:pt x="1463" y="748"/>
                    </a:lnTo>
                    <a:lnTo>
                      <a:pt x="1516" y="699"/>
                    </a:lnTo>
                    <a:lnTo>
                      <a:pt x="1573" y="649"/>
                    </a:lnTo>
                    <a:lnTo>
                      <a:pt x="1634" y="602"/>
                    </a:lnTo>
                    <a:lnTo>
                      <a:pt x="1697" y="556"/>
                    </a:lnTo>
                    <a:lnTo>
                      <a:pt x="1763" y="512"/>
                    </a:lnTo>
                    <a:lnTo>
                      <a:pt x="1832" y="470"/>
                    </a:lnTo>
                    <a:lnTo>
                      <a:pt x="1904" y="430"/>
                    </a:lnTo>
                    <a:lnTo>
                      <a:pt x="1976" y="391"/>
                    </a:lnTo>
                    <a:lnTo>
                      <a:pt x="2049" y="353"/>
                    </a:lnTo>
                    <a:lnTo>
                      <a:pt x="2123" y="318"/>
                    </a:lnTo>
                    <a:lnTo>
                      <a:pt x="2197" y="284"/>
                    </a:lnTo>
                    <a:lnTo>
                      <a:pt x="2271" y="253"/>
                    </a:lnTo>
                    <a:lnTo>
                      <a:pt x="2344" y="223"/>
                    </a:lnTo>
                    <a:lnTo>
                      <a:pt x="2415" y="195"/>
                    </a:lnTo>
                    <a:lnTo>
                      <a:pt x="2486" y="169"/>
                    </a:lnTo>
                    <a:lnTo>
                      <a:pt x="2555" y="144"/>
                    </a:lnTo>
                    <a:lnTo>
                      <a:pt x="2620" y="121"/>
                    </a:lnTo>
                    <a:lnTo>
                      <a:pt x="2683" y="101"/>
                    </a:lnTo>
                    <a:lnTo>
                      <a:pt x="2743" y="81"/>
                    </a:lnTo>
                    <a:lnTo>
                      <a:pt x="2799" y="65"/>
                    </a:lnTo>
                    <a:lnTo>
                      <a:pt x="2850" y="50"/>
                    </a:lnTo>
                    <a:lnTo>
                      <a:pt x="2897" y="37"/>
                    </a:lnTo>
                    <a:lnTo>
                      <a:pt x="2938" y="25"/>
                    </a:lnTo>
                    <a:lnTo>
                      <a:pt x="2975" y="16"/>
                    </a:lnTo>
                    <a:lnTo>
                      <a:pt x="3005" y="9"/>
                    </a:lnTo>
                    <a:lnTo>
                      <a:pt x="3029" y="5"/>
                    </a:lnTo>
                    <a:lnTo>
                      <a:pt x="3046" y="1"/>
                    </a:lnTo>
                    <a:lnTo>
                      <a:pt x="3056" y="0"/>
                    </a:lnTo>
                    <a:lnTo>
                      <a:pt x="3061" y="1"/>
                    </a:lnTo>
                    <a:lnTo>
                      <a:pt x="3066" y="5"/>
                    </a:lnTo>
                    <a:lnTo>
                      <a:pt x="3068" y="9"/>
                    </a:lnTo>
                    <a:lnTo>
                      <a:pt x="3069" y="13"/>
                    </a:lnTo>
                    <a:lnTo>
                      <a:pt x="3068" y="19"/>
                    </a:lnTo>
                    <a:lnTo>
                      <a:pt x="3066" y="23"/>
                    </a:lnTo>
                    <a:lnTo>
                      <a:pt x="3061" y="26"/>
                    </a:lnTo>
                    <a:lnTo>
                      <a:pt x="3056" y="27"/>
                    </a:lnTo>
                    <a:lnTo>
                      <a:pt x="3045" y="28"/>
                    </a:lnTo>
                    <a:lnTo>
                      <a:pt x="3027" y="32"/>
                    </a:lnTo>
                    <a:lnTo>
                      <a:pt x="3002" y="37"/>
                    </a:lnTo>
                    <a:lnTo>
                      <a:pt x="2972" y="45"/>
                    </a:lnTo>
                    <a:lnTo>
                      <a:pt x="2893" y="65"/>
                    </a:lnTo>
                    <a:lnTo>
                      <a:pt x="2794" y="93"/>
                    </a:lnTo>
                    <a:lnTo>
                      <a:pt x="2739" y="110"/>
                    </a:lnTo>
                    <a:lnTo>
                      <a:pt x="2680" y="130"/>
                    </a:lnTo>
                    <a:lnTo>
                      <a:pt x="2618" y="150"/>
                    </a:lnTo>
                    <a:lnTo>
                      <a:pt x="2553" y="172"/>
                    </a:lnTo>
                    <a:lnTo>
                      <a:pt x="2486" y="197"/>
                    </a:lnTo>
                    <a:lnTo>
                      <a:pt x="2417" y="223"/>
                    </a:lnTo>
                    <a:lnTo>
                      <a:pt x="2345" y="251"/>
                    </a:lnTo>
                    <a:lnTo>
                      <a:pt x="2274" y="280"/>
                    </a:lnTo>
                    <a:lnTo>
                      <a:pt x="2202" y="311"/>
                    </a:lnTo>
                    <a:lnTo>
                      <a:pt x="2129" y="345"/>
                    </a:lnTo>
                    <a:lnTo>
                      <a:pt x="2056" y="379"/>
                    </a:lnTo>
                    <a:lnTo>
                      <a:pt x="1985" y="416"/>
                    </a:lnTo>
                    <a:lnTo>
                      <a:pt x="1913" y="454"/>
                    </a:lnTo>
                    <a:lnTo>
                      <a:pt x="1844" y="494"/>
                    </a:lnTo>
                    <a:lnTo>
                      <a:pt x="1777" y="536"/>
                    </a:lnTo>
                    <a:lnTo>
                      <a:pt x="1711" y="578"/>
                    </a:lnTo>
                    <a:lnTo>
                      <a:pt x="1650" y="623"/>
                    </a:lnTo>
                    <a:lnTo>
                      <a:pt x="1591" y="670"/>
                    </a:lnTo>
                    <a:lnTo>
                      <a:pt x="1534" y="717"/>
                    </a:lnTo>
                    <a:lnTo>
                      <a:pt x="1484" y="767"/>
                    </a:lnTo>
                    <a:lnTo>
                      <a:pt x="1436" y="817"/>
                    </a:lnTo>
                    <a:lnTo>
                      <a:pt x="1394" y="870"/>
                    </a:lnTo>
                    <a:lnTo>
                      <a:pt x="1357" y="924"/>
                    </a:lnTo>
                    <a:lnTo>
                      <a:pt x="1326" y="979"/>
                    </a:lnTo>
                    <a:lnTo>
                      <a:pt x="1261" y="1111"/>
                    </a:lnTo>
                    <a:lnTo>
                      <a:pt x="1182" y="1272"/>
                    </a:lnTo>
                    <a:lnTo>
                      <a:pt x="1094" y="1458"/>
                    </a:lnTo>
                    <a:lnTo>
                      <a:pt x="996" y="1663"/>
                    </a:lnTo>
                    <a:lnTo>
                      <a:pt x="891" y="1882"/>
                    </a:lnTo>
                    <a:lnTo>
                      <a:pt x="783" y="2111"/>
                    </a:lnTo>
                    <a:lnTo>
                      <a:pt x="674" y="2342"/>
                    </a:lnTo>
                    <a:lnTo>
                      <a:pt x="565" y="2572"/>
                    </a:lnTo>
                    <a:lnTo>
                      <a:pt x="460" y="2795"/>
                    </a:lnTo>
                    <a:lnTo>
                      <a:pt x="361" y="3006"/>
                    </a:lnTo>
                    <a:lnTo>
                      <a:pt x="270" y="3199"/>
                    </a:lnTo>
                    <a:lnTo>
                      <a:pt x="190" y="3370"/>
                    </a:lnTo>
                    <a:lnTo>
                      <a:pt x="123" y="3513"/>
                    </a:lnTo>
                    <a:lnTo>
                      <a:pt x="72" y="3623"/>
                    </a:lnTo>
                    <a:lnTo>
                      <a:pt x="39" y="3694"/>
                    </a:lnTo>
                    <a:lnTo>
                      <a:pt x="26" y="3721"/>
                    </a:lnTo>
                    <a:lnTo>
                      <a:pt x="24" y="3724"/>
                    </a:lnTo>
                    <a:lnTo>
                      <a:pt x="20" y="3728"/>
                    </a:lnTo>
                    <a:lnTo>
                      <a:pt x="17" y="3729"/>
                    </a:lnTo>
                    <a:lnTo>
                      <a:pt x="13" y="37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20"/>
              <p:cNvSpPr>
                <a:spLocks/>
              </p:cNvSpPr>
              <p:nvPr userDrawn="1"/>
            </p:nvSpPr>
            <p:spPr bwMode="auto">
              <a:xfrm>
                <a:off x="1208" y="3525"/>
                <a:ext cx="1705" cy="409"/>
              </a:xfrm>
              <a:custGeom>
                <a:avLst/>
                <a:gdLst>
                  <a:gd name="T0" fmla="*/ 2896 w 5115"/>
                  <a:gd name="T1" fmla="*/ 1220 h 1227"/>
                  <a:gd name="T2" fmla="*/ 2666 w 5115"/>
                  <a:gd name="T3" fmla="*/ 1191 h 1227"/>
                  <a:gd name="T4" fmla="*/ 2431 w 5115"/>
                  <a:gd name="T5" fmla="*/ 1134 h 1227"/>
                  <a:gd name="T6" fmla="*/ 2192 w 5115"/>
                  <a:gd name="T7" fmla="*/ 1044 h 1227"/>
                  <a:gd name="T8" fmla="*/ 1890 w 5115"/>
                  <a:gd name="T9" fmla="*/ 896 h 1227"/>
                  <a:gd name="T10" fmla="*/ 1616 w 5115"/>
                  <a:gd name="T11" fmla="*/ 742 h 1227"/>
                  <a:gd name="T12" fmla="*/ 1387 w 5115"/>
                  <a:gd name="T13" fmla="*/ 597 h 1227"/>
                  <a:gd name="T14" fmla="*/ 1193 w 5115"/>
                  <a:gd name="T15" fmla="*/ 466 h 1227"/>
                  <a:gd name="T16" fmla="*/ 951 w 5115"/>
                  <a:gd name="T17" fmla="*/ 301 h 1227"/>
                  <a:gd name="T18" fmla="*/ 799 w 5115"/>
                  <a:gd name="T19" fmla="*/ 207 h 1227"/>
                  <a:gd name="T20" fmla="*/ 675 w 5115"/>
                  <a:gd name="T21" fmla="*/ 145 h 1227"/>
                  <a:gd name="T22" fmla="*/ 545 w 5115"/>
                  <a:gd name="T23" fmla="*/ 95 h 1227"/>
                  <a:gd name="T24" fmla="*/ 404 w 5115"/>
                  <a:gd name="T25" fmla="*/ 59 h 1227"/>
                  <a:gd name="T26" fmla="*/ 245 w 5115"/>
                  <a:gd name="T27" fmla="*/ 36 h 1227"/>
                  <a:gd name="T28" fmla="*/ 64 w 5115"/>
                  <a:gd name="T29" fmla="*/ 27 h 1227"/>
                  <a:gd name="T30" fmla="*/ 1 w 5115"/>
                  <a:gd name="T31" fmla="*/ 20 h 1227"/>
                  <a:gd name="T32" fmla="*/ 8 w 5115"/>
                  <a:gd name="T33" fmla="*/ 2 h 1227"/>
                  <a:gd name="T34" fmla="*/ 160 w 5115"/>
                  <a:gd name="T35" fmla="*/ 4 h 1227"/>
                  <a:gd name="T36" fmla="*/ 332 w 5115"/>
                  <a:gd name="T37" fmla="*/ 20 h 1227"/>
                  <a:gd name="T38" fmla="*/ 487 w 5115"/>
                  <a:gd name="T39" fmla="*/ 51 h 1227"/>
                  <a:gd name="T40" fmla="*/ 625 w 5115"/>
                  <a:gd name="T41" fmla="*/ 95 h 1227"/>
                  <a:gd name="T42" fmla="*/ 754 w 5115"/>
                  <a:gd name="T43" fmla="*/ 153 h 1227"/>
                  <a:gd name="T44" fmla="*/ 877 w 5115"/>
                  <a:gd name="T45" fmla="*/ 222 h 1227"/>
                  <a:gd name="T46" fmla="*/ 1097 w 5115"/>
                  <a:gd name="T47" fmla="*/ 366 h 1227"/>
                  <a:gd name="T48" fmla="*/ 1301 w 5115"/>
                  <a:gd name="T49" fmla="*/ 507 h 1227"/>
                  <a:gd name="T50" fmla="*/ 1511 w 5115"/>
                  <a:gd name="T51" fmla="*/ 645 h 1227"/>
                  <a:gd name="T52" fmla="*/ 1760 w 5115"/>
                  <a:gd name="T53" fmla="*/ 794 h 1227"/>
                  <a:gd name="T54" fmla="*/ 2059 w 5115"/>
                  <a:gd name="T55" fmla="*/ 953 h 1227"/>
                  <a:gd name="T56" fmla="*/ 2358 w 5115"/>
                  <a:gd name="T57" fmla="*/ 1081 h 1227"/>
                  <a:gd name="T58" fmla="*/ 2638 w 5115"/>
                  <a:gd name="T59" fmla="*/ 1158 h 1227"/>
                  <a:gd name="T60" fmla="*/ 2912 w 5115"/>
                  <a:gd name="T61" fmla="*/ 1194 h 1227"/>
                  <a:gd name="T62" fmla="*/ 3180 w 5115"/>
                  <a:gd name="T63" fmla="*/ 1196 h 1227"/>
                  <a:gd name="T64" fmla="*/ 3441 w 5115"/>
                  <a:gd name="T65" fmla="*/ 1172 h 1227"/>
                  <a:gd name="T66" fmla="*/ 3695 w 5115"/>
                  <a:gd name="T67" fmla="*/ 1127 h 1227"/>
                  <a:gd name="T68" fmla="*/ 3941 w 5115"/>
                  <a:gd name="T69" fmla="*/ 1069 h 1227"/>
                  <a:gd name="T70" fmla="*/ 4296 w 5115"/>
                  <a:gd name="T71" fmla="*/ 972 h 1227"/>
                  <a:gd name="T72" fmla="*/ 4526 w 5115"/>
                  <a:gd name="T73" fmla="*/ 910 h 1227"/>
                  <a:gd name="T74" fmla="*/ 4746 w 5115"/>
                  <a:gd name="T75" fmla="*/ 861 h 1227"/>
                  <a:gd name="T76" fmla="*/ 4955 w 5115"/>
                  <a:gd name="T77" fmla="*/ 832 h 1227"/>
                  <a:gd name="T78" fmla="*/ 5107 w 5115"/>
                  <a:gd name="T79" fmla="*/ 829 h 1227"/>
                  <a:gd name="T80" fmla="*/ 5114 w 5115"/>
                  <a:gd name="T81" fmla="*/ 848 h 1227"/>
                  <a:gd name="T82" fmla="*/ 5053 w 5115"/>
                  <a:gd name="T83" fmla="*/ 854 h 1227"/>
                  <a:gd name="T84" fmla="*/ 4854 w 5115"/>
                  <a:gd name="T85" fmla="*/ 870 h 1227"/>
                  <a:gd name="T86" fmla="*/ 4642 w 5115"/>
                  <a:gd name="T87" fmla="*/ 910 h 1227"/>
                  <a:gd name="T88" fmla="*/ 4418 w 5115"/>
                  <a:gd name="T89" fmla="*/ 967 h 1227"/>
                  <a:gd name="T90" fmla="*/ 4177 w 5115"/>
                  <a:gd name="T91" fmla="*/ 1033 h 1227"/>
                  <a:gd name="T92" fmla="*/ 3894 w 5115"/>
                  <a:gd name="T93" fmla="*/ 1109 h 1227"/>
                  <a:gd name="T94" fmla="*/ 3601 w 5115"/>
                  <a:gd name="T95" fmla="*/ 1173 h 1227"/>
                  <a:gd name="T96" fmla="*/ 3299 w 5115"/>
                  <a:gd name="T97" fmla="*/ 1216 h 1227"/>
                  <a:gd name="T98" fmla="*/ 3104 w 5115"/>
                  <a:gd name="T99" fmla="*/ 1226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15" h="1227">
                    <a:moveTo>
                      <a:pt x="3064" y="1227"/>
                    </a:moveTo>
                    <a:lnTo>
                      <a:pt x="3008" y="1226"/>
                    </a:lnTo>
                    <a:lnTo>
                      <a:pt x="2952" y="1223"/>
                    </a:lnTo>
                    <a:lnTo>
                      <a:pt x="2896" y="1220"/>
                    </a:lnTo>
                    <a:lnTo>
                      <a:pt x="2839" y="1215"/>
                    </a:lnTo>
                    <a:lnTo>
                      <a:pt x="2781" y="1208"/>
                    </a:lnTo>
                    <a:lnTo>
                      <a:pt x="2723" y="1201"/>
                    </a:lnTo>
                    <a:lnTo>
                      <a:pt x="2666" y="1191"/>
                    </a:lnTo>
                    <a:lnTo>
                      <a:pt x="2608" y="1179"/>
                    </a:lnTo>
                    <a:lnTo>
                      <a:pt x="2549" y="1166"/>
                    </a:lnTo>
                    <a:lnTo>
                      <a:pt x="2490" y="1151"/>
                    </a:lnTo>
                    <a:lnTo>
                      <a:pt x="2431" y="1134"/>
                    </a:lnTo>
                    <a:lnTo>
                      <a:pt x="2371" y="1114"/>
                    </a:lnTo>
                    <a:lnTo>
                      <a:pt x="2312" y="1094"/>
                    </a:lnTo>
                    <a:lnTo>
                      <a:pt x="2252" y="1070"/>
                    </a:lnTo>
                    <a:lnTo>
                      <a:pt x="2192" y="1044"/>
                    </a:lnTo>
                    <a:lnTo>
                      <a:pt x="2131" y="1017"/>
                    </a:lnTo>
                    <a:lnTo>
                      <a:pt x="2047" y="976"/>
                    </a:lnTo>
                    <a:lnTo>
                      <a:pt x="1967" y="936"/>
                    </a:lnTo>
                    <a:lnTo>
                      <a:pt x="1890" y="896"/>
                    </a:lnTo>
                    <a:lnTo>
                      <a:pt x="1817" y="856"/>
                    </a:lnTo>
                    <a:lnTo>
                      <a:pt x="1747" y="818"/>
                    </a:lnTo>
                    <a:lnTo>
                      <a:pt x="1680" y="780"/>
                    </a:lnTo>
                    <a:lnTo>
                      <a:pt x="1616" y="742"/>
                    </a:lnTo>
                    <a:lnTo>
                      <a:pt x="1555" y="704"/>
                    </a:lnTo>
                    <a:lnTo>
                      <a:pt x="1496" y="669"/>
                    </a:lnTo>
                    <a:lnTo>
                      <a:pt x="1440" y="633"/>
                    </a:lnTo>
                    <a:lnTo>
                      <a:pt x="1387" y="597"/>
                    </a:lnTo>
                    <a:lnTo>
                      <a:pt x="1336" y="563"/>
                    </a:lnTo>
                    <a:lnTo>
                      <a:pt x="1286" y="529"/>
                    </a:lnTo>
                    <a:lnTo>
                      <a:pt x="1238" y="497"/>
                    </a:lnTo>
                    <a:lnTo>
                      <a:pt x="1193" y="466"/>
                    </a:lnTo>
                    <a:lnTo>
                      <a:pt x="1148" y="434"/>
                    </a:lnTo>
                    <a:lnTo>
                      <a:pt x="1080" y="387"/>
                    </a:lnTo>
                    <a:lnTo>
                      <a:pt x="1015" y="343"/>
                    </a:lnTo>
                    <a:lnTo>
                      <a:pt x="951" y="301"/>
                    </a:lnTo>
                    <a:lnTo>
                      <a:pt x="890" y="261"/>
                    </a:lnTo>
                    <a:lnTo>
                      <a:pt x="859" y="242"/>
                    </a:lnTo>
                    <a:lnTo>
                      <a:pt x="829" y="224"/>
                    </a:lnTo>
                    <a:lnTo>
                      <a:pt x="799" y="207"/>
                    </a:lnTo>
                    <a:lnTo>
                      <a:pt x="768" y="190"/>
                    </a:lnTo>
                    <a:lnTo>
                      <a:pt x="737" y="174"/>
                    </a:lnTo>
                    <a:lnTo>
                      <a:pt x="706" y="159"/>
                    </a:lnTo>
                    <a:lnTo>
                      <a:pt x="675" y="145"/>
                    </a:lnTo>
                    <a:lnTo>
                      <a:pt x="643" y="131"/>
                    </a:lnTo>
                    <a:lnTo>
                      <a:pt x="611" y="118"/>
                    </a:lnTo>
                    <a:lnTo>
                      <a:pt x="579" y="106"/>
                    </a:lnTo>
                    <a:lnTo>
                      <a:pt x="545" y="95"/>
                    </a:lnTo>
                    <a:lnTo>
                      <a:pt x="512" y="85"/>
                    </a:lnTo>
                    <a:lnTo>
                      <a:pt x="476" y="75"/>
                    </a:lnTo>
                    <a:lnTo>
                      <a:pt x="440" y="66"/>
                    </a:lnTo>
                    <a:lnTo>
                      <a:pt x="404" y="59"/>
                    </a:lnTo>
                    <a:lnTo>
                      <a:pt x="366" y="51"/>
                    </a:lnTo>
                    <a:lnTo>
                      <a:pt x="327" y="46"/>
                    </a:lnTo>
                    <a:lnTo>
                      <a:pt x="286" y="40"/>
                    </a:lnTo>
                    <a:lnTo>
                      <a:pt x="245" y="36"/>
                    </a:lnTo>
                    <a:lnTo>
                      <a:pt x="202" y="33"/>
                    </a:lnTo>
                    <a:lnTo>
                      <a:pt x="158" y="30"/>
                    </a:lnTo>
                    <a:lnTo>
                      <a:pt x="111" y="28"/>
                    </a:lnTo>
                    <a:lnTo>
                      <a:pt x="64" y="27"/>
                    </a:lnTo>
                    <a:lnTo>
                      <a:pt x="14" y="27"/>
                    </a:lnTo>
                    <a:lnTo>
                      <a:pt x="8" y="26"/>
                    </a:lnTo>
                    <a:lnTo>
                      <a:pt x="4" y="24"/>
                    </a:lnTo>
                    <a:lnTo>
                      <a:pt x="1" y="20"/>
                    </a:lnTo>
                    <a:lnTo>
                      <a:pt x="0" y="14"/>
                    </a:lnTo>
                    <a:lnTo>
                      <a:pt x="1" y="9"/>
                    </a:lnTo>
                    <a:lnTo>
                      <a:pt x="4" y="5"/>
                    </a:lnTo>
                    <a:lnTo>
                      <a:pt x="8" y="2"/>
                    </a:lnTo>
                    <a:lnTo>
                      <a:pt x="14" y="0"/>
                    </a:lnTo>
                    <a:lnTo>
                      <a:pt x="64" y="0"/>
                    </a:lnTo>
                    <a:lnTo>
                      <a:pt x="112" y="2"/>
                    </a:lnTo>
                    <a:lnTo>
                      <a:pt x="160" y="4"/>
                    </a:lnTo>
                    <a:lnTo>
                      <a:pt x="205" y="6"/>
                    </a:lnTo>
                    <a:lnTo>
                      <a:pt x="249" y="10"/>
                    </a:lnTo>
                    <a:lnTo>
                      <a:pt x="291" y="14"/>
                    </a:lnTo>
                    <a:lnTo>
                      <a:pt x="332" y="20"/>
                    </a:lnTo>
                    <a:lnTo>
                      <a:pt x="373" y="26"/>
                    </a:lnTo>
                    <a:lnTo>
                      <a:pt x="412" y="34"/>
                    </a:lnTo>
                    <a:lnTo>
                      <a:pt x="449" y="41"/>
                    </a:lnTo>
                    <a:lnTo>
                      <a:pt x="487" y="51"/>
                    </a:lnTo>
                    <a:lnTo>
                      <a:pt x="522" y="61"/>
                    </a:lnTo>
                    <a:lnTo>
                      <a:pt x="557" y="72"/>
                    </a:lnTo>
                    <a:lnTo>
                      <a:pt x="592" y="84"/>
                    </a:lnTo>
                    <a:lnTo>
                      <a:pt x="625" y="95"/>
                    </a:lnTo>
                    <a:lnTo>
                      <a:pt x="657" y="108"/>
                    </a:lnTo>
                    <a:lnTo>
                      <a:pt x="690" y="122"/>
                    </a:lnTo>
                    <a:lnTo>
                      <a:pt x="722" y="138"/>
                    </a:lnTo>
                    <a:lnTo>
                      <a:pt x="754" y="153"/>
                    </a:lnTo>
                    <a:lnTo>
                      <a:pt x="785" y="169"/>
                    </a:lnTo>
                    <a:lnTo>
                      <a:pt x="815" y="186"/>
                    </a:lnTo>
                    <a:lnTo>
                      <a:pt x="846" y="203"/>
                    </a:lnTo>
                    <a:lnTo>
                      <a:pt x="877" y="222"/>
                    </a:lnTo>
                    <a:lnTo>
                      <a:pt x="908" y="240"/>
                    </a:lnTo>
                    <a:lnTo>
                      <a:pt x="970" y="280"/>
                    </a:lnTo>
                    <a:lnTo>
                      <a:pt x="1032" y="322"/>
                    </a:lnTo>
                    <a:lnTo>
                      <a:pt x="1097" y="366"/>
                    </a:lnTo>
                    <a:lnTo>
                      <a:pt x="1164" y="412"/>
                    </a:lnTo>
                    <a:lnTo>
                      <a:pt x="1208" y="443"/>
                    </a:lnTo>
                    <a:lnTo>
                      <a:pt x="1254" y="474"/>
                    </a:lnTo>
                    <a:lnTo>
                      <a:pt x="1301" y="507"/>
                    </a:lnTo>
                    <a:lnTo>
                      <a:pt x="1351" y="540"/>
                    </a:lnTo>
                    <a:lnTo>
                      <a:pt x="1401" y="575"/>
                    </a:lnTo>
                    <a:lnTo>
                      <a:pt x="1455" y="609"/>
                    </a:lnTo>
                    <a:lnTo>
                      <a:pt x="1511" y="645"/>
                    </a:lnTo>
                    <a:lnTo>
                      <a:pt x="1569" y="682"/>
                    </a:lnTo>
                    <a:lnTo>
                      <a:pt x="1629" y="718"/>
                    </a:lnTo>
                    <a:lnTo>
                      <a:pt x="1693" y="756"/>
                    </a:lnTo>
                    <a:lnTo>
                      <a:pt x="1760" y="794"/>
                    </a:lnTo>
                    <a:lnTo>
                      <a:pt x="1830" y="833"/>
                    </a:lnTo>
                    <a:lnTo>
                      <a:pt x="1902" y="873"/>
                    </a:lnTo>
                    <a:lnTo>
                      <a:pt x="1979" y="912"/>
                    </a:lnTo>
                    <a:lnTo>
                      <a:pt x="2059" y="953"/>
                    </a:lnTo>
                    <a:lnTo>
                      <a:pt x="2143" y="992"/>
                    </a:lnTo>
                    <a:lnTo>
                      <a:pt x="2215" y="1025"/>
                    </a:lnTo>
                    <a:lnTo>
                      <a:pt x="2287" y="1055"/>
                    </a:lnTo>
                    <a:lnTo>
                      <a:pt x="2358" y="1081"/>
                    </a:lnTo>
                    <a:lnTo>
                      <a:pt x="2428" y="1105"/>
                    </a:lnTo>
                    <a:lnTo>
                      <a:pt x="2499" y="1125"/>
                    </a:lnTo>
                    <a:lnTo>
                      <a:pt x="2569" y="1143"/>
                    </a:lnTo>
                    <a:lnTo>
                      <a:pt x="2638" y="1158"/>
                    </a:lnTo>
                    <a:lnTo>
                      <a:pt x="2708" y="1171"/>
                    </a:lnTo>
                    <a:lnTo>
                      <a:pt x="2776" y="1180"/>
                    </a:lnTo>
                    <a:lnTo>
                      <a:pt x="2845" y="1189"/>
                    </a:lnTo>
                    <a:lnTo>
                      <a:pt x="2912" y="1194"/>
                    </a:lnTo>
                    <a:lnTo>
                      <a:pt x="2980" y="1198"/>
                    </a:lnTo>
                    <a:lnTo>
                      <a:pt x="3047" y="1199"/>
                    </a:lnTo>
                    <a:lnTo>
                      <a:pt x="3114" y="1199"/>
                    </a:lnTo>
                    <a:lnTo>
                      <a:pt x="3180" y="1196"/>
                    </a:lnTo>
                    <a:lnTo>
                      <a:pt x="3246" y="1192"/>
                    </a:lnTo>
                    <a:lnTo>
                      <a:pt x="3312" y="1187"/>
                    </a:lnTo>
                    <a:lnTo>
                      <a:pt x="3376" y="1180"/>
                    </a:lnTo>
                    <a:lnTo>
                      <a:pt x="3441" y="1172"/>
                    </a:lnTo>
                    <a:lnTo>
                      <a:pt x="3505" y="1162"/>
                    </a:lnTo>
                    <a:lnTo>
                      <a:pt x="3569" y="1151"/>
                    </a:lnTo>
                    <a:lnTo>
                      <a:pt x="3632" y="1139"/>
                    </a:lnTo>
                    <a:lnTo>
                      <a:pt x="3695" y="1127"/>
                    </a:lnTo>
                    <a:lnTo>
                      <a:pt x="3757" y="1113"/>
                    </a:lnTo>
                    <a:lnTo>
                      <a:pt x="3819" y="1099"/>
                    </a:lnTo>
                    <a:lnTo>
                      <a:pt x="3880" y="1084"/>
                    </a:lnTo>
                    <a:lnTo>
                      <a:pt x="3941" y="1069"/>
                    </a:lnTo>
                    <a:lnTo>
                      <a:pt x="4002" y="1053"/>
                    </a:lnTo>
                    <a:lnTo>
                      <a:pt x="4120" y="1021"/>
                    </a:lnTo>
                    <a:lnTo>
                      <a:pt x="4238" y="988"/>
                    </a:lnTo>
                    <a:lnTo>
                      <a:pt x="4296" y="972"/>
                    </a:lnTo>
                    <a:lnTo>
                      <a:pt x="4355" y="956"/>
                    </a:lnTo>
                    <a:lnTo>
                      <a:pt x="4412" y="940"/>
                    </a:lnTo>
                    <a:lnTo>
                      <a:pt x="4469" y="924"/>
                    </a:lnTo>
                    <a:lnTo>
                      <a:pt x="4526" y="910"/>
                    </a:lnTo>
                    <a:lnTo>
                      <a:pt x="4581" y="896"/>
                    </a:lnTo>
                    <a:lnTo>
                      <a:pt x="4638" y="883"/>
                    </a:lnTo>
                    <a:lnTo>
                      <a:pt x="4692" y="872"/>
                    </a:lnTo>
                    <a:lnTo>
                      <a:pt x="4746" y="861"/>
                    </a:lnTo>
                    <a:lnTo>
                      <a:pt x="4800" y="851"/>
                    </a:lnTo>
                    <a:lnTo>
                      <a:pt x="4851" y="844"/>
                    </a:lnTo>
                    <a:lnTo>
                      <a:pt x="4903" y="837"/>
                    </a:lnTo>
                    <a:lnTo>
                      <a:pt x="4955" y="832"/>
                    </a:lnTo>
                    <a:lnTo>
                      <a:pt x="5005" y="828"/>
                    </a:lnTo>
                    <a:lnTo>
                      <a:pt x="5054" y="827"/>
                    </a:lnTo>
                    <a:lnTo>
                      <a:pt x="5102" y="828"/>
                    </a:lnTo>
                    <a:lnTo>
                      <a:pt x="5107" y="829"/>
                    </a:lnTo>
                    <a:lnTo>
                      <a:pt x="5112" y="833"/>
                    </a:lnTo>
                    <a:lnTo>
                      <a:pt x="5115" y="837"/>
                    </a:lnTo>
                    <a:lnTo>
                      <a:pt x="5115" y="842"/>
                    </a:lnTo>
                    <a:lnTo>
                      <a:pt x="5114" y="848"/>
                    </a:lnTo>
                    <a:lnTo>
                      <a:pt x="5112" y="852"/>
                    </a:lnTo>
                    <a:lnTo>
                      <a:pt x="5106" y="854"/>
                    </a:lnTo>
                    <a:lnTo>
                      <a:pt x="5101" y="855"/>
                    </a:lnTo>
                    <a:lnTo>
                      <a:pt x="5053" y="854"/>
                    </a:lnTo>
                    <a:lnTo>
                      <a:pt x="5005" y="855"/>
                    </a:lnTo>
                    <a:lnTo>
                      <a:pt x="4956" y="859"/>
                    </a:lnTo>
                    <a:lnTo>
                      <a:pt x="4905" y="864"/>
                    </a:lnTo>
                    <a:lnTo>
                      <a:pt x="4854" y="870"/>
                    </a:lnTo>
                    <a:lnTo>
                      <a:pt x="4802" y="878"/>
                    </a:lnTo>
                    <a:lnTo>
                      <a:pt x="4749" y="888"/>
                    </a:lnTo>
                    <a:lnTo>
                      <a:pt x="4696" y="899"/>
                    </a:lnTo>
                    <a:lnTo>
                      <a:pt x="4642" y="910"/>
                    </a:lnTo>
                    <a:lnTo>
                      <a:pt x="4587" y="923"/>
                    </a:lnTo>
                    <a:lnTo>
                      <a:pt x="4531" y="936"/>
                    </a:lnTo>
                    <a:lnTo>
                      <a:pt x="4475" y="951"/>
                    </a:lnTo>
                    <a:lnTo>
                      <a:pt x="4418" y="967"/>
                    </a:lnTo>
                    <a:lnTo>
                      <a:pt x="4361" y="982"/>
                    </a:lnTo>
                    <a:lnTo>
                      <a:pt x="4304" y="998"/>
                    </a:lnTo>
                    <a:lnTo>
                      <a:pt x="4246" y="1014"/>
                    </a:lnTo>
                    <a:lnTo>
                      <a:pt x="4177" y="1033"/>
                    </a:lnTo>
                    <a:lnTo>
                      <a:pt x="4107" y="1053"/>
                    </a:lnTo>
                    <a:lnTo>
                      <a:pt x="4036" y="1071"/>
                    </a:lnTo>
                    <a:lnTo>
                      <a:pt x="3966" y="1091"/>
                    </a:lnTo>
                    <a:lnTo>
                      <a:pt x="3894" y="1109"/>
                    </a:lnTo>
                    <a:lnTo>
                      <a:pt x="3821" y="1126"/>
                    </a:lnTo>
                    <a:lnTo>
                      <a:pt x="3749" y="1143"/>
                    </a:lnTo>
                    <a:lnTo>
                      <a:pt x="3676" y="1159"/>
                    </a:lnTo>
                    <a:lnTo>
                      <a:pt x="3601" y="1173"/>
                    </a:lnTo>
                    <a:lnTo>
                      <a:pt x="3527" y="1186"/>
                    </a:lnTo>
                    <a:lnTo>
                      <a:pt x="3451" y="1198"/>
                    </a:lnTo>
                    <a:lnTo>
                      <a:pt x="3375" y="1207"/>
                    </a:lnTo>
                    <a:lnTo>
                      <a:pt x="3299" y="1216"/>
                    </a:lnTo>
                    <a:lnTo>
                      <a:pt x="3221" y="1221"/>
                    </a:lnTo>
                    <a:lnTo>
                      <a:pt x="3182" y="1223"/>
                    </a:lnTo>
                    <a:lnTo>
                      <a:pt x="3143" y="1226"/>
                    </a:lnTo>
                    <a:lnTo>
                      <a:pt x="3104" y="1226"/>
                    </a:lnTo>
                    <a:lnTo>
                      <a:pt x="3064" y="1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21"/>
              <p:cNvSpPr>
                <a:spLocks/>
              </p:cNvSpPr>
              <p:nvPr userDrawn="1"/>
            </p:nvSpPr>
            <p:spPr bwMode="auto">
              <a:xfrm>
                <a:off x="1211" y="3469"/>
                <a:ext cx="1667" cy="302"/>
              </a:xfrm>
              <a:custGeom>
                <a:avLst/>
                <a:gdLst>
                  <a:gd name="T0" fmla="*/ 2665 w 5002"/>
                  <a:gd name="T1" fmla="*/ 901 h 906"/>
                  <a:gd name="T2" fmla="*/ 2470 w 5002"/>
                  <a:gd name="T3" fmla="*/ 879 h 906"/>
                  <a:gd name="T4" fmla="*/ 2270 w 5002"/>
                  <a:gd name="T5" fmla="*/ 838 h 906"/>
                  <a:gd name="T6" fmla="*/ 2079 w 5002"/>
                  <a:gd name="T7" fmla="*/ 785 h 906"/>
                  <a:gd name="T8" fmla="*/ 1898 w 5002"/>
                  <a:gd name="T9" fmla="*/ 720 h 906"/>
                  <a:gd name="T10" fmla="*/ 1725 w 5002"/>
                  <a:gd name="T11" fmla="*/ 648 h 906"/>
                  <a:gd name="T12" fmla="*/ 1439 w 5002"/>
                  <a:gd name="T13" fmla="*/ 508 h 906"/>
                  <a:gd name="T14" fmla="*/ 1129 w 5002"/>
                  <a:gd name="T15" fmla="*/ 343 h 906"/>
                  <a:gd name="T16" fmla="*/ 823 w 5002"/>
                  <a:gd name="T17" fmla="*/ 188 h 906"/>
                  <a:gd name="T18" fmla="*/ 638 w 5002"/>
                  <a:gd name="T19" fmla="*/ 110 h 906"/>
                  <a:gd name="T20" fmla="*/ 492 w 5002"/>
                  <a:gd name="T21" fmla="*/ 64 h 906"/>
                  <a:gd name="T22" fmla="*/ 347 w 5002"/>
                  <a:gd name="T23" fmla="*/ 35 h 906"/>
                  <a:gd name="T24" fmla="*/ 201 w 5002"/>
                  <a:gd name="T25" fmla="*/ 27 h 906"/>
                  <a:gd name="T26" fmla="*/ 53 w 5002"/>
                  <a:gd name="T27" fmla="*/ 42 h 906"/>
                  <a:gd name="T28" fmla="*/ 3 w 5002"/>
                  <a:gd name="T29" fmla="*/ 44 h 906"/>
                  <a:gd name="T30" fmla="*/ 6 w 5002"/>
                  <a:gd name="T31" fmla="*/ 26 h 906"/>
                  <a:gd name="T32" fmla="*/ 124 w 5002"/>
                  <a:gd name="T33" fmla="*/ 4 h 906"/>
                  <a:gd name="T34" fmla="*/ 274 w 5002"/>
                  <a:gd name="T35" fmla="*/ 1 h 906"/>
                  <a:gd name="T36" fmla="*/ 422 w 5002"/>
                  <a:gd name="T37" fmla="*/ 19 h 906"/>
                  <a:gd name="T38" fmla="*/ 570 w 5002"/>
                  <a:gd name="T39" fmla="*/ 58 h 906"/>
                  <a:gd name="T40" fmla="*/ 719 w 5002"/>
                  <a:gd name="T41" fmla="*/ 112 h 906"/>
                  <a:gd name="T42" fmla="*/ 984 w 5002"/>
                  <a:gd name="T43" fmla="*/ 236 h 906"/>
                  <a:gd name="T44" fmla="*/ 1296 w 5002"/>
                  <a:gd name="T45" fmla="*/ 403 h 906"/>
                  <a:gd name="T46" fmla="*/ 1610 w 5002"/>
                  <a:gd name="T47" fmla="*/ 565 h 906"/>
                  <a:gd name="T48" fmla="*/ 1820 w 5002"/>
                  <a:gd name="T49" fmla="*/ 660 h 906"/>
                  <a:gd name="T50" fmla="*/ 1996 w 5002"/>
                  <a:gd name="T51" fmla="*/ 728 h 906"/>
                  <a:gd name="T52" fmla="*/ 2180 w 5002"/>
                  <a:gd name="T53" fmla="*/ 787 h 906"/>
                  <a:gd name="T54" fmla="*/ 2374 w 5002"/>
                  <a:gd name="T55" fmla="*/ 833 h 906"/>
                  <a:gd name="T56" fmla="*/ 2577 w 5002"/>
                  <a:gd name="T57" fmla="*/ 866 h 906"/>
                  <a:gd name="T58" fmla="*/ 2721 w 5002"/>
                  <a:gd name="T59" fmla="*/ 877 h 906"/>
                  <a:gd name="T60" fmla="*/ 2930 w 5002"/>
                  <a:gd name="T61" fmla="*/ 872 h 906"/>
                  <a:gd name="T62" fmla="*/ 3165 w 5002"/>
                  <a:gd name="T63" fmla="*/ 842 h 906"/>
                  <a:gd name="T64" fmla="*/ 3398 w 5002"/>
                  <a:gd name="T65" fmla="*/ 795 h 906"/>
                  <a:gd name="T66" fmla="*/ 3655 w 5002"/>
                  <a:gd name="T67" fmla="*/ 734 h 906"/>
                  <a:gd name="T68" fmla="*/ 3956 w 5002"/>
                  <a:gd name="T69" fmla="*/ 669 h 906"/>
                  <a:gd name="T70" fmla="*/ 4130 w 5002"/>
                  <a:gd name="T71" fmla="*/ 644 h 906"/>
                  <a:gd name="T72" fmla="*/ 4307 w 5002"/>
                  <a:gd name="T73" fmla="*/ 632 h 906"/>
                  <a:gd name="T74" fmla="*/ 4486 w 5002"/>
                  <a:gd name="T75" fmla="*/ 636 h 906"/>
                  <a:gd name="T76" fmla="*/ 4669 w 5002"/>
                  <a:gd name="T77" fmla="*/ 662 h 906"/>
                  <a:gd name="T78" fmla="*/ 4853 w 5002"/>
                  <a:gd name="T79" fmla="*/ 714 h 906"/>
                  <a:gd name="T80" fmla="*/ 4999 w 5002"/>
                  <a:gd name="T81" fmla="*/ 774 h 906"/>
                  <a:gd name="T82" fmla="*/ 4998 w 5002"/>
                  <a:gd name="T83" fmla="*/ 793 h 906"/>
                  <a:gd name="T84" fmla="*/ 4936 w 5002"/>
                  <a:gd name="T85" fmla="*/ 775 h 906"/>
                  <a:gd name="T86" fmla="*/ 4753 w 5002"/>
                  <a:gd name="T87" fmla="*/ 710 h 906"/>
                  <a:gd name="T88" fmla="*/ 4571 w 5002"/>
                  <a:gd name="T89" fmla="*/ 673 h 906"/>
                  <a:gd name="T90" fmla="*/ 4393 w 5002"/>
                  <a:gd name="T91" fmla="*/ 659 h 906"/>
                  <a:gd name="T92" fmla="*/ 4217 w 5002"/>
                  <a:gd name="T93" fmla="*/ 663 h 906"/>
                  <a:gd name="T94" fmla="*/ 4044 w 5002"/>
                  <a:gd name="T95" fmla="*/ 682 h 906"/>
                  <a:gd name="T96" fmla="*/ 3830 w 5002"/>
                  <a:gd name="T97" fmla="*/ 722 h 906"/>
                  <a:gd name="T98" fmla="*/ 3527 w 5002"/>
                  <a:gd name="T99" fmla="*/ 792 h 906"/>
                  <a:gd name="T100" fmla="*/ 3333 w 5002"/>
                  <a:gd name="T101" fmla="*/ 837 h 906"/>
                  <a:gd name="T102" fmla="*/ 3134 w 5002"/>
                  <a:gd name="T103" fmla="*/ 874 h 906"/>
                  <a:gd name="T104" fmla="*/ 2933 w 5002"/>
                  <a:gd name="T105" fmla="*/ 899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02" h="906">
                    <a:moveTo>
                      <a:pt x="2781" y="906"/>
                    </a:moveTo>
                    <a:lnTo>
                      <a:pt x="2742" y="905"/>
                    </a:lnTo>
                    <a:lnTo>
                      <a:pt x="2704" y="904"/>
                    </a:lnTo>
                    <a:lnTo>
                      <a:pt x="2665" y="901"/>
                    </a:lnTo>
                    <a:lnTo>
                      <a:pt x="2628" y="898"/>
                    </a:lnTo>
                    <a:lnTo>
                      <a:pt x="2574" y="893"/>
                    </a:lnTo>
                    <a:lnTo>
                      <a:pt x="2522" y="886"/>
                    </a:lnTo>
                    <a:lnTo>
                      <a:pt x="2470" y="879"/>
                    </a:lnTo>
                    <a:lnTo>
                      <a:pt x="2419" y="870"/>
                    </a:lnTo>
                    <a:lnTo>
                      <a:pt x="2369" y="860"/>
                    </a:lnTo>
                    <a:lnTo>
                      <a:pt x="2319" y="850"/>
                    </a:lnTo>
                    <a:lnTo>
                      <a:pt x="2270" y="838"/>
                    </a:lnTo>
                    <a:lnTo>
                      <a:pt x="2222" y="826"/>
                    </a:lnTo>
                    <a:lnTo>
                      <a:pt x="2173" y="813"/>
                    </a:lnTo>
                    <a:lnTo>
                      <a:pt x="2127" y="799"/>
                    </a:lnTo>
                    <a:lnTo>
                      <a:pt x="2079" y="785"/>
                    </a:lnTo>
                    <a:lnTo>
                      <a:pt x="2034" y="770"/>
                    </a:lnTo>
                    <a:lnTo>
                      <a:pt x="1987" y="754"/>
                    </a:lnTo>
                    <a:lnTo>
                      <a:pt x="1942" y="737"/>
                    </a:lnTo>
                    <a:lnTo>
                      <a:pt x="1898" y="720"/>
                    </a:lnTo>
                    <a:lnTo>
                      <a:pt x="1853" y="703"/>
                    </a:lnTo>
                    <a:lnTo>
                      <a:pt x="1810" y="684"/>
                    </a:lnTo>
                    <a:lnTo>
                      <a:pt x="1767" y="666"/>
                    </a:lnTo>
                    <a:lnTo>
                      <a:pt x="1725" y="648"/>
                    </a:lnTo>
                    <a:lnTo>
                      <a:pt x="1683" y="628"/>
                    </a:lnTo>
                    <a:lnTo>
                      <a:pt x="1600" y="589"/>
                    </a:lnTo>
                    <a:lnTo>
                      <a:pt x="1519" y="549"/>
                    </a:lnTo>
                    <a:lnTo>
                      <a:pt x="1439" y="508"/>
                    </a:lnTo>
                    <a:lnTo>
                      <a:pt x="1361" y="467"/>
                    </a:lnTo>
                    <a:lnTo>
                      <a:pt x="1284" y="426"/>
                    </a:lnTo>
                    <a:lnTo>
                      <a:pt x="1209" y="386"/>
                    </a:lnTo>
                    <a:lnTo>
                      <a:pt x="1129" y="343"/>
                    </a:lnTo>
                    <a:lnTo>
                      <a:pt x="1051" y="302"/>
                    </a:lnTo>
                    <a:lnTo>
                      <a:pt x="974" y="261"/>
                    </a:lnTo>
                    <a:lnTo>
                      <a:pt x="898" y="223"/>
                    </a:lnTo>
                    <a:lnTo>
                      <a:pt x="823" y="188"/>
                    </a:lnTo>
                    <a:lnTo>
                      <a:pt x="749" y="154"/>
                    </a:lnTo>
                    <a:lnTo>
                      <a:pt x="712" y="138"/>
                    </a:lnTo>
                    <a:lnTo>
                      <a:pt x="675" y="124"/>
                    </a:lnTo>
                    <a:lnTo>
                      <a:pt x="638" y="110"/>
                    </a:lnTo>
                    <a:lnTo>
                      <a:pt x="602" y="97"/>
                    </a:lnTo>
                    <a:lnTo>
                      <a:pt x="565" y="85"/>
                    </a:lnTo>
                    <a:lnTo>
                      <a:pt x="529" y="73"/>
                    </a:lnTo>
                    <a:lnTo>
                      <a:pt x="492" y="64"/>
                    </a:lnTo>
                    <a:lnTo>
                      <a:pt x="456" y="55"/>
                    </a:lnTo>
                    <a:lnTo>
                      <a:pt x="419" y="46"/>
                    </a:lnTo>
                    <a:lnTo>
                      <a:pt x="383" y="40"/>
                    </a:lnTo>
                    <a:lnTo>
                      <a:pt x="347" y="35"/>
                    </a:lnTo>
                    <a:lnTo>
                      <a:pt x="310" y="31"/>
                    </a:lnTo>
                    <a:lnTo>
                      <a:pt x="274" y="28"/>
                    </a:lnTo>
                    <a:lnTo>
                      <a:pt x="237" y="27"/>
                    </a:lnTo>
                    <a:lnTo>
                      <a:pt x="201" y="27"/>
                    </a:lnTo>
                    <a:lnTo>
                      <a:pt x="165" y="28"/>
                    </a:lnTo>
                    <a:lnTo>
                      <a:pt x="128" y="31"/>
                    </a:lnTo>
                    <a:lnTo>
                      <a:pt x="91" y="36"/>
                    </a:lnTo>
                    <a:lnTo>
                      <a:pt x="53" y="42"/>
                    </a:lnTo>
                    <a:lnTo>
                      <a:pt x="17" y="50"/>
                    </a:lnTo>
                    <a:lnTo>
                      <a:pt x="11" y="50"/>
                    </a:lnTo>
                    <a:lnTo>
                      <a:pt x="6" y="48"/>
                    </a:lnTo>
                    <a:lnTo>
                      <a:pt x="3" y="44"/>
                    </a:lnTo>
                    <a:lnTo>
                      <a:pt x="0" y="40"/>
                    </a:lnTo>
                    <a:lnTo>
                      <a:pt x="0" y="35"/>
                    </a:lnTo>
                    <a:lnTo>
                      <a:pt x="2" y="29"/>
                    </a:lnTo>
                    <a:lnTo>
                      <a:pt x="6" y="26"/>
                    </a:lnTo>
                    <a:lnTo>
                      <a:pt x="10" y="24"/>
                    </a:lnTo>
                    <a:lnTo>
                      <a:pt x="48" y="15"/>
                    </a:lnTo>
                    <a:lnTo>
                      <a:pt x="87" y="9"/>
                    </a:lnTo>
                    <a:lnTo>
                      <a:pt x="124" y="4"/>
                    </a:lnTo>
                    <a:lnTo>
                      <a:pt x="161" y="1"/>
                    </a:lnTo>
                    <a:lnTo>
                      <a:pt x="199" y="0"/>
                    </a:lnTo>
                    <a:lnTo>
                      <a:pt x="236" y="0"/>
                    </a:lnTo>
                    <a:lnTo>
                      <a:pt x="274" y="1"/>
                    </a:lnTo>
                    <a:lnTo>
                      <a:pt x="310" y="3"/>
                    </a:lnTo>
                    <a:lnTo>
                      <a:pt x="348" y="8"/>
                    </a:lnTo>
                    <a:lnTo>
                      <a:pt x="385" y="13"/>
                    </a:lnTo>
                    <a:lnTo>
                      <a:pt x="422" y="19"/>
                    </a:lnTo>
                    <a:lnTo>
                      <a:pt x="458" y="28"/>
                    </a:lnTo>
                    <a:lnTo>
                      <a:pt x="496" y="37"/>
                    </a:lnTo>
                    <a:lnTo>
                      <a:pt x="533" y="46"/>
                    </a:lnTo>
                    <a:lnTo>
                      <a:pt x="570" y="58"/>
                    </a:lnTo>
                    <a:lnTo>
                      <a:pt x="606" y="70"/>
                    </a:lnTo>
                    <a:lnTo>
                      <a:pt x="644" y="83"/>
                    </a:lnTo>
                    <a:lnTo>
                      <a:pt x="681" y="97"/>
                    </a:lnTo>
                    <a:lnTo>
                      <a:pt x="719" y="112"/>
                    </a:lnTo>
                    <a:lnTo>
                      <a:pt x="756" y="127"/>
                    </a:lnTo>
                    <a:lnTo>
                      <a:pt x="831" y="162"/>
                    </a:lnTo>
                    <a:lnTo>
                      <a:pt x="908" y="198"/>
                    </a:lnTo>
                    <a:lnTo>
                      <a:pt x="984" y="236"/>
                    </a:lnTo>
                    <a:lnTo>
                      <a:pt x="1062" y="277"/>
                    </a:lnTo>
                    <a:lnTo>
                      <a:pt x="1141" y="320"/>
                    </a:lnTo>
                    <a:lnTo>
                      <a:pt x="1222" y="363"/>
                    </a:lnTo>
                    <a:lnTo>
                      <a:pt x="1296" y="403"/>
                    </a:lnTo>
                    <a:lnTo>
                      <a:pt x="1373" y="444"/>
                    </a:lnTo>
                    <a:lnTo>
                      <a:pt x="1451" y="485"/>
                    </a:lnTo>
                    <a:lnTo>
                      <a:pt x="1530" y="525"/>
                    </a:lnTo>
                    <a:lnTo>
                      <a:pt x="1610" y="565"/>
                    </a:lnTo>
                    <a:lnTo>
                      <a:pt x="1693" y="603"/>
                    </a:lnTo>
                    <a:lnTo>
                      <a:pt x="1735" y="623"/>
                    </a:lnTo>
                    <a:lnTo>
                      <a:pt x="1777" y="641"/>
                    </a:lnTo>
                    <a:lnTo>
                      <a:pt x="1820" y="660"/>
                    </a:lnTo>
                    <a:lnTo>
                      <a:pt x="1863" y="677"/>
                    </a:lnTo>
                    <a:lnTo>
                      <a:pt x="1906" y="694"/>
                    </a:lnTo>
                    <a:lnTo>
                      <a:pt x="1951" y="711"/>
                    </a:lnTo>
                    <a:lnTo>
                      <a:pt x="1996" y="728"/>
                    </a:lnTo>
                    <a:lnTo>
                      <a:pt x="2041" y="744"/>
                    </a:lnTo>
                    <a:lnTo>
                      <a:pt x="2087" y="759"/>
                    </a:lnTo>
                    <a:lnTo>
                      <a:pt x="2133" y="773"/>
                    </a:lnTo>
                    <a:lnTo>
                      <a:pt x="2180" y="787"/>
                    </a:lnTo>
                    <a:lnTo>
                      <a:pt x="2227" y="800"/>
                    </a:lnTo>
                    <a:lnTo>
                      <a:pt x="2276" y="812"/>
                    </a:lnTo>
                    <a:lnTo>
                      <a:pt x="2324" y="823"/>
                    </a:lnTo>
                    <a:lnTo>
                      <a:pt x="2374" y="833"/>
                    </a:lnTo>
                    <a:lnTo>
                      <a:pt x="2424" y="843"/>
                    </a:lnTo>
                    <a:lnTo>
                      <a:pt x="2474" y="852"/>
                    </a:lnTo>
                    <a:lnTo>
                      <a:pt x="2525" y="859"/>
                    </a:lnTo>
                    <a:lnTo>
                      <a:pt x="2577" y="866"/>
                    </a:lnTo>
                    <a:lnTo>
                      <a:pt x="2630" y="871"/>
                    </a:lnTo>
                    <a:lnTo>
                      <a:pt x="2660" y="873"/>
                    </a:lnTo>
                    <a:lnTo>
                      <a:pt x="2690" y="875"/>
                    </a:lnTo>
                    <a:lnTo>
                      <a:pt x="2721" y="877"/>
                    </a:lnTo>
                    <a:lnTo>
                      <a:pt x="2751" y="878"/>
                    </a:lnTo>
                    <a:lnTo>
                      <a:pt x="2810" y="878"/>
                    </a:lnTo>
                    <a:lnTo>
                      <a:pt x="2871" y="875"/>
                    </a:lnTo>
                    <a:lnTo>
                      <a:pt x="2930" y="872"/>
                    </a:lnTo>
                    <a:lnTo>
                      <a:pt x="2989" y="867"/>
                    </a:lnTo>
                    <a:lnTo>
                      <a:pt x="3048" y="859"/>
                    </a:lnTo>
                    <a:lnTo>
                      <a:pt x="3107" y="852"/>
                    </a:lnTo>
                    <a:lnTo>
                      <a:pt x="3165" y="842"/>
                    </a:lnTo>
                    <a:lnTo>
                      <a:pt x="3224" y="831"/>
                    </a:lnTo>
                    <a:lnTo>
                      <a:pt x="3282" y="819"/>
                    </a:lnTo>
                    <a:lnTo>
                      <a:pt x="3340" y="807"/>
                    </a:lnTo>
                    <a:lnTo>
                      <a:pt x="3398" y="795"/>
                    </a:lnTo>
                    <a:lnTo>
                      <a:pt x="3456" y="782"/>
                    </a:lnTo>
                    <a:lnTo>
                      <a:pt x="3513" y="768"/>
                    </a:lnTo>
                    <a:lnTo>
                      <a:pt x="3569" y="755"/>
                    </a:lnTo>
                    <a:lnTo>
                      <a:pt x="3655" y="734"/>
                    </a:lnTo>
                    <a:lnTo>
                      <a:pt x="3740" y="714"/>
                    </a:lnTo>
                    <a:lnTo>
                      <a:pt x="3826" y="695"/>
                    </a:lnTo>
                    <a:lnTo>
                      <a:pt x="3913" y="678"/>
                    </a:lnTo>
                    <a:lnTo>
                      <a:pt x="3956" y="669"/>
                    </a:lnTo>
                    <a:lnTo>
                      <a:pt x="3999" y="663"/>
                    </a:lnTo>
                    <a:lnTo>
                      <a:pt x="4042" y="655"/>
                    </a:lnTo>
                    <a:lnTo>
                      <a:pt x="4086" y="650"/>
                    </a:lnTo>
                    <a:lnTo>
                      <a:pt x="4130" y="644"/>
                    </a:lnTo>
                    <a:lnTo>
                      <a:pt x="4174" y="639"/>
                    </a:lnTo>
                    <a:lnTo>
                      <a:pt x="4218" y="636"/>
                    </a:lnTo>
                    <a:lnTo>
                      <a:pt x="4263" y="634"/>
                    </a:lnTo>
                    <a:lnTo>
                      <a:pt x="4307" y="632"/>
                    </a:lnTo>
                    <a:lnTo>
                      <a:pt x="4351" y="630"/>
                    </a:lnTo>
                    <a:lnTo>
                      <a:pt x="4396" y="632"/>
                    </a:lnTo>
                    <a:lnTo>
                      <a:pt x="4441" y="633"/>
                    </a:lnTo>
                    <a:lnTo>
                      <a:pt x="4486" y="636"/>
                    </a:lnTo>
                    <a:lnTo>
                      <a:pt x="4531" y="640"/>
                    </a:lnTo>
                    <a:lnTo>
                      <a:pt x="4577" y="647"/>
                    </a:lnTo>
                    <a:lnTo>
                      <a:pt x="4622" y="653"/>
                    </a:lnTo>
                    <a:lnTo>
                      <a:pt x="4669" y="662"/>
                    </a:lnTo>
                    <a:lnTo>
                      <a:pt x="4714" y="673"/>
                    </a:lnTo>
                    <a:lnTo>
                      <a:pt x="4760" y="684"/>
                    </a:lnTo>
                    <a:lnTo>
                      <a:pt x="4807" y="698"/>
                    </a:lnTo>
                    <a:lnTo>
                      <a:pt x="4853" y="714"/>
                    </a:lnTo>
                    <a:lnTo>
                      <a:pt x="4900" y="731"/>
                    </a:lnTo>
                    <a:lnTo>
                      <a:pt x="4947" y="750"/>
                    </a:lnTo>
                    <a:lnTo>
                      <a:pt x="4995" y="772"/>
                    </a:lnTo>
                    <a:lnTo>
                      <a:pt x="4999" y="774"/>
                    </a:lnTo>
                    <a:lnTo>
                      <a:pt x="5001" y="779"/>
                    </a:lnTo>
                    <a:lnTo>
                      <a:pt x="5002" y="784"/>
                    </a:lnTo>
                    <a:lnTo>
                      <a:pt x="5001" y="789"/>
                    </a:lnTo>
                    <a:lnTo>
                      <a:pt x="4998" y="793"/>
                    </a:lnTo>
                    <a:lnTo>
                      <a:pt x="4992" y="797"/>
                    </a:lnTo>
                    <a:lnTo>
                      <a:pt x="4988" y="797"/>
                    </a:lnTo>
                    <a:lnTo>
                      <a:pt x="4983" y="796"/>
                    </a:lnTo>
                    <a:lnTo>
                      <a:pt x="4936" y="775"/>
                    </a:lnTo>
                    <a:lnTo>
                      <a:pt x="4890" y="756"/>
                    </a:lnTo>
                    <a:lnTo>
                      <a:pt x="4845" y="739"/>
                    </a:lnTo>
                    <a:lnTo>
                      <a:pt x="4798" y="723"/>
                    </a:lnTo>
                    <a:lnTo>
                      <a:pt x="4753" y="710"/>
                    </a:lnTo>
                    <a:lnTo>
                      <a:pt x="4707" y="698"/>
                    </a:lnTo>
                    <a:lnTo>
                      <a:pt x="4662" y="689"/>
                    </a:lnTo>
                    <a:lnTo>
                      <a:pt x="4617" y="680"/>
                    </a:lnTo>
                    <a:lnTo>
                      <a:pt x="4571" y="673"/>
                    </a:lnTo>
                    <a:lnTo>
                      <a:pt x="4527" y="667"/>
                    </a:lnTo>
                    <a:lnTo>
                      <a:pt x="4483" y="663"/>
                    </a:lnTo>
                    <a:lnTo>
                      <a:pt x="4437" y="661"/>
                    </a:lnTo>
                    <a:lnTo>
                      <a:pt x="4393" y="659"/>
                    </a:lnTo>
                    <a:lnTo>
                      <a:pt x="4349" y="659"/>
                    </a:lnTo>
                    <a:lnTo>
                      <a:pt x="4306" y="659"/>
                    </a:lnTo>
                    <a:lnTo>
                      <a:pt x="4261" y="661"/>
                    </a:lnTo>
                    <a:lnTo>
                      <a:pt x="4217" y="663"/>
                    </a:lnTo>
                    <a:lnTo>
                      <a:pt x="4174" y="667"/>
                    </a:lnTo>
                    <a:lnTo>
                      <a:pt x="4131" y="671"/>
                    </a:lnTo>
                    <a:lnTo>
                      <a:pt x="4088" y="677"/>
                    </a:lnTo>
                    <a:lnTo>
                      <a:pt x="4044" y="682"/>
                    </a:lnTo>
                    <a:lnTo>
                      <a:pt x="4001" y="690"/>
                    </a:lnTo>
                    <a:lnTo>
                      <a:pt x="3958" y="697"/>
                    </a:lnTo>
                    <a:lnTo>
                      <a:pt x="3915" y="705"/>
                    </a:lnTo>
                    <a:lnTo>
                      <a:pt x="3830" y="722"/>
                    </a:lnTo>
                    <a:lnTo>
                      <a:pt x="3744" y="741"/>
                    </a:lnTo>
                    <a:lnTo>
                      <a:pt x="3660" y="760"/>
                    </a:lnTo>
                    <a:lnTo>
                      <a:pt x="3576" y="780"/>
                    </a:lnTo>
                    <a:lnTo>
                      <a:pt x="3527" y="792"/>
                    </a:lnTo>
                    <a:lnTo>
                      <a:pt x="3479" y="803"/>
                    </a:lnTo>
                    <a:lnTo>
                      <a:pt x="3430" y="815"/>
                    </a:lnTo>
                    <a:lnTo>
                      <a:pt x="3381" y="826"/>
                    </a:lnTo>
                    <a:lnTo>
                      <a:pt x="3333" y="837"/>
                    </a:lnTo>
                    <a:lnTo>
                      <a:pt x="3283" y="847"/>
                    </a:lnTo>
                    <a:lnTo>
                      <a:pt x="3233" y="857"/>
                    </a:lnTo>
                    <a:lnTo>
                      <a:pt x="3184" y="866"/>
                    </a:lnTo>
                    <a:lnTo>
                      <a:pt x="3134" y="874"/>
                    </a:lnTo>
                    <a:lnTo>
                      <a:pt x="3084" y="882"/>
                    </a:lnTo>
                    <a:lnTo>
                      <a:pt x="3035" y="888"/>
                    </a:lnTo>
                    <a:lnTo>
                      <a:pt x="2984" y="894"/>
                    </a:lnTo>
                    <a:lnTo>
                      <a:pt x="2933" y="899"/>
                    </a:lnTo>
                    <a:lnTo>
                      <a:pt x="2883" y="902"/>
                    </a:lnTo>
                    <a:lnTo>
                      <a:pt x="2832" y="905"/>
                    </a:lnTo>
                    <a:lnTo>
                      <a:pt x="2781"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22"/>
              <p:cNvSpPr>
                <a:spLocks/>
              </p:cNvSpPr>
              <p:nvPr userDrawn="1"/>
            </p:nvSpPr>
            <p:spPr bwMode="auto">
              <a:xfrm>
                <a:off x="1186" y="3418"/>
                <a:ext cx="1625" cy="198"/>
              </a:xfrm>
              <a:custGeom>
                <a:avLst/>
                <a:gdLst>
                  <a:gd name="T0" fmla="*/ 2528 w 4876"/>
                  <a:gd name="T1" fmla="*/ 588 h 592"/>
                  <a:gd name="T2" fmla="*/ 2361 w 4876"/>
                  <a:gd name="T3" fmla="*/ 572 h 592"/>
                  <a:gd name="T4" fmla="*/ 2201 w 4876"/>
                  <a:gd name="T5" fmla="*/ 545 h 592"/>
                  <a:gd name="T6" fmla="*/ 1928 w 4876"/>
                  <a:gd name="T7" fmla="*/ 477 h 592"/>
                  <a:gd name="T8" fmla="*/ 1628 w 4876"/>
                  <a:gd name="T9" fmla="*/ 379 h 592"/>
                  <a:gd name="T10" fmla="*/ 1324 w 4876"/>
                  <a:gd name="T11" fmla="*/ 265 h 592"/>
                  <a:gd name="T12" fmla="*/ 984 w 4876"/>
                  <a:gd name="T13" fmla="*/ 147 h 592"/>
                  <a:gd name="T14" fmla="*/ 771 w 4876"/>
                  <a:gd name="T15" fmla="*/ 87 h 592"/>
                  <a:gd name="T16" fmla="*/ 599 w 4876"/>
                  <a:gd name="T17" fmla="*/ 52 h 592"/>
                  <a:gd name="T18" fmla="*/ 425 w 4876"/>
                  <a:gd name="T19" fmla="*/ 31 h 592"/>
                  <a:gd name="T20" fmla="*/ 246 w 4876"/>
                  <a:gd name="T21" fmla="*/ 28 h 592"/>
                  <a:gd name="T22" fmla="*/ 63 w 4876"/>
                  <a:gd name="T23" fmla="*/ 45 h 592"/>
                  <a:gd name="T24" fmla="*/ 2 w 4876"/>
                  <a:gd name="T25" fmla="*/ 47 h 592"/>
                  <a:gd name="T26" fmla="*/ 6 w 4876"/>
                  <a:gd name="T27" fmla="*/ 28 h 592"/>
                  <a:gd name="T28" fmla="*/ 152 w 4876"/>
                  <a:gd name="T29" fmla="*/ 7 h 592"/>
                  <a:gd name="T30" fmla="*/ 336 w 4876"/>
                  <a:gd name="T31" fmla="*/ 1 h 592"/>
                  <a:gd name="T32" fmla="*/ 514 w 4876"/>
                  <a:gd name="T33" fmla="*/ 13 h 592"/>
                  <a:gd name="T34" fmla="*/ 689 w 4876"/>
                  <a:gd name="T35" fmla="*/ 41 h 592"/>
                  <a:gd name="T36" fmla="*/ 862 w 4876"/>
                  <a:gd name="T37" fmla="*/ 82 h 592"/>
                  <a:gd name="T38" fmla="*/ 1161 w 4876"/>
                  <a:gd name="T39" fmla="*/ 177 h 592"/>
                  <a:gd name="T40" fmla="*/ 1499 w 4876"/>
                  <a:gd name="T41" fmla="*/ 302 h 592"/>
                  <a:gd name="T42" fmla="*/ 1823 w 4876"/>
                  <a:gd name="T43" fmla="*/ 417 h 592"/>
                  <a:gd name="T44" fmla="*/ 2032 w 4876"/>
                  <a:gd name="T45" fmla="*/ 478 h 592"/>
                  <a:gd name="T46" fmla="*/ 2204 w 4876"/>
                  <a:gd name="T47" fmla="*/ 518 h 592"/>
                  <a:gd name="T48" fmla="*/ 2381 w 4876"/>
                  <a:gd name="T49" fmla="*/ 547 h 592"/>
                  <a:gd name="T50" fmla="*/ 2562 w 4876"/>
                  <a:gd name="T51" fmla="*/ 563 h 592"/>
                  <a:gd name="T52" fmla="*/ 2751 w 4876"/>
                  <a:gd name="T53" fmla="*/ 562 h 592"/>
                  <a:gd name="T54" fmla="*/ 2928 w 4876"/>
                  <a:gd name="T55" fmla="*/ 547 h 592"/>
                  <a:gd name="T56" fmla="*/ 3244 w 4876"/>
                  <a:gd name="T57" fmla="*/ 493 h 592"/>
                  <a:gd name="T58" fmla="*/ 3619 w 4876"/>
                  <a:gd name="T59" fmla="*/ 411 h 592"/>
                  <a:gd name="T60" fmla="*/ 3961 w 4876"/>
                  <a:gd name="T61" fmla="*/ 342 h 592"/>
                  <a:gd name="T62" fmla="*/ 4149 w 4876"/>
                  <a:gd name="T63" fmla="*/ 315 h 592"/>
                  <a:gd name="T64" fmla="*/ 4329 w 4876"/>
                  <a:gd name="T65" fmla="*/ 302 h 592"/>
                  <a:gd name="T66" fmla="*/ 4497 w 4876"/>
                  <a:gd name="T67" fmla="*/ 309 h 592"/>
                  <a:gd name="T68" fmla="*/ 4650 w 4876"/>
                  <a:gd name="T69" fmla="*/ 339 h 592"/>
                  <a:gd name="T70" fmla="*/ 4785 w 4876"/>
                  <a:gd name="T71" fmla="*/ 396 h 592"/>
                  <a:gd name="T72" fmla="*/ 4875 w 4876"/>
                  <a:gd name="T73" fmla="*/ 466 h 592"/>
                  <a:gd name="T74" fmla="*/ 4869 w 4876"/>
                  <a:gd name="T75" fmla="*/ 483 h 592"/>
                  <a:gd name="T76" fmla="*/ 4827 w 4876"/>
                  <a:gd name="T77" fmla="*/ 459 h 592"/>
                  <a:gd name="T78" fmla="*/ 4706 w 4876"/>
                  <a:gd name="T79" fmla="*/ 387 h 592"/>
                  <a:gd name="T80" fmla="*/ 4565 w 4876"/>
                  <a:gd name="T81" fmla="*/ 346 h 592"/>
                  <a:gd name="T82" fmla="*/ 4408 w 4876"/>
                  <a:gd name="T83" fmla="*/ 330 h 592"/>
                  <a:gd name="T84" fmla="*/ 4236 w 4876"/>
                  <a:gd name="T85" fmla="*/ 334 h 592"/>
                  <a:gd name="T86" fmla="*/ 4055 w 4876"/>
                  <a:gd name="T87" fmla="*/ 355 h 592"/>
                  <a:gd name="T88" fmla="*/ 3817 w 4876"/>
                  <a:gd name="T89" fmla="*/ 397 h 592"/>
                  <a:gd name="T90" fmla="*/ 3435 w 4876"/>
                  <a:gd name="T91" fmla="*/ 480 h 592"/>
                  <a:gd name="T92" fmla="*/ 3065 w 4876"/>
                  <a:gd name="T93" fmla="*/ 555 h 592"/>
                  <a:gd name="T94" fmla="*/ 2844 w 4876"/>
                  <a:gd name="T95" fmla="*/ 584 h 592"/>
                  <a:gd name="T96" fmla="*/ 2691 w 4876"/>
                  <a:gd name="T97" fmla="*/ 591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76" h="592">
                    <a:moveTo>
                      <a:pt x="2655" y="592"/>
                    </a:moveTo>
                    <a:lnTo>
                      <a:pt x="2612" y="591"/>
                    </a:lnTo>
                    <a:lnTo>
                      <a:pt x="2570" y="590"/>
                    </a:lnTo>
                    <a:lnTo>
                      <a:pt x="2528" y="588"/>
                    </a:lnTo>
                    <a:lnTo>
                      <a:pt x="2486" y="585"/>
                    </a:lnTo>
                    <a:lnTo>
                      <a:pt x="2444" y="582"/>
                    </a:lnTo>
                    <a:lnTo>
                      <a:pt x="2402" y="577"/>
                    </a:lnTo>
                    <a:lnTo>
                      <a:pt x="2361" y="572"/>
                    </a:lnTo>
                    <a:lnTo>
                      <a:pt x="2320" y="567"/>
                    </a:lnTo>
                    <a:lnTo>
                      <a:pt x="2280" y="560"/>
                    </a:lnTo>
                    <a:lnTo>
                      <a:pt x="2241" y="553"/>
                    </a:lnTo>
                    <a:lnTo>
                      <a:pt x="2201" y="545"/>
                    </a:lnTo>
                    <a:lnTo>
                      <a:pt x="2161" y="537"/>
                    </a:lnTo>
                    <a:lnTo>
                      <a:pt x="2082" y="519"/>
                    </a:lnTo>
                    <a:lnTo>
                      <a:pt x="2005" y="499"/>
                    </a:lnTo>
                    <a:lnTo>
                      <a:pt x="1928" y="477"/>
                    </a:lnTo>
                    <a:lnTo>
                      <a:pt x="1852" y="454"/>
                    </a:lnTo>
                    <a:lnTo>
                      <a:pt x="1777" y="429"/>
                    </a:lnTo>
                    <a:lnTo>
                      <a:pt x="1703" y="405"/>
                    </a:lnTo>
                    <a:lnTo>
                      <a:pt x="1628" y="379"/>
                    </a:lnTo>
                    <a:lnTo>
                      <a:pt x="1555" y="352"/>
                    </a:lnTo>
                    <a:lnTo>
                      <a:pt x="1481" y="325"/>
                    </a:lnTo>
                    <a:lnTo>
                      <a:pt x="1409" y="298"/>
                    </a:lnTo>
                    <a:lnTo>
                      <a:pt x="1324" y="265"/>
                    </a:lnTo>
                    <a:lnTo>
                      <a:pt x="1238" y="234"/>
                    </a:lnTo>
                    <a:lnTo>
                      <a:pt x="1153" y="203"/>
                    </a:lnTo>
                    <a:lnTo>
                      <a:pt x="1069" y="174"/>
                    </a:lnTo>
                    <a:lnTo>
                      <a:pt x="984" y="147"/>
                    </a:lnTo>
                    <a:lnTo>
                      <a:pt x="899" y="121"/>
                    </a:lnTo>
                    <a:lnTo>
                      <a:pt x="856" y="109"/>
                    </a:lnTo>
                    <a:lnTo>
                      <a:pt x="814" y="98"/>
                    </a:lnTo>
                    <a:lnTo>
                      <a:pt x="771" y="87"/>
                    </a:lnTo>
                    <a:lnTo>
                      <a:pt x="729" y="76"/>
                    </a:lnTo>
                    <a:lnTo>
                      <a:pt x="686" y="68"/>
                    </a:lnTo>
                    <a:lnTo>
                      <a:pt x="642" y="59"/>
                    </a:lnTo>
                    <a:lnTo>
                      <a:pt x="599" y="52"/>
                    </a:lnTo>
                    <a:lnTo>
                      <a:pt x="556" y="45"/>
                    </a:lnTo>
                    <a:lnTo>
                      <a:pt x="513" y="40"/>
                    </a:lnTo>
                    <a:lnTo>
                      <a:pt x="469" y="35"/>
                    </a:lnTo>
                    <a:lnTo>
                      <a:pt x="425" y="31"/>
                    </a:lnTo>
                    <a:lnTo>
                      <a:pt x="381" y="29"/>
                    </a:lnTo>
                    <a:lnTo>
                      <a:pt x="337" y="28"/>
                    </a:lnTo>
                    <a:lnTo>
                      <a:pt x="291" y="27"/>
                    </a:lnTo>
                    <a:lnTo>
                      <a:pt x="246" y="28"/>
                    </a:lnTo>
                    <a:lnTo>
                      <a:pt x="201" y="30"/>
                    </a:lnTo>
                    <a:lnTo>
                      <a:pt x="155" y="34"/>
                    </a:lnTo>
                    <a:lnTo>
                      <a:pt x="109" y="39"/>
                    </a:lnTo>
                    <a:lnTo>
                      <a:pt x="63" y="45"/>
                    </a:lnTo>
                    <a:lnTo>
                      <a:pt x="16" y="53"/>
                    </a:lnTo>
                    <a:lnTo>
                      <a:pt x="11" y="53"/>
                    </a:lnTo>
                    <a:lnTo>
                      <a:pt x="6" y="51"/>
                    </a:lnTo>
                    <a:lnTo>
                      <a:pt x="2" y="47"/>
                    </a:lnTo>
                    <a:lnTo>
                      <a:pt x="0" y="42"/>
                    </a:lnTo>
                    <a:lnTo>
                      <a:pt x="0" y="37"/>
                    </a:lnTo>
                    <a:lnTo>
                      <a:pt x="2" y="32"/>
                    </a:lnTo>
                    <a:lnTo>
                      <a:pt x="6" y="28"/>
                    </a:lnTo>
                    <a:lnTo>
                      <a:pt x="11" y="26"/>
                    </a:lnTo>
                    <a:lnTo>
                      <a:pt x="58" y="18"/>
                    </a:lnTo>
                    <a:lnTo>
                      <a:pt x="106" y="12"/>
                    </a:lnTo>
                    <a:lnTo>
                      <a:pt x="152" y="7"/>
                    </a:lnTo>
                    <a:lnTo>
                      <a:pt x="199" y="3"/>
                    </a:lnTo>
                    <a:lnTo>
                      <a:pt x="245" y="1"/>
                    </a:lnTo>
                    <a:lnTo>
                      <a:pt x="290" y="0"/>
                    </a:lnTo>
                    <a:lnTo>
                      <a:pt x="336" y="1"/>
                    </a:lnTo>
                    <a:lnTo>
                      <a:pt x="381" y="2"/>
                    </a:lnTo>
                    <a:lnTo>
                      <a:pt x="425" y="4"/>
                    </a:lnTo>
                    <a:lnTo>
                      <a:pt x="470" y="8"/>
                    </a:lnTo>
                    <a:lnTo>
                      <a:pt x="514" y="13"/>
                    </a:lnTo>
                    <a:lnTo>
                      <a:pt x="558" y="18"/>
                    </a:lnTo>
                    <a:lnTo>
                      <a:pt x="602" y="25"/>
                    </a:lnTo>
                    <a:lnTo>
                      <a:pt x="646" y="32"/>
                    </a:lnTo>
                    <a:lnTo>
                      <a:pt x="689" y="41"/>
                    </a:lnTo>
                    <a:lnTo>
                      <a:pt x="732" y="51"/>
                    </a:lnTo>
                    <a:lnTo>
                      <a:pt x="775" y="60"/>
                    </a:lnTo>
                    <a:lnTo>
                      <a:pt x="818" y="71"/>
                    </a:lnTo>
                    <a:lnTo>
                      <a:pt x="862" y="82"/>
                    </a:lnTo>
                    <a:lnTo>
                      <a:pt x="905" y="94"/>
                    </a:lnTo>
                    <a:lnTo>
                      <a:pt x="990" y="120"/>
                    </a:lnTo>
                    <a:lnTo>
                      <a:pt x="1075" y="148"/>
                    </a:lnTo>
                    <a:lnTo>
                      <a:pt x="1161" y="177"/>
                    </a:lnTo>
                    <a:lnTo>
                      <a:pt x="1246" y="208"/>
                    </a:lnTo>
                    <a:lnTo>
                      <a:pt x="1332" y="239"/>
                    </a:lnTo>
                    <a:lnTo>
                      <a:pt x="1419" y="272"/>
                    </a:lnTo>
                    <a:lnTo>
                      <a:pt x="1499" y="302"/>
                    </a:lnTo>
                    <a:lnTo>
                      <a:pt x="1579" y="331"/>
                    </a:lnTo>
                    <a:lnTo>
                      <a:pt x="1660" y="360"/>
                    </a:lnTo>
                    <a:lnTo>
                      <a:pt x="1741" y="390"/>
                    </a:lnTo>
                    <a:lnTo>
                      <a:pt x="1823" y="417"/>
                    </a:lnTo>
                    <a:lnTo>
                      <a:pt x="1906" y="442"/>
                    </a:lnTo>
                    <a:lnTo>
                      <a:pt x="1948" y="455"/>
                    </a:lnTo>
                    <a:lnTo>
                      <a:pt x="1990" y="467"/>
                    </a:lnTo>
                    <a:lnTo>
                      <a:pt x="2032" y="478"/>
                    </a:lnTo>
                    <a:lnTo>
                      <a:pt x="2074" y="489"/>
                    </a:lnTo>
                    <a:lnTo>
                      <a:pt x="2117" y="500"/>
                    </a:lnTo>
                    <a:lnTo>
                      <a:pt x="2161" y="509"/>
                    </a:lnTo>
                    <a:lnTo>
                      <a:pt x="2204" y="518"/>
                    </a:lnTo>
                    <a:lnTo>
                      <a:pt x="2247" y="527"/>
                    </a:lnTo>
                    <a:lnTo>
                      <a:pt x="2291" y="534"/>
                    </a:lnTo>
                    <a:lnTo>
                      <a:pt x="2336" y="541"/>
                    </a:lnTo>
                    <a:lnTo>
                      <a:pt x="2381" y="547"/>
                    </a:lnTo>
                    <a:lnTo>
                      <a:pt x="2425" y="553"/>
                    </a:lnTo>
                    <a:lnTo>
                      <a:pt x="2471" y="557"/>
                    </a:lnTo>
                    <a:lnTo>
                      <a:pt x="2517" y="560"/>
                    </a:lnTo>
                    <a:lnTo>
                      <a:pt x="2562" y="563"/>
                    </a:lnTo>
                    <a:lnTo>
                      <a:pt x="2610" y="564"/>
                    </a:lnTo>
                    <a:lnTo>
                      <a:pt x="2656" y="564"/>
                    </a:lnTo>
                    <a:lnTo>
                      <a:pt x="2704" y="564"/>
                    </a:lnTo>
                    <a:lnTo>
                      <a:pt x="2751" y="562"/>
                    </a:lnTo>
                    <a:lnTo>
                      <a:pt x="2800" y="560"/>
                    </a:lnTo>
                    <a:lnTo>
                      <a:pt x="2842" y="557"/>
                    </a:lnTo>
                    <a:lnTo>
                      <a:pt x="2885" y="553"/>
                    </a:lnTo>
                    <a:lnTo>
                      <a:pt x="2928" y="547"/>
                    </a:lnTo>
                    <a:lnTo>
                      <a:pt x="2972" y="542"/>
                    </a:lnTo>
                    <a:lnTo>
                      <a:pt x="3061" y="528"/>
                    </a:lnTo>
                    <a:lnTo>
                      <a:pt x="3152" y="512"/>
                    </a:lnTo>
                    <a:lnTo>
                      <a:pt x="3244" y="493"/>
                    </a:lnTo>
                    <a:lnTo>
                      <a:pt x="3337" y="474"/>
                    </a:lnTo>
                    <a:lnTo>
                      <a:pt x="3429" y="453"/>
                    </a:lnTo>
                    <a:lnTo>
                      <a:pt x="3521" y="433"/>
                    </a:lnTo>
                    <a:lnTo>
                      <a:pt x="3619" y="411"/>
                    </a:lnTo>
                    <a:lnTo>
                      <a:pt x="3718" y="390"/>
                    </a:lnTo>
                    <a:lnTo>
                      <a:pt x="3816" y="370"/>
                    </a:lnTo>
                    <a:lnTo>
                      <a:pt x="3912" y="351"/>
                    </a:lnTo>
                    <a:lnTo>
                      <a:pt x="3961" y="342"/>
                    </a:lnTo>
                    <a:lnTo>
                      <a:pt x="4008" y="334"/>
                    </a:lnTo>
                    <a:lnTo>
                      <a:pt x="4056" y="327"/>
                    </a:lnTo>
                    <a:lnTo>
                      <a:pt x="4102" y="320"/>
                    </a:lnTo>
                    <a:lnTo>
                      <a:pt x="4149" y="315"/>
                    </a:lnTo>
                    <a:lnTo>
                      <a:pt x="4195" y="311"/>
                    </a:lnTo>
                    <a:lnTo>
                      <a:pt x="4240" y="306"/>
                    </a:lnTo>
                    <a:lnTo>
                      <a:pt x="4285" y="304"/>
                    </a:lnTo>
                    <a:lnTo>
                      <a:pt x="4329" y="302"/>
                    </a:lnTo>
                    <a:lnTo>
                      <a:pt x="4372" y="302"/>
                    </a:lnTo>
                    <a:lnTo>
                      <a:pt x="4414" y="303"/>
                    </a:lnTo>
                    <a:lnTo>
                      <a:pt x="4456" y="305"/>
                    </a:lnTo>
                    <a:lnTo>
                      <a:pt x="4497" y="309"/>
                    </a:lnTo>
                    <a:lnTo>
                      <a:pt x="4536" y="314"/>
                    </a:lnTo>
                    <a:lnTo>
                      <a:pt x="4575" y="320"/>
                    </a:lnTo>
                    <a:lnTo>
                      <a:pt x="4613" y="329"/>
                    </a:lnTo>
                    <a:lnTo>
                      <a:pt x="4650" y="339"/>
                    </a:lnTo>
                    <a:lnTo>
                      <a:pt x="4685" y="351"/>
                    </a:lnTo>
                    <a:lnTo>
                      <a:pt x="4720" y="364"/>
                    </a:lnTo>
                    <a:lnTo>
                      <a:pt x="4753" y="379"/>
                    </a:lnTo>
                    <a:lnTo>
                      <a:pt x="4785" y="396"/>
                    </a:lnTo>
                    <a:lnTo>
                      <a:pt x="4815" y="417"/>
                    </a:lnTo>
                    <a:lnTo>
                      <a:pt x="4844" y="437"/>
                    </a:lnTo>
                    <a:lnTo>
                      <a:pt x="4872" y="462"/>
                    </a:lnTo>
                    <a:lnTo>
                      <a:pt x="4875" y="466"/>
                    </a:lnTo>
                    <a:lnTo>
                      <a:pt x="4876" y="470"/>
                    </a:lnTo>
                    <a:lnTo>
                      <a:pt x="4875" y="476"/>
                    </a:lnTo>
                    <a:lnTo>
                      <a:pt x="4873" y="480"/>
                    </a:lnTo>
                    <a:lnTo>
                      <a:pt x="4869" y="483"/>
                    </a:lnTo>
                    <a:lnTo>
                      <a:pt x="4863" y="485"/>
                    </a:lnTo>
                    <a:lnTo>
                      <a:pt x="4858" y="483"/>
                    </a:lnTo>
                    <a:lnTo>
                      <a:pt x="4854" y="481"/>
                    </a:lnTo>
                    <a:lnTo>
                      <a:pt x="4827" y="459"/>
                    </a:lnTo>
                    <a:lnTo>
                      <a:pt x="4799" y="437"/>
                    </a:lnTo>
                    <a:lnTo>
                      <a:pt x="4769" y="419"/>
                    </a:lnTo>
                    <a:lnTo>
                      <a:pt x="4738" y="402"/>
                    </a:lnTo>
                    <a:lnTo>
                      <a:pt x="4706" y="387"/>
                    </a:lnTo>
                    <a:lnTo>
                      <a:pt x="4672" y="374"/>
                    </a:lnTo>
                    <a:lnTo>
                      <a:pt x="4638" y="364"/>
                    </a:lnTo>
                    <a:lnTo>
                      <a:pt x="4602" y="354"/>
                    </a:lnTo>
                    <a:lnTo>
                      <a:pt x="4565" y="346"/>
                    </a:lnTo>
                    <a:lnTo>
                      <a:pt x="4528" y="340"/>
                    </a:lnTo>
                    <a:lnTo>
                      <a:pt x="4489" y="334"/>
                    </a:lnTo>
                    <a:lnTo>
                      <a:pt x="4449" y="331"/>
                    </a:lnTo>
                    <a:lnTo>
                      <a:pt x="4408" y="330"/>
                    </a:lnTo>
                    <a:lnTo>
                      <a:pt x="4366" y="329"/>
                    </a:lnTo>
                    <a:lnTo>
                      <a:pt x="4323" y="329"/>
                    </a:lnTo>
                    <a:lnTo>
                      <a:pt x="4280" y="331"/>
                    </a:lnTo>
                    <a:lnTo>
                      <a:pt x="4236" y="334"/>
                    </a:lnTo>
                    <a:lnTo>
                      <a:pt x="4192" y="338"/>
                    </a:lnTo>
                    <a:lnTo>
                      <a:pt x="4146" y="343"/>
                    </a:lnTo>
                    <a:lnTo>
                      <a:pt x="4101" y="348"/>
                    </a:lnTo>
                    <a:lnTo>
                      <a:pt x="4055" y="355"/>
                    </a:lnTo>
                    <a:lnTo>
                      <a:pt x="4008" y="363"/>
                    </a:lnTo>
                    <a:lnTo>
                      <a:pt x="3961" y="370"/>
                    </a:lnTo>
                    <a:lnTo>
                      <a:pt x="3913" y="379"/>
                    </a:lnTo>
                    <a:lnTo>
                      <a:pt x="3817" y="397"/>
                    </a:lnTo>
                    <a:lnTo>
                      <a:pt x="3721" y="417"/>
                    </a:lnTo>
                    <a:lnTo>
                      <a:pt x="3624" y="438"/>
                    </a:lnTo>
                    <a:lnTo>
                      <a:pt x="3528" y="460"/>
                    </a:lnTo>
                    <a:lnTo>
                      <a:pt x="3435" y="480"/>
                    </a:lnTo>
                    <a:lnTo>
                      <a:pt x="3342" y="501"/>
                    </a:lnTo>
                    <a:lnTo>
                      <a:pt x="3249" y="520"/>
                    </a:lnTo>
                    <a:lnTo>
                      <a:pt x="3156" y="537"/>
                    </a:lnTo>
                    <a:lnTo>
                      <a:pt x="3065" y="555"/>
                    </a:lnTo>
                    <a:lnTo>
                      <a:pt x="2975" y="568"/>
                    </a:lnTo>
                    <a:lnTo>
                      <a:pt x="2931" y="574"/>
                    </a:lnTo>
                    <a:lnTo>
                      <a:pt x="2887" y="580"/>
                    </a:lnTo>
                    <a:lnTo>
                      <a:pt x="2844" y="584"/>
                    </a:lnTo>
                    <a:lnTo>
                      <a:pt x="2802" y="587"/>
                    </a:lnTo>
                    <a:lnTo>
                      <a:pt x="2764" y="589"/>
                    </a:lnTo>
                    <a:lnTo>
                      <a:pt x="2728" y="590"/>
                    </a:lnTo>
                    <a:lnTo>
                      <a:pt x="2691" y="591"/>
                    </a:lnTo>
                    <a:lnTo>
                      <a:pt x="2655"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23"/>
              <p:cNvSpPr>
                <a:spLocks/>
              </p:cNvSpPr>
              <p:nvPr userDrawn="1"/>
            </p:nvSpPr>
            <p:spPr bwMode="auto">
              <a:xfrm>
                <a:off x="1198" y="3347"/>
                <a:ext cx="1557" cy="152"/>
              </a:xfrm>
              <a:custGeom>
                <a:avLst/>
                <a:gdLst>
                  <a:gd name="T0" fmla="*/ 4651 w 4672"/>
                  <a:gd name="T1" fmla="*/ 456 h 458"/>
                  <a:gd name="T2" fmla="*/ 4636 w 4672"/>
                  <a:gd name="T3" fmla="*/ 426 h 458"/>
                  <a:gd name="T4" fmla="*/ 4577 w 4672"/>
                  <a:gd name="T5" fmla="*/ 367 h 458"/>
                  <a:gd name="T6" fmla="*/ 4476 w 4672"/>
                  <a:gd name="T7" fmla="*/ 321 h 458"/>
                  <a:gd name="T8" fmla="*/ 4337 w 4672"/>
                  <a:gd name="T9" fmla="*/ 286 h 458"/>
                  <a:gd name="T10" fmla="*/ 4161 w 4672"/>
                  <a:gd name="T11" fmla="*/ 261 h 458"/>
                  <a:gd name="T12" fmla="*/ 3952 w 4672"/>
                  <a:gd name="T13" fmla="*/ 245 h 458"/>
                  <a:gd name="T14" fmla="*/ 3712 w 4672"/>
                  <a:gd name="T15" fmla="*/ 236 h 458"/>
                  <a:gd name="T16" fmla="*/ 3445 w 4672"/>
                  <a:gd name="T17" fmla="*/ 235 h 458"/>
                  <a:gd name="T18" fmla="*/ 3052 w 4672"/>
                  <a:gd name="T19" fmla="*/ 242 h 458"/>
                  <a:gd name="T20" fmla="*/ 2395 w 4672"/>
                  <a:gd name="T21" fmla="*/ 263 h 458"/>
                  <a:gd name="T22" fmla="*/ 2257 w 4672"/>
                  <a:gd name="T23" fmla="*/ 266 h 458"/>
                  <a:gd name="T24" fmla="*/ 2034 w 4672"/>
                  <a:gd name="T25" fmla="*/ 260 h 458"/>
                  <a:gd name="T26" fmla="*/ 1774 w 4672"/>
                  <a:gd name="T27" fmla="*/ 239 h 458"/>
                  <a:gd name="T28" fmla="*/ 1523 w 4672"/>
                  <a:gd name="T29" fmla="*/ 207 h 458"/>
                  <a:gd name="T30" fmla="*/ 1283 w 4672"/>
                  <a:gd name="T31" fmla="*/ 168 h 458"/>
                  <a:gd name="T32" fmla="*/ 1053 w 4672"/>
                  <a:gd name="T33" fmla="*/ 126 h 458"/>
                  <a:gd name="T34" fmla="*/ 830 w 4672"/>
                  <a:gd name="T35" fmla="*/ 86 h 458"/>
                  <a:gd name="T36" fmla="*/ 618 w 4672"/>
                  <a:gd name="T37" fmla="*/ 53 h 458"/>
                  <a:gd name="T38" fmla="*/ 421 w 4672"/>
                  <a:gd name="T39" fmla="*/ 32 h 458"/>
                  <a:gd name="T40" fmla="*/ 296 w 4672"/>
                  <a:gd name="T41" fmla="*/ 27 h 458"/>
                  <a:gd name="T42" fmla="*/ 208 w 4672"/>
                  <a:gd name="T43" fmla="*/ 29 h 458"/>
                  <a:gd name="T44" fmla="*/ 123 w 4672"/>
                  <a:gd name="T45" fmla="*/ 37 h 458"/>
                  <a:gd name="T46" fmla="*/ 42 w 4672"/>
                  <a:gd name="T47" fmla="*/ 50 h 458"/>
                  <a:gd name="T48" fmla="*/ 5 w 4672"/>
                  <a:gd name="T49" fmla="*/ 55 h 458"/>
                  <a:gd name="T50" fmla="*/ 0 w 4672"/>
                  <a:gd name="T51" fmla="*/ 41 h 458"/>
                  <a:gd name="T52" fmla="*/ 9 w 4672"/>
                  <a:gd name="T53" fmla="*/ 30 h 458"/>
                  <a:gd name="T54" fmla="*/ 90 w 4672"/>
                  <a:gd name="T55" fmla="*/ 14 h 458"/>
                  <a:gd name="T56" fmla="*/ 176 w 4672"/>
                  <a:gd name="T57" fmla="*/ 4 h 458"/>
                  <a:gd name="T58" fmla="*/ 264 w 4672"/>
                  <a:gd name="T59" fmla="*/ 0 h 458"/>
                  <a:gd name="T60" fmla="*/ 356 w 4672"/>
                  <a:gd name="T61" fmla="*/ 1 h 458"/>
                  <a:gd name="T62" fmla="*/ 551 w 4672"/>
                  <a:gd name="T63" fmla="*/ 17 h 458"/>
                  <a:gd name="T64" fmla="*/ 761 w 4672"/>
                  <a:gd name="T65" fmla="*/ 48 h 458"/>
                  <a:gd name="T66" fmla="*/ 982 w 4672"/>
                  <a:gd name="T67" fmla="*/ 86 h 458"/>
                  <a:gd name="T68" fmla="*/ 1210 w 4672"/>
                  <a:gd name="T69" fmla="*/ 127 h 458"/>
                  <a:gd name="T70" fmla="*/ 1445 w 4672"/>
                  <a:gd name="T71" fmla="*/ 167 h 458"/>
                  <a:gd name="T72" fmla="*/ 1692 w 4672"/>
                  <a:gd name="T73" fmla="*/ 202 h 458"/>
                  <a:gd name="T74" fmla="*/ 1948 w 4672"/>
                  <a:gd name="T75" fmla="*/ 228 h 458"/>
                  <a:gd name="T76" fmla="*/ 2212 w 4672"/>
                  <a:gd name="T77" fmla="*/ 239 h 458"/>
                  <a:gd name="T78" fmla="*/ 2348 w 4672"/>
                  <a:gd name="T79" fmla="*/ 237 h 458"/>
                  <a:gd name="T80" fmla="*/ 2856 w 4672"/>
                  <a:gd name="T81" fmla="*/ 220 h 458"/>
                  <a:gd name="T82" fmla="*/ 3377 w 4672"/>
                  <a:gd name="T83" fmla="*/ 208 h 458"/>
                  <a:gd name="T84" fmla="*/ 3656 w 4672"/>
                  <a:gd name="T85" fmla="*/ 208 h 458"/>
                  <a:gd name="T86" fmla="*/ 3905 w 4672"/>
                  <a:gd name="T87" fmla="*/ 216 h 458"/>
                  <a:gd name="T88" fmla="*/ 4124 w 4672"/>
                  <a:gd name="T89" fmla="*/ 230 h 458"/>
                  <a:gd name="T90" fmla="*/ 4310 w 4672"/>
                  <a:gd name="T91" fmla="*/ 255 h 458"/>
                  <a:gd name="T92" fmla="*/ 4461 w 4672"/>
                  <a:gd name="T93" fmla="*/ 288 h 458"/>
                  <a:gd name="T94" fmla="*/ 4574 w 4672"/>
                  <a:gd name="T95" fmla="*/ 335 h 458"/>
                  <a:gd name="T96" fmla="*/ 4647 w 4672"/>
                  <a:gd name="T97" fmla="*/ 394 h 458"/>
                  <a:gd name="T98" fmla="*/ 4672 w 4672"/>
                  <a:gd name="T99" fmla="*/ 446 h 458"/>
                  <a:gd name="T100" fmla="*/ 4663 w 4672"/>
                  <a:gd name="T101" fmla="*/ 45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2" h="458">
                    <a:moveTo>
                      <a:pt x="4659" y="458"/>
                    </a:moveTo>
                    <a:lnTo>
                      <a:pt x="4655" y="458"/>
                    </a:lnTo>
                    <a:lnTo>
                      <a:pt x="4651" y="456"/>
                    </a:lnTo>
                    <a:lnTo>
                      <a:pt x="4648" y="452"/>
                    </a:lnTo>
                    <a:lnTo>
                      <a:pt x="4646" y="449"/>
                    </a:lnTo>
                    <a:lnTo>
                      <a:pt x="4636" y="426"/>
                    </a:lnTo>
                    <a:lnTo>
                      <a:pt x="4621" y="405"/>
                    </a:lnTo>
                    <a:lnTo>
                      <a:pt x="4602" y="385"/>
                    </a:lnTo>
                    <a:lnTo>
                      <a:pt x="4577" y="367"/>
                    </a:lnTo>
                    <a:lnTo>
                      <a:pt x="4549" y="351"/>
                    </a:lnTo>
                    <a:lnTo>
                      <a:pt x="4514" y="335"/>
                    </a:lnTo>
                    <a:lnTo>
                      <a:pt x="4476" y="321"/>
                    </a:lnTo>
                    <a:lnTo>
                      <a:pt x="4434" y="308"/>
                    </a:lnTo>
                    <a:lnTo>
                      <a:pt x="4388" y="296"/>
                    </a:lnTo>
                    <a:lnTo>
                      <a:pt x="4337" y="286"/>
                    </a:lnTo>
                    <a:lnTo>
                      <a:pt x="4282" y="276"/>
                    </a:lnTo>
                    <a:lnTo>
                      <a:pt x="4224" y="268"/>
                    </a:lnTo>
                    <a:lnTo>
                      <a:pt x="4161" y="261"/>
                    </a:lnTo>
                    <a:lnTo>
                      <a:pt x="4095" y="255"/>
                    </a:lnTo>
                    <a:lnTo>
                      <a:pt x="4025" y="249"/>
                    </a:lnTo>
                    <a:lnTo>
                      <a:pt x="3952" y="245"/>
                    </a:lnTo>
                    <a:lnTo>
                      <a:pt x="3875" y="242"/>
                    </a:lnTo>
                    <a:lnTo>
                      <a:pt x="3795" y="239"/>
                    </a:lnTo>
                    <a:lnTo>
                      <a:pt x="3712" y="236"/>
                    </a:lnTo>
                    <a:lnTo>
                      <a:pt x="3627" y="235"/>
                    </a:lnTo>
                    <a:lnTo>
                      <a:pt x="3537" y="235"/>
                    </a:lnTo>
                    <a:lnTo>
                      <a:pt x="3445" y="235"/>
                    </a:lnTo>
                    <a:lnTo>
                      <a:pt x="3351" y="236"/>
                    </a:lnTo>
                    <a:lnTo>
                      <a:pt x="3254" y="237"/>
                    </a:lnTo>
                    <a:lnTo>
                      <a:pt x="3052" y="242"/>
                    </a:lnTo>
                    <a:lnTo>
                      <a:pt x="2841" y="247"/>
                    </a:lnTo>
                    <a:lnTo>
                      <a:pt x="2621" y="255"/>
                    </a:lnTo>
                    <a:lnTo>
                      <a:pt x="2395" y="263"/>
                    </a:lnTo>
                    <a:lnTo>
                      <a:pt x="2349" y="264"/>
                    </a:lnTo>
                    <a:lnTo>
                      <a:pt x="2303" y="266"/>
                    </a:lnTo>
                    <a:lnTo>
                      <a:pt x="2257" y="266"/>
                    </a:lnTo>
                    <a:lnTo>
                      <a:pt x="2212" y="266"/>
                    </a:lnTo>
                    <a:lnTo>
                      <a:pt x="2122" y="263"/>
                    </a:lnTo>
                    <a:lnTo>
                      <a:pt x="2034" y="260"/>
                    </a:lnTo>
                    <a:lnTo>
                      <a:pt x="1946" y="255"/>
                    </a:lnTo>
                    <a:lnTo>
                      <a:pt x="1860" y="247"/>
                    </a:lnTo>
                    <a:lnTo>
                      <a:pt x="1774" y="239"/>
                    </a:lnTo>
                    <a:lnTo>
                      <a:pt x="1689" y="229"/>
                    </a:lnTo>
                    <a:lnTo>
                      <a:pt x="1606" y="218"/>
                    </a:lnTo>
                    <a:lnTo>
                      <a:pt x="1523" y="207"/>
                    </a:lnTo>
                    <a:lnTo>
                      <a:pt x="1442" y="194"/>
                    </a:lnTo>
                    <a:lnTo>
                      <a:pt x="1362" y="181"/>
                    </a:lnTo>
                    <a:lnTo>
                      <a:pt x="1283" y="168"/>
                    </a:lnTo>
                    <a:lnTo>
                      <a:pt x="1206" y="154"/>
                    </a:lnTo>
                    <a:lnTo>
                      <a:pt x="1129" y="140"/>
                    </a:lnTo>
                    <a:lnTo>
                      <a:pt x="1053" y="126"/>
                    </a:lnTo>
                    <a:lnTo>
                      <a:pt x="978" y="113"/>
                    </a:lnTo>
                    <a:lnTo>
                      <a:pt x="903" y="99"/>
                    </a:lnTo>
                    <a:lnTo>
                      <a:pt x="830" y="86"/>
                    </a:lnTo>
                    <a:lnTo>
                      <a:pt x="758" y="74"/>
                    </a:lnTo>
                    <a:lnTo>
                      <a:pt x="687" y="64"/>
                    </a:lnTo>
                    <a:lnTo>
                      <a:pt x="618" y="53"/>
                    </a:lnTo>
                    <a:lnTo>
                      <a:pt x="550" y="44"/>
                    </a:lnTo>
                    <a:lnTo>
                      <a:pt x="484" y="38"/>
                    </a:lnTo>
                    <a:lnTo>
                      <a:pt x="421" y="32"/>
                    </a:lnTo>
                    <a:lnTo>
                      <a:pt x="357" y="28"/>
                    </a:lnTo>
                    <a:lnTo>
                      <a:pt x="327" y="27"/>
                    </a:lnTo>
                    <a:lnTo>
                      <a:pt x="296" y="27"/>
                    </a:lnTo>
                    <a:lnTo>
                      <a:pt x="266" y="27"/>
                    </a:lnTo>
                    <a:lnTo>
                      <a:pt x="237" y="28"/>
                    </a:lnTo>
                    <a:lnTo>
                      <a:pt x="208" y="29"/>
                    </a:lnTo>
                    <a:lnTo>
                      <a:pt x="179" y="30"/>
                    </a:lnTo>
                    <a:lnTo>
                      <a:pt x="151" y="33"/>
                    </a:lnTo>
                    <a:lnTo>
                      <a:pt x="123" y="37"/>
                    </a:lnTo>
                    <a:lnTo>
                      <a:pt x="96" y="40"/>
                    </a:lnTo>
                    <a:lnTo>
                      <a:pt x="69" y="44"/>
                    </a:lnTo>
                    <a:lnTo>
                      <a:pt x="42" y="50"/>
                    </a:lnTo>
                    <a:lnTo>
                      <a:pt x="16" y="56"/>
                    </a:lnTo>
                    <a:lnTo>
                      <a:pt x="10" y="56"/>
                    </a:lnTo>
                    <a:lnTo>
                      <a:pt x="5" y="55"/>
                    </a:lnTo>
                    <a:lnTo>
                      <a:pt x="2" y="51"/>
                    </a:lnTo>
                    <a:lnTo>
                      <a:pt x="0" y="46"/>
                    </a:lnTo>
                    <a:lnTo>
                      <a:pt x="0" y="41"/>
                    </a:lnTo>
                    <a:lnTo>
                      <a:pt x="1" y="36"/>
                    </a:lnTo>
                    <a:lnTo>
                      <a:pt x="4" y="32"/>
                    </a:lnTo>
                    <a:lnTo>
                      <a:pt x="9" y="30"/>
                    </a:lnTo>
                    <a:lnTo>
                      <a:pt x="36" y="24"/>
                    </a:lnTo>
                    <a:lnTo>
                      <a:pt x="63" y="18"/>
                    </a:lnTo>
                    <a:lnTo>
                      <a:pt x="90" y="14"/>
                    </a:lnTo>
                    <a:lnTo>
                      <a:pt x="118" y="10"/>
                    </a:lnTo>
                    <a:lnTo>
                      <a:pt x="146" y="6"/>
                    </a:lnTo>
                    <a:lnTo>
                      <a:pt x="176" y="4"/>
                    </a:lnTo>
                    <a:lnTo>
                      <a:pt x="205" y="2"/>
                    </a:lnTo>
                    <a:lnTo>
                      <a:pt x="234" y="1"/>
                    </a:lnTo>
                    <a:lnTo>
                      <a:pt x="264" y="0"/>
                    </a:lnTo>
                    <a:lnTo>
                      <a:pt x="294" y="0"/>
                    </a:lnTo>
                    <a:lnTo>
                      <a:pt x="325" y="0"/>
                    </a:lnTo>
                    <a:lnTo>
                      <a:pt x="356" y="1"/>
                    </a:lnTo>
                    <a:lnTo>
                      <a:pt x="420" y="5"/>
                    </a:lnTo>
                    <a:lnTo>
                      <a:pt x="484" y="11"/>
                    </a:lnTo>
                    <a:lnTo>
                      <a:pt x="551" y="17"/>
                    </a:lnTo>
                    <a:lnTo>
                      <a:pt x="619" y="26"/>
                    </a:lnTo>
                    <a:lnTo>
                      <a:pt x="690" y="37"/>
                    </a:lnTo>
                    <a:lnTo>
                      <a:pt x="761" y="48"/>
                    </a:lnTo>
                    <a:lnTo>
                      <a:pt x="833" y="59"/>
                    </a:lnTo>
                    <a:lnTo>
                      <a:pt x="907" y="72"/>
                    </a:lnTo>
                    <a:lnTo>
                      <a:pt x="982" y="86"/>
                    </a:lnTo>
                    <a:lnTo>
                      <a:pt x="1059" y="100"/>
                    </a:lnTo>
                    <a:lnTo>
                      <a:pt x="1133" y="113"/>
                    </a:lnTo>
                    <a:lnTo>
                      <a:pt x="1210" y="127"/>
                    </a:lnTo>
                    <a:lnTo>
                      <a:pt x="1288" y="141"/>
                    </a:lnTo>
                    <a:lnTo>
                      <a:pt x="1365" y="154"/>
                    </a:lnTo>
                    <a:lnTo>
                      <a:pt x="1445" y="167"/>
                    </a:lnTo>
                    <a:lnTo>
                      <a:pt x="1526" y="180"/>
                    </a:lnTo>
                    <a:lnTo>
                      <a:pt x="1608" y="192"/>
                    </a:lnTo>
                    <a:lnTo>
                      <a:pt x="1692" y="202"/>
                    </a:lnTo>
                    <a:lnTo>
                      <a:pt x="1776" y="212"/>
                    </a:lnTo>
                    <a:lnTo>
                      <a:pt x="1861" y="220"/>
                    </a:lnTo>
                    <a:lnTo>
                      <a:pt x="1948" y="228"/>
                    </a:lnTo>
                    <a:lnTo>
                      <a:pt x="2035" y="233"/>
                    </a:lnTo>
                    <a:lnTo>
                      <a:pt x="2124" y="236"/>
                    </a:lnTo>
                    <a:lnTo>
                      <a:pt x="2212" y="239"/>
                    </a:lnTo>
                    <a:lnTo>
                      <a:pt x="2257" y="239"/>
                    </a:lnTo>
                    <a:lnTo>
                      <a:pt x="2303" y="239"/>
                    </a:lnTo>
                    <a:lnTo>
                      <a:pt x="2348" y="237"/>
                    </a:lnTo>
                    <a:lnTo>
                      <a:pt x="2393" y="236"/>
                    </a:lnTo>
                    <a:lnTo>
                      <a:pt x="2630" y="228"/>
                    </a:lnTo>
                    <a:lnTo>
                      <a:pt x="2856" y="220"/>
                    </a:lnTo>
                    <a:lnTo>
                      <a:pt x="3073" y="214"/>
                    </a:lnTo>
                    <a:lnTo>
                      <a:pt x="3279" y="209"/>
                    </a:lnTo>
                    <a:lnTo>
                      <a:pt x="3377" y="208"/>
                    </a:lnTo>
                    <a:lnTo>
                      <a:pt x="3473" y="208"/>
                    </a:lnTo>
                    <a:lnTo>
                      <a:pt x="3566" y="208"/>
                    </a:lnTo>
                    <a:lnTo>
                      <a:pt x="3656" y="208"/>
                    </a:lnTo>
                    <a:lnTo>
                      <a:pt x="3742" y="211"/>
                    </a:lnTo>
                    <a:lnTo>
                      <a:pt x="3825" y="213"/>
                    </a:lnTo>
                    <a:lnTo>
                      <a:pt x="3905" y="216"/>
                    </a:lnTo>
                    <a:lnTo>
                      <a:pt x="3982" y="219"/>
                    </a:lnTo>
                    <a:lnTo>
                      <a:pt x="4055" y="225"/>
                    </a:lnTo>
                    <a:lnTo>
                      <a:pt x="4124" y="230"/>
                    </a:lnTo>
                    <a:lnTo>
                      <a:pt x="4190" y="237"/>
                    </a:lnTo>
                    <a:lnTo>
                      <a:pt x="4252" y="245"/>
                    </a:lnTo>
                    <a:lnTo>
                      <a:pt x="4310" y="255"/>
                    </a:lnTo>
                    <a:lnTo>
                      <a:pt x="4364" y="264"/>
                    </a:lnTo>
                    <a:lnTo>
                      <a:pt x="4415" y="276"/>
                    </a:lnTo>
                    <a:lnTo>
                      <a:pt x="4461" y="288"/>
                    </a:lnTo>
                    <a:lnTo>
                      <a:pt x="4502" y="302"/>
                    </a:lnTo>
                    <a:lnTo>
                      <a:pt x="4540" y="318"/>
                    </a:lnTo>
                    <a:lnTo>
                      <a:pt x="4574" y="335"/>
                    </a:lnTo>
                    <a:lnTo>
                      <a:pt x="4603" y="353"/>
                    </a:lnTo>
                    <a:lnTo>
                      <a:pt x="4627" y="372"/>
                    </a:lnTo>
                    <a:lnTo>
                      <a:pt x="4647" y="394"/>
                    </a:lnTo>
                    <a:lnTo>
                      <a:pt x="4661" y="417"/>
                    </a:lnTo>
                    <a:lnTo>
                      <a:pt x="4672" y="440"/>
                    </a:lnTo>
                    <a:lnTo>
                      <a:pt x="4672" y="446"/>
                    </a:lnTo>
                    <a:lnTo>
                      <a:pt x="4671" y="451"/>
                    </a:lnTo>
                    <a:lnTo>
                      <a:pt x="4668" y="454"/>
                    </a:lnTo>
                    <a:lnTo>
                      <a:pt x="4663" y="458"/>
                    </a:lnTo>
                    <a:lnTo>
                      <a:pt x="4661" y="458"/>
                    </a:lnTo>
                    <a:lnTo>
                      <a:pt x="4659" y="4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24"/>
              <p:cNvSpPr>
                <a:spLocks/>
              </p:cNvSpPr>
              <p:nvPr userDrawn="1"/>
            </p:nvSpPr>
            <p:spPr bwMode="auto">
              <a:xfrm>
                <a:off x="3205" y="3855"/>
                <a:ext cx="494" cy="465"/>
              </a:xfrm>
              <a:custGeom>
                <a:avLst/>
                <a:gdLst>
                  <a:gd name="T0" fmla="*/ 1416 w 1481"/>
                  <a:gd name="T1" fmla="*/ 1339 h 1394"/>
                  <a:gd name="T2" fmla="*/ 1345 w 1481"/>
                  <a:gd name="T3" fmla="*/ 1229 h 1394"/>
                  <a:gd name="T4" fmla="*/ 1267 w 1481"/>
                  <a:gd name="T5" fmla="*/ 1118 h 1394"/>
                  <a:gd name="T6" fmla="*/ 1186 w 1481"/>
                  <a:gd name="T7" fmla="*/ 1006 h 1394"/>
                  <a:gd name="T8" fmla="*/ 1101 w 1481"/>
                  <a:gd name="T9" fmla="*/ 897 h 1394"/>
                  <a:gd name="T10" fmla="*/ 1015 w 1481"/>
                  <a:gd name="T11" fmla="*/ 789 h 1394"/>
                  <a:gd name="T12" fmla="*/ 884 w 1481"/>
                  <a:gd name="T13" fmla="*/ 634 h 1394"/>
                  <a:gd name="T14" fmla="*/ 716 w 1481"/>
                  <a:gd name="T15" fmla="*/ 444 h 1394"/>
                  <a:gd name="T16" fmla="*/ 563 w 1481"/>
                  <a:gd name="T17" fmla="*/ 281 h 1394"/>
                  <a:gd name="T18" fmla="*/ 439 w 1481"/>
                  <a:gd name="T19" fmla="*/ 150 h 1394"/>
                  <a:gd name="T20" fmla="*/ 352 w 1481"/>
                  <a:gd name="T21" fmla="*/ 63 h 1394"/>
                  <a:gd name="T22" fmla="*/ 27 w 1481"/>
                  <a:gd name="T23" fmla="*/ 705 h 1394"/>
                  <a:gd name="T24" fmla="*/ 34 w 1481"/>
                  <a:gd name="T25" fmla="*/ 779 h 1394"/>
                  <a:gd name="T26" fmla="*/ 53 w 1481"/>
                  <a:gd name="T27" fmla="*/ 932 h 1394"/>
                  <a:gd name="T28" fmla="*/ 80 w 1481"/>
                  <a:gd name="T29" fmla="*/ 1144 h 1394"/>
                  <a:gd name="T30" fmla="*/ 116 w 1481"/>
                  <a:gd name="T31" fmla="*/ 1394 h 1394"/>
                  <a:gd name="T32" fmla="*/ 69 w 1481"/>
                  <a:gd name="T33" fmla="*/ 1258 h 1394"/>
                  <a:gd name="T34" fmla="*/ 35 w 1481"/>
                  <a:gd name="T35" fmla="*/ 1014 h 1394"/>
                  <a:gd name="T36" fmla="*/ 13 w 1481"/>
                  <a:gd name="T37" fmla="*/ 826 h 1394"/>
                  <a:gd name="T38" fmla="*/ 1 w 1481"/>
                  <a:gd name="T39" fmla="*/ 719 h 1394"/>
                  <a:gd name="T40" fmla="*/ 0 w 1481"/>
                  <a:gd name="T41" fmla="*/ 701 h 1394"/>
                  <a:gd name="T42" fmla="*/ 308 w 1481"/>
                  <a:gd name="T43" fmla="*/ 8 h 1394"/>
                  <a:gd name="T44" fmla="*/ 313 w 1481"/>
                  <a:gd name="T45" fmla="*/ 4 h 1394"/>
                  <a:gd name="T46" fmla="*/ 318 w 1481"/>
                  <a:gd name="T47" fmla="*/ 0 h 1394"/>
                  <a:gd name="T48" fmla="*/ 325 w 1481"/>
                  <a:gd name="T49" fmla="*/ 1 h 1394"/>
                  <a:gd name="T50" fmla="*/ 331 w 1481"/>
                  <a:gd name="T51" fmla="*/ 5 h 1394"/>
                  <a:gd name="T52" fmla="*/ 368 w 1481"/>
                  <a:gd name="T53" fmla="*/ 40 h 1394"/>
                  <a:gd name="T54" fmla="*/ 462 w 1481"/>
                  <a:gd name="T55" fmla="*/ 135 h 1394"/>
                  <a:gd name="T56" fmla="*/ 601 w 1481"/>
                  <a:gd name="T57" fmla="*/ 280 h 1394"/>
                  <a:gd name="T58" fmla="*/ 771 w 1481"/>
                  <a:gd name="T59" fmla="*/ 465 h 1394"/>
                  <a:gd name="T60" fmla="*/ 956 w 1481"/>
                  <a:gd name="T61" fmla="*/ 678 h 1394"/>
                  <a:gd name="T62" fmla="*/ 1051 w 1481"/>
                  <a:gd name="T63" fmla="*/ 793 h 1394"/>
                  <a:gd name="T64" fmla="*/ 1146 w 1481"/>
                  <a:gd name="T65" fmla="*/ 910 h 1394"/>
                  <a:gd name="T66" fmla="*/ 1238 w 1481"/>
                  <a:gd name="T67" fmla="*/ 1031 h 1394"/>
                  <a:gd name="T68" fmla="*/ 1326 w 1481"/>
                  <a:gd name="T69" fmla="*/ 1152 h 1394"/>
                  <a:gd name="T70" fmla="*/ 1408 w 1481"/>
                  <a:gd name="T71" fmla="*/ 1274 h 1394"/>
                  <a:gd name="T72" fmla="*/ 1481 w 1481"/>
                  <a:gd name="T7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81" h="1394">
                    <a:moveTo>
                      <a:pt x="1450" y="1394"/>
                    </a:moveTo>
                    <a:lnTo>
                      <a:pt x="1416" y="1339"/>
                    </a:lnTo>
                    <a:lnTo>
                      <a:pt x="1382" y="1284"/>
                    </a:lnTo>
                    <a:lnTo>
                      <a:pt x="1345" y="1229"/>
                    </a:lnTo>
                    <a:lnTo>
                      <a:pt x="1307" y="1174"/>
                    </a:lnTo>
                    <a:lnTo>
                      <a:pt x="1267" y="1118"/>
                    </a:lnTo>
                    <a:lnTo>
                      <a:pt x="1227" y="1062"/>
                    </a:lnTo>
                    <a:lnTo>
                      <a:pt x="1186" y="1006"/>
                    </a:lnTo>
                    <a:lnTo>
                      <a:pt x="1144" y="951"/>
                    </a:lnTo>
                    <a:lnTo>
                      <a:pt x="1101" y="897"/>
                    </a:lnTo>
                    <a:lnTo>
                      <a:pt x="1058" y="842"/>
                    </a:lnTo>
                    <a:lnTo>
                      <a:pt x="1015" y="789"/>
                    </a:lnTo>
                    <a:lnTo>
                      <a:pt x="970" y="737"/>
                    </a:lnTo>
                    <a:lnTo>
                      <a:pt x="884" y="634"/>
                    </a:lnTo>
                    <a:lnTo>
                      <a:pt x="799" y="537"/>
                    </a:lnTo>
                    <a:lnTo>
                      <a:pt x="716" y="444"/>
                    </a:lnTo>
                    <a:lnTo>
                      <a:pt x="637" y="359"/>
                    </a:lnTo>
                    <a:lnTo>
                      <a:pt x="563" y="281"/>
                    </a:lnTo>
                    <a:lnTo>
                      <a:pt x="497" y="211"/>
                    </a:lnTo>
                    <a:lnTo>
                      <a:pt x="439" y="150"/>
                    </a:lnTo>
                    <a:lnTo>
                      <a:pt x="391" y="101"/>
                    </a:lnTo>
                    <a:lnTo>
                      <a:pt x="352" y="63"/>
                    </a:lnTo>
                    <a:lnTo>
                      <a:pt x="326" y="37"/>
                    </a:lnTo>
                    <a:lnTo>
                      <a:pt x="27" y="705"/>
                    </a:lnTo>
                    <a:lnTo>
                      <a:pt x="29" y="731"/>
                    </a:lnTo>
                    <a:lnTo>
                      <a:pt x="34" y="779"/>
                    </a:lnTo>
                    <a:lnTo>
                      <a:pt x="42" y="847"/>
                    </a:lnTo>
                    <a:lnTo>
                      <a:pt x="53" y="932"/>
                    </a:lnTo>
                    <a:lnTo>
                      <a:pt x="64" y="1031"/>
                    </a:lnTo>
                    <a:lnTo>
                      <a:pt x="80" y="1144"/>
                    </a:lnTo>
                    <a:lnTo>
                      <a:pt x="97" y="1266"/>
                    </a:lnTo>
                    <a:lnTo>
                      <a:pt x="116" y="1394"/>
                    </a:lnTo>
                    <a:lnTo>
                      <a:pt x="88" y="1394"/>
                    </a:lnTo>
                    <a:lnTo>
                      <a:pt x="69" y="1258"/>
                    </a:lnTo>
                    <a:lnTo>
                      <a:pt x="50" y="1131"/>
                    </a:lnTo>
                    <a:lnTo>
                      <a:pt x="35" y="1014"/>
                    </a:lnTo>
                    <a:lnTo>
                      <a:pt x="22" y="911"/>
                    </a:lnTo>
                    <a:lnTo>
                      <a:pt x="13" y="826"/>
                    </a:lnTo>
                    <a:lnTo>
                      <a:pt x="5" y="761"/>
                    </a:lnTo>
                    <a:lnTo>
                      <a:pt x="1" y="719"/>
                    </a:lnTo>
                    <a:lnTo>
                      <a:pt x="0" y="704"/>
                    </a:lnTo>
                    <a:lnTo>
                      <a:pt x="0" y="701"/>
                    </a:lnTo>
                    <a:lnTo>
                      <a:pt x="1" y="698"/>
                    </a:lnTo>
                    <a:lnTo>
                      <a:pt x="308" y="8"/>
                    </a:lnTo>
                    <a:lnTo>
                      <a:pt x="311" y="6"/>
                    </a:lnTo>
                    <a:lnTo>
                      <a:pt x="313" y="4"/>
                    </a:lnTo>
                    <a:lnTo>
                      <a:pt x="316" y="1"/>
                    </a:lnTo>
                    <a:lnTo>
                      <a:pt x="318" y="0"/>
                    </a:lnTo>
                    <a:lnTo>
                      <a:pt x="321" y="0"/>
                    </a:lnTo>
                    <a:lnTo>
                      <a:pt x="325" y="1"/>
                    </a:lnTo>
                    <a:lnTo>
                      <a:pt x="328" y="3"/>
                    </a:lnTo>
                    <a:lnTo>
                      <a:pt x="331" y="5"/>
                    </a:lnTo>
                    <a:lnTo>
                      <a:pt x="341" y="14"/>
                    </a:lnTo>
                    <a:lnTo>
                      <a:pt x="368" y="40"/>
                    </a:lnTo>
                    <a:lnTo>
                      <a:pt x="408" y="81"/>
                    </a:lnTo>
                    <a:lnTo>
                      <a:pt x="462" y="135"/>
                    </a:lnTo>
                    <a:lnTo>
                      <a:pt x="527" y="202"/>
                    </a:lnTo>
                    <a:lnTo>
                      <a:pt x="601" y="280"/>
                    </a:lnTo>
                    <a:lnTo>
                      <a:pt x="682" y="368"/>
                    </a:lnTo>
                    <a:lnTo>
                      <a:pt x="771" y="465"/>
                    </a:lnTo>
                    <a:lnTo>
                      <a:pt x="862" y="568"/>
                    </a:lnTo>
                    <a:lnTo>
                      <a:pt x="956" y="678"/>
                    </a:lnTo>
                    <a:lnTo>
                      <a:pt x="1004" y="734"/>
                    </a:lnTo>
                    <a:lnTo>
                      <a:pt x="1051" y="793"/>
                    </a:lnTo>
                    <a:lnTo>
                      <a:pt x="1099" y="851"/>
                    </a:lnTo>
                    <a:lnTo>
                      <a:pt x="1146" y="910"/>
                    </a:lnTo>
                    <a:lnTo>
                      <a:pt x="1193" y="971"/>
                    </a:lnTo>
                    <a:lnTo>
                      <a:pt x="1238" y="1031"/>
                    </a:lnTo>
                    <a:lnTo>
                      <a:pt x="1282" y="1092"/>
                    </a:lnTo>
                    <a:lnTo>
                      <a:pt x="1326" y="1152"/>
                    </a:lnTo>
                    <a:lnTo>
                      <a:pt x="1368" y="1214"/>
                    </a:lnTo>
                    <a:lnTo>
                      <a:pt x="1408" y="1274"/>
                    </a:lnTo>
                    <a:lnTo>
                      <a:pt x="1446" y="1335"/>
                    </a:lnTo>
                    <a:lnTo>
                      <a:pt x="1481" y="1394"/>
                    </a:lnTo>
                    <a:lnTo>
                      <a:pt x="1450" y="1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25"/>
              <p:cNvSpPr>
                <a:spLocks/>
              </p:cNvSpPr>
              <p:nvPr userDrawn="1"/>
            </p:nvSpPr>
            <p:spPr bwMode="auto">
              <a:xfrm>
                <a:off x="2457" y="3165"/>
                <a:ext cx="626" cy="233"/>
              </a:xfrm>
              <a:custGeom>
                <a:avLst/>
                <a:gdLst>
                  <a:gd name="T0" fmla="*/ 1860 w 1879"/>
                  <a:gd name="T1" fmla="*/ 699 h 700"/>
                  <a:gd name="T2" fmla="*/ 1796 w 1879"/>
                  <a:gd name="T3" fmla="*/ 647 h 700"/>
                  <a:gd name="T4" fmla="*/ 1681 w 1879"/>
                  <a:gd name="T5" fmla="*/ 558 h 700"/>
                  <a:gd name="T6" fmla="*/ 1575 w 1879"/>
                  <a:gd name="T7" fmla="*/ 476 h 700"/>
                  <a:gd name="T8" fmla="*/ 1476 w 1879"/>
                  <a:gd name="T9" fmla="*/ 404 h 700"/>
                  <a:gd name="T10" fmla="*/ 1382 w 1879"/>
                  <a:gd name="T11" fmla="*/ 340 h 700"/>
                  <a:gd name="T12" fmla="*/ 1296 w 1879"/>
                  <a:gd name="T13" fmla="*/ 284 h 700"/>
                  <a:gd name="T14" fmla="*/ 1214 w 1879"/>
                  <a:gd name="T15" fmla="*/ 235 h 700"/>
                  <a:gd name="T16" fmla="*/ 1136 w 1879"/>
                  <a:gd name="T17" fmla="*/ 192 h 700"/>
                  <a:gd name="T18" fmla="*/ 1061 w 1879"/>
                  <a:gd name="T19" fmla="*/ 156 h 700"/>
                  <a:gd name="T20" fmla="*/ 990 w 1879"/>
                  <a:gd name="T21" fmla="*/ 126 h 700"/>
                  <a:gd name="T22" fmla="*/ 921 w 1879"/>
                  <a:gd name="T23" fmla="*/ 101 h 700"/>
                  <a:gd name="T24" fmla="*/ 854 w 1879"/>
                  <a:gd name="T25" fmla="*/ 81 h 700"/>
                  <a:gd name="T26" fmla="*/ 788 w 1879"/>
                  <a:gd name="T27" fmla="*/ 65 h 700"/>
                  <a:gd name="T28" fmla="*/ 722 w 1879"/>
                  <a:gd name="T29" fmla="*/ 52 h 700"/>
                  <a:gd name="T30" fmla="*/ 655 w 1879"/>
                  <a:gd name="T31" fmla="*/ 42 h 700"/>
                  <a:gd name="T32" fmla="*/ 587 w 1879"/>
                  <a:gd name="T33" fmla="*/ 35 h 700"/>
                  <a:gd name="T34" fmla="*/ 482 w 1879"/>
                  <a:gd name="T35" fmla="*/ 29 h 700"/>
                  <a:gd name="T36" fmla="*/ 311 w 1879"/>
                  <a:gd name="T37" fmla="*/ 27 h 700"/>
                  <a:gd name="T38" fmla="*/ 142 w 1879"/>
                  <a:gd name="T39" fmla="*/ 28 h 700"/>
                  <a:gd name="T40" fmla="*/ 31 w 1879"/>
                  <a:gd name="T41" fmla="*/ 30 h 700"/>
                  <a:gd name="T42" fmla="*/ 8 w 1879"/>
                  <a:gd name="T43" fmla="*/ 30 h 700"/>
                  <a:gd name="T44" fmla="*/ 1 w 1879"/>
                  <a:gd name="T45" fmla="*/ 22 h 700"/>
                  <a:gd name="T46" fmla="*/ 1 w 1879"/>
                  <a:gd name="T47" fmla="*/ 13 h 700"/>
                  <a:gd name="T48" fmla="*/ 7 w 1879"/>
                  <a:gd name="T49" fmla="*/ 5 h 700"/>
                  <a:gd name="T50" fmla="*/ 30 w 1879"/>
                  <a:gd name="T51" fmla="*/ 3 h 700"/>
                  <a:gd name="T52" fmla="*/ 142 w 1879"/>
                  <a:gd name="T53" fmla="*/ 1 h 700"/>
                  <a:gd name="T54" fmla="*/ 311 w 1879"/>
                  <a:gd name="T55" fmla="*/ 0 h 700"/>
                  <a:gd name="T56" fmla="*/ 484 w 1879"/>
                  <a:gd name="T57" fmla="*/ 2 h 700"/>
                  <a:gd name="T58" fmla="*/ 590 w 1879"/>
                  <a:gd name="T59" fmla="*/ 8 h 700"/>
                  <a:gd name="T60" fmla="*/ 658 w 1879"/>
                  <a:gd name="T61" fmla="*/ 15 h 700"/>
                  <a:gd name="T62" fmla="*/ 727 w 1879"/>
                  <a:gd name="T63" fmla="*/ 25 h 700"/>
                  <a:gd name="T64" fmla="*/ 793 w 1879"/>
                  <a:gd name="T65" fmla="*/ 38 h 700"/>
                  <a:gd name="T66" fmla="*/ 860 w 1879"/>
                  <a:gd name="T67" fmla="*/ 54 h 700"/>
                  <a:gd name="T68" fmla="*/ 928 w 1879"/>
                  <a:gd name="T69" fmla="*/ 75 h 700"/>
                  <a:gd name="T70" fmla="*/ 999 w 1879"/>
                  <a:gd name="T71" fmla="*/ 100 h 700"/>
                  <a:gd name="T72" fmla="*/ 1071 w 1879"/>
                  <a:gd name="T73" fmla="*/ 130 h 700"/>
                  <a:gd name="T74" fmla="*/ 1145 w 1879"/>
                  <a:gd name="T75" fmla="*/ 167 h 700"/>
                  <a:gd name="T76" fmla="*/ 1224 w 1879"/>
                  <a:gd name="T77" fmla="*/ 209 h 700"/>
                  <a:gd name="T78" fmla="*/ 1307 w 1879"/>
                  <a:gd name="T79" fmla="*/ 259 h 700"/>
                  <a:gd name="T80" fmla="*/ 1395 w 1879"/>
                  <a:gd name="T81" fmla="*/ 316 h 700"/>
                  <a:gd name="T82" fmla="*/ 1489 w 1879"/>
                  <a:gd name="T83" fmla="*/ 381 h 700"/>
                  <a:gd name="T84" fmla="*/ 1589 w 1879"/>
                  <a:gd name="T85" fmla="*/ 453 h 700"/>
                  <a:gd name="T86" fmla="*/ 1697 w 1879"/>
                  <a:gd name="T87" fmla="*/ 535 h 700"/>
                  <a:gd name="T88" fmla="*/ 1813 w 1879"/>
                  <a:gd name="T89" fmla="*/ 627 h 700"/>
                  <a:gd name="T90" fmla="*/ 1877 w 1879"/>
                  <a:gd name="T91" fmla="*/ 680 h 700"/>
                  <a:gd name="T92" fmla="*/ 1878 w 1879"/>
                  <a:gd name="T93" fmla="*/ 691 h 700"/>
                  <a:gd name="T94" fmla="*/ 1873 w 1879"/>
                  <a:gd name="T95" fmla="*/ 697 h 700"/>
                  <a:gd name="T96" fmla="*/ 1868 w 1879"/>
                  <a:gd name="T97" fmla="*/ 699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79" h="700">
                    <a:moveTo>
                      <a:pt x="1865" y="700"/>
                    </a:moveTo>
                    <a:lnTo>
                      <a:pt x="1860" y="699"/>
                    </a:lnTo>
                    <a:lnTo>
                      <a:pt x="1856" y="697"/>
                    </a:lnTo>
                    <a:lnTo>
                      <a:pt x="1796" y="647"/>
                    </a:lnTo>
                    <a:lnTo>
                      <a:pt x="1737" y="601"/>
                    </a:lnTo>
                    <a:lnTo>
                      <a:pt x="1681" y="558"/>
                    </a:lnTo>
                    <a:lnTo>
                      <a:pt x="1627" y="516"/>
                    </a:lnTo>
                    <a:lnTo>
                      <a:pt x="1575" y="476"/>
                    </a:lnTo>
                    <a:lnTo>
                      <a:pt x="1524" y="439"/>
                    </a:lnTo>
                    <a:lnTo>
                      <a:pt x="1476" y="404"/>
                    </a:lnTo>
                    <a:lnTo>
                      <a:pt x="1428" y="371"/>
                    </a:lnTo>
                    <a:lnTo>
                      <a:pt x="1382" y="340"/>
                    </a:lnTo>
                    <a:lnTo>
                      <a:pt x="1338" y="311"/>
                    </a:lnTo>
                    <a:lnTo>
                      <a:pt x="1296" y="284"/>
                    </a:lnTo>
                    <a:lnTo>
                      <a:pt x="1253" y="258"/>
                    </a:lnTo>
                    <a:lnTo>
                      <a:pt x="1214" y="235"/>
                    </a:lnTo>
                    <a:lnTo>
                      <a:pt x="1174" y="212"/>
                    </a:lnTo>
                    <a:lnTo>
                      <a:pt x="1136" y="192"/>
                    </a:lnTo>
                    <a:lnTo>
                      <a:pt x="1098" y="174"/>
                    </a:lnTo>
                    <a:lnTo>
                      <a:pt x="1061" y="156"/>
                    </a:lnTo>
                    <a:lnTo>
                      <a:pt x="1026" y="140"/>
                    </a:lnTo>
                    <a:lnTo>
                      <a:pt x="990" y="126"/>
                    </a:lnTo>
                    <a:lnTo>
                      <a:pt x="955" y="113"/>
                    </a:lnTo>
                    <a:lnTo>
                      <a:pt x="921" y="101"/>
                    </a:lnTo>
                    <a:lnTo>
                      <a:pt x="887" y="90"/>
                    </a:lnTo>
                    <a:lnTo>
                      <a:pt x="854" y="81"/>
                    </a:lnTo>
                    <a:lnTo>
                      <a:pt x="822" y="72"/>
                    </a:lnTo>
                    <a:lnTo>
                      <a:pt x="788" y="65"/>
                    </a:lnTo>
                    <a:lnTo>
                      <a:pt x="755" y="58"/>
                    </a:lnTo>
                    <a:lnTo>
                      <a:pt x="722" y="52"/>
                    </a:lnTo>
                    <a:lnTo>
                      <a:pt x="689" y="46"/>
                    </a:lnTo>
                    <a:lnTo>
                      <a:pt x="655" y="42"/>
                    </a:lnTo>
                    <a:lnTo>
                      <a:pt x="622" y="39"/>
                    </a:lnTo>
                    <a:lnTo>
                      <a:pt x="587" y="35"/>
                    </a:lnTo>
                    <a:lnTo>
                      <a:pt x="553" y="32"/>
                    </a:lnTo>
                    <a:lnTo>
                      <a:pt x="482" y="29"/>
                    </a:lnTo>
                    <a:lnTo>
                      <a:pt x="399" y="27"/>
                    </a:lnTo>
                    <a:lnTo>
                      <a:pt x="311" y="27"/>
                    </a:lnTo>
                    <a:lnTo>
                      <a:pt x="222" y="27"/>
                    </a:lnTo>
                    <a:lnTo>
                      <a:pt x="142" y="28"/>
                    </a:lnTo>
                    <a:lnTo>
                      <a:pt x="76" y="29"/>
                    </a:lnTo>
                    <a:lnTo>
                      <a:pt x="31" y="30"/>
                    </a:lnTo>
                    <a:lnTo>
                      <a:pt x="14" y="31"/>
                    </a:lnTo>
                    <a:lnTo>
                      <a:pt x="8" y="30"/>
                    </a:lnTo>
                    <a:lnTo>
                      <a:pt x="4" y="27"/>
                    </a:lnTo>
                    <a:lnTo>
                      <a:pt x="1" y="22"/>
                    </a:lnTo>
                    <a:lnTo>
                      <a:pt x="0" y="18"/>
                    </a:lnTo>
                    <a:lnTo>
                      <a:pt x="1" y="13"/>
                    </a:lnTo>
                    <a:lnTo>
                      <a:pt x="3" y="8"/>
                    </a:lnTo>
                    <a:lnTo>
                      <a:pt x="7" y="5"/>
                    </a:lnTo>
                    <a:lnTo>
                      <a:pt x="13" y="4"/>
                    </a:lnTo>
                    <a:lnTo>
                      <a:pt x="30" y="3"/>
                    </a:lnTo>
                    <a:lnTo>
                      <a:pt x="75" y="2"/>
                    </a:lnTo>
                    <a:lnTo>
                      <a:pt x="142" y="1"/>
                    </a:lnTo>
                    <a:lnTo>
                      <a:pt x="222" y="0"/>
                    </a:lnTo>
                    <a:lnTo>
                      <a:pt x="311" y="0"/>
                    </a:lnTo>
                    <a:lnTo>
                      <a:pt x="400" y="0"/>
                    </a:lnTo>
                    <a:lnTo>
                      <a:pt x="484" y="2"/>
                    </a:lnTo>
                    <a:lnTo>
                      <a:pt x="555" y="5"/>
                    </a:lnTo>
                    <a:lnTo>
                      <a:pt x="590" y="8"/>
                    </a:lnTo>
                    <a:lnTo>
                      <a:pt x="625" y="12"/>
                    </a:lnTo>
                    <a:lnTo>
                      <a:pt x="658" y="15"/>
                    </a:lnTo>
                    <a:lnTo>
                      <a:pt x="693" y="20"/>
                    </a:lnTo>
                    <a:lnTo>
                      <a:pt x="727" y="25"/>
                    </a:lnTo>
                    <a:lnTo>
                      <a:pt x="760" y="31"/>
                    </a:lnTo>
                    <a:lnTo>
                      <a:pt x="793" y="38"/>
                    </a:lnTo>
                    <a:lnTo>
                      <a:pt x="827" y="45"/>
                    </a:lnTo>
                    <a:lnTo>
                      <a:pt x="860" y="54"/>
                    </a:lnTo>
                    <a:lnTo>
                      <a:pt x="895" y="65"/>
                    </a:lnTo>
                    <a:lnTo>
                      <a:pt x="928" y="75"/>
                    </a:lnTo>
                    <a:lnTo>
                      <a:pt x="963" y="87"/>
                    </a:lnTo>
                    <a:lnTo>
                      <a:pt x="999" y="100"/>
                    </a:lnTo>
                    <a:lnTo>
                      <a:pt x="1034" y="115"/>
                    </a:lnTo>
                    <a:lnTo>
                      <a:pt x="1071" y="130"/>
                    </a:lnTo>
                    <a:lnTo>
                      <a:pt x="1108" y="148"/>
                    </a:lnTo>
                    <a:lnTo>
                      <a:pt x="1145" y="167"/>
                    </a:lnTo>
                    <a:lnTo>
                      <a:pt x="1184" y="188"/>
                    </a:lnTo>
                    <a:lnTo>
                      <a:pt x="1224" y="209"/>
                    </a:lnTo>
                    <a:lnTo>
                      <a:pt x="1265" y="233"/>
                    </a:lnTo>
                    <a:lnTo>
                      <a:pt x="1307" y="259"/>
                    </a:lnTo>
                    <a:lnTo>
                      <a:pt x="1351" y="287"/>
                    </a:lnTo>
                    <a:lnTo>
                      <a:pt x="1395" y="316"/>
                    </a:lnTo>
                    <a:lnTo>
                      <a:pt x="1441" y="347"/>
                    </a:lnTo>
                    <a:lnTo>
                      <a:pt x="1489" y="381"/>
                    </a:lnTo>
                    <a:lnTo>
                      <a:pt x="1539" y="415"/>
                    </a:lnTo>
                    <a:lnTo>
                      <a:pt x="1589" y="453"/>
                    </a:lnTo>
                    <a:lnTo>
                      <a:pt x="1642" y="493"/>
                    </a:lnTo>
                    <a:lnTo>
                      <a:pt x="1697" y="535"/>
                    </a:lnTo>
                    <a:lnTo>
                      <a:pt x="1753" y="579"/>
                    </a:lnTo>
                    <a:lnTo>
                      <a:pt x="1813" y="627"/>
                    </a:lnTo>
                    <a:lnTo>
                      <a:pt x="1873" y="676"/>
                    </a:lnTo>
                    <a:lnTo>
                      <a:pt x="1877" y="680"/>
                    </a:lnTo>
                    <a:lnTo>
                      <a:pt x="1879" y="685"/>
                    </a:lnTo>
                    <a:lnTo>
                      <a:pt x="1878" y="691"/>
                    </a:lnTo>
                    <a:lnTo>
                      <a:pt x="1875" y="695"/>
                    </a:lnTo>
                    <a:lnTo>
                      <a:pt x="1873" y="697"/>
                    </a:lnTo>
                    <a:lnTo>
                      <a:pt x="1870" y="699"/>
                    </a:lnTo>
                    <a:lnTo>
                      <a:pt x="1868" y="699"/>
                    </a:lnTo>
                    <a:lnTo>
                      <a:pt x="1865" y="7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26"/>
              <p:cNvSpPr>
                <a:spLocks/>
              </p:cNvSpPr>
              <p:nvPr userDrawn="1"/>
            </p:nvSpPr>
            <p:spPr bwMode="auto">
              <a:xfrm>
                <a:off x="3074" y="3389"/>
                <a:ext cx="280" cy="931"/>
              </a:xfrm>
              <a:custGeom>
                <a:avLst/>
                <a:gdLst>
                  <a:gd name="T0" fmla="*/ 775 w 839"/>
                  <a:gd name="T1" fmla="*/ 2740 h 2793"/>
                  <a:gd name="T2" fmla="*/ 762 w 839"/>
                  <a:gd name="T3" fmla="*/ 2667 h 2793"/>
                  <a:gd name="T4" fmla="*/ 750 w 839"/>
                  <a:gd name="T5" fmla="*/ 2599 h 2793"/>
                  <a:gd name="T6" fmla="*/ 727 w 839"/>
                  <a:gd name="T7" fmla="*/ 2470 h 2793"/>
                  <a:gd name="T8" fmla="*/ 713 w 839"/>
                  <a:gd name="T9" fmla="*/ 2372 h 2793"/>
                  <a:gd name="T10" fmla="*/ 712 w 839"/>
                  <a:gd name="T11" fmla="*/ 2308 h 2793"/>
                  <a:gd name="T12" fmla="*/ 721 w 839"/>
                  <a:gd name="T13" fmla="*/ 2258 h 2793"/>
                  <a:gd name="T14" fmla="*/ 757 w 839"/>
                  <a:gd name="T15" fmla="*/ 2137 h 2793"/>
                  <a:gd name="T16" fmla="*/ 783 w 839"/>
                  <a:gd name="T17" fmla="*/ 2040 h 2793"/>
                  <a:gd name="T18" fmla="*/ 799 w 839"/>
                  <a:gd name="T19" fmla="*/ 1953 h 2793"/>
                  <a:gd name="T20" fmla="*/ 810 w 839"/>
                  <a:gd name="T21" fmla="*/ 1853 h 2793"/>
                  <a:gd name="T22" fmla="*/ 812 w 839"/>
                  <a:gd name="T23" fmla="*/ 1738 h 2793"/>
                  <a:gd name="T24" fmla="*/ 803 w 839"/>
                  <a:gd name="T25" fmla="*/ 1606 h 2793"/>
                  <a:gd name="T26" fmla="*/ 780 w 839"/>
                  <a:gd name="T27" fmla="*/ 1454 h 2793"/>
                  <a:gd name="T28" fmla="*/ 740 w 839"/>
                  <a:gd name="T29" fmla="*/ 1283 h 2793"/>
                  <a:gd name="T30" fmla="*/ 682 w 839"/>
                  <a:gd name="T31" fmla="*/ 1087 h 2793"/>
                  <a:gd name="T32" fmla="*/ 602 w 839"/>
                  <a:gd name="T33" fmla="*/ 867 h 2793"/>
                  <a:gd name="T34" fmla="*/ 514 w 839"/>
                  <a:gd name="T35" fmla="*/ 658 h 2793"/>
                  <a:gd name="T36" fmla="*/ 439 w 839"/>
                  <a:gd name="T37" fmla="*/ 520 h 2793"/>
                  <a:gd name="T38" fmla="*/ 351 w 839"/>
                  <a:gd name="T39" fmla="*/ 386 h 2793"/>
                  <a:gd name="T40" fmla="*/ 249 w 839"/>
                  <a:gd name="T41" fmla="*/ 259 h 2793"/>
                  <a:gd name="T42" fmla="*/ 134 w 839"/>
                  <a:gd name="T43" fmla="*/ 139 h 2793"/>
                  <a:gd name="T44" fmla="*/ 4 w 839"/>
                  <a:gd name="T45" fmla="*/ 24 h 2793"/>
                  <a:gd name="T46" fmla="*/ 0 w 839"/>
                  <a:gd name="T47" fmla="*/ 10 h 2793"/>
                  <a:gd name="T48" fmla="*/ 12 w 839"/>
                  <a:gd name="T49" fmla="*/ 0 h 2793"/>
                  <a:gd name="T50" fmla="*/ 67 w 839"/>
                  <a:gd name="T51" fmla="*/ 41 h 2793"/>
                  <a:gd name="T52" fmla="*/ 193 w 839"/>
                  <a:gd name="T53" fmla="*/ 159 h 2793"/>
                  <a:gd name="T54" fmla="*/ 305 w 839"/>
                  <a:gd name="T55" fmla="*/ 283 h 2793"/>
                  <a:gd name="T56" fmla="*/ 405 w 839"/>
                  <a:gd name="T57" fmla="*/ 415 h 2793"/>
                  <a:gd name="T58" fmla="*/ 489 w 839"/>
                  <a:gd name="T59" fmla="*/ 552 h 2793"/>
                  <a:gd name="T60" fmla="*/ 560 w 839"/>
                  <a:gd name="T61" fmla="*/ 694 h 2793"/>
                  <a:gd name="T62" fmla="*/ 657 w 839"/>
                  <a:gd name="T63" fmla="*/ 935 h 2793"/>
                  <a:gd name="T64" fmla="*/ 731 w 839"/>
                  <a:gd name="T65" fmla="*/ 1149 h 2793"/>
                  <a:gd name="T66" fmla="*/ 783 w 839"/>
                  <a:gd name="T67" fmla="*/ 1339 h 2793"/>
                  <a:gd name="T68" fmla="*/ 816 w 839"/>
                  <a:gd name="T69" fmla="*/ 1506 h 2793"/>
                  <a:gd name="T70" fmla="*/ 834 w 839"/>
                  <a:gd name="T71" fmla="*/ 1652 h 2793"/>
                  <a:gd name="T72" fmla="*/ 839 w 839"/>
                  <a:gd name="T73" fmla="*/ 1780 h 2793"/>
                  <a:gd name="T74" fmla="*/ 833 w 839"/>
                  <a:gd name="T75" fmla="*/ 1892 h 2793"/>
                  <a:gd name="T76" fmla="*/ 820 w 839"/>
                  <a:gd name="T77" fmla="*/ 1988 h 2793"/>
                  <a:gd name="T78" fmla="*/ 803 w 839"/>
                  <a:gd name="T79" fmla="*/ 2071 h 2793"/>
                  <a:gd name="T80" fmla="*/ 770 w 839"/>
                  <a:gd name="T81" fmla="*/ 2186 h 2793"/>
                  <a:gd name="T82" fmla="*/ 744 w 839"/>
                  <a:gd name="T83" fmla="*/ 2278 h 2793"/>
                  <a:gd name="T84" fmla="*/ 738 w 839"/>
                  <a:gd name="T85" fmla="*/ 2325 h 2793"/>
                  <a:gd name="T86" fmla="*/ 744 w 839"/>
                  <a:gd name="T87" fmla="*/ 2399 h 2793"/>
                  <a:gd name="T88" fmla="*/ 761 w 839"/>
                  <a:gd name="T89" fmla="*/ 2506 h 2793"/>
                  <a:gd name="T90" fmla="*/ 780 w 839"/>
                  <a:gd name="T91" fmla="*/ 2617 h 2793"/>
                  <a:gd name="T92" fmla="*/ 793 w 839"/>
                  <a:gd name="T93" fmla="*/ 2688 h 2793"/>
                  <a:gd name="T94" fmla="*/ 806 w 839"/>
                  <a:gd name="T95" fmla="*/ 2766 h 2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39" h="2793">
                    <a:moveTo>
                      <a:pt x="784" y="2793"/>
                    </a:moveTo>
                    <a:lnTo>
                      <a:pt x="779" y="2766"/>
                    </a:lnTo>
                    <a:lnTo>
                      <a:pt x="775" y="2740"/>
                    </a:lnTo>
                    <a:lnTo>
                      <a:pt x="771" y="2715"/>
                    </a:lnTo>
                    <a:lnTo>
                      <a:pt x="766" y="2690"/>
                    </a:lnTo>
                    <a:lnTo>
                      <a:pt x="762" y="2667"/>
                    </a:lnTo>
                    <a:lnTo>
                      <a:pt x="758" y="2644"/>
                    </a:lnTo>
                    <a:lnTo>
                      <a:pt x="754" y="2621"/>
                    </a:lnTo>
                    <a:lnTo>
                      <a:pt x="750" y="2599"/>
                    </a:lnTo>
                    <a:lnTo>
                      <a:pt x="742" y="2552"/>
                    </a:lnTo>
                    <a:lnTo>
                      <a:pt x="734" y="2509"/>
                    </a:lnTo>
                    <a:lnTo>
                      <a:pt x="727" y="2470"/>
                    </a:lnTo>
                    <a:lnTo>
                      <a:pt x="722" y="2434"/>
                    </a:lnTo>
                    <a:lnTo>
                      <a:pt x="717" y="2401"/>
                    </a:lnTo>
                    <a:lnTo>
                      <a:pt x="713" y="2372"/>
                    </a:lnTo>
                    <a:lnTo>
                      <a:pt x="711" y="2346"/>
                    </a:lnTo>
                    <a:lnTo>
                      <a:pt x="711" y="2325"/>
                    </a:lnTo>
                    <a:lnTo>
                      <a:pt x="712" y="2308"/>
                    </a:lnTo>
                    <a:lnTo>
                      <a:pt x="713" y="2292"/>
                    </a:lnTo>
                    <a:lnTo>
                      <a:pt x="717" y="2275"/>
                    </a:lnTo>
                    <a:lnTo>
                      <a:pt x="721" y="2258"/>
                    </a:lnTo>
                    <a:lnTo>
                      <a:pt x="731" y="2220"/>
                    </a:lnTo>
                    <a:lnTo>
                      <a:pt x="744" y="2179"/>
                    </a:lnTo>
                    <a:lnTo>
                      <a:pt x="757" y="2137"/>
                    </a:lnTo>
                    <a:lnTo>
                      <a:pt x="770" y="2090"/>
                    </a:lnTo>
                    <a:lnTo>
                      <a:pt x="776" y="2065"/>
                    </a:lnTo>
                    <a:lnTo>
                      <a:pt x="783" y="2040"/>
                    </a:lnTo>
                    <a:lnTo>
                      <a:pt x="788" y="2011"/>
                    </a:lnTo>
                    <a:lnTo>
                      <a:pt x="793" y="1983"/>
                    </a:lnTo>
                    <a:lnTo>
                      <a:pt x="799" y="1953"/>
                    </a:lnTo>
                    <a:lnTo>
                      <a:pt x="803" y="1921"/>
                    </a:lnTo>
                    <a:lnTo>
                      <a:pt x="806" y="1888"/>
                    </a:lnTo>
                    <a:lnTo>
                      <a:pt x="810" y="1853"/>
                    </a:lnTo>
                    <a:lnTo>
                      <a:pt x="812" y="1817"/>
                    </a:lnTo>
                    <a:lnTo>
                      <a:pt x="812" y="1778"/>
                    </a:lnTo>
                    <a:lnTo>
                      <a:pt x="812" y="1738"/>
                    </a:lnTo>
                    <a:lnTo>
                      <a:pt x="811" y="1696"/>
                    </a:lnTo>
                    <a:lnTo>
                      <a:pt x="807" y="1652"/>
                    </a:lnTo>
                    <a:lnTo>
                      <a:pt x="803" y="1606"/>
                    </a:lnTo>
                    <a:lnTo>
                      <a:pt x="797" y="1558"/>
                    </a:lnTo>
                    <a:lnTo>
                      <a:pt x="789" y="1507"/>
                    </a:lnTo>
                    <a:lnTo>
                      <a:pt x="780" y="1454"/>
                    </a:lnTo>
                    <a:lnTo>
                      <a:pt x="769" y="1399"/>
                    </a:lnTo>
                    <a:lnTo>
                      <a:pt x="756" y="1342"/>
                    </a:lnTo>
                    <a:lnTo>
                      <a:pt x="740" y="1283"/>
                    </a:lnTo>
                    <a:lnTo>
                      <a:pt x="723" y="1220"/>
                    </a:lnTo>
                    <a:lnTo>
                      <a:pt x="704" y="1155"/>
                    </a:lnTo>
                    <a:lnTo>
                      <a:pt x="682" y="1087"/>
                    </a:lnTo>
                    <a:lnTo>
                      <a:pt x="658" y="1016"/>
                    </a:lnTo>
                    <a:lnTo>
                      <a:pt x="631" y="944"/>
                    </a:lnTo>
                    <a:lnTo>
                      <a:pt x="602" y="867"/>
                    </a:lnTo>
                    <a:lnTo>
                      <a:pt x="570" y="788"/>
                    </a:lnTo>
                    <a:lnTo>
                      <a:pt x="535" y="705"/>
                    </a:lnTo>
                    <a:lnTo>
                      <a:pt x="514" y="658"/>
                    </a:lnTo>
                    <a:lnTo>
                      <a:pt x="490" y="611"/>
                    </a:lnTo>
                    <a:lnTo>
                      <a:pt x="465" y="565"/>
                    </a:lnTo>
                    <a:lnTo>
                      <a:pt x="439" y="520"/>
                    </a:lnTo>
                    <a:lnTo>
                      <a:pt x="411" y="474"/>
                    </a:lnTo>
                    <a:lnTo>
                      <a:pt x="382" y="430"/>
                    </a:lnTo>
                    <a:lnTo>
                      <a:pt x="351" y="386"/>
                    </a:lnTo>
                    <a:lnTo>
                      <a:pt x="318" y="343"/>
                    </a:lnTo>
                    <a:lnTo>
                      <a:pt x="285" y="300"/>
                    </a:lnTo>
                    <a:lnTo>
                      <a:pt x="249" y="259"/>
                    </a:lnTo>
                    <a:lnTo>
                      <a:pt x="212" y="218"/>
                    </a:lnTo>
                    <a:lnTo>
                      <a:pt x="174" y="177"/>
                    </a:lnTo>
                    <a:lnTo>
                      <a:pt x="134" y="139"/>
                    </a:lnTo>
                    <a:lnTo>
                      <a:pt x="91" y="100"/>
                    </a:lnTo>
                    <a:lnTo>
                      <a:pt x="48" y="61"/>
                    </a:lnTo>
                    <a:lnTo>
                      <a:pt x="4" y="24"/>
                    </a:lnTo>
                    <a:lnTo>
                      <a:pt x="1" y="20"/>
                    </a:lnTo>
                    <a:lnTo>
                      <a:pt x="0" y="14"/>
                    </a:lnTo>
                    <a:lnTo>
                      <a:pt x="0" y="10"/>
                    </a:lnTo>
                    <a:lnTo>
                      <a:pt x="2" y="5"/>
                    </a:lnTo>
                    <a:lnTo>
                      <a:pt x="6" y="1"/>
                    </a:lnTo>
                    <a:lnTo>
                      <a:pt x="12" y="0"/>
                    </a:lnTo>
                    <a:lnTo>
                      <a:pt x="17" y="0"/>
                    </a:lnTo>
                    <a:lnTo>
                      <a:pt x="21" y="3"/>
                    </a:lnTo>
                    <a:lnTo>
                      <a:pt x="67" y="41"/>
                    </a:lnTo>
                    <a:lnTo>
                      <a:pt x="110" y="79"/>
                    </a:lnTo>
                    <a:lnTo>
                      <a:pt x="152" y="119"/>
                    </a:lnTo>
                    <a:lnTo>
                      <a:pt x="193" y="159"/>
                    </a:lnTo>
                    <a:lnTo>
                      <a:pt x="232" y="200"/>
                    </a:lnTo>
                    <a:lnTo>
                      <a:pt x="270" y="241"/>
                    </a:lnTo>
                    <a:lnTo>
                      <a:pt x="305" y="283"/>
                    </a:lnTo>
                    <a:lnTo>
                      <a:pt x="340" y="326"/>
                    </a:lnTo>
                    <a:lnTo>
                      <a:pt x="373" y="371"/>
                    </a:lnTo>
                    <a:lnTo>
                      <a:pt x="405" y="415"/>
                    </a:lnTo>
                    <a:lnTo>
                      <a:pt x="434" y="460"/>
                    </a:lnTo>
                    <a:lnTo>
                      <a:pt x="463" y="506"/>
                    </a:lnTo>
                    <a:lnTo>
                      <a:pt x="489" y="552"/>
                    </a:lnTo>
                    <a:lnTo>
                      <a:pt x="515" y="598"/>
                    </a:lnTo>
                    <a:lnTo>
                      <a:pt x="537" y="647"/>
                    </a:lnTo>
                    <a:lnTo>
                      <a:pt x="560" y="694"/>
                    </a:lnTo>
                    <a:lnTo>
                      <a:pt x="595" y="778"/>
                    </a:lnTo>
                    <a:lnTo>
                      <a:pt x="627" y="857"/>
                    </a:lnTo>
                    <a:lnTo>
                      <a:pt x="657" y="935"/>
                    </a:lnTo>
                    <a:lnTo>
                      <a:pt x="684" y="1010"/>
                    </a:lnTo>
                    <a:lnTo>
                      <a:pt x="709" y="1081"/>
                    </a:lnTo>
                    <a:lnTo>
                      <a:pt x="731" y="1149"/>
                    </a:lnTo>
                    <a:lnTo>
                      <a:pt x="750" y="1215"/>
                    </a:lnTo>
                    <a:lnTo>
                      <a:pt x="767" y="1278"/>
                    </a:lnTo>
                    <a:lnTo>
                      <a:pt x="783" y="1339"/>
                    </a:lnTo>
                    <a:lnTo>
                      <a:pt x="797" y="1397"/>
                    </a:lnTo>
                    <a:lnTo>
                      <a:pt x="807" y="1452"/>
                    </a:lnTo>
                    <a:lnTo>
                      <a:pt x="816" y="1506"/>
                    </a:lnTo>
                    <a:lnTo>
                      <a:pt x="825" y="1557"/>
                    </a:lnTo>
                    <a:lnTo>
                      <a:pt x="830" y="1606"/>
                    </a:lnTo>
                    <a:lnTo>
                      <a:pt x="834" y="1652"/>
                    </a:lnTo>
                    <a:lnTo>
                      <a:pt x="838" y="1697"/>
                    </a:lnTo>
                    <a:lnTo>
                      <a:pt x="839" y="1739"/>
                    </a:lnTo>
                    <a:lnTo>
                      <a:pt x="839" y="1780"/>
                    </a:lnTo>
                    <a:lnTo>
                      <a:pt x="839" y="1819"/>
                    </a:lnTo>
                    <a:lnTo>
                      <a:pt x="837" y="1856"/>
                    </a:lnTo>
                    <a:lnTo>
                      <a:pt x="833" y="1892"/>
                    </a:lnTo>
                    <a:lnTo>
                      <a:pt x="830" y="1925"/>
                    </a:lnTo>
                    <a:lnTo>
                      <a:pt x="826" y="1957"/>
                    </a:lnTo>
                    <a:lnTo>
                      <a:pt x="820" y="1988"/>
                    </a:lnTo>
                    <a:lnTo>
                      <a:pt x="815" y="2017"/>
                    </a:lnTo>
                    <a:lnTo>
                      <a:pt x="808" y="2045"/>
                    </a:lnTo>
                    <a:lnTo>
                      <a:pt x="803" y="2071"/>
                    </a:lnTo>
                    <a:lnTo>
                      <a:pt x="796" y="2097"/>
                    </a:lnTo>
                    <a:lnTo>
                      <a:pt x="783" y="2144"/>
                    </a:lnTo>
                    <a:lnTo>
                      <a:pt x="770" y="2186"/>
                    </a:lnTo>
                    <a:lnTo>
                      <a:pt x="757" y="2226"/>
                    </a:lnTo>
                    <a:lnTo>
                      <a:pt x="747" y="2262"/>
                    </a:lnTo>
                    <a:lnTo>
                      <a:pt x="744" y="2278"/>
                    </a:lnTo>
                    <a:lnTo>
                      <a:pt x="740" y="2294"/>
                    </a:lnTo>
                    <a:lnTo>
                      <a:pt x="738" y="2309"/>
                    </a:lnTo>
                    <a:lnTo>
                      <a:pt x="738" y="2325"/>
                    </a:lnTo>
                    <a:lnTo>
                      <a:pt x="738" y="2345"/>
                    </a:lnTo>
                    <a:lnTo>
                      <a:pt x="740" y="2370"/>
                    </a:lnTo>
                    <a:lnTo>
                      <a:pt x="744" y="2399"/>
                    </a:lnTo>
                    <a:lnTo>
                      <a:pt x="749" y="2431"/>
                    </a:lnTo>
                    <a:lnTo>
                      <a:pt x="754" y="2467"/>
                    </a:lnTo>
                    <a:lnTo>
                      <a:pt x="761" y="2506"/>
                    </a:lnTo>
                    <a:lnTo>
                      <a:pt x="769" y="2548"/>
                    </a:lnTo>
                    <a:lnTo>
                      <a:pt x="777" y="2594"/>
                    </a:lnTo>
                    <a:lnTo>
                      <a:pt x="780" y="2617"/>
                    </a:lnTo>
                    <a:lnTo>
                      <a:pt x="785" y="2640"/>
                    </a:lnTo>
                    <a:lnTo>
                      <a:pt x="789" y="2663"/>
                    </a:lnTo>
                    <a:lnTo>
                      <a:pt x="793" y="2688"/>
                    </a:lnTo>
                    <a:lnTo>
                      <a:pt x="798" y="2713"/>
                    </a:lnTo>
                    <a:lnTo>
                      <a:pt x="802" y="2739"/>
                    </a:lnTo>
                    <a:lnTo>
                      <a:pt x="806" y="2766"/>
                    </a:lnTo>
                    <a:lnTo>
                      <a:pt x="811" y="2793"/>
                    </a:lnTo>
                    <a:lnTo>
                      <a:pt x="784" y="27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27"/>
              <p:cNvSpPr>
                <a:spLocks/>
              </p:cNvSpPr>
              <p:nvPr userDrawn="1"/>
            </p:nvSpPr>
            <p:spPr bwMode="auto">
              <a:xfrm>
                <a:off x="1147" y="3938"/>
                <a:ext cx="188" cy="382"/>
              </a:xfrm>
              <a:custGeom>
                <a:avLst/>
                <a:gdLst>
                  <a:gd name="T0" fmla="*/ 533 w 563"/>
                  <a:gd name="T1" fmla="*/ 1147 h 1147"/>
                  <a:gd name="T2" fmla="*/ 521 w 563"/>
                  <a:gd name="T3" fmla="*/ 1123 h 1147"/>
                  <a:gd name="T4" fmla="*/ 510 w 563"/>
                  <a:gd name="T5" fmla="*/ 1100 h 1147"/>
                  <a:gd name="T6" fmla="*/ 498 w 563"/>
                  <a:gd name="T7" fmla="*/ 1077 h 1147"/>
                  <a:gd name="T8" fmla="*/ 487 w 563"/>
                  <a:gd name="T9" fmla="*/ 1054 h 1147"/>
                  <a:gd name="T10" fmla="*/ 477 w 563"/>
                  <a:gd name="T11" fmla="*/ 1033 h 1147"/>
                  <a:gd name="T12" fmla="*/ 466 w 563"/>
                  <a:gd name="T13" fmla="*/ 1011 h 1147"/>
                  <a:gd name="T14" fmla="*/ 456 w 563"/>
                  <a:gd name="T15" fmla="*/ 990 h 1147"/>
                  <a:gd name="T16" fmla="*/ 446 w 563"/>
                  <a:gd name="T17" fmla="*/ 970 h 1147"/>
                  <a:gd name="T18" fmla="*/ 432 w 563"/>
                  <a:gd name="T19" fmla="*/ 943 h 1147"/>
                  <a:gd name="T20" fmla="*/ 414 w 563"/>
                  <a:gd name="T21" fmla="*/ 904 h 1147"/>
                  <a:gd name="T22" fmla="*/ 393 w 563"/>
                  <a:gd name="T23" fmla="*/ 863 h 1147"/>
                  <a:gd name="T24" fmla="*/ 372 w 563"/>
                  <a:gd name="T25" fmla="*/ 818 h 1147"/>
                  <a:gd name="T26" fmla="*/ 348 w 563"/>
                  <a:gd name="T27" fmla="*/ 769 h 1147"/>
                  <a:gd name="T28" fmla="*/ 323 w 563"/>
                  <a:gd name="T29" fmla="*/ 718 h 1147"/>
                  <a:gd name="T30" fmla="*/ 296 w 563"/>
                  <a:gd name="T31" fmla="*/ 663 h 1147"/>
                  <a:gd name="T32" fmla="*/ 269 w 563"/>
                  <a:gd name="T33" fmla="*/ 607 h 1147"/>
                  <a:gd name="T34" fmla="*/ 241 w 563"/>
                  <a:gd name="T35" fmla="*/ 548 h 1147"/>
                  <a:gd name="T36" fmla="*/ 213 w 563"/>
                  <a:gd name="T37" fmla="*/ 486 h 1147"/>
                  <a:gd name="T38" fmla="*/ 183 w 563"/>
                  <a:gd name="T39" fmla="*/ 424 h 1147"/>
                  <a:gd name="T40" fmla="*/ 154 w 563"/>
                  <a:gd name="T41" fmla="*/ 359 h 1147"/>
                  <a:gd name="T42" fmla="*/ 123 w 563"/>
                  <a:gd name="T43" fmla="*/ 293 h 1147"/>
                  <a:gd name="T44" fmla="*/ 92 w 563"/>
                  <a:gd name="T45" fmla="*/ 225 h 1147"/>
                  <a:gd name="T46" fmla="*/ 62 w 563"/>
                  <a:gd name="T47" fmla="*/ 157 h 1147"/>
                  <a:gd name="T48" fmla="*/ 32 w 563"/>
                  <a:gd name="T49" fmla="*/ 88 h 1147"/>
                  <a:gd name="T50" fmla="*/ 1 w 563"/>
                  <a:gd name="T51" fmla="*/ 18 h 1147"/>
                  <a:gd name="T52" fmla="*/ 0 w 563"/>
                  <a:gd name="T53" fmla="*/ 12 h 1147"/>
                  <a:gd name="T54" fmla="*/ 1 w 563"/>
                  <a:gd name="T55" fmla="*/ 8 h 1147"/>
                  <a:gd name="T56" fmla="*/ 4 w 563"/>
                  <a:gd name="T57" fmla="*/ 4 h 1147"/>
                  <a:gd name="T58" fmla="*/ 8 w 563"/>
                  <a:gd name="T59" fmla="*/ 1 h 1147"/>
                  <a:gd name="T60" fmla="*/ 13 w 563"/>
                  <a:gd name="T61" fmla="*/ 0 h 1147"/>
                  <a:gd name="T62" fmla="*/ 19 w 563"/>
                  <a:gd name="T63" fmla="*/ 1 h 1147"/>
                  <a:gd name="T64" fmla="*/ 23 w 563"/>
                  <a:gd name="T65" fmla="*/ 3 h 1147"/>
                  <a:gd name="T66" fmla="*/ 26 w 563"/>
                  <a:gd name="T67" fmla="*/ 7 h 1147"/>
                  <a:gd name="T68" fmla="*/ 57 w 563"/>
                  <a:gd name="T69" fmla="*/ 77 h 1147"/>
                  <a:gd name="T70" fmla="*/ 87 w 563"/>
                  <a:gd name="T71" fmla="*/ 146 h 1147"/>
                  <a:gd name="T72" fmla="*/ 117 w 563"/>
                  <a:gd name="T73" fmla="*/ 214 h 1147"/>
                  <a:gd name="T74" fmla="*/ 147 w 563"/>
                  <a:gd name="T75" fmla="*/ 282 h 1147"/>
                  <a:gd name="T76" fmla="*/ 177 w 563"/>
                  <a:gd name="T77" fmla="*/ 348 h 1147"/>
                  <a:gd name="T78" fmla="*/ 208 w 563"/>
                  <a:gd name="T79" fmla="*/ 413 h 1147"/>
                  <a:gd name="T80" fmla="*/ 237 w 563"/>
                  <a:gd name="T81" fmla="*/ 476 h 1147"/>
                  <a:gd name="T82" fmla="*/ 266 w 563"/>
                  <a:gd name="T83" fmla="*/ 537 h 1147"/>
                  <a:gd name="T84" fmla="*/ 294 w 563"/>
                  <a:gd name="T85" fmla="*/ 595 h 1147"/>
                  <a:gd name="T86" fmla="*/ 321 w 563"/>
                  <a:gd name="T87" fmla="*/ 653 h 1147"/>
                  <a:gd name="T88" fmla="*/ 347 w 563"/>
                  <a:gd name="T89" fmla="*/ 707 h 1147"/>
                  <a:gd name="T90" fmla="*/ 372 w 563"/>
                  <a:gd name="T91" fmla="*/ 757 h 1147"/>
                  <a:gd name="T92" fmla="*/ 396 w 563"/>
                  <a:gd name="T93" fmla="*/ 806 h 1147"/>
                  <a:gd name="T94" fmla="*/ 417 w 563"/>
                  <a:gd name="T95" fmla="*/ 851 h 1147"/>
                  <a:gd name="T96" fmla="*/ 438 w 563"/>
                  <a:gd name="T97" fmla="*/ 892 h 1147"/>
                  <a:gd name="T98" fmla="*/ 457 w 563"/>
                  <a:gd name="T99" fmla="*/ 931 h 1147"/>
                  <a:gd name="T100" fmla="*/ 470 w 563"/>
                  <a:gd name="T101" fmla="*/ 958 h 1147"/>
                  <a:gd name="T102" fmla="*/ 481 w 563"/>
                  <a:gd name="T103" fmla="*/ 980 h 1147"/>
                  <a:gd name="T104" fmla="*/ 491 w 563"/>
                  <a:gd name="T105" fmla="*/ 1000 h 1147"/>
                  <a:gd name="T106" fmla="*/ 502 w 563"/>
                  <a:gd name="T107" fmla="*/ 1023 h 1147"/>
                  <a:gd name="T108" fmla="*/ 513 w 563"/>
                  <a:gd name="T109" fmla="*/ 1046 h 1147"/>
                  <a:gd name="T110" fmla="*/ 524 w 563"/>
                  <a:gd name="T111" fmla="*/ 1068 h 1147"/>
                  <a:gd name="T112" fmla="*/ 536 w 563"/>
                  <a:gd name="T113" fmla="*/ 1092 h 1147"/>
                  <a:gd name="T114" fmla="*/ 548 w 563"/>
                  <a:gd name="T115" fmla="*/ 1117 h 1147"/>
                  <a:gd name="T116" fmla="*/ 561 w 563"/>
                  <a:gd name="T117" fmla="*/ 1142 h 1147"/>
                  <a:gd name="T118" fmla="*/ 563 w 563"/>
                  <a:gd name="T119" fmla="*/ 1147 h 1147"/>
                  <a:gd name="T120" fmla="*/ 533 w 563"/>
                  <a:gd name="T121" fmla="*/ 114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3" h="1147">
                    <a:moveTo>
                      <a:pt x="533" y="1147"/>
                    </a:moveTo>
                    <a:lnTo>
                      <a:pt x="521" y="1123"/>
                    </a:lnTo>
                    <a:lnTo>
                      <a:pt x="510" y="1100"/>
                    </a:lnTo>
                    <a:lnTo>
                      <a:pt x="498" y="1077"/>
                    </a:lnTo>
                    <a:lnTo>
                      <a:pt x="487" y="1054"/>
                    </a:lnTo>
                    <a:lnTo>
                      <a:pt x="477" y="1033"/>
                    </a:lnTo>
                    <a:lnTo>
                      <a:pt x="466" y="1011"/>
                    </a:lnTo>
                    <a:lnTo>
                      <a:pt x="456" y="990"/>
                    </a:lnTo>
                    <a:lnTo>
                      <a:pt x="446" y="970"/>
                    </a:lnTo>
                    <a:lnTo>
                      <a:pt x="432" y="943"/>
                    </a:lnTo>
                    <a:lnTo>
                      <a:pt x="414" y="904"/>
                    </a:lnTo>
                    <a:lnTo>
                      <a:pt x="393" y="863"/>
                    </a:lnTo>
                    <a:lnTo>
                      <a:pt x="372" y="818"/>
                    </a:lnTo>
                    <a:lnTo>
                      <a:pt x="348" y="769"/>
                    </a:lnTo>
                    <a:lnTo>
                      <a:pt x="323" y="718"/>
                    </a:lnTo>
                    <a:lnTo>
                      <a:pt x="296" y="663"/>
                    </a:lnTo>
                    <a:lnTo>
                      <a:pt x="269" y="607"/>
                    </a:lnTo>
                    <a:lnTo>
                      <a:pt x="241" y="548"/>
                    </a:lnTo>
                    <a:lnTo>
                      <a:pt x="213" y="486"/>
                    </a:lnTo>
                    <a:lnTo>
                      <a:pt x="183" y="424"/>
                    </a:lnTo>
                    <a:lnTo>
                      <a:pt x="154" y="359"/>
                    </a:lnTo>
                    <a:lnTo>
                      <a:pt x="123" y="293"/>
                    </a:lnTo>
                    <a:lnTo>
                      <a:pt x="92" y="225"/>
                    </a:lnTo>
                    <a:lnTo>
                      <a:pt x="62" y="157"/>
                    </a:lnTo>
                    <a:lnTo>
                      <a:pt x="32" y="88"/>
                    </a:lnTo>
                    <a:lnTo>
                      <a:pt x="1" y="18"/>
                    </a:lnTo>
                    <a:lnTo>
                      <a:pt x="0" y="12"/>
                    </a:lnTo>
                    <a:lnTo>
                      <a:pt x="1" y="8"/>
                    </a:lnTo>
                    <a:lnTo>
                      <a:pt x="4" y="4"/>
                    </a:lnTo>
                    <a:lnTo>
                      <a:pt x="8" y="1"/>
                    </a:lnTo>
                    <a:lnTo>
                      <a:pt x="13" y="0"/>
                    </a:lnTo>
                    <a:lnTo>
                      <a:pt x="19" y="1"/>
                    </a:lnTo>
                    <a:lnTo>
                      <a:pt x="23" y="3"/>
                    </a:lnTo>
                    <a:lnTo>
                      <a:pt x="26" y="7"/>
                    </a:lnTo>
                    <a:lnTo>
                      <a:pt x="57" y="77"/>
                    </a:lnTo>
                    <a:lnTo>
                      <a:pt x="87" y="146"/>
                    </a:lnTo>
                    <a:lnTo>
                      <a:pt x="117" y="214"/>
                    </a:lnTo>
                    <a:lnTo>
                      <a:pt x="147" y="282"/>
                    </a:lnTo>
                    <a:lnTo>
                      <a:pt x="177" y="348"/>
                    </a:lnTo>
                    <a:lnTo>
                      <a:pt x="208" y="413"/>
                    </a:lnTo>
                    <a:lnTo>
                      <a:pt x="237" y="476"/>
                    </a:lnTo>
                    <a:lnTo>
                      <a:pt x="266" y="537"/>
                    </a:lnTo>
                    <a:lnTo>
                      <a:pt x="294" y="595"/>
                    </a:lnTo>
                    <a:lnTo>
                      <a:pt x="321" y="653"/>
                    </a:lnTo>
                    <a:lnTo>
                      <a:pt x="347" y="707"/>
                    </a:lnTo>
                    <a:lnTo>
                      <a:pt x="372" y="757"/>
                    </a:lnTo>
                    <a:lnTo>
                      <a:pt x="396" y="806"/>
                    </a:lnTo>
                    <a:lnTo>
                      <a:pt x="417" y="851"/>
                    </a:lnTo>
                    <a:lnTo>
                      <a:pt x="438" y="892"/>
                    </a:lnTo>
                    <a:lnTo>
                      <a:pt x="457" y="931"/>
                    </a:lnTo>
                    <a:lnTo>
                      <a:pt x="470" y="958"/>
                    </a:lnTo>
                    <a:lnTo>
                      <a:pt x="481" y="980"/>
                    </a:lnTo>
                    <a:lnTo>
                      <a:pt x="491" y="1000"/>
                    </a:lnTo>
                    <a:lnTo>
                      <a:pt x="502" y="1023"/>
                    </a:lnTo>
                    <a:lnTo>
                      <a:pt x="513" y="1046"/>
                    </a:lnTo>
                    <a:lnTo>
                      <a:pt x="524" y="1068"/>
                    </a:lnTo>
                    <a:lnTo>
                      <a:pt x="536" y="1092"/>
                    </a:lnTo>
                    <a:lnTo>
                      <a:pt x="548" y="1117"/>
                    </a:lnTo>
                    <a:lnTo>
                      <a:pt x="561" y="1142"/>
                    </a:lnTo>
                    <a:lnTo>
                      <a:pt x="563" y="1147"/>
                    </a:lnTo>
                    <a:lnTo>
                      <a:pt x="533"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28"/>
              <p:cNvSpPr>
                <a:spLocks/>
              </p:cNvSpPr>
              <p:nvPr userDrawn="1"/>
            </p:nvSpPr>
            <p:spPr bwMode="auto">
              <a:xfrm>
                <a:off x="181" y="2934"/>
                <a:ext cx="3185" cy="1386"/>
              </a:xfrm>
              <a:custGeom>
                <a:avLst/>
                <a:gdLst>
                  <a:gd name="T0" fmla="*/ 186 w 9555"/>
                  <a:gd name="T1" fmla="*/ 3803 h 4158"/>
                  <a:gd name="T2" fmla="*/ 919 w 9555"/>
                  <a:gd name="T3" fmla="*/ 2705 h 4158"/>
                  <a:gd name="T4" fmla="*/ 1241 w 9555"/>
                  <a:gd name="T5" fmla="*/ 1919 h 4158"/>
                  <a:gd name="T6" fmla="*/ 1637 w 9555"/>
                  <a:gd name="T7" fmla="*/ 942 h 4158"/>
                  <a:gd name="T8" fmla="*/ 2090 w 9555"/>
                  <a:gd name="T9" fmla="*/ 377 h 4158"/>
                  <a:gd name="T10" fmla="*/ 3132 w 9555"/>
                  <a:gd name="T11" fmla="*/ 11 h 4158"/>
                  <a:gd name="T12" fmla="*/ 3924 w 9555"/>
                  <a:gd name="T13" fmla="*/ 59 h 4158"/>
                  <a:gd name="T14" fmla="*/ 4418 w 9555"/>
                  <a:gd name="T15" fmla="*/ 241 h 4158"/>
                  <a:gd name="T16" fmla="*/ 5038 w 9555"/>
                  <a:gd name="T17" fmla="*/ 369 h 4158"/>
                  <a:gd name="T18" fmla="*/ 6060 w 9555"/>
                  <a:gd name="T19" fmla="*/ 406 h 4158"/>
                  <a:gd name="T20" fmla="*/ 6522 w 9555"/>
                  <a:gd name="T21" fmla="*/ 539 h 4158"/>
                  <a:gd name="T22" fmla="*/ 6975 w 9555"/>
                  <a:gd name="T23" fmla="*/ 573 h 4158"/>
                  <a:gd name="T24" fmla="*/ 7497 w 9555"/>
                  <a:gd name="T25" fmla="*/ 597 h 4158"/>
                  <a:gd name="T26" fmla="*/ 8408 w 9555"/>
                  <a:gd name="T27" fmla="*/ 1001 h 4158"/>
                  <a:gd name="T28" fmla="*/ 9128 w 9555"/>
                  <a:gd name="T29" fmla="*/ 1824 h 4158"/>
                  <a:gd name="T30" fmla="*/ 9510 w 9555"/>
                  <a:gd name="T31" fmla="*/ 2731 h 4158"/>
                  <a:gd name="T32" fmla="*/ 9540 w 9555"/>
                  <a:gd name="T33" fmla="*/ 3280 h 4158"/>
                  <a:gd name="T34" fmla="*/ 9416 w 9555"/>
                  <a:gd name="T35" fmla="*/ 3624 h 4158"/>
                  <a:gd name="T36" fmla="*/ 8855 w 9555"/>
                  <a:gd name="T37" fmla="*/ 3270 h 4158"/>
                  <a:gd name="T38" fmla="*/ 8362 w 9555"/>
                  <a:gd name="T39" fmla="*/ 2921 h 4158"/>
                  <a:gd name="T40" fmla="*/ 8038 w 9555"/>
                  <a:gd name="T41" fmla="*/ 2926 h 4158"/>
                  <a:gd name="T42" fmla="*/ 7438 w 9555"/>
                  <a:gd name="T43" fmla="*/ 3118 h 4158"/>
                  <a:gd name="T44" fmla="*/ 6557 w 9555"/>
                  <a:gd name="T45" fmla="*/ 3225 h 4158"/>
                  <a:gd name="T46" fmla="*/ 5623 w 9555"/>
                  <a:gd name="T47" fmla="*/ 3161 h 4158"/>
                  <a:gd name="T48" fmla="*/ 4918 w 9555"/>
                  <a:gd name="T49" fmla="*/ 2871 h 4158"/>
                  <a:gd name="T50" fmla="*/ 3923 w 9555"/>
                  <a:gd name="T51" fmla="*/ 2257 h 4158"/>
                  <a:gd name="T52" fmla="*/ 3510 w 9555"/>
                  <a:gd name="T53" fmla="*/ 2107 h 4158"/>
                  <a:gd name="T54" fmla="*/ 3299 w 9555"/>
                  <a:gd name="T55" fmla="*/ 2220 h 4158"/>
                  <a:gd name="T56" fmla="*/ 2956 w 9555"/>
                  <a:gd name="T57" fmla="*/ 2977 h 4158"/>
                  <a:gd name="T58" fmla="*/ 2495 w 9555"/>
                  <a:gd name="T59" fmla="*/ 4063 h 4158"/>
                  <a:gd name="T60" fmla="*/ 2535 w 9555"/>
                  <a:gd name="T61" fmla="*/ 3931 h 4158"/>
                  <a:gd name="T62" fmla="*/ 3024 w 9555"/>
                  <a:gd name="T63" fmla="*/ 2683 h 4158"/>
                  <a:gd name="T64" fmla="*/ 3268 w 9555"/>
                  <a:gd name="T65" fmla="*/ 2216 h 4158"/>
                  <a:gd name="T66" fmla="*/ 3492 w 9555"/>
                  <a:gd name="T67" fmla="*/ 2081 h 4158"/>
                  <a:gd name="T68" fmla="*/ 3878 w 9555"/>
                  <a:gd name="T69" fmla="*/ 2202 h 4158"/>
                  <a:gd name="T70" fmla="*/ 4848 w 9555"/>
                  <a:gd name="T71" fmla="*/ 2798 h 4158"/>
                  <a:gd name="T72" fmla="*/ 5576 w 9555"/>
                  <a:gd name="T73" fmla="*/ 3122 h 4158"/>
                  <a:gd name="T74" fmla="*/ 6449 w 9555"/>
                  <a:gd name="T75" fmla="*/ 3201 h 4158"/>
                  <a:gd name="T76" fmla="*/ 7384 w 9555"/>
                  <a:gd name="T77" fmla="*/ 3106 h 4158"/>
                  <a:gd name="T78" fmla="*/ 7994 w 9555"/>
                  <a:gd name="T79" fmla="*/ 2909 h 4158"/>
                  <a:gd name="T80" fmla="*/ 8348 w 9555"/>
                  <a:gd name="T81" fmla="*/ 2889 h 4158"/>
                  <a:gd name="T82" fmla="*/ 8801 w 9555"/>
                  <a:gd name="T83" fmla="*/ 3183 h 4158"/>
                  <a:gd name="T84" fmla="*/ 9437 w 9555"/>
                  <a:gd name="T85" fmla="*/ 3542 h 4158"/>
                  <a:gd name="T86" fmla="*/ 9528 w 9555"/>
                  <a:gd name="T87" fmla="*/ 3046 h 4158"/>
                  <a:gd name="T88" fmla="*/ 9391 w 9555"/>
                  <a:gd name="T89" fmla="*/ 2446 h 4158"/>
                  <a:gd name="T90" fmla="*/ 8888 w 9555"/>
                  <a:gd name="T91" fmla="*/ 1517 h 4158"/>
                  <a:gd name="T92" fmla="*/ 8060 w 9555"/>
                  <a:gd name="T93" fmla="*/ 823 h 4158"/>
                  <a:gd name="T94" fmla="*/ 7237 w 9555"/>
                  <a:gd name="T95" fmla="*/ 588 h 4158"/>
                  <a:gd name="T96" fmla="*/ 6868 w 9555"/>
                  <a:gd name="T97" fmla="*/ 635 h 4158"/>
                  <a:gd name="T98" fmla="*/ 6477 w 9555"/>
                  <a:gd name="T99" fmla="*/ 550 h 4158"/>
                  <a:gd name="T100" fmla="*/ 6014 w 9555"/>
                  <a:gd name="T101" fmla="*/ 426 h 4158"/>
                  <a:gd name="T102" fmla="*/ 5003 w 9555"/>
                  <a:gd name="T103" fmla="*/ 395 h 4158"/>
                  <a:gd name="T104" fmla="*/ 4349 w 9555"/>
                  <a:gd name="T105" fmla="*/ 246 h 4158"/>
                  <a:gd name="T106" fmla="*/ 3884 w 9555"/>
                  <a:gd name="T107" fmla="*/ 76 h 4158"/>
                  <a:gd name="T108" fmla="*/ 3060 w 9555"/>
                  <a:gd name="T109" fmla="*/ 44 h 4158"/>
                  <a:gd name="T110" fmla="*/ 2044 w 9555"/>
                  <a:gd name="T111" fmla="*/ 450 h 4158"/>
                  <a:gd name="T112" fmla="*/ 1631 w 9555"/>
                  <a:gd name="T113" fmla="*/ 1007 h 4158"/>
                  <a:gd name="T114" fmla="*/ 1243 w 9555"/>
                  <a:gd name="T115" fmla="*/ 2018 h 4158"/>
                  <a:gd name="T116" fmla="*/ 895 w 9555"/>
                  <a:gd name="T117" fmla="*/ 2796 h 4158"/>
                  <a:gd name="T118" fmla="*/ 168 w 9555"/>
                  <a:gd name="T119" fmla="*/ 3884 h 4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55" h="4158">
                    <a:moveTo>
                      <a:pt x="0" y="4158"/>
                    </a:moveTo>
                    <a:lnTo>
                      <a:pt x="9" y="4140"/>
                    </a:lnTo>
                    <a:lnTo>
                      <a:pt x="18" y="4122"/>
                    </a:lnTo>
                    <a:lnTo>
                      <a:pt x="25" y="4103"/>
                    </a:lnTo>
                    <a:lnTo>
                      <a:pt x="34" y="4085"/>
                    </a:lnTo>
                    <a:lnTo>
                      <a:pt x="44" y="4062"/>
                    </a:lnTo>
                    <a:lnTo>
                      <a:pt x="54" y="4038"/>
                    </a:lnTo>
                    <a:lnTo>
                      <a:pt x="66" y="4013"/>
                    </a:lnTo>
                    <a:lnTo>
                      <a:pt x="79" y="3987"/>
                    </a:lnTo>
                    <a:lnTo>
                      <a:pt x="92" y="3960"/>
                    </a:lnTo>
                    <a:lnTo>
                      <a:pt x="108" y="3932"/>
                    </a:lnTo>
                    <a:lnTo>
                      <a:pt x="125" y="3902"/>
                    </a:lnTo>
                    <a:lnTo>
                      <a:pt x="144" y="3871"/>
                    </a:lnTo>
                    <a:lnTo>
                      <a:pt x="186" y="3803"/>
                    </a:lnTo>
                    <a:lnTo>
                      <a:pt x="233" y="3729"/>
                    </a:lnTo>
                    <a:lnTo>
                      <a:pt x="285" y="3651"/>
                    </a:lnTo>
                    <a:lnTo>
                      <a:pt x="341" y="3569"/>
                    </a:lnTo>
                    <a:lnTo>
                      <a:pt x="402" y="3481"/>
                    </a:lnTo>
                    <a:lnTo>
                      <a:pt x="465" y="3392"/>
                    </a:lnTo>
                    <a:lnTo>
                      <a:pt x="514" y="3319"/>
                    </a:lnTo>
                    <a:lnTo>
                      <a:pt x="565" y="3246"/>
                    </a:lnTo>
                    <a:lnTo>
                      <a:pt x="616" y="3170"/>
                    </a:lnTo>
                    <a:lnTo>
                      <a:pt x="669" y="3094"/>
                    </a:lnTo>
                    <a:lnTo>
                      <a:pt x="720" y="3017"/>
                    </a:lnTo>
                    <a:lnTo>
                      <a:pt x="771" y="2938"/>
                    </a:lnTo>
                    <a:lnTo>
                      <a:pt x="822" y="2860"/>
                    </a:lnTo>
                    <a:lnTo>
                      <a:pt x="872" y="2783"/>
                    </a:lnTo>
                    <a:lnTo>
                      <a:pt x="919" y="2705"/>
                    </a:lnTo>
                    <a:lnTo>
                      <a:pt x="966" y="2628"/>
                    </a:lnTo>
                    <a:lnTo>
                      <a:pt x="1009" y="2552"/>
                    </a:lnTo>
                    <a:lnTo>
                      <a:pt x="1050" y="2477"/>
                    </a:lnTo>
                    <a:lnTo>
                      <a:pt x="1068" y="2442"/>
                    </a:lnTo>
                    <a:lnTo>
                      <a:pt x="1087" y="2405"/>
                    </a:lnTo>
                    <a:lnTo>
                      <a:pt x="1105" y="2369"/>
                    </a:lnTo>
                    <a:lnTo>
                      <a:pt x="1121" y="2335"/>
                    </a:lnTo>
                    <a:lnTo>
                      <a:pt x="1136" y="2300"/>
                    </a:lnTo>
                    <a:lnTo>
                      <a:pt x="1151" y="2266"/>
                    </a:lnTo>
                    <a:lnTo>
                      <a:pt x="1164" y="2233"/>
                    </a:lnTo>
                    <a:lnTo>
                      <a:pt x="1177" y="2201"/>
                    </a:lnTo>
                    <a:lnTo>
                      <a:pt x="1197" y="2104"/>
                    </a:lnTo>
                    <a:lnTo>
                      <a:pt x="1218" y="2011"/>
                    </a:lnTo>
                    <a:lnTo>
                      <a:pt x="1241" y="1919"/>
                    </a:lnTo>
                    <a:lnTo>
                      <a:pt x="1265" y="1832"/>
                    </a:lnTo>
                    <a:lnTo>
                      <a:pt x="1290" y="1746"/>
                    </a:lnTo>
                    <a:lnTo>
                      <a:pt x="1317" y="1663"/>
                    </a:lnTo>
                    <a:lnTo>
                      <a:pt x="1344" y="1583"/>
                    </a:lnTo>
                    <a:lnTo>
                      <a:pt x="1372" y="1507"/>
                    </a:lnTo>
                    <a:lnTo>
                      <a:pt x="1401" y="1432"/>
                    </a:lnTo>
                    <a:lnTo>
                      <a:pt x="1430" y="1361"/>
                    </a:lnTo>
                    <a:lnTo>
                      <a:pt x="1460" y="1292"/>
                    </a:lnTo>
                    <a:lnTo>
                      <a:pt x="1489" y="1226"/>
                    </a:lnTo>
                    <a:lnTo>
                      <a:pt x="1520" y="1164"/>
                    </a:lnTo>
                    <a:lnTo>
                      <a:pt x="1550" y="1104"/>
                    </a:lnTo>
                    <a:lnTo>
                      <a:pt x="1579" y="1047"/>
                    </a:lnTo>
                    <a:lnTo>
                      <a:pt x="1608" y="993"/>
                    </a:lnTo>
                    <a:lnTo>
                      <a:pt x="1637" y="942"/>
                    </a:lnTo>
                    <a:lnTo>
                      <a:pt x="1665" y="894"/>
                    </a:lnTo>
                    <a:lnTo>
                      <a:pt x="1692" y="849"/>
                    </a:lnTo>
                    <a:lnTo>
                      <a:pt x="1718" y="807"/>
                    </a:lnTo>
                    <a:lnTo>
                      <a:pt x="1744" y="768"/>
                    </a:lnTo>
                    <a:lnTo>
                      <a:pt x="1768" y="733"/>
                    </a:lnTo>
                    <a:lnTo>
                      <a:pt x="1791" y="700"/>
                    </a:lnTo>
                    <a:lnTo>
                      <a:pt x="1811" y="670"/>
                    </a:lnTo>
                    <a:lnTo>
                      <a:pt x="1848" y="621"/>
                    </a:lnTo>
                    <a:lnTo>
                      <a:pt x="1877" y="584"/>
                    </a:lnTo>
                    <a:lnTo>
                      <a:pt x="1896" y="560"/>
                    </a:lnTo>
                    <a:lnTo>
                      <a:pt x="1906" y="548"/>
                    </a:lnTo>
                    <a:lnTo>
                      <a:pt x="1964" y="487"/>
                    </a:lnTo>
                    <a:lnTo>
                      <a:pt x="2026" y="429"/>
                    </a:lnTo>
                    <a:lnTo>
                      <a:pt x="2090" y="377"/>
                    </a:lnTo>
                    <a:lnTo>
                      <a:pt x="2157" y="328"/>
                    </a:lnTo>
                    <a:lnTo>
                      <a:pt x="2226" y="284"/>
                    </a:lnTo>
                    <a:lnTo>
                      <a:pt x="2297" y="244"/>
                    </a:lnTo>
                    <a:lnTo>
                      <a:pt x="2369" y="206"/>
                    </a:lnTo>
                    <a:lnTo>
                      <a:pt x="2444" y="173"/>
                    </a:lnTo>
                    <a:lnTo>
                      <a:pt x="2519" y="143"/>
                    </a:lnTo>
                    <a:lnTo>
                      <a:pt x="2595" y="116"/>
                    </a:lnTo>
                    <a:lnTo>
                      <a:pt x="2672" y="94"/>
                    </a:lnTo>
                    <a:lnTo>
                      <a:pt x="2749" y="73"/>
                    </a:lnTo>
                    <a:lnTo>
                      <a:pt x="2827" y="55"/>
                    </a:lnTo>
                    <a:lnTo>
                      <a:pt x="2904" y="41"/>
                    </a:lnTo>
                    <a:lnTo>
                      <a:pt x="2981" y="28"/>
                    </a:lnTo>
                    <a:lnTo>
                      <a:pt x="3057" y="18"/>
                    </a:lnTo>
                    <a:lnTo>
                      <a:pt x="3132" y="11"/>
                    </a:lnTo>
                    <a:lnTo>
                      <a:pt x="3205" y="5"/>
                    </a:lnTo>
                    <a:lnTo>
                      <a:pt x="3277" y="2"/>
                    </a:lnTo>
                    <a:lnTo>
                      <a:pt x="3349" y="0"/>
                    </a:lnTo>
                    <a:lnTo>
                      <a:pt x="3417" y="0"/>
                    </a:lnTo>
                    <a:lnTo>
                      <a:pt x="3483" y="2"/>
                    </a:lnTo>
                    <a:lnTo>
                      <a:pt x="3545" y="4"/>
                    </a:lnTo>
                    <a:lnTo>
                      <a:pt x="3606" y="8"/>
                    </a:lnTo>
                    <a:lnTo>
                      <a:pt x="3663" y="14"/>
                    </a:lnTo>
                    <a:lnTo>
                      <a:pt x="3717" y="19"/>
                    </a:lnTo>
                    <a:lnTo>
                      <a:pt x="3767" y="27"/>
                    </a:lnTo>
                    <a:lnTo>
                      <a:pt x="3813" y="34"/>
                    </a:lnTo>
                    <a:lnTo>
                      <a:pt x="3855" y="42"/>
                    </a:lnTo>
                    <a:lnTo>
                      <a:pt x="3892" y="51"/>
                    </a:lnTo>
                    <a:lnTo>
                      <a:pt x="3924" y="59"/>
                    </a:lnTo>
                    <a:lnTo>
                      <a:pt x="3951" y="68"/>
                    </a:lnTo>
                    <a:lnTo>
                      <a:pt x="3972" y="74"/>
                    </a:lnTo>
                    <a:lnTo>
                      <a:pt x="3993" y="82"/>
                    </a:lnTo>
                    <a:lnTo>
                      <a:pt x="4015" y="91"/>
                    </a:lnTo>
                    <a:lnTo>
                      <a:pt x="4038" y="99"/>
                    </a:lnTo>
                    <a:lnTo>
                      <a:pt x="4061" y="108"/>
                    </a:lnTo>
                    <a:lnTo>
                      <a:pt x="4085" y="116"/>
                    </a:lnTo>
                    <a:lnTo>
                      <a:pt x="4109" y="126"/>
                    </a:lnTo>
                    <a:lnTo>
                      <a:pt x="4134" y="136"/>
                    </a:lnTo>
                    <a:lnTo>
                      <a:pt x="4186" y="156"/>
                    </a:lnTo>
                    <a:lnTo>
                      <a:pt x="4241" y="177"/>
                    </a:lnTo>
                    <a:lnTo>
                      <a:pt x="4298" y="198"/>
                    </a:lnTo>
                    <a:lnTo>
                      <a:pt x="4357" y="220"/>
                    </a:lnTo>
                    <a:lnTo>
                      <a:pt x="4418" y="241"/>
                    </a:lnTo>
                    <a:lnTo>
                      <a:pt x="4479" y="262"/>
                    </a:lnTo>
                    <a:lnTo>
                      <a:pt x="4542" y="282"/>
                    </a:lnTo>
                    <a:lnTo>
                      <a:pt x="4607" y="300"/>
                    </a:lnTo>
                    <a:lnTo>
                      <a:pt x="4671" y="316"/>
                    </a:lnTo>
                    <a:lnTo>
                      <a:pt x="4737" y="331"/>
                    </a:lnTo>
                    <a:lnTo>
                      <a:pt x="4771" y="339"/>
                    </a:lnTo>
                    <a:lnTo>
                      <a:pt x="4804" y="344"/>
                    </a:lnTo>
                    <a:lnTo>
                      <a:pt x="4837" y="351"/>
                    </a:lnTo>
                    <a:lnTo>
                      <a:pt x="4870" y="355"/>
                    </a:lnTo>
                    <a:lnTo>
                      <a:pt x="4904" y="359"/>
                    </a:lnTo>
                    <a:lnTo>
                      <a:pt x="4937" y="363"/>
                    </a:lnTo>
                    <a:lnTo>
                      <a:pt x="4971" y="366"/>
                    </a:lnTo>
                    <a:lnTo>
                      <a:pt x="5004" y="368"/>
                    </a:lnTo>
                    <a:lnTo>
                      <a:pt x="5038" y="369"/>
                    </a:lnTo>
                    <a:lnTo>
                      <a:pt x="5070" y="369"/>
                    </a:lnTo>
                    <a:lnTo>
                      <a:pt x="5103" y="368"/>
                    </a:lnTo>
                    <a:lnTo>
                      <a:pt x="5137" y="367"/>
                    </a:lnTo>
                    <a:lnTo>
                      <a:pt x="5218" y="363"/>
                    </a:lnTo>
                    <a:lnTo>
                      <a:pt x="5304" y="360"/>
                    </a:lnTo>
                    <a:lnTo>
                      <a:pt x="5392" y="359"/>
                    </a:lnTo>
                    <a:lnTo>
                      <a:pt x="5482" y="360"/>
                    </a:lnTo>
                    <a:lnTo>
                      <a:pt x="5574" y="363"/>
                    </a:lnTo>
                    <a:lnTo>
                      <a:pt x="5666" y="367"/>
                    </a:lnTo>
                    <a:lnTo>
                      <a:pt x="5757" y="372"/>
                    </a:lnTo>
                    <a:lnTo>
                      <a:pt x="5847" y="380"/>
                    </a:lnTo>
                    <a:lnTo>
                      <a:pt x="5935" y="390"/>
                    </a:lnTo>
                    <a:lnTo>
                      <a:pt x="6020" y="399"/>
                    </a:lnTo>
                    <a:lnTo>
                      <a:pt x="6060" y="406"/>
                    </a:lnTo>
                    <a:lnTo>
                      <a:pt x="6100" y="412"/>
                    </a:lnTo>
                    <a:lnTo>
                      <a:pt x="6139" y="419"/>
                    </a:lnTo>
                    <a:lnTo>
                      <a:pt x="6177" y="425"/>
                    </a:lnTo>
                    <a:lnTo>
                      <a:pt x="6212" y="433"/>
                    </a:lnTo>
                    <a:lnTo>
                      <a:pt x="6248" y="441"/>
                    </a:lnTo>
                    <a:lnTo>
                      <a:pt x="6280" y="449"/>
                    </a:lnTo>
                    <a:lnTo>
                      <a:pt x="6312" y="458"/>
                    </a:lnTo>
                    <a:lnTo>
                      <a:pt x="6342" y="467"/>
                    </a:lnTo>
                    <a:lnTo>
                      <a:pt x="6369" y="476"/>
                    </a:lnTo>
                    <a:lnTo>
                      <a:pt x="6395" y="486"/>
                    </a:lnTo>
                    <a:lnTo>
                      <a:pt x="6419" y="496"/>
                    </a:lnTo>
                    <a:lnTo>
                      <a:pt x="6452" y="512"/>
                    </a:lnTo>
                    <a:lnTo>
                      <a:pt x="6488" y="526"/>
                    </a:lnTo>
                    <a:lnTo>
                      <a:pt x="6522" y="539"/>
                    </a:lnTo>
                    <a:lnTo>
                      <a:pt x="6559" y="550"/>
                    </a:lnTo>
                    <a:lnTo>
                      <a:pt x="6596" y="561"/>
                    </a:lnTo>
                    <a:lnTo>
                      <a:pt x="6634" y="572"/>
                    </a:lnTo>
                    <a:lnTo>
                      <a:pt x="6671" y="581"/>
                    </a:lnTo>
                    <a:lnTo>
                      <a:pt x="6710" y="589"/>
                    </a:lnTo>
                    <a:lnTo>
                      <a:pt x="6764" y="598"/>
                    </a:lnTo>
                    <a:lnTo>
                      <a:pt x="6808" y="604"/>
                    </a:lnTo>
                    <a:lnTo>
                      <a:pt x="6841" y="608"/>
                    </a:lnTo>
                    <a:lnTo>
                      <a:pt x="6859" y="609"/>
                    </a:lnTo>
                    <a:lnTo>
                      <a:pt x="6871" y="603"/>
                    </a:lnTo>
                    <a:lnTo>
                      <a:pt x="6891" y="596"/>
                    </a:lnTo>
                    <a:lnTo>
                      <a:pt x="6919" y="587"/>
                    </a:lnTo>
                    <a:lnTo>
                      <a:pt x="6954" y="577"/>
                    </a:lnTo>
                    <a:lnTo>
                      <a:pt x="6975" y="573"/>
                    </a:lnTo>
                    <a:lnTo>
                      <a:pt x="6998" y="569"/>
                    </a:lnTo>
                    <a:lnTo>
                      <a:pt x="7023" y="565"/>
                    </a:lnTo>
                    <a:lnTo>
                      <a:pt x="7050" y="562"/>
                    </a:lnTo>
                    <a:lnTo>
                      <a:pt x="7081" y="559"/>
                    </a:lnTo>
                    <a:lnTo>
                      <a:pt x="7112" y="558"/>
                    </a:lnTo>
                    <a:lnTo>
                      <a:pt x="7145" y="557"/>
                    </a:lnTo>
                    <a:lnTo>
                      <a:pt x="7182" y="557"/>
                    </a:lnTo>
                    <a:lnTo>
                      <a:pt x="7220" y="558"/>
                    </a:lnTo>
                    <a:lnTo>
                      <a:pt x="7261" y="561"/>
                    </a:lnTo>
                    <a:lnTo>
                      <a:pt x="7303" y="564"/>
                    </a:lnTo>
                    <a:lnTo>
                      <a:pt x="7348" y="570"/>
                    </a:lnTo>
                    <a:lnTo>
                      <a:pt x="7396" y="577"/>
                    </a:lnTo>
                    <a:lnTo>
                      <a:pt x="7446" y="586"/>
                    </a:lnTo>
                    <a:lnTo>
                      <a:pt x="7497" y="597"/>
                    </a:lnTo>
                    <a:lnTo>
                      <a:pt x="7551" y="610"/>
                    </a:lnTo>
                    <a:lnTo>
                      <a:pt x="7608" y="625"/>
                    </a:lnTo>
                    <a:lnTo>
                      <a:pt x="7667" y="642"/>
                    </a:lnTo>
                    <a:lnTo>
                      <a:pt x="7728" y="662"/>
                    </a:lnTo>
                    <a:lnTo>
                      <a:pt x="7792" y="683"/>
                    </a:lnTo>
                    <a:lnTo>
                      <a:pt x="7858" y="708"/>
                    </a:lnTo>
                    <a:lnTo>
                      <a:pt x="7926" y="735"/>
                    </a:lnTo>
                    <a:lnTo>
                      <a:pt x="7997" y="765"/>
                    </a:lnTo>
                    <a:lnTo>
                      <a:pt x="8071" y="799"/>
                    </a:lnTo>
                    <a:lnTo>
                      <a:pt x="8142" y="834"/>
                    </a:lnTo>
                    <a:lnTo>
                      <a:pt x="8211" y="871"/>
                    </a:lnTo>
                    <a:lnTo>
                      <a:pt x="8278" y="912"/>
                    </a:lnTo>
                    <a:lnTo>
                      <a:pt x="8344" y="955"/>
                    </a:lnTo>
                    <a:lnTo>
                      <a:pt x="8408" y="1001"/>
                    </a:lnTo>
                    <a:lnTo>
                      <a:pt x="8470" y="1048"/>
                    </a:lnTo>
                    <a:lnTo>
                      <a:pt x="8531" y="1098"/>
                    </a:lnTo>
                    <a:lnTo>
                      <a:pt x="8590" y="1149"/>
                    </a:lnTo>
                    <a:lnTo>
                      <a:pt x="8647" y="1203"/>
                    </a:lnTo>
                    <a:lnTo>
                      <a:pt x="8702" y="1260"/>
                    </a:lnTo>
                    <a:lnTo>
                      <a:pt x="8756" y="1317"/>
                    </a:lnTo>
                    <a:lnTo>
                      <a:pt x="8809" y="1376"/>
                    </a:lnTo>
                    <a:lnTo>
                      <a:pt x="8859" y="1437"/>
                    </a:lnTo>
                    <a:lnTo>
                      <a:pt x="8909" y="1498"/>
                    </a:lnTo>
                    <a:lnTo>
                      <a:pt x="8955" y="1562"/>
                    </a:lnTo>
                    <a:lnTo>
                      <a:pt x="9002" y="1626"/>
                    </a:lnTo>
                    <a:lnTo>
                      <a:pt x="9045" y="1691"/>
                    </a:lnTo>
                    <a:lnTo>
                      <a:pt x="9087" y="1757"/>
                    </a:lnTo>
                    <a:lnTo>
                      <a:pt x="9128" y="1824"/>
                    </a:lnTo>
                    <a:lnTo>
                      <a:pt x="9167" y="1891"/>
                    </a:lnTo>
                    <a:lnTo>
                      <a:pt x="9203" y="1959"/>
                    </a:lnTo>
                    <a:lnTo>
                      <a:pt x="9239" y="2027"/>
                    </a:lnTo>
                    <a:lnTo>
                      <a:pt x="9273" y="2095"/>
                    </a:lnTo>
                    <a:lnTo>
                      <a:pt x="9305" y="2164"/>
                    </a:lnTo>
                    <a:lnTo>
                      <a:pt x="9335" y="2232"/>
                    </a:lnTo>
                    <a:lnTo>
                      <a:pt x="9364" y="2300"/>
                    </a:lnTo>
                    <a:lnTo>
                      <a:pt x="9391" y="2368"/>
                    </a:lnTo>
                    <a:lnTo>
                      <a:pt x="9416" y="2436"/>
                    </a:lnTo>
                    <a:lnTo>
                      <a:pt x="9440" y="2503"/>
                    </a:lnTo>
                    <a:lnTo>
                      <a:pt x="9463" y="2570"/>
                    </a:lnTo>
                    <a:lnTo>
                      <a:pt x="9482" y="2635"/>
                    </a:lnTo>
                    <a:lnTo>
                      <a:pt x="9501" y="2701"/>
                    </a:lnTo>
                    <a:lnTo>
                      <a:pt x="9510" y="2731"/>
                    </a:lnTo>
                    <a:lnTo>
                      <a:pt x="9518" y="2762"/>
                    </a:lnTo>
                    <a:lnTo>
                      <a:pt x="9524" y="2792"/>
                    </a:lnTo>
                    <a:lnTo>
                      <a:pt x="9531" y="2823"/>
                    </a:lnTo>
                    <a:lnTo>
                      <a:pt x="9536" y="2852"/>
                    </a:lnTo>
                    <a:lnTo>
                      <a:pt x="9540" y="2881"/>
                    </a:lnTo>
                    <a:lnTo>
                      <a:pt x="9545" y="2910"/>
                    </a:lnTo>
                    <a:lnTo>
                      <a:pt x="9548" y="2938"/>
                    </a:lnTo>
                    <a:lnTo>
                      <a:pt x="9552" y="2993"/>
                    </a:lnTo>
                    <a:lnTo>
                      <a:pt x="9555" y="3046"/>
                    </a:lnTo>
                    <a:lnTo>
                      <a:pt x="9555" y="3097"/>
                    </a:lnTo>
                    <a:lnTo>
                      <a:pt x="9554" y="3145"/>
                    </a:lnTo>
                    <a:lnTo>
                      <a:pt x="9551" y="3193"/>
                    </a:lnTo>
                    <a:lnTo>
                      <a:pt x="9547" y="3237"/>
                    </a:lnTo>
                    <a:lnTo>
                      <a:pt x="9540" y="3280"/>
                    </a:lnTo>
                    <a:lnTo>
                      <a:pt x="9534" y="3320"/>
                    </a:lnTo>
                    <a:lnTo>
                      <a:pt x="9525" y="3359"/>
                    </a:lnTo>
                    <a:lnTo>
                      <a:pt x="9517" y="3395"/>
                    </a:lnTo>
                    <a:lnTo>
                      <a:pt x="9507" y="3429"/>
                    </a:lnTo>
                    <a:lnTo>
                      <a:pt x="9497" y="3461"/>
                    </a:lnTo>
                    <a:lnTo>
                      <a:pt x="9485" y="3496"/>
                    </a:lnTo>
                    <a:lnTo>
                      <a:pt x="9472" y="3527"/>
                    </a:lnTo>
                    <a:lnTo>
                      <a:pt x="9462" y="3553"/>
                    </a:lnTo>
                    <a:lnTo>
                      <a:pt x="9451" y="3575"/>
                    </a:lnTo>
                    <a:lnTo>
                      <a:pt x="9435" y="3605"/>
                    </a:lnTo>
                    <a:lnTo>
                      <a:pt x="9428" y="3617"/>
                    </a:lnTo>
                    <a:lnTo>
                      <a:pt x="9425" y="3620"/>
                    </a:lnTo>
                    <a:lnTo>
                      <a:pt x="9421" y="3623"/>
                    </a:lnTo>
                    <a:lnTo>
                      <a:pt x="9416" y="3624"/>
                    </a:lnTo>
                    <a:lnTo>
                      <a:pt x="9411" y="3623"/>
                    </a:lnTo>
                    <a:lnTo>
                      <a:pt x="9170" y="3514"/>
                    </a:lnTo>
                    <a:lnTo>
                      <a:pt x="9153" y="3505"/>
                    </a:lnTo>
                    <a:lnTo>
                      <a:pt x="9134" y="3495"/>
                    </a:lnTo>
                    <a:lnTo>
                      <a:pt x="9116" y="3484"/>
                    </a:lnTo>
                    <a:lnTo>
                      <a:pt x="9098" y="3473"/>
                    </a:lnTo>
                    <a:lnTo>
                      <a:pt x="9079" y="3460"/>
                    </a:lnTo>
                    <a:lnTo>
                      <a:pt x="9060" y="3446"/>
                    </a:lnTo>
                    <a:lnTo>
                      <a:pt x="9040" y="3430"/>
                    </a:lnTo>
                    <a:lnTo>
                      <a:pt x="9021" y="3415"/>
                    </a:lnTo>
                    <a:lnTo>
                      <a:pt x="8980" y="3382"/>
                    </a:lnTo>
                    <a:lnTo>
                      <a:pt x="8939" y="3346"/>
                    </a:lnTo>
                    <a:lnTo>
                      <a:pt x="8898" y="3308"/>
                    </a:lnTo>
                    <a:lnTo>
                      <a:pt x="8855" y="3270"/>
                    </a:lnTo>
                    <a:lnTo>
                      <a:pt x="8783" y="3205"/>
                    </a:lnTo>
                    <a:lnTo>
                      <a:pt x="8710" y="3140"/>
                    </a:lnTo>
                    <a:lnTo>
                      <a:pt x="8672" y="3109"/>
                    </a:lnTo>
                    <a:lnTo>
                      <a:pt x="8634" y="3079"/>
                    </a:lnTo>
                    <a:lnTo>
                      <a:pt x="8597" y="3049"/>
                    </a:lnTo>
                    <a:lnTo>
                      <a:pt x="8558" y="3022"/>
                    </a:lnTo>
                    <a:lnTo>
                      <a:pt x="8519" y="2996"/>
                    </a:lnTo>
                    <a:lnTo>
                      <a:pt x="8480" y="2974"/>
                    </a:lnTo>
                    <a:lnTo>
                      <a:pt x="8461" y="2963"/>
                    </a:lnTo>
                    <a:lnTo>
                      <a:pt x="8441" y="2953"/>
                    </a:lnTo>
                    <a:lnTo>
                      <a:pt x="8422" y="2944"/>
                    </a:lnTo>
                    <a:lnTo>
                      <a:pt x="8402" y="2935"/>
                    </a:lnTo>
                    <a:lnTo>
                      <a:pt x="8383" y="2927"/>
                    </a:lnTo>
                    <a:lnTo>
                      <a:pt x="8362" y="2921"/>
                    </a:lnTo>
                    <a:lnTo>
                      <a:pt x="8343" y="2914"/>
                    </a:lnTo>
                    <a:lnTo>
                      <a:pt x="8323" y="2910"/>
                    </a:lnTo>
                    <a:lnTo>
                      <a:pt x="8304" y="2906"/>
                    </a:lnTo>
                    <a:lnTo>
                      <a:pt x="8285" y="2903"/>
                    </a:lnTo>
                    <a:lnTo>
                      <a:pt x="8264" y="2900"/>
                    </a:lnTo>
                    <a:lnTo>
                      <a:pt x="8245" y="2900"/>
                    </a:lnTo>
                    <a:lnTo>
                      <a:pt x="8222" y="2900"/>
                    </a:lnTo>
                    <a:lnTo>
                      <a:pt x="8198" y="2900"/>
                    </a:lnTo>
                    <a:lnTo>
                      <a:pt x="8173" y="2903"/>
                    </a:lnTo>
                    <a:lnTo>
                      <a:pt x="8148" y="2906"/>
                    </a:lnTo>
                    <a:lnTo>
                      <a:pt x="8123" y="2909"/>
                    </a:lnTo>
                    <a:lnTo>
                      <a:pt x="8096" y="2913"/>
                    </a:lnTo>
                    <a:lnTo>
                      <a:pt x="8068" y="2920"/>
                    </a:lnTo>
                    <a:lnTo>
                      <a:pt x="8038" y="2926"/>
                    </a:lnTo>
                    <a:lnTo>
                      <a:pt x="8001" y="2936"/>
                    </a:lnTo>
                    <a:lnTo>
                      <a:pt x="7961" y="2946"/>
                    </a:lnTo>
                    <a:lnTo>
                      <a:pt x="7921" y="2958"/>
                    </a:lnTo>
                    <a:lnTo>
                      <a:pt x="7881" y="2971"/>
                    </a:lnTo>
                    <a:lnTo>
                      <a:pt x="7840" y="2985"/>
                    </a:lnTo>
                    <a:lnTo>
                      <a:pt x="7798" y="2999"/>
                    </a:lnTo>
                    <a:lnTo>
                      <a:pt x="7755" y="3013"/>
                    </a:lnTo>
                    <a:lnTo>
                      <a:pt x="7712" y="3028"/>
                    </a:lnTo>
                    <a:lnTo>
                      <a:pt x="7668" y="3043"/>
                    </a:lnTo>
                    <a:lnTo>
                      <a:pt x="7624" y="3058"/>
                    </a:lnTo>
                    <a:lnTo>
                      <a:pt x="7578" y="3073"/>
                    </a:lnTo>
                    <a:lnTo>
                      <a:pt x="7532" y="3088"/>
                    </a:lnTo>
                    <a:lnTo>
                      <a:pt x="7485" y="3103"/>
                    </a:lnTo>
                    <a:lnTo>
                      <a:pt x="7438" y="3118"/>
                    </a:lnTo>
                    <a:lnTo>
                      <a:pt x="7389" y="3132"/>
                    </a:lnTo>
                    <a:lnTo>
                      <a:pt x="7341" y="3145"/>
                    </a:lnTo>
                    <a:lnTo>
                      <a:pt x="7291" y="3157"/>
                    </a:lnTo>
                    <a:lnTo>
                      <a:pt x="7240" y="3169"/>
                    </a:lnTo>
                    <a:lnTo>
                      <a:pt x="7189" y="3180"/>
                    </a:lnTo>
                    <a:lnTo>
                      <a:pt x="7137" y="3189"/>
                    </a:lnTo>
                    <a:lnTo>
                      <a:pt x="7084" y="3197"/>
                    </a:lnTo>
                    <a:lnTo>
                      <a:pt x="7030" y="3204"/>
                    </a:lnTo>
                    <a:lnTo>
                      <a:pt x="6975" y="3209"/>
                    </a:lnTo>
                    <a:lnTo>
                      <a:pt x="6920" y="3212"/>
                    </a:lnTo>
                    <a:lnTo>
                      <a:pt x="6876" y="3213"/>
                    </a:lnTo>
                    <a:lnTo>
                      <a:pt x="6772" y="3218"/>
                    </a:lnTo>
                    <a:lnTo>
                      <a:pt x="6665" y="3222"/>
                    </a:lnTo>
                    <a:lnTo>
                      <a:pt x="6557" y="3225"/>
                    </a:lnTo>
                    <a:lnTo>
                      <a:pt x="6448" y="3227"/>
                    </a:lnTo>
                    <a:lnTo>
                      <a:pt x="6338" y="3229"/>
                    </a:lnTo>
                    <a:lnTo>
                      <a:pt x="6228" y="3226"/>
                    </a:lnTo>
                    <a:lnTo>
                      <a:pt x="6172" y="3225"/>
                    </a:lnTo>
                    <a:lnTo>
                      <a:pt x="6117" y="3222"/>
                    </a:lnTo>
                    <a:lnTo>
                      <a:pt x="6062" y="3219"/>
                    </a:lnTo>
                    <a:lnTo>
                      <a:pt x="6006" y="3216"/>
                    </a:lnTo>
                    <a:lnTo>
                      <a:pt x="5951" y="3210"/>
                    </a:lnTo>
                    <a:lnTo>
                      <a:pt x="5896" y="3205"/>
                    </a:lnTo>
                    <a:lnTo>
                      <a:pt x="5841" y="3198"/>
                    </a:lnTo>
                    <a:lnTo>
                      <a:pt x="5786" y="3190"/>
                    </a:lnTo>
                    <a:lnTo>
                      <a:pt x="5732" y="3181"/>
                    </a:lnTo>
                    <a:lnTo>
                      <a:pt x="5677" y="3171"/>
                    </a:lnTo>
                    <a:lnTo>
                      <a:pt x="5623" y="3161"/>
                    </a:lnTo>
                    <a:lnTo>
                      <a:pt x="5569" y="3148"/>
                    </a:lnTo>
                    <a:lnTo>
                      <a:pt x="5515" y="3135"/>
                    </a:lnTo>
                    <a:lnTo>
                      <a:pt x="5462" y="3120"/>
                    </a:lnTo>
                    <a:lnTo>
                      <a:pt x="5408" y="3103"/>
                    </a:lnTo>
                    <a:lnTo>
                      <a:pt x="5356" y="3085"/>
                    </a:lnTo>
                    <a:lnTo>
                      <a:pt x="5303" y="3066"/>
                    </a:lnTo>
                    <a:lnTo>
                      <a:pt x="5251" y="3045"/>
                    </a:lnTo>
                    <a:lnTo>
                      <a:pt x="5200" y="3022"/>
                    </a:lnTo>
                    <a:lnTo>
                      <a:pt x="5149" y="2999"/>
                    </a:lnTo>
                    <a:lnTo>
                      <a:pt x="5113" y="2980"/>
                    </a:lnTo>
                    <a:lnTo>
                      <a:pt x="5076" y="2961"/>
                    </a:lnTo>
                    <a:lnTo>
                      <a:pt x="5039" y="2940"/>
                    </a:lnTo>
                    <a:lnTo>
                      <a:pt x="5000" y="2919"/>
                    </a:lnTo>
                    <a:lnTo>
                      <a:pt x="4918" y="2871"/>
                    </a:lnTo>
                    <a:lnTo>
                      <a:pt x="4833" y="2821"/>
                    </a:lnTo>
                    <a:lnTo>
                      <a:pt x="4747" y="2768"/>
                    </a:lnTo>
                    <a:lnTo>
                      <a:pt x="4659" y="2713"/>
                    </a:lnTo>
                    <a:lnTo>
                      <a:pt x="4570" y="2655"/>
                    </a:lnTo>
                    <a:lnTo>
                      <a:pt x="4480" y="2599"/>
                    </a:lnTo>
                    <a:lnTo>
                      <a:pt x="4417" y="2558"/>
                    </a:lnTo>
                    <a:lnTo>
                      <a:pt x="4352" y="2517"/>
                    </a:lnTo>
                    <a:lnTo>
                      <a:pt x="4288" y="2476"/>
                    </a:lnTo>
                    <a:lnTo>
                      <a:pt x="4224" y="2436"/>
                    </a:lnTo>
                    <a:lnTo>
                      <a:pt x="4161" y="2397"/>
                    </a:lnTo>
                    <a:lnTo>
                      <a:pt x="4099" y="2360"/>
                    </a:lnTo>
                    <a:lnTo>
                      <a:pt x="4039" y="2324"/>
                    </a:lnTo>
                    <a:lnTo>
                      <a:pt x="3980" y="2289"/>
                    </a:lnTo>
                    <a:lnTo>
                      <a:pt x="3923" y="2257"/>
                    </a:lnTo>
                    <a:lnTo>
                      <a:pt x="3868" y="2228"/>
                    </a:lnTo>
                    <a:lnTo>
                      <a:pt x="3815" y="2201"/>
                    </a:lnTo>
                    <a:lnTo>
                      <a:pt x="3766" y="2176"/>
                    </a:lnTo>
                    <a:lnTo>
                      <a:pt x="3718" y="2156"/>
                    </a:lnTo>
                    <a:lnTo>
                      <a:pt x="3674" y="2138"/>
                    </a:lnTo>
                    <a:lnTo>
                      <a:pt x="3653" y="2131"/>
                    </a:lnTo>
                    <a:lnTo>
                      <a:pt x="3634" y="2124"/>
                    </a:lnTo>
                    <a:lnTo>
                      <a:pt x="3614" y="2120"/>
                    </a:lnTo>
                    <a:lnTo>
                      <a:pt x="3597" y="2116"/>
                    </a:lnTo>
                    <a:lnTo>
                      <a:pt x="3579" y="2112"/>
                    </a:lnTo>
                    <a:lnTo>
                      <a:pt x="3560" y="2109"/>
                    </a:lnTo>
                    <a:lnTo>
                      <a:pt x="3543" y="2108"/>
                    </a:lnTo>
                    <a:lnTo>
                      <a:pt x="3527" y="2107"/>
                    </a:lnTo>
                    <a:lnTo>
                      <a:pt x="3510" y="2107"/>
                    </a:lnTo>
                    <a:lnTo>
                      <a:pt x="3493" y="2108"/>
                    </a:lnTo>
                    <a:lnTo>
                      <a:pt x="3478" y="2110"/>
                    </a:lnTo>
                    <a:lnTo>
                      <a:pt x="3462" y="2113"/>
                    </a:lnTo>
                    <a:lnTo>
                      <a:pt x="3447" y="2117"/>
                    </a:lnTo>
                    <a:lnTo>
                      <a:pt x="3432" y="2122"/>
                    </a:lnTo>
                    <a:lnTo>
                      <a:pt x="3417" y="2129"/>
                    </a:lnTo>
                    <a:lnTo>
                      <a:pt x="3402" y="2136"/>
                    </a:lnTo>
                    <a:lnTo>
                      <a:pt x="3387" y="2144"/>
                    </a:lnTo>
                    <a:lnTo>
                      <a:pt x="3372" y="2153"/>
                    </a:lnTo>
                    <a:lnTo>
                      <a:pt x="3357" y="2164"/>
                    </a:lnTo>
                    <a:lnTo>
                      <a:pt x="3343" y="2176"/>
                    </a:lnTo>
                    <a:lnTo>
                      <a:pt x="3328" y="2190"/>
                    </a:lnTo>
                    <a:lnTo>
                      <a:pt x="3314" y="2204"/>
                    </a:lnTo>
                    <a:lnTo>
                      <a:pt x="3299" y="2220"/>
                    </a:lnTo>
                    <a:lnTo>
                      <a:pt x="3284" y="2237"/>
                    </a:lnTo>
                    <a:lnTo>
                      <a:pt x="3270" y="2255"/>
                    </a:lnTo>
                    <a:lnTo>
                      <a:pt x="3255" y="2275"/>
                    </a:lnTo>
                    <a:lnTo>
                      <a:pt x="3240" y="2296"/>
                    </a:lnTo>
                    <a:lnTo>
                      <a:pt x="3223" y="2319"/>
                    </a:lnTo>
                    <a:lnTo>
                      <a:pt x="3192" y="2368"/>
                    </a:lnTo>
                    <a:lnTo>
                      <a:pt x="3159" y="2424"/>
                    </a:lnTo>
                    <a:lnTo>
                      <a:pt x="3125" y="2486"/>
                    </a:lnTo>
                    <a:lnTo>
                      <a:pt x="3088" y="2554"/>
                    </a:lnTo>
                    <a:lnTo>
                      <a:pt x="3072" y="2618"/>
                    </a:lnTo>
                    <a:lnTo>
                      <a:pt x="3050" y="2693"/>
                    </a:lnTo>
                    <a:lnTo>
                      <a:pt x="3023" y="2780"/>
                    </a:lnTo>
                    <a:lnTo>
                      <a:pt x="2991" y="2875"/>
                    </a:lnTo>
                    <a:lnTo>
                      <a:pt x="2956" y="2977"/>
                    </a:lnTo>
                    <a:lnTo>
                      <a:pt x="2917" y="3085"/>
                    </a:lnTo>
                    <a:lnTo>
                      <a:pt x="2876" y="3197"/>
                    </a:lnTo>
                    <a:lnTo>
                      <a:pt x="2833" y="3312"/>
                    </a:lnTo>
                    <a:lnTo>
                      <a:pt x="2787" y="3426"/>
                    </a:lnTo>
                    <a:lnTo>
                      <a:pt x="2741" y="3539"/>
                    </a:lnTo>
                    <a:lnTo>
                      <a:pt x="2694" y="3650"/>
                    </a:lnTo>
                    <a:lnTo>
                      <a:pt x="2648" y="3755"/>
                    </a:lnTo>
                    <a:lnTo>
                      <a:pt x="2625" y="3805"/>
                    </a:lnTo>
                    <a:lnTo>
                      <a:pt x="2603" y="3855"/>
                    </a:lnTo>
                    <a:lnTo>
                      <a:pt x="2580" y="3901"/>
                    </a:lnTo>
                    <a:lnTo>
                      <a:pt x="2558" y="3945"/>
                    </a:lnTo>
                    <a:lnTo>
                      <a:pt x="2536" y="3987"/>
                    </a:lnTo>
                    <a:lnTo>
                      <a:pt x="2515" y="4026"/>
                    </a:lnTo>
                    <a:lnTo>
                      <a:pt x="2495" y="4063"/>
                    </a:lnTo>
                    <a:lnTo>
                      <a:pt x="2474" y="4096"/>
                    </a:lnTo>
                    <a:lnTo>
                      <a:pt x="2464" y="4112"/>
                    </a:lnTo>
                    <a:lnTo>
                      <a:pt x="2455" y="4127"/>
                    </a:lnTo>
                    <a:lnTo>
                      <a:pt x="2444" y="4142"/>
                    </a:lnTo>
                    <a:lnTo>
                      <a:pt x="2432" y="4158"/>
                    </a:lnTo>
                    <a:lnTo>
                      <a:pt x="2398" y="4158"/>
                    </a:lnTo>
                    <a:lnTo>
                      <a:pt x="2414" y="4139"/>
                    </a:lnTo>
                    <a:lnTo>
                      <a:pt x="2428" y="4119"/>
                    </a:lnTo>
                    <a:lnTo>
                      <a:pt x="2440" y="4101"/>
                    </a:lnTo>
                    <a:lnTo>
                      <a:pt x="2451" y="4082"/>
                    </a:lnTo>
                    <a:lnTo>
                      <a:pt x="2471" y="4049"/>
                    </a:lnTo>
                    <a:lnTo>
                      <a:pt x="2491" y="4012"/>
                    </a:lnTo>
                    <a:lnTo>
                      <a:pt x="2513" y="3973"/>
                    </a:lnTo>
                    <a:lnTo>
                      <a:pt x="2535" y="3931"/>
                    </a:lnTo>
                    <a:lnTo>
                      <a:pt x="2556" y="3887"/>
                    </a:lnTo>
                    <a:lnTo>
                      <a:pt x="2579" y="3841"/>
                    </a:lnTo>
                    <a:lnTo>
                      <a:pt x="2601" y="3792"/>
                    </a:lnTo>
                    <a:lnTo>
                      <a:pt x="2624" y="3742"/>
                    </a:lnTo>
                    <a:lnTo>
                      <a:pt x="2671" y="3637"/>
                    </a:lnTo>
                    <a:lnTo>
                      <a:pt x="2717" y="3527"/>
                    </a:lnTo>
                    <a:lnTo>
                      <a:pt x="2763" y="3414"/>
                    </a:lnTo>
                    <a:lnTo>
                      <a:pt x="2808" y="3300"/>
                    </a:lnTo>
                    <a:lnTo>
                      <a:pt x="2851" y="3185"/>
                    </a:lnTo>
                    <a:lnTo>
                      <a:pt x="2892" y="3074"/>
                    </a:lnTo>
                    <a:lnTo>
                      <a:pt x="2931" y="2966"/>
                    </a:lnTo>
                    <a:lnTo>
                      <a:pt x="2965" y="2865"/>
                    </a:lnTo>
                    <a:lnTo>
                      <a:pt x="2997" y="2770"/>
                    </a:lnTo>
                    <a:lnTo>
                      <a:pt x="3024" y="2683"/>
                    </a:lnTo>
                    <a:lnTo>
                      <a:pt x="3046" y="2609"/>
                    </a:lnTo>
                    <a:lnTo>
                      <a:pt x="3063" y="2545"/>
                    </a:lnTo>
                    <a:lnTo>
                      <a:pt x="3064" y="2544"/>
                    </a:lnTo>
                    <a:lnTo>
                      <a:pt x="3064" y="2543"/>
                    </a:lnTo>
                    <a:lnTo>
                      <a:pt x="3101" y="2473"/>
                    </a:lnTo>
                    <a:lnTo>
                      <a:pt x="3137" y="2409"/>
                    </a:lnTo>
                    <a:lnTo>
                      <a:pt x="3154" y="2380"/>
                    </a:lnTo>
                    <a:lnTo>
                      <a:pt x="3171" y="2352"/>
                    </a:lnTo>
                    <a:lnTo>
                      <a:pt x="3188" y="2325"/>
                    </a:lnTo>
                    <a:lnTo>
                      <a:pt x="3204" y="2300"/>
                    </a:lnTo>
                    <a:lnTo>
                      <a:pt x="3220" y="2278"/>
                    </a:lnTo>
                    <a:lnTo>
                      <a:pt x="3236" y="2255"/>
                    </a:lnTo>
                    <a:lnTo>
                      <a:pt x="3253" y="2234"/>
                    </a:lnTo>
                    <a:lnTo>
                      <a:pt x="3268" y="2216"/>
                    </a:lnTo>
                    <a:lnTo>
                      <a:pt x="3284" y="2198"/>
                    </a:lnTo>
                    <a:lnTo>
                      <a:pt x="3299" y="2181"/>
                    </a:lnTo>
                    <a:lnTo>
                      <a:pt x="3315" y="2166"/>
                    </a:lnTo>
                    <a:lnTo>
                      <a:pt x="3330" y="2152"/>
                    </a:lnTo>
                    <a:lnTo>
                      <a:pt x="3345" y="2140"/>
                    </a:lnTo>
                    <a:lnTo>
                      <a:pt x="3362" y="2129"/>
                    </a:lnTo>
                    <a:lnTo>
                      <a:pt x="3377" y="2119"/>
                    </a:lnTo>
                    <a:lnTo>
                      <a:pt x="3393" y="2110"/>
                    </a:lnTo>
                    <a:lnTo>
                      <a:pt x="3409" y="2103"/>
                    </a:lnTo>
                    <a:lnTo>
                      <a:pt x="3425" y="2096"/>
                    </a:lnTo>
                    <a:lnTo>
                      <a:pt x="3442" y="2091"/>
                    </a:lnTo>
                    <a:lnTo>
                      <a:pt x="3458" y="2086"/>
                    </a:lnTo>
                    <a:lnTo>
                      <a:pt x="3475" y="2083"/>
                    </a:lnTo>
                    <a:lnTo>
                      <a:pt x="3492" y="2081"/>
                    </a:lnTo>
                    <a:lnTo>
                      <a:pt x="3510" y="2080"/>
                    </a:lnTo>
                    <a:lnTo>
                      <a:pt x="3527" y="2080"/>
                    </a:lnTo>
                    <a:lnTo>
                      <a:pt x="3545" y="2081"/>
                    </a:lnTo>
                    <a:lnTo>
                      <a:pt x="3564" y="2082"/>
                    </a:lnTo>
                    <a:lnTo>
                      <a:pt x="3583" y="2085"/>
                    </a:lnTo>
                    <a:lnTo>
                      <a:pt x="3602" y="2089"/>
                    </a:lnTo>
                    <a:lnTo>
                      <a:pt x="3621" y="2093"/>
                    </a:lnTo>
                    <a:lnTo>
                      <a:pt x="3640" y="2098"/>
                    </a:lnTo>
                    <a:lnTo>
                      <a:pt x="3660" y="2105"/>
                    </a:lnTo>
                    <a:lnTo>
                      <a:pt x="3681" y="2112"/>
                    </a:lnTo>
                    <a:lnTo>
                      <a:pt x="3726" y="2130"/>
                    </a:lnTo>
                    <a:lnTo>
                      <a:pt x="3774" y="2151"/>
                    </a:lnTo>
                    <a:lnTo>
                      <a:pt x="3825" y="2175"/>
                    </a:lnTo>
                    <a:lnTo>
                      <a:pt x="3878" y="2202"/>
                    </a:lnTo>
                    <a:lnTo>
                      <a:pt x="3933" y="2232"/>
                    </a:lnTo>
                    <a:lnTo>
                      <a:pt x="3991" y="2265"/>
                    </a:lnTo>
                    <a:lnTo>
                      <a:pt x="4051" y="2299"/>
                    </a:lnTo>
                    <a:lnTo>
                      <a:pt x="4111" y="2336"/>
                    </a:lnTo>
                    <a:lnTo>
                      <a:pt x="4174" y="2374"/>
                    </a:lnTo>
                    <a:lnTo>
                      <a:pt x="4237" y="2412"/>
                    </a:lnTo>
                    <a:lnTo>
                      <a:pt x="4301" y="2452"/>
                    </a:lnTo>
                    <a:lnTo>
                      <a:pt x="4366" y="2493"/>
                    </a:lnTo>
                    <a:lnTo>
                      <a:pt x="4431" y="2534"/>
                    </a:lnTo>
                    <a:lnTo>
                      <a:pt x="4495" y="2577"/>
                    </a:lnTo>
                    <a:lnTo>
                      <a:pt x="4584" y="2633"/>
                    </a:lnTo>
                    <a:lnTo>
                      <a:pt x="4673" y="2689"/>
                    </a:lnTo>
                    <a:lnTo>
                      <a:pt x="4761" y="2744"/>
                    </a:lnTo>
                    <a:lnTo>
                      <a:pt x="4848" y="2798"/>
                    </a:lnTo>
                    <a:lnTo>
                      <a:pt x="4932" y="2848"/>
                    </a:lnTo>
                    <a:lnTo>
                      <a:pt x="5013" y="2895"/>
                    </a:lnTo>
                    <a:lnTo>
                      <a:pt x="5052" y="2917"/>
                    </a:lnTo>
                    <a:lnTo>
                      <a:pt x="5089" y="2937"/>
                    </a:lnTo>
                    <a:lnTo>
                      <a:pt x="5126" y="2957"/>
                    </a:lnTo>
                    <a:lnTo>
                      <a:pt x="5161" y="2974"/>
                    </a:lnTo>
                    <a:lnTo>
                      <a:pt x="5211" y="2998"/>
                    </a:lnTo>
                    <a:lnTo>
                      <a:pt x="5262" y="3020"/>
                    </a:lnTo>
                    <a:lnTo>
                      <a:pt x="5314" y="3041"/>
                    </a:lnTo>
                    <a:lnTo>
                      <a:pt x="5366" y="3060"/>
                    </a:lnTo>
                    <a:lnTo>
                      <a:pt x="5418" y="3077"/>
                    </a:lnTo>
                    <a:lnTo>
                      <a:pt x="5471" y="3094"/>
                    </a:lnTo>
                    <a:lnTo>
                      <a:pt x="5523" y="3109"/>
                    </a:lnTo>
                    <a:lnTo>
                      <a:pt x="5576" y="3122"/>
                    </a:lnTo>
                    <a:lnTo>
                      <a:pt x="5630" y="3135"/>
                    </a:lnTo>
                    <a:lnTo>
                      <a:pt x="5683" y="3145"/>
                    </a:lnTo>
                    <a:lnTo>
                      <a:pt x="5738" y="3155"/>
                    </a:lnTo>
                    <a:lnTo>
                      <a:pt x="5792" y="3164"/>
                    </a:lnTo>
                    <a:lnTo>
                      <a:pt x="5846" y="3171"/>
                    </a:lnTo>
                    <a:lnTo>
                      <a:pt x="5901" y="3178"/>
                    </a:lnTo>
                    <a:lnTo>
                      <a:pt x="5956" y="3183"/>
                    </a:lnTo>
                    <a:lnTo>
                      <a:pt x="6010" y="3189"/>
                    </a:lnTo>
                    <a:lnTo>
                      <a:pt x="6066" y="3192"/>
                    </a:lnTo>
                    <a:lnTo>
                      <a:pt x="6121" y="3195"/>
                    </a:lnTo>
                    <a:lnTo>
                      <a:pt x="6176" y="3198"/>
                    </a:lnTo>
                    <a:lnTo>
                      <a:pt x="6231" y="3199"/>
                    </a:lnTo>
                    <a:lnTo>
                      <a:pt x="6340" y="3202"/>
                    </a:lnTo>
                    <a:lnTo>
                      <a:pt x="6449" y="3201"/>
                    </a:lnTo>
                    <a:lnTo>
                      <a:pt x="6558" y="3198"/>
                    </a:lnTo>
                    <a:lnTo>
                      <a:pt x="6665" y="3195"/>
                    </a:lnTo>
                    <a:lnTo>
                      <a:pt x="6771" y="3191"/>
                    </a:lnTo>
                    <a:lnTo>
                      <a:pt x="6875" y="3186"/>
                    </a:lnTo>
                    <a:lnTo>
                      <a:pt x="6919" y="3185"/>
                    </a:lnTo>
                    <a:lnTo>
                      <a:pt x="6974" y="3182"/>
                    </a:lnTo>
                    <a:lnTo>
                      <a:pt x="7028" y="3177"/>
                    </a:lnTo>
                    <a:lnTo>
                      <a:pt x="7081" y="3170"/>
                    </a:lnTo>
                    <a:lnTo>
                      <a:pt x="7132" y="3163"/>
                    </a:lnTo>
                    <a:lnTo>
                      <a:pt x="7184" y="3153"/>
                    </a:lnTo>
                    <a:lnTo>
                      <a:pt x="7235" y="3142"/>
                    </a:lnTo>
                    <a:lnTo>
                      <a:pt x="7286" y="3131"/>
                    </a:lnTo>
                    <a:lnTo>
                      <a:pt x="7335" y="3118"/>
                    </a:lnTo>
                    <a:lnTo>
                      <a:pt x="7384" y="3106"/>
                    </a:lnTo>
                    <a:lnTo>
                      <a:pt x="7431" y="3091"/>
                    </a:lnTo>
                    <a:lnTo>
                      <a:pt x="7479" y="3077"/>
                    </a:lnTo>
                    <a:lnTo>
                      <a:pt x="7524" y="3062"/>
                    </a:lnTo>
                    <a:lnTo>
                      <a:pt x="7571" y="3047"/>
                    </a:lnTo>
                    <a:lnTo>
                      <a:pt x="7615" y="3032"/>
                    </a:lnTo>
                    <a:lnTo>
                      <a:pt x="7659" y="3017"/>
                    </a:lnTo>
                    <a:lnTo>
                      <a:pt x="7703" y="3002"/>
                    </a:lnTo>
                    <a:lnTo>
                      <a:pt x="7747" y="2988"/>
                    </a:lnTo>
                    <a:lnTo>
                      <a:pt x="7789" y="2973"/>
                    </a:lnTo>
                    <a:lnTo>
                      <a:pt x="7831" y="2959"/>
                    </a:lnTo>
                    <a:lnTo>
                      <a:pt x="7873" y="2945"/>
                    </a:lnTo>
                    <a:lnTo>
                      <a:pt x="7914" y="2932"/>
                    </a:lnTo>
                    <a:lnTo>
                      <a:pt x="7954" y="2920"/>
                    </a:lnTo>
                    <a:lnTo>
                      <a:pt x="7994" y="2909"/>
                    </a:lnTo>
                    <a:lnTo>
                      <a:pt x="8033" y="2899"/>
                    </a:lnTo>
                    <a:lnTo>
                      <a:pt x="8062" y="2893"/>
                    </a:lnTo>
                    <a:lnTo>
                      <a:pt x="8090" y="2887"/>
                    </a:lnTo>
                    <a:lnTo>
                      <a:pt x="8118" y="2882"/>
                    </a:lnTo>
                    <a:lnTo>
                      <a:pt x="8145" y="2879"/>
                    </a:lnTo>
                    <a:lnTo>
                      <a:pt x="8171" y="2876"/>
                    </a:lnTo>
                    <a:lnTo>
                      <a:pt x="8196" y="2873"/>
                    </a:lnTo>
                    <a:lnTo>
                      <a:pt x="8221" y="2873"/>
                    </a:lnTo>
                    <a:lnTo>
                      <a:pt x="8246" y="2873"/>
                    </a:lnTo>
                    <a:lnTo>
                      <a:pt x="8266" y="2873"/>
                    </a:lnTo>
                    <a:lnTo>
                      <a:pt x="8287" y="2876"/>
                    </a:lnTo>
                    <a:lnTo>
                      <a:pt x="8307" y="2879"/>
                    </a:lnTo>
                    <a:lnTo>
                      <a:pt x="8328" y="2883"/>
                    </a:lnTo>
                    <a:lnTo>
                      <a:pt x="8348" y="2889"/>
                    </a:lnTo>
                    <a:lnTo>
                      <a:pt x="8369" y="2894"/>
                    </a:lnTo>
                    <a:lnTo>
                      <a:pt x="8388" y="2901"/>
                    </a:lnTo>
                    <a:lnTo>
                      <a:pt x="8409" y="2909"/>
                    </a:lnTo>
                    <a:lnTo>
                      <a:pt x="8429" y="2918"/>
                    </a:lnTo>
                    <a:lnTo>
                      <a:pt x="8450" y="2927"/>
                    </a:lnTo>
                    <a:lnTo>
                      <a:pt x="8470" y="2937"/>
                    </a:lnTo>
                    <a:lnTo>
                      <a:pt x="8490" y="2948"/>
                    </a:lnTo>
                    <a:lnTo>
                      <a:pt x="8530" y="2972"/>
                    </a:lnTo>
                    <a:lnTo>
                      <a:pt x="8570" y="2998"/>
                    </a:lnTo>
                    <a:lnTo>
                      <a:pt x="8610" y="3026"/>
                    </a:lnTo>
                    <a:lnTo>
                      <a:pt x="8648" y="3055"/>
                    </a:lnTo>
                    <a:lnTo>
                      <a:pt x="8687" y="3086"/>
                    </a:lnTo>
                    <a:lnTo>
                      <a:pt x="8725" y="3117"/>
                    </a:lnTo>
                    <a:lnTo>
                      <a:pt x="8801" y="3183"/>
                    </a:lnTo>
                    <a:lnTo>
                      <a:pt x="8873" y="3249"/>
                    </a:lnTo>
                    <a:lnTo>
                      <a:pt x="8915" y="3288"/>
                    </a:lnTo>
                    <a:lnTo>
                      <a:pt x="8956" y="3325"/>
                    </a:lnTo>
                    <a:lnTo>
                      <a:pt x="8997" y="3360"/>
                    </a:lnTo>
                    <a:lnTo>
                      <a:pt x="9036" y="3393"/>
                    </a:lnTo>
                    <a:lnTo>
                      <a:pt x="9074" y="3423"/>
                    </a:lnTo>
                    <a:lnTo>
                      <a:pt x="9112" y="3449"/>
                    </a:lnTo>
                    <a:lnTo>
                      <a:pt x="9129" y="3461"/>
                    </a:lnTo>
                    <a:lnTo>
                      <a:pt x="9147" y="3471"/>
                    </a:lnTo>
                    <a:lnTo>
                      <a:pt x="9165" y="3481"/>
                    </a:lnTo>
                    <a:lnTo>
                      <a:pt x="9181" y="3489"/>
                    </a:lnTo>
                    <a:lnTo>
                      <a:pt x="9411" y="3592"/>
                    </a:lnTo>
                    <a:lnTo>
                      <a:pt x="9422" y="3573"/>
                    </a:lnTo>
                    <a:lnTo>
                      <a:pt x="9437" y="3542"/>
                    </a:lnTo>
                    <a:lnTo>
                      <a:pt x="9445" y="3523"/>
                    </a:lnTo>
                    <a:lnTo>
                      <a:pt x="9454" y="3502"/>
                    </a:lnTo>
                    <a:lnTo>
                      <a:pt x="9463" y="3478"/>
                    </a:lnTo>
                    <a:lnTo>
                      <a:pt x="9471" y="3452"/>
                    </a:lnTo>
                    <a:lnTo>
                      <a:pt x="9481" y="3421"/>
                    </a:lnTo>
                    <a:lnTo>
                      <a:pt x="9491" y="3388"/>
                    </a:lnTo>
                    <a:lnTo>
                      <a:pt x="9499" y="3353"/>
                    </a:lnTo>
                    <a:lnTo>
                      <a:pt x="9507" y="3315"/>
                    </a:lnTo>
                    <a:lnTo>
                      <a:pt x="9514" y="3276"/>
                    </a:lnTo>
                    <a:lnTo>
                      <a:pt x="9520" y="3234"/>
                    </a:lnTo>
                    <a:lnTo>
                      <a:pt x="9524" y="3190"/>
                    </a:lnTo>
                    <a:lnTo>
                      <a:pt x="9527" y="3144"/>
                    </a:lnTo>
                    <a:lnTo>
                      <a:pt x="9528" y="3096"/>
                    </a:lnTo>
                    <a:lnTo>
                      <a:pt x="9528" y="3046"/>
                    </a:lnTo>
                    <a:lnTo>
                      <a:pt x="9525" y="2994"/>
                    </a:lnTo>
                    <a:lnTo>
                      <a:pt x="9521" y="2940"/>
                    </a:lnTo>
                    <a:lnTo>
                      <a:pt x="9518" y="2913"/>
                    </a:lnTo>
                    <a:lnTo>
                      <a:pt x="9513" y="2885"/>
                    </a:lnTo>
                    <a:lnTo>
                      <a:pt x="9509" y="2856"/>
                    </a:lnTo>
                    <a:lnTo>
                      <a:pt x="9504" y="2827"/>
                    </a:lnTo>
                    <a:lnTo>
                      <a:pt x="9497" y="2798"/>
                    </a:lnTo>
                    <a:lnTo>
                      <a:pt x="9491" y="2769"/>
                    </a:lnTo>
                    <a:lnTo>
                      <a:pt x="9483" y="2738"/>
                    </a:lnTo>
                    <a:lnTo>
                      <a:pt x="9476" y="2707"/>
                    </a:lnTo>
                    <a:lnTo>
                      <a:pt x="9456" y="2643"/>
                    </a:lnTo>
                    <a:lnTo>
                      <a:pt x="9437" y="2578"/>
                    </a:lnTo>
                    <a:lnTo>
                      <a:pt x="9415" y="2512"/>
                    </a:lnTo>
                    <a:lnTo>
                      <a:pt x="9391" y="2446"/>
                    </a:lnTo>
                    <a:lnTo>
                      <a:pt x="9365" y="2379"/>
                    </a:lnTo>
                    <a:lnTo>
                      <a:pt x="9340" y="2311"/>
                    </a:lnTo>
                    <a:lnTo>
                      <a:pt x="9310" y="2244"/>
                    </a:lnTo>
                    <a:lnTo>
                      <a:pt x="9280" y="2176"/>
                    </a:lnTo>
                    <a:lnTo>
                      <a:pt x="9249" y="2108"/>
                    </a:lnTo>
                    <a:lnTo>
                      <a:pt x="9215" y="2040"/>
                    </a:lnTo>
                    <a:lnTo>
                      <a:pt x="9180" y="1972"/>
                    </a:lnTo>
                    <a:lnTo>
                      <a:pt x="9143" y="1905"/>
                    </a:lnTo>
                    <a:lnTo>
                      <a:pt x="9105" y="1838"/>
                    </a:lnTo>
                    <a:lnTo>
                      <a:pt x="9065" y="1772"/>
                    </a:lnTo>
                    <a:lnTo>
                      <a:pt x="9023" y="1708"/>
                    </a:lnTo>
                    <a:lnTo>
                      <a:pt x="8980" y="1643"/>
                    </a:lnTo>
                    <a:lnTo>
                      <a:pt x="8935" y="1579"/>
                    </a:lnTo>
                    <a:lnTo>
                      <a:pt x="8888" y="1517"/>
                    </a:lnTo>
                    <a:lnTo>
                      <a:pt x="8840" y="1455"/>
                    </a:lnTo>
                    <a:lnTo>
                      <a:pt x="8790" y="1395"/>
                    </a:lnTo>
                    <a:lnTo>
                      <a:pt x="8738" y="1336"/>
                    </a:lnTo>
                    <a:lnTo>
                      <a:pt x="8684" y="1279"/>
                    </a:lnTo>
                    <a:lnTo>
                      <a:pt x="8630" y="1224"/>
                    </a:lnTo>
                    <a:lnTo>
                      <a:pt x="8573" y="1171"/>
                    </a:lnTo>
                    <a:lnTo>
                      <a:pt x="8515" y="1119"/>
                    </a:lnTo>
                    <a:lnTo>
                      <a:pt x="8454" y="1070"/>
                    </a:lnTo>
                    <a:lnTo>
                      <a:pt x="8393" y="1022"/>
                    </a:lnTo>
                    <a:lnTo>
                      <a:pt x="8330" y="978"/>
                    </a:lnTo>
                    <a:lnTo>
                      <a:pt x="8264" y="935"/>
                    </a:lnTo>
                    <a:lnTo>
                      <a:pt x="8198" y="895"/>
                    </a:lnTo>
                    <a:lnTo>
                      <a:pt x="8129" y="858"/>
                    </a:lnTo>
                    <a:lnTo>
                      <a:pt x="8060" y="823"/>
                    </a:lnTo>
                    <a:lnTo>
                      <a:pt x="7984" y="789"/>
                    </a:lnTo>
                    <a:lnTo>
                      <a:pt x="7912" y="759"/>
                    </a:lnTo>
                    <a:lnTo>
                      <a:pt x="7842" y="731"/>
                    </a:lnTo>
                    <a:lnTo>
                      <a:pt x="7774" y="706"/>
                    </a:lnTo>
                    <a:lnTo>
                      <a:pt x="7709" y="684"/>
                    </a:lnTo>
                    <a:lnTo>
                      <a:pt x="7647" y="665"/>
                    </a:lnTo>
                    <a:lnTo>
                      <a:pt x="7587" y="648"/>
                    </a:lnTo>
                    <a:lnTo>
                      <a:pt x="7530" y="634"/>
                    </a:lnTo>
                    <a:lnTo>
                      <a:pt x="7475" y="621"/>
                    </a:lnTo>
                    <a:lnTo>
                      <a:pt x="7423" y="611"/>
                    </a:lnTo>
                    <a:lnTo>
                      <a:pt x="7372" y="602"/>
                    </a:lnTo>
                    <a:lnTo>
                      <a:pt x="7325" y="596"/>
                    </a:lnTo>
                    <a:lnTo>
                      <a:pt x="7280" y="591"/>
                    </a:lnTo>
                    <a:lnTo>
                      <a:pt x="7237" y="588"/>
                    </a:lnTo>
                    <a:lnTo>
                      <a:pt x="7197" y="586"/>
                    </a:lnTo>
                    <a:lnTo>
                      <a:pt x="7159" y="586"/>
                    </a:lnTo>
                    <a:lnTo>
                      <a:pt x="7124" y="586"/>
                    </a:lnTo>
                    <a:lnTo>
                      <a:pt x="7091" y="588"/>
                    </a:lnTo>
                    <a:lnTo>
                      <a:pt x="7060" y="590"/>
                    </a:lnTo>
                    <a:lnTo>
                      <a:pt x="7032" y="594"/>
                    </a:lnTo>
                    <a:lnTo>
                      <a:pt x="7006" y="597"/>
                    </a:lnTo>
                    <a:lnTo>
                      <a:pt x="6982" y="601"/>
                    </a:lnTo>
                    <a:lnTo>
                      <a:pt x="6961" y="605"/>
                    </a:lnTo>
                    <a:lnTo>
                      <a:pt x="6941" y="610"/>
                    </a:lnTo>
                    <a:lnTo>
                      <a:pt x="6910" y="618"/>
                    </a:lnTo>
                    <a:lnTo>
                      <a:pt x="6887" y="627"/>
                    </a:lnTo>
                    <a:lnTo>
                      <a:pt x="6873" y="632"/>
                    </a:lnTo>
                    <a:lnTo>
                      <a:pt x="6868" y="635"/>
                    </a:lnTo>
                    <a:lnTo>
                      <a:pt x="6865" y="636"/>
                    </a:lnTo>
                    <a:lnTo>
                      <a:pt x="6861" y="636"/>
                    </a:lnTo>
                    <a:lnTo>
                      <a:pt x="6849" y="636"/>
                    </a:lnTo>
                    <a:lnTo>
                      <a:pt x="6817" y="632"/>
                    </a:lnTo>
                    <a:lnTo>
                      <a:pt x="6794" y="630"/>
                    </a:lnTo>
                    <a:lnTo>
                      <a:pt x="6768" y="626"/>
                    </a:lnTo>
                    <a:lnTo>
                      <a:pt x="6738" y="622"/>
                    </a:lnTo>
                    <a:lnTo>
                      <a:pt x="6705" y="615"/>
                    </a:lnTo>
                    <a:lnTo>
                      <a:pt x="6666" y="608"/>
                    </a:lnTo>
                    <a:lnTo>
                      <a:pt x="6627" y="598"/>
                    </a:lnTo>
                    <a:lnTo>
                      <a:pt x="6588" y="587"/>
                    </a:lnTo>
                    <a:lnTo>
                      <a:pt x="6550" y="576"/>
                    </a:lnTo>
                    <a:lnTo>
                      <a:pt x="6514" y="563"/>
                    </a:lnTo>
                    <a:lnTo>
                      <a:pt x="6477" y="550"/>
                    </a:lnTo>
                    <a:lnTo>
                      <a:pt x="6442" y="536"/>
                    </a:lnTo>
                    <a:lnTo>
                      <a:pt x="6407" y="520"/>
                    </a:lnTo>
                    <a:lnTo>
                      <a:pt x="6384" y="510"/>
                    </a:lnTo>
                    <a:lnTo>
                      <a:pt x="6358" y="501"/>
                    </a:lnTo>
                    <a:lnTo>
                      <a:pt x="6331" y="492"/>
                    </a:lnTo>
                    <a:lnTo>
                      <a:pt x="6302" y="483"/>
                    </a:lnTo>
                    <a:lnTo>
                      <a:pt x="6271" y="475"/>
                    </a:lnTo>
                    <a:lnTo>
                      <a:pt x="6238" y="466"/>
                    </a:lnTo>
                    <a:lnTo>
                      <a:pt x="6205" y="459"/>
                    </a:lnTo>
                    <a:lnTo>
                      <a:pt x="6168" y="451"/>
                    </a:lnTo>
                    <a:lnTo>
                      <a:pt x="6131" y="445"/>
                    </a:lnTo>
                    <a:lnTo>
                      <a:pt x="6094" y="438"/>
                    </a:lnTo>
                    <a:lnTo>
                      <a:pt x="6054" y="432"/>
                    </a:lnTo>
                    <a:lnTo>
                      <a:pt x="6014" y="426"/>
                    </a:lnTo>
                    <a:lnTo>
                      <a:pt x="5929" y="415"/>
                    </a:lnTo>
                    <a:lnTo>
                      <a:pt x="5842" y="407"/>
                    </a:lnTo>
                    <a:lnTo>
                      <a:pt x="5753" y="399"/>
                    </a:lnTo>
                    <a:lnTo>
                      <a:pt x="5663" y="394"/>
                    </a:lnTo>
                    <a:lnTo>
                      <a:pt x="5572" y="390"/>
                    </a:lnTo>
                    <a:lnTo>
                      <a:pt x="5481" y="387"/>
                    </a:lnTo>
                    <a:lnTo>
                      <a:pt x="5392" y="386"/>
                    </a:lnTo>
                    <a:lnTo>
                      <a:pt x="5304" y="387"/>
                    </a:lnTo>
                    <a:lnTo>
                      <a:pt x="5219" y="390"/>
                    </a:lnTo>
                    <a:lnTo>
                      <a:pt x="5138" y="394"/>
                    </a:lnTo>
                    <a:lnTo>
                      <a:pt x="5104" y="395"/>
                    </a:lnTo>
                    <a:lnTo>
                      <a:pt x="5071" y="396"/>
                    </a:lnTo>
                    <a:lnTo>
                      <a:pt x="5038" y="396"/>
                    </a:lnTo>
                    <a:lnTo>
                      <a:pt x="5003" y="395"/>
                    </a:lnTo>
                    <a:lnTo>
                      <a:pt x="4970" y="393"/>
                    </a:lnTo>
                    <a:lnTo>
                      <a:pt x="4936" y="390"/>
                    </a:lnTo>
                    <a:lnTo>
                      <a:pt x="4901" y="386"/>
                    </a:lnTo>
                    <a:lnTo>
                      <a:pt x="4868" y="382"/>
                    </a:lnTo>
                    <a:lnTo>
                      <a:pt x="4835" y="377"/>
                    </a:lnTo>
                    <a:lnTo>
                      <a:pt x="4801" y="371"/>
                    </a:lnTo>
                    <a:lnTo>
                      <a:pt x="4767" y="365"/>
                    </a:lnTo>
                    <a:lnTo>
                      <a:pt x="4733" y="358"/>
                    </a:lnTo>
                    <a:lnTo>
                      <a:pt x="4667" y="343"/>
                    </a:lnTo>
                    <a:lnTo>
                      <a:pt x="4601" y="326"/>
                    </a:lnTo>
                    <a:lnTo>
                      <a:pt x="4537" y="308"/>
                    </a:lnTo>
                    <a:lnTo>
                      <a:pt x="4473" y="288"/>
                    </a:lnTo>
                    <a:lnTo>
                      <a:pt x="4410" y="268"/>
                    </a:lnTo>
                    <a:lnTo>
                      <a:pt x="4349" y="246"/>
                    </a:lnTo>
                    <a:lnTo>
                      <a:pt x="4289" y="224"/>
                    </a:lnTo>
                    <a:lnTo>
                      <a:pt x="4232" y="203"/>
                    </a:lnTo>
                    <a:lnTo>
                      <a:pt x="4177" y="181"/>
                    </a:lnTo>
                    <a:lnTo>
                      <a:pt x="4124" y="161"/>
                    </a:lnTo>
                    <a:lnTo>
                      <a:pt x="4099" y="151"/>
                    </a:lnTo>
                    <a:lnTo>
                      <a:pt x="4075" y="142"/>
                    </a:lnTo>
                    <a:lnTo>
                      <a:pt x="4052" y="133"/>
                    </a:lnTo>
                    <a:lnTo>
                      <a:pt x="4028" y="124"/>
                    </a:lnTo>
                    <a:lnTo>
                      <a:pt x="4006" y="115"/>
                    </a:lnTo>
                    <a:lnTo>
                      <a:pt x="3984" y="108"/>
                    </a:lnTo>
                    <a:lnTo>
                      <a:pt x="3963" y="100"/>
                    </a:lnTo>
                    <a:lnTo>
                      <a:pt x="3943" y="93"/>
                    </a:lnTo>
                    <a:lnTo>
                      <a:pt x="3916" y="84"/>
                    </a:lnTo>
                    <a:lnTo>
                      <a:pt x="3884" y="76"/>
                    </a:lnTo>
                    <a:lnTo>
                      <a:pt x="3848" y="68"/>
                    </a:lnTo>
                    <a:lnTo>
                      <a:pt x="3807" y="60"/>
                    </a:lnTo>
                    <a:lnTo>
                      <a:pt x="3761" y="53"/>
                    </a:lnTo>
                    <a:lnTo>
                      <a:pt x="3712" y="46"/>
                    </a:lnTo>
                    <a:lnTo>
                      <a:pt x="3659" y="40"/>
                    </a:lnTo>
                    <a:lnTo>
                      <a:pt x="3602" y="34"/>
                    </a:lnTo>
                    <a:lnTo>
                      <a:pt x="3543" y="31"/>
                    </a:lnTo>
                    <a:lnTo>
                      <a:pt x="3480" y="28"/>
                    </a:lnTo>
                    <a:lnTo>
                      <a:pt x="3416" y="27"/>
                    </a:lnTo>
                    <a:lnTo>
                      <a:pt x="3348" y="27"/>
                    </a:lnTo>
                    <a:lnTo>
                      <a:pt x="3279" y="28"/>
                    </a:lnTo>
                    <a:lnTo>
                      <a:pt x="3207" y="31"/>
                    </a:lnTo>
                    <a:lnTo>
                      <a:pt x="3135" y="37"/>
                    </a:lnTo>
                    <a:lnTo>
                      <a:pt x="3060" y="44"/>
                    </a:lnTo>
                    <a:lnTo>
                      <a:pt x="2986" y="54"/>
                    </a:lnTo>
                    <a:lnTo>
                      <a:pt x="2910" y="66"/>
                    </a:lnTo>
                    <a:lnTo>
                      <a:pt x="2834" y="81"/>
                    </a:lnTo>
                    <a:lnTo>
                      <a:pt x="2758" y="98"/>
                    </a:lnTo>
                    <a:lnTo>
                      <a:pt x="2681" y="119"/>
                    </a:lnTo>
                    <a:lnTo>
                      <a:pt x="2606" y="141"/>
                    </a:lnTo>
                    <a:lnTo>
                      <a:pt x="2530" y="167"/>
                    </a:lnTo>
                    <a:lnTo>
                      <a:pt x="2456" y="196"/>
                    </a:lnTo>
                    <a:lnTo>
                      <a:pt x="2383" y="230"/>
                    </a:lnTo>
                    <a:lnTo>
                      <a:pt x="2311" y="265"/>
                    </a:lnTo>
                    <a:lnTo>
                      <a:pt x="2241" y="305"/>
                    </a:lnTo>
                    <a:lnTo>
                      <a:pt x="2173" y="350"/>
                    </a:lnTo>
                    <a:lnTo>
                      <a:pt x="2108" y="397"/>
                    </a:lnTo>
                    <a:lnTo>
                      <a:pt x="2044" y="450"/>
                    </a:lnTo>
                    <a:lnTo>
                      <a:pt x="1984" y="506"/>
                    </a:lnTo>
                    <a:lnTo>
                      <a:pt x="1927" y="567"/>
                    </a:lnTo>
                    <a:lnTo>
                      <a:pt x="1917" y="577"/>
                    </a:lnTo>
                    <a:lnTo>
                      <a:pt x="1897" y="601"/>
                    </a:lnTo>
                    <a:lnTo>
                      <a:pt x="1869" y="638"/>
                    </a:lnTo>
                    <a:lnTo>
                      <a:pt x="1833" y="687"/>
                    </a:lnTo>
                    <a:lnTo>
                      <a:pt x="1811" y="717"/>
                    </a:lnTo>
                    <a:lnTo>
                      <a:pt x="1789" y="749"/>
                    </a:lnTo>
                    <a:lnTo>
                      <a:pt x="1766" y="785"/>
                    </a:lnTo>
                    <a:lnTo>
                      <a:pt x="1741" y="823"/>
                    </a:lnTo>
                    <a:lnTo>
                      <a:pt x="1715" y="865"/>
                    </a:lnTo>
                    <a:lnTo>
                      <a:pt x="1688" y="909"/>
                    </a:lnTo>
                    <a:lnTo>
                      <a:pt x="1660" y="956"/>
                    </a:lnTo>
                    <a:lnTo>
                      <a:pt x="1631" y="1007"/>
                    </a:lnTo>
                    <a:lnTo>
                      <a:pt x="1602" y="1061"/>
                    </a:lnTo>
                    <a:lnTo>
                      <a:pt x="1572" y="1117"/>
                    </a:lnTo>
                    <a:lnTo>
                      <a:pt x="1543" y="1176"/>
                    </a:lnTo>
                    <a:lnTo>
                      <a:pt x="1513" y="1239"/>
                    </a:lnTo>
                    <a:lnTo>
                      <a:pt x="1484" y="1304"/>
                    </a:lnTo>
                    <a:lnTo>
                      <a:pt x="1455" y="1373"/>
                    </a:lnTo>
                    <a:lnTo>
                      <a:pt x="1426" y="1443"/>
                    </a:lnTo>
                    <a:lnTo>
                      <a:pt x="1396" y="1518"/>
                    </a:lnTo>
                    <a:lnTo>
                      <a:pt x="1368" y="1594"/>
                    </a:lnTo>
                    <a:lnTo>
                      <a:pt x="1341" y="1673"/>
                    </a:lnTo>
                    <a:lnTo>
                      <a:pt x="1315" y="1755"/>
                    </a:lnTo>
                    <a:lnTo>
                      <a:pt x="1291" y="1840"/>
                    </a:lnTo>
                    <a:lnTo>
                      <a:pt x="1266" y="1928"/>
                    </a:lnTo>
                    <a:lnTo>
                      <a:pt x="1243" y="2018"/>
                    </a:lnTo>
                    <a:lnTo>
                      <a:pt x="1223" y="2111"/>
                    </a:lnTo>
                    <a:lnTo>
                      <a:pt x="1203" y="2207"/>
                    </a:lnTo>
                    <a:lnTo>
                      <a:pt x="1190" y="2241"/>
                    </a:lnTo>
                    <a:lnTo>
                      <a:pt x="1177" y="2274"/>
                    </a:lnTo>
                    <a:lnTo>
                      <a:pt x="1162" y="2309"/>
                    </a:lnTo>
                    <a:lnTo>
                      <a:pt x="1146" y="2343"/>
                    </a:lnTo>
                    <a:lnTo>
                      <a:pt x="1130" y="2379"/>
                    </a:lnTo>
                    <a:lnTo>
                      <a:pt x="1112" y="2415"/>
                    </a:lnTo>
                    <a:lnTo>
                      <a:pt x="1093" y="2451"/>
                    </a:lnTo>
                    <a:lnTo>
                      <a:pt x="1075" y="2488"/>
                    </a:lnTo>
                    <a:lnTo>
                      <a:pt x="1034" y="2564"/>
                    </a:lnTo>
                    <a:lnTo>
                      <a:pt x="989" y="2640"/>
                    </a:lnTo>
                    <a:lnTo>
                      <a:pt x="943" y="2717"/>
                    </a:lnTo>
                    <a:lnTo>
                      <a:pt x="895" y="2796"/>
                    </a:lnTo>
                    <a:lnTo>
                      <a:pt x="846" y="2873"/>
                    </a:lnTo>
                    <a:lnTo>
                      <a:pt x="795" y="2952"/>
                    </a:lnTo>
                    <a:lnTo>
                      <a:pt x="743" y="3031"/>
                    </a:lnTo>
                    <a:lnTo>
                      <a:pt x="691" y="3108"/>
                    </a:lnTo>
                    <a:lnTo>
                      <a:pt x="639" y="3185"/>
                    </a:lnTo>
                    <a:lnTo>
                      <a:pt x="588" y="3261"/>
                    </a:lnTo>
                    <a:lnTo>
                      <a:pt x="536" y="3334"/>
                    </a:lnTo>
                    <a:lnTo>
                      <a:pt x="486" y="3407"/>
                    </a:lnTo>
                    <a:lnTo>
                      <a:pt x="424" y="3496"/>
                    </a:lnTo>
                    <a:lnTo>
                      <a:pt x="364" y="3583"/>
                    </a:lnTo>
                    <a:lnTo>
                      <a:pt x="308" y="3666"/>
                    </a:lnTo>
                    <a:lnTo>
                      <a:pt x="256" y="3743"/>
                    </a:lnTo>
                    <a:lnTo>
                      <a:pt x="210" y="3816"/>
                    </a:lnTo>
                    <a:lnTo>
                      <a:pt x="168" y="3884"/>
                    </a:lnTo>
                    <a:lnTo>
                      <a:pt x="149" y="3915"/>
                    </a:lnTo>
                    <a:lnTo>
                      <a:pt x="132" y="3945"/>
                    </a:lnTo>
                    <a:lnTo>
                      <a:pt x="117" y="3973"/>
                    </a:lnTo>
                    <a:lnTo>
                      <a:pt x="103" y="3999"/>
                    </a:lnTo>
                    <a:lnTo>
                      <a:pt x="91" y="4025"/>
                    </a:lnTo>
                    <a:lnTo>
                      <a:pt x="79" y="4049"/>
                    </a:lnTo>
                    <a:lnTo>
                      <a:pt x="68" y="4073"/>
                    </a:lnTo>
                    <a:lnTo>
                      <a:pt x="59" y="4095"/>
                    </a:lnTo>
                    <a:lnTo>
                      <a:pt x="51" y="4112"/>
                    </a:lnTo>
                    <a:lnTo>
                      <a:pt x="44" y="4127"/>
                    </a:lnTo>
                    <a:lnTo>
                      <a:pt x="37" y="4143"/>
                    </a:lnTo>
                    <a:lnTo>
                      <a:pt x="30" y="4158"/>
                    </a:lnTo>
                    <a:lnTo>
                      <a:pt x="0" y="4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29"/>
              <p:cNvSpPr>
                <a:spLocks noEditPoints="1"/>
              </p:cNvSpPr>
              <p:nvPr userDrawn="1"/>
            </p:nvSpPr>
            <p:spPr bwMode="auto">
              <a:xfrm>
                <a:off x="2413" y="3120"/>
                <a:ext cx="953" cy="1022"/>
              </a:xfrm>
              <a:custGeom>
                <a:avLst/>
                <a:gdLst>
                  <a:gd name="T0" fmla="*/ 2436 w 2861"/>
                  <a:gd name="T1" fmla="*/ 2936 h 3066"/>
                  <a:gd name="T2" fmla="*/ 2211 w 2861"/>
                  <a:gd name="T3" fmla="*/ 2781 h 3066"/>
                  <a:gd name="T4" fmla="*/ 1905 w 2861"/>
                  <a:gd name="T5" fmla="*/ 2542 h 3066"/>
                  <a:gd name="T6" fmla="*/ 1689 w 2861"/>
                  <a:gd name="T7" fmla="*/ 2403 h 3066"/>
                  <a:gd name="T8" fmla="*/ 1540 w 2861"/>
                  <a:gd name="T9" fmla="*/ 2337 h 3066"/>
                  <a:gd name="T10" fmla="*/ 1491 w 2861"/>
                  <a:gd name="T11" fmla="*/ 2227 h 3066"/>
                  <a:gd name="T12" fmla="*/ 1332 w 2861"/>
                  <a:gd name="T13" fmla="*/ 1761 h 3066"/>
                  <a:gd name="T14" fmla="*/ 1152 w 2861"/>
                  <a:gd name="T15" fmla="*/ 1318 h 3066"/>
                  <a:gd name="T16" fmla="*/ 904 w 2861"/>
                  <a:gd name="T17" fmla="*/ 856 h 3066"/>
                  <a:gd name="T18" fmla="*/ 579 w 2861"/>
                  <a:gd name="T19" fmla="*/ 437 h 3066"/>
                  <a:gd name="T20" fmla="*/ 167 w 2861"/>
                  <a:gd name="T21" fmla="*/ 126 h 3066"/>
                  <a:gd name="T22" fmla="*/ 1 w 2861"/>
                  <a:gd name="T23" fmla="*/ 41 h 3066"/>
                  <a:gd name="T24" fmla="*/ 114 w 2861"/>
                  <a:gd name="T25" fmla="*/ 46 h 3066"/>
                  <a:gd name="T26" fmla="*/ 254 w 2861"/>
                  <a:gd name="T27" fmla="*/ 22 h 3066"/>
                  <a:gd name="T28" fmla="*/ 401 w 2861"/>
                  <a:gd name="T29" fmla="*/ 1 h 3066"/>
                  <a:gd name="T30" fmla="*/ 669 w 2861"/>
                  <a:gd name="T31" fmla="*/ 15 h 3066"/>
                  <a:gd name="T32" fmla="*/ 1006 w 2861"/>
                  <a:gd name="T33" fmla="*/ 94 h 3066"/>
                  <a:gd name="T34" fmla="*/ 1377 w 2861"/>
                  <a:gd name="T35" fmla="*/ 241 h 3066"/>
                  <a:gd name="T36" fmla="*/ 1776 w 2861"/>
                  <a:gd name="T37" fmla="*/ 490 h 3066"/>
                  <a:gd name="T38" fmla="*/ 2115 w 2861"/>
                  <a:gd name="T39" fmla="*/ 818 h 3066"/>
                  <a:gd name="T40" fmla="*/ 2393 w 2861"/>
                  <a:gd name="T41" fmla="*/ 1199 h 3066"/>
                  <a:gd name="T42" fmla="*/ 2611 w 2861"/>
                  <a:gd name="T43" fmla="*/ 1606 h 3066"/>
                  <a:gd name="T44" fmla="*/ 2769 w 2861"/>
                  <a:gd name="T45" fmla="*/ 2012 h 3066"/>
                  <a:gd name="T46" fmla="*/ 2837 w 2861"/>
                  <a:gd name="T47" fmla="*/ 2265 h 3066"/>
                  <a:gd name="T48" fmla="*/ 2861 w 2861"/>
                  <a:gd name="T49" fmla="*/ 2488 h 3066"/>
                  <a:gd name="T50" fmla="*/ 2840 w 2861"/>
                  <a:gd name="T51" fmla="*/ 2762 h 3066"/>
                  <a:gd name="T52" fmla="*/ 2778 w 2861"/>
                  <a:gd name="T53" fmla="*/ 2969 h 3066"/>
                  <a:gd name="T54" fmla="*/ 2729 w 2861"/>
                  <a:gd name="T55" fmla="*/ 3063 h 3066"/>
                  <a:gd name="T56" fmla="*/ 271 w 2861"/>
                  <a:gd name="T57" fmla="*/ 153 h 3066"/>
                  <a:gd name="T58" fmla="*/ 655 w 2861"/>
                  <a:gd name="T59" fmla="*/ 479 h 3066"/>
                  <a:gd name="T60" fmla="*/ 960 w 2861"/>
                  <a:gd name="T61" fmla="*/ 894 h 3066"/>
                  <a:gd name="T62" fmla="*/ 1192 w 2861"/>
                  <a:gd name="T63" fmla="*/ 1342 h 3066"/>
                  <a:gd name="T64" fmla="*/ 1364 w 2861"/>
                  <a:gd name="T65" fmla="*/ 1766 h 3066"/>
                  <a:gd name="T66" fmla="*/ 1505 w 2861"/>
                  <a:gd name="T67" fmla="*/ 2185 h 3066"/>
                  <a:gd name="T68" fmla="*/ 1557 w 2861"/>
                  <a:gd name="T69" fmla="*/ 2317 h 3066"/>
                  <a:gd name="T70" fmla="*/ 1774 w 2861"/>
                  <a:gd name="T71" fmla="*/ 2421 h 3066"/>
                  <a:gd name="T72" fmla="*/ 1991 w 2861"/>
                  <a:gd name="T73" fmla="*/ 2573 h 3066"/>
                  <a:gd name="T74" fmla="*/ 2321 w 2861"/>
                  <a:gd name="T75" fmla="*/ 2829 h 3066"/>
                  <a:gd name="T76" fmla="*/ 2487 w 2861"/>
                  <a:gd name="T77" fmla="*/ 2931 h 3066"/>
                  <a:gd name="T78" fmla="*/ 2769 w 2861"/>
                  <a:gd name="T79" fmla="*/ 2920 h 3066"/>
                  <a:gd name="T80" fmla="*/ 2820 w 2861"/>
                  <a:gd name="T81" fmla="*/ 2718 h 3066"/>
                  <a:gd name="T82" fmla="*/ 2831 w 2861"/>
                  <a:gd name="T83" fmla="*/ 2436 h 3066"/>
                  <a:gd name="T84" fmla="*/ 2803 w 2861"/>
                  <a:gd name="T85" fmla="*/ 2240 h 3066"/>
                  <a:gd name="T86" fmla="*/ 2721 w 2861"/>
                  <a:gd name="T87" fmla="*/ 1954 h 3066"/>
                  <a:gd name="T88" fmla="*/ 2555 w 2861"/>
                  <a:gd name="T89" fmla="*/ 1550 h 3066"/>
                  <a:gd name="T90" fmla="*/ 2329 w 2861"/>
                  <a:gd name="T91" fmla="*/ 1150 h 3066"/>
                  <a:gd name="T92" fmla="*/ 2044 w 2861"/>
                  <a:gd name="T93" fmla="*/ 778 h 3066"/>
                  <a:gd name="T94" fmla="*/ 1699 w 2861"/>
                  <a:gd name="T95" fmla="*/ 464 h 3066"/>
                  <a:gd name="T96" fmla="*/ 1287 w 2861"/>
                  <a:gd name="T97" fmla="*/ 230 h 3066"/>
                  <a:gd name="T98" fmla="*/ 881 w 2861"/>
                  <a:gd name="T99" fmla="*/ 86 h 3066"/>
                  <a:gd name="T100" fmla="*/ 578 w 2861"/>
                  <a:gd name="T101" fmla="*/ 32 h 3066"/>
                  <a:gd name="T102" fmla="*/ 366 w 2861"/>
                  <a:gd name="T103" fmla="*/ 31 h 3066"/>
                  <a:gd name="T104" fmla="*/ 215 w 2861"/>
                  <a:gd name="T105" fmla="*/ 60 h 3066"/>
                  <a:gd name="T106" fmla="*/ 164 w 2861"/>
                  <a:gd name="T107" fmla="*/ 78 h 3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61" h="3066">
                    <a:moveTo>
                      <a:pt x="2722" y="3066"/>
                    </a:moveTo>
                    <a:lnTo>
                      <a:pt x="2720" y="3065"/>
                    </a:lnTo>
                    <a:lnTo>
                      <a:pt x="2717" y="3065"/>
                    </a:lnTo>
                    <a:lnTo>
                      <a:pt x="2476" y="2956"/>
                    </a:lnTo>
                    <a:lnTo>
                      <a:pt x="2457" y="2946"/>
                    </a:lnTo>
                    <a:lnTo>
                      <a:pt x="2436" y="2936"/>
                    </a:lnTo>
                    <a:lnTo>
                      <a:pt x="2416" y="2924"/>
                    </a:lnTo>
                    <a:lnTo>
                      <a:pt x="2394" y="2911"/>
                    </a:lnTo>
                    <a:lnTo>
                      <a:pt x="2351" y="2883"/>
                    </a:lnTo>
                    <a:lnTo>
                      <a:pt x="2306" y="2852"/>
                    </a:lnTo>
                    <a:lnTo>
                      <a:pt x="2260" y="2817"/>
                    </a:lnTo>
                    <a:lnTo>
                      <a:pt x="2211" y="2781"/>
                    </a:lnTo>
                    <a:lnTo>
                      <a:pt x="2163" y="2743"/>
                    </a:lnTo>
                    <a:lnTo>
                      <a:pt x="2114" y="2703"/>
                    </a:lnTo>
                    <a:lnTo>
                      <a:pt x="2046" y="2650"/>
                    </a:lnTo>
                    <a:lnTo>
                      <a:pt x="1976" y="2595"/>
                    </a:lnTo>
                    <a:lnTo>
                      <a:pt x="1940" y="2569"/>
                    </a:lnTo>
                    <a:lnTo>
                      <a:pt x="1905" y="2542"/>
                    </a:lnTo>
                    <a:lnTo>
                      <a:pt x="1869" y="2516"/>
                    </a:lnTo>
                    <a:lnTo>
                      <a:pt x="1834" y="2491"/>
                    </a:lnTo>
                    <a:lnTo>
                      <a:pt x="1798" y="2468"/>
                    </a:lnTo>
                    <a:lnTo>
                      <a:pt x="1761" y="2445"/>
                    </a:lnTo>
                    <a:lnTo>
                      <a:pt x="1726" y="2423"/>
                    </a:lnTo>
                    <a:lnTo>
                      <a:pt x="1689" y="2403"/>
                    </a:lnTo>
                    <a:lnTo>
                      <a:pt x="1653" y="2385"/>
                    </a:lnTo>
                    <a:lnTo>
                      <a:pt x="1618" y="2368"/>
                    </a:lnTo>
                    <a:lnTo>
                      <a:pt x="1582" y="2353"/>
                    </a:lnTo>
                    <a:lnTo>
                      <a:pt x="1547" y="2341"/>
                    </a:lnTo>
                    <a:lnTo>
                      <a:pt x="1543" y="2340"/>
                    </a:lnTo>
                    <a:lnTo>
                      <a:pt x="1540" y="2337"/>
                    </a:lnTo>
                    <a:lnTo>
                      <a:pt x="1537" y="2334"/>
                    </a:lnTo>
                    <a:lnTo>
                      <a:pt x="1533" y="2328"/>
                    </a:lnTo>
                    <a:lnTo>
                      <a:pt x="1525" y="2315"/>
                    </a:lnTo>
                    <a:lnTo>
                      <a:pt x="1516" y="2294"/>
                    </a:lnTo>
                    <a:lnTo>
                      <a:pt x="1505" y="2266"/>
                    </a:lnTo>
                    <a:lnTo>
                      <a:pt x="1491" y="2227"/>
                    </a:lnTo>
                    <a:lnTo>
                      <a:pt x="1475" y="2178"/>
                    </a:lnTo>
                    <a:lnTo>
                      <a:pt x="1454" y="2118"/>
                    </a:lnTo>
                    <a:lnTo>
                      <a:pt x="1420" y="2012"/>
                    </a:lnTo>
                    <a:lnTo>
                      <a:pt x="1379" y="1891"/>
                    </a:lnTo>
                    <a:lnTo>
                      <a:pt x="1356" y="1827"/>
                    </a:lnTo>
                    <a:lnTo>
                      <a:pt x="1332" y="1761"/>
                    </a:lnTo>
                    <a:lnTo>
                      <a:pt x="1307" y="1690"/>
                    </a:lnTo>
                    <a:lnTo>
                      <a:pt x="1280" y="1619"/>
                    </a:lnTo>
                    <a:lnTo>
                      <a:pt x="1250" y="1546"/>
                    </a:lnTo>
                    <a:lnTo>
                      <a:pt x="1219" y="1471"/>
                    </a:lnTo>
                    <a:lnTo>
                      <a:pt x="1187" y="1396"/>
                    </a:lnTo>
                    <a:lnTo>
                      <a:pt x="1152" y="1318"/>
                    </a:lnTo>
                    <a:lnTo>
                      <a:pt x="1115" y="1241"/>
                    </a:lnTo>
                    <a:lnTo>
                      <a:pt x="1078" y="1164"/>
                    </a:lnTo>
                    <a:lnTo>
                      <a:pt x="1038" y="1086"/>
                    </a:lnTo>
                    <a:lnTo>
                      <a:pt x="994" y="1009"/>
                    </a:lnTo>
                    <a:lnTo>
                      <a:pt x="950" y="933"/>
                    </a:lnTo>
                    <a:lnTo>
                      <a:pt x="904" y="856"/>
                    </a:lnTo>
                    <a:lnTo>
                      <a:pt x="855" y="781"/>
                    </a:lnTo>
                    <a:lnTo>
                      <a:pt x="804" y="709"/>
                    </a:lnTo>
                    <a:lnTo>
                      <a:pt x="752" y="638"/>
                    </a:lnTo>
                    <a:lnTo>
                      <a:pt x="696" y="569"/>
                    </a:lnTo>
                    <a:lnTo>
                      <a:pt x="639" y="502"/>
                    </a:lnTo>
                    <a:lnTo>
                      <a:pt x="579" y="437"/>
                    </a:lnTo>
                    <a:lnTo>
                      <a:pt x="517" y="377"/>
                    </a:lnTo>
                    <a:lnTo>
                      <a:pt x="452" y="318"/>
                    </a:lnTo>
                    <a:lnTo>
                      <a:pt x="384" y="264"/>
                    </a:lnTo>
                    <a:lnTo>
                      <a:pt x="315" y="214"/>
                    </a:lnTo>
                    <a:lnTo>
                      <a:pt x="243" y="167"/>
                    </a:lnTo>
                    <a:lnTo>
                      <a:pt x="167" y="126"/>
                    </a:lnTo>
                    <a:lnTo>
                      <a:pt x="90" y="88"/>
                    </a:lnTo>
                    <a:lnTo>
                      <a:pt x="10" y="57"/>
                    </a:lnTo>
                    <a:lnTo>
                      <a:pt x="5" y="54"/>
                    </a:lnTo>
                    <a:lnTo>
                      <a:pt x="2" y="51"/>
                    </a:lnTo>
                    <a:lnTo>
                      <a:pt x="0" y="45"/>
                    </a:lnTo>
                    <a:lnTo>
                      <a:pt x="1" y="41"/>
                    </a:lnTo>
                    <a:lnTo>
                      <a:pt x="3" y="36"/>
                    </a:lnTo>
                    <a:lnTo>
                      <a:pt x="6" y="32"/>
                    </a:lnTo>
                    <a:lnTo>
                      <a:pt x="12" y="31"/>
                    </a:lnTo>
                    <a:lnTo>
                      <a:pt x="16" y="31"/>
                    </a:lnTo>
                    <a:lnTo>
                      <a:pt x="71" y="41"/>
                    </a:lnTo>
                    <a:lnTo>
                      <a:pt x="114" y="46"/>
                    </a:lnTo>
                    <a:lnTo>
                      <a:pt x="147" y="50"/>
                    </a:lnTo>
                    <a:lnTo>
                      <a:pt x="165" y="51"/>
                    </a:lnTo>
                    <a:lnTo>
                      <a:pt x="176" y="46"/>
                    </a:lnTo>
                    <a:lnTo>
                      <a:pt x="194" y="39"/>
                    </a:lnTo>
                    <a:lnTo>
                      <a:pt x="220" y="30"/>
                    </a:lnTo>
                    <a:lnTo>
                      <a:pt x="254" y="22"/>
                    </a:lnTo>
                    <a:lnTo>
                      <a:pt x="273" y="17"/>
                    </a:lnTo>
                    <a:lnTo>
                      <a:pt x="295" y="14"/>
                    </a:lnTo>
                    <a:lnTo>
                      <a:pt x="319" y="10"/>
                    </a:lnTo>
                    <a:lnTo>
                      <a:pt x="343" y="6"/>
                    </a:lnTo>
                    <a:lnTo>
                      <a:pt x="371" y="3"/>
                    </a:lnTo>
                    <a:lnTo>
                      <a:pt x="401" y="1"/>
                    </a:lnTo>
                    <a:lnTo>
                      <a:pt x="432" y="0"/>
                    </a:lnTo>
                    <a:lnTo>
                      <a:pt x="465" y="0"/>
                    </a:lnTo>
                    <a:lnTo>
                      <a:pt x="515" y="1"/>
                    </a:lnTo>
                    <a:lnTo>
                      <a:pt x="566" y="3"/>
                    </a:lnTo>
                    <a:lnTo>
                      <a:pt x="618" y="9"/>
                    </a:lnTo>
                    <a:lnTo>
                      <a:pt x="669" y="15"/>
                    </a:lnTo>
                    <a:lnTo>
                      <a:pt x="723" y="24"/>
                    </a:lnTo>
                    <a:lnTo>
                      <a:pt x="779" y="33"/>
                    </a:lnTo>
                    <a:lnTo>
                      <a:pt x="834" y="46"/>
                    </a:lnTo>
                    <a:lnTo>
                      <a:pt x="891" y="60"/>
                    </a:lnTo>
                    <a:lnTo>
                      <a:pt x="948" y="77"/>
                    </a:lnTo>
                    <a:lnTo>
                      <a:pt x="1006" y="94"/>
                    </a:lnTo>
                    <a:lnTo>
                      <a:pt x="1066" y="114"/>
                    </a:lnTo>
                    <a:lnTo>
                      <a:pt x="1126" y="136"/>
                    </a:lnTo>
                    <a:lnTo>
                      <a:pt x="1188" y="160"/>
                    </a:lnTo>
                    <a:lnTo>
                      <a:pt x="1250" y="185"/>
                    </a:lnTo>
                    <a:lnTo>
                      <a:pt x="1313" y="212"/>
                    </a:lnTo>
                    <a:lnTo>
                      <a:pt x="1377" y="241"/>
                    </a:lnTo>
                    <a:lnTo>
                      <a:pt x="1448" y="276"/>
                    </a:lnTo>
                    <a:lnTo>
                      <a:pt x="1517" y="313"/>
                    </a:lnTo>
                    <a:lnTo>
                      <a:pt x="1584" y="354"/>
                    </a:lnTo>
                    <a:lnTo>
                      <a:pt x="1650" y="397"/>
                    </a:lnTo>
                    <a:lnTo>
                      <a:pt x="1714" y="443"/>
                    </a:lnTo>
                    <a:lnTo>
                      <a:pt x="1776" y="490"/>
                    </a:lnTo>
                    <a:lnTo>
                      <a:pt x="1837" y="540"/>
                    </a:lnTo>
                    <a:lnTo>
                      <a:pt x="1896" y="591"/>
                    </a:lnTo>
                    <a:lnTo>
                      <a:pt x="1953" y="645"/>
                    </a:lnTo>
                    <a:lnTo>
                      <a:pt x="2008" y="702"/>
                    </a:lnTo>
                    <a:lnTo>
                      <a:pt x="2062" y="759"/>
                    </a:lnTo>
                    <a:lnTo>
                      <a:pt x="2115" y="818"/>
                    </a:lnTo>
                    <a:lnTo>
                      <a:pt x="2165" y="879"/>
                    </a:lnTo>
                    <a:lnTo>
                      <a:pt x="2215" y="940"/>
                    </a:lnTo>
                    <a:lnTo>
                      <a:pt x="2261" y="1004"/>
                    </a:lnTo>
                    <a:lnTo>
                      <a:pt x="2308" y="1068"/>
                    </a:lnTo>
                    <a:lnTo>
                      <a:pt x="2351" y="1133"/>
                    </a:lnTo>
                    <a:lnTo>
                      <a:pt x="2393" y="1199"/>
                    </a:lnTo>
                    <a:lnTo>
                      <a:pt x="2434" y="1266"/>
                    </a:lnTo>
                    <a:lnTo>
                      <a:pt x="2473" y="1333"/>
                    </a:lnTo>
                    <a:lnTo>
                      <a:pt x="2509" y="1401"/>
                    </a:lnTo>
                    <a:lnTo>
                      <a:pt x="2545" y="1469"/>
                    </a:lnTo>
                    <a:lnTo>
                      <a:pt x="2579" y="1537"/>
                    </a:lnTo>
                    <a:lnTo>
                      <a:pt x="2611" y="1606"/>
                    </a:lnTo>
                    <a:lnTo>
                      <a:pt x="2641" y="1674"/>
                    </a:lnTo>
                    <a:lnTo>
                      <a:pt x="2670" y="1742"/>
                    </a:lnTo>
                    <a:lnTo>
                      <a:pt x="2697" y="1810"/>
                    </a:lnTo>
                    <a:lnTo>
                      <a:pt x="2722" y="1878"/>
                    </a:lnTo>
                    <a:lnTo>
                      <a:pt x="2746" y="1945"/>
                    </a:lnTo>
                    <a:lnTo>
                      <a:pt x="2769" y="2012"/>
                    </a:lnTo>
                    <a:lnTo>
                      <a:pt x="2788" y="2077"/>
                    </a:lnTo>
                    <a:lnTo>
                      <a:pt x="2807" y="2143"/>
                    </a:lnTo>
                    <a:lnTo>
                      <a:pt x="2816" y="2173"/>
                    </a:lnTo>
                    <a:lnTo>
                      <a:pt x="2824" y="2204"/>
                    </a:lnTo>
                    <a:lnTo>
                      <a:pt x="2830" y="2234"/>
                    </a:lnTo>
                    <a:lnTo>
                      <a:pt x="2837" y="2265"/>
                    </a:lnTo>
                    <a:lnTo>
                      <a:pt x="2842" y="2294"/>
                    </a:lnTo>
                    <a:lnTo>
                      <a:pt x="2846" y="2323"/>
                    </a:lnTo>
                    <a:lnTo>
                      <a:pt x="2851" y="2352"/>
                    </a:lnTo>
                    <a:lnTo>
                      <a:pt x="2854" y="2380"/>
                    </a:lnTo>
                    <a:lnTo>
                      <a:pt x="2858" y="2435"/>
                    </a:lnTo>
                    <a:lnTo>
                      <a:pt x="2861" y="2488"/>
                    </a:lnTo>
                    <a:lnTo>
                      <a:pt x="2861" y="2539"/>
                    </a:lnTo>
                    <a:lnTo>
                      <a:pt x="2860" y="2587"/>
                    </a:lnTo>
                    <a:lnTo>
                      <a:pt x="2857" y="2635"/>
                    </a:lnTo>
                    <a:lnTo>
                      <a:pt x="2853" y="2679"/>
                    </a:lnTo>
                    <a:lnTo>
                      <a:pt x="2846" y="2722"/>
                    </a:lnTo>
                    <a:lnTo>
                      <a:pt x="2840" y="2762"/>
                    </a:lnTo>
                    <a:lnTo>
                      <a:pt x="2831" y="2801"/>
                    </a:lnTo>
                    <a:lnTo>
                      <a:pt x="2823" y="2837"/>
                    </a:lnTo>
                    <a:lnTo>
                      <a:pt x="2813" y="2871"/>
                    </a:lnTo>
                    <a:lnTo>
                      <a:pt x="2803" y="2903"/>
                    </a:lnTo>
                    <a:lnTo>
                      <a:pt x="2791" y="2938"/>
                    </a:lnTo>
                    <a:lnTo>
                      <a:pt x="2778" y="2969"/>
                    </a:lnTo>
                    <a:lnTo>
                      <a:pt x="2768" y="2995"/>
                    </a:lnTo>
                    <a:lnTo>
                      <a:pt x="2757" y="3017"/>
                    </a:lnTo>
                    <a:lnTo>
                      <a:pt x="2741" y="3047"/>
                    </a:lnTo>
                    <a:lnTo>
                      <a:pt x="2734" y="3059"/>
                    </a:lnTo>
                    <a:lnTo>
                      <a:pt x="2732" y="3061"/>
                    </a:lnTo>
                    <a:lnTo>
                      <a:pt x="2729" y="3063"/>
                    </a:lnTo>
                    <a:lnTo>
                      <a:pt x="2727" y="3065"/>
                    </a:lnTo>
                    <a:lnTo>
                      <a:pt x="2722" y="3066"/>
                    </a:lnTo>
                    <a:close/>
                    <a:moveTo>
                      <a:pt x="124" y="74"/>
                    </a:moveTo>
                    <a:lnTo>
                      <a:pt x="124" y="74"/>
                    </a:lnTo>
                    <a:lnTo>
                      <a:pt x="199" y="112"/>
                    </a:lnTo>
                    <a:lnTo>
                      <a:pt x="271" y="153"/>
                    </a:lnTo>
                    <a:lnTo>
                      <a:pt x="341" y="200"/>
                    </a:lnTo>
                    <a:lnTo>
                      <a:pt x="408" y="248"/>
                    </a:lnTo>
                    <a:lnTo>
                      <a:pt x="474" y="302"/>
                    </a:lnTo>
                    <a:lnTo>
                      <a:pt x="537" y="358"/>
                    </a:lnTo>
                    <a:lnTo>
                      <a:pt x="597" y="418"/>
                    </a:lnTo>
                    <a:lnTo>
                      <a:pt x="655" y="479"/>
                    </a:lnTo>
                    <a:lnTo>
                      <a:pt x="712" y="544"/>
                    </a:lnTo>
                    <a:lnTo>
                      <a:pt x="766" y="611"/>
                    </a:lnTo>
                    <a:lnTo>
                      <a:pt x="816" y="679"/>
                    </a:lnTo>
                    <a:lnTo>
                      <a:pt x="866" y="749"/>
                    </a:lnTo>
                    <a:lnTo>
                      <a:pt x="914" y="821"/>
                    </a:lnTo>
                    <a:lnTo>
                      <a:pt x="960" y="894"/>
                    </a:lnTo>
                    <a:lnTo>
                      <a:pt x="1003" y="968"/>
                    </a:lnTo>
                    <a:lnTo>
                      <a:pt x="1044" y="1043"/>
                    </a:lnTo>
                    <a:lnTo>
                      <a:pt x="1084" y="1117"/>
                    </a:lnTo>
                    <a:lnTo>
                      <a:pt x="1122" y="1193"/>
                    </a:lnTo>
                    <a:lnTo>
                      <a:pt x="1159" y="1267"/>
                    </a:lnTo>
                    <a:lnTo>
                      <a:pt x="1192" y="1342"/>
                    </a:lnTo>
                    <a:lnTo>
                      <a:pt x="1226" y="1416"/>
                    </a:lnTo>
                    <a:lnTo>
                      <a:pt x="1256" y="1489"/>
                    </a:lnTo>
                    <a:lnTo>
                      <a:pt x="1285" y="1561"/>
                    </a:lnTo>
                    <a:lnTo>
                      <a:pt x="1313" y="1631"/>
                    </a:lnTo>
                    <a:lnTo>
                      <a:pt x="1339" y="1699"/>
                    </a:lnTo>
                    <a:lnTo>
                      <a:pt x="1364" y="1766"/>
                    </a:lnTo>
                    <a:lnTo>
                      <a:pt x="1386" y="1830"/>
                    </a:lnTo>
                    <a:lnTo>
                      <a:pt x="1408" y="1892"/>
                    </a:lnTo>
                    <a:lnTo>
                      <a:pt x="1447" y="2007"/>
                    </a:lnTo>
                    <a:lnTo>
                      <a:pt x="1480" y="2109"/>
                    </a:lnTo>
                    <a:lnTo>
                      <a:pt x="1493" y="2148"/>
                    </a:lnTo>
                    <a:lnTo>
                      <a:pt x="1505" y="2185"/>
                    </a:lnTo>
                    <a:lnTo>
                      <a:pt x="1517" y="2218"/>
                    </a:lnTo>
                    <a:lnTo>
                      <a:pt x="1528" y="2248"/>
                    </a:lnTo>
                    <a:lnTo>
                      <a:pt x="1537" y="2274"/>
                    </a:lnTo>
                    <a:lnTo>
                      <a:pt x="1545" y="2295"/>
                    </a:lnTo>
                    <a:lnTo>
                      <a:pt x="1552" y="2309"/>
                    </a:lnTo>
                    <a:lnTo>
                      <a:pt x="1557" y="2317"/>
                    </a:lnTo>
                    <a:lnTo>
                      <a:pt x="1593" y="2329"/>
                    </a:lnTo>
                    <a:lnTo>
                      <a:pt x="1628" y="2343"/>
                    </a:lnTo>
                    <a:lnTo>
                      <a:pt x="1665" y="2361"/>
                    </a:lnTo>
                    <a:lnTo>
                      <a:pt x="1702" y="2379"/>
                    </a:lnTo>
                    <a:lnTo>
                      <a:pt x="1737" y="2400"/>
                    </a:lnTo>
                    <a:lnTo>
                      <a:pt x="1774" y="2421"/>
                    </a:lnTo>
                    <a:lnTo>
                      <a:pt x="1811" y="2444"/>
                    </a:lnTo>
                    <a:lnTo>
                      <a:pt x="1848" y="2469"/>
                    </a:lnTo>
                    <a:lnTo>
                      <a:pt x="1883" y="2494"/>
                    </a:lnTo>
                    <a:lnTo>
                      <a:pt x="1920" y="2519"/>
                    </a:lnTo>
                    <a:lnTo>
                      <a:pt x="1956" y="2546"/>
                    </a:lnTo>
                    <a:lnTo>
                      <a:pt x="1991" y="2573"/>
                    </a:lnTo>
                    <a:lnTo>
                      <a:pt x="2062" y="2627"/>
                    </a:lnTo>
                    <a:lnTo>
                      <a:pt x="2130" y="2682"/>
                    </a:lnTo>
                    <a:lnTo>
                      <a:pt x="2180" y="2721"/>
                    </a:lnTo>
                    <a:lnTo>
                      <a:pt x="2228" y="2759"/>
                    </a:lnTo>
                    <a:lnTo>
                      <a:pt x="2275" y="2795"/>
                    </a:lnTo>
                    <a:lnTo>
                      <a:pt x="2321" y="2829"/>
                    </a:lnTo>
                    <a:lnTo>
                      <a:pt x="2365" y="2861"/>
                    </a:lnTo>
                    <a:lnTo>
                      <a:pt x="2408" y="2888"/>
                    </a:lnTo>
                    <a:lnTo>
                      <a:pt x="2428" y="2900"/>
                    </a:lnTo>
                    <a:lnTo>
                      <a:pt x="2448" y="2911"/>
                    </a:lnTo>
                    <a:lnTo>
                      <a:pt x="2468" y="2922"/>
                    </a:lnTo>
                    <a:lnTo>
                      <a:pt x="2487" y="2931"/>
                    </a:lnTo>
                    <a:lnTo>
                      <a:pt x="2717" y="3034"/>
                    </a:lnTo>
                    <a:lnTo>
                      <a:pt x="2728" y="3015"/>
                    </a:lnTo>
                    <a:lnTo>
                      <a:pt x="2743" y="2984"/>
                    </a:lnTo>
                    <a:lnTo>
                      <a:pt x="2751" y="2965"/>
                    </a:lnTo>
                    <a:lnTo>
                      <a:pt x="2760" y="2944"/>
                    </a:lnTo>
                    <a:lnTo>
                      <a:pt x="2769" y="2920"/>
                    </a:lnTo>
                    <a:lnTo>
                      <a:pt x="2777" y="2894"/>
                    </a:lnTo>
                    <a:lnTo>
                      <a:pt x="2787" y="2863"/>
                    </a:lnTo>
                    <a:lnTo>
                      <a:pt x="2797" y="2830"/>
                    </a:lnTo>
                    <a:lnTo>
                      <a:pt x="2805" y="2795"/>
                    </a:lnTo>
                    <a:lnTo>
                      <a:pt x="2813" y="2757"/>
                    </a:lnTo>
                    <a:lnTo>
                      <a:pt x="2820" y="2718"/>
                    </a:lnTo>
                    <a:lnTo>
                      <a:pt x="2826" y="2676"/>
                    </a:lnTo>
                    <a:lnTo>
                      <a:pt x="2830" y="2632"/>
                    </a:lnTo>
                    <a:lnTo>
                      <a:pt x="2833" y="2586"/>
                    </a:lnTo>
                    <a:lnTo>
                      <a:pt x="2834" y="2538"/>
                    </a:lnTo>
                    <a:lnTo>
                      <a:pt x="2834" y="2488"/>
                    </a:lnTo>
                    <a:lnTo>
                      <a:pt x="2831" y="2436"/>
                    </a:lnTo>
                    <a:lnTo>
                      <a:pt x="2827" y="2382"/>
                    </a:lnTo>
                    <a:lnTo>
                      <a:pt x="2824" y="2355"/>
                    </a:lnTo>
                    <a:lnTo>
                      <a:pt x="2819" y="2327"/>
                    </a:lnTo>
                    <a:lnTo>
                      <a:pt x="2815" y="2298"/>
                    </a:lnTo>
                    <a:lnTo>
                      <a:pt x="2810" y="2269"/>
                    </a:lnTo>
                    <a:lnTo>
                      <a:pt x="2803" y="2240"/>
                    </a:lnTo>
                    <a:lnTo>
                      <a:pt x="2797" y="2211"/>
                    </a:lnTo>
                    <a:lnTo>
                      <a:pt x="2789" y="2180"/>
                    </a:lnTo>
                    <a:lnTo>
                      <a:pt x="2782" y="2149"/>
                    </a:lnTo>
                    <a:lnTo>
                      <a:pt x="2762" y="2085"/>
                    </a:lnTo>
                    <a:lnTo>
                      <a:pt x="2743" y="2020"/>
                    </a:lnTo>
                    <a:lnTo>
                      <a:pt x="2721" y="1954"/>
                    </a:lnTo>
                    <a:lnTo>
                      <a:pt x="2697" y="1888"/>
                    </a:lnTo>
                    <a:lnTo>
                      <a:pt x="2671" y="1821"/>
                    </a:lnTo>
                    <a:lnTo>
                      <a:pt x="2646" y="1753"/>
                    </a:lnTo>
                    <a:lnTo>
                      <a:pt x="2616" y="1686"/>
                    </a:lnTo>
                    <a:lnTo>
                      <a:pt x="2586" y="1618"/>
                    </a:lnTo>
                    <a:lnTo>
                      <a:pt x="2555" y="1550"/>
                    </a:lnTo>
                    <a:lnTo>
                      <a:pt x="2521" y="1482"/>
                    </a:lnTo>
                    <a:lnTo>
                      <a:pt x="2486" y="1414"/>
                    </a:lnTo>
                    <a:lnTo>
                      <a:pt x="2449" y="1347"/>
                    </a:lnTo>
                    <a:lnTo>
                      <a:pt x="2411" y="1280"/>
                    </a:lnTo>
                    <a:lnTo>
                      <a:pt x="2371" y="1214"/>
                    </a:lnTo>
                    <a:lnTo>
                      <a:pt x="2329" y="1150"/>
                    </a:lnTo>
                    <a:lnTo>
                      <a:pt x="2286" y="1085"/>
                    </a:lnTo>
                    <a:lnTo>
                      <a:pt x="2241" y="1021"/>
                    </a:lnTo>
                    <a:lnTo>
                      <a:pt x="2194" y="959"/>
                    </a:lnTo>
                    <a:lnTo>
                      <a:pt x="2146" y="897"/>
                    </a:lnTo>
                    <a:lnTo>
                      <a:pt x="2096" y="837"/>
                    </a:lnTo>
                    <a:lnTo>
                      <a:pt x="2044" y="778"/>
                    </a:lnTo>
                    <a:lnTo>
                      <a:pt x="1990" y="721"/>
                    </a:lnTo>
                    <a:lnTo>
                      <a:pt x="1936" y="666"/>
                    </a:lnTo>
                    <a:lnTo>
                      <a:pt x="1879" y="613"/>
                    </a:lnTo>
                    <a:lnTo>
                      <a:pt x="1821" y="561"/>
                    </a:lnTo>
                    <a:lnTo>
                      <a:pt x="1760" y="512"/>
                    </a:lnTo>
                    <a:lnTo>
                      <a:pt x="1699" y="464"/>
                    </a:lnTo>
                    <a:lnTo>
                      <a:pt x="1636" y="420"/>
                    </a:lnTo>
                    <a:lnTo>
                      <a:pt x="1570" y="377"/>
                    </a:lnTo>
                    <a:lnTo>
                      <a:pt x="1504" y="337"/>
                    </a:lnTo>
                    <a:lnTo>
                      <a:pt x="1435" y="300"/>
                    </a:lnTo>
                    <a:lnTo>
                      <a:pt x="1366" y="265"/>
                    </a:lnTo>
                    <a:lnTo>
                      <a:pt x="1287" y="230"/>
                    </a:lnTo>
                    <a:lnTo>
                      <a:pt x="1213" y="199"/>
                    </a:lnTo>
                    <a:lnTo>
                      <a:pt x="1140" y="170"/>
                    </a:lnTo>
                    <a:lnTo>
                      <a:pt x="1071" y="145"/>
                    </a:lnTo>
                    <a:lnTo>
                      <a:pt x="1005" y="123"/>
                    </a:lnTo>
                    <a:lnTo>
                      <a:pt x="942" y="104"/>
                    </a:lnTo>
                    <a:lnTo>
                      <a:pt x="881" y="86"/>
                    </a:lnTo>
                    <a:lnTo>
                      <a:pt x="823" y="72"/>
                    </a:lnTo>
                    <a:lnTo>
                      <a:pt x="769" y="60"/>
                    </a:lnTo>
                    <a:lnTo>
                      <a:pt x="717" y="51"/>
                    </a:lnTo>
                    <a:lnTo>
                      <a:pt x="667" y="42"/>
                    </a:lnTo>
                    <a:lnTo>
                      <a:pt x="621" y="37"/>
                    </a:lnTo>
                    <a:lnTo>
                      <a:pt x="578" y="32"/>
                    </a:lnTo>
                    <a:lnTo>
                      <a:pt x="538" y="29"/>
                    </a:lnTo>
                    <a:lnTo>
                      <a:pt x="500" y="27"/>
                    </a:lnTo>
                    <a:lnTo>
                      <a:pt x="465" y="27"/>
                    </a:lnTo>
                    <a:lnTo>
                      <a:pt x="430" y="27"/>
                    </a:lnTo>
                    <a:lnTo>
                      <a:pt x="397" y="29"/>
                    </a:lnTo>
                    <a:lnTo>
                      <a:pt x="366" y="31"/>
                    </a:lnTo>
                    <a:lnTo>
                      <a:pt x="338" y="34"/>
                    </a:lnTo>
                    <a:lnTo>
                      <a:pt x="311" y="38"/>
                    </a:lnTo>
                    <a:lnTo>
                      <a:pt x="287" y="42"/>
                    </a:lnTo>
                    <a:lnTo>
                      <a:pt x="266" y="46"/>
                    </a:lnTo>
                    <a:lnTo>
                      <a:pt x="247" y="52"/>
                    </a:lnTo>
                    <a:lnTo>
                      <a:pt x="215" y="60"/>
                    </a:lnTo>
                    <a:lnTo>
                      <a:pt x="192" y="69"/>
                    </a:lnTo>
                    <a:lnTo>
                      <a:pt x="179" y="74"/>
                    </a:lnTo>
                    <a:lnTo>
                      <a:pt x="174" y="77"/>
                    </a:lnTo>
                    <a:lnTo>
                      <a:pt x="171" y="78"/>
                    </a:lnTo>
                    <a:lnTo>
                      <a:pt x="167" y="78"/>
                    </a:lnTo>
                    <a:lnTo>
                      <a:pt x="164" y="78"/>
                    </a:lnTo>
                    <a:lnTo>
                      <a:pt x="155" y="78"/>
                    </a:lnTo>
                    <a:lnTo>
                      <a:pt x="141" y="77"/>
                    </a:lnTo>
                    <a:lnTo>
                      <a:pt x="12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30"/>
              <p:cNvSpPr>
                <a:spLocks/>
              </p:cNvSpPr>
              <p:nvPr userDrawn="1"/>
            </p:nvSpPr>
            <p:spPr bwMode="auto">
              <a:xfrm>
                <a:off x="760" y="3190"/>
                <a:ext cx="391" cy="723"/>
              </a:xfrm>
              <a:custGeom>
                <a:avLst/>
                <a:gdLst>
                  <a:gd name="T0" fmla="*/ 1154 w 1172"/>
                  <a:gd name="T1" fmla="*/ 2167 h 2168"/>
                  <a:gd name="T2" fmla="*/ 1146 w 1172"/>
                  <a:gd name="T3" fmla="*/ 2160 h 2168"/>
                  <a:gd name="T4" fmla="*/ 1145 w 1172"/>
                  <a:gd name="T5" fmla="*/ 2146 h 2168"/>
                  <a:gd name="T6" fmla="*/ 1144 w 1172"/>
                  <a:gd name="T7" fmla="*/ 2087 h 2168"/>
                  <a:gd name="T8" fmla="*/ 1140 w 1172"/>
                  <a:gd name="T9" fmla="*/ 1978 h 2168"/>
                  <a:gd name="T10" fmla="*/ 1130 w 1172"/>
                  <a:gd name="T11" fmla="*/ 1828 h 2168"/>
                  <a:gd name="T12" fmla="*/ 1113 w 1172"/>
                  <a:gd name="T13" fmla="*/ 1646 h 2168"/>
                  <a:gd name="T14" fmla="*/ 1093 w 1172"/>
                  <a:gd name="T15" fmla="*/ 1492 h 2168"/>
                  <a:gd name="T16" fmla="*/ 1078 w 1172"/>
                  <a:gd name="T17" fmla="*/ 1384 h 2168"/>
                  <a:gd name="T18" fmla="*/ 1059 w 1172"/>
                  <a:gd name="T19" fmla="*/ 1272 h 2168"/>
                  <a:gd name="T20" fmla="*/ 1036 w 1172"/>
                  <a:gd name="T21" fmla="*/ 1159 h 2168"/>
                  <a:gd name="T22" fmla="*/ 1011 w 1172"/>
                  <a:gd name="T23" fmla="*/ 1043 h 2168"/>
                  <a:gd name="T24" fmla="*/ 982 w 1172"/>
                  <a:gd name="T25" fmla="*/ 927 h 2168"/>
                  <a:gd name="T26" fmla="*/ 948 w 1172"/>
                  <a:gd name="T27" fmla="*/ 812 h 2168"/>
                  <a:gd name="T28" fmla="*/ 901 w 1172"/>
                  <a:gd name="T29" fmla="*/ 706 h 2168"/>
                  <a:gd name="T30" fmla="*/ 844 w 1172"/>
                  <a:gd name="T31" fmla="*/ 609 h 2168"/>
                  <a:gd name="T32" fmla="*/ 778 w 1172"/>
                  <a:gd name="T33" fmla="*/ 521 h 2168"/>
                  <a:gd name="T34" fmla="*/ 706 w 1172"/>
                  <a:gd name="T35" fmla="*/ 441 h 2168"/>
                  <a:gd name="T36" fmla="*/ 628 w 1172"/>
                  <a:gd name="T37" fmla="*/ 367 h 2168"/>
                  <a:gd name="T38" fmla="*/ 547 w 1172"/>
                  <a:gd name="T39" fmla="*/ 303 h 2168"/>
                  <a:gd name="T40" fmla="*/ 465 w 1172"/>
                  <a:gd name="T41" fmla="*/ 245 h 2168"/>
                  <a:gd name="T42" fmla="*/ 384 w 1172"/>
                  <a:gd name="T43" fmla="*/ 196 h 2168"/>
                  <a:gd name="T44" fmla="*/ 306 w 1172"/>
                  <a:gd name="T45" fmla="*/ 153 h 2168"/>
                  <a:gd name="T46" fmla="*/ 233 w 1172"/>
                  <a:gd name="T47" fmla="*/ 116 h 2168"/>
                  <a:gd name="T48" fmla="*/ 167 w 1172"/>
                  <a:gd name="T49" fmla="*/ 86 h 2168"/>
                  <a:gd name="T50" fmla="*/ 86 w 1172"/>
                  <a:gd name="T51" fmla="*/ 53 h 2168"/>
                  <a:gd name="T52" fmla="*/ 20 w 1172"/>
                  <a:gd name="T53" fmla="*/ 31 h 2168"/>
                  <a:gd name="T54" fmla="*/ 5 w 1172"/>
                  <a:gd name="T55" fmla="*/ 25 h 2168"/>
                  <a:gd name="T56" fmla="*/ 0 w 1172"/>
                  <a:gd name="T57" fmla="*/ 16 h 2168"/>
                  <a:gd name="T58" fmla="*/ 3 w 1172"/>
                  <a:gd name="T59" fmla="*/ 6 h 2168"/>
                  <a:gd name="T60" fmla="*/ 11 w 1172"/>
                  <a:gd name="T61" fmla="*/ 0 h 2168"/>
                  <a:gd name="T62" fmla="*/ 28 w 1172"/>
                  <a:gd name="T63" fmla="*/ 5 h 2168"/>
                  <a:gd name="T64" fmla="*/ 95 w 1172"/>
                  <a:gd name="T65" fmla="*/ 27 h 2168"/>
                  <a:gd name="T66" fmla="*/ 178 w 1172"/>
                  <a:gd name="T67" fmla="*/ 61 h 2168"/>
                  <a:gd name="T68" fmla="*/ 245 w 1172"/>
                  <a:gd name="T69" fmla="*/ 92 h 2168"/>
                  <a:gd name="T70" fmla="*/ 319 w 1172"/>
                  <a:gd name="T71" fmla="*/ 129 h 2168"/>
                  <a:gd name="T72" fmla="*/ 399 w 1172"/>
                  <a:gd name="T73" fmla="*/ 173 h 2168"/>
                  <a:gd name="T74" fmla="*/ 481 w 1172"/>
                  <a:gd name="T75" fmla="*/ 224 h 2168"/>
                  <a:gd name="T76" fmla="*/ 564 w 1172"/>
                  <a:gd name="T77" fmla="*/ 282 h 2168"/>
                  <a:gd name="T78" fmla="*/ 646 w 1172"/>
                  <a:gd name="T79" fmla="*/ 349 h 2168"/>
                  <a:gd name="T80" fmla="*/ 726 w 1172"/>
                  <a:gd name="T81" fmla="*/ 424 h 2168"/>
                  <a:gd name="T82" fmla="*/ 801 w 1172"/>
                  <a:gd name="T83" fmla="*/ 506 h 2168"/>
                  <a:gd name="T84" fmla="*/ 868 w 1172"/>
                  <a:gd name="T85" fmla="*/ 596 h 2168"/>
                  <a:gd name="T86" fmla="*/ 926 w 1172"/>
                  <a:gd name="T87" fmla="*/ 696 h 2168"/>
                  <a:gd name="T88" fmla="*/ 972 w 1172"/>
                  <a:gd name="T89" fmla="*/ 804 h 2168"/>
                  <a:gd name="T90" fmla="*/ 1008 w 1172"/>
                  <a:gd name="T91" fmla="*/ 919 h 2168"/>
                  <a:gd name="T92" fmla="*/ 1037 w 1172"/>
                  <a:gd name="T93" fmla="*/ 1037 h 2168"/>
                  <a:gd name="T94" fmla="*/ 1063 w 1172"/>
                  <a:gd name="T95" fmla="*/ 1152 h 2168"/>
                  <a:gd name="T96" fmla="*/ 1086 w 1172"/>
                  <a:gd name="T97" fmla="*/ 1268 h 2168"/>
                  <a:gd name="T98" fmla="*/ 1104 w 1172"/>
                  <a:gd name="T99" fmla="*/ 1380 h 2168"/>
                  <a:gd name="T100" fmla="*/ 1120 w 1172"/>
                  <a:gd name="T101" fmla="*/ 1489 h 2168"/>
                  <a:gd name="T102" fmla="*/ 1140 w 1172"/>
                  <a:gd name="T103" fmla="*/ 1642 h 2168"/>
                  <a:gd name="T104" fmla="*/ 1157 w 1172"/>
                  <a:gd name="T105" fmla="*/ 1826 h 2168"/>
                  <a:gd name="T106" fmla="*/ 1167 w 1172"/>
                  <a:gd name="T107" fmla="*/ 1977 h 2168"/>
                  <a:gd name="T108" fmla="*/ 1171 w 1172"/>
                  <a:gd name="T109" fmla="*/ 2086 h 2168"/>
                  <a:gd name="T110" fmla="*/ 1172 w 1172"/>
                  <a:gd name="T111" fmla="*/ 2146 h 2168"/>
                  <a:gd name="T112" fmla="*/ 1171 w 1172"/>
                  <a:gd name="T113" fmla="*/ 2160 h 2168"/>
                  <a:gd name="T114" fmla="*/ 1165 w 1172"/>
                  <a:gd name="T115" fmla="*/ 2167 h 2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72" h="2168">
                    <a:moveTo>
                      <a:pt x="1159" y="2168"/>
                    </a:moveTo>
                    <a:lnTo>
                      <a:pt x="1154" y="2167"/>
                    </a:lnTo>
                    <a:lnTo>
                      <a:pt x="1150" y="2165"/>
                    </a:lnTo>
                    <a:lnTo>
                      <a:pt x="1146" y="2160"/>
                    </a:lnTo>
                    <a:lnTo>
                      <a:pt x="1145" y="2155"/>
                    </a:lnTo>
                    <a:lnTo>
                      <a:pt x="1145" y="2146"/>
                    </a:lnTo>
                    <a:lnTo>
                      <a:pt x="1145" y="2123"/>
                    </a:lnTo>
                    <a:lnTo>
                      <a:pt x="1144" y="2087"/>
                    </a:lnTo>
                    <a:lnTo>
                      <a:pt x="1142" y="2037"/>
                    </a:lnTo>
                    <a:lnTo>
                      <a:pt x="1140" y="1978"/>
                    </a:lnTo>
                    <a:lnTo>
                      <a:pt x="1136" y="1908"/>
                    </a:lnTo>
                    <a:lnTo>
                      <a:pt x="1130" y="1828"/>
                    </a:lnTo>
                    <a:lnTo>
                      <a:pt x="1123" y="1741"/>
                    </a:lnTo>
                    <a:lnTo>
                      <a:pt x="1113" y="1646"/>
                    </a:lnTo>
                    <a:lnTo>
                      <a:pt x="1101" y="1545"/>
                    </a:lnTo>
                    <a:lnTo>
                      <a:pt x="1093" y="1492"/>
                    </a:lnTo>
                    <a:lnTo>
                      <a:pt x="1086" y="1438"/>
                    </a:lnTo>
                    <a:lnTo>
                      <a:pt x="1078" y="1384"/>
                    </a:lnTo>
                    <a:lnTo>
                      <a:pt x="1069" y="1329"/>
                    </a:lnTo>
                    <a:lnTo>
                      <a:pt x="1059" y="1272"/>
                    </a:lnTo>
                    <a:lnTo>
                      <a:pt x="1048" y="1216"/>
                    </a:lnTo>
                    <a:lnTo>
                      <a:pt x="1036" y="1159"/>
                    </a:lnTo>
                    <a:lnTo>
                      <a:pt x="1024" y="1100"/>
                    </a:lnTo>
                    <a:lnTo>
                      <a:pt x="1011" y="1043"/>
                    </a:lnTo>
                    <a:lnTo>
                      <a:pt x="997" y="985"/>
                    </a:lnTo>
                    <a:lnTo>
                      <a:pt x="982" y="927"/>
                    </a:lnTo>
                    <a:lnTo>
                      <a:pt x="966" y="868"/>
                    </a:lnTo>
                    <a:lnTo>
                      <a:pt x="948" y="812"/>
                    </a:lnTo>
                    <a:lnTo>
                      <a:pt x="926" y="758"/>
                    </a:lnTo>
                    <a:lnTo>
                      <a:pt x="901" y="706"/>
                    </a:lnTo>
                    <a:lnTo>
                      <a:pt x="874" y="657"/>
                    </a:lnTo>
                    <a:lnTo>
                      <a:pt x="844" y="609"/>
                    </a:lnTo>
                    <a:lnTo>
                      <a:pt x="813" y="564"/>
                    </a:lnTo>
                    <a:lnTo>
                      <a:pt x="778" y="521"/>
                    </a:lnTo>
                    <a:lnTo>
                      <a:pt x="742" y="480"/>
                    </a:lnTo>
                    <a:lnTo>
                      <a:pt x="706" y="441"/>
                    </a:lnTo>
                    <a:lnTo>
                      <a:pt x="667" y="403"/>
                    </a:lnTo>
                    <a:lnTo>
                      <a:pt x="628" y="367"/>
                    </a:lnTo>
                    <a:lnTo>
                      <a:pt x="588" y="334"/>
                    </a:lnTo>
                    <a:lnTo>
                      <a:pt x="547" y="303"/>
                    </a:lnTo>
                    <a:lnTo>
                      <a:pt x="506" y="274"/>
                    </a:lnTo>
                    <a:lnTo>
                      <a:pt x="465" y="245"/>
                    </a:lnTo>
                    <a:lnTo>
                      <a:pt x="424" y="220"/>
                    </a:lnTo>
                    <a:lnTo>
                      <a:pt x="384" y="196"/>
                    </a:lnTo>
                    <a:lnTo>
                      <a:pt x="345" y="173"/>
                    </a:lnTo>
                    <a:lnTo>
                      <a:pt x="306" y="153"/>
                    </a:lnTo>
                    <a:lnTo>
                      <a:pt x="270" y="133"/>
                    </a:lnTo>
                    <a:lnTo>
                      <a:pt x="233" y="116"/>
                    </a:lnTo>
                    <a:lnTo>
                      <a:pt x="199" y="100"/>
                    </a:lnTo>
                    <a:lnTo>
                      <a:pt x="167" y="86"/>
                    </a:lnTo>
                    <a:lnTo>
                      <a:pt x="138" y="74"/>
                    </a:lnTo>
                    <a:lnTo>
                      <a:pt x="86" y="53"/>
                    </a:lnTo>
                    <a:lnTo>
                      <a:pt x="46" y="39"/>
                    </a:lnTo>
                    <a:lnTo>
                      <a:pt x="20" y="31"/>
                    </a:lnTo>
                    <a:lnTo>
                      <a:pt x="9" y="27"/>
                    </a:lnTo>
                    <a:lnTo>
                      <a:pt x="5" y="25"/>
                    </a:lnTo>
                    <a:lnTo>
                      <a:pt x="2" y="21"/>
                    </a:lnTo>
                    <a:lnTo>
                      <a:pt x="0" y="16"/>
                    </a:lnTo>
                    <a:lnTo>
                      <a:pt x="1" y="10"/>
                    </a:lnTo>
                    <a:lnTo>
                      <a:pt x="3" y="6"/>
                    </a:lnTo>
                    <a:lnTo>
                      <a:pt x="7" y="3"/>
                    </a:lnTo>
                    <a:lnTo>
                      <a:pt x="11" y="0"/>
                    </a:lnTo>
                    <a:lnTo>
                      <a:pt x="17" y="2"/>
                    </a:lnTo>
                    <a:lnTo>
                      <a:pt x="28" y="5"/>
                    </a:lnTo>
                    <a:lnTo>
                      <a:pt x="54" y="13"/>
                    </a:lnTo>
                    <a:lnTo>
                      <a:pt x="95" y="27"/>
                    </a:lnTo>
                    <a:lnTo>
                      <a:pt x="147" y="49"/>
                    </a:lnTo>
                    <a:lnTo>
                      <a:pt x="178" y="61"/>
                    </a:lnTo>
                    <a:lnTo>
                      <a:pt x="210" y="76"/>
                    </a:lnTo>
                    <a:lnTo>
                      <a:pt x="245" y="92"/>
                    </a:lnTo>
                    <a:lnTo>
                      <a:pt x="281" y="109"/>
                    </a:lnTo>
                    <a:lnTo>
                      <a:pt x="319" y="129"/>
                    </a:lnTo>
                    <a:lnTo>
                      <a:pt x="358" y="150"/>
                    </a:lnTo>
                    <a:lnTo>
                      <a:pt x="399" y="173"/>
                    </a:lnTo>
                    <a:lnTo>
                      <a:pt x="439" y="198"/>
                    </a:lnTo>
                    <a:lnTo>
                      <a:pt x="481" y="224"/>
                    </a:lnTo>
                    <a:lnTo>
                      <a:pt x="523" y="252"/>
                    </a:lnTo>
                    <a:lnTo>
                      <a:pt x="564" y="282"/>
                    </a:lnTo>
                    <a:lnTo>
                      <a:pt x="606" y="315"/>
                    </a:lnTo>
                    <a:lnTo>
                      <a:pt x="646" y="349"/>
                    </a:lnTo>
                    <a:lnTo>
                      <a:pt x="687" y="385"/>
                    </a:lnTo>
                    <a:lnTo>
                      <a:pt x="726" y="424"/>
                    </a:lnTo>
                    <a:lnTo>
                      <a:pt x="764" y="464"/>
                    </a:lnTo>
                    <a:lnTo>
                      <a:pt x="801" y="506"/>
                    </a:lnTo>
                    <a:lnTo>
                      <a:pt x="835" y="550"/>
                    </a:lnTo>
                    <a:lnTo>
                      <a:pt x="868" y="596"/>
                    </a:lnTo>
                    <a:lnTo>
                      <a:pt x="898" y="645"/>
                    </a:lnTo>
                    <a:lnTo>
                      <a:pt x="926" y="696"/>
                    </a:lnTo>
                    <a:lnTo>
                      <a:pt x="951" y="749"/>
                    </a:lnTo>
                    <a:lnTo>
                      <a:pt x="972" y="804"/>
                    </a:lnTo>
                    <a:lnTo>
                      <a:pt x="992" y="861"/>
                    </a:lnTo>
                    <a:lnTo>
                      <a:pt x="1008" y="919"/>
                    </a:lnTo>
                    <a:lnTo>
                      <a:pt x="1023" y="977"/>
                    </a:lnTo>
                    <a:lnTo>
                      <a:pt x="1037" y="1037"/>
                    </a:lnTo>
                    <a:lnTo>
                      <a:pt x="1050" y="1095"/>
                    </a:lnTo>
                    <a:lnTo>
                      <a:pt x="1063" y="1152"/>
                    </a:lnTo>
                    <a:lnTo>
                      <a:pt x="1075" y="1211"/>
                    </a:lnTo>
                    <a:lnTo>
                      <a:pt x="1086" y="1268"/>
                    </a:lnTo>
                    <a:lnTo>
                      <a:pt x="1096" y="1324"/>
                    </a:lnTo>
                    <a:lnTo>
                      <a:pt x="1104" y="1380"/>
                    </a:lnTo>
                    <a:lnTo>
                      <a:pt x="1113" y="1435"/>
                    </a:lnTo>
                    <a:lnTo>
                      <a:pt x="1120" y="1489"/>
                    </a:lnTo>
                    <a:lnTo>
                      <a:pt x="1128" y="1541"/>
                    </a:lnTo>
                    <a:lnTo>
                      <a:pt x="1140" y="1642"/>
                    </a:lnTo>
                    <a:lnTo>
                      <a:pt x="1150" y="1738"/>
                    </a:lnTo>
                    <a:lnTo>
                      <a:pt x="1157" y="1826"/>
                    </a:lnTo>
                    <a:lnTo>
                      <a:pt x="1163" y="1906"/>
                    </a:lnTo>
                    <a:lnTo>
                      <a:pt x="1167" y="1977"/>
                    </a:lnTo>
                    <a:lnTo>
                      <a:pt x="1169" y="2037"/>
                    </a:lnTo>
                    <a:lnTo>
                      <a:pt x="1171" y="2086"/>
                    </a:lnTo>
                    <a:lnTo>
                      <a:pt x="1172" y="2123"/>
                    </a:lnTo>
                    <a:lnTo>
                      <a:pt x="1172" y="2146"/>
                    </a:lnTo>
                    <a:lnTo>
                      <a:pt x="1172" y="2155"/>
                    </a:lnTo>
                    <a:lnTo>
                      <a:pt x="1171" y="2160"/>
                    </a:lnTo>
                    <a:lnTo>
                      <a:pt x="1169" y="2165"/>
                    </a:lnTo>
                    <a:lnTo>
                      <a:pt x="1165" y="2167"/>
                    </a:lnTo>
                    <a:lnTo>
                      <a:pt x="1159" y="2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31"/>
              <p:cNvSpPr>
                <a:spLocks/>
              </p:cNvSpPr>
              <p:nvPr userDrawn="1"/>
            </p:nvSpPr>
            <p:spPr bwMode="auto">
              <a:xfrm>
                <a:off x="892" y="3028"/>
                <a:ext cx="339" cy="779"/>
              </a:xfrm>
              <a:custGeom>
                <a:avLst/>
                <a:gdLst>
                  <a:gd name="T0" fmla="*/ 935 w 1018"/>
                  <a:gd name="T1" fmla="*/ 2336 h 2338"/>
                  <a:gd name="T2" fmla="*/ 896 w 1018"/>
                  <a:gd name="T3" fmla="*/ 2286 h 2338"/>
                  <a:gd name="T4" fmla="*/ 831 w 1018"/>
                  <a:gd name="T5" fmla="*/ 2179 h 2338"/>
                  <a:gd name="T6" fmla="*/ 776 w 1018"/>
                  <a:gd name="T7" fmla="*/ 2055 h 2338"/>
                  <a:gd name="T8" fmla="*/ 733 w 1018"/>
                  <a:gd name="T9" fmla="*/ 1899 h 2338"/>
                  <a:gd name="T10" fmla="*/ 713 w 1018"/>
                  <a:gd name="T11" fmla="*/ 1714 h 2338"/>
                  <a:gd name="T12" fmla="*/ 731 w 1018"/>
                  <a:gd name="T13" fmla="*/ 1502 h 2338"/>
                  <a:gd name="T14" fmla="*/ 800 w 1018"/>
                  <a:gd name="T15" fmla="*/ 1267 h 2338"/>
                  <a:gd name="T16" fmla="*/ 884 w 1018"/>
                  <a:gd name="T17" fmla="*/ 1069 h 2338"/>
                  <a:gd name="T18" fmla="*/ 941 w 1018"/>
                  <a:gd name="T19" fmla="*/ 900 h 2338"/>
                  <a:gd name="T20" fmla="*/ 977 w 1018"/>
                  <a:gd name="T21" fmla="*/ 744 h 2338"/>
                  <a:gd name="T22" fmla="*/ 991 w 1018"/>
                  <a:gd name="T23" fmla="*/ 602 h 2338"/>
                  <a:gd name="T24" fmla="*/ 982 w 1018"/>
                  <a:gd name="T25" fmla="*/ 475 h 2338"/>
                  <a:gd name="T26" fmla="*/ 952 w 1018"/>
                  <a:gd name="T27" fmla="*/ 361 h 2338"/>
                  <a:gd name="T28" fmla="*/ 901 w 1018"/>
                  <a:gd name="T29" fmla="*/ 264 h 2338"/>
                  <a:gd name="T30" fmla="*/ 828 w 1018"/>
                  <a:gd name="T31" fmla="*/ 182 h 2338"/>
                  <a:gd name="T32" fmla="*/ 729 w 1018"/>
                  <a:gd name="T33" fmla="*/ 114 h 2338"/>
                  <a:gd name="T34" fmla="*/ 613 w 1018"/>
                  <a:gd name="T35" fmla="*/ 68 h 2338"/>
                  <a:gd name="T36" fmla="*/ 492 w 1018"/>
                  <a:gd name="T37" fmla="*/ 40 h 2338"/>
                  <a:gd name="T38" fmla="*/ 372 w 1018"/>
                  <a:gd name="T39" fmla="*/ 28 h 2338"/>
                  <a:gd name="T40" fmla="*/ 258 w 1018"/>
                  <a:gd name="T41" fmla="*/ 29 h 2338"/>
                  <a:gd name="T42" fmla="*/ 158 w 1018"/>
                  <a:gd name="T43" fmla="*/ 40 h 2338"/>
                  <a:gd name="T44" fmla="*/ 80 w 1018"/>
                  <a:gd name="T45" fmla="*/ 57 h 2338"/>
                  <a:gd name="T46" fmla="*/ 29 w 1018"/>
                  <a:gd name="T47" fmla="*/ 77 h 2338"/>
                  <a:gd name="T48" fmla="*/ 6 w 1018"/>
                  <a:gd name="T49" fmla="*/ 84 h 2338"/>
                  <a:gd name="T50" fmla="*/ 1 w 1018"/>
                  <a:gd name="T51" fmla="*/ 65 h 2338"/>
                  <a:gd name="T52" fmla="*/ 37 w 1018"/>
                  <a:gd name="T53" fmla="*/ 44 h 2338"/>
                  <a:gd name="T54" fmla="*/ 108 w 1018"/>
                  <a:gd name="T55" fmla="*/ 22 h 2338"/>
                  <a:gd name="T56" fmla="*/ 202 w 1018"/>
                  <a:gd name="T57" fmla="*/ 6 h 2338"/>
                  <a:gd name="T58" fmla="*/ 314 w 1018"/>
                  <a:gd name="T59" fmla="*/ 0 h 2338"/>
                  <a:gd name="T60" fmla="*/ 436 w 1018"/>
                  <a:gd name="T61" fmla="*/ 5 h 2338"/>
                  <a:gd name="T62" fmla="*/ 561 w 1018"/>
                  <a:gd name="T63" fmla="*/ 26 h 2338"/>
                  <a:gd name="T64" fmla="*/ 684 w 1018"/>
                  <a:gd name="T65" fmla="*/ 64 h 2338"/>
                  <a:gd name="T66" fmla="*/ 797 w 1018"/>
                  <a:gd name="T67" fmla="*/ 124 h 2338"/>
                  <a:gd name="T68" fmla="*/ 870 w 1018"/>
                  <a:gd name="T69" fmla="*/ 185 h 2338"/>
                  <a:gd name="T70" fmla="*/ 928 w 1018"/>
                  <a:gd name="T71" fmla="*/ 257 h 2338"/>
                  <a:gd name="T72" fmla="*/ 976 w 1018"/>
                  <a:gd name="T73" fmla="*/ 347 h 2338"/>
                  <a:gd name="T74" fmla="*/ 1007 w 1018"/>
                  <a:gd name="T75" fmla="*/ 458 h 2338"/>
                  <a:gd name="T76" fmla="*/ 1018 w 1018"/>
                  <a:gd name="T77" fmla="*/ 593 h 2338"/>
                  <a:gd name="T78" fmla="*/ 1003 w 1018"/>
                  <a:gd name="T79" fmla="*/ 753 h 2338"/>
                  <a:gd name="T80" fmla="*/ 957 w 1018"/>
                  <a:gd name="T81" fmla="*/ 940 h 2338"/>
                  <a:gd name="T82" fmla="*/ 878 w 1018"/>
                  <a:gd name="T83" fmla="*/ 1157 h 2338"/>
                  <a:gd name="T84" fmla="*/ 785 w 1018"/>
                  <a:gd name="T85" fmla="*/ 1394 h 2338"/>
                  <a:gd name="T86" fmla="*/ 744 w 1018"/>
                  <a:gd name="T87" fmla="*/ 1612 h 2338"/>
                  <a:gd name="T88" fmla="*/ 746 w 1018"/>
                  <a:gd name="T89" fmla="*/ 1806 h 2338"/>
                  <a:gd name="T90" fmla="*/ 777 w 1018"/>
                  <a:gd name="T91" fmla="*/ 1972 h 2338"/>
                  <a:gd name="T92" fmla="*/ 827 w 1018"/>
                  <a:gd name="T93" fmla="*/ 2109 h 2338"/>
                  <a:gd name="T94" fmla="*/ 881 w 1018"/>
                  <a:gd name="T95" fmla="*/ 2214 h 2338"/>
                  <a:gd name="T96" fmla="*/ 948 w 1018"/>
                  <a:gd name="T97" fmla="*/ 2310 h 2338"/>
                  <a:gd name="T98" fmla="*/ 955 w 1018"/>
                  <a:gd name="T99" fmla="*/ 2330 h 2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8" h="2338">
                    <a:moveTo>
                      <a:pt x="943" y="2338"/>
                    </a:moveTo>
                    <a:lnTo>
                      <a:pt x="940" y="2338"/>
                    </a:lnTo>
                    <a:lnTo>
                      <a:pt x="938" y="2337"/>
                    </a:lnTo>
                    <a:lnTo>
                      <a:pt x="935" y="2336"/>
                    </a:lnTo>
                    <a:lnTo>
                      <a:pt x="933" y="2333"/>
                    </a:lnTo>
                    <a:lnTo>
                      <a:pt x="928" y="2328"/>
                    </a:lnTo>
                    <a:lnTo>
                      <a:pt x="914" y="2312"/>
                    </a:lnTo>
                    <a:lnTo>
                      <a:pt x="896" y="2286"/>
                    </a:lnTo>
                    <a:lnTo>
                      <a:pt x="872" y="2250"/>
                    </a:lnTo>
                    <a:lnTo>
                      <a:pt x="858" y="2229"/>
                    </a:lnTo>
                    <a:lnTo>
                      <a:pt x="845" y="2205"/>
                    </a:lnTo>
                    <a:lnTo>
                      <a:pt x="831" y="2179"/>
                    </a:lnTo>
                    <a:lnTo>
                      <a:pt x="817" y="2151"/>
                    </a:lnTo>
                    <a:lnTo>
                      <a:pt x="803" y="2122"/>
                    </a:lnTo>
                    <a:lnTo>
                      <a:pt x="789" y="2089"/>
                    </a:lnTo>
                    <a:lnTo>
                      <a:pt x="776" y="2055"/>
                    </a:lnTo>
                    <a:lnTo>
                      <a:pt x="763" y="2019"/>
                    </a:lnTo>
                    <a:lnTo>
                      <a:pt x="752" y="1982"/>
                    </a:lnTo>
                    <a:lnTo>
                      <a:pt x="742" y="1942"/>
                    </a:lnTo>
                    <a:lnTo>
                      <a:pt x="733" y="1899"/>
                    </a:lnTo>
                    <a:lnTo>
                      <a:pt x="724" y="1855"/>
                    </a:lnTo>
                    <a:lnTo>
                      <a:pt x="719" y="1810"/>
                    </a:lnTo>
                    <a:lnTo>
                      <a:pt x="715" y="1763"/>
                    </a:lnTo>
                    <a:lnTo>
                      <a:pt x="713" y="1714"/>
                    </a:lnTo>
                    <a:lnTo>
                      <a:pt x="713" y="1663"/>
                    </a:lnTo>
                    <a:lnTo>
                      <a:pt x="717" y="1611"/>
                    </a:lnTo>
                    <a:lnTo>
                      <a:pt x="722" y="1557"/>
                    </a:lnTo>
                    <a:lnTo>
                      <a:pt x="731" y="1502"/>
                    </a:lnTo>
                    <a:lnTo>
                      <a:pt x="743" y="1446"/>
                    </a:lnTo>
                    <a:lnTo>
                      <a:pt x="759" y="1388"/>
                    </a:lnTo>
                    <a:lnTo>
                      <a:pt x="777" y="1328"/>
                    </a:lnTo>
                    <a:lnTo>
                      <a:pt x="800" y="1267"/>
                    </a:lnTo>
                    <a:lnTo>
                      <a:pt x="827" y="1205"/>
                    </a:lnTo>
                    <a:lnTo>
                      <a:pt x="847" y="1159"/>
                    </a:lnTo>
                    <a:lnTo>
                      <a:pt x="866" y="1114"/>
                    </a:lnTo>
                    <a:lnTo>
                      <a:pt x="884" y="1069"/>
                    </a:lnTo>
                    <a:lnTo>
                      <a:pt x="900" y="1026"/>
                    </a:lnTo>
                    <a:lnTo>
                      <a:pt x="915" y="983"/>
                    </a:lnTo>
                    <a:lnTo>
                      <a:pt x="929" y="941"/>
                    </a:lnTo>
                    <a:lnTo>
                      <a:pt x="941" y="900"/>
                    </a:lnTo>
                    <a:lnTo>
                      <a:pt x="952" y="860"/>
                    </a:lnTo>
                    <a:lnTo>
                      <a:pt x="962" y="820"/>
                    </a:lnTo>
                    <a:lnTo>
                      <a:pt x="970" y="781"/>
                    </a:lnTo>
                    <a:lnTo>
                      <a:pt x="977" y="744"/>
                    </a:lnTo>
                    <a:lnTo>
                      <a:pt x="982" y="707"/>
                    </a:lnTo>
                    <a:lnTo>
                      <a:pt x="987" y="671"/>
                    </a:lnTo>
                    <a:lnTo>
                      <a:pt x="989" y="636"/>
                    </a:lnTo>
                    <a:lnTo>
                      <a:pt x="991" y="602"/>
                    </a:lnTo>
                    <a:lnTo>
                      <a:pt x="991" y="568"/>
                    </a:lnTo>
                    <a:lnTo>
                      <a:pt x="989" y="536"/>
                    </a:lnTo>
                    <a:lnTo>
                      <a:pt x="987" y="505"/>
                    </a:lnTo>
                    <a:lnTo>
                      <a:pt x="982" y="475"/>
                    </a:lnTo>
                    <a:lnTo>
                      <a:pt x="977" y="444"/>
                    </a:lnTo>
                    <a:lnTo>
                      <a:pt x="970" y="416"/>
                    </a:lnTo>
                    <a:lnTo>
                      <a:pt x="962" y="388"/>
                    </a:lnTo>
                    <a:lnTo>
                      <a:pt x="952" y="361"/>
                    </a:lnTo>
                    <a:lnTo>
                      <a:pt x="941" y="335"/>
                    </a:lnTo>
                    <a:lnTo>
                      <a:pt x="929" y="310"/>
                    </a:lnTo>
                    <a:lnTo>
                      <a:pt x="915" y="287"/>
                    </a:lnTo>
                    <a:lnTo>
                      <a:pt x="901" y="264"/>
                    </a:lnTo>
                    <a:lnTo>
                      <a:pt x="884" y="242"/>
                    </a:lnTo>
                    <a:lnTo>
                      <a:pt x="867" y="221"/>
                    </a:lnTo>
                    <a:lnTo>
                      <a:pt x="847" y="201"/>
                    </a:lnTo>
                    <a:lnTo>
                      <a:pt x="828" y="182"/>
                    </a:lnTo>
                    <a:lnTo>
                      <a:pt x="805" y="165"/>
                    </a:lnTo>
                    <a:lnTo>
                      <a:pt x="780" y="146"/>
                    </a:lnTo>
                    <a:lnTo>
                      <a:pt x="754" y="130"/>
                    </a:lnTo>
                    <a:lnTo>
                      <a:pt x="729" y="114"/>
                    </a:lnTo>
                    <a:lnTo>
                      <a:pt x="700" y="101"/>
                    </a:lnTo>
                    <a:lnTo>
                      <a:pt x="672" y="88"/>
                    </a:lnTo>
                    <a:lnTo>
                      <a:pt x="643" y="77"/>
                    </a:lnTo>
                    <a:lnTo>
                      <a:pt x="613" y="68"/>
                    </a:lnTo>
                    <a:lnTo>
                      <a:pt x="584" y="59"/>
                    </a:lnTo>
                    <a:lnTo>
                      <a:pt x="554" y="51"/>
                    </a:lnTo>
                    <a:lnTo>
                      <a:pt x="523" y="45"/>
                    </a:lnTo>
                    <a:lnTo>
                      <a:pt x="492" y="40"/>
                    </a:lnTo>
                    <a:lnTo>
                      <a:pt x="462" y="35"/>
                    </a:lnTo>
                    <a:lnTo>
                      <a:pt x="432" y="32"/>
                    </a:lnTo>
                    <a:lnTo>
                      <a:pt x="401" y="30"/>
                    </a:lnTo>
                    <a:lnTo>
                      <a:pt x="372" y="28"/>
                    </a:lnTo>
                    <a:lnTo>
                      <a:pt x="342" y="27"/>
                    </a:lnTo>
                    <a:lnTo>
                      <a:pt x="314" y="27"/>
                    </a:lnTo>
                    <a:lnTo>
                      <a:pt x="286" y="28"/>
                    </a:lnTo>
                    <a:lnTo>
                      <a:pt x="258" y="29"/>
                    </a:lnTo>
                    <a:lnTo>
                      <a:pt x="232" y="31"/>
                    </a:lnTo>
                    <a:lnTo>
                      <a:pt x="206" y="33"/>
                    </a:lnTo>
                    <a:lnTo>
                      <a:pt x="182" y="36"/>
                    </a:lnTo>
                    <a:lnTo>
                      <a:pt x="158" y="40"/>
                    </a:lnTo>
                    <a:lnTo>
                      <a:pt x="137" y="44"/>
                    </a:lnTo>
                    <a:lnTo>
                      <a:pt x="116" y="48"/>
                    </a:lnTo>
                    <a:lnTo>
                      <a:pt x="97" y="52"/>
                    </a:lnTo>
                    <a:lnTo>
                      <a:pt x="80" y="57"/>
                    </a:lnTo>
                    <a:lnTo>
                      <a:pt x="64" y="62"/>
                    </a:lnTo>
                    <a:lnTo>
                      <a:pt x="50" y="67"/>
                    </a:lnTo>
                    <a:lnTo>
                      <a:pt x="39" y="72"/>
                    </a:lnTo>
                    <a:lnTo>
                      <a:pt x="29" y="77"/>
                    </a:lnTo>
                    <a:lnTo>
                      <a:pt x="21" y="83"/>
                    </a:lnTo>
                    <a:lnTo>
                      <a:pt x="17" y="85"/>
                    </a:lnTo>
                    <a:lnTo>
                      <a:pt x="12" y="86"/>
                    </a:lnTo>
                    <a:lnTo>
                      <a:pt x="6" y="84"/>
                    </a:lnTo>
                    <a:lnTo>
                      <a:pt x="2" y="81"/>
                    </a:lnTo>
                    <a:lnTo>
                      <a:pt x="0" y="76"/>
                    </a:lnTo>
                    <a:lnTo>
                      <a:pt x="0" y="71"/>
                    </a:lnTo>
                    <a:lnTo>
                      <a:pt x="1" y="65"/>
                    </a:lnTo>
                    <a:lnTo>
                      <a:pt x="4" y="61"/>
                    </a:lnTo>
                    <a:lnTo>
                      <a:pt x="13" y="56"/>
                    </a:lnTo>
                    <a:lnTo>
                      <a:pt x="25" y="49"/>
                    </a:lnTo>
                    <a:lnTo>
                      <a:pt x="37" y="44"/>
                    </a:lnTo>
                    <a:lnTo>
                      <a:pt x="52" y="37"/>
                    </a:lnTo>
                    <a:lnTo>
                      <a:pt x="69" y="32"/>
                    </a:lnTo>
                    <a:lnTo>
                      <a:pt x="87" y="27"/>
                    </a:lnTo>
                    <a:lnTo>
                      <a:pt x="108" y="22"/>
                    </a:lnTo>
                    <a:lnTo>
                      <a:pt x="129" y="17"/>
                    </a:lnTo>
                    <a:lnTo>
                      <a:pt x="152" y="13"/>
                    </a:lnTo>
                    <a:lnTo>
                      <a:pt x="176" y="9"/>
                    </a:lnTo>
                    <a:lnTo>
                      <a:pt x="202" y="6"/>
                    </a:lnTo>
                    <a:lnTo>
                      <a:pt x="229" y="4"/>
                    </a:lnTo>
                    <a:lnTo>
                      <a:pt x="256" y="2"/>
                    </a:lnTo>
                    <a:lnTo>
                      <a:pt x="285" y="0"/>
                    </a:lnTo>
                    <a:lnTo>
                      <a:pt x="314" y="0"/>
                    </a:lnTo>
                    <a:lnTo>
                      <a:pt x="343" y="0"/>
                    </a:lnTo>
                    <a:lnTo>
                      <a:pt x="373" y="1"/>
                    </a:lnTo>
                    <a:lnTo>
                      <a:pt x="405" y="2"/>
                    </a:lnTo>
                    <a:lnTo>
                      <a:pt x="436" y="5"/>
                    </a:lnTo>
                    <a:lnTo>
                      <a:pt x="467" y="8"/>
                    </a:lnTo>
                    <a:lnTo>
                      <a:pt x="499" y="13"/>
                    </a:lnTo>
                    <a:lnTo>
                      <a:pt x="530" y="18"/>
                    </a:lnTo>
                    <a:lnTo>
                      <a:pt x="561" y="26"/>
                    </a:lnTo>
                    <a:lnTo>
                      <a:pt x="593" y="33"/>
                    </a:lnTo>
                    <a:lnTo>
                      <a:pt x="624" y="42"/>
                    </a:lnTo>
                    <a:lnTo>
                      <a:pt x="654" y="52"/>
                    </a:lnTo>
                    <a:lnTo>
                      <a:pt x="684" y="64"/>
                    </a:lnTo>
                    <a:lnTo>
                      <a:pt x="713" y="77"/>
                    </a:lnTo>
                    <a:lnTo>
                      <a:pt x="742" y="91"/>
                    </a:lnTo>
                    <a:lnTo>
                      <a:pt x="770" y="108"/>
                    </a:lnTo>
                    <a:lnTo>
                      <a:pt x="797" y="124"/>
                    </a:lnTo>
                    <a:lnTo>
                      <a:pt x="823" y="143"/>
                    </a:lnTo>
                    <a:lnTo>
                      <a:pt x="839" y="156"/>
                    </a:lnTo>
                    <a:lnTo>
                      <a:pt x="855" y="170"/>
                    </a:lnTo>
                    <a:lnTo>
                      <a:pt x="870" y="185"/>
                    </a:lnTo>
                    <a:lnTo>
                      <a:pt x="885" y="201"/>
                    </a:lnTo>
                    <a:lnTo>
                      <a:pt x="900" y="219"/>
                    </a:lnTo>
                    <a:lnTo>
                      <a:pt x="915" y="237"/>
                    </a:lnTo>
                    <a:lnTo>
                      <a:pt x="928" y="257"/>
                    </a:lnTo>
                    <a:lnTo>
                      <a:pt x="941" y="278"/>
                    </a:lnTo>
                    <a:lnTo>
                      <a:pt x="954" y="300"/>
                    </a:lnTo>
                    <a:lnTo>
                      <a:pt x="965" y="322"/>
                    </a:lnTo>
                    <a:lnTo>
                      <a:pt x="976" y="347"/>
                    </a:lnTo>
                    <a:lnTo>
                      <a:pt x="986" y="373"/>
                    </a:lnTo>
                    <a:lnTo>
                      <a:pt x="994" y="400"/>
                    </a:lnTo>
                    <a:lnTo>
                      <a:pt x="1001" y="428"/>
                    </a:lnTo>
                    <a:lnTo>
                      <a:pt x="1007" y="458"/>
                    </a:lnTo>
                    <a:lnTo>
                      <a:pt x="1011" y="490"/>
                    </a:lnTo>
                    <a:lnTo>
                      <a:pt x="1016" y="523"/>
                    </a:lnTo>
                    <a:lnTo>
                      <a:pt x="1017" y="557"/>
                    </a:lnTo>
                    <a:lnTo>
                      <a:pt x="1018" y="593"/>
                    </a:lnTo>
                    <a:lnTo>
                      <a:pt x="1017" y="630"/>
                    </a:lnTo>
                    <a:lnTo>
                      <a:pt x="1014" y="670"/>
                    </a:lnTo>
                    <a:lnTo>
                      <a:pt x="1009" y="710"/>
                    </a:lnTo>
                    <a:lnTo>
                      <a:pt x="1003" y="753"/>
                    </a:lnTo>
                    <a:lnTo>
                      <a:pt x="994" y="797"/>
                    </a:lnTo>
                    <a:lnTo>
                      <a:pt x="984" y="843"/>
                    </a:lnTo>
                    <a:lnTo>
                      <a:pt x="972" y="890"/>
                    </a:lnTo>
                    <a:lnTo>
                      <a:pt x="957" y="940"/>
                    </a:lnTo>
                    <a:lnTo>
                      <a:pt x="941" y="992"/>
                    </a:lnTo>
                    <a:lnTo>
                      <a:pt x="922" y="1045"/>
                    </a:lnTo>
                    <a:lnTo>
                      <a:pt x="901" y="1100"/>
                    </a:lnTo>
                    <a:lnTo>
                      <a:pt x="878" y="1157"/>
                    </a:lnTo>
                    <a:lnTo>
                      <a:pt x="851" y="1216"/>
                    </a:lnTo>
                    <a:lnTo>
                      <a:pt x="825" y="1277"/>
                    </a:lnTo>
                    <a:lnTo>
                      <a:pt x="803" y="1336"/>
                    </a:lnTo>
                    <a:lnTo>
                      <a:pt x="785" y="1394"/>
                    </a:lnTo>
                    <a:lnTo>
                      <a:pt x="770" y="1450"/>
                    </a:lnTo>
                    <a:lnTo>
                      <a:pt x="758" y="1507"/>
                    </a:lnTo>
                    <a:lnTo>
                      <a:pt x="749" y="1559"/>
                    </a:lnTo>
                    <a:lnTo>
                      <a:pt x="744" y="1612"/>
                    </a:lnTo>
                    <a:lnTo>
                      <a:pt x="740" y="1663"/>
                    </a:lnTo>
                    <a:lnTo>
                      <a:pt x="740" y="1713"/>
                    </a:lnTo>
                    <a:lnTo>
                      <a:pt x="742" y="1760"/>
                    </a:lnTo>
                    <a:lnTo>
                      <a:pt x="746" y="1806"/>
                    </a:lnTo>
                    <a:lnTo>
                      <a:pt x="751" y="1850"/>
                    </a:lnTo>
                    <a:lnTo>
                      <a:pt x="759" y="1893"/>
                    </a:lnTo>
                    <a:lnTo>
                      <a:pt x="767" y="1933"/>
                    </a:lnTo>
                    <a:lnTo>
                      <a:pt x="777" y="1972"/>
                    </a:lnTo>
                    <a:lnTo>
                      <a:pt x="789" y="2010"/>
                    </a:lnTo>
                    <a:lnTo>
                      <a:pt x="801" y="2044"/>
                    </a:lnTo>
                    <a:lnTo>
                      <a:pt x="814" y="2078"/>
                    </a:lnTo>
                    <a:lnTo>
                      <a:pt x="827" y="2109"/>
                    </a:lnTo>
                    <a:lnTo>
                      <a:pt x="841" y="2138"/>
                    </a:lnTo>
                    <a:lnTo>
                      <a:pt x="854" y="2165"/>
                    </a:lnTo>
                    <a:lnTo>
                      <a:pt x="868" y="2190"/>
                    </a:lnTo>
                    <a:lnTo>
                      <a:pt x="881" y="2214"/>
                    </a:lnTo>
                    <a:lnTo>
                      <a:pt x="894" y="2234"/>
                    </a:lnTo>
                    <a:lnTo>
                      <a:pt x="916" y="2269"/>
                    </a:lnTo>
                    <a:lnTo>
                      <a:pt x="935" y="2293"/>
                    </a:lnTo>
                    <a:lnTo>
                      <a:pt x="948" y="2310"/>
                    </a:lnTo>
                    <a:lnTo>
                      <a:pt x="953" y="2315"/>
                    </a:lnTo>
                    <a:lnTo>
                      <a:pt x="955" y="2320"/>
                    </a:lnTo>
                    <a:lnTo>
                      <a:pt x="956" y="2325"/>
                    </a:lnTo>
                    <a:lnTo>
                      <a:pt x="955" y="2330"/>
                    </a:lnTo>
                    <a:lnTo>
                      <a:pt x="952" y="2335"/>
                    </a:lnTo>
                    <a:lnTo>
                      <a:pt x="948" y="2338"/>
                    </a:lnTo>
                    <a:lnTo>
                      <a:pt x="943" y="2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32"/>
              <p:cNvSpPr>
                <a:spLocks/>
              </p:cNvSpPr>
              <p:nvPr userDrawn="1"/>
            </p:nvSpPr>
            <p:spPr bwMode="auto">
              <a:xfrm>
                <a:off x="1044" y="2979"/>
                <a:ext cx="1628" cy="416"/>
              </a:xfrm>
              <a:custGeom>
                <a:avLst/>
                <a:gdLst>
                  <a:gd name="T0" fmla="*/ 4864 w 4884"/>
                  <a:gd name="T1" fmla="*/ 1245 h 1249"/>
                  <a:gd name="T2" fmla="*/ 4842 w 4884"/>
                  <a:gd name="T3" fmla="*/ 1214 h 1249"/>
                  <a:gd name="T4" fmla="*/ 4711 w 4884"/>
                  <a:gd name="T5" fmla="*/ 1147 h 1249"/>
                  <a:gd name="T6" fmla="*/ 4472 w 4884"/>
                  <a:gd name="T7" fmla="*/ 1091 h 1249"/>
                  <a:gd name="T8" fmla="*/ 4150 w 4884"/>
                  <a:gd name="T9" fmla="*/ 1044 h 1249"/>
                  <a:gd name="T10" fmla="*/ 3766 w 4884"/>
                  <a:gd name="T11" fmla="*/ 1005 h 1249"/>
                  <a:gd name="T12" fmla="*/ 3340 w 4884"/>
                  <a:gd name="T13" fmla="*/ 973 h 1249"/>
                  <a:gd name="T14" fmla="*/ 2898 w 4884"/>
                  <a:gd name="T15" fmla="*/ 951 h 1249"/>
                  <a:gd name="T16" fmla="*/ 2457 w 4884"/>
                  <a:gd name="T17" fmla="*/ 935 h 1249"/>
                  <a:gd name="T18" fmla="*/ 1915 w 4884"/>
                  <a:gd name="T19" fmla="*/ 923 h 1249"/>
                  <a:gd name="T20" fmla="*/ 1469 w 4884"/>
                  <a:gd name="T21" fmla="*/ 922 h 1249"/>
                  <a:gd name="T22" fmla="*/ 1290 w 4884"/>
                  <a:gd name="T23" fmla="*/ 924 h 1249"/>
                  <a:gd name="T24" fmla="*/ 1164 w 4884"/>
                  <a:gd name="T25" fmla="*/ 916 h 1249"/>
                  <a:gd name="T26" fmla="*/ 993 w 4884"/>
                  <a:gd name="T27" fmla="*/ 878 h 1249"/>
                  <a:gd name="T28" fmla="*/ 827 w 4884"/>
                  <a:gd name="T29" fmla="*/ 814 h 1249"/>
                  <a:gd name="T30" fmla="*/ 668 w 4884"/>
                  <a:gd name="T31" fmla="*/ 728 h 1249"/>
                  <a:gd name="T32" fmla="*/ 520 w 4884"/>
                  <a:gd name="T33" fmla="*/ 627 h 1249"/>
                  <a:gd name="T34" fmla="*/ 385 w 4884"/>
                  <a:gd name="T35" fmla="*/ 517 h 1249"/>
                  <a:gd name="T36" fmla="*/ 266 w 4884"/>
                  <a:gd name="T37" fmla="*/ 401 h 1249"/>
                  <a:gd name="T38" fmla="*/ 166 w 4884"/>
                  <a:gd name="T39" fmla="*/ 289 h 1249"/>
                  <a:gd name="T40" fmla="*/ 86 w 4884"/>
                  <a:gd name="T41" fmla="*/ 183 h 1249"/>
                  <a:gd name="T42" fmla="*/ 30 w 4884"/>
                  <a:gd name="T43" fmla="*/ 90 h 1249"/>
                  <a:gd name="T44" fmla="*/ 0 w 4884"/>
                  <a:gd name="T45" fmla="*/ 17 h 1249"/>
                  <a:gd name="T46" fmla="*/ 6 w 4884"/>
                  <a:gd name="T47" fmla="*/ 3 h 1249"/>
                  <a:gd name="T48" fmla="*/ 21 w 4884"/>
                  <a:gd name="T49" fmla="*/ 2 h 1249"/>
                  <a:gd name="T50" fmla="*/ 33 w 4884"/>
                  <a:gd name="T51" fmla="*/ 31 h 1249"/>
                  <a:gd name="T52" fmla="*/ 72 w 4884"/>
                  <a:gd name="T53" fmla="*/ 109 h 1249"/>
                  <a:gd name="T54" fmla="*/ 134 w 4884"/>
                  <a:gd name="T55" fmla="*/ 204 h 1249"/>
                  <a:gd name="T56" fmla="*/ 221 w 4884"/>
                  <a:gd name="T57" fmla="*/ 310 h 1249"/>
                  <a:gd name="T58" fmla="*/ 327 w 4884"/>
                  <a:gd name="T59" fmla="*/ 421 h 1249"/>
                  <a:gd name="T60" fmla="*/ 450 w 4884"/>
                  <a:gd name="T61" fmla="*/ 533 h 1249"/>
                  <a:gd name="T62" fmla="*/ 587 w 4884"/>
                  <a:gd name="T63" fmla="*/ 639 h 1249"/>
                  <a:gd name="T64" fmla="*/ 737 w 4884"/>
                  <a:gd name="T65" fmla="*/ 734 h 1249"/>
                  <a:gd name="T66" fmla="*/ 895 w 4884"/>
                  <a:gd name="T67" fmla="*/ 811 h 1249"/>
                  <a:gd name="T68" fmla="*/ 1058 w 4884"/>
                  <a:gd name="T69" fmla="*/ 868 h 1249"/>
                  <a:gd name="T70" fmla="*/ 1225 w 4884"/>
                  <a:gd name="T71" fmla="*/ 895 h 1249"/>
                  <a:gd name="T72" fmla="*/ 1298 w 4884"/>
                  <a:gd name="T73" fmla="*/ 897 h 1249"/>
                  <a:gd name="T74" fmla="*/ 1770 w 4884"/>
                  <a:gd name="T75" fmla="*/ 897 h 1249"/>
                  <a:gd name="T76" fmla="*/ 2287 w 4884"/>
                  <a:gd name="T77" fmla="*/ 905 h 1249"/>
                  <a:gd name="T78" fmla="*/ 2733 w 4884"/>
                  <a:gd name="T79" fmla="*/ 918 h 1249"/>
                  <a:gd name="T80" fmla="*/ 3200 w 4884"/>
                  <a:gd name="T81" fmla="*/ 939 h 1249"/>
                  <a:gd name="T82" fmla="*/ 3659 w 4884"/>
                  <a:gd name="T83" fmla="*/ 968 h 1249"/>
                  <a:gd name="T84" fmla="*/ 4083 w 4884"/>
                  <a:gd name="T85" fmla="*/ 1008 h 1249"/>
                  <a:gd name="T86" fmla="*/ 4444 w 4884"/>
                  <a:gd name="T87" fmla="*/ 1059 h 1249"/>
                  <a:gd name="T88" fmla="*/ 4713 w 4884"/>
                  <a:gd name="T89" fmla="*/ 1122 h 1249"/>
                  <a:gd name="T90" fmla="*/ 4865 w 4884"/>
                  <a:gd name="T91" fmla="*/ 1201 h 1249"/>
                  <a:gd name="T92" fmla="*/ 4883 w 4884"/>
                  <a:gd name="T93" fmla="*/ 1240 h 1249"/>
                  <a:gd name="T94" fmla="*/ 4874 w 4884"/>
                  <a:gd name="T95" fmla="*/ 1248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84" h="1249">
                    <a:moveTo>
                      <a:pt x="4871" y="1249"/>
                    </a:moveTo>
                    <a:lnTo>
                      <a:pt x="4867" y="1248"/>
                    </a:lnTo>
                    <a:lnTo>
                      <a:pt x="4864" y="1245"/>
                    </a:lnTo>
                    <a:lnTo>
                      <a:pt x="4861" y="1243"/>
                    </a:lnTo>
                    <a:lnTo>
                      <a:pt x="4859" y="1239"/>
                    </a:lnTo>
                    <a:lnTo>
                      <a:pt x="4842" y="1214"/>
                    </a:lnTo>
                    <a:lnTo>
                      <a:pt x="4811" y="1191"/>
                    </a:lnTo>
                    <a:lnTo>
                      <a:pt x="4767" y="1169"/>
                    </a:lnTo>
                    <a:lnTo>
                      <a:pt x="4711" y="1147"/>
                    </a:lnTo>
                    <a:lnTo>
                      <a:pt x="4641" y="1128"/>
                    </a:lnTo>
                    <a:lnTo>
                      <a:pt x="4563" y="1108"/>
                    </a:lnTo>
                    <a:lnTo>
                      <a:pt x="4472" y="1091"/>
                    </a:lnTo>
                    <a:lnTo>
                      <a:pt x="4374" y="1074"/>
                    </a:lnTo>
                    <a:lnTo>
                      <a:pt x="4266" y="1058"/>
                    </a:lnTo>
                    <a:lnTo>
                      <a:pt x="4150" y="1044"/>
                    </a:lnTo>
                    <a:lnTo>
                      <a:pt x="4028" y="1030"/>
                    </a:lnTo>
                    <a:lnTo>
                      <a:pt x="3900" y="1017"/>
                    </a:lnTo>
                    <a:lnTo>
                      <a:pt x="3766" y="1005"/>
                    </a:lnTo>
                    <a:lnTo>
                      <a:pt x="3628" y="994"/>
                    </a:lnTo>
                    <a:lnTo>
                      <a:pt x="3485" y="983"/>
                    </a:lnTo>
                    <a:lnTo>
                      <a:pt x="3340" y="973"/>
                    </a:lnTo>
                    <a:lnTo>
                      <a:pt x="3193" y="966"/>
                    </a:lnTo>
                    <a:lnTo>
                      <a:pt x="3046" y="957"/>
                    </a:lnTo>
                    <a:lnTo>
                      <a:pt x="2898" y="951"/>
                    </a:lnTo>
                    <a:lnTo>
                      <a:pt x="2750" y="944"/>
                    </a:lnTo>
                    <a:lnTo>
                      <a:pt x="2603" y="940"/>
                    </a:lnTo>
                    <a:lnTo>
                      <a:pt x="2457" y="935"/>
                    </a:lnTo>
                    <a:lnTo>
                      <a:pt x="2316" y="931"/>
                    </a:lnTo>
                    <a:lnTo>
                      <a:pt x="2177" y="928"/>
                    </a:lnTo>
                    <a:lnTo>
                      <a:pt x="1915" y="923"/>
                    </a:lnTo>
                    <a:lnTo>
                      <a:pt x="1676" y="922"/>
                    </a:lnTo>
                    <a:lnTo>
                      <a:pt x="1568" y="920"/>
                    </a:lnTo>
                    <a:lnTo>
                      <a:pt x="1469" y="922"/>
                    </a:lnTo>
                    <a:lnTo>
                      <a:pt x="1379" y="923"/>
                    </a:lnTo>
                    <a:lnTo>
                      <a:pt x="1298" y="924"/>
                    </a:lnTo>
                    <a:lnTo>
                      <a:pt x="1290" y="924"/>
                    </a:lnTo>
                    <a:lnTo>
                      <a:pt x="1280" y="924"/>
                    </a:lnTo>
                    <a:lnTo>
                      <a:pt x="1223" y="922"/>
                    </a:lnTo>
                    <a:lnTo>
                      <a:pt x="1164" y="916"/>
                    </a:lnTo>
                    <a:lnTo>
                      <a:pt x="1107" y="906"/>
                    </a:lnTo>
                    <a:lnTo>
                      <a:pt x="1050" y="894"/>
                    </a:lnTo>
                    <a:lnTo>
                      <a:pt x="993" y="878"/>
                    </a:lnTo>
                    <a:lnTo>
                      <a:pt x="937" y="859"/>
                    </a:lnTo>
                    <a:lnTo>
                      <a:pt x="882" y="837"/>
                    </a:lnTo>
                    <a:lnTo>
                      <a:pt x="827" y="814"/>
                    </a:lnTo>
                    <a:lnTo>
                      <a:pt x="773" y="787"/>
                    </a:lnTo>
                    <a:lnTo>
                      <a:pt x="720" y="759"/>
                    </a:lnTo>
                    <a:lnTo>
                      <a:pt x="668" y="728"/>
                    </a:lnTo>
                    <a:lnTo>
                      <a:pt x="617" y="696"/>
                    </a:lnTo>
                    <a:lnTo>
                      <a:pt x="568" y="661"/>
                    </a:lnTo>
                    <a:lnTo>
                      <a:pt x="520" y="627"/>
                    </a:lnTo>
                    <a:lnTo>
                      <a:pt x="473" y="591"/>
                    </a:lnTo>
                    <a:lnTo>
                      <a:pt x="428" y="553"/>
                    </a:lnTo>
                    <a:lnTo>
                      <a:pt x="385" y="517"/>
                    </a:lnTo>
                    <a:lnTo>
                      <a:pt x="344" y="478"/>
                    </a:lnTo>
                    <a:lnTo>
                      <a:pt x="304" y="440"/>
                    </a:lnTo>
                    <a:lnTo>
                      <a:pt x="266" y="401"/>
                    </a:lnTo>
                    <a:lnTo>
                      <a:pt x="230" y="363"/>
                    </a:lnTo>
                    <a:lnTo>
                      <a:pt x="197" y="326"/>
                    </a:lnTo>
                    <a:lnTo>
                      <a:pt x="166" y="289"/>
                    </a:lnTo>
                    <a:lnTo>
                      <a:pt x="137" y="252"/>
                    </a:lnTo>
                    <a:lnTo>
                      <a:pt x="110" y="217"/>
                    </a:lnTo>
                    <a:lnTo>
                      <a:pt x="86" y="183"/>
                    </a:lnTo>
                    <a:lnTo>
                      <a:pt x="64" y="151"/>
                    </a:lnTo>
                    <a:lnTo>
                      <a:pt x="46" y="120"/>
                    </a:lnTo>
                    <a:lnTo>
                      <a:pt x="30" y="90"/>
                    </a:lnTo>
                    <a:lnTo>
                      <a:pt x="18" y="63"/>
                    </a:lnTo>
                    <a:lnTo>
                      <a:pt x="7" y="39"/>
                    </a:lnTo>
                    <a:lnTo>
                      <a:pt x="0" y="17"/>
                    </a:lnTo>
                    <a:lnTo>
                      <a:pt x="0" y="12"/>
                    </a:lnTo>
                    <a:lnTo>
                      <a:pt x="3" y="6"/>
                    </a:lnTo>
                    <a:lnTo>
                      <a:pt x="6" y="3"/>
                    </a:lnTo>
                    <a:lnTo>
                      <a:pt x="10" y="1"/>
                    </a:lnTo>
                    <a:lnTo>
                      <a:pt x="16" y="0"/>
                    </a:lnTo>
                    <a:lnTo>
                      <a:pt x="21" y="2"/>
                    </a:lnTo>
                    <a:lnTo>
                      <a:pt x="24" y="5"/>
                    </a:lnTo>
                    <a:lnTo>
                      <a:pt x="27" y="10"/>
                    </a:lnTo>
                    <a:lnTo>
                      <a:pt x="33" y="31"/>
                    </a:lnTo>
                    <a:lnTo>
                      <a:pt x="43" y="55"/>
                    </a:lnTo>
                    <a:lnTo>
                      <a:pt x="56" y="81"/>
                    </a:lnTo>
                    <a:lnTo>
                      <a:pt x="72" y="109"/>
                    </a:lnTo>
                    <a:lnTo>
                      <a:pt x="90" y="139"/>
                    </a:lnTo>
                    <a:lnTo>
                      <a:pt x="111" y="170"/>
                    </a:lnTo>
                    <a:lnTo>
                      <a:pt x="134" y="204"/>
                    </a:lnTo>
                    <a:lnTo>
                      <a:pt x="161" y="238"/>
                    </a:lnTo>
                    <a:lnTo>
                      <a:pt x="189" y="273"/>
                    </a:lnTo>
                    <a:lnTo>
                      <a:pt x="221" y="310"/>
                    </a:lnTo>
                    <a:lnTo>
                      <a:pt x="254" y="346"/>
                    </a:lnTo>
                    <a:lnTo>
                      <a:pt x="289" y="384"/>
                    </a:lnTo>
                    <a:lnTo>
                      <a:pt x="327" y="421"/>
                    </a:lnTo>
                    <a:lnTo>
                      <a:pt x="365" y="458"/>
                    </a:lnTo>
                    <a:lnTo>
                      <a:pt x="406" y="496"/>
                    </a:lnTo>
                    <a:lnTo>
                      <a:pt x="450" y="533"/>
                    </a:lnTo>
                    <a:lnTo>
                      <a:pt x="494" y="569"/>
                    </a:lnTo>
                    <a:lnTo>
                      <a:pt x="540" y="604"/>
                    </a:lnTo>
                    <a:lnTo>
                      <a:pt x="587" y="639"/>
                    </a:lnTo>
                    <a:lnTo>
                      <a:pt x="635" y="672"/>
                    </a:lnTo>
                    <a:lnTo>
                      <a:pt x="686" y="704"/>
                    </a:lnTo>
                    <a:lnTo>
                      <a:pt x="737" y="734"/>
                    </a:lnTo>
                    <a:lnTo>
                      <a:pt x="789" y="762"/>
                    </a:lnTo>
                    <a:lnTo>
                      <a:pt x="841" y="788"/>
                    </a:lnTo>
                    <a:lnTo>
                      <a:pt x="895" y="811"/>
                    </a:lnTo>
                    <a:lnTo>
                      <a:pt x="949" y="833"/>
                    </a:lnTo>
                    <a:lnTo>
                      <a:pt x="1003" y="851"/>
                    </a:lnTo>
                    <a:lnTo>
                      <a:pt x="1058" y="868"/>
                    </a:lnTo>
                    <a:lnTo>
                      <a:pt x="1114" y="879"/>
                    </a:lnTo>
                    <a:lnTo>
                      <a:pt x="1169" y="889"/>
                    </a:lnTo>
                    <a:lnTo>
                      <a:pt x="1225" y="895"/>
                    </a:lnTo>
                    <a:lnTo>
                      <a:pt x="1281" y="897"/>
                    </a:lnTo>
                    <a:lnTo>
                      <a:pt x="1290" y="897"/>
                    </a:lnTo>
                    <a:lnTo>
                      <a:pt x="1298" y="897"/>
                    </a:lnTo>
                    <a:lnTo>
                      <a:pt x="1404" y="896"/>
                    </a:lnTo>
                    <a:lnTo>
                      <a:pt x="1565" y="895"/>
                    </a:lnTo>
                    <a:lnTo>
                      <a:pt x="1770" y="897"/>
                    </a:lnTo>
                    <a:lnTo>
                      <a:pt x="2014" y="900"/>
                    </a:lnTo>
                    <a:lnTo>
                      <a:pt x="2148" y="902"/>
                    </a:lnTo>
                    <a:lnTo>
                      <a:pt x="2287" y="905"/>
                    </a:lnTo>
                    <a:lnTo>
                      <a:pt x="2432" y="909"/>
                    </a:lnTo>
                    <a:lnTo>
                      <a:pt x="2581" y="913"/>
                    </a:lnTo>
                    <a:lnTo>
                      <a:pt x="2733" y="918"/>
                    </a:lnTo>
                    <a:lnTo>
                      <a:pt x="2889" y="924"/>
                    </a:lnTo>
                    <a:lnTo>
                      <a:pt x="3044" y="931"/>
                    </a:lnTo>
                    <a:lnTo>
                      <a:pt x="3200" y="939"/>
                    </a:lnTo>
                    <a:lnTo>
                      <a:pt x="3355" y="947"/>
                    </a:lnTo>
                    <a:lnTo>
                      <a:pt x="3509" y="957"/>
                    </a:lnTo>
                    <a:lnTo>
                      <a:pt x="3659" y="968"/>
                    </a:lnTo>
                    <a:lnTo>
                      <a:pt x="3806" y="980"/>
                    </a:lnTo>
                    <a:lnTo>
                      <a:pt x="3947" y="994"/>
                    </a:lnTo>
                    <a:lnTo>
                      <a:pt x="4083" y="1008"/>
                    </a:lnTo>
                    <a:lnTo>
                      <a:pt x="4212" y="1023"/>
                    </a:lnTo>
                    <a:lnTo>
                      <a:pt x="4332" y="1040"/>
                    </a:lnTo>
                    <a:lnTo>
                      <a:pt x="4444" y="1059"/>
                    </a:lnTo>
                    <a:lnTo>
                      <a:pt x="4544" y="1079"/>
                    </a:lnTo>
                    <a:lnTo>
                      <a:pt x="4635" y="1100"/>
                    </a:lnTo>
                    <a:lnTo>
                      <a:pt x="4713" y="1122"/>
                    </a:lnTo>
                    <a:lnTo>
                      <a:pt x="4779" y="1147"/>
                    </a:lnTo>
                    <a:lnTo>
                      <a:pt x="4829" y="1173"/>
                    </a:lnTo>
                    <a:lnTo>
                      <a:pt x="4865" y="1201"/>
                    </a:lnTo>
                    <a:lnTo>
                      <a:pt x="4884" y="1230"/>
                    </a:lnTo>
                    <a:lnTo>
                      <a:pt x="4884" y="1236"/>
                    </a:lnTo>
                    <a:lnTo>
                      <a:pt x="4883" y="1240"/>
                    </a:lnTo>
                    <a:lnTo>
                      <a:pt x="4880" y="1244"/>
                    </a:lnTo>
                    <a:lnTo>
                      <a:pt x="4876" y="1248"/>
                    </a:lnTo>
                    <a:lnTo>
                      <a:pt x="4874" y="1248"/>
                    </a:lnTo>
                    <a:lnTo>
                      <a:pt x="4871" y="1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33"/>
              <p:cNvSpPr>
                <a:spLocks/>
              </p:cNvSpPr>
              <p:nvPr userDrawn="1"/>
            </p:nvSpPr>
            <p:spPr bwMode="auto">
              <a:xfrm>
                <a:off x="654" y="3389"/>
                <a:ext cx="484" cy="596"/>
              </a:xfrm>
              <a:custGeom>
                <a:avLst/>
                <a:gdLst>
                  <a:gd name="T0" fmla="*/ 1435 w 1453"/>
                  <a:gd name="T1" fmla="*/ 1789 h 1790"/>
                  <a:gd name="T2" fmla="*/ 1429 w 1453"/>
                  <a:gd name="T3" fmla="*/ 1783 h 1790"/>
                  <a:gd name="T4" fmla="*/ 1426 w 1453"/>
                  <a:gd name="T5" fmla="*/ 1772 h 1790"/>
                  <a:gd name="T6" fmla="*/ 1419 w 1453"/>
                  <a:gd name="T7" fmla="*/ 1724 h 1790"/>
                  <a:gd name="T8" fmla="*/ 1404 w 1453"/>
                  <a:gd name="T9" fmla="*/ 1640 h 1790"/>
                  <a:gd name="T10" fmla="*/ 1380 w 1453"/>
                  <a:gd name="T11" fmla="*/ 1525 h 1790"/>
                  <a:gd name="T12" fmla="*/ 1345 w 1453"/>
                  <a:gd name="T13" fmla="*/ 1386 h 1790"/>
                  <a:gd name="T14" fmla="*/ 1313 w 1453"/>
                  <a:gd name="T15" fmla="*/ 1272 h 1790"/>
                  <a:gd name="T16" fmla="*/ 1288 w 1453"/>
                  <a:gd name="T17" fmla="*/ 1192 h 1790"/>
                  <a:gd name="T18" fmla="*/ 1259 w 1453"/>
                  <a:gd name="T19" fmla="*/ 1111 h 1790"/>
                  <a:gd name="T20" fmla="*/ 1228 w 1453"/>
                  <a:gd name="T21" fmla="*/ 1028 h 1790"/>
                  <a:gd name="T22" fmla="*/ 1193 w 1453"/>
                  <a:gd name="T23" fmla="*/ 946 h 1790"/>
                  <a:gd name="T24" fmla="*/ 1155 w 1453"/>
                  <a:gd name="T25" fmla="*/ 865 h 1790"/>
                  <a:gd name="T26" fmla="*/ 1086 w 1453"/>
                  <a:gd name="T27" fmla="*/ 737 h 1790"/>
                  <a:gd name="T28" fmla="*/ 989 w 1453"/>
                  <a:gd name="T29" fmla="*/ 579 h 1790"/>
                  <a:gd name="T30" fmla="*/ 891 w 1453"/>
                  <a:gd name="T31" fmla="*/ 447 h 1790"/>
                  <a:gd name="T32" fmla="*/ 793 w 1453"/>
                  <a:gd name="T33" fmla="*/ 337 h 1790"/>
                  <a:gd name="T34" fmla="*/ 696 w 1453"/>
                  <a:gd name="T35" fmla="*/ 248 h 1790"/>
                  <a:gd name="T36" fmla="*/ 602 w 1453"/>
                  <a:gd name="T37" fmla="*/ 176 h 1790"/>
                  <a:gd name="T38" fmla="*/ 513 w 1453"/>
                  <a:gd name="T39" fmla="*/ 121 h 1790"/>
                  <a:gd name="T40" fmla="*/ 426 w 1453"/>
                  <a:gd name="T41" fmla="*/ 81 h 1790"/>
                  <a:gd name="T42" fmla="*/ 347 w 1453"/>
                  <a:gd name="T43" fmla="*/ 54 h 1790"/>
                  <a:gd name="T44" fmla="*/ 272 w 1453"/>
                  <a:gd name="T45" fmla="*/ 37 h 1790"/>
                  <a:gd name="T46" fmla="*/ 206 w 1453"/>
                  <a:gd name="T47" fmla="*/ 28 h 1790"/>
                  <a:gd name="T48" fmla="*/ 148 w 1453"/>
                  <a:gd name="T49" fmla="*/ 26 h 1790"/>
                  <a:gd name="T50" fmla="*/ 99 w 1453"/>
                  <a:gd name="T51" fmla="*/ 29 h 1790"/>
                  <a:gd name="T52" fmla="*/ 61 w 1453"/>
                  <a:gd name="T53" fmla="*/ 34 h 1790"/>
                  <a:gd name="T54" fmla="*/ 26 w 1453"/>
                  <a:gd name="T55" fmla="*/ 41 h 1790"/>
                  <a:gd name="T56" fmla="*/ 12 w 1453"/>
                  <a:gd name="T57" fmla="*/ 45 h 1790"/>
                  <a:gd name="T58" fmla="*/ 3 w 1453"/>
                  <a:gd name="T59" fmla="*/ 40 h 1790"/>
                  <a:gd name="T60" fmla="*/ 0 w 1453"/>
                  <a:gd name="T61" fmla="*/ 31 h 1790"/>
                  <a:gd name="T62" fmla="*/ 4 w 1453"/>
                  <a:gd name="T63" fmla="*/ 21 h 1790"/>
                  <a:gd name="T64" fmla="*/ 17 w 1453"/>
                  <a:gd name="T65" fmla="*/ 17 h 1790"/>
                  <a:gd name="T66" fmla="*/ 54 w 1453"/>
                  <a:gd name="T67" fmla="*/ 8 h 1790"/>
                  <a:gd name="T68" fmla="*/ 94 w 1453"/>
                  <a:gd name="T69" fmla="*/ 2 h 1790"/>
                  <a:gd name="T70" fmla="*/ 144 w 1453"/>
                  <a:gd name="T71" fmla="*/ 0 h 1790"/>
                  <a:gd name="T72" fmla="*/ 204 w 1453"/>
                  <a:gd name="T73" fmla="*/ 1 h 1790"/>
                  <a:gd name="T74" fmla="*/ 272 w 1453"/>
                  <a:gd name="T75" fmla="*/ 10 h 1790"/>
                  <a:gd name="T76" fmla="*/ 349 w 1453"/>
                  <a:gd name="T77" fmla="*/ 27 h 1790"/>
                  <a:gd name="T78" fmla="*/ 432 w 1453"/>
                  <a:gd name="T79" fmla="*/ 55 h 1790"/>
                  <a:gd name="T80" fmla="*/ 520 w 1453"/>
                  <a:gd name="T81" fmla="*/ 95 h 1790"/>
                  <a:gd name="T82" fmla="*/ 613 w 1453"/>
                  <a:gd name="T83" fmla="*/ 150 h 1790"/>
                  <a:gd name="T84" fmla="*/ 709 w 1453"/>
                  <a:gd name="T85" fmla="*/ 223 h 1790"/>
                  <a:gd name="T86" fmla="*/ 809 w 1453"/>
                  <a:gd name="T87" fmla="*/ 314 h 1790"/>
                  <a:gd name="T88" fmla="*/ 909 w 1453"/>
                  <a:gd name="T89" fmla="*/ 427 h 1790"/>
                  <a:gd name="T90" fmla="*/ 1010 w 1453"/>
                  <a:gd name="T91" fmla="*/ 562 h 1790"/>
                  <a:gd name="T92" fmla="*/ 1109 w 1453"/>
                  <a:gd name="T93" fmla="*/ 722 h 1790"/>
                  <a:gd name="T94" fmla="*/ 1179 w 1453"/>
                  <a:gd name="T95" fmla="*/ 853 h 1790"/>
                  <a:gd name="T96" fmla="*/ 1218 w 1453"/>
                  <a:gd name="T97" fmla="*/ 935 h 1790"/>
                  <a:gd name="T98" fmla="*/ 1253 w 1453"/>
                  <a:gd name="T99" fmla="*/ 1018 h 1790"/>
                  <a:gd name="T100" fmla="*/ 1285 w 1453"/>
                  <a:gd name="T101" fmla="*/ 1101 h 1790"/>
                  <a:gd name="T102" fmla="*/ 1313 w 1453"/>
                  <a:gd name="T103" fmla="*/ 1183 h 1790"/>
                  <a:gd name="T104" fmla="*/ 1339 w 1453"/>
                  <a:gd name="T105" fmla="*/ 1264 h 1790"/>
                  <a:gd name="T106" fmla="*/ 1371 w 1453"/>
                  <a:gd name="T107" fmla="*/ 1380 h 1790"/>
                  <a:gd name="T108" fmla="*/ 1406 w 1453"/>
                  <a:gd name="T109" fmla="*/ 1519 h 1790"/>
                  <a:gd name="T110" fmla="*/ 1431 w 1453"/>
                  <a:gd name="T111" fmla="*/ 1636 h 1790"/>
                  <a:gd name="T112" fmla="*/ 1446 w 1453"/>
                  <a:gd name="T113" fmla="*/ 1721 h 1790"/>
                  <a:gd name="T114" fmla="*/ 1452 w 1453"/>
                  <a:gd name="T115" fmla="*/ 1767 h 1790"/>
                  <a:gd name="T116" fmla="*/ 1453 w 1453"/>
                  <a:gd name="T117" fmla="*/ 1780 h 1790"/>
                  <a:gd name="T118" fmla="*/ 1447 w 1453"/>
                  <a:gd name="T119" fmla="*/ 1788 h 1790"/>
                  <a:gd name="T120" fmla="*/ 1441 w 1453"/>
                  <a:gd name="T121" fmla="*/ 179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53" h="1790">
                    <a:moveTo>
                      <a:pt x="1440" y="1790"/>
                    </a:moveTo>
                    <a:lnTo>
                      <a:pt x="1435" y="1789"/>
                    </a:lnTo>
                    <a:lnTo>
                      <a:pt x="1432" y="1787"/>
                    </a:lnTo>
                    <a:lnTo>
                      <a:pt x="1429" y="1783"/>
                    </a:lnTo>
                    <a:lnTo>
                      <a:pt x="1427" y="1778"/>
                    </a:lnTo>
                    <a:lnTo>
                      <a:pt x="1426" y="1772"/>
                    </a:lnTo>
                    <a:lnTo>
                      <a:pt x="1423" y="1753"/>
                    </a:lnTo>
                    <a:lnTo>
                      <a:pt x="1419" y="1724"/>
                    </a:lnTo>
                    <a:lnTo>
                      <a:pt x="1412" y="1686"/>
                    </a:lnTo>
                    <a:lnTo>
                      <a:pt x="1404" y="1640"/>
                    </a:lnTo>
                    <a:lnTo>
                      <a:pt x="1393" y="1586"/>
                    </a:lnTo>
                    <a:lnTo>
                      <a:pt x="1380" y="1525"/>
                    </a:lnTo>
                    <a:lnTo>
                      <a:pt x="1364" y="1459"/>
                    </a:lnTo>
                    <a:lnTo>
                      <a:pt x="1345" y="1386"/>
                    </a:lnTo>
                    <a:lnTo>
                      <a:pt x="1325" y="1311"/>
                    </a:lnTo>
                    <a:lnTo>
                      <a:pt x="1313" y="1272"/>
                    </a:lnTo>
                    <a:lnTo>
                      <a:pt x="1301" y="1232"/>
                    </a:lnTo>
                    <a:lnTo>
                      <a:pt x="1288" y="1192"/>
                    </a:lnTo>
                    <a:lnTo>
                      <a:pt x="1274" y="1151"/>
                    </a:lnTo>
                    <a:lnTo>
                      <a:pt x="1259" y="1111"/>
                    </a:lnTo>
                    <a:lnTo>
                      <a:pt x="1244" y="1069"/>
                    </a:lnTo>
                    <a:lnTo>
                      <a:pt x="1228" y="1028"/>
                    </a:lnTo>
                    <a:lnTo>
                      <a:pt x="1211" y="987"/>
                    </a:lnTo>
                    <a:lnTo>
                      <a:pt x="1193" y="946"/>
                    </a:lnTo>
                    <a:lnTo>
                      <a:pt x="1175" y="905"/>
                    </a:lnTo>
                    <a:lnTo>
                      <a:pt x="1155" y="865"/>
                    </a:lnTo>
                    <a:lnTo>
                      <a:pt x="1135" y="825"/>
                    </a:lnTo>
                    <a:lnTo>
                      <a:pt x="1086" y="737"/>
                    </a:lnTo>
                    <a:lnTo>
                      <a:pt x="1038" y="654"/>
                    </a:lnTo>
                    <a:lnTo>
                      <a:pt x="989" y="579"/>
                    </a:lnTo>
                    <a:lnTo>
                      <a:pt x="939" y="510"/>
                    </a:lnTo>
                    <a:lnTo>
                      <a:pt x="891" y="447"/>
                    </a:lnTo>
                    <a:lnTo>
                      <a:pt x="841" y="389"/>
                    </a:lnTo>
                    <a:lnTo>
                      <a:pt x="793" y="337"/>
                    </a:lnTo>
                    <a:lnTo>
                      <a:pt x="744" y="290"/>
                    </a:lnTo>
                    <a:lnTo>
                      <a:pt x="696" y="248"/>
                    </a:lnTo>
                    <a:lnTo>
                      <a:pt x="649" y="210"/>
                    </a:lnTo>
                    <a:lnTo>
                      <a:pt x="602" y="176"/>
                    </a:lnTo>
                    <a:lnTo>
                      <a:pt x="557" y="147"/>
                    </a:lnTo>
                    <a:lnTo>
                      <a:pt x="513" y="121"/>
                    </a:lnTo>
                    <a:lnTo>
                      <a:pt x="469" y="100"/>
                    </a:lnTo>
                    <a:lnTo>
                      <a:pt x="426" y="81"/>
                    </a:lnTo>
                    <a:lnTo>
                      <a:pt x="385" y="66"/>
                    </a:lnTo>
                    <a:lnTo>
                      <a:pt x="347" y="54"/>
                    </a:lnTo>
                    <a:lnTo>
                      <a:pt x="309" y="45"/>
                    </a:lnTo>
                    <a:lnTo>
                      <a:pt x="272" y="37"/>
                    </a:lnTo>
                    <a:lnTo>
                      <a:pt x="239" y="32"/>
                    </a:lnTo>
                    <a:lnTo>
                      <a:pt x="206" y="28"/>
                    </a:lnTo>
                    <a:lnTo>
                      <a:pt x="176" y="27"/>
                    </a:lnTo>
                    <a:lnTo>
                      <a:pt x="148" y="26"/>
                    </a:lnTo>
                    <a:lnTo>
                      <a:pt x="122" y="27"/>
                    </a:lnTo>
                    <a:lnTo>
                      <a:pt x="99" y="29"/>
                    </a:lnTo>
                    <a:lnTo>
                      <a:pt x="79" y="32"/>
                    </a:lnTo>
                    <a:lnTo>
                      <a:pt x="61" y="34"/>
                    </a:lnTo>
                    <a:lnTo>
                      <a:pt x="46" y="37"/>
                    </a:lnTo>
                    <a:lnTo>
                      <a:pt x="26" y="41"/>
                    </a:lnTo>
                    <a:lnTo>
                      <a:pt x="17" y="45"/>
                    </a:lnTo>
                    <a:lnTo>
                      <a:pt x="12" y="45"/>
                    </a:lnTo>
                    <a:lnTo>
                      <a:pt x="7" y="43"/>
                    </a:lnTo>
                    <a:lnTo>
                      <a:pt x="3" y="40"/>
                    </a:lnTo>
                    <a:lnTo>
                      <a:pt x="0" y="36"/>
                    </a:lnTo>
                    <a:lnTo>
                      <a:pt x="0" y="31"/>
                    </a:lnTo>
                    <a:lnTo>
                      <a:pt x="1" y="25"/>
                    </a:lnTo>
                    <a:lnTo>
                      <a:pt x="4" y="21"/>
                    </a:lnTo>
                    <a:lnTo>
                      <a:pt x="9" y="19"/>
                    </a:lnTo>
                    <a:lnTo>
                      <a:pt x="17" y="17"/>
                    </a:lnTo>
                    <a:lnTo>
                      <a:pt x="39" y="11"/>
                    </a:lnTo>
                    <a:lnTo>
                      <a:pt x="54" y="8"/>
                    </a:lnTo>
                    <a:lnTo>
                      <a:pt x="72" y="6"/>
                    </a:lnTo>
                    <a:lnTo>
                      <a:pt x="94" y="2"/>
                    </a:lnTo>
                    <a:lnTo>
                      <a:pt x="118" y="1"/>
                    </a:lnTo>
                    <a:lnTo>
                      <a:pt x="144" y="0"/>
                    </a:lnTo>
                    <a:lnTo>
                      <a:pt x="173" y="0"/>
                    </a:lnTo>
                    <a:lnTo>
                      <a:pt x="204" y="1"/>
                    </a:lnTo>
                    <a:lnTo>
                      <a:pt x="237" y="5"/>
                    </a:lnTo>
                    <a:lnTo>
                      <a:pt x="272" y="10"/>
                    </a:lnTo>
                    <a:lnTo>
                      <a:pt x="310" y="18"/>
                    </a:lnTo>
                    <a:lnTo>
                      <a:pt x="349" y="27"/>
                    </a:lnTo>
                    <a:lnTo>
                      <a:pt x="390" y="39"/>
                    </a:lnTo>
                    <a:lnTo>
                      <a:pt x="432" y="55"/>
                    </a:lnTo>
                    <a:lnTo>
                      <a:pt x="475" y="74"/>
                    </a:lnTo>
                    <a:lnTo>
                      <a:pt x="520" y="95"/>
                    </a:lnTo>
                    <a:lnTo>
                      <a:pt x="566" y="121"/>
                    </a:lnTo>
                    <a:lnTo>
                      <a:pt x="613" y="150"/>
                    </a:lnTo>
                    <a:lnTo>
                      <a:pt x="661" y="185"/>
                    </a:lnTo>
                    <a:lnTo>
                      <a:pt x="709" y="223"/>
                    </a:lnTo>
                    <a:lnTo>
                      <a:pt x="759" y="266"/>
                    </a:lnTo>
                    <a:lnTo>
                      <a:pt x="809" y="314"/>
                    </a:lnTo>
                    <a:lnTo>
                      <a:pt x="858" y="367"/>
                    </a:lnTo>
                    <a:lnTo>
                      <a:pt x="909" y="427"/>
                    </a:lnTo>
                    <a:lnTo>
                      <a:pt x="959" y="491"/>
                    </a:lnTo>
                    <a:lnTo>
                      <a:pt x="1010" y="562"/>
                    </a:lnTo>
                    <a:lnTo>
                      <a:pt x="1059" y="638"/>
                    </a:lnTo>
                    <a:lnTo>
                      <a:pt x="1109" y="722"/>
                    </a:lnTo>
                    <a:lnTo>
                      <a:pt x="1159" y="812"/>
                    </a:lnTo>
                    <a:lnTo>
                      <a:pt x="1179" y="853"/>
                    </a:lnTo>
                    <a:lnTo>
                      <a:pt x="1199" y="894"/>
                    </a:lnTo>
                    <a:lnTo>
                      <a:pt x="1218" y="935"/>
                    </a:lnTo>
                    <a:lnTo>
                      <a:pt x="1236" y="976"/>
                    </a:lnTo>
                    <a:lnTo>
                      <a:pt x="1253" y="1018"/>
                    </a:lnTo>
                    <a:lnTo>
                      <a:pt x="1269" y="1059"/>
                    </a:lnTo>
                    <a:lnTo>
                      <a:pt x="1285" y="1101"/>
                    </a:lnTo>
                    <a:lnTo>
                      <a:pt x="1299" y="1142"/>
                    </a:lnTo>
                    <a:lnTo>
                      <a:pt x="1313" y="1183"/>
                    </a:lnTo>
                    <a:lnTo>
                      <a:pt x="1326" y="1223"/>
                    </a:lnTo>
                    <a:lnTo>
                      <a:pt x="1339" y="1264"/>
                    </a:lnTo>
                    <a:lnTo>
                      <a:pt x="1351" y="1303"/>
                    </a:lnTo>
                    <a:lnTo>
                      <a:pt x="1371" y="1380"/>
                    </a:lnTo>
                    <a:lnTo>
                      <a:pt x="1390" y="1452"/>
                    </a:lnTo>
                    <a:lnTo>
                      <a:pt x="1406" y="1519"/>
                    </a:lnTo>
                    <a:lnTo>
                      <a:pt x="1419" y="1581"/>
                    </a:lnTo>
                    <a:lnTo>
                      <a:pt x="1431" y="1636"/>
                    </a:lnTo>
                    <a:lnTo>
                      <a:pt x="1439" y="1682"/>
                    </a:lnTo>
                    <a:lnTo>
                      <a:pt x="1446" y="1721"/>
                    </a:lnTo>
                    <a:lnTo>
                      <a:pt x="1450" y="1749"/>
                    </a:lnTo>
                    <a:lnTo>
                      <a:pt x="1452" y="1767"/>
                    </a:lnTo>
                    <a:lnTo>
                      <a:pt x="1453" y="1775"/>
                    </a:lnTo>
                    <a:lnTo>
                      <a:pt x="1453" y="1780"/>
                    </a:lnTo>
                    <a:lnTo>
                      <a:pt x="1451" y="1785"/>
                    </a:lnTo>
                    <a:lnTo>
                      <a:pt x="1447" y="1788"/>
                    </a:lnTo>
                    <a:lnTo>
                      <a:pt x="1443" y="1790"/>
                    </a:lnTo>
                    <a:lnTo>
                      <a:pt x="1441" y="1790"/>
                    </a:lnTo>
                    <a:lnTo>
                      <a:pt x="1440" y="17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34"/>
              <p:cNvSpPr>
                <a:spLocks/>
              </p:cNvSpPr>
              <p:nvPr userDrawn="1"/>
            </p:nvSpPr>
            <p:spPr bwMode="auto">
              <a:xfrm>
                <a:off x="285" y="3049"/>
                <a:ext cx="1555" cy="1271"/>
              </a:xfrm>
              <a:custGeom>
                <a:avLst/>
                <a:gdLst>
                  <a:gd name="T0" fmla="*/ 121 w 4664"/>
                  <a:gd name="T1" fmla="*/ 3659 h 3812"/>
                  <a:gd name="T2" fmla="*/ 400 w 4664"/>
                  <a:gd name="T3" fmla="*/ 3297 h 3812"/>
                  <a:gd name="T4" fmla="*/ 746 w 4664"/>
                  <a:gd name="T5" fmla="*/ 2825 h 3812"/>
                  <a:gd name="T6" fmla="*/ 929 w 4664"/>
                  <a:gd name="T7" fmla="*/ 2566 h 3812"/>
                  <a:gd name="T8" fmla="*/ 1108 w 4664"/>
                  <a:gd name="T9" fmla="*/ 2301 h 3812"/>
                  <a:gd name="T10" fmla="*/ 1278 w 4664"/>
                  <a:gd name="T11" fmla="*/ 2036 h 3812"/>
                  <a:gd name="T12" fmla="*/ 1431 w 4664"/>
                  <a:gd name="T13" fmla="*/ 1778 h 3812"/>
                  <a:gd name="T14" fmla="*/ 1561 w 4664"/>
                  <a:gd name="T15" fmla="*/ 1534 h 3812"/>
                  <a:gd name="T16" fmla="*/ 1700 w 4664"/>
                  <a:gd name="T17" fmla="*/ 1253 h 3812"/>
                  <a:gd name="T18" fmla="*/ 1859 w 4664"/>
                  <a:gd name="T19" fmla="*/ 988 h 3812"/>
                  <a:gd name="T20" fmla="*/ 2021 w 4664"/>
                  <a:gd name="T21" fmla="*/ 771 h 3812"/>
                  <a:gd name="T22" fmla="*/ 2181 w 4664"/>
                  <a:gd name="T23" fmla="*/ 595 h 3812"/>
                  <a:gd name="T24" fmla="*/ 2340 w 4664"/>
                  <a:gd name="T25" fmla="*/ 457 h 3812"/>
                  <a:gd name="T26" fmla="*/ 2491 w 4664"/>
                  <a:gd name="T27" fmla="*/ 352 h 3812"/>
                  <a:gd name="T28" fmla="*/ 2633 w 4664"/>
                  <a:gd name="T29" fmla="*/ 276 h 3812"/>
                  <a:gd name="T30" fmla="*/ 2760 w 4664"/>
                  <a:gd name="T31" fmla="*/ 223 h 3812"/>
                  <a:gd name="T32" fmla="*/ 2873 w 4664"/>
                  <a:gd name="T33" fmla="*/ 190 h 3812"/>
                  <a:gd name="T34" fmla="*/ 2964 w 4664"/>
                  <a:gd name="T35" fmla="*/ 173 h 3812"/>
                  <a:gd name="T36" fmla="*/ 3033 w 4664"/>
                  <a:gd name="T37" fmla="*/ 166 h 3812"/>
                  <a:gd name="T38" fmla="*/ 3329 w 4664"/>
                  <a:gd name="T39" fmla="*/ 142 h 3812"/>
                  <a:gd name="T40" fmla="*/ 3716 w 4664"/>
                  <a:gd name="T41" fmla="*/ 104 h 3812"/>
                  <a:gd name="T42" fmla="*/ 4115 w 4664"/>
                  <a:gd name="T43" fmla="*/ 61 h 3812"/>
                  <a:gd name="T44" fmla="*/ 4447 w 4664"/>
                  <a:gd name="T45" fmla="*/ 24 h 3812"/>
                  <a:gd name="T46" fmla="*/ 4634 w 4664"/>
                  <a:gd name="T47" fmla="*/ 3 h 3812"/>
                  <a:gd name="T48" fmla="*/ 4660 w 4664"/>
                  <a:gd name="T49" fmla="*/ 4 h 3812"/>
                  <a:gd name="T50" fmla="*/ 4664 w 4664"/>
                  <a:gd name="T51" fmla="*/ 18 h 3812"/>
                  <a:gd name="T52" fmla="*/ 4652 w 4664"/>
                  <a:gd name="T53" fmla="*/ 27 h 3812"/>
                  <a:gd name="T54" fmla="*/ 4532 w 4664"/>
                  <a:gd name="T55" fmla="*/ 41 h 3812"/>
                  <a:gd name="T56" fmla="*/ 4241 w 4664"/>
                  <a:gd name="T57" fmla="*/ 74 h 3812"/>
                  <a:gd name="T58" fmla="*/ 3854 w 4664"/>
                  <a:gd name="T59" fmla="*/ 116 h 3812"/>
                  <a:gd name="T60" fmla="*/ 3453 w 4664"/>
                  <a:gd name="T61" fmla="*/ 157 h 3812"/>
                  <a:gd name="T62" fmla="*/ 3119 w 4664"/>
                  <a:gd name="T63" fmla="*/ 187 h 3812"/>
                  <a:gd name="T64" fmla="*/ 2957 w 4664"/>
                  <a:gd name="T65" fmla="*/ 201 h 3812"/>
                  <a:gd name="T66" fmla="*/ 2833 w 4664"/>
                  <a:gd name="T67" fmla="*/ 228 h 3812"/>
                  <a:gd name="T68" fmla="*/ 2702 w 4664"/>
                  <a:gd name="T69" fmla="*/ 275 h 3812"/>
                  <a:gd name="T70" fmla="*/ 2567 w 4664"/>
                  <a:gd name="T71" fmla="*/ 341 h 3812"/>
                  <a:gd name="T72" fmla="*/ 2428 w 4664"/>
                  <a:gd name="T73" fmla="*/ 429 h 3812"/>
                  <a:gd name="T74" fmla="*/ 2287 w 4664"/>
                  <a:gd name="T75" fmla="*/ 539 h 3812"/>
                  <a:gd name="T76" fmla="*/ 2147 w 4664"/>
                  <a:gd name="T77" fmla="*/ 673 h 3812"/>
                  <a:gd name="T78" fmla="*/ 2009 w 4664"/>
                  <a:gd name="T79" fmla="*/ 832 h 3812"/>
                  <a:gd name="T80" fmla="*/ 1875 w 4664"/>
                  <a:gd name="T81" fmla="*/ 1017 h 3812"/>
                  <a:gd name="T82" fmla="*/ 1745 w 4664"/>
                  <a:gd name="T83" fmla="*/ 1229 h 3812"/>
                  <a:gd name="T84" fmla="*/ 1622 w 4664"/>
                  <a:gd name="T85" fmla="*/ 1468 h 3812"/>
                  <a:gd name="T86" fmla="*/ 1503 w 4664"/>
                  <a:gd name="T87" fmla="*/ 1703 h 3812"/>
                  <a:gd name="T88" fmla="*/ 1360 w 4664"/>
                  <a:gd name="T89" fmla="*/ 1952 h 3812"/>
                  <a:gd name="T90" fmla="*/ 1199 w 4664"/>
                  <a:gd name="T91" fmla="*/ 2211 h 3812"/>
                  <a:gd name="T92" fmla="*/ 1025 w 4664"/>
                  <a:gd name="T93" fmla="*/ 2473 h 3812"/>
                  <a:gd name="T94" fmla="*/ 847 w 4664"/>
                  <a:gd name="T95" fmla="*/ 2733 h 3812"/>
                  <a:gd name="T96" fmla="*/ 553 w 4664"/>
                  <a:gd name="T97" fmla="*/ 3137 h 3812"/>
                  <a:gd name="T98" fmla="*/ 245 w 4664"/>
                  <a:gd name="T99" fmla="*/ 3543 h 3812"/>
                  <a:gd name="T100" fmla="*/ 35 w 4664"/>
                  <a:gd name="T101" fmla="*/ 3812 h 3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64" h="3812">
                    <a:moveTo>
                      <a:pt x="0" y="3812"/>
                    </a:moveTo>
                    <a:lnTo>
                      <a:pt x="53" y="3745"/>
                    </a:lnTo>
                    <a:lnTo>
                      <a:pt x="121" y="3659"/>
                    </a:lnTo>
                    <a:lnTo>
                      <a:pt x="203" y="3553"/>
                    </a:lnTo>
                    <a:lnTo>
                      <a:pt x="297" y="3432"/>
                    </a:lnTo>
                    <a:lnTo>
                      <a:pt x="400" y="3297"/>
                    </a:lnTo>
                    <a:lnTo>
                      <a:pt x="511" y="3149"/>
                    </a:lnTo>
                    <a:lnTo>
                      <a:pt x="627" y="2992"/>
                    </a:lnTo>
                    <a:lnTo>
                      <a:pt x="746" y="2825"/>
                    </a:lnTo>
                    <a:lnTo>
                      <a:pt x="807" y="2740"/>
                    </a:lnTo>
                    <a:lnTo>
                      <a:pt x="868" y="2654"/>
                    </a:lnTo>
                    <a:lnTo>
                      <a:pt x="929" y="2566"/>
                    </a:lnTo>
                    <a:lnTo>
                      <a:pt x="989" y="2479"/>
                    </a:lnTo>
                    <a:lnTo>
                      <a:pt x="1049" y="2390"/>
                    </a:lnTo>
                    <a:lnTo>
                      <a:pt x="1108" y="2301"/>
                    </a:lnTo>
                    <a:lnTo>
                      <a:pt x="1166" y="2212"/>
                    </a:lnTo>
                    <a:lnTo>
                      <a:pt x="1223" y="2124"/>
                    </a:lnTo>
                    <a:lnTo>
                      <a:pt x="1278" y="2036"/>
                    </a:lnTo>
                    <a:lnTo>
                      <a:pt x="1331" y="1949"/>
                    </a:lnTo>
                    <a:lnTo>
                      <a:pt x="1381" y="1862"/>
                    </a:lnTo>
                    <a:lnTo>
                      <a:pt x="1431" y="1778"/>
                    </a:lnTo>
                    <a:lnTo>
                      <a:pt x="1476" y="1695"/>
                    </a:lnTo>
                    <a:lnTo>
                      <a:pt x="1521" y="1613"/>
                    </a:lnTo>
                    <a:lnTo>
                      <a:pt x="1561" y="1534"/>
                    </a:lnTo>
                    <a:lnTo>
                      <a:pt x="1597" y="1457"/>
                    </a:lnTo>
                    <a:lnTo>
                      <a:pt x="1648" y="1352"/>
                    </a:lnTo>
                    <a:lnTo>
                      <a:pt x="1700" y="1253"/>
                    </a:lnTo>
                    <a:lnTo>
                      <a:pt x="1753" y="1160"/>
                    </a:lnTo>
                    <a:lnTo>
                      <a:pt x="1806" y="1071"/>
                    </a:lnTo>
                    <a:lnTo>
                      <a:pt x="1859" y="988"/>
                    </a:lnTo>
                    <a:lnTo>
                      <a:pt x="1913" y="911"/>
                    </a:lnTo>
                    <a:lnTo>
                      <a:pt x="1967" y="838"/>
                    </a:lnTo>
                    <a:lnTo>
                      <a:pt x="2021" y="771"/>
                    </a:lnTo>
                    <a:lnTo>
                      <a:pt x="2075" y="707"/>
                    </a:lnTo>
                    <a:lnTo>
                      <a:pt x="2129" y="649"/>
                    </a:lnTo>
                    <a:lnTo>
                      <a:pt x="2181" y="595"/>
                    </a:lnTo>
                    <a:lnTo>
                      <a:pt x="2235" y="545"/>
                    </a:lnTo>
                    <a:lnTo>
                      <a:pt x="2287" y="499"/>
                    </a:lnTo>
                    <a:lnTo>
                      <a:pt x="2340" y="457"/>
                    </a:lnTo>
                    <a:lnTo>
                      <a:pt x="2391" y="418"/>
                    </a:lnTo>
                    <a:lnTo>
                      <a:pt x="2442" y="384"/>
                    </a:lnTo>
                    <a:lnTo>
                      <a:pt x="2491" y="352"/>
                    </a:lnTo>
                    <a:lnTo>
                      <a:pt x="2539" y="323"/>
                    </a:lnTo>
                    <a:lnTo>
                      <a:pt x="2586" y="298"/>
                    </a:lnTo>
                    <a:lnTo>
                      <a:pt x="2633" y="276"/>
                    </a:lnTo>
                    <a:lnTo>
                      <a:pt x="2677" y="256"/>
                    </a:lnTo>
                    <a:lnTo>
                      <a:pt x="2719" y="238"/>
                    </a:lnTo>
                    <a:lnTo>
                      <a:pt x="2760" y="223"/>
                    </a:lnTo>
                    <a:lnTo>
                      <a:pt x="2800" y="211"/>
                    </a:lnTo>
                    <a:lnTo>
                      <a:pt x="2837" y="199"/>
                    </a:lnTo>
                    <a:lnTo>
                      <a:pt x="2873" y="190"/>
                    </a:lnTo>
                    <a:lnTo>
                      <a:pt x="2905" y="183"/>
                    </a:lnTo>
                    <a:lnTo>
                      <a:pt x="2936" y="177"/>
                    </a:lnTo>
                    <a:lnTo>
                      <a:pt x="2964" y="173"/>
                    </a:lnTo>
                    <a:lnTo>
                      <a:pt x="2990" y="170"/>
                    </a:lnTo>
                    <a:lnTo>
                      <a:pt x="3013" y="168"/>
                    </a:lnTo>
                    <a:lnTo>
                      <a:pt x="3033" y="166"/>
                    </a:lnTo>
                    <a:lnTo>
                      <a:pt x="3117" y="160"/>
                    </a:lnTo>
                    <a:lnTo>
                      <a:pt x="3216" y="153"/>
                    </a:lnTo>
                    <a:lnTo>
                      <a:pt x="3329" y="142"/>
                    </a:lnTo>
                    <a:lnTo>
                      <a:pt x="3451" y="131"/>
                    </a:lnTo>
                    <a:lnTo>
                      <a:pt x="3582" y="118"/>
                    </a:lnTo>
                    <a:lnTo>
                      <a:pt x="3716" y="104"/>
                    </a:lnTo>
                    <a:lnTo>
                      <a:pt x="3852" y="90"/>
                    </a:lnTo>
                    <a:lnTo>
                      <a:pt x="3986" y="75"/>
                    </a:lnTo>
                    <a:lnTo>
                      <a:pt x="4115" y="61"/>
                    </a:lnTo>
                    <a:lnTo>
                      <a:pt x="4237" y="47"/>
                    </a:lnTo>
                    <a:lnTo>
                      <a:pt x="4349" y="35"/>
                    </a:lnTo>
                    <a:lnTo>
                      <a:pt x="4447" y="24"/>
                    </a:lnTo>
                    <a:lnTo>
                      <a:pt x="4530" y="14"/>
                    </a:lnTo>
                    <a:lnTo>
                      <a:pt x="4593" y="7"/>
                    </a:lnTo>
                    <a:lnTo>
                      <a:pt x="4634" y="3"/>
                    </a:lnTo>
                    <a:lnTo>
                      <a:pt x="4649" y="0"/>
                    </a:lnTo>
                    <a:lnTo>
                      <a:pt x="4654" y="0"/>
                    </a:lnTo>
                    <a:lnTo>
                      <a:pt x="4660" y="4"/>
                    </a:lnTo>
                    <a:lnTo>
                      <a:pt x="4663" y="7"/>
                    </a:lnTo>
                    <a:lnTo>
                      <a:pt x="4664" y="12"/>
                    </a:lnTo>
                    <a:lnTo>
                      <a:pt x="4664" y="18"/>
                    </a:lnTo>
                    <a:lnTo>
                      <a:pt x="4662" y="22"/>
                    </a:lnTo>
                    <a:lnTo>
                      <a:pt x="4657" y="25"/>
                    </a:lnTo>
                    <a:lnTo>
                      <a:pt x="4652" y="27"/>
                    </a:lnTo>
                    <a:lnTo>
                      <a:pt x="4637" y="30"/>
                    </a:lnTo>
                    <a:lnTo>
                      <a:pt x="4596" y="34"/>
                    </a:lnTo>
                    <a:lnTo>
                      <a:pt x="4532" y="41"/>
                    </a:lnTo>
                    <a:lnTo>
                      <a:pt x="4450" y="50"/>
                    </a:lnTo>
                    <a:lnTo>
                      <a:pt x="4352" y="62"/>
                    </a:lnTo>
                    <a:lnTo>
                      <a:pt x="4241" y="74"/>
                    </a:lnTo>
                    <a:lnTo>
                      <a:pt x="4118" y="88"/>
                    </a:lnTo>
                    <a:lnTo>
                      <a:pt x="3988" y="102"/>
                    </a:lnTo>
                    <a:lnTo>
                      <a:pt x="3854" y="116"/>
                    </a:lnTo>
                    <a:lnTo>
                      <a:pt x="3718" y="131"/>
                    </a:lnTo>
                    <a:lnTo>
                      <a:pt x="3584" y="144"/>
                    </a:lnTo>
                    <a:lnTo>
                      <a:pt x="3453" y="157"/>
                    </a:lnTo>
                    <a:lnTo>
                      <a:pt x="3330" y="169"/>
                    </a:lnTo>
                    <a:lnTo>
                      <a:pt x="3218" y="180"/>
                    </a:lnTo>
                    <a:lnTo>
                      <a:pt x="3119" y="187"/>
                    </a:lnTo>
                    <a:lnTo>
                      <a:pt x="3034" y="193"/>
                    </a:lnTo>
                    <a:lnTo>
                      <a:pt x="2997" y="196"/>
                    </a:lnTo>
                    <a:lnTo>
                      <a:pt x="2957" y="201"/>
                    </a:lnTo>
                    <a:lnTo>
                      <a:pt x="2916" y="208"/>
                    </a:lnTo>
                    <a:lnTo>
                      <a:pt x="2875" y="217"/>
                    </a:lnTo>
                    <a:lnTo>
                      <a:pt x="2833" y="228"/>
                    </a:lnTo>
                    <a:lnTo>
                      <a:pt x="2789" y="241"/>
                    </a:lnTo>
                    <a:lnTo>
                      <a:pt x="2746" y="257"/>
                    </a:lnTo>
                    <a:lnTo>
                      <a:pt x="2702" y="275"/>
                    </a:lnTo>
                    <a:lnTo>
                      <a:pt x="2658" y="295"/>
                    </a:lnTo>
                    <a:lnTo>
                      <a:pt x="2612" y="317"/>
                    </a:lnTo>
                    <a:lnTo>
                      <a:pt x="2567" y="341"/>
                    </a:lnTo>
                    <a:lnTo>
                      <a:pt x="2520" y="368"/>
                    </a:lnTo>
                    <a:lnTo>
                      <a:pt x="2474" y="398"/>
                    </a:lnTo>
                    <a:lnTo>
                      <a:pt x="2428" y="429"/>
                    </a:lnTo>
                    <a:lnTo>
                      <a:pt x="2381" y="463"/>
                    </a:lnTo>
                    <a:lnTo>
                      <a:pt x="2335" y="500"/>
                    </a:lnTo>
                    <a:lnTo>
                      <a:pt x="2287" y="539"/>
                    </a:lnTo>
                    <a:lnTo>
                      <a:pt x="2241" y="581"/>
                    </a:lnTo>
                    <a:lnTo>
                      <a:pt x="2194" y="626"/>
                    </a:lnTo>
                    <a:lnTo>
                      <a:pt x="2147" y="673"/>
                    </a:lnTo>
                    <a:lnTo>
                      <a:pt x="2100" y="724"/>
                    </a:lnTo>
                    <a:lnTo>
                      <a:pt x="2055" y="777"/>
                    </a:lnTo>
                    <a:lnTo>
                      <a:pt x="2009" y="832"/>
                    </a:lnTo>
                    <a:lnTo>
                      <a:pt x="1963" y="891"/>
                    </a:lnTo>
                    <a:lnTo>
                      <a:pt x="1919" y="952"/>
                    </a:lnTo>
                    <a:lnTo>
                      <a:pt x="1875" y="1017"/>
                    </a:lnTo>
                    <a:lnTo>
                      <a:pt x="1830" y="1084"/>
                    </a:lnTo>
                    <a:lnTo>
                      <a:pt x="1787" y="1154"/>
                    </a:lnTo>
                    <a:lnTo>
                      <a:pt x="1745" y="1229"/>
                    </a:lnTo>
                    <a:lnTo>
                      <a:pt x="1703" y="1305"/>
                    </a:lnTo>
                    <a:lnTo>
                      <a:pt x="1662" y="1385"/>
                    </a:lnTo>
                    <a:lnTo>
                      <a:pt x="1622" y="1468"/>
                    </a:lnTo>
                    <a:lnTo>
                      <a:pt x="1585" y="1544"/>
                    </a:lnTo>
                    <a:lnTo>
                      <a:pt x="1545" y="1623"/>
                    </a:lnTo>
                    <a:lnTo>
                      <a:pt x="1503" y="1703"/>
                    </a:lnTo>
                    <a:lnTo>
                      <a:pt x="1458" y="1785"/>
                    </a:lnTo>
                    <a:lnTo>
                      <a:pt x="1410" y="1868"/>
                    </a:lnTo>
                    <a:lnTo>
                      <a:pt x="1360" y="1952"/>
                    </a:lnTo>
                    <a:lnTo>
                      <a:pt x="1308" y="2038"/>
                    </a:lnTo>
                    <a:lnTo>
                      <a:pt x="1254" y="2125"/>
                    </a:lnTo>
                    <a:lnTo>
                      <a:pt x="1199" y="2211"/>
                    </a:lnTo>
                    <a:lnTo>
                      <a:pt x="1142" y="2299"/>
                    </a:lnTo>
                    <a:lnTo>
                      <a:pt x="1084" y="2386"/>
                    </a:lnTo>
                    <a:lnTo>
                      <a:pt x="1025" y="2473"/>
                    </a:lnTo>
                    <a:lnTo>
                      <a:pt x="966" y="2561"/>
                    </a:lnTo>
                    <a:lnTo>
                      <a:pt x="906" y="2647"/>
                    </a:lnTo>
                    <a:lnTo>
                      <a:pt x="847" y="2733"/>
                    </a:lnTo>
                    <a:lnTo>
                      <a:pt x="786" y="2817"/>
                    </a:lnTo>
                    <a:lnTo>
                      <a:pt x="669" y="2981"/>
                    </a:lnTo>
                    <a:lnTo>
                      <a:pt x="553" y="3137"/>
                    </a:lnTo>
                    <a:lnTo>
                      <a:pt x="443" y="3284"/>
                    </a:lnTo>
                    <a:lnTo>
                      <a:pt x="340" y="3420"/>
                    </a:lnTo>
                    <a:lnTo>
                      <a:pt x="245" y="3543"/>
                    </a:lnTo>
                    <a:lnTo>
                      <a:pt x="162" y="3650"/>
                    </a:lnTo>
                    <a:lnTo>
                      <a:pt x="91" y="3741"/>
                    </a:lnTo>
                    <a:lnTo>
                      <a:pt x="35" y="3812"/>
                    </a:lnTo>
                    <a:lnTo>
                      <a:pt x="0" y="38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35"/>
              <p:cNvSpPr>
                <a:spLocks/>
              </p:cNvSpPr>
              <p:nvPr userDrawn="1"/>
            </p:nvSpPr>
            <p:spPr bwMode="auto">
              <a:xfrm>
                <a:off x="421" y="3474"/>
                <a:ext cx="670" cy="846"/>
              </a:xfrm>
              <a:custGeom>
                <a:avLst/>
                <a:gdLst>
                  <a:gd name="T0" fmla="*/ 78 w 2010"/>
                  <a:gd name="T1" fmla="*/ 2453 h 2538"/>
                  <a:gd name="T2" fmla="*/ 301 w 2010"/>
                  <a:gd name="T3" fmla="*/ 2203 h 2538"/>
                  <a:gd name="T4" fmla="*/ 590 w 2010"/>
                  <a:gd name="T5" fmla="*/ 1873 h 2538"/>
                  <a:gd name="T6" fmla="*/ 915 w 2010"/>
                  <a:gd name="T7" fmla="*/ 1494 h 2538"/>
                  <a:gd name="T8" fmla="*/ 1163 w 2010"/>
                  <a:gd name="T9" fmla="*/ 1197 h 2538"/>
                  <a:gd name="T10" fmla="*/ 1323 w 2010"/>
                  <a:gd name="T11" fmla="*/ 999 h 2538"/>
                  <a:gd name="T12" fmla="*/ 1475 w 2010"/>
                  <a:gd name="T13" fmla="*/ 807 h 2538"/>
                  <a:gd name="T14" fmla="*/ 1614 w 2010"/>
                  <a:gd name="T15" fmla="*/ 623 h 2538"/>
                  <a:gd name="T16" fmla="*/ 1737 w 2010"/>
                  <a:gd name="T17" fmla="*/ 451 h 2538"/>
                  <a:gd name="T18" fmla="*/ 1839 w 2010"/>
                  <a:gd name="T19" fmla="*/ 297 h 2538"/>
                  <a:gd name="T20" fmla="*/ 1918 w 2010"/>
                  <a:gd name="T21" fmla="*/ 163 h 2538"/>
                  <a:gd name="T22" fmla="*/ 1970 w 2010"/>
                  <a:gd name="T23" fmla="*/ 54 h 2538"/>
                  <a:gd name="T24" fmla="*/ 1985 w 2010"/>
                  <a:gd name="T25" fmla="*/ 4 h 2538"/>
                  <a:gd name="T26" fmla="*/ 1995 w 2010"/>
                  <a:gd name="T27" fmla="*/ 0 h 2538"/>
                  <a:gd name="T28" fmla="*/ 2005 w 2010"/>
                  <a:gd name="T29" fmla="*/ 2 h 2538"/>
                  <a:gd name="T30" fmla="*/ 2010 w 2010"/>
                  <a:gd name="T31" fmla="*/ 11 h 2538"/>
                  <a:gd name="T32" fmla="*/ 2002 w 2010"/>
                  <a:gd name="T33" fmla="*/ 41 h 2538"/>
                  <a:gd name="T34" fmla="*/ 1980 w 2010"/>
                  <a:gd name="T35" fmla="*/ 98 h 2538"/>
                  <a:gd name="T36" fmla="*/ 1947 w 2010"/>
                  <a:gd name="T37" fmla="*/ 165 h 2538"/>
                  <a:gd name="T38" fmla="*/ 1905 w 2010"/>
                  <a:gd name="T39" fmla="*/ 240 h 2538"/>
                  <a:gd name="T40" fmla="*/ 1854 w 2010"/>
                  <a:gd name="T41" fmla="*/ 322 h 2538"/>
                  <a:gd name="T42" fmla="*/ 1796 w 2010"/>
                  <a:gd name="T43" fmla="*/ 410 h 2538"/>
                  <a:gd name="T44" fmla="*/ 1697 w 2010"/>
                  <a:gd name="T45" fmla="*/ 553 h 2538"/>
                  <a:gd name="T46" fmla="*/ 1545 w 2010"/>
                  <a:gd name="T47" fmla="*/ 758 h 2538"/>
                  <a:gd name="T48" fmla="*/ 1378 w 2010"/>
                  <a:gd name="T49" fmla="*/ 973 h 2538"/>
                  <a:gd name="T50" fmla="*/ 1203 w 2010"/>
                  <a:gd name="T51" fmla="*/ 1190 h 2538"/>
                  <a:gd name="T52" fmla="*/ 1027 w 2010"/>
                  <a:gd name="T53" fmla="*/ 1403 h 2538"/>
                  <a:gd name="T54" fmla="*/ 879 w 2010"/>
                  <a:gd name="T55" fmla="*/ 1578 h 2538"/>
                  <a:gd name="T56" fmla="*/ 753 w 2010"/>
                  <a:gd name="T57" fmla="*/ 1727 h 2538"/>
                  <a:gd name="T58" fmla="*/ 625 w 2010"/>
                  <a:gd name="T59" fmla="*/ 1876 h 2538"/>
                  <a:gd name="T60" fmla="*/ 497 w 2010"/>
                  <a:gd name="T61" fmla="*/ 2023 h 2538"/>
                  <a:gd name="T62" fmla="*/ 375 w 2010"/>
                  <a:gd name="T63" fmla="*/ 2162 h 2538"/>
                  <a:gd name="T64" fmla="*/ 262 w 2010"/>
                  <a:gd name="T65" fmla="*/ 2290 h 2538"/>
                  <a:gd name="T66" fmla="*/ 160 w 2010"/>
                  <a:gd name="T67" fmla="*/ 2403 h 2538"/>
                  <a:gd name="T68" fmla="*/ 74 w 2010"/>
                  <a:gd name="T69" fmla="*/ 2499 h 2538"/>
                  <a:gd name="T70" fmla="*/ 0 w 2010"/>
                  <a:gd name="T71" fmla="*/ 2538 h 2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10" h="2538">
                    <a:moveTo>
                      <a:pt x="0" y="2538"/>
                    </a:moveTo>
                    <a:lnTo>
                      <a:pt x="78" y="2453"/>
                    </a:lnTo>
                    <a:lnTo>
                      <a:pt x="180" y="2339"/>
                    </a:lnTo>
                    <a:lnTo>
                      <a:pt x="301" y="2203"/>
                    </a:lnTo>
                    <a:lnTo>
                      <a:pt x="440" y="2047"/>
                    </a:lnTo>
                    <a:lnTo>
                      <a:pt x="590" y="1873"/>
                    </a:lnTo>
                    <a:lnTo>
                      <a:pt x="750" y="1688"/>
                    </a:lnTo>
                    <a:lnTo>
                      <a:pt x="915" y="1494"/>
                    </a:lnTo>
                    <a:lnTo>
                      <a:pt x="1081" y="1297"/>
                    </a:lnTo>
                    <a:lnTo>
                      <a:pt x="1163" y="1197"/>
                    </a:lnTo>
                    <a:lnTo>
                      <a:pt x="1244" y="1098"/>
                    </a:lnTo>
                    <a:lnTo>
                      <a:pt x="1323" y="999"/>
                    </a:lnTo>
                    <a:lnTo>
                      <a:pt x="1401" y="902"/>
                    </a:lnTo>
                    <a:lnTo>
                      <a:pt x="1475" y="807"/>
                    </a:lnTo>
                    <a:lnTo>
                      <a:pt x="1547" y="714"/>
                    </a:lnTo>
                    <a:lnTo>
                      <a:pt x="1614" y="623"/>
                    </a:lnTo>
                    <a:lnTo>
                      <a:pt x="1677" y="536"/>
                    </a:lnTo>
                    <a:lnTo>
                      <a:pt x="1737" y="451"/>
                    </a:lnTo>
                    <a:lnTo>
                      <a:pt x="1791" y="373"/>
                    </a:lnTo>
                    <a:lnTo>
                      <a:pt x="1839" y="297"/>
                    </a:lnTo>
                    <a:lnTo>
                      <a:pt x="1882" y="228"/>
                    </a:lnTo>
                    <a:lnTo>
                      <a:pt x="1918" y="163"/>
                    </a:lnTo>
                    <a:lnTo>
                      <a:pt x="1947" y="106"/>
                    </a:lnTo>
                    <a:lnTo>
                      <a:pt x="1970" y="54"/>
                    </a:lnTo>
                    <a:lnTo>
                      <a:pt x="1983" y="10"/>
                    </a:lnTo>
                    <a:lnTo>
                      <a:pt x="1985" y="4"/>
                    </a:lnTo>
                    <a:lnTo>
                      <a:pt x="1989" y="1"/>
                    </a:lnTo>
                    <a:lnTo>
                      <a:pt x="1995" y="0"/>
                    </a:lnTo>
                    <a:lnTo>
                      <a:pt x="1999" y="0"/>
                    </a:lnTo>
                    <a:lnTo>
                      <a:pt x="2005" y="2"/>
                    </a:lnTo>
                    <a:lnTo>
                      <a:pt x="2008" y="6"/>
                    </a:lnTo>
                    <a:lnTo>
                      <a:pt x="2010" y="11"/>
                    </a:lnTo>
                    <a:lnTo>
                      <a:pt x="2010" y="16"/>
                    </a:lnTo>
                    <a:lnTo>
                      <a:pt x="2002" y="41"/>
                    </a:lnTo>
                    <a:lnTo>
                      <a:pt x="1993" y="69"/>
                    </a:lnTo>
                    <a:lnTo>
                      <a:pt x="1980" y="98"/>
                    </a:lnTo>
                    <a:lnTo>
                      <a:pt x="1965" y="131"/>
                    </a:lnTo>
                    <a:lnTo>
                      <a:pt x="1947" y="165"/>
                    </a:lnTo>
                    <a:lnTo>
                      <a:pt x="1928" y="202"/>
                    </a:lnTo>
                    <a:lnTo>
                      <a:pt x="1905" y="240"/>
                    </a:lnTo>
                    <a:lnTo>
                      <a:pt x="1881" y="280"/>
                    </a:lnTo>
                    <a:lnTo>
                      <a:pt x="1854" y="322"/>
                    </a:lnTo>
                    <a:lnTo>
                      <a:pt x="1826" y="365"/>
                    </a:lnTo>
                    <a:lnTo>
                      <a:pt x="1796" y="410"/>
                    </a:lnTo>
                    <a:lnTo>
                      <a:pt x="1765" y="457"/>
                    </a:lnTo>
                    <a:lnTo>
                      <a:pt x="1697" y="553"/>
                    </a:lnTo>
                    <a:lnTo>
                      <a:pt x="1623" y="654"/>
                    </a:lnTo>
                    <a:lnTo>
                      <a:pt x="1545" y="758"/>
                    </a:lnTo>
                    <a:lnTo>
                      <a:pt x="1462" y="865"/>
                    </a:lnTo>
                    <a:lnTo>
                      <a:pt x="1378" y="973"/>
                    </a:lnTo>
                    <a:lnTo>
                      <a:pt x="1291" y="1081"/>
                    </a:lnTo>
                    <a:lnTo>
                      <a:pt x="1203" y="1190"/>
                    </a:lnTo>
                    <a:lnTo>
                      <a:pt x="1115" y="1298"/>
                    </a:lnTo>
                    <a:lnTo>
                      <a:pt x="1027" y="1403"/>
                    </a:lnTo>
                    <a:lnTo>
                      <a:pt x="941" y="1506"/>
                    </a:lnTo>
                    <a:lnTo>
                      <a:pt x="879" y="1578"/>
                    </a:lnTo>
                    <a:lnTo>
                      <a:pt x="817" y="1653"/>
                    </a:lnTo>
                    <a:lnTo>
                      <a:pt x="753" y="1727"/>
                    </a:lnTo>
                    <a:lnTo>
                      <a:pt x="688" y="1802"/>
                    </a:lnTo>
                    <a:lnTo>
                      <a:pt x="625" y="1876"/>
                    </a:lnTo>
                    <a:lnTo>
                      <a:pt x="561" y="1951"/>
                    </a:lnTo>
                    <a:lnTo>
                      <a:pt x="497" y="2023"/>
                    </a:lnTo>
                    <a:lnTo>
                      <a:pt x="436" y="2093"/>
                    </a:lnTo>
                    <a:lnTo>
                      <a:pt x="375" y="2162"/>
                    </a:lnTo>
                    <a:lnTo>
                      <a:pt x="317" y="2227"/>
                    </a:lnTo>
                    <a:lnTo>
                      <a:pt x="262" y="2290"/>
                    </a:lnTo>
                    <a:lnTo>
                      <a:pt x="209" y="2349"/>
                    </a:lnTo>
                    <a:lnTo>
                      <a:pt x="160" y="2403"/>
                    </a:lnTo>
                    <a:lnTo>
                      <a:pt x="115" y="2454"/>
                    </a:lnTo>
                    <a:lnTo>
                      <a:pt x="74" y="2499"/>
                    </a:lnTo>
                    <a:lnTo>
                      <a:pt x="38" y="2538"/>
                    </a:lnTo>
                    <a:lnTo>
                      <a:pt x="0" y="2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36"/>
              <p:cNvSpPr>
                <a:spLocks/>
              </p:cNvSpPr>
              <p:nvPr userDrawn="1"/>
            </p:nvSpPr>
            <p:spPr bwMode="auto">
              <a:xfrm>
                <a:off x="319" y="3021"/>
                <a:ext cx="1116" cy="1262"/>
              </a:xfrm>
              <a:custGeom>
                <a:avLst/>
                <a:gdLst>
                  <a:gd name="T0" fmla="*/ 11 w 3349"/>
                  <a:gd name="T1" fmla="*/ 3786 h 3786"/>
                  <a:gd name="T2" fmla="*/ 4 w 3349"/>
                  <a:gd name="T3" fmla="*/ 3781 h 3786"/>
                  <a:gd name="T4" fmla="*/ 0 w 3349"/>
                  <a:gd name="T5" fmla="*/ 3772 h 3786"/>
                  <a:gd name="T6" fmla="*/ 15 w 3349"/>
                  <a:gd name="T7" fmla="*/ 3739 h 3786"/>
                  <a:gd name="T8" fmla="*/ 99 w 3349"/>
                  <a:gd name="T9" fmla="*/ 3558 h 3786"/>
                  <a:gd name="T10" fmla="*/ 246 w 3349"/>
                  <a:gd name="T11" fmla="*/ 3245 h 3786"/>
                  <a:gd name="T12" fmla="*/ 436 w 3349"/>
                  <a:gd name="T13" fmla="*/ 2840 h 3786"/>
                  <a:gd name="T14" fmla="*/ 649 w 3349"/>
                  <a:gd name="T15" fmla="*/ 2387 h 3786"/>
                  <a:gd name="T16" fmla="*/ 867 w 3349"/>
                  <a:gd name="T17" fmla="*/ 1927 h 3786"/>
                  <a:gd name="T18" fmla="*/ 1070 w 3349"/>
                  <a:gd name="T19" fmla="*/ 1503 h 3786"/>
                  <a:gd name="T20" fmla="*/ 1237 w 3349"/>
                  <a:gd name="T21" fmla="*/ 1156 h 3786"/>
                  <a:gd name="T22" fmla="*/ 1337 w 3349"/>
                  <a:gd name="T23" fmla="*/ 965 h 3786"/>
                  <a:gd name="T24" fmla="*/ 1426 w 3349"/>
                  <a:gd name="T25" fmla="*/ 851 h 3786"/>
                  <a:gd name="T26" fmla="*/ 1542 w 3349"/>
                  <a:gd name="T27" fmla="*/ 743 h 3786"/>
                  <a:gd name="T28" fmla="*/ 1678 w 3349"/>
                  <a:gd name="T29" fmla="*/ 642 h 3786"/>
                  <a:gd name="T30" fmla="*/ 1831 w 3349"/>
                  <a:gd name="T31" fmla="*/ 547 h 3786"/>
                  <a:gd name="T32" fmla="*/ 1996 w 3349"/>
                  <a:gd name="T33" fmla="*/ 460 h 3786"/>
                  <a:gd name="T34" fmla="*/ 2169 w 3349"/>
                  <a:gd name="T35" fmla="*/ 379 h 3786"/>
                  <a:gd name="T36" fmla="*/ 2345 w 3349"/>
                  <a:gd name="T37" fmla="*/ 306 h 3786"/>
                  <a:gd name="T38" fmla="*/ 2520 w 3349"/>
                  <a:gd name="T39" fmla="*/ 240 h 3786"/>
                  <a:gd name="T40" fmla="*/ 2688 w 3349"/>
                  <a:gd name="T41" fmla="*/ 181 h 3786"/>
                  <a:gd name="T42" fmla="*/ 2847 w 3349"/>
                  <a:gd name="T43" fmla="*/ 131 h 3786"/>
                  <a:gd name="T44" fmla="*/ 2991 w 3349"/>
                  <a:gd name="T45" fmla="*/ 89 h 3786"/>
                  <a:gd name="T46" fmla="*/ 3169 w 3349"/>
                  <a:gd name="T47" fmla="*/ 40 h 3786"/>
                  <a:gd name="T48" fmla="*/ 3314 w 3349"/>
                  <a:gd name="T49" fmla="*/ 4 h 3786"/>
                  <a:gd name="T50" fmla="*/ 3341 w 3349"/>
                  <a:gd name="T51" fmla="*/ 1 h 3786"/>
                  <a:gd name="T52" fmla="*/ 3348 w 3349"/>
                  <a:gd name="T53" fmla="*/ 9 h 3786"/>
                  <a:gd name="T54" fmla="*/ 3348 w 3349"/>
                  <a:gd name="T55" fmla="*/ 20 h 3786"/>
                  <a:gd name="T56" fmla="*/ 3341 w 3349"/>
                  <a:gd name="T57" fmla="*/ 26 h 3786"/>
                  <a:gd name="T58" fmla="*/ 3323 w 3349"/>
                  <a:gd name="T59" fmla="*/ 29 h 3786"/>
                  <a:gd name="T60" fmla="*/ 3274 w 3349"/>
                  <a:gd name="T61" fmla="*/ 39 h 3786"/>
                  <a:gd name="T62" fmla="*/ 3145 w 3349"/>
                  <a:gd name="T63" fmla="*/ 71 h 3786"/>
                  <a:gd name="T64" fmla="*/ 2964 w 3349"/>
                  <a:gd name="T65" fmla="*/ 122 h 3786"/>
                  <a:gd name="T66" fmla="*/ 2820 w 3349"/>
                  <a:gd name="T67" fmla="*/ 166 h 3786"/>
                  <a:gd name="T68" fmla="*/ 2663 w 3349"/>
                  <a:gd name="T69" fmla="*/ 219 h 3786"/>
                  <a:gd name="T70" fmla="*/ 2497 w 3349"/>
                  <a:gd name="T71" fmla="*/ 279 h 3786"/>
                  <a:gd name="T72" fmla="*/ 2327 w 3349"/>
                  <a:gd name="T73" fmla="*/ 344 h 3786"/>
                  <a:gd name="T74" fmla="*/ 2156 w 3349"/>
                  <a:gd name="T75" fmla="*/ 418 h 3786"/>
                  <a:gd name="T76" fmla="*/ 1989 w 3349"/>
                  <a:gd name="T77" fmla="*/ 498 h 3786"/>
                  <a:gd name="T78" fmla="*/ 1830 w 3349"/>
                  <a:gd name="T79" fmla="*/ 583 h 3786"/>
                  <a:gd name="T80" fmla="*/ 1683 w 3349"/>
                  <a:gd name="T81" fmla="*/ 675 h 3786"/>
                  <a:gd name="T82" fmla="*/ 1552 w 3349"/>
                  <a:gd name="T83" fmla="*/ 772 h 3786"/>
                  <a:gd name="T84" fmla="*/ 1443 w 3349"/>
                  <a:gd name="T85" fmla="*/ 874 h 3786"/>
                  <a:gd name="T86" fmla="*/ 1358 w 3349"/>
                  <a:gd name="T87" fmla="*/ 981 h 3786"/>
                  <a:gd name="T88" fmla="*/ 1261 w 3349"/>
                  <a:gd name="T89" fmla="*/ 1168 h 3786"/>
                  <a:gd name="T90" fmla="*/ 1094 w 3349"/>
                  <a:gd name="T91" fmla="*/ 1515 h 3786"/>
                  <a:gd name="T92" fmla="*/ 892 w 3349"/>
                  <a:gd name="T93" fmla="*/ 1939 h 3786"/>
                  <a:gd name="T94" fmla="*/ 674 w 3349"/>
                  <a:gd name="T95" fmla="*/ 2399 h 3786"/>
                  <a:gd name="T96" fmla="*/ 460 w 3349"/>
                  <a:gd name="T97" fmla="*/ 2852 h 3786"/>
                  <a:gd name="T98" fmla="*/ 271 w 3349"/>
                  <a:gd name="T99" fmla="*/ 3256 h 3786"/>
                  <a:gd name="T100" fmla="*/ 124 w 3349"/>
                  <a:gd name="T101" fmla="*/ 3570 h 3786"/>
                  <a:gd name="T102" fmla="*/ 39 w 3349"/>
                  <a:gd name="T103" fmla="*/ 3751 h 3786"/>
                  <a:gd name="T104" fmla="*/ 23 w 3349"/>
                  <a:gd name="T105" fmla="*/ 3781 h 3786"/>
                  <a:gd name="T106" fmla="*/ 17 w 3349"/>
                  <a:gd name="T107" fmla="*/ 3786 h 3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49" h="3786">
                    <a:moveTo>
                      <a:pt x="14" y="3786"/>
                    </a:moveTo>
                    <a:lnTo>
                      <a:pt x="11" y="3786"/>
                    </a:lnTo>
                    <a:lnTo>
                      <a:pt x="8" y="3785"/>
                    </a:lnTo>
                    <a:lnTo>
                      <a:pt x="4" y="3781"/>
                    </a:lnTo>
                    <a:lnTo>
                      <a:pt x="1" y="3777"/>
                    </a:lnTo>
                    <a:lnTo>
                      <a:pt x="0" y="3772"/>
                    </a:lnTo>
                    <a:lnTo>
                      <a:pt x="2" y="3767"/>
                    </a:lnTo>
                    <a:lnTo>
                      <a:pt x="15" y="3739"/>
                    </a:lnTo>
                    <a:lnTo>
                      <a:pt x="47" y="3668"/>
                    </a:lnTo>
                    <a:lnTo>
                      <a:pt x="99" y="3558"/>
                    </a:lnTo>
                    <a:lnTo>
                      <a:pt x="166" y="3416"/>
                    </a:lnTo>
                    <a:lnTo>
                      <a:pt x="246" y="3245"/>
                    </a:lnTo>
                    <a:lnTo>
                      <a:pt x="337" y="3052"/>
                    </a:lnTo>
                    <a:lnTo>
                      <a:pt x="436" y="2840"/>
                    </a:lnTo>
                    <a:lnTo>
                      <a:pt x="541" y="2617"/>
                    </a:lnTo>
                    <a:lnTo>
                      <a:pt x="649" y="2387"/>
                    </a:lnTo>
                    <a:lnTo>
                      <a:pt x="759" y="2156"/>
                    </a:lnTo>
                    <a:lnTo>
                      <a:pt x="867" y="1927"/>
                    </a:lnTo>
                    <a:lnTo>
                      <a:pt x="972" y="1708"/>
                    </a:lnTo>
                    <a:lnTo>
                      <a:pt x="1070" y="1503"/>
                    </a:lnTo>
                    <a:lnTo>
                      <a:pt x="1158" y="1317"/>
                    </a:lnTo>
                    <a:lnTo>
                      <a:pt x="1237" y="1156"/>
                    </a:lnTo>
                    <a:lnTo>
                      <a:pt x="1302" y="1025"/>
                    </a:lnTo>
                    <a:lnTo>
                      <a:pt x="1337" y="965"/>
                    </a:lnTo>
                    <a:lnTo>
                      <a:pt x="1378" y="907"/>
                    </a:lnTo>
                    <a:lnTo>
                      <a:pt x="1426" y="851"/>
                    </a:lnTo>
                    <a:lnTo>
                      <a:pt x="1481" y="797"/>
                    </a:lnTo>
                    <a:lnTo>
                      <a:pt x="1542" y="743"/>
                    </a:lnTo>
                    <a:lnTo>
                      <a:pt x="1608" y="692"/>
                    </a:lnTo>
                    <a:lnTo>
                      <a:pt x="1678" y="642"/>
                    </a:lnTo>
                    <a:lnTo>
                      <a:pt x="1753" y="594"/>
                    </a:lnTo>
                    <a:lnTo>
                      <a:pt x="1831" y="547"/>
                    </a:lnTo>
                    <a:lnTo>
                      <a:pt x="1913" y="503"/>
                    </a:lnTo>
                    <a:lnTo>
                      <a:pt x="1996" y="460"/>
                    </a:lnTo>
                    <a:lnTo>
                      <a:pt x="2083" y="419"/>
                    </a:lnTo>
                    <a:lnTo>
                      <a:pt x="2169" y="379"/>
                    </a:lnTo>
                    <a:lnTo>
                      <a:pt x="2258" y="341"/>
                    </a:lnTo>
                    <a:lnTo>
                      <a:pt x="2345" y="306"/>
                    </a:lnTo>
                    <a:lnTo>
                      <a:pt x="2434" y="272"/>
                    </a:lnTo>
                    <a:lnTo>
                      <a:pt x="2520" y="240"/>
                    </a:lnTo>
                    <a:lnTo>
                      <a:pt x="2605" y="210"/>
                    </a:lnTo>
                    <a:lnTo>
                      <a:pt x="2688" y="181"/>
                    </a:lnTo>
                    <a:lnTo>
                      <a:pt x="2769" y="156"/>
                    </a:lnTo>
                    <a:lnTo>
                      <a:pt x="2847" y="131"/>
                    </a:lnTo>
                    <a:lnTo>
                      <a:pt x="2922" y="109"/>
                    </a:lnTo>
                    <a:lnTo>
                      <a:pt x="2991" y="89"/>
                    </a:lnTo>
                    <a:lnTo>
                      <a:pt x="3057" y="70"/>
                    </a:lnTo>
                    <a:lnTo>
                      <a:pt x="3169" y="40"/>
                    </a:lnTo>
                    <a:lnTo>
                      <a:pt x="3256" y="18"/>
                    </a:lnTo>
                    <a:lnTo>
                      <a:pt x="3314" y="4"/>
                    </a:lnTo>
                    <a:lnTo>
                      <a:pt x="3335" y="0"/>
                    </a:lnTo>
                    <a:lnTo>
                      <a:pt x="3341" y="1"/>
                    </a:lnTo>
                    <a:lnTo>
                      <a:pt x="3345" y="4"/>
                    </a:lnTo>
                    <a:lnTo>
                      <a:pt x="3348" y="9"/>
                    </a:lnTo>
                    <a:lnTo>
                      <a:pt x="3349" y="14"/>
                    </a:lnTo>
                    <a:lnTo>
                      <a:pt x="3348" y="20"/>
                    </a:lnTo>
                    <a:lnTo>
                      <a:pt x="3345" y="23"/>
                    </a:lnTo>
                    <a:lnTo>
                      <a:pt x="3341" y="26"/>
                    </a:lnTo>
                    <a:lnTo>
                      <a:pt x="3335" y="27"/>
                    </a:lnTo>
                    <a:lnTo>
                      <a:pt x="3323" y="29"/>
                    </a:lnTo>
                    <a:lnTo>
                      <a:pt x="3303" y="32"/>
                    </a:lnTo>
                    <a:lnTo>
                      <a:pt x="3274" y="39"/>
                    </a:lnTo>
                    <a:lnTo>
                      <a:pt x="3238" y="48"/>
                    </a:lnTo>
                    <a:lnTo>
                      <a:pt x="3145" y="71"/>
                    </a:lnTo>
                    <a:lnTo>
                      <a:pt x="3030" y="104"/>
                    </a:lnTo>
                    <a:lnTo>
                      <a:pt x="2964" y="122"/>
                    </a:lnTo>
                    <a:lnTo>
                      <a:pt x="2894" y="144"/>
                    </a:lnTo>
                    <a:lnTo>
                      <a:pt x="2820" y="166"/>
                    </a:lnTo>
                    <a:lnTo>
                      <a:pt x="2742" y="192"/>
                    </a:lnTo>
                    <a:lnTo>
                      <a:pt x="2663" y="219"/>
                    </a:lnTo>
                    <a:lnTo>
                      <a:pt x="2580" y="247"/>
                    </a:lnTo>
                    <a:lnTo>
                      <a:pt x="2497" y="279"/>
                    </a:lnTo>
                    <a:lnTo>
                      <a:pt x="2412" y="310"/>
                    </a:lnTo>
                    <a:lnTo>
                      <a:pt x="2327" y="344"/>
                    </a:lnTo>
                    <a:lnTo>
                      <a:pt x="2241" y="380"/>
                    </a:lnTo>
                    <a:lnTo>
                      <a:pt x="2156" y="418"/>
                    </a:lnTo>
                    <a:lnTo>
                      <a:pt x="2072" y="457"/>
                    </a:lnTo>
                    <a:lnTo>
                      <a:pt x="1989" y="498"/>
                    </a:lnTo>
                    <a:lnTo>
                      <a:pt x="1908" y="540"/>
                    </a:lnTo>
                    <a:lnTo>
                      <a:pt x="1830" y="583"/>
                    </a:lnTo>
                    <a:lnTo>
                      <a:pt x="1754" y="628"/>
                    </a:lnTo>
                    <a:lnTo>
                      <a:pt x="1683" y="675"/>
                    </a:lnTo>
                    <a:lnTo>
                      <a:pt x="1615" y="722"/>
                    </a:lnTo>
                    <a:lnTo>
                      <a:pt x="1552" y="772"/>
                    </a:lnTo>
                    <a:lnTo>
                      <a:pt x="1495" y="823"/>
                    </a:lnTo>
                    <a:lnTo>
                      <a:pt x="1443" y="874"/>
                    </a:lnTo>
                    <a:lnTo>
                      <a:pt x="1397" y="927"/>
                    </a:lnTo>
                    <a:lnTo>
                      <a:pt x="1358" y="981"/>
                    </a:lnTo>
                    <a:lnTo>
                      <a:pt x="1327" y="1036"/>
                    </a:lnTo>
                    <a:lnTo>
                      <a:pt x="1261" y="1168"/>
                    </a:lnTo>
                    <a:lnTo>
                      <a:pt x="1183" y="1329"/>
                    </a:lnTo>
                    <a:lnTo>
                      <a:pt x="1094" y="1515"/>
                    </a:lnTo>
                    <a:lnTo>
                      <a:pt x="995" y="1720"/>
                    </a:lnTo>
                    <a:lnTo>
                      <a:pt x="892" y="1939"/>
                    </a:lnTo>
                    <a:lnTo>
                      <a:pt x="783" y="2168"/>
                    </a:lnTo>
                    <a:lnTo>
                      <a:pt x="674" y="2399"/>
                    </a:lnTo>
                    <a:lnTo>
                      <a:pt x="566" y="2629"/>
                    </a:lnTo>
                    <a:lnTo>
                      <a:pt x="460" y="2852"/>
                    </a:lnTo>
                    <a:lnTo>
                      <a:pt x="361" y="3063"/>
                    </a:lnTo>
                    <a:lnTo>
                      <a:pt x="271" y="3256"/>
                    </a:lnTo>
                    <a:lnTo>
                      <a:pt x="190" y="3427"/>
                    </a:lnTo>
                    <a:lnTo>
                      <a:pt x="124" y="3570"/>
                    </a:lnTo>
                    <a:lnTo>
                      <a:pt x="72" y="3680"/>
                    </a:lnTo>
                    <a:lnTo>
                      <a:pt x="39" y="3751"/>
                    </a:lnTo>
                    <a:lnTo>
                      <a:pt x="26" y="3778"/>
                    </a:lnTo>
                    <a:lnTo>
                      <a:pt x="23" y="3781"/>
                    </a:lnTo>
                    <a:lnTo>
                      <a:pt x="21" y="3785"/>
                    </a:lnTo>
                    <a:lnTo>
                      <a:pt x="17" y="3786"/>
                    </a:lnTo>
                    <a:lnTo>
                      <a:pt x="14" y="3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37"/>
              <p:cNvSpPr>
                <a:spLocks/>
              </p:cNvSpPr>
              <p:nvPr userDrawn="1"/>
            </p:nvSpPr>
            <p:spPr bwMode="auto">
              <a:xfrm>
                <a:off x="1189" y="3525"/>
                <a:ext cx="1705" cy="408"/>
              </a:xfrm>
              <a:custGeom>
                <a:avLst/>
                <a:gdLst>
                  <a:gd name="T0" fmla="*/ 2861 w 5115"/>
                  <a:gd name="T1" fmla="*/ 1217 h 1223"/>
                  <a:gd name="T2" fmla="*/ 2645 w 5115"/>
                  <a:gd name="T3" fmla="*/ 1188 h 1223"/>
                  <a:gd name="T4" fmla="*/ 2422 w 5115"/>
                  <a:gd name="T5" fmla="*/ 1132 h 1223"/>
                  <a:gd name="T6" fmla="*/ 2190 w 5115"/>
                  <a:gd name="T7" fmla="*/ 1044 h 1223"/>
                  <a:gd name="T8" fmla="*/ 1889 w 5115"/>
                  <a:gd name="T9" fmla="*/ 896 h 1223"/>
                  <a:gd name="T10" fmla="*/ 1615 w 5115"/>
                  <a:gd name="T11" fmla="*/ 742 h 1223"/>
                  <a:gd name="T12" fmla="*/ 1386 w 5115"/>
                  <a:gd name="T13" fmla="*/ 597 h 1223"/>
                  <a:gd name="T14" fmla="*/ 1192 w 5115"/>
                  <a:gd name="T15" fmla="*/ 466 h 1223"/>
                  <a:gd name="T16" fmla="*/ 951 w 5115"/>
                  <a:gd name="T17" fmla="*/ 301 h 1223"/>
                  <a:gd name="T18" fmla="*/ 798 w 5115"/>
                  <a:gd name="T19" fmla="*/ 207 h 1223"/>
                  <a:gd name="T20" fmla="*/ 675 w 5115"/>
                  <a:gd name="T21" fmla="*/ 145 h 1223"/>
                  <a:gd name="T22" fmla="*/ 545 w 5115"/>
                  <a:gd name="T23" fmla="*/ 95 h 1223"/>
                  <a:gd name="T24" fmla="*/ 404 w 5115"/>
                  <a:gd name="T25" fmla="*/ 59 h 1223"/>
                  <a:gd name="T26" fmla="*/ 244 w 5115"/>
                  <a:gd name="T27" fmla="*/ 36 h 1223"/>
                  <a:gd name="T28" fmla="*/ 62 w 5115"/>
                  <a:gd name="T29" fmla="*/ 27 h 1223"/>
                  <a:gd name="T30" fmla="*/ 1 w 5115"/>
                  <a:gd name="T31" fmla="*/ 20 h 1223"/>
                  <a:gd name="T32" fmla="*/ 7 w 5115"/>
                  <a:gd name="T33" fmla="*/ 2 h 1223"/>
                  <a:gd name="T34" fmla="*/ 158 w 5115"/>
                  <a:gd name="T35" fmla="*/ 3 h 1223"/>
                  <a:gd name="T36" fmla="*/ 332 w 5115"/>
                  <a:gd name="T37" fmla="*/ 20 h 1223"/>
                  <a:gd name="T38" fmla="*/ 486 w 5115"/>
                  <a:gd name="T39" fmla="*/ 51 h 1223"/>
                  <a:gd name="T40" fmla="*/ 624 w 5115"/>
                  <a:gd name="T41" fmla="*/ 95 h 1223"/>
                  <a:gd name="T42" fmla="*/ 752 w 5115"/>
                  <a:gd name="T43" fmla="*/ 153 h 1223"/>
                  <a:gd name="T44" fmla="*/ 877 w 5115"/>
                  <a:gd name="T45" fmla="*/ 222 h 1223"/>
                  <a:gd name="T46" fmla="*/ 1096 w 5115"/>
                  <a:gd name="T47" fmla="*/ 366 h 1223"/>
                  <a:gd name="T48" fmla="*/ 1301 w 5115"/>
                  <a:gd name="T49" fmla="*/ 507 h 1223"/>
                  <a:gd name="T50" fmla="*/ 1510 w 5115"/>
                  <a:gd name="T51" fmla="*/ 645 h 1223"/>
                  <a:gd name="T52" fmla="*/ 1759 w 5115"/>
                  <a:gd name="T53" fmla="*/ 794 h 1223"/>
                  <a:gd name="T54" fmla="*/ 2059 w 5115"/>
                  <a:gd name="T55" fmla="*/ 953 h 1223"/>
                  <a:gd name="T56" fmla="*/ 2344 w 5115"/>
                  <a:gd name="T57" fmla="*/ 1077 h 1223"/>
                  <a:gd name="T58" fmla="*/ 2603 w 5115"/>
                  <a:gd name="T59" fmla="*/ 1152 h 1223"/>
                  <a:gd name="T60" fmla="*/ 2851 w 5115"/>
                  <a:gd name="T61" fmla="*/ 1189 h 1223"/>
                  <a:gd name="T62" fmla="*/ 3091 w 5115"/>
                  <a:gd name="T63" fmla="*/ 1194 h 1223"/>
                  <a:gd name="T64" fmla="*/ 3323 w 5115"/>
                  <a:gd name="T65" fmla="*/ 1175 h 1223"/>
                  <a:gd name="T66" fmla="*/ 3550 w 5115"/>
                  <a:gd name="T67" fmla="*/ 1135 h 1223"/>
                  <a:gd name="T68" fmla="*/ 3770 w 5115"/>
                  <a:gd name="T69" fmla="*/ 1083 h 1223"/>
                  <a:gd name="T70" fmla="*/ 4108 w 5115"/>
                  <a:gd name="T71" fmla="*/ 989 h 1223"/>
                  <a:gd name="T72" fmla="*/ 4372 w 5115"/>
                  <a:gd name="T73" fmla="*/ 918 h 1223"/>
                  <a:gd name="T74" fmla="*/ 4633 w 5115"/>
                  <a:gd name="T75" fmla="*/ 862 h 1223"/>
                  <a:gd name="T76" fmla="*/ 4864 w 5115"/>
                  <a:gd name="T77" fmla="*/ 833 h 1223"/>
                  <a:gd name="T78" fmla="*/ 4999 w 5115"/>
                  <a:gd name="T79" fmla="*/ 827 h 1223"/>
                  <a:gd name="T80" fmla="*/ 5107 w 5115"/>
                  <a:gd name="T81" fmla="*/ 829 h 1223"/>
                  <a:gd name="T82" fmla="*/ 5114 w 5115"/>
                  <a:gd name="T83" fmla="*/ 848 h 1223"/>
                  <a:gd name="T84" fmla="*/ 5104 w 5115"/>
                  <a:gd name="T85" fmla="*/ 855 h 1223"/>
                  <a:gd name="T86" fmla="*/ 4999 w 5115"/>
                  <a:gd name="T87" fmla="*/ 854 h 1223"/>
                  <a:gd name="T88" fmla="*/ 4866 w 5115"/>
                  <a:gd name="T89" fmla="*/ 860 h 1223"/>
                  <a:gd name="T90" fmla="*/ 4636 w 5115"/>
                  <a:gd name="T91" fmla="*/ 889 h 1223"/>
                  <a:gd name="T92" fmla="*/ 4377 w 5115"/>
                  <a:gd name="T93" fmla="*/ 945 h 1223"/>
                  <a:gd name="T94" fmla="*/ 4116 w 5115"/>
                  <a:gd name="T95" fmla="*/ 1015 h 1223"/>
                  <a:gd name="T96" fmla="*/ 3863 w 5115"/>
                  <a:gd name="T97" fmla="*/ 1086 h 1223"/>
                  <a:gd name="T98" fmla="*/ 3611 w 5115"/>
                  <a:gd name="T99" fmla="*/ 1150 h 1223"/>
                  <a:gd name="T100" fmla="*/ 3353 w 5115"/>
                  <a:gd name="T101" fmla="*/ 1199 h 1223"/>
                  <a:gd name="T102" fmla="*/ 3086 w 5115"/>
                  <a:gd name="T103" fmla="*/ 1222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15" h="1223">
                    <a:moveTo>
                      <a:pt x="3018" y="1223"/>
                    </a:moveTo>
                    <a:lnTo>
                      <a:pt x="2966" y="1222"/>
                    </a:lnTo>
                    <a:lnTo>
                      <a:pt x="2913" y="1220"/>
                    </a:lnTo>
                    <a:lnTo>
                      <a:pt x="2861" y="1217"/>
                    </a:lnTo>
                    <a:lnTo>
                      <a:pt x="2807" y="1213"/>
                    </a:lnTo>
                    <a:lnTo>
                      <a:pt x="2754" y="1206"/>
                    </a:lnTo>
                    <a:lnTo>
                      <a:pt x="2699" y="1198"/>
                    </a:lnTo>
                    <a:lnTo>
                      <a:pt x="2645" y="1188"/>
                    </a:lnTo>
                    <a:lnTo>
                      <a:pt x="2590" y="1177"/>
                    </a:lnTo>
                    <a:lnTo>
                      <a:pt x="2535" y="1164"/>
                    </a:lnTo>
                    <a:lnTo>
                      <a:pt x="2479" y="1149"/>
                    </a:lnTo>
                    <a:lnTo>
                      <a:pt x="2422" y="1132"/>
                    </a:lnTo>
                    <a:lnTo>
                      <a:pt x="2364" y="1113"/>
                    </a:lnTo>
                    <a:lnTo>
                      <a:pt x="2307" y="1093"/>
                    </a:lnTo>
                    <a:lnTo>
                      <a:pt x="2249" y="1069"/>
                    </a:lnTo>
                    <a:lnTo>
                      <a:pt x="2190" y="1044"/>
                    </a:lnTo>
                    <a:lnTo>
                      <a:pt x="2130" y="1017"/>
                    </a:lnTo>
                    <a:lnTo>
                      <a:pt x="2046" y="976"/>
                    </a:lnTo>
                    <a:lnTo>
                      <a:pt x="1966" y="936"/>
                    </a:lnTo>
                    <a:lnTo>
                      <a:pt x="1889" y="896"/>
                    </a:lnTo>
                    <a:lnTo>
                      <a:pt x="1816" y="856"/>
                    </a:lnTo>
                    <a:lnTo>
                      <a:pt x="1746" y="818"/>
                    </a:lnTo>
                    <a:lnTo>
                      <a:pt x="1679" y="780"/>
                    </a:lnTo>
                    <a:lnTo>
                      <a:pt x="1615" y="742"/>
                    </a:lnTo>
                    <a:lnTo>
                      <a:pt x="1555" y="704"/>
                    </a:lnTo>
                    <a:lnTo>
                      <a:pt x="1496" y="669"/>
                    </a:lnTo>
                    <a:lnTo>
                      <a:pt x="1440" y="633"/>
                    </a:lnTo>
                    <a:lnTo>
                      <a:pt x="1386" y="597"/>
                    </a:lnTo>
                    <a:lnTo>
                      <a:pt x="1334" y="563"/>
                    </a:lnTo>
                    <a:lnTo>
                      <a:pt x="1286" y="529"/>
                    </a:lnTo>
                    <a:lnTo>
                      <a:pt x="1238" y="497"/>
                    </a:lnTo>
                    <a:lnTo>
                      <a:pt x="1192" y="466"/>
                    </a:lnTo>
                    <a:lnTo>
                      <a:pt x="1148" y="434"/>
                    </a:lnTo>
                    <a:lnTo>
                      <a:pt x="1080" y="387"/>
                    </a:lnTo>
                    <a:lnTo>
                      <a:pt x="1014" y="343"/>
                    </a:lnTo>
                    <a:lnTo>
                      <a:pt x="951" y="301"/>
                    </a:lnTo>
                    <a:lnTo>
                      <a:pt x="889" y="261"/>
                    </a:lnTo>
                    <a:lnTo>
                      <a:pt x="858" y="242"/>
                    </a:lnTo>
                    <a:lnTo>
                      <a:pt x="828" y="224"/>
                    </a:lnTo>
                    <a:lnTo>
                      <a:pt x="798" y="207"/>
                    </a:lnTo>
                    <a:lnTo>
                      <a:pt x="767" y="190"/>
                    </a:lnTo>
                    <a:lnTo>
                      <a:pt x="736" y="174"/>
                    </a:lnTo>
                    <a:lnTo>
                      <a:pt x="706" y="159"/>
                    </a:lnTo>
                    <a:lnTo>
                      <a:pt x="675" y="145"/>
                    </a:lnTo>
                    <a:lnTo>
                      <a:pt x="643" y="131"/>
                    </a:lnTo>
                    <a:lnTo>
                      <a:pt x="611" y="118"/>
                    </a:lnTo>
                    <a:lnTo>
                      <a:pt x="578" y="106"/>
                    </a:lnTo>
                    <a:lnTo>
                      <a:pt x="545" y="95"/>
                    </a:lnTo>
                    <a:lnTo>
                      <a:pt x="510" y="85"/>
                    </a:lnTo>
                    <a:lnTo>
                      <a:pt x="476" y="75"/>
                    </a:lnTo>
                    <a:lnTo>
                      <a:pt x="440" y="66"/>
                    </a:lnTo>
                    <a:lnTo>
                      <a:pt x="404" y="59"/>
                    </a:lnTo>
                    <a:lnTo>
                      <a:pt x="366" y="51"/>
                    </a:lnTo>
                    <a:lnTo>
                      <a:pt x="326" y="46"/>
                    </a:lnTo>
                    <a:lnTo>
                      <a:pt x="286" y="40"/>
                    </a:lnTo>
                    <a:lnTo>
                      <a:pt x="244" y="36"/>
                    </a:lnTo>
                    <a:lnTo>
                      <a:pt x="202" y="33"/>
                    </a:lnTo>
                    <a:lnTo>
                      <a:pt x="156" y="30"/>
                    </a:lnTo>
                    <a:lnTo>
                      <a:pt x="111" y="28"/>
                    </a:lnTo>
                    <a:lnTo>
                      <a:pt x="62" y="27"/>
                    </a:lnTo>
                    <a:lnTo>
                      <a:pt x="13" y="27"/>
                    </a:lnTo>
                    <a:lnTo>
                      <a:pt x="7" y="26"/>
                    </a:lnTo>
                    <a:lnTo>
                      <a:pt x="3" y="24"/>
                    </a:lnTo>
                    <a:lnTo>
                      <a:pt x="1" y="20"/>
                    </a:lnTo>
                    <a:lnTo>
                      <a:pt x="0" y="14"/>
                    </a:lnTo>
                    <a:lnTo>
                      <a:pt x="1" y="9"/>
                    </a:lnTo>
                    <a:lnTo>
                      <a:pt x="3" y="5"/>
                    </a:lnTo>
                    <a:lnTo>
                      <a:pt x="7" y="2"/>
                    </a:lnTo>
                    <a:lnTo>
                      <a:pt x="13" y="0"/>
                    </a:lnTo>
                    <a:lnTo>
                      <a:pt x="63" y="0"/>
                    </a:lnTo>
                    <a:lnTo>
                      <a:pt x="112" y="2"/>
                    </a:lnTo>
                    <a:lnTo>
                      <a:pt x="158" y="3"/>
                    </a:lnTo>
                    <a:lnTo>
                      <a:pt x="204" y="6"/>
                    </a:lnTo>
                    <a:lnTo>
                      <a:pt x="248" y="9"/>
                    </a:lnTo>
                    <a:lnTo>
                      <a:pt x="290" y="14"/>
                    </a:lnTo>
                    <a:lnTo>
                      <a:pt x="332" y="20"/>
                    </a:lnTo>
                    <a:lnTo>
                      <a:pt x="372" y="26"/>
                    </a:lnTo>
                    <a:lnTo>
                      <a:pt x="411" y="34"/>
                    </a:lnTo>
                    <a:lnTo>
                      <a:pt x="449" y="41"/>
                    </a:lnTo>
                    <a:lnTo>
                      <a:pt x="486" y="51"/>
                    </a:lnTo>
                    <a:lnTo>
                      <a:pt x="521" y="61"/>
                    </a:lnTo>
                    <a:lnTo>
                      <a:pt x="556" y="72"/>
                    </a:lnTo>
                    <a:lnTo>
                      <a:pt x="590" y="84"/>
                    </a:lnTo>
                    <a:lnTo>
                      <a:pt x="624" y="95"/>
                    </a:lnTo>
                    <a:lnTo>
                      <a:pt x="656" y="108"/>
                    </a:lnTo>
                    <a:lnTo>
                      <a:pt x="689" y="122"/>
                    </a:lnTo>
                    <a:lnTo>
                      <a:pt x="721" y="138"/>
                    </a:lnTo>
                    <a:lnTo>
                      <a:pt x="752" y="153"/>
                    </a:lnTo>
                    <a:lnTo>
                      <a:pt x="784" y="169"/>
                    </a:lnTo>
                    <a:lnTo>
                      <a:pt x="815" y="186"/>
                    </a:lnTo>
                    <a:lnTo>
                      <a:pt x="845" y="203"/>
                    </a:lnTo>
                    <a:lnTo>
                      <a:pt x="877" y="222"/>
                    </a:lnTo>
                    <a:lnTo>
                      <a:pt x="907" y="240"/>
                    </a:lnTo>
                    <a:lnTo>
                      <a:pt x="968" y="280"/>
                    </a:lnTo>
                    <a:lnTo>
                      <a:pt x="1032" y="322"/>
                    </a:lnTo>
                    <a:lnTo>
                      <a:pt x="1096" y="366"/>
                    </a:lnTo>
                    <a:lnTo>
                      <a:pt x="1163" y="413"/>
                    </a:lnTo>
                    <a:lnTo>
                      <a:pt x="1207" y="443"/>
                    </a:lnTo>
                    <a:lnTo>
                      <a:pt x="1253" y="474"/>
                    </a:lnTo>
                    <a:lnTo>
                      <a:pt x="1301" y="507"/>
                    </a:lnTo>
                    <a:lnTo>
                      <a:pt x="1349" y="540"/>
                    </a:lnTo>
                    <a:lnTo>
                      <a:pt x="1401" y="575"/>
                    </a:lnTo>
                    <a:lnTo>
                      <a:pt x="1454" y="609"/>
                    </a:lnTo>
                    <a:lnTo>
                      <a:pt x="1510" y="645"/>
                    </a:lnTo>
                    <a:lnTo>
                      <a:pt x="1569" y="682"/>
                    </a:lnTo>
                    <a:lnTo>
                      <a:pt x="1629" y="718"/>
                    </a:lnTo>
                    <a:lnTo>
                      <a:pt x="1693" y="756"/>
                    </a:lnTo>
                    <a:lnTo>
                      <a:pt x="1759" y="794"/>
                    </a:lnTo>
                    <a:lnTo>
                      <a:pt x="1829" y="833"/>
                    </a:lnTo>
                    <a:lnTo>
                      <a:pt x="1902" y="873"/>
                    </a:lnTo>
                    <a:lnTo>
                      <a:pt x="1978" y="912"/>
                    </a:lnTo>
                    <a:lnTo>
                      <a:pt x="2059" y="953"/>
                    </a:lnTo>
                    <a:lnTo>
                      <a:pt x="2142" y="992"/>
                    </a:lnTo>
                    <a:lnTo>
                      <a:pt x="2210" y="1024"/>
                    </a:lnTo>
                    <a:lnTo>
                      <a:pt x="2278" y="1052"/>
                    </a:lnTo>
                    <a:lnTo>
                      <a:pt x="2344" y="1077"/>
                    </a:lnTo>
                    <a:lnTo>
                      <a:pt x="2410" y="1099"/>
                    </a:lnTo>
                    <a:lnTo>
                      <a:pt x="2475" y="1120"/>
                    </a:lnTo>
                    <a:lnTo>
                      <a:pt x="2539" y="1137"/>
                    </a:lnTo>
                    <a:lnTo>
                      <a:pt x="2603" y="1152"/>
                    </a:lnTo>
                    <a:lnTo>
                      <a:pt x="2666" y="1164"/>
                    </a:lnTo>
                    <a:lnTo>
                      <a:pt x="2728" y="1175"/>
                    </a:lnTo>
                    <a:lnTo>
                      <a:pt x="2791" y="1182"/>
                    </a:lnTo>
                    <a:lnTo>
                      <a:pt x="2851" y="1189"/>
                    </a:lnTo>
                    <a:lnTo>
                      <a:pt x="2913" y="1193"/>
                    </a:lnTo>
                    <a:lnTo>
                      <a:pt x="2972" y="1195"/>
                    </a:lnTo>
                    <a:lnTo>
                      <a:pt x="3033" y="1195"/>
                    </a:lnTo>
                    <a:lnTo>
                      <a:pt x="3091" y="1194"/>
                    </a:lnTo>
                    <a:lnTo>
                      <a:pt x="3151" y="1192"/>
                    </a:lnTo>
                    <a:lnTo>
                      <a:pt x="3209" y="1188"/>
                    </a:lnTo>
                    <a:lnTo>
                      <a:pt x="3266" y="1181"/>
                    </a:lnTo>
                    <a:lnTo>
                      <a:pt x="3323" y="1175"/>
                    </a:lnTo>
                    <a:lnTo>
                      <a:pt x="3381" y="1166"/>
                    </a:lnTo>
                    <a:lnTo>
                      <a:pt x="3438" y="1158"/>
                    </a:lnTo>
                    <a:lnTo>
                      <a:pt x="3494" y="1147"/>
                    </a:lnTo>
                    <a:lnTo>
                      <a:pt x="3550" y="1135"/>
                    </a:lnTo>
                    <a:lnTo>
                      <a:pt x="3605" y="1123"/>
                    </a:lnTo>
                    <a:lnTo>
                      <a:pt x="3660" y="1110"/>
                    </a:lnTo>
                    <a:lnTo>
                      <a:pt x="3715" y="1097"/>
                    </a:lnTo>
                    <a:lnTo>
                      <a:pt x="3770" y="1083"/>
                    </a:lnTo>
                    <a:lnTo>
                      <a:pt x="3825" y="1068"/>
                    </a:lnTo>
                    <a:lnTo>
                      <a:pt x="3935" y="1039"/>
                    </a:lnTo>
                    <a:lnTo>
                      <a:pt x="4043" y="1009"/>
                    </a:lnTo>
                    <a:lnTo>
                      <a:pt x="4108" y="989"/>
                    </a:lnTo>
                    <a:lnTo>
                      <a:pt x="4175" y="971"/>
                    </a:lnTo>
                    <a:lnTo>
                      <a:pt x="4241" y="953"/>
                    </a:lnTo>
                    <a:lnTo>
                      <a:pt x="4306" y="935"/>
                    </a:lnTo>
                    <a:lnTo>
                      <a:pt x="4372" y="918"/>
                    </a:lnTo>
                    <a:lnTo>
                      <a:pt x="4437" y="903"/>
                    </a:lnTo>
                    <a:lnTo>
                      <a:pt x="4503" y="888"/>
                    </a:lnTo>
                    <a:lnTo>
                      <a:pt x="4567" y="874"/>
                    </a:lnTo>
                    <a:lnTo>
                      <a:pt x="4633" y="862"/>
                    </a:lnTo>
                    <a:lnTo>
                      <a:pt x="4699" y="851"/>
                    </a:lnTo>
                    <a:lnTo>
                      <a:pt x="4765" y="842"/>
                    </a:lnTo>
                    <a:lnTo>
                      <a:pt x="4831" y="835"/>
                    </a:lnTo>
                    <a:lnTo>
                      <a:pt x="4864" y="833"/>
                    </a:lnTo>
                    <a:lnTo>
                      <a:pt x="4898" y="831"/>
                    </a:lnTo>
                    <a:lnTo>
                      <a:pt x="4931" y="828"/>
                    </a:lnTo>
                    <a:lnTo>
                      <a:pt x="4966" y="827"/>
                    </a:lnTo>
                    <a:lnTo>
                      <a:pt x="4999" y="827"/>
                    </a:lnTo>
                    <a:lnTo>
                      <a:pt x="5033" y="827"/>
                    </a:lnTo>
                    <a:lnTo>
                      <a:pt x="5067" y="827"/>
                    </a:lnTo>
                    <a:lnTo>
                      <a:pt x="5102" y="828"/>
                    </a:lnTo>
                    <a:lnTo>
                      <a:pt x="5107" y="829"/>
                    </a:lnTo>
                    <a:lnTo>
                      <a:pt x="5112" y="833"/>
                    </a:lnTo>
                    <a:lnTo>
                      <a:pt x="5114" y="837"/>
                    </a:lnTo>
                    <a:lnTo>
                      <a:pt x="5115" y="842"/>
                    </a:lnTo>
                    <a:lnTo>
                      <a:pt x="5114" y="848"/>
                    </a:lnTo>
                    <a:lnTo>
                      <a:pt x="5110" y="852"/>
                    </a:lnTo>
                    <a:lnTo>
                      <a:pt x="5108" y="854"/>
                    </a:lnTo>
                    <a:lnTo>
                      <a:pt x="5106" y="855"/>
                    </a:lnTo>
                    <a:lnTo>
                      <a:pt x="5104" y="855"/>
                    </a:lnTo>
                    <a:lnTo>
                      <a:pt x="5101" y="855"/>
                    </a:lnTo>
                    <a:lnTo>
                      <a:pt x="5066" y="854"/>
                    </a:lnTo>
                    <a:lnTo>
                      <a:pt x="5033" y="854"/>
                    </a:lnTo>
                    <a:lnTo>
                      <a:pt x="4999" y="854"/>
                    </a:lnTo>
                    <a:lnTo>
                      <a:pt x="4966" y="854"/>
                    </a:lnTo>
                    <a:lnTo>
                      <a:pt x="4932" y="855"/>
                    </a:lnTo>
                    <a:lnTo>
                      <a:pt x="4899" y="858"/>
                    </a:lnTo>
                    <a:lnTo>
                      <a:pt x="4866" y="860"/>
                    </a:lnTo>
                    <a:lnTo>
                      <a:pt x="4833" y="863"/>
                    </a:lnTo>
                    <a:lnTo>
                      <a:pt x="4767" y="869"/>
                    </a:lnTo>
                    <a:lnTo>
                      <a:pt x="4702" y="878"/>
                    </a:lnTo>
                    <a:lnTo>
                      <a:pt x="4636" y="889"/>
                    </a:lnTo>
                    <a:lnTo>
                      <a:pt x="4572" y="901"/>
                    </a:lnTo>
                    <a:lnTo>
                      <a:pt x="4507" y="915"/>
                    </a:lnTo>
                    <a:lnTo>
                      <a:pt x="4442" y="929"/>
                    </a:lnTo>
                    <a:lnTo>
                      <a:pt x="4377" y="945"/>
                    </a:lnTo>
                    <a:lnTo>
                      <a:pt x="4312" y="961"/>
                    </a:lnTo>
                    <a:lnTo>
                      <a:pt x="4247" y="980"/>
                    </a:lnTo>
                    <a:lnTo>
                      <a:pt x="4182" y="997"/>
                    </a:lnTo>
                    <a:lnTo>
                      <a:pt x="4116" y="1015"/>
                    </a:lnTo>
                    <a:lnTo>
                      <a:pt x="4049" y="1035"/>
                    </a:lnTo>
                    <a:lnTo>
                      <a:pt x="3987" y="1052"/>
                    </a:lnTo>
                    <a:lnTo>
                      <a:pt x="3925" y="1069"/>
                    </a:lnTo>
                    <a:lnTo>
                      <a:pt x="3863" y="1086"/>
                    </a:lnTo>
                    <a:lnTo>
                      <a:pt x="3801" y="1104"/>
                    </a:lnTo>
                    <a:lnTo>
                      <a:pt x="3737" y="1120"/>
                    </a:lnTo>
                    <a:lnTo>
                      <a:pt x="3674" y="1135"/>
                    </a:lnTo>
                    <a:lnTo>
                      <a:pt x="3611" y="1150"/>
                    </a:lnTo>
                    <a:lnTo>
                      <a:pt x="3547" y="1164"/>
                    </a:lnTo>
                    <a:lnTo>
                      <a:pt x="3482" y="1176"/>
                    </a:lnTo>
                    <a:lnTo>
                      <a:pt x="3417" y="1188"/>
                    </a:lnTo>
                    <a:lnTo>
                      <a:pt x="3353" y="1199"/>
                    </a:lnTo>
                    <a:lnTo>
                      <a:pt x="3287" y="1207"/>
                    </a:lnTo>
                    <a:lnTo>
                      <a:pt x="3221" y="1214"/>
                    </a:lnTo>
                    <a:lnTo>
                      <a:pt x="3154" y="1219"/>
                    </a:lnTo>
                    <a:lnTo>
                      <a:pt x="3086" y="1222"/>
                    </a:lnTo>
                    <a:lnTo>
                      <a:pt x="3018" y="1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38"/>
              <p:cNvSpPr>
                <a:spLocks/>
              </p:cNvSpPr>
              <p:nvPr userDrawn="1"/>
            </p:nvSpPr>
            <p:spPr bwMode="auto">
              <a:xfrm>
                <a:off x="1201" y="3493"/>
                <a:ext cx="1646" cy="276"/>
              </a:xfrm>
              <a:custGeom>
                <a:avLst/>
                <a:gdLst>
                  <a:gd name="T0" fmla="*/ 2382 w 4940"/>
                  <a:gd name="T1" fmla="*/ 820 h 826"/>
                  <a:gd name="T2" fmla="*/ 2179 w 4940"/>
                  <a:gd name="T3" fmla="*/ 794 h 826"/>
                  <a:gd name="T4" fmla="*/ 1987 w 4940"/>
                  <a:gd name="T5" fmla="*/ 750 h 826"/>
                  <a:gd name="T6" fmla="*/ 1805 w 4940"/>
                  <a:gd name="T7" fmla="*/ 692 h 826"/>
                  <a:gd name="T8" fmla="*/ 1631 w 4940"/>
                  <a:gd name="T9" fmla="*/ 623 h 826"/>
                  <a:gd name="T10" fmla="*/ 1346 w 4940"/>
                  <a:gd name="T11" fmla="*/ 485 h 826"/>
                  <a:gd name="T12" fmla="*/ 1043 w 4940"/>
                  <a:gd name="T13" fmla="*/ 322 h 826"/>
                  <a:gd name="T14" fmla="*/ 764 w 4940"/>
                  <a:gd name="T15" fmla="*/ 176 h 826"/>
                  <a:gd name="T16" fmla="*/ 593 w 4940"/>
                  <a:gd name="T17" fmla="*/ 105 h 826"/>
                  <a:gd name="T18" fmla="*/ 459 w 4940"/>
                  <a:gd name="T19" fmla="*/ 62 h 826"/>
                  <a:gd name="T20" fmla="*/ 324 w 4940"/>
                  <a:gd name="T21" fmla="*/ 35 h 826"/>
                  <a:gd name="T22" fmla="*/ 189 w 4940"/>
                  <a:gd name="T23" fmla="*/ 27 h 826"/>
                  <a:gd name="T24" fmla="*/ 52 w 4940"/>
                  <a:gd name="T25" fmla="*/ 41 h 826"/>
                  <a:gd name="T26" fmla="*/ 2 w 4940"/>
                  <a:gd name="T27" fmla="*/ 44 h 826"/>
                  <a:gd name="T28" fmla="*/ 6 w 4940"/>
                  <a:gd name="T29" fmla="*/ 25 h 826"/>
                  <a:gd name="T30" fmla="*/ 117 w 4940"/>
                  <a:gd name="T31" fmla="*/ 5 h 826"/>
                  <a:gd name="T32" fmla="*/ 256 w 4940"/>
                  <a:gd name="T33" fmla="*/ 2 h 826"/>
                  <a:gd name="T34" fmla="*/ 394 w 4940"/>
                  <a:gd name="T35" fmla="*/ 19 h 826"/>
                  <a:gd name="T36" fmla="*/ 532 w 4940"/>
                  <a:gd name="T37" fmla="*/ 54 h 826"/>
                  <a:gd name="T38" fmla="*/ 669 w 4940"/>
                  <a:gd name="T39" fmla="*/ 105 h 826"/>
                  <a:gd name="T40" fmla="*/ 913 w 4940"/>
                  <a:gd name="T41" fmla="*/ 221 h 826"/>
                  <a:gd name="T42" fmla="*/ 1206 w 4940"/>
                  <a:gd name="T43" fmla="*/ 380 h 826"/>
                  <a:gd name="T44" fmla="*/ 1488 w 4940"/>
                  <a:gd name="T45" fmla="*/ 527 h 826"/>
                  <a:gd name="T46" fmla="*/ 1659 w 4940"/>
                  <a:gd name="T47" fmla="*/ 606 h 826"/>
                  <a:gd name="T48" fmla="*/ 1838 w 4940"/>
                  <a:gd name="T49" fmla="*/ 675 h 826"/>
                  <a:gd name="T50" fmla="*/ 2026 w 4940"/>
                  <a:gd name="T51" fmla="*/ 732 h 826"/>
                  <a:gd name="T52" fmla="*/ 2226 w 4940"/>
                  <a:gd name="T53" fmla="*/ 774 h 826"/>
                  <a:gd name="T54" fmla="*/ 2435 w 4940"/>
                  <a:gd name="T55" fmla="*/ 796 h 826"/>
                  <a:gd name="T56" fmla="*/ 2633 w 4940"/>
                  <a:gd name="T57" fmla="*/ 797 h 826"/>
                  <a:gd name="T58" fmla="*/ 2786 w 4940"/>
                  <a:gd name="T59" fmla="*/ 783 h 826"/>
                  <a:gd name="T60" fmla="*/ 3027 w 4940"/>
                  <a:gd name="T61" fmla="*/ 737 h 826"/>
                  <a:gd name="T62" fmla="*/ 3262 w 4940"/>
                  <a:gd name="T63" fmla="*/ 671 h 826"/>
                  <a:gd name="T64" fmla="*/ 3493 w 4940"/>
                  <a:gd name="T65" fmla="*/ 593 h 826"/>
                  <a:gd name="T66" fmla="*/ 3825 w 4940"/>
                  <a:gd name="T67" fmla="*/ 482 h 826"/>
                  <a:gd name="T68" fmla="*/ 4048 w 4940"/>
                  <a:gd name="T69" fmla="*/ 420 h 826"/>
                  <a:gd name="T70" fmla="*/ 4224 w 4940"/>
                  <a:gd name="T71" fmla="*/ 389 h 826"/>
                  <a:gd name="T72" fmla="*/ 4397 w 4940"/>
                  <a:gd name="T73" fmla="*/ 379 h 826"/>
                  <a:gd name="T74" fmla="*/ 4567 w 4940"/>
                  <a:gd name="T75" fmla="*/ 398 h 826"/>
                  <a:gd name="T76" fmla="*/ 4733 w 4940"/>
                  <a:gd name="T77" fmla="*/ 450 h 826"/>
                  <a:gd name="T78" fmla="*/ 4895 w 4940"/>
                  <a:gd name="T79" fmla="*/ 540 h 826"/>
                  <a:gd name="T80" fmla="*/ 4940 w 4940"/>
                  <a:gd name="T81" fmla="*/ 583 h 826"/>
                  <a:gd name="T82" fmla="*/ 4923 w 4940"/>
                  <a:gd name="T83" fmla="*/ 593 h 826"/>
                  <a:gd name="T84" fmla="*/ 4801 w 4940"/>
                  <a:gd name="T85" fmla="*/ 513 h 826"/>
                  <a:gd name="T86" fmla="*/ 4640 w 4940"/>
                  <a:gd name="T87" fmla="*/ 445 h 826"/>
                  <a:gd name="T88" fmla="*/ 4476 w 4940"/>
                  <a:gd name="T89" fmla="*/ 412 h 826"/>
                  <a:gd name="T90" fmla="*/ 4308 w 4940"/>
                  <a:gd name="T91" fmla="*/ 408 h 826"/>
                  <a:gd name="T92" fmla="*/ 4137 w 4940"/>
                  <a:gd name="T93" fmla="*/ 430 h 826"/>
                  <a:gd name="T94" fmla="*/ 3962 w 4940"/>
                  <a:gd name="T95" fmla="*/ 470 h 826"/>
                  <a:gd name="T96" fmla="*/ 3650 w 4940"/>
                  <a:gd name="T97" fmla="*/ 568 h 826"/>
                  <a:gd name="T98" fmla="*/ 3387 w 4940"/>
                  <a:gd name="T99" fmla="*/ 659 h 826"/>
                  <a:gd name="T100" fmla="*/ 3151 w 4940"/>
                  <a:gd name="T101" fmla="*/ 732 h 826"/>
                  <a:gd name="T102" fmla="*/ 2911 w 4940"/>
                  <a:gd name="T103" fmla="*/ 790 h 826"/>
                  <a:gd name="T104" fmla="*/ 2695 w 4940"/>
                  <a:gd name="T105" fmla="*/ 820 h 826"/>
                  <a:gd name="T106" fmla="*/ 2586 w 4940"/>
                  <a:gd name="T107" fmla="*/ 825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40" h="826">
                    <a:moveTo>
                      <a:pt x="2542" y="826"/>
                    </a:moveTo>
                    <a:lnTo>
                      <a:pt x="2488" y="825"/>
                    </a:lnTo>
                    <a:lnTo>
                      <a:pt x="2434" y="823"/>
                    </a:lnTo>
                    <a:lnTo>
                      <a:pt x="2382" y="820"/>
                    </a:lnTo>
                    <a:lnTo>
                      <a:pt x="2330" y="815"/>
                    </a:lnTo>
                    <a:lnTo>
                      <a:pt x="2279" y="809"/>
                    </a:lnTo>
                    <a:lnTo>
                      <a:pt x="2229" y="801"/>
                    </a:lnTo>
                    <a:lnTo>
                      <a:pt x="2179" y="794"/>
                    </a:lnTo>
                    <a:lnTo>
                      <a:pt x="2130" y="784"/>
                    </a:lnTo>
                    <a:lnTo>
                      <a:pt x="2082" y="773"/>
                    </a:lnTo>
                    <a:lnTo>
                      <a:pt x="2034" y="763"/>
                    </a:lnTo>
                    <a:lnTo>
                      <a:pt x="1987" y="750"/>
                    </a:lnTo>
                    <a:lnTo>
                      <a:pt x="1941" y="737"/>
                    </a:lnTo>
                    <a:lnTo>
                      <a:pt x="1894" y="723"/>
                    </a:lnTo>
                    <a:lnTo>
                      <a:pt x="1849" y="707"/>
                    </a:lnTo>
                    <a:lnTo>
                      <a:pt x="1805" y="692"/>
                    </a:lnTo>
                    <a:lnTo>
                      <a:pt x="1760" y="676"/>
                    </a:lnTo>
                    <a:lnTo>
                      <a:pt x="1717" y="659"/>
                    </a:lnTo>
                    <a:lnTo>
                      <a:pt x="1674" y="642"/>
                    </a:lnTo>
                    <a:lnTo>
                      <a:pt x="1631" y="623"/>
                    </a:lnTo>
                    <a:lnTo>
                      <a:pt x="1589" y="605"/>
                    </a:lnTo>
                    <a:lnTo>
                      <a:pt x="1507" y="566"/>
                    </a:lnTo>
                    <a:lnTo>
                      <a:pt x="1425" y="526"/>
                    </a:lnTo>
                    <a:lnTo>
                      <a:pt x="1346" y="485"/>
                    </a:lnTo>
                    <a:lnTo>
                      <a:pt x="1268" y="444"/>
                    </a:lnTo>
                    <a:lnTo>
                      <a:pt x="1191" y="403"/>
                    </a:lnTo>
                    <a:lnTo>
                      <a:pt x="1117" y="362"/>
                    </a:lnTo>
                    <a:lnTo>
                      <a:pt x="1043" y="322"/>
                    </a:lnTo>
                    <a:lnTo>
                      <a:pt x="972" y="283"/>
                    </a:lnTo>
                    <a:lnTo>
                      <a:pt x="902" y="245"/>
                    </a:lnTo>
                    <a:lnTo>
                      <a:pt x="833" y="210"/>
                    </a:lnTo>
                    <a:lnTo>
                      <a:pt x="764" y="176"/>
                    </a:lnTo>
                    <a:lnTo>
                      <a:pt x="696" y="146"/>
                    </a:lnTo>
                    <a:lnTo>
                      <a:pt x="661" y="131"/>
                    </a:lnTo>
                    <a:lnTo>
                      <a:pt x="628" y="118"/>
                    </a:lnTo>
                    <a:lnTo>
                      <a:pt x="593" y="105"/>
                    </a:lnTo>
                    <a:lnTo>
                      <a:pt x="560" y="92"/>
                    </a:lnTo>
                    <a:lnTo>
                      <a:pt x="526" y="81"/>
                    </a:lnTo>
                    <a:lnTo>
                      <a:pt x="493" y="71"/>
                    </a:lnTo>
                    <a:lnTo>
                      <a:pt x="459" y="62"/>
                    </a:lnTo>
                    <a:lnTo>
                      <a:pt x="426" y="53"/>
                    </a:lnTo>
                    <a:lnTo>
                      <a:pt x="392" y="46"/>
                    </a:lnTo>
                    <a:lnTo>
                      <a:pt x="358" y="40"/>
                    </a:lnTo>
                    <a:lnTo>
                      <a:pt x="324" y="35"/>
                    </a:lnTo>
                    <a:lnTo>
                      <a:pt x="291" y="32"/>
                    </a:lnTo>
                    <a:lnTo>
                      <a:pt x="257" y="29"/>
                    </a:lnTo>
                    <a:lnTo>
                      <a:pt x="223" y="27"/>
                    </a:lnTo>
                    <a:lnTo>
                      <a:pt x="189" y="27"/>
                    </a:lnTo>
                    <a:lnTo>
                      <a:pt x="155" y="29"/>
                    </a:lnTo>
                    <a:lnTo>
                      <a:pt x="120" y="32"/>
                    </a:lnTo>
                    <a:lnTo>
                      <a:pt x="87" y="36"/>
                    </a:lnTo>
                    <a:lnTo>
                      <a:pt x="52" y="41"/>
                    </a:lnTo>
                    <a:lnTo>
                      <a:pt x="16" y="49"/>
                    </a:lnTo>
                    <a:lnTo>
                      <a:pt x="11" y="49"/>
                    </a:lnTo>
                    <a:lnTo>
                      <a:pt x="7" y="48"/>
                    </a:lnTo>
                    <a:lnTo>
                      <a:pt x="2" y="44"/>
                    </a:lnTo>
                    <a:lnTo>
                      <a:pt x="0" y="39"/>
                    </a:lnTo>
                    <a:lnTo>
                      <a:pt x="0" y="34"/>
                    </a:lnTo>
                    <a:lnTo>
                      <a:pt x="2" y="29"/>
                    </a:lnTo>
                    <a:lnTo>
                      <a:pt x="6" y="25"/>
                    </a:lnTo>
                    <a:lnTo>
                      <a:pt x="11" y="23"/>
                    </a:lnTo>
                    <a:lnTo>
                      <a:pt x="47" y="16"/>
                    </a:lnTo>
                    <a:lnTo>
                      <a:pt x="82" y="9"/>
                    </a:lnTo>
                    <a:lnTo>
                      <a:pt x="117" y="5"/>
                    </a:lnTo>
                    <a:lnTo>
                      <a:pt x="153" y="2"/>
                    </a:lnTo>
                    <a:lnTo>
                      <a:pt x="187" y="0"/>
                    </a:lnTo>
                    <a:lnTo>
                      <a:pt x="222" y="0"/>
                    </a:lnTo>
                    <a:lnTo>
                      <a:pt x="256" y="2"/>
                    </a:lnTo>
                    <a:lnTo>
                      <a:pt x="291" y="4"/>
                    </a:lnTo>
                    <a:lnTo>
                      <a:pt x="325" y="8"/>
                    </a:lnTo>
                    <a:lnTo>
                      <a:pt x="360" y="12"/>
                    </a:lnTo>
                    <a:lnTo>
                      <a:pt x="394" y="19"/>
                    </a:lnTo>
                    <a:lnTo>
                      <a:pt x="429" y="26"/>
                    </a:lnTo>
                    <a:lnTo>
                      <a:pt x="462" y="35"/>
                    </a:lnTo>
                    <a:lnTo>
                      <a:pt x="497" y="44"/>
                    </a:lnTo>
                    <a:lnTo>
                      <a:pt x="532" y="54"/>
                    </a:lnTo>
                    <a:lnTo>
                      <a:pt x="565" y="65"/>
                    </a:lnTo>
                    <a:lnTo>
                      <a:pt x="600" y="78"/>
                    </a:lnTo>
                    <a:lnTo>
                      <a:pt x="634" y="91"/>
                    </a:lnTo>
                    <a:lnTo>
                      <a:pt x="669" y="105"/>
                    </a:lnTo>
                    <a:lnTo>
                      <a:pt x="702" y="119"/>
                    </a:lnTo>
                    <a:lnTo>
                      <a:pt x="772" y="150"/>
                    </a:lnTo>
                    <a:lnTo>
                      <a:pt x="841" y="185"/>
                    </a:lnTo>
                    <a:lnTo>
                      <a:pt x="913" y="221"/>
                    </a:lnTo>
                    <a:lnTo>
                      <a:pt x="984" y="258"/>
                    </a:lnTo>
                    <a:lnTo>
                      <a:pt x="1056" y="298"/>
                    </a:lnTo>
                    <a:lnTo>
                      <a:pt x="1130" y="338"/>
                    </a:lnTo>
                    <a:lnTo>
                      <a:pt x="1206" y="380"/>
                    </a:lnTo>
                    <a:lnTo>
                      <a:pt x="1285" y="423"/>
                    </a:lnTo>
                    <a:lnTo>
                      <a:pt x="1365" y="466"/>
                    </a:lnTo>
                    <a:lnTo>
                      <a:pt x="1447" y="507"/>
                    </a:lnTo>
                    <a:lnTo>
                      <a:pt x="1488" y="527"/>
                    </a:lnTo>
                    <a:lnTo>
                      <a:pt x="1530" y="548"/>
                    </a:lnTo>
                    <a:lnTo>
                      <a:pt x="1572" y="567"/>
                    </a:lnTo>
                    <a:lnTo>
                      <a:pt x="1616" y="587"/>
                    </a:lnTo>
                    <a:lnTo>
                      <a:pt x="1659" y="606"/>
                    </a:lnTo>
                    <a:lnTo>
                      <a:pt x="1703" y="624"/>
                    </a:lnTo>
                    <a:lnTo>
                      <a:pt x="1747" y="642"/>
                    </a:lnTo>
                    <a:lnTo>
                      <a:pt x="1793" y="659"/>
                    </a:lnTo>
                    <a:lnTo>
                      <a:pt x="1838" y="675"/>
                    </a:lnTo>
                    <a:lnTo>
                      <a:pt x="1885" y="690"/>
                    </a:lnTo>
                    <a:lnTo>
                      <a:pt x="1931" y="705"/>
                    </a:lnTo>
                    <a:lnTo>
                      <a:pt x="1978" y="719"/>
                    </a:lnTo>
                    <a:lnTo>
                      <a:pt x="2026" y="732"/>
                    </a:lnTo>
                    <a:lnTo>
                      <a:pt x="2076" y="744"/>
                    </a:lnTo>
                    <a:lnTo>
                      <a:pt x="2124" y="755"/>
                    </a:lnTo>
                    <a:lnTo>
                      <a:pt x="2175" y="765"/>
                    </a:lnTo>
                    <a:lnTo>
                      <a:pt x="2226" y="774"/>
                    </a:lnTo>
                    <a:lnTo>
                      <a:pt x="2276" y="781"/>
                    </a:lnTo>
                    <a:lnTo>
                      <a:pt x="2329" y="787"/>
                    </a:lnTo>
                    <a:lnTo>
                      <a:pt x="2382" y="793"/>
                    </a:lnTo>
                    <a:lnTo>
                      <a:pt x="2435" y="796"/>
                    </a:lnTo>
                    <a:lnTo>
                      <a:pt x="2490" y="798"/>
                    </a:lnTo>
                    <a:lnTo>
                      <a:pt x="2545" y="799"/>
                    </a:lnTo>
                    <a:lnTo>
                      <a:pt x="2602" y="798"/>
                    </a:lnTo>
                    <a:lnTo>
                      <a:pt x="2633" y="797"/>
                    </a:lnTo>
                    <a:lnTo>
                      <a:pt x="2663" y="795"/>
                    </a:lnTo>
                    <a:lnTo>
                      <a:pt x="2694" y="793"/>
                    </a:lnTo>
                    <a:lnTo>
                      <a:pt x="2725" y="790"/>
                    </a:lnTo>
                    <a:lnTo>
                      <a:pt x="2786" y="783"/>
                    </a:lnTo>
                    <a:lnTo>
                      <a:pt x="2847" y="773"/>
                    </a:lnTo>
                    <a:lnTo>
                      <a:pt x="2907" y="763"/>
                    </a:lnTo>
                    <a:lnTo>
                      <a:pt x="2968" y="751"/>
                    </a:lnTo>
                    <a:lnTo>
                      <a:pt x="3027" y="737"/>
                    </a:lnTo>
                    <a:lnTo>
                      <a:pt x="3086" y="722"/>
                    </a:lnTo>
                    <a:lnTo>
                      <a:pt x="3146" y="705"/>
                    </a:lnTo>
                    <a:lnTo>
                      <a:pt x="3204" y="688"/>
                    </a:lnTo>
                    <a:lnTo>
                      <a:pt x="3262" y="671"/>
                    </a:lnTo>
                    <a:lnTo>
                      <a:pt x="3321" y="652"/>
                    </a:lnTo>
                    <a:lnTo>
                      <a:pt x="3378" y="633"/>
                    </a:lnTo>
                    <a:lnTo>
                      <a:pt x="3436" y="614"/>
                    </a:lnTo>
                    <a:lnTo>
                      <a:pt x="3493" y="593"/>
                    </a:lnTo>
                    <a:lnTo>
                      <a:pt x="3551" y="574"/>
                    </a:lnTo>
                    <a:lnTo>
                      <a:pt x="3642" y="542"/>
                    </a:lnTo>
                    <a:lnTo>
                      <a:pt x="3734" y="511"/>
                    </a:lnTo>
                    <a:lnTo>
                      <a:pt x="3825" y="482"/>
                    </a:lnTo>
                    <a:lnTo>
                      <a:pt x="3915" y="455"/>
                    </a:lnTo>
                    <a:lnTo>
                      <a:pt x="3960" y="442"/>
                    </a:lnTo>
                    <a:lnTo>
                      <a:pt x="4004" y="431"/>
                    </a:lnTo>
                    <a:lnTo>
                      <a:pt x="4048" y="420"/>
                    </a:lnTo>
                    <a:lnTo>
                      <a:pt x="4093" y="411"/>
                    </a:lnTo>
                    <a:lnTo>
                      <a:pt x="4137" y="402"/>
                    </a:lnTo>
                    <a:lnTo>
                      <a:pt x="4180" y="394"/>
                    </a:lnTo>
                    <a:lnTo>
                      <a:pt x="4224" y="389"/>
                    </a:lnTo>
                    <a:lnTo>
                      <a:pt x="4268" y="384"/>
                    </a:lnTo>
                    <a:lnTo>
                      <a:pt x="4311" y="380"/>
                    </a:lnTo>
                    <a:lnTo>
                      <a:pt x="4354" y="379"/>
                    </a:lnTo>
                    <a:lnTo>
                      <a:pt x="4397" y="379"/>
                    </a:lnTo>
                    <a:lnTo>
                      <a:pt x="4439" y="381"/>
                    </a:lnTo>
                    <a:lnTo>
                      <a:pt x="4483" y="385"/>
                    </a:lnTo>
                    <a:lnTo>
                      <a:pt x="4525" y="390"/>
                    </a:lnTo>
                    <a:lnTo>
                      <a:pt x="4567" y="398"/>
                    </a:lnTo>
                    <a:lnTo>
                      <a:pt x="4608" y="407"/>
                    </a:lnTo>
                    <a:lnTo>
                      <a:pt x="4650" y="419"/>
                    </a:lnTo>
                    <a:lnTo>
                      <a:pt x="4691" y="433"/>
                    </a:lnTo>
                    <a:lnTo>
                      <a:pt x="4733" y="450"/>
                    </a:lnTo>
                    <a:lnTo>
                      <a:pt x="4773" y="468"/>
                    </a:lnTo>
                    <a:lnTo>
                      <a:pt x="4814" y="489"/>
                    </a:lnTo>
                    <a:lnTo>
                      <a:pt x="4855" y="513"/>
                    </a:lnTo>
                    <a:lnTo>
                      <a:pt x="4895" y="540"/>
                    </a:lnTo>
                    <a:lnTo>
                      <a:pt x="4935" y="569"/>
                    </a:lnTo>
                    <a:lnTo>
                      <a:pt x="4938" y="574"/>
                    </a:lnTo>
                    <a:lnTo>
                      <a:pt x="4940" y="579"/>
                    </a:lnTo>
                    <a:lnTo>
                      <a:pt x="4940" y="583"/>
                    </a:lnTo>
                    <a:lnTo>
                      <a:pt x="4937" y="589"/>
                    </a:lnTo>
                    <a:lnTo>
                      <a:pt x="4934" y="592"/>
                    </a:lnTo>
                    <a:lnTo>
                      <a:pt x="4929" y="594"/>
                    </a:lnTo>
                    <a:lnTo>
                      <a:pt x="4923" y="593"/>
                    </a:lnTo>
                    <a:lnTo>
                      <a:pt x="4919" y="591"/>
                    </a:lnTo>
                    <a:lnTo>
                      <a:pt x="4880" y="563"/>
                    </a:lnTo>
                    <a:lnTo>
                      <a:pt x="4840" y="537"/>
                    </a:lnTo>
                    <a:lnTo>
                      <a:pt x="4801" y="513"/>
                    </a:lnTo>
                    <a:lnTo>
                      <a:pt x="4761" y="493"/>
                    </a:lnTo>
                    <a:lnTo>
                      <a:pt x="4721" y="474"/>
                    </a:lnTo>
                    <a:lnTo>
                      <a:pt x="4681" y="458"/>
                    </a:lnTo>
                    <a:lnTo>
                      <a:pt x="4640" y="445"/>
                    </a:lnTo>
                    <a:lnTo>
                      <a:pt x="4599" y="433"/>
                    </a:lnTo>
                    <a:lnTo>
                      <a:pt x="4558" y="425"/>
                    </a:lnTo>
                    <a:lnTo>
                      <a:pt x="4517" y="417"/>
                    </a:lnTo>
                    <a:lnTo>
                      <a:pt x="4476" y="412"/>
                    </a:lnTo>
                    <a:lnTo>
                      <a:pt x="4434" y="408"/>
                    </a:lnTo>
                    <a:lnTo>
                      <a:pt x="4393" y="406"/>
                    </a:lnTo>
                    <a:lnTo>
                      <a:pt x="4351" y="407"/>
                    </a:lnTo>
                    <a:lnTo>
                      <a:pt x="4308" y="408"/>
                    </a:lnTo>
                    <a:lnTo>
                      <a:pt x="4266" y="412"/>
                    </a:lnTo>
                    <a:lnTo>
                      <a:pt x="4222" y="416"/>
                    </a:lnTo>
                    <a:lnTo>
                      <a:pt x="4180" y="423"/>
                    </a:lnTo>
                    <a:lnTo>
                      <a:pt x="4137" y="430"/>
                    </a:lnTo>
                    <a:lnTo>
                      <a:pt x="4094" y="438"/>
                    </a:lnTo>
                    <a:lnTo>
                      <a:pt x="4050" y="447"/>
                    </a:lnTo>
                    <a:lnTo>
                      <a:pt x="4006" y="458"/>
                    </a:lnTo>
                    <a:lnTo>
                      <a:pt x="3962" y="470"/>
                    </a:lnTo>
                    <a:lnTo>
                      <a:pt x="3918" y="482"/>
                    </a:lnTo>
                    <a:lnTo>
                      <a:pt x="3829" y="509"/>
                    </a:lnTo>
                    <a:lnTo>
                      <a:pt x="3740" y="537"/>
                    </a:lnTo>
                    <a:lnTo>
                      <a:pt x="3650" y="568"/>
                    </a:lnTo>
                    <a:lnTo>
                      <a:pt x="3559" y="600"/>
                    </a:lnTo>
                    <a:lnTo>
                      <a:pt x="3502" y="619"/>
                    </a:lnTo>
                    <a:lnTo>
                      <a:pt x="3444" y="639"/>
                    </a:lnTo>
                    <a:lnTo>
                      <a:pt x="3387" y="659"/>
                    </a:lnTo>
                    <a:lnTo>
                      <a:pt x="3328" y="678"/>
                    </a:lnTo>
                    <a:lnTo>
                      <a:pt x="3270" y="697"/>
                    </a:lnTo>
                    <a:lnTo>
                      <a:pt x="3211" y="715"/>
                    </a:lnTo>
                    <a:lnTo>
                      <a:pt x="3151" y="732"/>
                    </a:lnTo>
                    <a:lnTo>
                      <a:pt x="3092" y="749"/>
                    </a:lnTo>
                    <a:lnTo>
                      <a:pt x="3032" y="764"/>
                    </a:lnTo>
                    <a:lnTo>
                      <a:pt x="2972" y="778"/>
                    </a:lnTo>
                    <a:lnTo>
                      <a:pt x="2911" y="790"/>
                    </a:lnTo>
                    <a:lnTo>
                      <a:pt x="2850" y="800"/>
                    </a:lnTo>
                    <a:lnTo>
                      <a:pt x="2789" y="810"/>
                    </a:lnTo>
                    <a:lnTo>
                      <a:pt x="2727" y="817"/>
                    </a:lnTo>
                    <a:lnTo>
                      <a:pt x="2695" y="820"/>
                    </a:lnTo>
                    <a:lnTo>
                      <a:pt x="2665" y="822"/>
                    </a:lnTo>
                    <a:lnTo>
                      <a:pt x="2634" y="824"/>
                    </a:lnTo>
                    <a:lnTo>
                      <a:pt x="2602" y="825"/>
                    </a:lnTo>
                    <a:lnTo>
                      <a:pt x="2586" y="825"/>
                    </a:lnTo>
                    <a:lnTo>
                      <a:pt x="2571" y="826"/>
                    </a:lnTo>
                    <a:lnTo>
                      <a:pt x="2556" y="826"/>
                    </a:lnTo>
                    <a:lnTo>
                      <a:pt x="2542" y="8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39"/>
              <p:cNvSpPr>
                <a:spLocks/>
              </p:cNvSpPr>
              <p:nvPr userDrawn="1"/>
            </p:nvSpPr>
            <p:spPr bwMode="auto">
              <a:xfrm>
                <a:off x="1167" y="3420"/>
                <a:ext cx="1625" cy="219"/>
              </a:xfrm>
              <a:custGeom>
                <a:avLst/>
                <a:gdLst>
                  <a:gd name="T0" fmla="*/ 2300 w 4876"/>
                  <a:gd name="T1" fmla="*/ 652 h 657"/>
                  <a:gd name="T2" fmla="*/ 2156 w 4876"/>
                  <a:gd name="T3" fmla="*/ 635 h 657"/>
                  <a:gd name="T4" fmla="*/ 2016 w 4876"/>
                  <a:gd name="T5" fmla="*/ 606 h 657"/>
                  <a:gd name="T6" fmla="*/ 1775 w 4876"/>
                  <a:gd name="T7" fmla="*/ 532 h 657"/>
                  <a:gd name="T8" fmla="*/ 1505 w 4876"/>
                  <a:gd name="T9" fmla="*/ 426 h 657"/>
                  <a:gd name="T10" fmla="*/ 1230 w 4876"/>
                  <a:gd name="T11" fmla="*/ 304 h 657"/>
                  <a:gd name="T12" fmla="*/ 918 w 4876"/>
                  <a:gd name="T13" fmla="*/ 173 h 657"/>
                  <a:gd name="T14" fmla="*/ 718 w 4876"/>
                  <a:gd name="T15" fmla="*/ 105 h 657"/>
                  <a:gd name="T16" fmla="*/ 557 w 4876"/>
                  <a:gd name="T17" fmla="*/ 63 h 657"/>
                  <a:gd name="T18" fmla="*/ 393 w 4876"/>
                  <a:gd name="T19" fmla="*/ 36 h 657"/>
                  <a:gd name="T20" fmla="*/ 227 w 4876"/>
                  <a:gd name="T21" fmla="*/ 27 h 657"/>
                  <a:gd name="T22" fmla="*/ 58 w 4876"/>
                  <a:gd name="T23" fmla="*/ 40 h 657"/>
                  <a:gd name="T24" fmla="*/ 2 w 4876"/>
                  <a:gd name="T25" fmla="*/ 41 h 657"/>
                  <a:gd name="T26" fmla="*/ 5 w 4876"/>
                  <a:gd name="T27" fmla="*/ 22 h 657"/>
                  <a:gd name="T28" fmla="*/ 140 w 4876"/>
                  <a:gd name="T29" fmla="*/ 4 h 657"/>
                  <a:gd name="T30" fmla="*/ 311 w 4876"/>
                  <a:gd name="T31" fmla="*/ 2 h 657"/>
                  <a:gd name="T32" fmla="*/ 478 w 4876"/>
                  <a:gd name="T33" fmla="*/ 21 h 657"/>
                  <a:gd name="T34" fmla="*/ 642 w 4876"/>
                  <a:gd name="T35" fmla="*/ 55 h 657"/>
                  <a:gd name="T36" fmla="*/ 804 w 4876"/>
                  <a:gd name="T37" fmla="*/ 104 h 657"/>
                  <a:gd name="T38" fmla="*/ 1083 w 4876"/>
                  <a:gd name="T39" fmla="*/ 211 h 657"/>
                  <a:gd name="T40" fmla="*/ 1406 w 4876"/>
                  <a:gd name="T41" fmla="*/ 352 h 657"/>
                  <a:gd name="T42" fmla="*/ 1716 w 4876"/>
                  <a:gd name="T43" fmla="*/ 482 h 657"/>
                  <a:gd name="T44" fmla="*/ 1896 w 4876"/>
                  <a:gd name="T45" fmla="*/ 544 h 657"/>
                  <a:gd name="T46" fmla="*/ 2079 w 4876"/>
                  <a:gd name="T47" fmla="*/ 593 h 657"/>
                  <a:gd name="T48" fmla="*/ 2267 w 4876"/>
                  <a:gd name="T49" fmla="*/ 622 h 657"/>
                  <a:gd name="T50" fmla="*/ 2458 w 4876"/>
                  <a:gd name="T51" fmla="*/ 629 h 657"/>
                  <a:gd name="T52" fmla="*/ 2655 w 4876"/>
                  <a:gd name="T53" fmla="*/ 607 h 657"/>
                  <a:gd name="T54" fmla="*/ 2904 w 4876"/>
                  <a:gd name="T55" fmla="*/ 539 h 657"/>
                  <a:gd name="T56" fmla="*/ 3287 w 4876"/>
                  <a:gd name="T57" fmla="*/ 441 h 657"/>
                  <a:gd name="T58" fmla="*/ 3642 w 4876"/>
                  <a:gd name="T59" fmla="*/ 375 h 657"/>
                  <a:gd name="T60" fmla="*/ 3963 w 4876"/>
                  <a:gd name="T61" fmla="*/ 336 h 657"/>
                  <a:gd name="T62" fmla="*/ 4244 w 4876"/>
                  <a:gd name="T63" fmla="*/ 321 h 657"/>
                  <a:gd name="T64" fmla="*/ 4482 w 4876"/>
                  <a:gd name="T65" fmla="*/ 326 h 657"/>
                  <a:gd name="T66" fmla="*/ 4668 w 4876"/>
                  <a:gd name="T67" fmla="*/ 349 h 657"/>
                  <a:gd name="T68" fmla="*/ 4797 w 4876"/>
                  <a:gd name="T69" fmla="*/ 384 h 657"/>
                  <a:gd name="T70" fmla="*/ 4861 w 4876"/>
                  <a:gd name="T71" fmla="*/ 423 h 657"/>
                  <a:gd name="T72" fmla="*/ 4875 w 4876"/>
                  <a:gd name="T73" fmla="*/ 450 h 657"/>
                  <a:gd name="T74" fmla="*/ 4873 w 4876"/>
                  <a:gd name="T75" fmla="*/ 473 h 657"/>
                  <a:gd name="T76" fmla="*/ 4855 w 4876"/>
                  <a:gd name="T77" fmla="*/ 476 h 657"/>
                  <a:gd name="T78" fmla="*/ 4849 w 4876"/>
                  <a:gd name="T79" fmla="*/ 459 h 657"/>
                  <a:gd name="T80" fmla="*/ 4841 w 4876"/>
                  <a:gd name="T81" fmla="*/ 441 h 657"/>
                  <a:gd name="T82" fmla="*/ 4784 w 4876"/>
                  <a:gd name="T83" fmla="*/ 407 h 657"/>
                  <a:gd name="T84" fmla="*/ 4662 w 4876"/>
                  <a:gd name="T85" fmla="*/ 376 h 657"/>
                  <a:gd name="T86" fmla="*/ 4482 w 4876"/>
                  <a:gd name="T87" fmla="*/ 355 h 657"/>
                  <a:gd name="T88" fmla="*/ 4250 w 4876"/>
                  <a:gd name="T89" fmla="*/ 349 h 657"/>
                  <a:gd name="T90" fmla="*/ 3972 w 4876"/>
                  <a:gd name="T91" fmla="*/ 363 h 657"/>
                  <a:gd name="T92" fmla="*/ 3653 w 4876"/>
                  <a:gd name="T93" fmla="*/ 401 h 657"/>
                  <a:gd name="T94" fmla="*/ 3299 w 4876"/>
                  <a:gd name="T95" fmla="*/ 467 h 657"/>
                  <a:gd name="T96" fmla="*/ 2913 w 4876"/>
                  <a:gd name="T97" fmla="*/ 565 h 657"/>
                  <a:gd name="T98" fmla="*/ 2658 w 4876"/>
                  <a:gd name="T99" fmla="*/ 633 h 657"/>
                  <a:gd name="T100" fmla="*/ 2457 w 4876"/>
                  <a:gd name="T101"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76" h="657">
                    <a:moveTo>
                      <a:pt x="2408" y="657"/>
                    </a:moveTo>
                    <a:lnTo>
                      <a:pt x="2371" y="656"/>
                    </a:lnTo>
                    <a:lnTo>
                      <a:pt x="2335" y="654"/>
                    </a:lnTo>
                    <a:lnTo>
                      <a:pt x="2300" y="652"/>
                    </a:lnTo>
                    <a:lnTo>
                      <a:pt x="2263" y="649"/>
                    </a:lnTo>
                    <a:lnTo>
                      <a:pt x="2227" y="645"/>
                    </a:lnTo>
                    <a:lnTo>
                      <a:pt x="2192" y="640"/>
                    </a:lnTo>
                    <a:lnTo>
                      <a:pt x="2156" y="635"/>
                    </a:lnTo>
                    <a:lnTo>
                      <a:pt x="2122" y="629"/>
                    </a:lnTo>
                    <a:lnTo>
                      <a:pt x="2086" y="622"/>
                    </a:lnTo>
                    <a:lnTo>
                      <a:pt x="2051" y="615"/>
                    </a:lnTo>
                    <a:lnTo>
                      <a:pt x="2016" y="606"/>
                    </a:lnTo>
                    <a:lnTo>
                      <a:pt x="1981" y="597"/>
                    </a:lnTo>
                    <a:lnTo>
                      <a:pt x="1912" y="578"/>
                    </a:lnTo>
                    <a:lnTo>
                      <a:pt x="1843" y="556"/>
                    </a:lnTo>
                    <a:lnTo>
                      <a:pt x="1775" y="532"/>
                    </a:lnTo>
                    <a:lnTo>
                      <a:pt x="1707" y="508"/>
                    </a:lnTo>
                    <a:lnTo>
                      <a:pt x="1640" y="482"/>
                    </a:lnTo>
                    <a:lnTo>
                      <a:pt x="1572" y="455"/>
                    </a:lnTo>
                    <a:lnTo>
                      <a:pt x="1505" y="426"/>
                    </a:lnTo>
                    <a:lnTo>
                      <a:pt x="1439" y="398"/>
                    </a:lnTo>
                    <a:lnTo>
                      <a:pt x="1373" y="367"/>
                    </a:lnTo>
                    <a:lnTo>
                      <a:pt x="1306" y="338"/>
                    </a:lnTo>
                    <a:lnTo>
                      <a:pt x="1230" y="304"/>
                    </a:lnTo>
                    <a:lnTo>
                      <a:pt x="1152" y="270"/>
                    </a:lnTo>
                    <a:lnTo>
                      <a:pt x="1074" y="237"/>
                    </a:lnTo>
                    <a:lnTo>
                      <a:pt x="995" y="204"/>
                    </a:lnTo>
                    <a:lnTo>
                      <a:pt x="918" y="173"/>
                    </a:lnTo>
                    <a:lnTo>
                      <a:pt x="838" y="144"/>
                    </a:lnTo>
                    <a:lnTo>
                      <a:pt x="798" y="130"/>
                    </a:lnTo>
                    <a:lnTo>
                      <a:pt x="758" y="117"/>
                    </a:lnTo>
                    <a:lnTo>
                      <a:pt x="718" y="105"/>
                    </a:lnTo>
                    <a:lnTo>
                      <a:pt x="678" y="93"/>
                    </a:lnTo>
                    <a:lnTo>
                      <a:pt x="638" y="82"/>
                    </a:lnTo>
                    <a:lnTo>
                      <a:pt x="597" y="73"/>
                    </a:lnTo>
                    <a:lnTo>
                      <a:pt x="557" y="63"/>
                    </a:lnTo>
                    <a:lnTo>
                      <a:pt x="516" y="55"/>
                    </a:lnTo>
                    <a:lnTo>
                      <a:pt x="475" y="48"/>
                    </a:lnTo>
                    <a:lnTo>
                      <a:pt x="434" y="41"/>
                    </a:lnTo>
                    <a:lnTo>
                      <a:pt x="393" y="36"/>
                    </a:lnTo>
                    <a:lnTo>
                      <a:pt x="352" y="33"/>
                    </a:lnTo>
                    <a:lnTo>
                      <a:pt x="311" y="29"/>
                    </a:lnTo>
                    <a:lnTo>
                      <a:pt x="269" y="27"/>
                    </a:lnTo>
                    <a:lnTo>
                      <a:pt x="227" y="27"/>
                    </a:lnTo>
                    <a:lnTo>
                      <a:pt x="184" y="28"/>
                    </a:lnTo>
                    <a:lnTo>
                      <a:pt x="142" y="31"/>
                    </a:lnTo>
                    <a:lnTo>
                      <a:pt x="100" y="35"/>
                    </a:lnTo>
                    <a:lnTo>
                      <a:pt x="58" y="40"/>
                    </a:lnTo>
                    <a:lnTo>
                      <a:pt x="15" y="47"/>
                    </a:lnTo>
                    <a:lnTo>
                      <a:pt x="9" y="47"/>
                    </a:lnTo>
                    <a:lnTo>
                      <a:pt x="5" y="45"/>
                    </a:lnTo>
                    <a:lnTo>
                      <a:pt x="2" y="41"/>
                    </a:lnTo>
                    <a:lnTo>
                      <a:pt x="0" y="36"/>
                    </a:lnTo>
                    <a:lnTo>
                      <a:pt x="0" y="31"/>
                    </a:lnTo>
                    <a:lnTo>
                      <a:pt x="2" y="26"/>
                    </a:lnTo>
                    <a:lnTo>
                      <a:pt x="5" y="22"/>
                    </a:lnTo>
                    <a:lnTo>
                      <a:pt x="11" y="20"/>
                    </a:lnTo>
                    <a:lnTo>
                      <a:pt x="54" y="13"/>
                    </a:lnTo>
                    <a:lnTo>
                      <a:pt x="97" y="8"/>
                    </a:lnTo>
                    <a:lnTo>
                      <a:pt x="140" y="4"/>
                    </a:lnTo>
                    <a:lnTo>
                      <a:pt x="183" y="1"/>
                    </a:lnTo>
                    <a:lnTo>
                      <a:pt x="225" y="0"/>
                    </a:lnTo>
                    <a:lnTo>
                      <a:pt x="268" y="0"/>
                    </a:lnTo>
                    <a:lnTo>
                      <a:pt x="311" y="2"/>
                    </a:lnTo>
                    <a:lnTo>
                      <a:pt x="353" y="5"/>
                    </a:lnTo>
                    <a:lnTo>
                      <a:pt x="394" y="9"/>
                    </a:lnTo>
                    <a:lnTo>
                      <a:pt x="436" y="14"/>
                    </a:lnTo>
                    <a:lnTo>
                      <a:pt x="478" y="21"/>
                    </a:lnTo>
                    <a:lnTo>
                      <a:pt x="519" y="27"/>
                    </a:lnTo>
                    <a:lnTo>
                      <a:pt x="560" y="36"/>
                    </a:lnTo>
                    <a:lnTo>
                      <a:pt x="601" y="46"/>
                    </a:lnTo>
                    <a:lnTo>
                      <a:pt x="642" y="55"/>
                    </a:lnTo>
                    <a:lnTo>
                      <a:pt x="683" y="66"/>
                    </a:lnTo>
                    <a:lnTo>
                      <a:pt x="723" y="78"/>
                    </a:lnTo>
                    <a:lnTo>
                      <a:pt x="764" y="91"/>
                    </a:lnTo>
                    <a:lnTo>
                      <a:pt x="804" y="104"/>
                    </a:lnTo>
                    <a:lnTo>
                      <a:pt x="844" y="118"/>
                    </a:lnTo>
                    <a:lnTo>
                      <a:pt x="924" y="147"/>
                    </a:lnTo>
                    <a:lnTo>
                      <a:pt x="1004" y="178"/>
                    </a:lnTo>
                    <a:lnTo>
                      <a:pt x="1083" y="211"/>
                    </a:lnTo>
                    <a:lnTo>
                      <a:pt x="1162" y="244"/>
                    </a:lnTo>
                    <a:lnTo>
                      <a:pt x="1239" y="279"/>
                    </a:lnTo>
                    <a:lnTo>
                      <a:pt x="1318" y="313"/>
                    </a:lnTo>
                    <a:lnTo>
                      <a:pt x="1406" y="352"/>
                    </a:lnTo>
                    <a:lnTo>
                      <a:pt x="1493" y="391"/>
                    </a:lnTo>
                    <a:lnTo>
                      <a:pt x="1582" y="429"/>
                    </a:lnTo>
                    <a:lnTo>
                      <a:pt x="1670" y="464"/>
                    </a:lnTo>
                    <a:lnTo>
                      <a:pt x="1716" y="482"/>
                    </a:lnTo>
                    <a:lnTo>
                      <a:pt x="1760" y="499"/>
                    </a:lnTo>
                    <a:lnTo>
                      <a:pt x="1805" y="515"/>
                    </a:lnTo>
                    <a:lnTo>
                      <a:pt x="1851" y="530"/>
                    </a:lnTo>
                    <a:lnTo>
                      <a:pt x="1896" y="544"/>
                    </a:lnTo>
                    <a:lnTo>
                      <a:pt x="1941" y="558"/>
                    </a:lnTo>
                    <a:lnTo>
                      <a:pt x="1988" y="570"/>
                    </a:lnTo>
                    <a:lnTo>
                      <a:pt x="2033" y="582"/>
                    </a:lnTo>
                    <a:lnTo>
                      <a:pt x="2079" y="593"/>
                    </a:lnTo>
                    <a:lnTo>
                      <a:pt x="2126" y="602"/>
                    </a:lnTo>
                    <a:lnTo>
                      <a:pt x="2173" y="610"/>
                    </a:lnTo>
                    <a:lnTo>
                      <a:pt x="2220" y="617"/>
                    </a:lnTo>
                    <a:lnTo>
                      <a:pt x="2267" y="622"/>
                    </a:lnTo>
                    <a:lnTo>
                      <a:pt x="2315" y="626"/>
                    </a:lnTo>
                    <a:lnTo>
                      <a:pt x="2362" y="629"/>
                    </a:lnTo>
                    <a:lnTo>
                      <a:pt x="2410" y="630"/>
                    </a:lnTo>
                    <a:lnTo>
                      <a:pt x="2458" y="629"/>
                    </a:lnTo>
                    <a:lnTo>
                      <a:pt x="2507" y="625"/>
                    </a:lnTo>
                    <a:lnTo>
                      <a:pt x="2556" y="621"/>
                    </a:lnTo>
                    <a:lnTo>
                      <a:pt x="2605" y="615"/>
                    </a:lnTo>
                    <a:lnTo>
                      <a:pt x="2655" y="607"/>
                    </a:lnTo>
                    <a:lnTo>
                      <a:pt x="2705" y="596"/>
                    </a:lnTo>
                    <a:lnTo>
                      <a:pt x="2754" y="583"/>
                    </a:lnTo>
                    <a:lnTo>
                      <a:pt x="2805" y="569"/>
                    </a:lnTo>
                    <a:lnTo>
                      <a:pt x="2904" y="539"/>
                    </a:lnTo>
                    <a:lnTo>
                      <a:pt x="3003" y="512"/>
                    </a:lnTo>
                    <a:lnTo>
                      <a:pt x="3099" y="486"/>
                    </a:lnTo>
                    <a:lnTo>
                      <a:pt x="3194" y="462"/>
                    </a:lnTo>
                    <a:lnTo>
                      <a:pt x="3287" y="441"/>
                    </a:lnTo>
                    <a:lnTo>
                      <a:pt x="3378" y="421"/>
                    </a:lnTo>
                    <a:lnTo>
                      <a:pt x="3468" y="404"/>
                    </a:lnTo>
                    <a:lnTo>
                      <a:pt x="3556" y="388"/>
                    </a:lnTo>
                    <a:lnTo>
                      <a:pt x="3642" y="375"/>
                    </a:lnTo>
                    <a:lnTo>
                      <a:pt x="3725" y="362"/>
                    </a:lnTo>
                    <a:lnTo>
                      <a:pt x="3807" y="352"/>
                    </a:lnTo>
                    <a:lnTo>
                      <a:pt x="3886" y="342"/>
                    </a:lnTo>
                    <a:lnTo>
                      <a:pt x="3963" y="336"/>
                    </a:lnTo>
                    <a:lnTo>
                      <a:pt x="4037" y="330"/>
                    </a:lnTo>
                    <a:lnTo>
                      <a:pt x="4110" y="325"/>
                    </a:lnTo>
                    <a:lnTo>
                      <a:pt x="4179" y="323"/>
                    </a:lnTo>
                    <a:lnTo>
                      <a:pt x="4244" y="321"/>
                    </a:lnTo>
                    <a:lnTo>
                      <a:pt x="4308" y="321"/>
                    </a:lnTo>
                    <a:lnTo>
                      <a:pt x="4369" y="321"/>
                    </a:lnTo>
                    <a:lnTo>
                      <a:pt x="4427" y="323"/>
                    </a:lnTo>
                    <a:lnTo>
                      <a:pt x="4482" y="326"/>
                    </a:lnTo>
                    <a:lnTo>
                      <a:pt x="4533" y="331"/>
                    </a:lnTo>
                    <a:lnTo>
                      <a:pt x="4581" y="336"/>
                    </a:lnTo>
                    <a:lnTo>
                      <a:pt x="4626" y="341"/>
                    </a:lnTo>
                    <a:lnTo>
                      <a:pt x="4668" y="349"/>
                    </a:lnTo>
                    <a:lnTo>
                      <a:pt x="4706" y="357"/>
                    </a:lnTo>
                    <a:lnTo>
                      <a:pt x="4740" y="364"/>
                    </a:lnTo>
                    <a:lnTo>
                      <a:pt x="4770" y="374"/>
                    </a:lnTo>
                    <a:lnTo>
                      <a:pt x="4797" y="384"/>
                    </a:lnTo>
                    <a:lnTo>
                      <a:pt x="4820" y="393"/>
                    </a:lnTo>
                    <a:lnTo>
                      <a:pt x="4838" y="404"/>
                    </a:lnTo>
                    <a:lnTo>
                      <a:pt x="4854" y="416"/>
                    </a:lnTo>
                    <a:lnTo>
                      <a:pt x="4861" y="423"/>
                    </a:lnTo>
                    <a:lnTo>
                      <a:pt x="4866" y="430"/>
                    </a:lnTo>
                    <a:lnTo>
                      <a:pt x="4871" y="437"/>
                    </a:lnTo>
                    <a:lnTo>
                      <a:pt x="4874" y="444"/>
                    </a:lnTo>
                    <a:lnTo>
                      <a:pt x="4875" y="450"/>
                    </a:lnTo>
                    <a:lnTo>
                      <a:pt x="4876" y="457"/>
                    </a:lnTo>
                    <a:lnTo>
                      <a:pt x="4876" y="462"/>
                    </a:lnTo>
                    <a:lnTo>
                      <a:pt x="4875" y="468"/>
                    </a:lnTo>
                    <a:lnTo>
                      <a:pt x="4873" y="473"/>
                    </a:lnTo>
                    <a:lnTo>
                      <a:pt x="4870" y="476"/>
                    </a:lnTo>
                    <a:lnTo>
                      <a:pt x="4864" y="479"/>
                    </a:lnTo>
                    <a:lnTo>
                      <a:pt x="4860" y="479"/>
                    </a:lnTo>
                    <a:lnTo>
                      <a:pt x="4855" y="476"/>
                    </a:lnTo>
                    <a:lnTo>
                      <a:pt x="4851" y="473"/>
                    </a:lnTo>
                    <a:lnTo>
                      <a:pt x="4849" y="468"/>
                    </a:lnTo>
                    <a:lnTo>
                      <a:pt x="4849" y="462"/>
                    </a:lnTo>
                    <a:lnTo>
                      <a:pt x="4849" y="459"/>
                    </a:lnTo>
                    <a:lnTo>
                      <a:pt x="4848" y="454"/>
                    </a:lnTo>
                    <a:lnTo>
                      <a:pt x="4847" y="449"/>
                    </a:lnTo>
                    <a:lnTo>
                      <a:pt x="4845" y="445"/>
                    </a:lnTo>
                    <a:lnTo>
                      <a:pt x="4841" y="441"/>
                    </a:lnTo>
                    <a:lnTo>
                      <a:pt x="4835" y="435"/>
                    </a:lnTo>
                    <a:lnTo>
                      <a:pt x="4822" y="426"/>
                    </a:lnTo>
                    <a:lnTo>
                      <a:pt x="4806" y="417"/>
                    </a:lnTo>
                    <a:lnTo>
                      <a:pt x="4784" y="407"/>
                    </a:lnTo>
                    <a:lnTo>
                      <a:pt x="4760" y="399"/>
                    </a:lnTo>
                    <a:lnTo>
                      <a:pt x="4730" y="391"/>
                    </a:lnTo>
                    <a:lnTo>
                      <a:pt x="4698" y="384"/>
                    </a:lnTo>
                    <a:lnTo>
                      <a:pt x="4662" y="376"/>
                    </a:lnTo>
                    <a:lnTo>
                      <a:pt x="4622" y="369"/>
                    </a:lnTo>
                    <a:lnTo>
                      <a:pt x="4579" y="364"/>
                    </a:lnTo>
                    <a:lnTo>
                      <a:pt x="4532" y="359"/>
                    </a:lnTo>
                    <a:lnTo>
                      <a:pt x="4482" y="355"/>
                    </a:lnTo>
                    <a:lnTo>
                      <a:pt x="4429" y="352"/>
                    </a:lnTo>
                    <a:lnTo>
                      <a:pt x="4372" y="350"/>
                    </a:lnTo>
                    <a:lnTo>
                      <a:pt x="4313" y="349"/>
                    </a:lnTo>
                    <a:lnTo>
                      <a:pt x="4250" y="349"/>
                    </a:lnTo>
                    <a:lnTo>
                      <a:pt x="4185" y="351"/>
                    </a:lnTo>
                    <a:lnTo>
                      <a:pt x="4117" y="353"/>
                    </a:lnTo>
                    <a:lnTo>
                      <a:pt x="4046" y="358"/>
                    </a:lnTo>
                    <a:lnTo>
                      <a:pt x="3972" y="363"/>
                    </a:lnTo>
                    <a:lnTo>
                      <a:pt x="3896" y="371"/>
                    </a:lnTo>
                    <a:lnTo>
                      <a:pt x="3817" y="378"/>
                    </a:lnTo>
                    <a:lnTo>
                      <a:pt x="3736" y="389"/>
                    </a:lnTo>
                    <a:lnTo>
                      <a:pt x="3653" y="401"/>
                    </a:lnTo>
                    <a:lnTo>
                      <a:pt x="3567" y="414"/>
                    </a:lnTo>
                    <a:lnTo>
                      <a:pt x="3480" y="430"/>
                    </a:lnTo>
                    <a:lnTo>
                      <a:pt x="3390" y="447"/>
                    </a:lnTo>
                    <a:lnTo>
                      <a:pt x="3299" y="467"/>
                    </a:lnTo>
                    <a:lnTo>
                      <a:pt x="3205" y="488"/>
                    </a:lnTo>
                    <a:lnTo>
                      <a:pt x="3110" y="511"/>
                    </a:lnTo>
                    <a:lnTo>
                      <a:pt x="3012" y="537"/>
                    </a:lnTo>
                    <a:lnTo>
                      <a:pt x="2913" y="565"/>
                    </a:lnTo>
                    <a:lnTo>
                      <a:pt x="2813" y="595"/>
                    </a:lnTo>
                    <a:lnTo>
                      <a:pt x="2761" y="610"/>
                    </a:lnTo>
                    <a:lnTo>
                      <a:pt x="2710" y="623"/>
                    </a:lnTo>
                    <a:lnTo>
                      <a:pt x="2658" y="633"/>
                    </a:lnTo>
                    <a:lnTo>
                      <a:pt x="2607" y="642"/>
                    </a:lnTo>
                    <a:lnTo>
                      <a:pt x="2557" y="648"/>
                    </a:lnTo>
                    <a:lnTo>
                      <a:pt x="2507" y="652"/>
                    </a:lnTo>
                    <a:lnTo>
                      <a:pt x="2457" y="656"/>
                    </a:lnTo>
                    <a:lnTo>
                      <a:pt x="2408" y="6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40"/>
              <p:cNvSpPr>
                <a:spLocks/>
              </p:cNvSpPr>
              <p:nvPr userDrawn="1"/>
            </p:nvSpPr>
            <p:spPr bwMode="auto">
              <a:xfrm>
                <a:off x="1184" y="3394"/>
                <a:ext cx="2013" cy="139"/>
              </a:xfrm>
              <a:custGeom>
                <a:avLst/>
                <a:gdLst>
                  <a:gd name="T0" fmla="*/ 6024 w 6038"/>
                  <a:gd name="T1" fmla="*/ 416 h 416"/>
                  <a:gd name="T2" fmla="*/ 4683 w 6038"/>
                  <a:gd name="T3" fmla="*/ 349 h 416"/>
                  <a:gd name="T4" fmla="*/ 4677 w 6038"/>
                  <a:gd name="T5" fmla="*/ 323 h 416"/>
                  <a:gd name="T6" fmla="*/ 4660 w 6038"/>
                  <a:gd name="T7" fmla="*/ 275 h 416"/>
                  <a:gd name="T8" fmla="*/ 4624 w 6038"/>
                  <a:gd name="T9" fmla="*/ 231 h 416"/>
                  <a:gd name="T10" fmla="*/ 4545 w 6038"/>
                  <a:gd name="T11" fmla="*/ 174 h 416"/>
                  <a:gd name="T12" fmla="*/ 4415 w 6038"/>
                  <a:gd name="T13" fmla="*/ 121 h 416"/>
                  <a:gd name="T14" fmla="*/ 4251 w 6038"/>
                  <a:gd name="T15" fmla="*/ 82 h 416"/>
                  <a:gd name="T16" fmla="*/ 4058 w 6038"/>
                  <a:gd name="T17" fmla="*/ 52 h 416"/>
                  <a:gd name="T18" fmla="*/ 3840 w 6038"/>
                  <a:gd name="T19" fmla="*/ 34 h 416"/>
                  <a:gd name="T20" fmla="*/ 3605 w 6038"/>
                  <a:gd name="T21" fmla="*/ 25 h 416"/>
                  <a:gd name="T22" fmla="*/ 3356 w 6038"/>
                  <a:gd name="T23" fmla="*/ 28 h 416"/>
                  <a:gd name="T24" fmla="*/ 3099 w 6038"/>
                  <a:gd name="T25" fmla="*/ 38 h 416"/>
                  <a:gd name="T26" fmla="*/ 2838 w 6038"/>
                  <a:gd name="T27" fmla="*/ 59 h 416"/>
                  <a:gd name="T28" fmla="*/ 2580 w 6038"/>
                  <a:gd name="T29" fmla="*/ 87 h 416"/>
                  <a:gd name="T30" fmla="*/ 2331 w 6038"/>
                  <a:gd name="T31" fmla="*/ 123 h 416"/>
                  <a:gd name="T32" fmla="*/ 2183 w 6038"/>
                  <a:gd name="T33" fmla="*/ 143 h 416"/>
                  <a:gd name="T34" fmla="*/ 2037 w 6038"/>
                  <a:gd name="T35" fmla="*/ 157 h 416"/>
                  <a:gd name="T36" fmla="*/ 1896 w 6038"/>
                  <a:gd name="T37" fmla="*/ 165 h 416"/>
                  <a:gd name="T38" fmla="*/ 1758 w 6038"/>
                  <a:gd name="T39" fmla="*/ 167 h 416"/>
                  <a:gd name="T40" fmla="*/ 1491 w 6038"/>
                  <a:gd name="T41" fmla="*/ 159 h 416"/>
                  <a:gd name="T42" fmla="*/ 1236 w 6038"/>
                  <a:gd name="T43" fmla="*/ 140 h 416"/>
                  <a:gd name="T44" fmla="*/ 993 w 6038"/>
                  <a:gd name="T45" fmla="*/ 113 h 416"/>
                  <a:gd name="T46" fmla="*/ 787 w 6038"/>
                  <a:gd name="T47" fmla="*/ 89 h 416"/>
                  <a:gd name="T48" fmla="*/ 603 w 6038"/>
                  <a:gd name="T49" fmla="*/ 70 h 416"/>
                  <a:gd name="T50" fmla="*/ 429 w 6038"/>
                  <a:gd name="T51" fmla="*/ 58 h 416"/>
                  <a:gd name="T52" fmla="*/ 265 w 6038"/>
                  <a:gd name="T53" fmla="*/ 57 h 416"/>
                  <a:gd name="T54" fmla="*/ 113 w 6038"/>
                  <a:gd name="T55" fmla="*/ 71 h 416"/>
                  <a:gd name="T56" fmla="*/ 40 w 6038"/>
                  <a:gd name="T57" fmla="*/ 84 h 416"/>
                  <a:gd name="T58" fmla="*/ 6 w 6038"/>
                  <a:gd name="T59" fmla="*/ 88 h 416"/>
                  <a:gd name="T60" fmla="*/ 0 w 6038"/>
                  <a:gd name="T61" fmla="*/ 74 h 416"/>
                  <a:gd name="T62" fmla="*/ 10 w 6038"/>
                  <a:gd name="T63" fmla="*/ 63 h 416"/>
                  <a:gd name="T64" fmla="*/ 83 w 6038"/>
                  <a:gd name="T65" fmla="*/ 48 h 416"/>
                  <a:gd name="T66" fmla="*/ 210 w 6038"/>
                  <a:gd name="T67" fmla="*/ 33 h 416"/>
                  <a:gd name="T68" fmla="*/ 372 w 6038"/>
                  <a:gd name="T69" fmla="*/ 29 h 416"/>
                  <a:gd name="T70" fmla="*/ 544 w 6038"/>
                  <a:gd name="T71" fmla="*/ 37 h 416"/>
                  <a:gd name="T72" fmla="*/ 726 w 6038"/>
                  <a:gd name="T73" fmla="*/ 55 h 416"/>
                  <a:gd name="T74" fmla="*/ 919 w 6038"/>
                  <a:gd name="T75" fmla="*/ 77 h 416"/>
                  <a:gd name="T76" fmla="*/ 1156 w 6038"/>
                  <a:gd name="T77" fmla="*/ 104 h 416"/>
                  <a:gd name="T78" fmla="*/ 1405 w 6038"/>
                  <a:gd name="T79" fmla="*/ 127 h 416"/>
                  <a:gd name="T80" fmla="*/ 1667 w 6038"/>
                  <a:gd name="T81" fmla="*/ 140 h 416"/>
                  <a:gd name="T82" fmla="*/ 1848 w 6038"/>
                  <a:gd name="T83" fmla="*/ 139 h 416"/>
                  <a:gd name="T84" fmla="*/ 1988 w 6038"/>
                  <a:gd name="T85" fmla="*/ 133 h 416"/>
                  <a:gd name="T86" fmla="*/ 2131 w 6038"/>
                  <a:gd name="T87" fmla="*/ 121 h 416"/>
                  <a:gd name="T88" fmla="*/ 2277 w 6038"/>
                  <a:gd name="T89" fmla="*/ 103 h 416"/>
                  <a:gd name="T90" fmla="*/ 2493 w 6038"/>
                  <a:gd name="T91" fmla="*/ 71 h 416"/>
                  <a:gd name="T92" fmla="*/ 2751 w 6038"/>
                  <a:gd name="T93" fmla="*/ 41 h 416"/>
                  <a:gd name="T94" fmla="*/ 3012 w 6038"/>
                  <a:gd name="T95" fmla="*/ 18 h 416"/>
                  <a:gd name="T96" fmla="*/ 3274 w 6038"/>
                  <a:gd name="T97" fmla="*/ 4 h 416"/>
                  <a:gd name="T98" fmla="*/ 3528 w 6038"/>
                  <a:gd name="T99" fmla="*/ 0 h 416"/>
                  <a:gd name="T100" fmla="*/ 3771 w 6038"/>
                  <a:gd name="T101" fmla="*/ 4 h 416"/>
                  <a:gd name="T102" fmla="*/ 3997 w 6038"/>
                  <a:gd name="T103" fmla="*/ 20 h 416"/>
                  <a:gd name="T104" fmla="*/ 4201 w 6038"/>
                  <a:gd name="T105" fmla="*/ 46 h 416"/>
                  <a:gd name="T106" fmla="*/ 4377 w 6038"/>
                  <a:gd name="T107" fmla="*/ 84 h 416"/>
                  <a:gd name="T108" fmla="*/ 4521 w 6038"/>
                  <a:gd name="T109" fmla="*/ 133 h 416"/>
                  <a:gd name="T110" fmla="*/ 4625 w 6038"/>
                  <a:gd name="T111" fmla="*/ 195 h 416"/>
                  <a:gd name="T112" fmla="*/ 4670 w 6038"/>
                  <a:gd name="T113" fmla="*/ 241 h 416"/>
                  <a:gd name="T114" fmla="*/ 4697 w 6038"/>
                  <a:gd name="T115" fmla="*/ 291 h 416"/>
                  <a:gd name="T116" fmla="*/ 6025 w 6038"/>
                  <a:gd name="T117" fmla="*/ 389 h 416"/>
                  <a:gd name="T118" fmla="*/ 6037 w 6038"/>
                  <a:gd name="T119" fmla="*/ 398 h 416"/>
                  <a:gd name="T120" fmla="*/ 6034 w 6038"/>
                  <a:gd name="T121" fmla="*/ 41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038" h="416">
                    <a:moveTo>
                      <a:pt x="6024" y="416"/>
                    </a:moveTo>
                    <a:lnTo>
                      <a:pt x="6024" y="416"/>
                    </a:lnTo>
                    <a:lnTo>
                      <a:pt x="6024" y="416"/>
                    </a:lnTo>
                    <a:lnTo>
                      <a:pt x="4691" y="354"/>
                    </a:lnTo>
                    <a:lnTo>
                      <a:pt x="4687" y="352"/>
                    </a:lnTo>
                    <a:lnTo>
                      <a:pt x="4683" y="349"/>
                    </a:lnTo>
                    <a:lnTo>
                      <a:pt x="4679" y="345"/>
                    </a:lnTo>
                    <a:lnTo>
                      <a:pt x="4678" y="341"/>
                    </a:lnTo>
                    <a:lnTo>
                      <a:pt x="4677" y="323"/>
                    </a:lnTo>
                    <a:lnTo>
                      <a:pt x="4673" y="307"/>
                    </a:lnTo>
                    <a:lnTo>
                      <a:pt x="4668" y="291"/>
                    </a:lnTo>
                    <a:lnTo>
                      <a:pt x="4660" y="275"/>
                    </a:lnTo>
                    <a:lnTo>
                      <a:pt x="4649" y="260"/>
                    </a:lnTo>
                    <a:lnTo>
                      <a:pt x="4637" y="245"/>
                    </a:lnTo>
                    <a:lnTo>
                      <a:pt x="4624" y="231"/>
                    </a:lnTo>
                    <a:lnTo>
                      <a:pt x="4608" y="216"/>
                    </a:lnTo>
                    <a:lnTo>
                      <a:pt x="4578" y="195"/>
                    </a:lnTo>
                    <a:lnTo>
                      <a:pt x="4545" y="174"/>
                    </a:lnTo>
                    <a:lnTo>
                      <a:pt x="4506" y="156"/>
                    </a:lnTo>
                    <a:lnTo>
                      <a:pt x="4462" y="138"/>
                    </a:lnTo>
                    <a:lnTo>
                      <a:pt x="4415" y="121"/>
                    </a:lnTo>
                    <a:lnTo>
                      <a:pt x="4364" y="107"/>
                    </a:lnTo>
                    <a:lnTo>
                      <a:pt x="4309" y="93"/>
                    </a:lnTo>
                    <a:lnTo>
                      <a:pt x="4251" y="82"/>
                    </a:lnTo>
                    <a:lnTo>
                      <a:pt x="4189" y="71"/>
                    </a:lnTo>
                    <a:lnTo>
                      <a:pt x="4126" y="61"/>
                    </a:lnTo>
                    <a:lnTo>
                      <a:pt x="4058" y="52"/>
                    </a:lnTo>
                    <a:lnTo>
                      <a:pt x="3988" y="45"/>
                    </a:lnTo>
                    <a:lnTo>
                      <a:pt x="3916" y="38"/>
                    </a:lnTo>
                    <a:lnTo>
                      <a:pt x="3840" y="34"/>
                    </a:lnTo>
                    <a:lnTo>
                      <a:pt x="3764" y="30"/>
                    </a:lnTo>
                    <a:lnTo>
                      <a:pt x="3685" y="28"/>
                    </a:lnTo>
                    <a:lnTo>
                      <a:pt x="3605" y="25"/>
                    </a:lnTo>
                    <a:lnTo>
                      <a:pt x="3523" y="25"/>
                    </a:lnTo>
                    <a:lnTo>
                      <a:pt x="3440" y="25"/>
                    </a:lnTo>
                    <a:lnTo>
                      <a:pt x="3356" y="28"/>
                    </a:lnTo>
                    <a:lnTo>
                      <a:pt x="3270" y="31"/>
                    </a:lnTo>
                    <a:lnTo>
                      <a:pt x="3185" y="34"/>
                    </a:lnTo>
                    <a:lnTo>
                      <a:pt x="3099" y="38"/>
                    </a:lnTo>
                    <a:lnTo>
                      <a:pt x="3011" y="45"/>
                    </a:lnTo>
                    <a:lnTo>
                      <a:pt x="2925" y="51"/>
                    </a:lnTo>
                    <a:lnTo>
                      <a:pt x="2838" y="59"/>
                    </a:lnTo>
                    <a:lnTo>
                      <a:pt x="2752" y="66"/>
                    </a:lnTo>
                    <a:lnTo>
                      <a:pt x="2666" y="76"/>
                    </a:lnTo>
                    <a:lnTo>
                      <a:pt x="2580" y="87"/>
                    </a:lnTo>
                    <a:lnTo>
                      <a:pt x="2496" y="98"/>
                    </a:lnTo>
                    <a:lnTo>
                      <a:pt x="2413" y="110"/>
                    </a:lnTo>
                    <a:lnTo>
                      <a:pt x="2331" y="123"/>
                    </a:lnTo>
                    <a:lnTo>
                      <a:pt x="2281" y="130"/>
                    </a:lnTo>
                    <a:lnTo>
                      <a:pt x="2232" y="137"/>
                    </a:lnTo>
                    <a:lnTo>
                      <a:pt x="2183" y="143"/>
                    </a:lnTo>
                    <a:lnTo>
                      <a:pt x="2134" y="148"/>
                    </a:lnTo>
                    <a:lnTo>
                      <a:pt x="2086" y="153"/>
                    </a:lnTo>
                    <a:lnTo>
                      <a:pt x="2037" y="157"/>
                    </a:lnTo>
                    <a:lnTo>
                      <a:pt x="1990" y="160"/>
                    </a:lnTo>
                    <a:lnTo>
                      <a:pt x="1943" y="163"/>
                    </a:lnTo>
                    <a:lnTo>
                      <a:pt x="1896" y="165"/>
                    </a:lnTo>
                    <a:lnTo>
                      <a:pt x="1849" y="166"/>
                    </a:lnTo>
                    <a:lnTo>
                      <a:pt x="1804" y="167"/>
                    </a:lnTo>
                    <a:lnTo>
                      <a:pt x="1758" y="167"/>
                    </a:lnTo>
                    <a:lnTo>
                      <a:pt x="1667" y="167"/>
                    </a:lnTo>
                    <a:lnTo>
                      <a:pt x="1578" y="164"/>
                    </a:lnTo>
                    <a:lnTo>
                      <a:pt x="1491" y="159"/>
                    </a:lnTo>
                    <a:lnTo>
                      <a:pt x="1404" y="154"/>
                    </a:lnTo>
                    <a:lnTo>
                      <a:pt x="1319" y="147"/>
                    </a:lnTo>
                    <a:lnTo>
                      <a:pt x="1236" y="140"/>
                    </a:lnTo>
                    <a:lnTo>
                      <a:pt x="1154" y="131"/>
                    </a:lnTo>
                    <a:lnTo>
                      <a:pt x="1073" y="123"/>
                    </a:lnTo>
                    <a:lnTo>
                      <a:pt x="993" y="113"/>
                    </a:lnTo>
                    <a:lnTo>
                      <a:pt x="915" y="104"/>
                    </a:lnTo>
                    <a:lnTo>
                      <a:pt x="850" y="97"/>
                    </a:lnTo>
                    <a:lnTo>
                      <a:pt x="787" y="89"/>
                    </a:lnTo>
                    <a:lnTo>
                      <a:pt x="724" y="82"/>
                    </a:lnTo>
                    <a:lnTo>
                      <a:pt x="663" y="75"/>
                    </a:lnTo>
                    <a:lnTo>
                      <a:pt x="603" y="70"/>
                    </a:lnTo>
                    <a:lnTo>
                      <a:pt x="544" y="64"/>
                    </a:lnTo>
                    <a:lnTo>
                      <a:pt x="485" y="61"/>
                    </a:lnTo>
                    <a:lnTo>
                      <a:pt x="429" y="58"/>
                    </a:lnTo>
                    <a:lnTo>
                      <a:pt x="373" y="56"/>
                    </a:lnTo>
                    <a:lnTo>
                      <a:pt x="319" y="56"/>
                    </a:lnTo>
                    <a:lnTo>
                      <a:pt x="265" y="57"/>
                    </a:lnTo>
                    <a:lnTo>
                      <a:pt x="213" y="60"/>
                    </a:lnTo>
                    <a:lnTo>
                      <a:pt x="163" y="64"/>
                    </a:lnTo>
                    <a:lnTo>
                      <a:pt x="113" y="71"/>
                    </a:lnTo>
                    <a:lnTo>
                      <a:pt x="88" y="74"/>
                    </a:lnTo>
                    <a:lnTo>
                      <a:pt x="64" y="78"/>
                    </a:lnTo>
                    <a:lnTo>
                      <a:pt x="40" y="84"/>
                    </a:lnTo>
                    <a:lnTo>
                      <a:pt x="17" y="89"/>
                    </a:lnTo>
                    <a:lnTo>
                      <a:pt x="11" y="89"/>
                    </a:lnTo>
                    <a:lnTo>
                      <a:pt x="6" y="88"/>
                    </a:lnTo>
                    <a:lnTo>
                      <a:pt x="3" y="85"/>
                    </a:lnTo>
                    <a:lnTo>
                      <a:pt x="0" y="79"/>
                    </a:lnTo>
                    <a:lnTo>
                      <a:pt x="0" y="74"/>
                    </a:lnTo>
                    <a:lnTo>
                      <a:pt x="2" y="70"/>
                    </a:lnTo>
                    <a:lnTo>
                      <a:pt x="5" y="65"/>
                    </a:lnTo>
                    <a:lnTo>
                      <a:pt x="10" y="63"/>
                    </a:lnTo>
                    <a:lnTo>
                      <a:pt x="34" y="58"/>
                    </a:lnTo>
                    <a:lnTo>
                      <a:pt x="58" y="52"/>
                    </a:lnTo>
                    <a:lnTo>
                      <a:pt x="83" y="48"/>
                    </a:lnTo>
                    <a:lnTo>
                      <a:pt x="108" y="44"/>
                    </a:lnTo>
                    <a:lnTo>
                      <a:pt x="158" y="37"/>
                    </a:lnTo>
                    <a:lnTo>
                      <a:pt x="210" y="33"/>
                    </a:lnTo>
                    <a:lnTo>
                      <a:pt x="263" y="30"/>
                    </a:lnTo>
                    <a:lnTo>
                      <a:pt x="317" y="29"/>
                    </a:lnTo>
                    <a:lnTo>
                      <a:pt x="372" y="29"/>
                    </a:lnTo>
                    <a:lnTo>
                      <a:pt x="428" y="31"/>
                    </a:lnTo>
                    <a:lnTo>
                      <a:pt x="485" y="34"/>
                    </a:lnTo>
                    <a:lnTo>
                      <a:pt x="544" y="37"/>
                    </a:lnTo>
                    <a:lnTo>
                      <a:pt x="603" y="43"/>
                    </a:lnTo>
                    <a:lnTo>
                      <a:pt x="665" y="48"/>
                    </a:lnTo>
                    <a:lnTo>
                      <a:pt x="726" y="55"/>
                    </a:lnTo>
                    <a:lnTo>
                      <a:pt x="789" y="62"/>
                    </a:lnTo>
                    <a:lnTo>
                      <a:pt x="854" y="70"/>
                    </a:lnTo>
                    <a:lnTo>
                      <a:pt x="919" y="77"/>
                    </a:lnTo>
                    <a:lnTo>
                      <a:pt x="996" y="86"/>
                    </a:lnTo>
                    <a:lnTo>
                      <a:pt x="1075" y="96"/>
                    </a:lnTo>
                    <a:lnTo>
                      <a:pt x="1156" y="104"/>
                    </a:lnTo>
                    <a:lnTo>
                      <a:pt x="1238" y="113"/>
                    </a:lnTo>
                    <a:lnTo>
                      <a:pt x="1321" y="120"/>
                    </a:lnTo>
                    <a:lnTo>
                      <a:pt x="1405" y="127"/>
                    </a:lnTo>
                    <a:lnTo>
                      <a:pt x="1491" y="132"/>
                    </a:lnTo>
                    <a:lnTo>
                      <a:pt x="1578" y="137"/>
                    </a:lnTo>
                    <a:lnTo>
                      <a:pt x="1667" y="140"/>
                    </a:lnTo>
                    <a:lnTo>
                      <a:pt x="1758" y="140"/>
                    </a:lnTo>
                    <a:lnTo>
                      <a:pt x="1803" y="140"/>
                    </a:lnTo>
                    <a:lnTo>
                      <a:pt x="1848" y="139"/>
                    </a:lnTo>
                    <a:lnTo>
                      <a:pt x="1895" y="138"/>
                    </a:lnTo>
                    <a:lnTo>
                      <a:pt x="1941" y="136"/>
                    </a:lnTo>
                    <a:lnTo>
                      <a:pt x="1988" y="133"/>
                    </a:lnTo>
                    <a:lnTo>
                      <a:pt x="2035" y="130"/>
                    </a:lnTo>
                    <a:lnTo>
                      <a:pt x="2083" y="126"/>
                    </a:lnTo>
                    <a:lnTo>
                      <a:pt x="2131" y="121"/>
                    </a:lnTo>
                    <a:lnTo>
                      <a:pt x="2180" y="116"/>
                    </a:lnTo>
                    <a:lnTo>
                      <a:pt x="2228" y="110"/>
                    </a:lnTo>
                    <a:lnTo>
                      <a:pt x="2277" y="103"/>
                    </a:lnTo>
                    <a:lnTo>
                      <a:pt x="2327" y="96"/>
                    </a:lnTo>
                    <a:lnTo>
                      <a:pt x="2409" y="83"/>
                    </a:lnTo>
                    <a:lnTo>
                      <a:pt x="2493" y="71"/>
                    </a:lnTo>
                    <a:lnTo>
                      <a:pt x="2578" y="60"/>
                    </a:lnTo>
                    <a:lnTo>
                      <a:pt x="2663" y="49"/>
                    </a:lnTo>
                    <a:lnTo>
                      <a:pt x="2751" y="41"/>
                    </a:lnTo>
                    <a:lnTo>
                      <a:pt x="2837" y="32"/>
                    </a:lnTo>
                    <a:lnTo>
                      <a:pt x="2925" y="24"/>
                    </a:lnTo>
                    <a:lnTo>
                      <a:pt x="3012" y="18"/>
                    </a:lnTo>
                    <a:lnTo>
                      <a:pt x="3100" y="11"/>
                    </a:lnTo>
                    <a:lnTo>
                      <a:pt x="3187" y="7"/>
                    </a:lnTo>
                    <a:lnTo>
                      <a:pt x="3274" y="4"/>
                    </a:lnTo>
                    <a:lnTo>
                      <a:pt x="3359" y="1"/>
                    </a:lnTo>
                    <a:lnTo>
                      <a:pt x="3444" y="0"/>
                    </a:lnTo>
                    <a:lnTo>
                      <a:pt x="3528" y="0"/>
                    </a:lnTo>
                    <a:lnTo>
                      <a:pt x="3610" y="0"/>
                    </a:lnTo>
                    <a:lnTo>
                      <a:pt x="3691" y="2"/>
                    </a:lnTo>
                    <a:lnTo>
                      <a:pt x="3771" y="4"/>
                    </a:lnTo>
                    <a:lnTo>
                      <a:pt x="3849" y="8"/>
                    </a:lnTo>
                    <a:lnTo>
                      <a:pt x="3924" y="14"/>
                    </a:lnTo>
                    <a:lnTo>
                      <a:pt x="3997" y="20"/>
                    </a:lnTo>
                    <a:lnTo>
                      <a:pt x="4068" y="28"/>
                    </a:lnTo>
                    <a:lnTo>
                      <a:pt x="4136" y="36"/>
                    </a:lnTo>
                    <a:lnTo>
                      <a:pt x="4201" y="46"/>
                    </a:lnTo>
                    <a:lnTo>
                      <a:pt x="4264" y="58"/>
                    </a:lnTo>
                    <a:lnTo>
                      <a:pt x="4322" y="70"/>
                    </a:lnTo>
                    <a:lnTo>
                      <a:pt x="4377" y="84"/>
                    </a:lnTo>
                    <a:lnTo>
                      <a:pt x="4429" y="99"/>
                    </a:lnTo>
                    <a:lnTo>
                      <a:pt x="4476" y="115"/>
                    </a:lnTo>
                    <a:lnTo>
                      <a:pt x="4521" y="133"/>
                    </a:lnTo>
                    <a:lnTo>
                      <a:pt x="4560" y="153"/>
                    </a:lnTo>
                    <a:lnTo>
                      <a:pt x="4595" y="173"/>
                    </a:lnTo>
                    <a:lnTo>
                      <a:pt x="4625" y="195"/>
                    </a:lnTo>
                    <a:lnTo>
                      <a:pt x="4642" y="210"/>
                    </a:lnTo>
                    <a:lnTo>
                      <a:pt x="4657" y="225"/>
                    </a:lnTo>
                    <a:lnTo>
                      <a:pt x="4670" y="241"/>
                    </a:lnTo>
                    <a:lnTo>
                      <a:pt x="4681" y="257"/>
                    </a:lnTo>
                    <a:lnTo>
                      <a:pt x="4689" y="274"/>
                    </a:lnTo>
                    <a:lnTo>
                      <a:pt x="4697" y="291"/>
                    </a:lnTo>
                    <a:lnTo>
                      <a:pt x="4702" y="309"/>
                    </a:lnTo>
                    <a:lnTo>
                      <a:pt x="4705" y="327"/>
                    </a:lnTo>
                    <a:lnTo>
                      <a:pt x="6025" y="389"/>
                    </a:lnTo>
                    <a:lnTo>
                      <a:pt x="6030" y="390"/>
                    </a:lnTo>
                    <a:lnTo>
                      <a:pt x="6035" y="394"/>
                    </a:lnTo>
                    <a:lnTo>
                      <a:pt x="6037" y="398"/>
                    </a:lnTo>
                    <a:lnTo>
                      <a:pt x="6038" y="403"/>
                    </a:lnTo>
                    <a:lnTo>
                      <a:pt x="6037" y="408"/>
                    </a:lnTo>
                    <a:lnTo>
                      <a:pt x="6034" y="412"/>
                    </a:lnTo>
                    <a:lnTo>
                      <a:pt x="6029" y="415"/>
                    </a:lnTo>
                    <a:lnTo>
                      <a:pt x="6024" y="4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41"/>
              <p:cNvSpPr>
                <a:spLocks/>
              </p:cNvSpPr>
              <p:nvPr userDrawn="1"/>
            </p:nvSpPr>
            <p:spPr bwMode="auto">
              <a:xfrm>
                <a:off x="1420" y="1496"/>
                <a:ext cx="1222" cy="1836"/>
              </a:xfrm>
              <a:custGeom>
                <a:avLst/>
                <a:gdLst>
                  <a:gd name="T0" fmla="*/ 3399 w 3665"/>
                  <a:gd name="T1" fmla="*/ 5381 h 5510"/>
                  <a:gd name="T2" fmla="*/ 2643 w 3665"/>
                  <a:gd name="T3" fmla="*/ 5233 h 5510"/>
                  <a:gd name="T4" fmla="*/ 1703 w 3665"/>
                  <a:gd name="T5" fmla="*/ 5161 h 5510"/>
                  <a:gd name="T6" fmla="*/ 852 w 3665"/>
                  <a:gd name="T7" fmla="*/ 5143 h 5510"/>
                  <a:gd name="T8" fmla="*/ 366 w 3665"/>
                  <a:gd name="T9" fmla="*/ 5157 h 5510"/>
                  <a:gd name="T10" fmla="*/ 207 w 3665"/>
                  <a:gd name="T11" fmla="*/ 5122 h 5510"/>
                  <a:gd name="T12" fmla="*/ 106 w 3665"/>
                  <a:gd name="T13" fmla="*/ 4999 h 5510"/>
                  <a:gd name="T14" fmla="*/ 45 w 3665"/>
                  <a:gd name="T15" fmla="*/ 4824 h 5510"/>
                  <a:gd name="T16" fmla="*/ 0 w 3665"/>
                  <a:gd name="T17" fmla="*/ 4529 h 5510"/>
                  <a:gd name="T18" fmla="*/ 20 w 3665"/>
                  <a:gd name="T19" fmla="*/ 4485 h 5510"/>
                  <a:gd name="T20" fmla="*/ 121 w 3665"/>
                  <a:gd name="T21" fmla="*/ 4445 h 5510"/>
                  <a:gd name="T22" fmla="*/ 324 w 3665"/>
                  <a:gd name="T23" fmla="*/ 4388 h 5510"/>
                  <a:gd name="T24" fmla="*/ 679 w 3665"/>
                  <a:gd name="T25" fmla="*/ 4282 h 5510"/>
                  <a:gd name="T26" fmla="*/ 961 w 3665"/>
                  <a:gd name="T27" fmla="*/ 4146 h 5510"/>
                  <a:gd name="T28" fmla="*/ 1106 w 3665"/>
                  <a:gd name="T29" fmla="*/ 4026 h 5510"/>
                  <a:gd name="T30" fmla="*/ 1206 w 3665"/>
                  <a:gd name="T31" fmla="*/ 3801 h 5510"/>
                  <a:gd name="T32" fmla="*/ 1221 w 3665"/>
                  <a:gd name="T33" fmla="*/ 3515 h 5510"/>
                  <a:gd name="T34" fmla="*/ 1159 w 3665"/>
                  <a:gd name="T35" fmla="*/ 3348 h 5510"/>
                  <a:gd name="T36" fmla="*/ 927 w 3665"/>
                  <a:gd name="T37" fmla="*/ 3044 h 5510"/>
                  <a:gd name="T38" fmla="*/ 682 w 3665"/>
                  <a:gd name="T39" fmla="*/ 2714 h 5510"/>
                  <a:gd name="T40" fmla="*/ 552 w 3665"/>
                  <a:gd name="T41" fmla="*/ 2476 h 5510"/>
                  <a:gd name="T42" fmla="*/ 487 w 3665"/>
                  <a:gd name="T43" fmla="*/ 2282 h 5510"/>
                  <a:gd name="T44" fmla="*/ 408 w 3665"/>
                  <a:gd name="T45" fmla="*/ 1946 h 5510"/>
                  <a:gd name="T46" fmla="*/ 334 w 3665"/>
                  <a:gd name="T47" fmla="*/ 1532 h 5510"/>
                  <a:gd name="T48" fmla="*/ 330 w 3665"/>
                  <a:gd name="T49" fmla="*/ 1121 h 5510"/>
                  <a:gd name="T50" fmla="*/ 424 w 3665"/>
                  <a:gd name="T51" fmla="*/ 786 h 5510"/>
                  <a:gd name="T52" fmla="*/ 602 w 3665"/>
                  <a:gd name="T53" fmla="*/ 487 h 5510"/>
                  <a:gd name="T54" fmla="*/ 850 w 3665"/>
                  <a:gd name="T55" fmla="*/ 238 h 5510"/>
                  <a:gd name="T56" fmla="*/ 1156 w 3665"/>
                  <a:gd name="T57" fmla="*/ 55 h 5510"/>
                  <a:gd name="T58" fmla="*/ 1318 w 3665"/>
                  <a:gd name="T59" fmla="*/ 10 h 5510"/>
                  <a:gd name="T60" fmla="*/ 1167 w 3665"/>
                  <a:gd name="T61" fmla="*/ 80 h 5510"/>
                  <a:gd name="T62" fmla="*/ 867 w 3665"/>
                  <a:gd name="T63" fmla="*/ 259 h 5510"/>
                  <a:gd name="T64" fmla="*/ 624 w 3665"/>
                  <a:gd name="T65" fmla="*/ 503 h 5510"/>
                  <a:gd name="T66" fmla="*/ 449 w 3665"/>
                  <a:gd name="T67" fmla="*/ 796 h 5510"/>
                  <a:gd name="T68" fmla="*/ 357 w 3665"/>
                  <a:gd name="T69" fmla="*/ 1124 h 5510"/>
                  <a:gd name="T70" fmla="*/ 361 w 3665"/>
                  <a:gd name="T71" fmla="*/ 1531 h 5510"/>
                  <a:gd name="T72" fmla="*/ 434 w 3665"/>
                  <a:gd name="T73" fmla="*/ 1942 h 5510"/>
                  <a:gd name="T74" fmla="*/ 513 w 3665"/>
                  <a:gd name="T75" fmla="*/ 2277 h 5510"/>
                  <a:gd name="T76" fmla="*/ 578 w 3665"/>
                  <a:gd name="T77" fmla="*/ 2467 h 5510"/>
                  <a:gd name="T78" fmla="*/ 706 w 3665"/>
                  <a:gd name="T79" fmla="*/ 2701 h 5510"/>
                  <a:gd name="T80" fmla="*/ 949 w 3665"/>
                  <a:gd name="T81" fmla="*/ 3027 h 5510"/>
                  <a:gd name="T82" fmla="*/ 1183 w 3665"/>
                  <a:gd name="T83" fmla="*/ 3336 h 5510"/>
                  <a:gd name="T84" fmla="*/ 1247 w 3665"/>
                  <a:gd name="T85" fmla="*/ 3513 h 5510"/>
                  <a:gd name="T86" fmla="*/ 1232 w 3665"/>
                  <a:gd name="T87" fmla="*/ 3809 h 5510"/>
                  <a:gd name="T88" fmla="*/ 1156 w 3665"/>
                  <a:gd name="T89" fmla="*/ 3997 h 5510"/>
                  <a:gd name="T90" fmla="*/ 1064 w 3665"/>
                  <a:gd name="T91" fmla="*/ 4107 h 5510"/>
                  <a:gd name="T92" fmla="*/ 909 w 3665"/>
                  <a:gd name="T93" fmla="*/ 4209 h 5510"/>
                  <a:gd name="T94" fmla="*/ 640 w 3665"/>
                  <a:gd name="T95" fmla="*/ 4325 h 5510"/>
                  <a:gd name="T96" fmla="*/ 302 w 3665"/>
                  <a:gd name="T97" fmla="*/ 4423 h 5510"/>
                  <a:gd name="T98" fmla="*/ 98 w 3665"/>
                  <a:gd name="T99" fmla="*/ 4481 h 5510"/>
                  <a:gd name="T100" fmla="*/ 42 w 3665"/>
                  <a:gd name="T101" fmla="*/ 4502 h 5510"/>
                  <a:gd name="T102" fmla="*/ 32 w 3665"/>
                  <a:gd name="T103" fmla="*/ 4574 h 5510"/>
                  <a:gd name="T104" fmla="*/ 90 w 3665"/>
                  <a:gd name="T105" fmla="*/ 4885 h 5510"/>
                  <a:gd name="T106" fmla="*/ 160 w 3665"/>
                  <a:gd name="T107" fmla="*/ 5036 h 5510"/>
                  <a:gd name="T108" fmla="*/ 273 w 3665"/>
                  <a:gd name="T109" fmla="*/ 5122 h 5510"/>
                  <a:gd name="T110" fmla="*/ 510 w 3665"/>
                  <a:gd name="T111" fmla="*/ 5121 h 5510"/>
                  <a:gd name="T112" fmla="*/ 1190 w 3665"/>
                  <a:gd name="T113" fmla="*/ 5119 h 5510"/>
                  <a:gd name="T114" fmla="*/ 2119 w 3665"/>
                  <a:gd name="T115" fmla="*/ 5160 h 5510"/>
                  <a:gd name="T116" fmla="*/ 3019 w 3665"/>
                  <a:gd name="T117" fmla="*/ 5264 h 5510"/>
                  <a:gd name="T118" fmla="*/ 3616 w 3665"/>
                  <a:gd name="T119" fmla="*/ 5452 h 5510"/>
                  <a:gd name="T120" fmla="*/ 3657 w 3665"/>
                  <a:gd name="T121" fmla="*/ 5509 h 5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65" h="5510">
                    <a:moveTo>
                      <a:pt x="3652" y="5510"/>
                    </a:moveTo>
                    <a:lnTo>
                      <a:pt x="3646" y="5509"/>
                    </a:lnTo>
                    <a:lnTo>
                      <a:pt x="3642" y="5507"/>
                    </a:lnTo>
                    <a:lnTo>
                      <a:pt x="3598" y="5472"/>
                    </a:lnTo>
                    <a:lnTo>
                      <a:pt x="3543" y="5440"/>
                    </a:lnTo>
                    <a:lnTo>
                      <a:pt x="3476" y="5409"/>
                    </a:lnTo>
                    <a:lnTo>
                      <a:pt x="3399" y="5381"/>
                    </a:lnTo>
                    <a:lnTo>
                      <a:pt x="3313" y="5354"/>
                    </a:lnTo>
                    <a:lnTo>
                      <a:pt x="3219" y="5330"/>
                    </a:lnTo>
                    <a:lnTo>
                      <a:pt x="3116" y="5308"/>
                    </a:lnTo>
                    <a:lnTo>
                      <a:pt x="3006" y="5286"/>
                    </a:lnTo>
                    <a:lnTo>
                      <a:pt x="2891" y="5267"/>
                    </a:lnTo>
                    <a:lnTo>
                      <a:pt x="2770" y="5250"/>
                    </a:lnTo>
                    <a:lnTo>
                      <a:pt x="2643" y="5233"/>
                    </a:lnTo>
                    <a:lnTo>
                      <a:pt x="2515" y="5219"/>
                    </a:lnTo>
                    <a:lnTo>
                      <a:pt x="2382" y="5206"/>
                    </a:lnTo>
                    <a:lnTo>
                      <a:pt x="2247" y="5195"/>
                    </a:lnTo>
                    <a:lnTo>
                      <a:pt x="2111" y="5185"/>
                    </a:lnTo>
                    <a:lnTo>
                      <a:pt x="1975" y="5176"/>
                    </a:lnTo>
                    <a:lnTo>
                      <a:pt x="1839" y="5168"/>
                    </a:lnTo>
                    <a:lnTo>
                      <a:pt x="1703" y="5161"/>
                    </a:lnTo>
                    <a:lnTo>
                      <a:pt x="1570" y="5156"/>
                    </a:lnTo>
                    <a:lnTo>
                      <a:pt x="1439" y="5151"/>
                    </a:lnTo>
                    <a:lnTo>
                      <a:pt x="1312" y="5148"/>
                    </a:lnTo>
                    <a:lnTo>
                      <a:pt x="1189" y="5145"/>
                    </a:lnTo>
                    <a:lnTo>
                      <a:pt x="1070" y="5144"/>
                    </a:lnTo>
                    <a:lnTo>
                      <a:pt x="958" y="5143"/>
                    </a:lnTo>
                    <a:lnTo>
                      <a:pt x="852" y="5143"/>
                    </a:lnTo>
                    <a:lnTo>
                      <a:pt x="754" y="5143"/>
                    </a:lnTo>
                    <a:lnTo>
                      <a:pt x="664" y="5144"/>
                    </a:lnTo>
                    <a:lnTo>
                      <a:pt x="583" y="5146"/>
                    </a:lnTo>
                    <a:lnTo>
                      <a:pt x="512" y="5148"/>
                    </a:lnTo>
                    <a:lnTo>
                      <a:pt x="451" y="5150"/>
                    </a:lnTo>
                    <a:lnTo>
                      <a:pt x="403" y="5154"/>
                    </a:lnTo>
                    <a:lnTo>
                      <a:pt x="366" y="5157"/>
                    </a:lnTo>
                    <a:lnTo>
                      <a:pt x="339" y="5158"/>
                    </a:lnTo>
                    <a:lnTo>
                      <a:pt x="314" y="5158"/>
                    </a:lnTo>
                    <a:lnTo>
                      <a:pt x="290" y="5155"/>
                    </a:lnTo>
                    <a:lnTo>
                      <a:pt x="268" y="5149"/>
                    </a:lnTo>
                    <a:lnTo>
                      <a:pt x="246" y="5142"/>
                    </a:lnTo>
                    <a:lnTo>
                      <a:pt x="227" y="5133"/>
                    </a:lnTo>
                    <a:lnTo>
                      <a:pt x="207" y="5122"/>
                    </a:lnTo>
                    <a:lnTo>
                      <a:pt x="190" y="5109"/>
                    </a:lnTo>
                    <a:lnTo>
                      <a:pt x="173" y="5094"/>
                    </a:lnTo>
                    <a:lnTo>
                      <a:pt x="158" y="5078"/>
                    </a:lnTo>
                    <a:lnTo>
                      <a:pt x="144" y="5060"/>
                    </a:lnTo>
                    <a:lnTo>
                      <a:pt x="130" y="5041"/>
                    </a:lnTo>
                    <a:lnTo>
                      <a:pt x="117" y="5021"/>
                    </a:lnTo>
                    <a:lnTo>
                      <a:pt x="106" y="4999"/>
                    </a:lnTo>
                    <a:lnTo>
                      <a:pt x="95" y="4977"/>
                    </a:lnTo>
                    <a:lnTo>
                      <a:pt x="84" y="4953"/>
                    </a:lnTo>
                    <a:lnTo>
                      <a:pt x="76" y="4928"/>
                    </a:lnTo>
                    <a:lnTo>
                      <a:pt x="67" y="4903"/>
                    </a:lnTo>
                    <a:lnTo>
                      <a:pt x="59" y="4877"/>
                    </a:lnTo>
                    <a:lnTo>
                      <a:pt x="52" y="4851"/>
                    </a:lnTo>
                    <a:lnTo>
                      <a:pt x="45" y="4824"/>
                    </a:lnTo>
                    <a:lnTo>
                      <a:pt x="39" y="4797"/>
                    </a:lnTo>
                    <a:lnTo>
                      <a:pt x="33" y="4769"/>
                    </a:lnTo>
                    <a:lnTo>
                      <a:pt x="29" y="4742"/>
                    </a:lnTo>
                    <a:lnTo>
                      <a:pt x="19" y="4686"/>
                    </a:lnTo>
                    <a:lnTo>
                      <a:pt x="13" y="4632"/>
                    </a:lnTo>
                    <a:lnTo>
                      <a:pt x="6" y="4579"/>
                    </a:lnTo>
                    <a:lnTo>
                      <a:pt x="0" y="4529"/>
                    </a:lnTo>
                    <a:lnTo>
                      <a:pt x="0" y="4523"/>
                    </a:lnTo>
                    <a:lnTo>
                      <a:pt x="0" y="4517"/>
                    </a:lnTo>
                    <a:lnTo>
                      <a:pt x="2" y="4509"/>
                    </a:lnTo>
                    <a:lnTo>
                      <a:pt x="5" y="4503"/>
                    </a:lnTo>
                    <a:lnTo>
                      <a:pt x="10" y="4497"/>
                    </a:lnTo>
                    <a:lnTo>
                      <a:pt x="15" y="4491"/>
                    </a:lnTo>
                    <a:lnTo>
                      <a:pt x="20" y="4485"/>
                    </a:lnTo>
                    <a:lnTo>
                      <a:pt x="27" y="4480"/>
                    </a:lnTo>
                    <a:lnTo>
                      <a:pt x="33" y="4475"/>
                    </a:lnTo>
                    <a:lnTo>
                      <a:pt x="49" y="4467"/>
                    </a:lnTo>
                    <a:lnTo>
                      <a:pt x="64" y="4461"/>
                    </a:lnTo>
                    <a:lnTo>
                      <a:pt x="79" y="4456"/>
                    </a:lnTo>
                    <a:lnTo>
                      <a:pt x="92" y="4454"/>
                    </a:lnTo>
                    <a:lnTo>
                      <a:pt x="121" y="4445"/>
                    </a:lnTo>
                    <a:lnTo>
                      <a:pt x="150" y="4437"/>
                    </a:lnTo>
                    <a:lnTo>
                      <a:pt x="179" y="4428"/>
                    </a:lnTo>
                    <a:lnTo>
                      <a:pt x="208" y="4421"/>
                    </a:lnTo>
                    <a:lnTo>
                      <a:pt x="237" y="4412"/>
                    </a:lnTo>
                    <a:lnTo>
                      <a:pt x="267" y="4404"/>
                    </a:lnTo>
                    <a:lnTo>
                      <a:pt x="296" y="4397"/>
                    </a:lnTo>
                    <a:lnTo>
                      <a:pt x="324" y="4388"/>
                    </a:lnTo>
                    <a:lnTo>
                      <a:pt x="376" y="4375"/>
                    </a:lnTo>
                    <a:lnTo>
                      <a:pt x="426" y="4361"/>
                    </a:lnTo>
                    <a:lnTo>
                      <a:pt x="477" y="4346"/>
                    </a:lnTo>
                    <a:lnTo>
                      <a:pt x="528" y="4332"/>
                    </a:lnTo>
                    <a:lnTo>
                      <a:pt x="579" y="4316"/>
                    </a:lnTo>
                    <a:lnTo>
                      <a:pt x="629" y="4300"/>
                    </a:lnTo>
                    <a:lnTo>
                      <a:pt x="679" y="4282"/>
                    </a:lnTo>
                    <a:lnTo>
                      <a:pt x="729" y="4263"/>
                    </a:lnTo>
                    <a:lnTo>
                      <a:pt x="776" y="4244"/>
                    </a:lnTo>
                    <a:lnTo>
                      <a:pt x="824" y="4222"/>
                    </a:lnTo>
                    <a:lnTo>
                      <a:pt x="871" y="4199"/>
                    </a:lnTo>
                    <a:lnTo>
                      <a:pt x="917" y="4173"/>
                    </a:lnTo>
                    <a:lnTo>
                      <a:pt x="938" y="4160"/>
                    </a:lnTo>
                    <a:lnTo>
                      <a:pt x="961" y="4146"/>
                    </a:lnTo>
                    <a:lnTo>
                      <a:pt x="983" y="4132"/>
                    </a:lnTo>
                    <a:lnTo>
                      <a:pt x="1004" y="4117"/>
                    </a:lnTo>
                    <a:lnTo>
                      <a:pt x="1025" y="4102"/>
                    </a:lnTo>
                    <a:lnTo>
                      <a:pt x="1045" y="4086"/>
                    </a:lnTo>
                    <a:lnTo>
                      <a:pt x="1066" y="4070"/>
                    </a:lnTo>
                    <a:lnTo>
                      <a:pt x="1085" y="4053"/>
                    </a:lnTo>
                    <a:lnTo>
                      <a:pt x="1106" y="4026"/>
                    </a:lnTo>
                    <a:lnTo>
                      <a:pt x="1125" y="3997"/>
                    </a:lnTo>
                    <a:lnTo>
                      <a:pt x="1143" y="3967"/>
                    </a:lnTo>
                    <a:lnTo>
                      <a:pt x="1160" y="3937"/>
                    </a:lnTo>
                    <a:lnTo>
                      <a:pt x="1174" y="3905"/>
                    </a:lnTo>
                    <a:lnTo>
                      <a:pt x="1186" y="3871"/>
                    </a:lnTo>
                    <a:lnTo>
                      <a:pt x="1196" y="3837"/>
                    </a:lnTo>
                    <a:lnTo>
                      <a:pt x="1206" y="3801"/>
                    </a:lnTo>
                    <a:lnTo>
                      <a:pt x="1214" y="3763"/>
                    </a:lnTo>
                    <a:lnTo>
                      <a:pt x="1219" y="3725"/>
                    </a:lnTo>
                    <a:lnTo>
                      <a:pt x="1222" y="3686"/>
                    </a:lnTo>
                    <a:lnTo>
                      <a:pt x="1224" y="3644"/>
                    </a:lnTo>
                    <a:lnTo>
                      <a:pt x="1226" y="3602"/>
                    </a:lnTo>
                    <a:lnTo>
                      <a:pt x="1223" y="3559"/>
                    </a:lnTo>
                    <a:lnTo>
                      <a:pt x="1221" y="3515"/>
                    </a:lnTo>
                    <a:lnTo>
                      <a:pt x="1216" y="3470"/>
                    </a:lnTo>
                    <a:lnTo>
                      <a:pt x="1210" y="3451"/>
                    </a:lnTo>
                    <a:lnTo>
                      <a:pt x="1204" y="3432"/>
                    </a:lnTo>
                    <a:lnTo>
                      <a:pt x="1195" y="3412"/>
                    </a:lnTo>
                    <a:lnTo>
                      <a:pt x="1184" y="3392"/>
                    </a:lnTo>
                    <a:lnTo>
                      <a:pt x="1173" y="3369"/>
                    </a:lnTo>
                    <a:lnTo>
                      <a:pt x="1159" y="3348"/>
                    </a:lnTo>
                    <a:lnTo>
                      <a:pt x="1145" y="3324"/>
                    </a:lnTo>
                    <a:lnTo>
                      <a:pt x="1127" y="3300"/>
                    </a:lnTo>
                    <a:lnTo>
                      <a:pt x="1092" y="3250"/>
                    </a:lnTo>
                    <a:lnTo>
                      <a:pt x="1052" y="3199"/>
                    </a:lnTo>
                    <a:lnTo>
                      <a:pt x="1008" y="3144"/>
                    </a:lnTo>
                    <a:lnTo>
                      <a:pt x="962" y="3086"/>
                    </a:lnTo>
                    <a:lnTo>
                      <a:pt x="927" y="3044"/>
                    </a:lnTo>
                    <a:lnTo>
                      <a:pt x="893" y="3000"/>
                    </a:lnTo>
                    <a:lnTo>
                      <a:pt x="857" y="2955"/>
                    </a:lnTo>
                    <a:lnTo>
                      <a:pt x="822" y="2909"/>
                    </a:lnTo>
                    <a:lnTo>
                      <a:pt x="786" y="2862"/>
                    </a:lnTo>
                    <a:lnTo>
                      <a:pt x="750" y="2813"/>
                    </a:lnTo>
                    <a:lnTo>
                      <a:pt x="716" y="2764"/>
                    </a:lnTo>
                    <a:lnTo>
                      <a:pt x="682" y="2714"/>
                    </a:lnTo>
                    <a:lnTo>
                      <a:pt x="650" y="2662"/>
                    </a:lnTo>
                    <a:lnTo>
                      <a:pt x="620" y="2610"/>
                    </a:lnTo>
                    <a:lnTo>
                      <a:pt x="605" y="2584"/>
                    </a:lnTo>
                    <a:lnTo>
                      <a:pt x="591" y="2557"/>
                    </a:lnTo>
                    <a:lnTo>
                      <a:pt x="578" y="2530"/>
                    </a:lnTo>
                    <a:lnTo>
                      <a:pt x="565" y="2503"/>
                    </a:lnTo>
                    <a:lnTo>
                      <a:pt x="552" y="2476"/>
                    </a:lnTo>
                    <a:lnTo>
                      <a:pt x="541" y="2450"/>
                    </a:lnTo>
                    <a:lnTo>
                      <a:pt x="530" y="2423"/>
                    </a:lnTo>
                    <a:lnTo>
                      <a:pt x="519" y="2394"/>
                    </a:lnTo>
                    <a:lnTo>
                      <a:pt x="510" y="2366"/>
                    </a:lnTo>
                    <a:lnTo>
                      <a:pt x="501" y="2338"/>
                    </a:lnTo>
                    <a:lnTo>
                      <a:pt x="493" y="2310"/>
                    </a:lnTo>
                    <a:lnTo>
                      <a:pt x="487" y="2282"/>
                    </a:lnTo>
                    <a:lnTo>
                      <a:pt x="477" y="2243"/>
                    </a:lnTo>
                    <a:lnTo>
                      <a:pt x="469" y="2204"/>
                    </a:lnTo>
                    <a:lnTo>
                      <a:pt x="459" y="2166"/>
                    </a:lnTo>
                    <a:lnTo>
                      <a:pt x="450" y="2127"/>
                    </a:lnTo>
                    <a:lnTo>
                      <a:pt x="435" y="2066"/>
                    </a:lnTo>
                    <a:lnTo>
                      <a:pt x="421" y="2007"/>
                    </a:lnTo>
                    <a:lnTo>
                      <a:pt x="408" y="1946"/>
                    </a:lnTo>
                    <a:lnTo>
                      <a:pt x="394" y="1887"/>
                    </a:lnTo>
                    <a:lnTo>
                      <a:pt x="382" y="1828"/>
                    </a:lnTo>
                    <a:lnTo>
                      <a:pt x="370" y="1769"/>
                    </a:lnTo>
                    <a:lnTo>
                      <a:pt x="360" y="1710"/>
                    </a:lnTo>
                    <a:lnTo>
                      <a:pt x="350" y="1651"/>
                    </a:lnTo>
                    <a:lnTo>
                      <a:pt x="341" y="1591"/>
                    </a:lnTo>
                    <a:lnTo>
                      <a:pt x="334" y="1532"/>
                    </a:lnTo>
                    <a:lnTo>
                      <a:pt x="327" y="1473"/>
                    </a:lnTo>
                    <a:lnTo>
                      <a:pt x="323" y="1413"/>
                    </a:lnTo>
                    <a:lnTo>
                      <a:pt x="321" y="1353"/>
                    </a:lnTo>
                    <a:lnTo>
                      <a:pt x="320" y="1293"/>
                    </a:lnTo>
                    <a:lnTo>
                      <a:pt x="321" y="1232"/>
                    </a:lnTo>
                    <a:lnTo>
                      <a:pt x="324" y="1171"/>
                    </a:lnTo>
                    <a:lnTo>
                      <a:pt x="330" y="1121"/>
                    </a:lnTo>
                    <a:lnTo>
                      <a:pt x="338" y="1072"/>
                    </a:lnTo>
                    <a:lnTo>
                      <a:pt x="348" y="1022"/>
                    </a:lnTo>
                    <a:lnTo>
                      <a:pt x="360" y="974"/>
                    </a:lnTo>
                    <a:lnTo>
                      <a:pt x="374" y="926"/>
                    </a:lnTo>
                    <a:lnTo>
                      <a:pt x="389" y="879"/>
                    </a:lnTo>
                    <a:lnTo>
                      <a:pt x="406" y="832"/>
                    </a:lnTo>
                    <a:lnTo>
                      <a:pt x="424" y="786"/>
                    </a:lnTo>
                    <a:lnTo>
                      <a:pt x="445" y="741"/>
                    </a:lnTo>
                    <a:lnTo>
                      <a:pt x="467" y="696"/>
                    </a:lnTo>
                    <a:lnTo>
                      <a:pt x="491" y="652"/>
                    </a:lnTo>
                    <a:lnTo>
                      <a:pt x="517" y="610"/>
                    </a:lnTo>
                    <a:lnTo>
                      <a:pt x="544" y="568"/>
                    </a:lnTo>
                    <a:lnTo>
                      <a:pt x="572" y="527"/>
                    </a:lnTo>
                    <a:lnTo>
                      <a:pt x="602" y="487"/>
                    </a:lnTo>
                    <a:lnTo>
                      <a:pt x="634" y="448"/>
                    </a:lnTo>
                    <a:lnTo>
                      <a:pt x="666" y="409"/>
                    </a:lnTo>
                    <a:lnTo>
                      <a:pt x="701" y="373"/>
                    </a:lnTo>
                    <a:lnTo>
                      <a:pt x="736" y="337"/>
                    </a:lnTo>
                    <a:lnTo>
                      <a:pt x="773" y="304"/>
                    </a:lnTo>
                    <a:lnTo>
                      <a:pt x="811" y="270"/>
                    </a:lnTo>
                    <a:lnTo>
                      <a:pt x="850" y="238"/>
                    </a:lnTo>
                    <a:lnTo>
                      <a:pt x="891" y="207"/>
                    </a:lnTo>
                    <a:lnTo>
                      <a:pt x="932" y="178"/>
                    </a:lnTo>
                    <a:lnTo>
                      <a:pt x="975" y="151"/>
                    </a:lnTo>
                    <a:lnTo>
                      <a:pt x="1018" y="124"/>
                    </a:lnTo>
                    <a:lnTo>
                      <a:pt x="1064" y="99"/>
                    </a:lnTo>
                    <a:lnTo>
                      <a:pt x="1109" y="77"/>
                    </a:lnTo>
                    <a:lnTo>
                      <a:pt x="1156" y="55"/>
                    </a:lnTo>
                    <a:lnTo>
                      <a:pt x="1204" y="36"/>
                    </a:lnTo>
                    <a:lnTo>
                      <a:pt x="1253" y="17"/>
                    </a:lnTo>
                    <a:lnTo>
                      <a:pt x="1301" y="1"/>
                    </a:lnTo>
                    <a:lnTo>
                      <a:pt x="1307" y="0"/>
                    </a:lnTo>
                    <a:lnTo>
                      <a:pt x="1312" y="1"/>
                    </a:lnTo>
                    <a:lnTo>
                      <a:pt x="1316" y="4"/>
                    </a:lnTo>
                    <a:lnTo>
                      <a:pt x="1318" y="10"/>
                    </a:lnTo>
                    <a:lnTo>
                      <a:pt x="1319" y="15"/>
                    </a:lnTo>
                    <a:lnTo>
                      <a:pt x="1317" y="20"/>
                    </a:lnTo>
                    <a:lnTo>
                      <a:pt x="1314" y="24"/>
                    </a:lnTo>
                    <a:lnTo>
                      <a:pt x="1310" y="27"/>
                    </a:lnTo>
                    <a:lnTo>
                      <a:pt x="1261" y="42"/>
                    </a:lnTo>
                    <a:lnTo>
                      <a:pt x="1214" y="61"/>
                    </a:lnTo>
                    <a:lnTo>
                      <a:pt x="1167" y="80"/>
                    </a:lnTo>
                    <a:lnTo>
                      <a:pt x="1121" y="102"/>
                    </a:lnTo>
                    <a:lnTo>
                      <a:pt x="1077" y="123"/>
                    </a:lnTo>
                    <a:lnTo>
                      <a:pt x="1032" y="148"/>
                    </a:lnTo>
                    <a:lnTo>
                      <a:pt x="989" y="174"/>
                    </a:lnTo>
                    <a:lnTo>
                      <a:pt x="947" y="201"/>
                    </a:lnTo>
                    <a:lnTo>
                      <a:pt x="907" y="229"/>
                    </a:lnTo>
                    <a:lnTo>
                      <a:pt x="867" y="259"/>
                    </a:lnTo>
                    <a:lnTo>
                      <a:pt x="828" y="291"/>
                    </a:lnTo>
                    <a:lnTo>
                      <a:pt x="791" y="323"/>
                    </a:lnTo>
                    <a:lnTo>
                      <a:pt x="755" y="356"/>
                    </a:lnTo>
                    <a:lnTo>
                      <a:pt x="720" y="392"/>
                    </a:lnTo>
                    <a:lnTo>
                      <a:pt x="687" y="428"/>
                    </a:lnTo>
                    <a:lnTo>
                      <a:pt x="654" y="464"/>
                    </a:lnTo>
                    <a:lnTo>
                      <a:pt x="624" y="503"/>
                    </a:lnTo>
                    <a:lnTo>
                      <a:pt x="594" y="542"/>
                    </a:lnTo>
                    <a:lnTo>
                      <a:pt x="567" y="582"/>
                    </a:lnTo>
                    <a:lnTo>
                      <a:pt x="540" y="623"/>
                    </a:lnTo>
                    <a:lnTo>
                      <a:pt x="515" y="665"/>
                    </a:lnTo>
                    <a:lnTo>
                      <a:pt x="491" y="708"/>
                    </a:lnTo>
                    <a:lnTo>
                      <a:pt x="470" y="751"/>
                    </a:lnTo>
                    <a:lnTo>
                      <a:pt x="449" y="796"/>
                    </a:lnTo>
                    <a:lnTo>
                      <a:pt x="431" y="841"/>
                    </a:lnTo>
                    <a:lnTo>
                      <a:pt x="415" y="888"/>
                    </a:lnTo>
                    <a:lnTo>
                      <a:pt x="399" y="934"/>
                    </a:lnTo>
                    <a:lnTo>
                      <a:pt x="385" y="980"/>
                    </a:lnTo>
                    <a:lnTo>
                      <a:pt x="375" y="1028"/>
                    </a:lnTo>
                    <a:lnTo>
                      <a:pt x="365" y="1076"/>
                    </a:lnTo>
                    <a:lnTo>
                      <a:pt x="357" y="1124"/>
                    </a:lnTo>
                    <a:lnTo>
                      <a:pt x="351" y="1174"/>
                    </a:lnTo>
                    <a:lnTo>
                      <a:pt x="348" y="1234"/>
                    </a:lnTo>
                    <a:lnTo>
                      <a:pt x="347" y="1293"/>
                    </a:lnTo>
                    <a:lnTo>
                      <a:pt x="348" y="1353"/>
                    </a:lnTo>
                    <a:lnTo>
                      <a:pt x="350" y="1412"/>
                    </a:lnTo>
                    <a:lnTo>
                      <a:pt x="354" y="1472"/>
                    </a:lnTo>
                    <a:lnTo>
                      <a:pt x="361" y="1531"/>
                    </a:lnTo>
                    <a:lnTo>
                      <a:pt x="368" y="1589"/>
                    </a:lnTo>
                    <a:lnTo>
                      <a:pt x="377" y="1647"/>
                    </a:lnTo>
                    <a:lnTo>
                      <a:pt x="387" y="1707"/>
                    </a:lnTo>
                    <a:lnTo>
                      <a:pt x="397" y="1765"/>
                    </a:lnTo>
                    <a:lnTo>
                      <a:pt x="409" y="1823"/>
                    </a:lnTo>
                    <a:lnTo>
                      <a:pt x="421" y="1883"/>
                    </a:lnTo>
                    <a:lnTo>
                      <a:pt x="434" y="1942"/>
                    </a:lnTo>
                    <a:lnTo>
                      <a:pt x="448" y="2002"/>
                    </a:lnTo>
                    <a:lnTo>
                      <a:pt x="462" y="2061"/>
                    </a:lnTo>
                    <a:lnTo>
                      <a:pt x="476" y="2121"/>
                    </a:lnTo>
                    <a:lnTo>
                      <a:pt x="486" y="2159"/>
                    </a:lnTo>
                    <a:lnTo>
                      <a:pt x="494" y="2198"/>
                    </a:lnTo>
                    <a:lnTo>
                      <a:pt x="504" y="2237"/>
                    </a:lnTo>
                    <a:lnTo>
                      <a:pt x="513" y="2277"/>
                    </a:lnTo>
                    <a:lnTo>
                      <a:pt x="519" y="2304"/>
                    </a:lnTo>
                    <a:lnTo>
                      <a:pt x="527" y="2332"/>
                    </a:lnTo>
                    <a:lnTo>
                      <a:pt x="536" y="2359"/>
                    </a:lnTo>
                    <a:lnTo>
                      <a:pt x="545" y="2386"/>
                    </a:lnTo>
                    <a:lnTo>
                      <a:pt x="555" y="2414"/>
                    </a:lnTo>
                    <a:lnTo>
                      <a:pt x="566" y="2441"/>
                    </a:lnTo>
                    <a:lnTo>
                      <a:pt x="578" y="2467"/>
                    </a:lnTo>
                    <a:lnTo>
                      <a:pt x="590" y="2494"/>
                    </a:lnTo>
                    <a:lnTo>
                      <a:pt x="602" y="2521"/>
                    </a:lnTo>
                    <a:lnTo>
                      <a:pt x="615" y="2547"/>
                    </a:lnTo>
                    <a:lnTo>
                      <a:pt x="629" y="2573"/>
                    </a:lnTo>
                    <a:lnTo>
                      <a:pt x="645" y="2598"/>
                    </a:lnTo>
                    <a:lnTo>
                      <a:pt x="675" y="2650"/>
                    </a:lnTo>
                    <a:lnTo>
                      <a:pt x="706" y="2701"/>
                    </a:lnTo>
                    <a:lnTo>
                      <a:pt x="740" y="2751"/>
                    </a:lnTo>
                    <a:lnTo>
                      <a:pt x="773" y="2799"/>
                    </a:lnTo>
                    <a:lnTo>
                      <a:pt x="809" y="2847"/>
                    </a:lnTo>
                    <a:lnTo>
                      <a:pt x="843" y="2894"/>
                    </a:lnTo>
                    <a:lnTo>
                      <a:pt x="879" y="2940"/>
                    </a:lnTo>
                    <a:lnTo>
                      <a:pt x="915" y="2984"/>
                    </a:lnTo>
                    <a:lnTo>
                      <a:pt x="949" y="3027"/>
                    </a:lnTo>
                    <a:lnTo>
                      <a:pt x="984" y="3070"/>
                    </a:lnTo>
                    <a:lnTo>
                      <a:pt x="1030" y="3127"/>
                    </a:lnTo>
                    <a:lnTo>
                      <a:pt x="1074" y="3184"/>
                    </a:lnTo>
                    <a:lnTo>
                      <a:pt x="1115" y="3236"/>
                    </a:lnTo>
                    <a:lnTo>
                      <a:pt x="1152" y="3287"/>
                    </a:lnTo>
                    <a:lnTo>
                      <a:pt x="1168" y="3312"/>
                    </a:lnTo>
                    <a:lnTo>
                      <a:pt x="1183" y="3336"/>
                    </a:lnTo>
                    <a:lnTo>
                      <a:pt x="1197" y="3360"/>
                    </a:lnTo>
                    <a:lnTo>
                      <a:pt x="1210" y="3382"/>
                    </a:lnTo>
                    <a:lnTo>
                      <a:pt x="1221" y="3404"/>
                    </a:lnTo>
                    <a:lnTo>
                      <a:pt x="1230" y="3425"/>
                    </a:lnTo>
                    <a:lnTo>
                      <a:pt x="1237" y="3446"/>
                    </a:lnTo>
                    <a:lnTo>
                      <a:pt x="1243" y="3465"/>
                    </a:lnTo>
                    <a:lnTo>
                      <a:pt x="1247" y="3513"/>
                    </a:lnTo>
                    <a:lnTo>
                      <a:pt x="1250" y="3558"/>
                    </a:lnTo>
                    <a:lnTo>
                      <a:pt x="1253" y="3603"/>
                    </a:lnTo>
                    <a:lnTo>
                      <a:pt x="1251" y="3647"/>
                    </a:lnTo>
                    <a:lnTo>
                      <a:pt x="1249" y="3689"/>
                    </a:lnTo>
                    <a:lnTo>
                      <a:pt x="1245" y="3730"/>
                    </a:lnTo>
                    <a:lnTo>
                      <a:pt x="1240" y="3770"/>
                    </a:lnTo>
                    <a:lnTo>
                      <a:pt x="1232" y="3809"/>
                    </a:lnTo>
                    <a:lnTo>
                      <a:pt x="1222" y="3845"/>
                    </a:lnTo>
                    <a:lnTo>
                      <a:pt x="1210" y="3882"/>
                    </a:lnTo>
                    <a:lnTo>
                      <a:pt x="1197" y="3917"/>
                    </a:lnTo>
                    <a:lnTo>
                      <a:pt x="1182" y="3950"/>
                    </a:lnTo>
                    <a:lnTo>
                      <a:pt x="1175" y="3966"/>
                    </a:lnTo>
                    <a:lnTo>
                      <a:pt x="1166" y="3982"/>
                    </a:lnTo>
                    <a:lnTo>
                      <a:pt x="1156" y="3997"/>
                    </a:lnTo>
                    <a:lnTo>
                      <a:pt x="1147" y="4013"/>
                    </a:lnTo>
                    <a:lnTo>
                      <a:pt x="1137" y="4028"/>
                    </a:lnTo>
                    <a:lnTo>
                      <a:pt x="1127" y="4043"/>
                    </a:lnTo>
                    <a:lnTo>
                      <a:pt x="1115" y="4057"/>
                    </a:lnTo>
                    <a:lnTo>
                      <a:pt x="1105" y="4071"/>
                    </a:lnTo>
                    <a:lnTo>
                      <a:pt x="1084" y="4089"/>
                    </a:lnTo>
                    <a:lnTo>
                      <a:pt x="1064" y="4107"/>
                    </a:lnTo>
                    <a:lnTo>
                      <a:pt x="1042" y="4123"/>
                    </a:lnTo>
                    <a:lnTo>
                      <a:pt x="1021" y="4139"/>
                    </a:lnTo>
                    <a:lnTo>
                      <a:pt x="999" y="4154"/>
                    </a:lnTo>
                    <a:lnTo>
                      <a:pt x="977" y="4168"/>
                    </a:lnTo>
                    <a:lnTo>
                      <a:pt x="954" y="4182"/>
                    </a:lnTo>
                    <a:lnTo>
                      <a:pt x="932" y="4196"/>
                    </a:lnTo>
                    <a:lnTo>
                      <a:pt x="909" y="4209"/>
                    </a:lnTo>
                    <a:lnTo>
                      <a:pt x="885" y="4222"/>
                    </a:lnTo>
                    <a:lnTo>
                      <a:pt x="862" y="4234"/>
                    </a:lnTo>
                    <a:lnTo>
                      <a:pt x="838" y="4246"/>
                    </a:lnTo>
                    <a:lnTo>
                      <a:pt x="789" y="4267"/>
                    </a:lnTo>
                    <a:lnTo>
                      <a:pt x="741" y="4288"/>
                    </a:lnTo>
                    <a:lnTo>
                      <a:pt x="691" y="4307"/>
                    </a:lnTo>
                    <a:lnTo>
                      <a:pt x="640" y="4325"/>
                    </a:lnTo>
                    <a:lnTo>
                      <a:pt x="590" y="4342"/>
                    </a:lnTo>
                    <a:lnTo>
                      <a:pt x="538" y="4357"/>
                    </a:lnTo>
                    <a:lnTo>
                      <a:pt x="486" y="4372"/>
                    </a:lnTo>
                    <a:lnTo>
                      <a:pt x="435" y="4387"/>
                    </a:lnTo>
                    <a:lnTo>
                      <a:pt x="383" y="4401"/>
                    </a:lnTo>
                    <a:lnTo>
                      <a:pt x="331" y="4415"/>
                    </a:lnTo>
                    <a:lnTo>
                      <a:pt x="302" y="4423"/>
                    </a:lnTo>
                    <a:lnTo>
                      <a:pt x="273" y="4430"/>
                    </a:lnTo>
                    <a:lnTo>
                      <a:pt x="244" y="4439"/>
                    </a:lnTo>
                    <a:lnTo>
                      <a:pt x="215" y="4447"/>
                    </a:lnTo>
                    <a:lnTo>
                      <a:pt x="186" y="4455"/>
                    </a:lnTo>
                    <a:lnTo>
                      <a:pt x="157" y="4463"/>
                    </a:lnTo>
                    <a:lnTo>
                      <a:pt x="127" y="4471"/>
                    </a:lnTo>
                    <a:lnTo>
                      <a:pt x="98" y="4481"/>
                    </a:lnTo>
                    <a:lnTo>
                      <a:pt x="96" y="4481"/>
                    </a:lnTo>
                    <a:lnTo>
                      <a:pt x="94" y="4481"/>
                    </a:lnTo>
                    <a:lnTo>
                      <a:pt x="85" y="4482"/>
                    </a:lnTo>
                    <a:lnTo>
                      <a:pt x="74" y="4485"/>
                    </a:lnTo>
                    <a:lnTo>
                      <a:pt x="63" y="4490"/>
                    </a:lnTo>
                    <a:lnTo>
                      <a:pt x="52" y="4495"/>
                    </a:lnTo>
                    <a:lnTo>
                      <a:pt x="42" y="4502"/>
                    </a:lnTo>
                    <a:lnTo>
                      <a:pt x="34" y="4508"/>
                    </a:lnTo>
                    <a:lnTo>
                      <a:pt x="31" y="4512"/>
                    </a:lnTo>
                    <a:lnTo>
                      <a:pt x="29" y="4516"/>
                    </a:lnTo>
                    <a:lnTo>
                      <a:pt x="27" y="4519"/>
                    </a:lnTo>
                    <a:lnTo>
                      <a:pt x="27" y="4522"/>
                    </a:lnTo>
                    <a:lnTo>
                      <a:pt x="27" y="4525"/>
                    </a:lnTo>
                    <a:lnTo>
                      <a:pt x="32" y="4574"/>
                    </a:lnTo>
                    <a:lnTo>
                      <a:pt x="39" y="4625"/>
                    </a:lnTo>
                    <a:lnTo>
                      <a:pt x="46" y="4678"/>
                    </a:lnTo>
                    <a:lnTo>
                      <a:pt x="54" y="4730"/>
                    </a:lnTo>
                    <a:lnTo>
                      <a:pt x="64" y="4783"/>
                    </a:lnTo>
                    <a:lnTo>
                      <a:pt x="76" y="4835"/>
                    </a:lnTo>
                    <a:lnTo>
                      <a:pt x="82" y="4860"/>
                    </a:lnTo>
                    <a:lnTo>
                      <a:pt x="90" y="4885"/>
                    </a:lnTo>
                    <a:lnTo>
                      <a:pt x="97" y="4910"/>
                    </a:lnTo>
                    <a:lnTo>
                      <a:pt x="106" y="4933"/>
                    </a:lnTo>
                    <a:lnTo>
                      <a:pt x="115" y="4956"/>
                    </a:lnTo>
                    <a:lnTo>
                      <a:pt x="125" y="4978"/>
                    </a:lnTo>
                    <a:lnTo>
                      <a:pt x="136" y="4998"/>
                    </a:lnTo>
                    <a:lnTo>
                      <a:pt x="148" y="5018"/>
                    </a:lnTo>
                    <a:lnTo>
                      <a:pt x="160" y="5036"/>
                    </a:lnTo>
                    <a:lnTo>
                      <a:pt x="173" y="5053"/>
                    </a:lnTo>
                    <a:lnTo>
                      <a:pt x="187" y="5069"/>
                    </a:lnTo>
                    <a:lnTo>
                      <a:pt x="203" y="5083"/>
                    </a:lnTo>
                    <a:lnTo>
                      <a:pt x="218" y="5095"/>
                    </a:lnTo>
                    <a:lnTo>
                      <a:pt x="235" y="5106"/>
                    </a:lnTo>
                    <a:lnTo>
                      <a:pt x="254" y="5116"/>
                    </a:lnTo>
                    <a:lnTo>
                      <a:pt x="273" y="5122"/>
                    </a:lnTo>
                    <a:lnTo>
                      <a:pt x="294" y="5128"/>
                    </a:lnTo>
                    <a:lnTo>
                      <a:pt x="316" y="5131"/>
                    </a:lnTo>
                    <a:lnTo>
                      <a:pt x="339" y="5131"/>
                    </a:lnTo>
                    <a:lnTo>
                      <a:pt x="363" y="5130"/>
                    </a:lnTo>
                    <a:lnTo>
                      <a:pt x="399" y="5127"/>
                    </a:lnTo>
                    <a:lnTo>
                      <a:pt x="449" y="5123"/>
                    </a:lnTo>
                    <a:lnTo>
                      <a:pt x="510" y="5121"/>
                    </a:lnTo>
                    <a:lnTo>
                      <a:pt x="582" y="5119"/>
                    </a:lnTo>
                    <a:lnTo>
                      <a:pt x="663" y="5117"/>
                    </a:lnTo>
                    <a:lnTo>
                      <a:pt x="754" y="5116"/>
                    </a:lnTo>
                    <a:lnTo>
                      <a:pt x="852" y="5116"/>
                    </a:lnTo>
                    <a:lnTo>
                      <a:pt x="959" y="5116"/>
                    </a:lnTo>
                    <a:lnTo>
                      <a:pt x="1071" y="5117"/>
                    </a:lnTo>
                    <a:lnTo>
                      <a:pt x="1190" y="5119"/>
                    </a:lnTo>
                    <a:lnTo>
                      <a:pt x="1314" y="5122"/>
                    </a:lnTo>
                    <a:lnTo>
                      <a:pt x="1443" y="5126"/>
                    </a:lnTo>
                    <a:lnTo>
                      <a:pt x="1573" y="5130"/>
                    </a:lnTo>
                    <a:lnTo>
                      <a:pt x="1708" y="5136"/>
                    </a:lnTo>
                    <a:lnTo>
                      <a:pt x="1844" y="5143"/>
                    </a:lnTo>
                    <a:lnTo>
                      <a:pt x="1981" y="5150"/>
                    </a:lnTo>
                    <a:lnTo>
                      <a:pt x="2119" y="5160"/>
                    </a:lnTo>
                    <a:lnTo>
                      <a:pt x="2256" y="5170"/>
                    </a:lnTo>
                    <a:lnTo>
                      <a:pt x="2391" y="5182"/>
                    </a:lnTo>
                    <a:lnTo>
                      <a:pt x="2525" y="5196"/>
                    </a:lnTo>
                    <a:lnTo>
                      <a:pt x="2654" y="5210"/>
                    </a:lnTo>
                    <a:lnTo>
                      <a:pt x="2780" y="5226"/>
                    </a:lnTo>
                    <a:lnTo>
                      <a:pt x="2902" y="5244"/>
                    </a:lnTo>
                    <a:lnTo>
                      <a:pt x="3019" y="5264"/>
                    </a:lnTo>
                    <a:lnTo>
                      <a:pt x="3129" y="5285"/>
                    </a:lnTo>
                    <a:lnTo>
                      <a:pt x="3233" y="5308"/>
                    </a:lnTo>
                    <a:lnTo>
                      <a:pt x="3329" y="5333"/>
                    </a:lnTo>
                    <a:lnTo>
                      <a:pt x="3415" y="5360"/>
                    </a:lnTo>
                    <a:lnTo>
                      <a:pt x="3493" y="5388"/>
                    </a:lnTo>
                    <a:lnTo>
                      <a:pt x="3560" y="5419"/>
                    </a:lnTo>
                    <a:lnTo>
                      <a:pt x="3616" y="5452"/>
                    </a:lnTo>
                    <a:lnTo>
                      <a:pt x="3661" y="5486"/>
                    </a:lnTo>
                    <a:lnTo>
                      <a:pt x="3664" y="5490"/>
                    </a:lnTo>
                    <a:lnTo>
                      <a:pt x="3665" y="5496"/>
                    </a:lnTo>
                    <a:lnTo>
                      <a:pt x="3664" y="5501"/>
                    </a:lnTo>
                    <a:lnTo>
                      <a:pt x="3662" y="5506"/>
                    </a:lnTo>
                    <a:lnTo>
                      <a:pt x="3659" y="5508"/>
                    </a:lnTo>
                    <a:lnTo>
                      <a:pt x="3657" y="5509"/>
                    </a:lnTo>
                    <a:lnTo>
                      <a:pt x="3654" y="5510"/>
                    </a:lnTo>
                    <a:lnTo>
                      <a:pt x="3652" y="5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42"/>
              <p:cNvSpPr>
                <a:spLocks/>
              </p:cNvSpPr>
              <p:nvPr userDrawn="1"/>
            </p:nvSpPr>
            <p:spPr bwMode="auto">
              <a:xfrm>
                <a:off x="2541" y="1718"/>
                <a:ext cx="167" cy="1344"/>
              </a:xfrm>
              <a:custGeom>
                <a:avLst/>
                <a:gdLst>
                  <a:gd name="T0" fmla="*/ 216 w 503"/>
                  <a:gd name="T1" fmla="*/ 4002 h 4031"/>
                  <a:gd name="T2" fmla="*/ 158 w 503"/>
                  <a:gd name="T3" fmla="*/ 3922 h 4031"/>
                  <a:gd name="T4" fmla="*/ 127 w 503"/>
                  <a:gd name="T5" fmla="*/ 3834 h 4031"/>
                  <a:gd name="T6" fmla="*/ 102 w 503"/>
                  <a:gd name="T7" fmla="*/ 3712 h 4031"/>
                  <a:gd name="T8" fmla="*/ 70 w 503"/>
                  <a:gd name="T9" fmla="*/ 3470 h 4031"/>
                  <a:gd name="T10" fmla="*/ 54 w 503"/>
                  <a:gd name="T11" fmla="*/ 3192 h 4031"/>
                  <a:gd name="T12" fmla="*/ 34 w 503"/>
                  <a:gd name="T13" fmla="*/ 2915 h 4031"/>
                  <a:gd name="T14" fmla="*/ 4 w 503"/>
                  <a:gd name="T15" fmla="*/ 2696 h 4031"/>
                  <a:gd name="T16" fmla="*/ 6 w 503"/>
                  <a:gd name="T17" fmla="*/ 2538 h 4031"/>
                  <a:gd name="T18" fmla="*/ 38 w 503"/>
                  <a:gd name="T19" fmla="*/ 2405 h 4031"/>
                  <a:gd name="T20" fmla="*/ 95 w 503"/>
                  <a:gd name="T21" fmla="*/ 2302 h 4031"/>
                  <a:gd name="T22" fmla="*/ 213 w 503"/>
                  <a:gd name="T23" fmla="*/ 2134 h 4031"/>
                  <a:gd name="T24" fmla="*/ 352 w 503"/>
                  <a:gd name="T25" fmla="*/ 1906 h 4031"/>
                  <a:gd name="T26" fmla="*/ 426 w 503"/>
                  <a:gd name="T27" fmla="*/ 1738 h 4031"/>
                  <a:gd name="T28" fmla="*/ 460 w 503"/>
                  <a:gd name="T29" fmla="*/ 1611 h 4031"/>
                  <a:gd name="T30" fmla="*/ 476 w 503"/>
                  <a:gd name="T31" fmla="*/ 1464 h 4031"/>
                  <a:gd name="T32" fmla="*/ 458 w 503"/>
                  <a:gd name="T33" fmla="*/ 1271 h 4031"/>
                  <a:gd name="T34" fmla="*/ 420 w 503"/>
                  <a:gd name="T35" fmla="*/ 1083 h 4031"/>
                  <a:gd name="T36" fmla="*/ 366 w 503"/>
                  <a:gd name="T37" fmla="*/ 903 h 4031"/>
                  <a:gd name="T38" fmla="*/ 223 w 503"/>
                  <a:gd name="T39" fmla="*/ 564 h 4031"/>
                  <a:gd name="T40" fmla="*/ 125 w 503"/>
                  <a:gd name="T41" fmla="*/ 368 h 4031"/>
                  <a:gd name="T42" fmla="*/ 152 w 503"/>
                  <a:gd name="T43" fmla="*/ 333 h 4031"/>
                  <a:gd name="T44" fmla="*/ 173 w 503"/>
                  <a:gd name="T45" fmla="*/ 284 h 4031"/>
                  <a:gd name="T46" fmla="*/ 176 w 503"/>
                  <a:gd name="T47" fmla="*/ 233 h 4031"/>
                  <a:gd name="T48" fmla="*/ 157 w 503"/>
                  <a:gd name="T49" fmla="*/ 158 h 4031"/>
                  <a:gd name="T50" fmla="*/ 95 w 503"/>
                  <a:gd name="T51" fmla="*/ 45 h 4031"/>
                  <a:gd name="T52" fmla="*/ 86 w 503"/>
                  <a:gd name="T53" fmla="*/ 2 h 4031"/>
                  <a:gd name="T54" fmla="*/ 129 w 503"/>
                  <a:gd name="T55" fmla="*/ 46 h 4031"/>
                  <a:gd name="T56" fmla="*/ 194 w 503"/>
                  <a:gd name="T57" fmla="*/ 182 h 4031"/>
                  <a:gd name="T58" fmla="*/ 203 w 503"/>
                  <a:gd name="T59" fmla="*/ 243 h 4031"/>
                  <a:gd name="T60" fmla="*/ 196 w 503"/>
                  <a:gd name="T61" fmla="*/ 303 h 4031"/>
                  <a:gd name="T62" fmla="*/ 165 w 503"/>
                  <a:gd name="T63" fmla="*/ 361 h 4031"/>
                  <a:gd name="T64" fmla="*/ 282 w 503"/>
                  <a:gd name="T65" fmla="*/ 625 h 4031"/>
                  <a:gd name="T66" fmla="*/ 405 w 503"/>
                  <a:gd name="T67" fmla="*/ 936 h 4031"/>
                  <a:gd name="T68" fmla="*/ 457 w 503"/>
                  <a:gd name="T69" fmla="*/ 1119 h 4031"/>
                  <a:gd name="T70" fmla="*/ 491 w 503"/>
                  <a:gd name="T71" fmla="*/ 1309 h 4031"/>
                  <a:gd name="T72" fmla="*/ 503 w 503"/>
                  <a:gd name="T73" fmla="*/ 1504 h 4031"/>
                  <a:gd name="T74" fmla="*/ 482 w 503"/>
                  <a:gd name="T75" fmla="*/ 1641 h 4031"/>
                  <a:gd name="T76" fmla="*/ 443 w 503"/>
                  <a:gd name="T77" fmla="*/ 1771 h 4031"/>
                  <a:gd name="T78" fmla="*/ 351 w 503"/>
                  <a:gd name="T79" fmla="*/ 1964 h 4031"/>
                  <a:gd name="T80" fmla="*/ 204 w 503"/>
                  <a:gd name="T81" fmla="*/ 2194 h 4031"/>
                  <a:gd name="T82" fmla="*/ 106 w 503"/>
                  <a:gd name="T83" fmla="*/ 2333 h 4031"/>
                  <a:gd name="T84" fmla="*/ 54 w 503"/>
                  <a:gd name="T85" fmla="*/ 2440 h 4031"/>
                  <a:gd name="T86" fmla="*/ 30 w 503"/>
                  <a:gd name="T87" fmla="*/ 2572 h 4031"/>
                  <a:gd name="T88" fmla="*/ 34 w 503"/>
                  <a:gd name="T89" fmla="*/ 2728 h 4031"/>
                  <a:gd name="T90" fmla="*/ 66 w 503"/>
                  <a:gd name="T91" fmla="*/ 2968 h 4031"/>
                  <a:gd name="T92" fmla="*/ 85 w 503"/>
                  <a:gd name="T93" fmla="*/ 3246 h 4031"/>
                  <a:gd name="T94" fmla="*/ 102 w 503"/>
                  <a:gd name="T95" fmla="*/ 3524 h 4031"/>
                  <a:gd name="T96" fmla="*/ 132 w 503"/>
                  <a:gd name="T97" fmla="*/ 3722 h 4031"/>
                  <a:gd name="T98" fmla="*/ 157 w 503"/>
                  <a:gd name="T99" fmla="*/ 3843 h 4031"/>
                  <a:gd name="T100" fmla="*/ 189 w 503"/>
                  <a:gd name="T101" fmla="*/ 3924 h 4031"/>
                  <a:gd name="T102" fmla="*/ 249 w 503"/>
                  <a:gd name="T103" fmla="*/ 3994 h 4031"/>
                  <a:gd name="T104" fmla="*/ 269 w 503"/>
                  <a:gd name="T105" fmla="*/ 4026 h 4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3" h="4031">
                    <a:moveTo>
                      <a:pt x="257" y="4031"/>
                    </a:moveTo>
                    <a:lnTo>
                      <a:pt x="254" y="4031"/>
                    </a:lnTo>
                    <a:lnTo>
                      <a:pt x="250" y="4029"/>
                    </a:lnTo>
                    <a:lnTo>
                      <a:pt x="233" y="4016"/>
                    </a:lnTo>
                    <a:lnTo>
                      <a:pt x="216" y="4002"/>
                    </a:lnTo>
                    <a:lnTo>
                      <a:pt x="201" y="3987"/>
                    </a:lnTo>
                    <a:lnTo>
                      <a:pt x="188" y="3972"/>
                    </a:lnTo>
                    <a:lnTo>
                      <a:pt x="177" y="3956"/>
                    </a:lnTo>
                    <a:lnTo>
                      <a:pt x="167" y="3938"/>
                    </a:lnTo>
                    <a:lnTo>
                      <a:pt x="158" y="3922"/>
                    </a:lnTo>
                    <a:lnTo>
                      <a:pt x="150" y="3905"/>
                    </a:lnTo>
                    <a:lnTo>
                      <a:pt x="143" y="3887"/>
                    </a:lnTo>
                    <a:lnTo>
                      <a:pt x="136" y="3869"/>
                    </a:lnTo>
                    <a:lnTo>
                      <a:pt x="132" y="3851"/>
                    </a:lnTo>
                    <a:lnTo>
                      <a:pt x="127" y="3834"/>
                    </a:lnTo>
                    <a:lnTo>
                      <a:pt x="119" y="3798"/>
                    </a:lnTo>
                    <a:lnTo>
                      <a:pt x="112" y="3762"/>
                    </a:lnTo>
                    <a:lnTo>
                      <a:pt x="108" y="3745"/>
                    </a:lnTo>
                    <a:lnTo>
                      <a:pt x="105" y="3728"/>
                    </a:lnTo>
                    <a:lnTo>
                      <a:pt x="102" y="3712"/>
                    </a:lnTo>
                    <a:lnTo>
                      <a:pt x="98" y="3696"/>
                    </a:lnTo>
                    <a:lnTo>
                      <a:pt x="89" y="3639"/>
                    </a:lnTo>
                    <a:lnTo>
                      <a:pt x="81" y="3583"/>
                    </a:lnTo>
                    <a:lnTo>
                      <a:pt x="75" y="3527"/>
                    </a:lnTo>
                    <a:lnTo>
                      <a:pt x="70" y="3470"/>
                    </a:lnTo>
                    <a:lnTo>
                      <a:pt x="66" y="3414"/>
                    </a:lnTo>
                    <a:lnTo>
                      <a:pt x="62" y="3359"/>
                    </a:lnTo>
                    <a:lnTo>
                      <a:pt x="60" y="3302"/>
                    </a:lnTo>
                    <a:lnTo>
                      <a:pt x="58" y="3247"/>
                    </a:lnTo>
                    <a:lnTo>
                      <a:pt x="54" y="3192"/>
                    </a:lnTo>
                    <a:lnTo>
                      <a:pt x="52" y="3137"/>
                    </a:lnTo>
                    <a:lnTo>
                      <a:pt x="49" y="3082"/>
                    </a:lnTo>
                    <a:lnTo>
                      <a:pt x="45" y="3026"/>
                    </a:lnTo>
                    <a:lnTo>
                      <a:pt x="39" y="2971"/>
                    </a:lnTo>
                    <a:lnTo>
                      <a:pt x="34" y="2915"/>
                    </a:lnTo>
                    <a:lnTo>
                      <a:pt x="26" y="2859"/>
                    </a:lnTo>
                    <a:lnTo>
                      <a:pt x="17" y="2804"/>
                    </a:lnTo>
                    <a:lnTo>
                      <a:pt x="11" y="2767"/>
                    </a:lnTo>
                    <a:lnTo>
                      <a:pt x="7" y="2730"/>
                    </a:lnTo>
                    <a:lnTo>
                      <a:pt x="4" y="2696"/>
                    </a:lnTo>
                    <a:lnTo>
                      <a:pt x="1" y="2662"/>
                    </a:lnTo>
                    <a:lnTo>
                      <a:pt x="0" y="2630"/>
                    </a:lnTo>
                    <a:lnTo>
                      <a:pt x="0" y="2599"/>
                    </a:lnTo>
                    <a:lnTo>
                      <a:pt x="3" y="2568"/>
                    </a:lnTo>
                    <a:lnTo>
                      <a:pt x="6" y="2538"/>
                    </a:lnTo>
                    <a:lnTo>
                      <a:pt x="9" y="2510"/>
                    </a:lnTo>
                    <a:lnTo>
                      <a:pt x="14" y="2483"/>
                    </a:lnTo>
                    <a:lnTo>
                      <a:pt x="21" y="2456"/>
                    </a:lnTo>
                    <a:lnTo>
                      <a:pt x="28" y="2430"/>
                    </a:lnTo>
                    <a:lnTo>
                      <a:pt x="38" y="2405"/>
                    </a:lnTo>
                    <a:lnTo>
                      <a:pt x="48" y="2381"/>
                    </a:lnTo>
                    <a:lnTo>
                      <a:pt x="60" y="2358"/>
                    </a:lnTo>
                    <a:lnTo>
                      <a:pt x="73" y="2335"/>
                    </a:lnTo>
                    <a:lnTo>
                      <a:pt x="85" y="2318"/>
                    </a:lnTo>
                    <a:lnTo>
                      <a:pt x="95" y="2302"/>
                    </a:lnTo>
                    <a:lnTo>
                      <a:pt x="107" y="2286"/>
                    </a:lnTo>
                    <a:lnTo>
                      <a:pt x="118" y="2269"/>
                    </a:lnTo>
                    <a:lnTo>
                      <a:pt x="150" y="2224"/>
                    </a:lnTo>
                    <a:lnTo>
                      <a:pt x="182" y="2180"/>
                    </a:lnTo>
                    <a:lnTo>
                      <a:pt x="213" y="2134"/>
                    </a:lnTo>
                    <a:lnTo>
                      <a:pt x="243" y="2089"/>
                    </a:lnTo>
                    <a:lnTo>
                      <a:pt x="273" y="2044"/>
                    </a:lnTo>
                    <a:lnTo>
                      <a:pt x="301" y="1998"/>
                    </a:lnTo>
                    <a:lnTo>
                      <a:pt x="326" y="1952"/>
                    </a:lnTo>
                    <a:lnTo>
                      <a:pt x="352" y="1906"/>
                    </a:lnTo>
                    <a:lnTo>
                      <a:pt x="376" y="1859"/>
                    </a:lnTo>
                    <a:lnTo>
                      <a:pt x="397" y="1812"/>
                    </a:lnTo>
                    <a:lnTo>
                      <a:pt x="407" y="1787"/>
                    </a:lnTo>
                    <a:lnTo>
                      <a:pt x="417" y="1763"/>
                    </a:lnTo>
                    <a:lnTo>
                      <a:pt x="426" y="1738"/>
                    </a:lnTo>
                    <a:lnTo>
                      <a:pt x="433" y="1713"/>
                    </a:lnTo>
                    <a:lnTo>
                      <a:pt x="442" y="1689"/>
                    </a:lnTo>
                    <a:lnTo>
                      <a:pt x="449" y="1663"/>
                    </a:lnTo>
                    <a:lnTo>
                      <a:pt x="455" y="1637"/>
                    </a:lnTo>
                    <a:lnTo>
                      <a:pt x="460" y="1611"/>
                    </a:lnTo>
                    <a:lnTo>
                      <a:pt x="466" y="1585"/>
                    </a:lnTo>
                    <a:lnTo>
                      <a:pt x="470" y="1558"/>
                    </a:lnTo>
                    <a:lnTo>
                      <a:pt x="473" y="1531"/>
                    </a:lnTo>
                    <a:lnTo>
                      <a:pt x="476" y="1503"/>
                    </a:lnTo>
                    <a:lnTo>
                      <a:pt x="476" y="1464"/>
                    </a:lnTo>
                    <a:lnTo>
                      <a:pt x="474" y="1425"/>
                    </a:lnTo>
                    <a:lnTo>
                      <a:pt x="471" y="1386"/>
                    </a:lnTo>
                    <a:lnTo>
                      <a:pt x="468" y="1347"/>
                    </a:lnTo>
                    <a:lnTo>
                      <a:pt x="464" y="1309"/>
                    </a:lnTo>
                    <a:lnTo>
                      <a:pt x="458" y="1271"/>
                    </a:lnTo>
                    <a:lnTo>
                      <a:pt x="453" y="1233"/>
                    </a:lnTo>
                    <a:lnTo>
                      <a:pt x="445" y="1195"/>
                    </a:lnTo>
                    <a:lnTo>
                      <a:pt x="438" y="1157"/>
                    </a:lnTo>
                    <a:lnTo>
                      <a:pt x="430" y="1120"/>
                    </a:lnTo>
                    <a:lnTo>
                      <a:pt x="420" y="1083"/>
                    </a:lnTo>
                    <a:lnTo>
                      <a:pt x="411" y="1046"/>
                    </a:lnTo>
                    <a:lnTo>
                      <a:pt x="401" y="1010"/>
                    </a:lnTo>
                    <a:lnTo>
                      <a:pt x="389" y="974"/>
                    </a:lnTo>
                    <a:lnTo>
                      <a:pt x="378" y="938"/>
                    </a:lnTo>
                    <a:lnTo>
                      <a:pt x="366" y="903"/>
                    </a:lnTo>
                    <a:lnTo>
                      <a:pt x="341" y="833"/>
                    </a:lnTo>
                    <a:lnTo>
                      <a:pt x="312" y="763"/>
                    </a:lnTo>
                    <a:lnTo>
                      <a:pt x="284" y="695"/>
                    </a:lnTo>
                    <a:lnTo>
                      <a:pt x="254" y="629"/>
                    </a:lnTo>
                    <a:lnTo>
                      <a:pt x="223" y="564"/>
                    </a:lnTo>
                    <a:lnTo>
                      <a:pt x="190" y="500"/>
                    </a:lnTo>
                    <a:lnTo>
                      <a:pt x="159" y="437"/>
                    </a:lnTo>
                    <a:lnTo>
                      <a:pt x="127" y="376"/>
                    </a:lnTo>
                    <a:lnTo>
                      <a:pt x="125" y="372"/>
                    </a:lnTo>
                    <a:lnTo>
                      <a:pt x="125" y="368"/>
                    </a:lnTo>
                    <a:lnTo>
                      <a:pt x="126" y="364"/>
                    </a:lnTo>
                    <a:lnTo>
                      <a:pt x="129" y="361"/>
                    </a:lnTo>
                    <a:lnTo>
                      <a:pt x="138" y="351"/>
                    </a:lnTo>
                    <a:lnTo>
                      <a:pt x="145" y="342"/>
                    </a:lnTo>
                    <a:lnTo>
                      <a:pt x="152" y="333"/>
                    </a:lnTo>
                    <a:lnTo>
                      <a:pt x="157" y="323"/>
                    </a:lnTo>
                    <a:lnTo>
                      <a:pt x="162" y="313"/>
                    </a:lnTo>
                    <a:lnTo>
                      <a:pt x="167" y="304"/>
                    </a:lnTo>
                    <a:lnTo>
                      <a:pt x="170" y="294"/>
                    </a:lnTo>
                    <a:lnTo>
                      <a:pt x="173" y="284"/>
                    </a:lnTo>
                    <a:lnTo>
                      <a:pt x="175" y="274"/>
                    </a:lnTo>
                    <a:lnTo>
                      <a:pt x="176" y="264"/>
                    </a:lnTo>
                    <a:lnTo>
                      <a:pt x="176" y="254"/>
                    </a:lnTo>
                    <a:lnTo>
                      <a:pt x="176" y="243"/>
                    </a:lnTo>
                    <a:lnTo>
                      <a:pt x="176" y="233"/>
                    </a:lnTo>
                    <a:lnTo>
                      <a:pt x="175" y="223"/>
                    </a:lnTo>
                    <a:lnTo>
                      <a:pt x="173" y="212"/>
                    </a:lnTo>
                    <a:lnTo>
                      <a:pt x="171" y="201"/>
                    </a:lnTo>
                    <a:lnTo>
                      <a:pt x="165" y="179"/>
                    </a:lnTo>
                    <a:lnTo>
                      <a:pt x="157" y="158"/>
                    </a:lnTo>
                    <a:lnTo>
                      <a:pt x="147" y="135"/>
                    </a:lnTo>
                    <a:lnTo>
                      <a:pt x="135" y="113"/>
                    </a:lnTo>
                    <a:lnTo>
                      <a:pt x="123" y="90"/>
                    </a:lnTo>
                    <a:lnTo>
                      <a:pt x="111" y="67"/>
                    </a:lnTo>
                    <a:lnTo>
                      <a:pt x="95" y="45"/>
                    </a:lnTo>
                    <a:lnTo>
                      <a:pt x="81" y="21"/>
                    </a:lnTo>
                    <a:lnTo>
                      <a:pt x="79" y="15"/>
                    </a:lnTo>
                    <a:lnTo>
                      <a:pt x="79" y="11"/>
                    </a:lnTo>
                    <a:lnTo>
                      <a:pt x="81" y="6"/>
                    </a:lnTo>
                    <a:lnTo>
                      <a:pt x="86" y="2"/>
                    </a:lnTo>
                    <a:lnTo>
                      <a:pt x="90" y="0"/>
                    </a:lnTo>
                    <a:lnTo>
                      <a:pt x="95" y="0"/>
                    </a:lnTo>
                    <a:lnTo>
                      <a:pt x="100" y="2"/>
                    </a:lnTo>
                    <a:lnTo>
                      <a:pt x="104" y="7"/>
                    </a:lnTo>
                    <a:lnTo>
                      <a:pt x="129" y="46"/>
                    </a:lnTo>
                    <a:lnTo>
                      <a:pt x="154" y="89"/>
                    </a:lnTo>
                    <a:lnTo>
                      <a:pt x="166" y="111"/>
                    </a:lnTo>
                    <a:lnTo>
                      <a:pt x="176" y="134"/>
                    </a:lnTo>
                    <a:lnTo>
                      <a:pt x="186" y="158"/>
                    </a:lnTo>
                    <a:lnTo>
                      <a:pt x="194" y="182"/>
                    </a:lnTo>
                    <a:lnTo>
                      <a:pt x="197" y="195"/>
                    </a:lnTo>
                    <a:lnTo>
                      <a:pt x="199" y="206"/>
                    </a:lnTo>
                    <a:lnTo>
                      <a:pt x="201" y="218"/>
                    </a:lnTo>
                    <a:lnTo>
                      <a:pt x="203" y="230"/>
                    </a:lnTo>
                    <a:lnTo>
                      <a:pt x="203" y="243"/>
                    </a:lnTo>
                    <a:lnTo>
                      <a:pt x="203" y="255"/>
                    </a:lnTo>
                    <a:lnTo>
                      <a:pt x="203" y="267"/>
                    </a:lnTo>
                    <a:lnTo>
                      <a:pt x="201" y="279"/>
                    </a:lnTo>
                    <a:lnTo>
                      <a:pt x="199" y="291"/>
                    </a:lnTo>
                    <a:lnTo>
                      <a:pt x="196" y="303"/>
                    </a:lnTo>
                    <a:lnTo>
                      <a:pt x="192" y="314"/>
                    </a:lnTo>
                    <a:lnTo>
                      <a:pt x="186" y="326"/>
                    </a:lnTo>
                    <a:lnTo>
                      <a:pt x="180" y="338"/>
                    </a:lnTo>
                    <a:lnTo>
                      <a:pt x="173" y="350"/>
                    </a:lnTo>
                    <a:lnTo>
                      <a:pt x="165" y="361"/>
                    </a:lnTo>
                    <a:lnTo>
                      <a:pt x="155" y="372"/>
                    </a:lnTo>
                    <a:lnTo>
                      <a:pt x="187" y="433"/>
                    </a:lnTo>
                    <a:lnTo>
                      <a:pt x="220" y="496"/>
                    </a:lnTo>
                    <a:lnTo>
                      <a:pt x="251" y="559"/>
                    </a:lnTo>
                    <a:lnTo>
                      <a:pt x="282" y="625"/>
                    </a:lnTo>
                    <a:lnTo>
                      <a:pt x="312" y="692"/>
                    </a:lnTo>
                    <a:lnTo>
                      <a:pt x="341" y="760"/>
                    </a:lnTo>
                    <a:lnTo>
                      <a:pt x="369" y="829"/>
                    </a:lnTo>
                    <a:lnTo>
                      <a:pt x="393" y="899"/>
                    </a:lnTo>
                    <a:lnTo>
                      <a:pt x="405" y="936"/>
                    </a:lnTo>
                    <a:lnTo>
                      <a:pt x="417" y="972"/>
                    </a:lnTo>
                    <a:lnTo>
                      <a:pt x="428" y="1009"/>
                    </a:lnTo>
                    <a:lnTo>
                      <a:pt x="439" y="1045"/>
                    </a:lnTo>
                    <a:lnTo>
                      <a:pt x="449" y="1082"/>
                    </a:lnTo>
                    <a:lnTo>
                      <a:pt x="457" y="1119"/>
                    </a:lnTo>
                    <a:lnTo>
                      <a:pt x="466" y="1156"/>
                    </a:lnTo>
                    <a:lnTo>
                      <a:pt x="473" y="1194"/>
                    </a:lnTo>
                    <a:lnTo>
                      <a:pt x="480" y="1232"/>
                    </a:lnTo>
                    <a:lnTo>
                      <a:pt x="485" y="1270"/>
                    </a:lnTo>
                    <a:lnTo>
                      <a:pt x="491" y="1309"/>
                    </a:lnTo>
                    <a:lnTo>
                      <a:pt x="495" y="1347"/>
                    </a:lnTo>
                    <a:lnTo>
                      <a:pt x="498" y="1386"/>
                    </a:lnTo>
                    <a:lnTo>
                      <a:pt x="501" y="1425"/>
                    </a:lnTo>
                    <a:lnTo>
                      <a:pt x="503" y="1465"/>
                    </a:lnTo>
                    <a:lnTo>
                      <a:pt x="503" y="1504"/>
                    </a:lnTo>
                    <a:lnTo>
                      <a:pt x="500" y="1533"/>
                    </a:lnTo>
                    <a:lnTo>
                      <a:pt x="497" y="1560"/>
                    </a:lnTo>
                    <a:lnTo>
                      <a:pt x="493" y="1588"/>
                    </a:lnTo>
                    <a:lnTo>
                      <a:pt x="487" y="1615"/>
                    </a:lnTo>
                    <a:lnTo>
                      <a:pt x="482" y="1641"/>
                    </a:lnTo>
                    <a:lnTo>
                      <a:pt x="476" y="1668"/>
                    </a:lnTo>
                    <a:lnTo>
                      <a:pt x="468" y="1694"/>
                    </a:lnTo>
                    <a:lnTo>
                      <a:pt x="460" y="1720"/>
                    </a:lnTo>
                    <a:lnTo>
                      <a:pt x="452" y="1745"/>
                    </a:lnTo>
                    <a:lnTo>
                      <a:pt x="443" y="1771"/>
                    </a:lnTo>
                    <a:lnTo>
                      <a:pt x="433" y="1795"/>
                    </a:lnTo>
                    <a:lnTo>
                      <a:pt x="423" y="1820"/>
                    </a:lnTo>
                    <a:lnTo>
                      <a:pt x="401" y="1869"/>
                    </a:lnTo>
                    <a:lnTo>
                      <a:pt x="377" y="1916"/>
                    </a:lnTo>
                    <a:lnTo>
                      <a:pt x="351" y="1964"/>
                    </a:lnTo>
                    <a:lnTo>
                      <a:pt x="324" y="2010"/>
                    </a:lnTo>
                    <a:lnTo>
                      <a:pt x="296" y="2057"/>
                    </a:lnTo>
                    <a:lnTo>
                      <a:pt x="267" y="2102"/>
                    </a:lnTo>
                    <a:lnTo>
                      <a:pt x="236" y="2148"/>
                    </a:lnTo>
                    <a:lnTo>
                      <a:pt x="204" y="2194"/>
                    </a:lnTo>
                    <a:lnTo>
                      <a:pt x="173" y="2239"/>
                    </a:lnTo>
                    <a:lnTo>
                      <a:pt x="141" y="2286"/>
                    </a:lnTo>
                    <a:lnTo>
                      <a:pt x="129" y="2302"/>
                    </a:lnTo>
                    <a:lnTo>
                      <a:pt x="118" y="2317"/>
                    </a:lnTo>
                    <a:lnTo>
                      <a:pt x="106" y="2333"/>
                    </a:lnTo>
                    <a:lnTo>
                      <a:pt x="95" y="2349"/>
                    </a:lnTo>
                    <a:lnTo>
                      <a:pt x="84" y="2371"/>
                    </a:lnTo>
                    <a:lnTo>
                      <a:pt x="73" y="2393"/>
                    </a:lnTo>
                    <a:lnTo>
                      <a:pt x="63" y="2416"/>
                    </a:lnTo>
                    <a:lnTo>
                      <a:pt x="54" y="2440"/>
                    </a:lnTo>
                    <a:lnTo>
                      <a:pt x="47" y="2465"/>
                    </a:lnTo>
                    <a:lnTo>
                      <a:pt x="40" y="2491"/>
                    </a:lnTo>
                    <a:lnTo>
                      <a:pt x="36" y="2517"/>
                    </a:lnTo>
                    <a:lnTo>
                      <a:pt x="32" y="2544"/>
                    </a:lnTo>
                    <a:lnTo>
                      <a:pt x="30" y="2572"/>
                    </a:lnTo>
                    <a:lnTo>
                      <a:pt x="27" y="2601"/>
                    </a:lnTo>
                    <a:lnTo>
                      <a:pt x="27" y="2632"/>
                    </a:lnTo>
                    <a:lnTo>
                      <a:pt x="28" y="2662"/>
                    </a:lnTo>
                    <a:lnTo>
                      <a:pt x="31" y="2695"/>
                    </a:lnTo>
                    <a:lnTo>
                      <a:pt x="34" y="2728"/>
                    </a:lnTo>
                    <a:lnTo>
                      <a:pt x="38" y="2763"/>
                    </a:lnTo>
                    <a:lnTo>
                      <a:pt x="44" y="2799"/>
                    </a:lnTo>
                    <a:lnTo>
                      <a:pt x="52" y="2856"/>
                    </a:lnTo>
                    <a:lnTo>
                      <a:pt x="60" y="2912"/>
                    </a:lnTo>
                    <a:lnTo>
                      <a:pt x="66" y="2968"/>
                    </a:lnTo>
                    <a:lnTo>
                      <a:pt x="72" y="3024"/>
                    </a:lnTo>
                    <a:lnTo>
                      <a:pt x="76" y="3080"/>
                    </a:lnTo>
                    <a:lnTo>
                      <a:pt x="79" y="3135"/>
                    </a:lnTo>
                    <a:lnTo>
                      <a:pt x="81" y="3191"/>
                    </a:lnTo>
                    <a:lnTo>
                      <a:pt x="85" y="3246"/>
                    </a:lnTo>
                    <a:lnTo>
                      <a:pt x="87" y="3301"/>
                    </a:lnTo>
                    <a:lnTo>
                      <a:pt x="89" y="3356"/>
                    </a:lnTo>
                    <a:lnTo>
                      <a:pt x="92" y="3411"/>
                    </a:lnTo>
                    <a:lnTo>
                      <a:pt x="96" y="3468"/>
                    </a:lnTo>
                    <a:lnTo>
                      <a:pt x="102" y="3524"/>
                    </a:lnTo>
                    <a:lnTo>
                      <a:pt x="107" y="3579"/>
                    </a:lnTo>
                    <a:lnTo>
                      <a:pt x="115" y="3635"/>
                    </a:lnTo>
                    <a:lnTo>
                      <a:pt x="125" y="3690"/>
                    </a:lnTo>
                    <a:lnTo>
                      <a:pt x="128" y="3706"/>
                    </a:lnTo>
                    <a:lnTo>
                      <a:pt x="132" y="3722"/>
                    </a:lnTo>
                    <a:lnTo>
                      <a:pt x="135" y="3740"/>
                    </a:lnTo>
                    <a:lnTo>
                      <a:pt x="139" y="3757"/>
                    </a:lnTo>
                    <a:lnTo>
                      <a:pt x="145" y="3791"/>
                    </a:lnTo>
                    <a:lnTo>
                      <a:pt x="153" y="3826"/>
                    </a:lnTo>
                    <a:lnTo>
                      <a:pt x="157" y="3843"/>
                    </a:lnTo>
                    <a:lnTo>
                      <a:pt x="162" y="3861"/>
                    </a:lnTo>
                    <a:lnTo>
                      <a:pt x="168" y="3877"/>
                    </a:lnTo>
                    <a:lnTo>
                      <a:pt x="174" y="3893"/>
                    </a:lnTo>
                    <a:lnTo>
                      <a:pt x="182" y="3909"/>
                    </a:lnTo>
                    <a:lnTo>
                      <a:pt x="189" y="3924"/>
                    </a:lnTo>
                    <a:lnTo>
                      <a:pt x="199" y="3939"/>
                    </a:lnTo>
                    <a:lnTo>
                      <a:pt x="210" y="3954"/>
                    </a:lnTo>
                    <a:lnTo>
                      <a:pt x="222" y="3968"/>
                    </a:lnTo>
                    <a:lnTo>
                      <a:pt x="235" y="3981"/>
                    </a:lnTo>
                    <a:lnTo>
                      <a:pt x="249" y="3994"/>
                    </a:lnTo>
                    <a:lnTo>
                      <a:pt x="265" y="4006"/>
                    </a:lnTo>
                    <a:lnTo>
                      <a:pt x="269" y="4011"/>
                    </a:lnTo>
                    <a:lnTo>
                      <a:pt x="271" y="4015"/>
                    </a:lnTo>
                    <a:lnTo>
                      <a:pt x="270" y="4020"/>
                    </a:lnTo>
                    <a:lnTo>
                      <a:pt x="269" y="4026"/>
                    </a:lnTo>
                    <a:lnTo>
                      <a:pt x="266" y="4028"/>
                    </a:lnTo>
                    <a:lnTo>
                      <a:pt x="264" y="4030"/>
                    </a:lnTo>
                    <a:lnTo>
                      <a:pt x="261" y="4031"/>
                    </a:lnTo>
                    <a:lnTo>
                      <a:pt x="257" y="40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43"/>
              <p:cNvSpPr>
                <a:spLocks noEditPoints="1"/>
              </p:cNvSpPr>
              <p:nvPr userDrawn="1"/>
            </p:nvSpPr>
            <p:spPr bwMode="auto">
              <a:xfrm>
                <a:off x="2438" y="2509"/>
                <a:ext cx="216" cy="648"/>
              </a:xfrm>
              <a:custGeom>
                <a:avLst/>
                <a:gdLst>
                  <a:gd name="T0" fmla="*/ 30 w 649"/>
                  <a:gd name="T1" fmla="*/ 1944 h 1946"/>
                  <a:gd name="T2" fmla="*/ 18 w 649"/>
                  <a:gd name="T3" fmla="*/ 1874 h 1946"/>
                  <a:gd name="T4" fmla="*/ 2 w 649"/>
                  <a:gd name="T5" fmla="*/ 1631 h 1946"/>
                  <a:gd name="T6" fmla="*/ 3 w 649"/>
                  <a:gd name="T7" fmla="*/ 1394 h 1946"/>
                  <a:gd name="T8" fmla="*/ 28 w 649"/>
                  <a:gd name="T9" fmla="*/ 1154 h 1946"/>
                  <a:gd name="T10" fmla="*/ 74 w 649"/>
                  <a:gd name="T11" fmla="*/ 909 h 1946"/>
                  <a:gd name="T12" fmla="*/ 133 w 649"/>
                  <a:gd name="T13" fmla="*/ 671 h 1946"/>
                  <a:gd name="T14" fmla="*/ 214 w 649"/>
                  <a:gd name="T15" fmla="*/ 401 h 1946"/>
                  <a:gd name="T16" fmla="*/ 324 w 649"/>
                  <a:gd name="T17" fmla="*/ 92 h 1946"/>
                  <a:gd name="T18" fmla="*/ 359 w 649"/>
                  <a:gd name="T19" fmla="*/ 3 h 1946"/>
                  <a:gd name="T20" fmla="*/ 378 w 649"/>
                  <a:gd name="T21" fmla="*/ 2 h 1946"/>
                  <a:gd name="T22" fmla="*/ 381 w 649"/>
                  <a:gd name="T23" fmla="*/ 30 h 1946"/>
                  <a:gd name="T24" fmla="*/ 363 w 649"/>
                  <a:gd name="T25" fmla="*/ 177 h 1946"/>
                  <a:gd name="T26" fmla="*/ 357 w 649"/>
                  <a:gd name="T27" fmla="*/ 327 h 1946"/>
                  <a:gd name="T28" fmla="*/ 363 w 649"/>
                  <a:gd name="T29" fmla="*/ 517 h 1946"/>
                  <a:gd name="T30" fmla="*/ 394 w 649"/>
                  <a:gd name="T31" fmla="*/ 817 h 1946"/>
                  <a:gd name="T32" fmla="*/ 410 w 649"/>
                  <a:gd name="T33" fmla="*/ 978 h 1946"/>
                  <a:gd name="T34" fmla="*/ 428 w 649"/>
                  <a:gd name="T35" fmla="*/ 1179 h 1946"/>
                  <a:gd name="T36" fmla="*/ 470 w 649"/>
                  <a:gd name="T37" fmla="*/ 1400 h 1946"/>
                  <a:gd name="T38" fmla="*/ 529 w 649"/>
                  <a:gd name="T39" fmla="*/ 1568 h 1946"/>
                  <a:gd name="T40" fmla="*/ 595 w 649"/>
                  <a:gd name="T41" fmla="*/ 1685 h 1946"/>
                  <a:gd name="T42" fmla="*/ 646 w 649"/>
                  <a:gd name="T43" fmla="*/ 1740 h 1946"/>
                  <a:gd name="T44" fmla="*/ 647 w 649"/>
                  <a:gd name="T45" fmla="*/ 1754 h 1946"/>
                  <a:gd name="T46" fmla="*/ 617 w 649"/>
                  <a:gd name="T47" fmla="*/ 1767 h 1946"/>
                  <a:gd name="T48" fmla="*/ 527 w 649"/>
                  <a:gd name="T49" fmla="*/ 1788 h 1946"/>
                  <a:gd name="T50" fmla="*/ 402 w 649"/>
                  <a:gd name="T51" fmla="*/ 1812 h 1946"/>
                  <a:gd name="T52" fmla="*/ 214 w 649"/>
                  <a:gd name="T53" fmla="*/ 1860 h 1946"/>
                  <a:gd name="T54" fmla="*/ 114 w 649"/>
                  <a:gd name="T55" fmla="*/ 1902 h 1946"/>
                  <a:gd name="T56" fmla="*/ 43 w 649"/>
                  <a:gd name="T57" fmla="*/ 1946 h 1946"/>
                  <a:gd name="T58" fmla="*/ 325 w 649"/>
                  <a:gd name="T59" fmla="*/ 166 h 1946"/>
                  <a:gd name="T60" fmla="*/ 232 w 649"/>
                  <a:gd name="T61" fmla="*/ 436 h 1946"/>
                  <a:gd name="T62" fmla="*/ 131 w 649"/>
                  <a:gd name="T63" fmla="*/ 787 h 1946"/>
                  <a:gd name="T64" fmla="*/ 77 w 649"/>
                  <a:gd name="T65" fmla="*/ 1026 h 1946"/>
                  <a:gd name="T66" fmla="*/ 46 w 649"/>
                  <a:gd name="T67" fmla="*/ 1219 h 1946"/>
                  <a:gd name="T68" fmla="*/ 29 w 649"/>
                  <a:gd name="T69" fmla="*/ 1406 h 1946"/>
                  <a:gd name="T70" fmla="*/ 29 w 649"/>
                  <a:gd name="T71" fmla="*/ 1621 h 1946"/>
                  <a:gd name="T72" fmla="*/ 43 w 649"/>
                  <a:gd name="T73" fmla="*/ 1851 h 1946"/>
                  <a:gd name="T74" fmla="*/ 117 w 649"/>
                  <a:gd name="T75" fmla="*/ 1870 h 1946"/>
                  <a:gd name="T76" fmla="*/ 216 w 649"/>
                  <a:gd name="T77" fmla="*/ 1831 h 1946"/>
                  <a:gd name="T78" fmla="*/ 399 w 649"/>
                  <a:gd name="T79" fmla="*/ 1785 h 1946"/>
                  <a:gd name="T80" fmla="*/ 570 w 649"/>
                  <a:gd name="T81" fmla="*/ 1751 h 1946"/>
                  <a:gd name="T82" fmla="*/ 558 w 649"/>
                  <a:gd name="T83" fmla="*/ 1680 h 1946"/>
                  <a:gd name="T84" fmla="*/ 494 w 649"/>
                  <a:gd name="T85" fmla="*/ 1559 h 1946"/>
                  <a:gd name="T86" fmla="*/ 439 w 649"/>
                  <a:gd name="T87" fmla="*/ 1391 h 1946"/>
                  <a:gd name="T88" fmla="*/ 401 w 649"/>
                  <a:gd name="T89" fmla="*/ 1178 h 1946"/>
                  <a:gd name="T90" fmla="*/ 383 w 649"/>
                  <a:gd name="T91" fmla="*/ 981 h 1946"/>
                  <a:gd name="T92" fmla="*/ 367 w 649"/>
                  <a:gd name="T93" fmla="*/ 820 h 1946"/>
                  <a:gd name="T94" fmla="*/ 338 w 649"/>
                  <a:gd name="T95" fmla="*/ 522 h 1946"/>
                  <a:gd name="T96" fmla="*/ 330 w 649"/>
                  <a:gd name="T97" fmla="*/ 328 h 1946"/>
                  <a:gd name="T98" fmla="*/ 336 w 649"/>
                  <a:gd name="T99" fmla="*/ 175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9" h="1946">
                    <a:moveTo>
                      <a:pt x="38" y="1946"/>
                    </a:moveTo>
                    <a:lnTo>
                      <a:pt x="35" y="1946"/>
                    </a:lnTo>
                    <a:lnTo>
                      <a:pt x="33" y="1945"/>
                    </a:lnTo>
                    <a:lnTo>
                      <a:pt x="30" y="1944"/>
                    </a:lnTo>
                    <a:lnTo>
                      <a:pt x="28" y="1941"/>
                    </a:lnTo>
                    <a:lnTo>
                      <a:pt x="25" y="1938"/>
                    </a:lnTo>
                    <a:lnTo>
                      <a:pt x="25" y="1934"/>
                    </a:lnTo>
                    <a:lnTo>
                      <a:pt x="18" y="1874"/>
                    </a:lnTo>
                    <a:lnTo>
                      <a:pt x="13" y="1812"/>
                    </a:lnTo>
                    <a:lnTo>
                      <a:pt x="8" y="1752"/>
                    </a:lnTo>
                    <a:lnTo>
                      <a:pt x="4" y="1691"/>
                    </a:lnTo>
                    <a:lnTo>
                      <a:pt x="2" y="1631"/>
                    </a:lnTo>
                    <a:lnTo>
                      <a:pt x="0" y="1571"/>
                    </a:lnTo>
                    <a:lnTo>
                      <a:pt x="0" y="1511"/>
                    </a:lnTo>
                    <a:lnTo>
                      <a:pt x="1" y="1451"/>
                    </a:lnTo>
                    <a:lnTo>
                      <a:pt x="3" y="1394"/>
                    </a:lnTo>
                    <a:lnTo>
                      <a:pt x="6" y="1335"/>
                    </a:lnTo>
                    <a:lnTo>
                      <a:pt x="13" y="1275"/>
                    </a:lnTo>
                    <a:lnTo>
                      <a:pt x="19" y="1214"/>
                    </a:lnTo>
                    <a:lnTo>
                      <a:pt x="28" y="1154"/>
                    </a:lnTo>
                    <a:lnTo>
                      <a:pt x="37" y="1092"/>
                    </a:lnTo>
                    <a:lnTo>
                      <a:pt x="49" y="1032"/>
                    </a:lnTo>
                    <a:lnTo>
                      <a:pt x="61" y="970"/>
                    </a:lnTo>
                    <a:lnTo>
                      <a:pt x="74" y="909"/>
                    </a:lnTo>
                    <a:lnTo>
                      <a:pt x="88" y="848"/>
                    </a:lnTo>
                    <a:lnTo>
                      <a:pt x="103" y="788"/>
                    </a:lnTo>
                    <a:lnTo>
                      <a:pt x="118" y="730"/>
                    </a:lnTo>
                    <a:lnTo>
                      <a:pt x="133" y="671"/>
                    </a:lnTo>
                    <a:lnTo>
                      <a:pt x="150" y="614"/>
                    </a:lnTo>
                    <a:lnTo>
                      <a:pt x="166" y="558"/>
                    </a:lnTo>
                    <a:lnTo>
                      <a:pt x="182" y="504"/>
                    </a:lnTo>
                    <a:lnTo>
                      <a:pt x="214" y="401"/>
                    </a:lnTo>
                    <a:lnTo>
                      <a:pt x="246" y="308"/>
                    </a:lnTo>
                    <a:lnTo>
                      <a:pt x="275" y="223"/>
                    </a:lnTo>
                    <a:lnTo>
                      <a:pt x="302" y="151"/>
                    </a:lnTo>
                    <a:lnTo>
                      <a:pt x="324" y="92"/>
                    </a:lnTo>
                    <a:lnTo>
                      <a:pt x="341" y="47"/>
                    </a:lnTo>
                    <a:lnTo>
                      <a:pt x="353" y="18"/>
                    </a:lnTo>
                    <a:lnTo>
                      <a:pt x="357" y="7"/>
                    </a:lnTo>
                    <a:lnTo>
                      <a:pt x="359" y="3"/>
                    </a:lnTo>
                    <a:lnTo>
                      <a:pt x="363" y="1"/>
                    </a:lnTo>
                    <a:lnTo>
                      <a:pt x="368" y="0"/>
                    </a:lnTo>
                    <a:lnTo>
                      <a:pt x="373" y="0"/>
                    </a:lnTo>
                    <a:lnTo>
                      <a:pt x="378" y="2"/>
                    </a:lnTo>
                    <a:lnTo>
                      <a:pt x="381" y="5"/>
                    </a:lnTo>
                    <a:lnTo>
                      <a:pt x="383" y="10"/>
                    </a:lnTo>
                    <a:lnTo>
                      <a:pt x="383" y="15"/>
                    </a:lnTo>
                    <a:lnTo>
                      <a:pt x="381" y="30"/>
                    </a:lnTo>
                    <a:lnTo>
                      <a:pt x="376" y="66"/>
                    </a:lnTo>
                    <a:lnTo>
                      <a:pt x="371" y="107"/>
                    </a:lnTo>
                    <a:lnTo>
                      <a:pt x="368" y="139"/>
                    </a:lnTo>
                    <a:lnTo>
                      <a:pt x="363" y="177"/>
                    </a:lnTo>
                    <a:lnTo>
                      <a:pt x="360" y="216"/>
                    </a:lnTo>
                    <a:lnTo>
                      <a:pt x="358" y="253"/>
                    </a:lnTo>
                    <a:lnTo>
                      <a:pt x="357" y="290"/>
                    </a:lnTo>
                    <a:lnTo>
                      <a:pt x="357" y="327"/>
                    </a:lnTo>
                    <a:lnTo>
                      <a:pt x="357" y="365"/>
                    </a:lnTo>
                    <a:lnTo>
                      <a:pt x="358" y="401"/>
                    </a:lnTo>
                    <a:lnTo>
                      <a:pt x="359" y="439"/>
                    </a:lnTo>
                    <a:lnTo>
                      <a:pt x="363" y="517"/>
                    </a:lnTo>
                    <a:lnTo>
                      <a:pt x="371" y="599"/>
                    </a:lnTo>
                    <a:lnTo>
                      <a:pt x="380" y="686"/>
                    </a:lnTo>
                    <a:lnTo>
                      <a:pt x="389" y="780"/>
                    </a:lnTo>
                    <a:lnTo>
                      <a:pt x="394" y="817"/>
                    </a:lnTo>
                    <a:lnTo>
                      <a:pt x="397" y="856"/>
                    </a:lnTo>
                    <a:lnTo>
                      <a:pt x="401" y="895"/>
                    </a:lnTo>
                    <a:lnTo>
                      <a:pt x="406" y="936"/>
                    </a:lnTo>
                    <a:lnTo>
                      <a:pt x="410" y="978"/>
                    </a:lnTo>
                    <a:lnTo>
                      <a:pt x="414" y="1022"/>
                    </a:lnTo>
                    <a:lnTo>
                      <a:pt x="417" y="1068"/>
                    </a:lnTo>
                    <a:lnTo>
                      <a:pt x="422" y="1114"/>
                    </a:lnTo>
                    <a:lnTo>
                      <a:pt x="428" y="1179"/>
                    </a:lnTo>
                    <a:lnTo>
                      <a:pt x="437" y="1239"/>
                    </a:lnTo>
                    <a:lnTo>
                      <a:pt x="447" y="1296"/>
                    </a:lnTo>
                    <a:lnTo>
                      <a:pt x="457" y="1349"/>
                    </a:lnTo>
                    <a:lnTo>
                      <a:pt x="470" y="1400"/>
                    </a:lnTo>
                    <a:lnTo>
                      <a:pt x="483" y="1447"/>
                    </a:lnTo>
                    <a:lnTo>
                      <a:pt x="497" y="1491"/>
                    </a:lnTo>
                    <a:lnTo>
                      <a:pt x="512" y="1532"/>
                    </a:lnTo>
                    <a:lnTo>
                      <a:pt x="529" y="1568"/>
                    </a:lnTo>
                    <a:lnTo>
                      <a:pt x="545" y="1603"/>
                    </a:lnTo>
                    <a:lnTo>
                      <a:pt x="561" y="1633"/>
                    </a:lnTo>
                    <a:lnTo>
                      <a:pt x="578" y="1660"/>
                    </a:lnTo>
                    <a:lnTo>
                      <a:pt x="595" y="1685"/>
                    </a:lnTo>
                    <a:lnTo>
                      <a:pt x="612" y="1705"/>
                    </a:lnTo>
                    <a:lnTo>
                      <a:pt x="628" y="1723"/>
                    </a:lnTo>
                    <a:lnTo>
                      <a:pt x="644" y="1738"/>
                    </a:lnTo>
                    <a:lnTo>
                      <a:pt x="646" y="1740"/>
                    </a:lnTo>
                    <a:lnTo>
                      <a:pt x="649" y="1743"/>
                    </a:lnTo>
                    <a:lnTo>
                      <a:pt x="649" y="1747"/>
                    </a:lnTo>
                    <a:lnTo>
                      <a:pt x="649" y="1751"/>
                    </a:lnTo>
                    <a:lnTo>
                      <a:pt x="647" y="1754"/>
                    </a:lnTo>
                    <a:lnTo>
                      <a:pt x="645" y="1757"/>
                    </a:lnTo>
                    <a:lnTo>
                      <a:pt x="642" y="1759"/>
                    </a:lnTo>
                    <a:lnTo>
                      <a:pt x="639" y="1761"/>
                    </a:lnTo>
                    <a:lnTo>
                      <a:pt x="617" y="1767"/>
                    </a:lnTo>
                    <a:lnTo>
                      <a:pt x="595" y="1772"/>
                    </a:lnTo>
                    <a:lnTo>
                      <a:pt x="572" y="1778"/>
                    </a:lnTo>
                    <a:lnTo>
                      <a:pt x="549" y="1782"/>
                    </a:lnTo>
                    <a:lnTo>
                      <a:pt x="527" y="1788"/>
                    </a:lnTo>
                    <a:lnTo>
                      <a:pt x="503" y="1792"/>
                    </a:lnTo>
                    <a:lnTo>
                      <a:pt x="480" y="1796"/>
                    </a:lnTo>
                    <a:lnTo>
                      <a:pt x="457" y="1802"/>
                    </a:lnTo>
                    <a:lnTo>
                      <a:pt x="402" y="1812"/>
                    </a:lnTo>
                    <a:lnTo>
                      <a:pt x="348" y="1824"/>
                    </a:lnTo>
                    <a:lnTo>
                      <a:pt x="293" y="1837"/>
                    </a:lnTo>
                    <a:lnTo>
                      <a:pt x="240" y="1852"/>
                    </a:lnTo>
                    <a:lnTo>
                      <a:pt x="214" y="1860"/>
                    </a:lnTo>
                    <a:lnTo>
                      <a:pt x="189" y="1870"/>
                    </a:lnTo>
                    <a:lnTo>
                      <a:pt x="163" y="1879"/>
                    </a:lnTo>
                    <a:lnTo>
                      <a:pt x="139" y="1890"/>
                    </a:lnTo>
                    <a:lnTo>
                      <a:pt x="114" y="1902"/>
                    </a:lnTo>
                    <a:lnTo>
                      <a:pt x="91" y="1915"/>
                    </a:lnTo>
                    <a:lnTo>
                      <a:pt x="69" y="1929"/>
                    </a:lnTo>
                    <a:lnTo>
                      <a:pt x="46" y="1944"/>
                    </a:lnTo>
                    <a:lnTo>
                      <a:pt x="43" y="1946"/>
                    </a:lnTo>
                    <a:lnTo>
                      <a:pt x="38" y="1946"/>
                    </a:lnTo>
                    <a:close/>
                    <a:moveTo>
                      <a:pt x="343" y="118"/>
                    </a:moveTo>
                    <a:lnTo>
                      <a:pt x="343" y="118"/>
                    </a:lnTo>
                    <a:lnTo>
                      <a:pt x="325" y="166"/>
                    </a:lnTo>
                    <a:lnTo>
                      <a:pt x="304" y="223"/>
                    </a:lnTo>
                    <a:lnTo>
                      <a:pt x="281" y="288"/>
                    </a:lnTo>
                    <a:lnTo>
                      <a:pt x="258" y="359"/>
                    </a:lnTo>
                    <a:lnTo>
                      <a:pt x="232" y="436"/>
                    </a:lnTo>
                    <a:lnTo>
                      <a:pt x="206" y="518"/>
                    </a:lnTo>
                    <a:lnTo>
                      <a:pt x="181" y="604"/>
                    </a:lnTo>
                    <a:lnTo>
                      <a:pt x="155" y="694"/>
                    </a:lnTo>
                    <a:lnTo>
                      <a:pt x="131" y="787"/>
                    </a:lnTo>
                    <a:lnTo>
                      <a:pt x="108" y="882"/>
                    </a:lnTo>
                    <a:lnTo>
                      <a:pt x="97" y="929"/>
                    </a:lnTo>
                    <a:lnTo>
                      <a:pt x="87" y="978"/>
                    </a:lnTo>
                    <a:lnTo>
                      <a:pt x="77" y="1026"/>
                    </a:lnTo>
                    <a:lnTo>
                      <a:pt x="69" y="1075"/>
                    </a:lnTo>
                    <a:lnTo>
                      <a:pt x="60" y="1123"/>
                    </a:lnTo>
                    <a:lnTo>
                      <a:pt x="52" y="1171"/>
                    </a:lnTo>
                    <a:lnTo>
                      <a:pt x="46" y="1219"/>
                    </a:lnTo>
                    <a:lnTo>
                      <a:pt x="41" y="1266"/>
                    </a:lnTo>
                    <a:lnTo>
                      <a:pt x="35" y="1314"/>
                    </a:lnTo>
                    <a:lnTo>
                      <a:pt x="32" y="1360"/>
                    </a:lnTo>
                    <a:lnTo>
                      <a:pt x="29" y="1406"/>
                    </a:lnTo>
                    <a:lnTo>
                      <a:pt x="28" y="1452"/>
                    </a:lnTo>
                    <a:lnTo>
                      <a:pt x="27" y="1508"/>
                    </a:lnTo>
                    <a:lnTo>
                      <a:pt x="27" y="1564"/>
                    </a:lnTo>
                    <a:lnTo>
                      <a:pt x="29" y="1621"/>
                    </a:lnTo>
                    <a:lnTo>
                      <a:pt x="31" y="1678"/>
                    </a:lnTo>
                    <a:lnTo>
                      <a:pt x="34" y="1736"/>
                    </a:lnTo>
                    <a:lnTo>
                      <a:pt x="38" y="1794"/>
                    </a:lnTo>
                    <a:lnTo>
                      <a:pt x="43" y="1851"/>
                    </a:lnTo>
                    <a:lnTo>
                      <a:pt x="49" y="1908"/>
                    </a:lnTo>
                    <a:lnTo>
                      <a:pt x="71" y="1894"/>
                    </a:lnTo>
                    <a:lnTo>
                      <a:pt x="95" y="1883"/>
                    </a:lnTo>
                    <a:lnTo>
                      <a:pt x="117" y="1870"/>
                    </a:lnTo>
                    <a:lnTo>
                      <a:pt x="141" y="1859"/>
                    </a:lnTo>
                    <a:lnTo>
                      <a:pt x="166" y="1849"/>
                    </a:lnTo>
                    <a:lnTo>
                      <a:pt x="191" y="1839"/>
                    </a:lnTo>
                    <a:lnTo>
                      <a:pt x="216" y="1831"/>
                    </a:lnTo>
                    <a:lnTo>
                      <a:pt x="241" y="1823"/>
                    </a:lnTo>
                    <a:lnTo>
                      <a:pt x="293" y="1809"/>
                    </a:lnTo>
                    <a:lnTo>
                      <a:pt x="346" y="1796"/>
                    </a:lnTo>
                    <a:lnTo>
                      <a:pt x="399" y="1785"/>
                    </a:lnTo>
                    <a:lnTo>
                      <a:pt x="452" y="1775"/>
                    </a:lnTo>
                    <a:lnTo>
                      <a:pt x="491" y="1767"/>
                    </a:lnTo>
                    <a:lnTo>
                      <a:pt x="531" y="1758"/>
                    </a:lnTo>
                    <a:lnTo>
                      <a:pt x="570" y="1751"/>
                    </a:lnTo>
                    <a:lnTo>
                      <a:pt x="608" y="1741"/>
                    </a:lnTo>
                    <a:lnTo>
                      <a:pt x="591" y="1724"/>
                    </a:lnTo>
                    <a:lnTo>
                      <a:pt x="575" y="1703"/>
                    </a:lnTo>
                    <a:lnTo>
                      <a:pt x="558" y="1680"/>
                    </a:lnTo>
                    <a:lnTo>
                      <a:pt x="542" y="1654"/>
                    </a:lnTo>
                    <a:lnTo>
                      <a:pt x="525" y="1625"/>
                    </a:lnTo>
                    <a:lnTo>
                      <a:pt x="509" y="1593"/>
                    </a:lnTo>
                    <a:lnTo>
                      <a:pt x="494" y="1559"/>
                    </a:lnTo>
                    <a:lnTo>
                      <a:pt x="479" y="1521"/>
                    </a:lnTo>
                    <a:lnTo>
                      <a:pt x="465" y="1481"/>
                    </a:lnTo>
                    <a:lnTo>
                      <a:pt x="452" y="1438"/>
                    </a:lnTo>
                    <a:lnTo>
                      <a:pt x="439" y="1391"/>
                    </a:lnTo>
                    <a:lnTo>
                      <a:pt x="428" y="1343"/>
                    </a:lnTo>
                    <a:lnTo>
                      <a:pt x="417" y="1291"/>
                    </a:lnTo>
                    <a:lnTo>
                      <a:pt x="409" y="1236"/>
                    </a:lnTo>
                    <a:lnTo>
                      <a:pt x="401" y="1178"/>
                    </a:lnTo>
                    <a:lnTo>
                      <a:pt x="395" y="1117"/>
                    </a:lnTo>
                    <a:lnTo>
                      <a:pt x="392" y="1070"/>
                    </a:lnTo>
                    <a:lnTo>
                      <a:pt x="387" y="1024"/>
                    </a:lnTo>
                    <a:lnTo>
                      <a:pt x="383" y="981"/>
                    </a:lnTo>
                    <a:lnTo>
                      <a:pt x="379" y="939"/>
                    </a:lnTo>
                    <a:lnTo>
                      <a:pt x="374" y="898"/>
                    </a:lnTo>
                    <a:lnTo>
                      <a:pt x="370" y="858"/>
                    </a:lnTo>
                    <a:lnTo>
                      <a:pt x="367" y="820"/>
                    </a:lnTo>
                    <a:lnTo>
                      <a:pt x="362" y="783"/>
                    </a:lnTo>
                    <a:lnTo>
                      <a:pt x="353" y="691"/>
                    </a:lnTo>
                    <a:lnTo>
                      <a:pt x="344" y="604"/>
                    </a:lnTo>
                    <a:lnTo>
                      <a:pt x="338" y="522"/>
                    </a:lnTo>
                    <a:lnTo>
                      <a:pt x="332" y="444"/>
                    </a:lnTo>
                    <a:lnTo>
                      <a:pt x="331" y="405"/>
                    </a:lnTo>
                    <a:lnTo>
                      <a:pt x="330" y="366"/>
                    </a:lnTo>
                    <a:lnTo>
                      <a:pt x="330" y="328"/>
                    </a:lnTo>
                    <a:lnTo>
                      <a:pt x="330" y="290"/>
                    </a:lnTo>
                    <a:lnTo>
                      <a:pt x="331" y="253"/>
                    </a:lnTo>
                    <a:lnTo>
                      <a:pt x="333" y="214"/>
                    </a:lnTo>
                    <a:lnTo>
                      <a:pt x="336" y="175"/>
                    </a:lnTo>
                    <a:lnTo>
                      <a:pt x="341" y="136"/>
                    </a:lnTo>
                    <a:lnTo>
                      <a:pt x="342" y="127"/>
                    </a:lnTo>
                    <a:lnTo>
                      <a:pt x="343"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44"/>
              <p:cNvSpPr>
                <a:spLocks/>
              </p:cNvSpPr>
              <p:nvPr userDrawn="1"/>
            </p:nvSpPr>
            <p:spPr bwMode="auto">
              <a:xfrm>
                <a:off x="2470" y="2597"/>
                <a:ext cx="82" cy="520"/>
              </a:xfrm>
              <a:custGeom>
                <a:avLst/>
                <a:gdLst>
                  <a:gd name="T0" fmla="*/ 42 w 247"/>
                  <a:gd name="T1" fmla="*/ 1560 h 1560"/>
                  <a:gd name="T2" fmla="*/ 34 w 247"/>
                  <a:gd name="T3" fmla="*/ 1554 h 1560"/>
                  <a:gd name="T4" fmla="*/ 26 w 247"/>
                  <a:gd name="T5" fmla="*/ 1501 h 1560"/>
                  <a:gd name="T6" fmla="*/ 15 w 247"/>
                  <a:gd name="T7" fmla="*/ 1406 h 1560"/>
                  <a:gd name="T8" fmla="*/ 6 w 247"/>
                  <a:gd name="T9" fmla="*/ 1311 h 1560"/>
                  <a:gd name="T10" fmla="*/ 2 w 247"/>
                  <a:gd name="T11" fmla="*/ 1215 h 1560"/>
                  <a:gd name="T12" fmla="*/ 0 w 247"/>
                  <a:gd name="T13" fmla="*/ 1120 h 1560"/>
                  <a:gd name="T14" fmla="*/ 2 w 247"/>
                  <a:gd name="T15" fmla="*/ 1025 h 1560"/>
                  <a:gd name="T16" fmla="*/ 7 w 247"/>
                  <a:gd name="T17" fmla="*/ 929 h 1560"/>
                  <a:gd name="T18" fmla="*/ 16 w 247"/>
                  <a:gd name="T19" fmla="*/ 834 h 1560"/>
                  <a:gd name="T20" fmla="*/ 27 w 247"/>
                  <a:gd name="T21" fmla="*/ 738 h 1560"/>
                  <a:gd name="T22" fmla="*/ 42 w 247"/>
                  <a:gd name="T23" fmla="*/ 642 h 1560"/>
                  <a:gd name="T24" fmla="*/ 60 w 247"/>
                  <a:gd name="T25" fmla="*/ 546 h 1560"/>
                  <a:gd name="T26" fmla="*/ 82 w 247"/>
                  <a:gd name="T27" fmla="*/ 448 h 1560"/>
                  <a:gd name="T28" fmla="*/ 108 w 247"/>
                  <a:gd name="T29" fmla="*/ 352 h 1560"/>
                  <a:gd name="T30" fmla="*/ 136 w 247"/>
                  <a:gd name="T31" fmla="*/ 254 h 1560"/>
                  <a:gd name="T32" fmla="*/ 167 w 247"/>
                  <a:gd name="T33" fmla="*/ 157 h 1560"/>
                  <a:gd name="T34" fmla="*/ 203 w 247"/>
                  <a:gd name="T35" fmla="*/ 59 h 1560"/>
                  <a:gd name="T36" fmla="*/ 224 w 247"/>
                  <a:gd name="T37" fmla="*/ 5 h 1560"/>
                  <a:gd name="T38" fmla="*/ 233 w 247"/>
                  <a:gd name="T39" fmla="*/ 0 h 1560"/>
                  <a:gd name="T40" fmla="*/ 243 w 247"/>
                  <a:gd name="T41" fmla="*/ 5 h 1560"/>
                  <a:gd name="T42" fmla="*/ 247 w 247"/>
                  <a:gd name="T43" fmla="*/ 14 h 1560"/>
                  <a:gd name="T44" fmla="*/ 227 w 247"/>
                  <a:gd name="T45" fmla="*/ 68 h 1560"/>
                  <a:gd name="T46" fmla="*/ 193 w 247"/>
                  <a:gd name="T47" fmla="*/ 166 h 1560"/>
                  <a:gd name="T48" fmla="*/ 162 w 247"/>
                  <a:gd name="T49" fmla="*/ 263 h 1560"/>
                  <a:gd name="T50" fmla="*/ 133 w 247"/>
                  <a:gd name="T51" fmla="*/ 359 h 1560"/>
                  <a:gd name="T52" fmla="*/ 109 w 247"/>
                  <a:gd name="T53" fmla="*/ 455 h 1560"/>
                  <a:gd name="T54" fmla="*/ 87 w 247"/>
                  <a:gd name="T55" fmla="*/ 550 h 1560"/>
                  <a:gd name="T56" fmla="*/ 69 w 247"/>
                  <a:gd name="T57" fmla="*/ 646 h 1560"/>
                  <a:gd name="T58" fmla="*/ 54 w 247"/>
                  <a:gd name="T59" fmla="*/ 741 h 1560"/>
                  <a:gd name="T60" fmla="*/ 42 w 247"/>
                  <a:gd name="T61" fmla="*/ 836 h 1560"/>
                  <a:gd name="T62" fmla="*/ 34 w 247"/>
                  <a:gd name="T63" fmla="*/ 931 h 1560"/>
                  <a:gd name="T64" fmla="*/ 29 w 247"/>
                  <a:gd name="T65" fmla="*/ 1025 h 1560"/>
                  <a:gd name="T66" fmla="*/ 27 w 247"/>
                  <a:gd name="T67" fmla="*/ 1120 h 1560"/>
                  <a:gd name="T68" fmla="*/ 29 w 247"/>
                  <a:gd name="T69" fmla="*/ 1214 h 1560"/>
                  <a:gd name="T70" fmla="*/ 33 w 247"/>
                  <a:gd name="T71" fmla="*/ 1309 h 1560"/>
                  <a:gd name="T72" fmla="*/ 42 w 247"/>
                  <a:gd name="T73" fmla="*/ 1404 h 1560"/>
                  <a:gd name="T74" fmla="*/ 53 w 247"/>
                  <a:gd name="T75" fmla="*/ 1498 h 1560"/>
                  <a:gd name="T76" fmla="*/ 59 w 247"/>
                  <a:gd name="T77" fmla="*/ 1551 h 1560"/>
                  <a:gd name="T78" fmla="*/ 54 w 247"/>
                  <a:gd name="T79" fmla="*/ 1559 h 1560"/>
                  <a:gd name="T80" fmla="*/ 47 w 247"/>
                  <a:gd name="T81" fmla="*/ 15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7" h="1560">
                    <a:moveTo>
                      <a:pt x="46" y="1560"/>
                    </a:moveTo>
                    <a:lnTo>
                      <a:pt x="42" y="1560"/>
                    </a:lnTo>
                    <a:lnTo>
                      <a:pt x="37" y="1557"/>
                    </a:lnTo>
                    <a:lnTo>
                      <a:pt x="34" y="1554"/>
                    </a:lnTo>
                    <a:lnTo>
                      <a:pt x="33" y="1549"/>
                    </a:lnTo>
                    <a:lnTo>
                      <a:pt x="26" y="1501"/>
                    </a:lnTo>
                    <a:lnTo>
                      <a:pt x="20" y="1453"/>
                    </a:lnTo>
                    <a:lnTo>
                      <a:pt x="15" y="1406"/>
                    </a:lnTo>
                    <a:lnTo>
                      <a:pt x="10" y="1358"/>
                    </a:lnTo>
                    <a:lnTo>
                      <a:pt x="6" y="1311"/>
                    </a:lnTo>
                    <a:lnTo>
                      <a:pt x="4" y="1262"/>
                    </a:lnTo>
                    <a:lnTo>
                      <a:pt x="2" y="1215"/>
                    </a:lnTo>
                    <a:lnTo>
                      <a:pt x="1" y="1167"/>
                    </a:lnTo>
                    <a:lnTo>
                      <a:pt x="0" y="1120"/>
                    </a:lnTo>
                    <a:lnTo>
                      <a:pt x="1" y="1072"/>
                    </a:lnTo>
                    <a:lnTo>
                      <a:pt x="2" y="1025"/>
                    </a:lnTo>
                    <a:lnTo>
                      <a:pt x="4" y="976"/>
                    </a:lnTo>
                    <a:lnTo>
                      <a:pt x="7" y="929"/>
                    </a:lnTo>
                    <a:lnTo>
                      <a:pt x="10" y="881"/>
                    </a:lnTo>
                    <a:lnTo>
                      <a:pt x="16" y="834"/>
                    </a:lnTo>
                    <a:lnTo>
                      <a:pt x="21" y="785"/>
                    </a:lnTo>
                    <a:lnTo>
                      <a:pt x="27" y="738"/>
                    </a:lnTo>
                    <a:lnTo>
                      <a:pt x="34" y="689"/>
                    </a:lnTo>
                    <a:lnTo>
                      <a:pt x="42" y="642"/>
                    </a:lnTo>
                    <a:lnTo>
                      <a:pt x="50" y="593"/>
                    </a:lnTo>
                    <a:lnTo>
                      <a:pt x="60" y="546"/>
                    </a:lnTo>
                    <a:lnTo>
                      <a:pt x="71" y="497"/>
                    </a:lnTo>
                    <a:lnTo>
                      <a:pt x="82" y="448"/>
                    </a:lnTo>
                    <a:lnTo>
                      <a:pt x="95" y="400"/>
                    </a:lnTo>
                    <a:lnTo>
                      <a:pt x="108" y="352"/>
                    </a:lnTo>
                    <a:lnTo>
                      <a:pt x="121" y="304"/>
                    </a:lnTo>
                    <a:lnTo>
                      <a:pt x="136" y="254"/>
                    </a:lnTo>
                    <a:lnTo>
                      <a:pt x="151" y="205"/>
                    </a:lnTo>
                    <a:lnTo>
                      <a:pt x="167" y="157"/>
                    </a:lnTo>
                    <a:lnTo>
                      <a:pt x="184" y="108"/>
                    </a:lnTo>
                    <a:lnTo>
                      <a:pt x="203" y="59"/>
                    </a:lnTo>
                    <a:lnTo>
                      <a:pt x="221" y="9"/>
                    </a:lnTo>
                    <a:lnTo>
                      <a:pt x="224" y="5"/>
                    </a:lnTo>
                    <a:lnTo>
                      <a:pt x="229" y="1"/>
                    </a:lnTo>
                    <a:lnTo>
                      <a:pt x="233" y="0"/>
                    </a:lnTo>
                    <a:lnTo>
                      <a:pt x="238" y="1"/>
                    </a:lnTo>
                    <a:lnTo>
                      <a:pt x="243" y="5"/>
                    </a:lnTo>
                    <a:lnTo>
                      <a:pt x="246" y="9"/>
                    </a:lnTo>
                    <a:lnTo>
                      <a:pt x="247" y="14"/>
                    </a:lnTo>
                    <a:lnTo>
                      <a:pt x="246" y="19"/>
                    </a:lnTo>
                    <a:lnTo>
                      <a:pt x="227" y="68"/>
                    </a:lnTo>
                    <a:lnTo>
                      <a:pt x="210" y="117"/>
                    </a:lnTo>
                    <a:lnTo>
                      <a:pt x="193" y="166"/>
                    </a:lnTo>
                    <a:lnTo>
                      <a:pt x="177" y="214"/>
                    </a:lnTo>
                    <a:lnTo>
                      <a:pt x="162" y="263"/>
                    </a:lnTo>
                    <a:lnTo>
                      <a:pt x="146" y="310"/>
                    </a:lnTo>
                    <a:lnTo>
                      <a:pt x="133" y="359"/>
                    </a:lnTo>
                    <a:lnTo>
                      <a:pt x="121" y="406"/>
                    </a:lnTo>
                    <a:lnTo>
                      <a:pt x="109" y="455"/>
                    </a:lnTo>
                    <a:lnTo>
                      <a:pt x="97" y="502"/>
                    </a:lnTo>
                    <a:lnTo>
                      <a:pt x="87" y="550"/>
                    </a:lnTo>
                    <a:lnTo>
                      <a:pt x="77" y="598"/>
                    </a:lnTo>
                    <a:lnTo>
                      <a:pt x="69" y="646"/>
                    </a:lnTo>
                    <a:lnTo>
                      <a:pt x="61" y="693"/>
                    </a:lnTo>
                    <a:lnTo>
                      <a:pt x="54" y="741"/>
                    </a:lnTo>
                    <a:lnTo>
                      <a:pt x="47" y="788"/>
                    </a:lnTo>
                    <a:lnTo>
                      <a:pt x="42" y="836"/>
                    </a:lnTo>
                    <a:lnTo>
                      <a:pt x="37" y="883"/>
                    </a:lnTo>
                    <a:lnTo>
                      <a:pt x="34" y="931"/>
                    </a:lnTo>
                    <a:lnTo>
                      <a:pt x="31" y="978"/>
                    </a:lnTo>
                    <a:lnTo>
                      <a:pt x="29" y="1025"/>
                    </a:lnTo>
                    <a:lnTo>
                      <a:pt x="28" y="1072"/>
                    </a:lnTo>
                    <a:lnTo>
                      <a:pt x="27" y="1120"/>
                    </a:lnTo>
                    <a:lnTo>
                      <a:pt x="28" y="1167"/>
                    </a:lnTo>
                    <a:lnTo>
                      <a:pt x="29" y="1214"/>
                    </a:lnTo>
                    <a:lnTo>
                      <a:pt x="31" y="1261"/>
                    </a:lnTo>
                    <a:lnTo>
                      <a:pt x="33" y="1309"/>
                    </a:lnTo>
                    <a:lnTo>
                      <a:pt x="37" y="1356"/>
                    </a:lnTo>
                    <a:lnTo>
                      <a:pt x="42" y="1404"/>
                    </a:lnTo>
                    <a:lnTo>
                      <a:pt x="46" y="1450"/>
                    </a:lnTo>
                    <a:lnTo>
                      <a:pt x="53" y="1498"/>
                    </a:lnTo>
                    <a:lnTo>
                      <a:pt x="59" y="1545"/>
                    </a:lnTo>
                    <a:lnTo>
                      <a:pt x="59" y="1551"/>
                    </a:lnTo>
                    <a:lnTo>
                      <a:pt x="57" y="1555"/>
                    </a:lnTo>
                    <a:lnTo>
                      <a:pt x="54" y="1559"/>
                    </a:lnTo>
                    <a:lnTo>
                      <a:pt x="48" y="1560"/>
                    </a:lnTo>
                    <a:lnTo>
                      <a:pt x="47" y="1560"/>
                    </a:lnTo>
                    <a:lnTo>
                      <a:pt x="46" y="15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45"/>
              <p:cNvSpPr>
                <a:spLocks/>
              </p:cNvSpPr>
              <p:nvPr userDrawn="1"/>
            </p:nvSpPr>
            <p:spPr bwMode="auto">
              <a:xfrm>
                <a:off x="2509" y="2635"/>
                <a:ext cx="44" cy="462"/>
              </a:xfrm>
              <a:custGeom>
                <a:avLst/>
                <a:gdLst>
                  <a:gd name="T0" fmla="*/ 86 w 134"/>
                  <a:gd name="T1" fmla="*/ 1387 h 1388"/>
                  <a:gd name="T2" fmla="*/ 79 w 134"/>
                  <a:gd name="T3" fmla="*/ 1381 h 1388"/>
                  <a:gd name="T4" fmla="*/ 67 w 134"/>
                  <a:gd name="T5" fmla="*/ 1335 h 1388"/>
                  <a:gd name="T6" fmla="*/ 49 w 134"/>
                  <a:gd name="T7" fmla="*/ 1251 h 1388"/>
                  <a:gd name="T8" fmla="*/ 34 w 134"/>
                  <a:gd name="T9" fmla="*/ 1166 h 1388"/>
                  <a:gd name="T10" fmla="*/ 21 w 134"/>
                  <a:gd name="T11" fmla="*/ 1081 h 1388"/>
                  <a:gd name="T12" fmla="*/ 11 w 134"/>
                  <a:gd name="T13" fmla="*/ 997 h 1388"/>
                  <a:gd name="T14" fmla="*/ 5 w 134"/>
                  <a:gd name="T15" fmla="*/ 912 h 1388"/>
                  <a:gd name="T16" fmla="*/ 1 w 134"/>
                  <a:gd name="T17" fmla="*/ 828 h 1388"/>
                  <a:gd name="T18" fmla="*/ 0 w 134"/>
                  <a:gd name="T19" fmla="*/ 742 h 1388"/>
                  <a:gd name="T20" fmla="*/ 2 w 134"/>
                  <a:gd name="T21" fmla="*/ 657 h 1388"/>
                  <a:gd name="T22" fmla="*/ 7 w 134"/>
                  <a:gd name="T23" fmla="*/ 572 h 1388"/>
                  <a:gd name="T24" fmla="*/ 14 w 134"/>
                  <a:gd name="T25" fmla="*/ 487 h 1388"/>
                  <a:gd name="T26" fmla="*/ 25 w 134"/>
                  <a:gd name="T27" fmla="*/ 400 h 1388"/>
                  <a:gd name="T28" fmla="*/ 38 w 134"/>
                  <a:gd name="T29" fmla="*/ 315 h 1388"/>
                  <a:gd name="T30" fmla="*/ 54 w 134"/>
                  <a:gd name="T31" fmla="*/ 227 h 1388"/>
                  <a:gd name="T32" fmla="*/ 74 w 134"/>
                  <a:gd name="T33" fmla="*/ 141 h 1388"/>
                  <a:gd name="T34" fmla="*/ 95 w 134"/>
                  <a:gd name="T35" fmla="*/ 54 h 1388"/>
                  <a:gd name="T36" fmla="*/ 109 w 134"/>
                  <a:gd name="T37" fmla="*/ 5 h 1388"/>
                  <a:gd name="T38" fmla="*/ 119 w 134"/>
                  <a:gd name="T39" fmla="*/ 0 h 1388"/>
                  <a:gd name="T40" fmla="*/ 129 w 134"/>
                  <a:gd name="T41" fmla="*/ 3 h 1388"/>
                  <a:gd name="T42" fmla="*/ 134 w 134"/>
                  <a:gd name="T43" fmla="*/ 12 h 1388"/>
                  <a:gd name="T44" fmla="*/ 121 w 134"/>
                  <a:gd name="T45" fmla="*/ 60 h 1388"/>
                  <a:gd name="T46" fmla="*/ 100 w 134"/>
                  <a:gd name="T47" fmla="*/ 147 h 1388"/>
                  <a:gd name="T48" fmla="*/ 81 w 134"/>
                  <a:gd name="T49" fmla="*/ 233 h 1388"/>
                  <a:gd name="T50" fmla="*/ 65 w 134"/>
                  <a:gd name="T51" fmla="*/ 319 h 1388"/>
                  <a:gd name="T52" fmla="*/ 52 w 134"/>
                  <a:gd name="T53" fmla="*/ 405 h 1388"/>
                  <a:gd name="T54" fmla="*/ 41 w 134"/>
                  <a:gd name="T55" fmla="*/ 489 h 1388"/>
                  <a:gd name="T56" fmla="*/ 34 w 134"/>
                  <a:gd name="T57" fmla="*/ 574 h 1388"/>
                  <a:gd name="T58" fmla="*/ 29 w 134"/>
                  <a:gd name="T59" fmla="*/ 658 h 1388"/>
                  <a:gd name="T60" fmla="*/ 27 w 134"/>
                  <a:gd name="T61" fmla="*/ 742 h 1388"/>
                  <a:gd name="T62" fmla="*/ 28 w 134"/>
                  <a:gd name="T63" fmla="*/ 827 h 1388"/>
                  <a:gd name="T64" fmla="*/ 32 w 134"/>
                  <a:gd name="T65" fmla="*/ 911 h 1388"/>
                  <a:gd name="T66" fmla="*/ 38 w 134"/>
                  <a:gd name="T67" fmla="*/ 994 h 1388"/>
                  <a:gd name="T68" fmla="*/ 48 w 134"/>
                  <a:gd name="T69" fmla="*/ 1078 h 1388"/>
                  <a:gd name="T70" fmla="*/ 61 w 134"/>
                  <a:gd name="T71" fmla="*/ 1161 h 1388"/>
                  <a:gd name="T72" fmla="*/ 76 w 134"/>
                  <a:gd name="T73" fmla="*/ 1245 h 1388"/>
                  <a:gd name="T74" fmla="*/ 93 w 134"/>
                  <a:gd name="T75" fmla="*/ 1329 h 1388"/>
                  <a:gd name="T76" fmla="*/ 104 w 134"/>
                  <a:gd name="T77" fmla="*/ 1376 h 1388"/>
                  <a:gd name="T78" fmla="*/ 99 w 134"/>
                  <a:gd name="T79" fmla="*/ 1385 h 1388"/>
                  <a:gd name="T80" fmla="*/ 92 w 134"/>
                  <a:gd name="T81" fmla="*/ 1388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388">
                    <a:moveTo>
                      <a:pt x="90" y="1388"/>
                    </a:moveTo>
                    <a:lnTo>
                      <a:pt x="86" y="1387"/>
                    </a:lnTo>
                    <a:lnTo>
                      <a:pt x="82" y="1385"/>
                    </a:lnTo>
                    <a:lnTo>
                      <a:pt x="79" y="1381"/>
                    </a:lnTo>
                    <a:lnTo>
                      <a:pt x="77" y="1377"/>
                    </a:lnTo>
                    <a:lnTo>
                      <a:pt x="67" y="1335"/>
                    </a:lnTo>
                    <a:lnTo>
                      <a:pt x="58" y="1293"/>
                    </a:lnTo>
                    <a:lnTo>
                      <a:pt x="49" y="1251"/>
                    </a:lnTo>
                    <a:lnTo>
                      <a:pt x="41" y="1208"/>
                    </a:lnTo>
                    <a:lnTo>
                      <a:pt x="34" y="1166"/>
                    </a:lnTo>
                    <a:lnTo>
                      <a:pt x="27" y="1123"/>
                    </a:lnTo>
                    <a:lnTo>
                      <a:pt x="21" y="1081"/>
                    </a:lnTo>
                    <a:lnTo>
                      <a:pt x="16" y="1039"/>
                    </a:lnTo>
                    <a:lnTo>
                      <a:pt x="11" y="997"/>
                    </a:lnTo>
                    <a:lnTo>
                      <a:pt x="8" y="954"/>
                    </a:lnTo>
                    <a:lnTo>
                      <a:pt x="5" y="912"/>
                    </a:lnTo>
                    <a:lnTo>
                      <a:pt x="2" y="870"/>
                    </a:lnTo>
                    <a:lnTo>
                      <a:pt x="1" y="828"/>
                    </a:lnTo>
                    <a:lnTo>
                      <a:pt x="0" y="785"/>
                    </a:lnTo>
                    <a:lnTo>
                      <a:pt x="0" y="742"/>
                    </a:lnTo>
                    <a:lnTo>
                      <a:pt x="0" y="700"/>
                    </a:lnTo>
                    <a:lnTo>
                      <a:pt x="2" y="657"/>
                    </a:lnTo>
                    <a:lnTo>
                      <a:pt x="4" y="615"/>
                    </a:lnTo>
                    <a:lnTo>
                      <a:pt x="7" y="572"/>
                    </a:lnTo>
                    <a:lnTo>
                      <a:pt x="10" y="530"/>
                    </a:lnTo>
                    <a:lnTo>
                      <a:pt x="14" y="487"/>
                    </a:lnTo>
                    <a:lnTo>
                      <a:pt x="20" y="443"/>
                    </a:lnTo>
                    <a:lnTo>
                      <a:pt x="25" y="400"/>
                    </a:lnTo>
                    <a:lnTo>
                      <a:pt x="32" y="357"/>
                    </a:lnTo>
                    <a:lnTo>
                      <a:pt x="38" y="315"/>
                    </a:lnTo>
                    <a:lnTo>
                      <a:pt x="46" y="271"/>
                    </a:lnTo>
                    <a:lnTo>
                      <a:pt x="54" y="227"/>
                    </a:lnTo>
                    <a:lnTo>
                      <a:pt x="64" y="184"/>
                    </a:lnTo>
                    <a:lnTo>
                      <a:pt x="74" y="141"/>
                    </a:lnTo>
                    <a:lnTo>
                      <a:pt x="83" y="97"/>
                    </a:lnTo>
                    <a:lnTo>
                      <a:pt x="95" y="54"/>
                    </a:lnTo>
                    <a:lnTo>
                      <a:pt x="107" y="9"/>
                    </a:lnTo>
                    <a:lnTo>
                      <a:pt x="109" y="5"/>
                    </a:lnTo>
                    <a:lnTo>
                      <a:pt x="114" y="2"/>
                    </a:lnTo>
                    <a:lnTo>
                      <a:pt x="119" y="0"/>
                    </a:lnTo>
                    <a:lnTo>
                      <a:pt x="124" y="1"/>
                    </a:lnTo>
                    <a:lnTo>
                      <a:pt x="129" y="3"/>
                    </a:lnTo>
                    <a:lnTo>
                      <a:pt x="132" y="7"/>
                    </a:lnTo>
                    <a:lnTo>
                      <a:pt x="134" y="12"/>
                    </a:lnTo>
                    <a:lnTo>
                      <a:pt x="133" y="17"/>
                    </a:lnTo>
                    <a:lnTo>
                      <a:pt x="121" y="60"/>
                    </a:lnTo>
                    <a:lnTo>
                      <a:pt x="110" y="103"/>
                    </a:lnTo>
                    <a:lnTo>
                      <a:pt x="100" y="147"/>
                    </a:lnTo>
                    <a:lnTo>
                      <a:pt x="90" y="190"/>
                    </a:lnTo>
                    <a:lnTo>
                      <a:pt x="81" y="233"/>
                    </a:lnTo>
                    <a:lnTo>
                      <a:pt x="73" y="276"/>
                    </a:lnTo>
                    <a:lnTo>
                      <a:pt x="65" y="319"/>
                    </a:lnTo>
                    <a:lnTo>
                      <a:pt x="58" y="361"/>
                    </a:lnTo>
                    <a:lnTo>
                      <a:pt x="52" y="405"/>
                    </a:lnTo>
                    <a:lnTo>
                      <a:pt x="46" y="447"/>
                    </a:lnTo>
                    <a:lnTo>
                      <a:pt x="41" y="489"/>
                    </a:lnTo>
                    <a:lnTo>
                      <a:pt x="37" y="532"/>
                    </a:lnTo>
                    <a:lnTo>
                      <a:pt x="34" y="574"/>
                    </a:lnTo>
                    <a:lnTo>
                      <a:pt x="31" y="616"/>
                    </a:lnTo>
                    <a:lnTo>
                      <a:pt x="29" y="658"/>
                    </a:lnTo>
                    <a:lnTo>
                      <a:pt x="27" y="700"/>
                    </a:lnTo>
                    <a:lnTo>
                      <a:pt x="27" y="742"/>
                    </a:lnTo>
                    <a:lnTo>
                      <a:pt x="27" y="785"/>
                    </a:lnTo>
                    <a:lnTo>
                      <a:pt x="28" y="827"/>
                    </a:lnTo>
                    <a:lnTo>
                      <a:pt x="29" y="869"/>
                    </a:lnTo>
                    <a:lnTo>
                      <a:pt x="32" y="911"/>
                    </a:lnTo>
                    <a:lnTo>
                      <a:pt x="35" y="952"/>
                    </a:lnTo>
                    <a:lnTo>
                      <a:pt x="38" y="994"/>
                    </a:lnTo>
                    <a:lnTo>
                      <a:pt x="42" y="1036"/>
                    </a:lnTo>
                    <a:lnTo>
                      <a:pt x="48" y="1078"/>
                    </a:lnTo>
                    <a:lnTo>
                      <a:pt x="54" y="1120"/>
                    </a:lnTo>
                    <a:lnTo>
                      <a:pt x="61" y="1161"/>
                    </a:lnTo>
                    <a:lnTo>
                      <a:pt x="67" y="1203"/>
                    </a:lnTo>
                    <a:lnTo>
                      <a:pt x="76" y="1245"/>
                    </a:lnTo>
                    <a:lnTo>
                      <a:pt x="83" y="1288"/>
                    </a:lnTo>
                    <a:lnTo>
                      <a:pt x="93" y="1329"/>
                    </a:lnTo>
                    <a:lnTo>
                      <a:pt x="103" y="1371"/>
                    </a:lnTo>
                    <a:lnTo>
                      <a:pt x="104" y="1376"/>
                    </a:lnTo>
                    <a:lnTo>
                      <a:pt x="102" y="1381"/>
                    </a:lnTo>
                    <a:lnTo>
                      <a:pt x="99" y="1385"/>
                    </a:lnTo>
                    <a:lnTo>
                      <a:pt x="93" y="1387"/>
                    </a:lnTo>
                    <a:lnTo>
                      <a:pt x="92" y="1388"/>
                    </a:lnTo>
                    <a:lnTo>
                      <a:pt x="90" y="13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46"/>
              <p:cNvSpPr>
                <a:spLocks/>
              </p:cNvSpPr>
              <p:nvPr userDrawn="1"/>
            </p:nvSpPr>
            <p:spPr bwMode="auto">
              <a:xfrm>
                <a:off x="2543" y="2681"/>
                <a:ext cx="55" cy="411"/>
              </a:xfrm>
              <a:custGeom>
                <a:avLst/>
                <a:gdLst>
                  <a:gd name="T0" fmla="*/ 150 w 164"/>
                  <a:gd name="T1" fmla="*/ 1233 h 1233"/>
                  <a:gd name="T2" fmla="*/ 146 w 164"/>
                  <a:gd name="T3" fmla="*/ 1232 h 1233"/>
                  <a:gd name="T4" fmla="*/ 142 w 164"/>
                  <a:gd name="T5" fmla="*/ 1230 h 1233"/>
                  <a:gd name="T6" fmla="*/ 139 w 164"/>
                  <a:gd name="T7" fmla="*/ 1226 h 1233"/>
                  <a:gd name="T8" fmla="*/ 137 w 164"/>
                  <a:gd name="T9" fmla="*/ 1222 h 1233"/>
                  <a:gd name="T10" fmla="*/ 114 w 164"/>
                  <a:gd name="T11" fmla="*/ 1138 h 1233"/>
                  <a:gd name="T12" fmla="*/ 93 w 164"/>
                  <a:gd name="T13" fmla="*/ 1055 h 1233"/>
                  <a:gd name="T14" fmla="*/ 74 w 164"/>
                  <a:gd name="T15" fmla="*/ 972 h 1233"/>
                  <a:gd name="T16" fmla="*/ 57 w 164"/>
                  <a:gd name="T17" fmla="*/ 891 h 1233"/>
                  <a:gd name="T18" fmla="*/ 43 w 164"/>
                  <a:gd name="T19" fmla="*/ 811 h 1233"/>
                  <a:gd name="T20" fmla="*/ 30 w 164"/>
                  <a:gd name="T21" fmla="*/ 732 h 1233"/>
                  <a:gd name="T22" fmla="*/ 20 w 164"/>
                  <a:gd name="T23" fmla="*/ 654 h 1233"/>
                  <a:gd name="T24" fmla="*/ 12 w 164"/>
                  <a:gd name="T25" fmla="*/ 578 h 1233"/>
                  <a:gd name="T26" fmla="*/ 5 w 164"/>
                  <a:gd name="T27" fmla="*/ 502 h 1233"/>
                  <a:gd name="T28" fmla="*/ 2 w 164"/>
                  <a:gd name="T29" fmla="*/ 429 h 1233"/>
                  <a:gd name="T30" fmla="*/ 0 w 164"/>
                  <a:gd name="T31" fmla="*/ 355 h 1233"/>
                  <a:gd name="T32" fmla="*/ 0 w 164"/>
                  <a:gd name="T33" fmla="*/ 284 h 1233"/>
                  <a:gd name="T34" fmla="*/ 1 w 164"/>
                  <a:gd name="T35" fmla="*/ 248 h 1233"/>
                  <a:gd name="T36" fmla="*/ 3 w 164"/>
                  <a:gd name="T37" fmla="*/ 214 h 1233"/>
                  <a:gd name="T38" fmla="*/ 5 w 164"/>
                  <a:gd name="T39" fmla="*/ 179 h 1233"/>
                  <a:gd name="T40" fmla="*/ 7 w 164"/>
                  <a:gd name="T41" fmla="*/ 145 h 1233"/>
                  <a:gd name="T42" fmla="*/ 11 w 164"/>
                  <a:gd name="T43" fmla="*/ 111 h 1233"/>
                  <a:gd name="T44" fmla="*/ 14 w 164"/>
                  <a:gd name="T45" fmla="*/ 78 h 1233"/>
                  <a:gd name="T46" fmla="*/ 18 w 164"/>
                  <a:gd name="T47" fmla="*/ 44 h 1233"/>
                  <a:gd name="T48" fmla="*/ 24 w 164"/>
                  <a:gd name="T49" fmla="*/ 11 h 1233"/>
                  <a:gd name="T50" fmla="*/ 25 w 164"/>
                  <a:gd name="T51" fmla="*/ 7 h 1233"/>
                  <a:gd name="T52" fmla="*/ 29 w 164"/>
                  <a:gd name="T53" fmla="*/ 2 h 1233"/>
                  <a:gd name="T54" fmla="*/ 33 w 164"/>
                  <a:gd name="T55" fmla="*/ 0 h 1233"/>
                  <a:gd name="T56" fmla="*/ 39 w 164"/>
                  <a:gd name="T57" fmla="*/ 0 h 1233"/>
                  <a:gd name="T58" fmla="*/ 44 w 164"/>
                  <a:gd name="T59" fmla="*/ 2 h 1233"/>
                  <a:gd name="T60" fmla="*/ 47 w 164"/>
                  <a:gd name="T61" fmla="*/ 5 h 1233"/>
                  <a:gd name="T62" fmla="*/ 50 w 164"/>
                  <a:gd name="T63" fmla="*/ 10 h 1233"/>
                  <a:gd name="T64" fmla="*/ 50 w 164"/>
                  <a:gd name="T65" fmla="*/ 15 h 1233"/>
                  <a:gd name="T66" fmla="*/ 45 w 164"/>
                  <a:gd name="T67" fmla="*/ 48 h 1233"/>
                  <a:gd name="T68" fmla="*/ 41 w 164"/>
                  <a:gd name="T69" fmla="*/ 81 h 1233"/>
                  <a:gd name="T70" fmla="*/ 38 w 164"/>
                  <a:gd name="T71" fmla="*/ 114 h 1233"/>
                  <a:gd name="T72" fmla="*/ 34 w 164"/>
                  <a:gd name="T73" fmla="*/ 148 h 1233"/>
                  <a:gd name="T74" fmla="*/ 32 w 164"/>
                  <a:gd name="T75" fmla="*/ 181 h 1233"/>
                  <a:gd name="T76" fmla="*/ 30 w 164"/>
                  <a:gd name="T77" fmla="*/ 216 h 1233"/>
                  <a:gd name="T78" fmla="*/ 28 w 164"/>
                  <a:gd name="T79" fmla="*/ 250 h 1233"/>
                  <a:gd name="T80" fmla="*/ 27 w 164"/>
                  <a:gd name="T81" fmla="*/ 285 h 1233"/>
                  <a:gd name="T82" fmla="*/ 27 w 164"/>
                  <a:gd name="T83" fmla="*/ 356 h 1233"/>
                  <a:gd name="T84" fmla="*/ 29 w 164"/>
                  <a:gd name="T85" fmla="*/ 428 h 1233"/>
                  <a:gd name="T86" fmla="*/ 32 w 164"/>
                  <a:gd name="T87" fmla="*/ 501 h 1233"/>
                  <a:gd name="T88" fmla="*/ 39 w 164"/>
                  <a:gd name="T89" fmla="*/ 575 h 1233"/>
                  <a:gd name="T90" fmla="*/ 47 w 164"/>
                  <a:gd name="T91" fmla="*/ 652 h 1233"/>
                  <a:gd name="T92" fmla="*/ 57 w 164"/>
                  <a:gd name="T93" fmla="*/ 729 h 1233"/>
                  <a:gd name="T94" fmla="*/ 70 w 164"/>
                  <a:gd name="T95" fmla="*/ 806 h 1233"/>
                  <a:gd name="T96" fmla="*/ 84 w 164"/>
                  <a:gd name="T97" fmla="*/ 886 h 1233"/>
                  <a:gd name="T98" fmla="*/ 100 w 164"/>
                  <a:gd name="T99" fmla="*/ 967 h 1233"/>
                  <a:gd name="T100" fmla="*/ 120 w 164"/>
                  <a:gd name="T101" fmla="*/ 1048 h 1233"/>
                  <a:gd name="T102" fmla="*/ 140 w 164"/>
                  <a:gd name="T103" fmla="*/ 1131 h 1233"/>
                  <a:gd name="T104" fmla="*/ 163 w 164"/>
                  <a:gd name="T105" fmla="*/ 1216 h 1233"/>
                  <a:gd name="T106" fmla="*/ 164 w 164"/>
                  <a:gd name="T107" fmla="*/ 1221 h 1233"/>
                  <a:gd name="T108" fmla="*/ 162 w 164"/>
                  <a:gd name="T109" fmla="*/ 1225 h 1233"/>
                  <a:gd name="T110" fmla="*/ 159 w 164"/>
                  <a:gd name="T111" fmla="*/ 1230 h 1233"/>
                  <a:gd name="T112" fmla="*/ 154 w 164"/>
                  <a:gd name="T113" fmla="*/ 1232 h 1233"/>
                  <a:gd name="T114" fmla="*/ 152 w 164"/>
                  <a:gd name="T115" fmla="*/ 1232 h 1233"/>
                  <a:gd name="T116" fmla="*/ 150 w 164"/>
                  <a:gd name="T117" fmla="*/ 1233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233">
                    <a:moveTo>
                      <a:pt x="150" y="1233"/>
                    </a:moveTo>
                    <a:lnTo>
                      <a:pt x="146" y="1232"/>
                    </a:lnTo>
                    <a:lnTo>
                      <a:pt x="142" y="1230"/>
                    </a:lnTo>
                    <a:lnTo>
                      <a:pt x="139" y="1226"/>
                    </a:lnTo>
                    <a:lnTo>
                      <a:pt x="137" y="1222"/>
                    </a:lnTo>
                    <a:lnTo>
                      <a:pt x="114" y="1138"/>
                    </a:lnTo>
                    <a:lnTo>
                      <a:pt x="93" y="1055"/>
                    </a:lnTo>
                    <a:lnTo>
                      <a:pt x="74" y="972"/>
                    </a:lnTo>
                    <a:lnTo>
                      <a:pt x="57" y="891"/>
                    </a:lnTo>
                    <a:lnTo>
                      <a:pt x="43" y="811"/>
                    </a:lnTo>
                    <a:lnTo>
                      <a:pt x="30" y="732"/>
                    </a:lnTo>
                    <a:lnTo>
                      <a:pt x="20" y="654"/>
                    </a:lnTo>
                    <a:lnTo>
                      <a:pt x="12" y="578"/>
                    </a:lnTo>
                    <a:lnTo>
                      <a:pt x="5" y="502"/>
                    </a:lnTo>
                    <a:lnTo>
                      <a:pt x="2" y="429"/>
                    </a:lnTo>
                    <a:lnTo>
                      <a:pt x="0" y="355"/>
                    </a:lnTo>
                    <a:lnTo>
                      <a:pt x="0" y="284"/>
                    </a:lnTo>
                    <a:lnTo>
                      <a:pt x="1" y="248"/>
                    </a:lnTo>
                    <a:lnTo>
                      <a:pt x="3" y="214"/>
                    </a:lnTo>
                    <a:lnTo>
                      <a:pt x="5" y="179"/>
                    </a:lnTo>
                    <a:lnTo>
                      <a:pt x="7" y="145"/>
                    </a:lnTo>
                    <a:lnTo>
                      <a:pt x="11" y="111"/>
                    </a:lnTo>
                    <a:lnTo>
                      <a:pt x="14" y="78"/>
                    </a:lnTo>
                    <a:lnTo>
                      <a:pt x="18" y="44"/>
                    </a:lnTo>
                    <a:lnTo>
                      <a:pt x="24" y="11"/>
                    </a:lnTo>
                    <a:lnTo>
                      <a:pt x="25" y="7"/>
                    </a:lnTo>
                    <a:lnTo>
                      <a:pt x="29" y="2"/>
                    </a:lnTo>
                    <a:lnTo>
                      <a:pt x="33" y="0"/>
                    </a:lnTo>
                    <a:lnTo>
                      <a:pt x="39" y="0"/>
                    </a:lnTo>
                    <a:lnTo>
                      <a:pt x="44" y="2"/>
                    </a:lnTo>
                    <a:lnTo>
                      <a:pt x="47" y="5"/>
                    </a:lnTo>
                    <a:lnTo>
                      <a:pt x="50" y="10"/>
                    </a:lnTo>
                    <a:lnTo>
                      <a:pt x="50" y="15"/>
                    </a:lnTo>
                    <a:lnTo>
                      <a:pt x="45" y="48"/>
                    </a:lnTo>
                    <a:lnTo>
                      <a:pt x="41" y="81"/>
                    </a:lnTo>
                    <a:lnTo>
                      <a:pt x="38" y="114"/>
                    </a:lnTo>
                    <a:lnTo>
                      <a:pt x="34" y="148"/>
                    </a:lnTo>
                    <a:lnTo>
                      <a:pt x="32" y="181"/>
                    </a:lnTo>
                    <a:lnTo>
                      <a:pt x="30" y="216"/>
                    </a:lnTo>
                    <a:lnTo>
                      <a:pt x="28" y="250"/>
                    </a:lnTo>
                    <a:lnTo>
                      <a:pt x="27" y="285"/>
                    </a:lnTo>
                    <a:lnTo>
                      <a:pt x="27" y="356"/>
                    </a:lnTo>
                    <a:lnTo>
                      <a:pt x="29" y="428"/>
                    </a:lnTo>
                    <a:lnTo>
                      <a:pt x="32" y="501"/>
                    </a:lnTo>
                    <a:lnTo>
                      <a:pt x="39" y="575"/>
                    </a:lnTo>
                    <a:lnTo>
                      <a:pt x="47" y="652"/>
                    </a:lnTo>
                    <a:lnTo>
                      <a:pt x="57" y="729"/>
                    </a:lnTo>
                    <a:lnTo>
                      <a:pt x="70" y="806"/>
                    </a:lnTo>
                    <a:lnTo>
                      <a:pt x="84" y="886"/>
                    </a:lnTo>
                    <a:lnTo>
                      <a:pt x="100" y="967"/>
                    </a:lnTo>
                    <a:lnTo>
                      <a:pt x="120" y="1048"/>
                    </a:lnTo>
                    <a:lnTo>
                      <a:pt x="140" y="1131"/>
                    </a:lnTo>
                    <a:lnTo>
                      <a:pt x="163" y="1216"/>
                    </a:lnTo>
                    <a:lnTo>
                      <a:pt x="164" y="1221"/>
                    </a:lnTo>
                    <a:lnTo>
                      <a:pt x="162" y="1225"/>
                    </a:lnTo>
                    <a:lnTo>
                      <a:pt x="159" y="1230"/>
                    </a:lnTo>
                    <a:lnTo>
                      <a:pt x="154" y="1232"/>
                    </a:lnTo>
                    <a:lnTo>
                      <a:pt x="152" y="1232"/>
                    </a:lnTo>
                    <a:lnTo>
                      <a:pt x="150" y="12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47"/>
              <p:cNvSpPr>
                <a:spLocks noEditPoints="1"/>
              </p:cNvSpPr>
              <p:nvPr userDrawn="1"/>
            </p:nvSpPr>
            <p:spPr bwMode="auto">
              <a:xfrm>
                <a:off x="2394" y="1869"/>
                <a:ext cx="221" cy="84"/>
              </a:xfrm>
              <a:custGeom>
                <a:avLst/>
                <a:gdLst>
                  <a:gd name="T0" fmla="*/ 10 w 663"/>
                  <a:gd name="T1" fmla="*/ 250 h 253"/>
                  <a:gd name="T2" fmla="*/ 0 w 663"/>
                  <a:gd name="T3" fmla="*/ 233 h 253"/>
                  <a:gd name="T4" fmla="*/ 6 w 663"/>
                  <a:gd name="T5" fmla="*/ 214 h 253"/>
                  <a:gd name="T6" fmla="*/ 63 w 663"/>
                  <a:gd name="T7" fmla="*/ 163 h 253"/>
                  <a:gd name="T8" fmla="*/ 138 w 663"/>
                  <a:gd name="T9" fmla="*/ 101 h 253"/>
                  <a:gd name="T10" fmla="*/ 208 w 663"/>
                  <a:gd name="T11" fmla="*/ 53 h 253"/>
                  <a:gd name="T12" fmla="*/ 253 w 663"/>
                  <a:gd name="T13" fmla="*/ 33 h 253"/>
                  <a:gd name="T14" fmla="*/ 301 w 663"/>
                  <a:gd name="T15" fmla="*/ 18 h 253"/>
                  <a:gd name="T16" fmla="*/ 380 w 663"/>
                  <a:gd name="T17" fmla="*/ 3 h 253"/>
                  <a:gd name="T18" fmla="*/ 455 w 663"/>
                  <a:gd name="T19" fmla="*/ 1 h 253"/>
                  <a:gd name="T20" fmla="*/ 501 w 663"/>
                  <a:gd name="T21" fmla="*/ 7 h 253"/>
                  <a:gd name="T22" fmla="*/ 542 w 663"/>
                  <a:gd name="T23" fmla="*/ 22 h 253"/>
                  <a:gd name="T24" fmla="*/ 577 w 663"/>
                  <a:gd name="T25" fmla="*/ 47 h 253"/>
                  <a:gd name="T26" fmla="*/ 608 w 663"/>
                  <a:gd name="T27" fmla="*/ 79 h 253"/>
                  <a:gd name="T28" fmla="*/ 633 w 663"/>
                  <a:gd name="T29" fmla="*/ 120 h 253"/>
                  <a:gd name="T30" fmla="*/ 654 w 663"/>
                  <a:gd name="T31" fmla="*/ 171 h 253"/>
                  <a:gd name="T32" fmla="*/ 663 w 663"/>
                  <a:gd name="T33" fmla="*/ 197 h 253"/>
                  <a:gd name="T34" fmla="*/ 655 w 663"/>
                  <a:gd name="T35" fmla="*/ 209 h 253"/>
                  <a:gd name="T36" fmla="*/ 649 w 663"/>
                  <a:gd name="T37" fmla="*/ 210 h 253"/>
                  <a:gd name="T38" fmla="*/ 626 w 663"/>
                  <a:gd name="T39" fmla="*/ 205 h 253"/>
                  <a:gd name="T40" fmla="*/ 577 w 663"/>
                  <a:gd name="T41" fmla="*/ 186 h 253"/>
                  <a:gd name="T42" fmla="*/ 526 w 663"/>
                  <a:gd name="T43" fmla="*/ 168 h 253"/>
                  <a:gd name="T44" fmla="*/ 460 w 663"/>
                  <a:gd name="T45" fmla="*/ 154 h 253"/>
                  <a:gd name="T46" fmla="*/ 401 w 663"/>
                  <a:gd name="T47" fmla="*/ 151 h 253"/>
                  <a:gd name="T48" fmla="*/ 356 w 663"/>
                  <a:gd name="T49" fmla="*/ 154 h 253"/>
                  <a:gd name="T50" fmla="*/ 282 w 663"/>
                  <a:gd name="T51" fmla="*/ 168 h 253"/>
                  <a:gd name="T52" fmla="*/ 204 w 663"/>
                  <a:gd name="T53" fmla="*/ 190 h 253"/>
                  <a:gd name="T54" fmla="*/ 64 w 663"/>
                  <a:gd name="T55" fmla="*/ 238 h 253"/>
                  <a:gd name="T56" fmla="*/ 22 w 663"/>
                  <a:gd name="T57" fmla="*/ 253 h 253"/>
                  <a:gd name="T58" fmla="*/ 409 w 663"/>
                  <a:gd name="T59" fmla="*/ 28 h 253"/>
                  <a:gd name="T60" fmla="*/ 321 w 663"/>
                  <a:gd name="T61" fmla="*/ 41 h 253"/>
                  <a:gd name="T62" fmla="*/ 247 w 663"/>
                  <a:gd name="T63" fmla="*/ 64 h 253"/>
                  <a:gd name="T64" fmla="*/ 208 w 663"/>
                  <a:gd name="T65" fmla="*/ 85 h 253"/>
                  <a:gd name="T66" fmla="*/ 138 w 663"/>
                  <a:gd name="T67" fmla="*/ 134 h 253"/>
                  <a:gd name="T68" fmla="*/ 75 w 663"/>
                  <a:gd name="T69" fmla="*/ 187 h 253"/>
                  <a:gd name="T70" fmla="*/ 81 w 663"/>
                  <a:gd name="T71" fmla="*/ 204 h 253"/>
                  <a:gd name="T72" fmla="*/ 220 w 663"/>
                  <a:gd name="T73" fmla="*/ 156 h 253"/>
                  <a:gd name="T74" fmla="*/ 291 w 663"/>
                  <a:gd name="T75" fmla="*/ 138 h 253"/>
                  <a:gd name="T76" fmla="*/ 358 w 663"/>
                  <a:gd name="T77" fmla="*/ 126 h 253"/>
                  <a:gd name="T78" fmla="*/ 432 w 663"/>
                  <a:gd name="T79" fmla="*/ 125 h 253"/>
                  <a:gd name="T80" fmla="*/ 512 w 663"/>
                  <a:gd name="T81" fmla="*/ 137 h 253"/>
                  <a:gd name="T82" fmla="*/ 569 w 663"/>
                  <a:gd name="T83" fmla="*/ 155 h 253"/>
                  <a:gd name="T84" fmla="*/ 607 w 663"/>
                  <a:gd name="T85" fmla="*/ 169 h 253"/>
                  <a:gd name="T86" fmla="*/ 623 w 663"/>
                  <a:gd name="T87" fmla="*/ 163 h 253"/>
                  <a:gd name="T88" fmla="*/ 604 w 663"/>
                  <a:gd name="T89" fmla="*/ 123 h 253"/>
                  <a:gd name="T90" fmla="*/ 582 w 663"/>
                  <a:gd name="T91" fmla="*/ 90 h 253"/>
                  <a:gd name="T92" fmla="*/ 556 w 663"/>
                  <a:gd name="T93" fmla="*/ 64 h 253"/>
                  <a:gd name="T94" fmla="*/ 527 w 663"/>
                  <a:gd name="T95" fmla="*/ 46 h 253"/>
                  <a:gd name="T96" fmla="*/ 493 w 663"/>
                  <a:gd name="T97" fmla="*/ 33 h 253"/>
                  <a:gd name="T98" fmla="*/ 453 w 663"/>
                  <a:gd name="T99" fmla="*/ 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3" h="253">
                    <a:moveTo>
                      <a:pt x="22" y="253"/>
                    </a:moveTo>
                    <a:lnTo>
                      <a:pt x="15" y="252"/>
                    </a:lnTo>
                    <a:lnTo>
                      <a:pt x="10" y="250"/>
                    </a:lnTo>
                    <a:lnTo>
                      <a:pt x="4" y="245"/>
                    </a:lnTo>
                    <a:lnTo>
                      <a:pt x="1" y="239"/>
                    </a:lnTo>
                    <a:lnTo>
                      <a:pt x="0" y="233"/>
                    </a:lnTo>
                    <a:lnTo>
                      <a:pt x="0" y="226"/>
                    </a:lnTo>
                    <a:lnTo>
                      <a:pt x="2" y="220"/>
                    </a:lnTo>
                    <a:lnTo>
                      <a:pt x="6" y="214"/>
                    </a:lnTo>
                    <a:lnTo>
                      <a:pt x="23" y="199"/>
                    </a:lnTo>
                    <a:lnTo>
                      <a:pt x="41" y="182"/>
                    </a:lnTo>
                    <a:lnTo>
                      <a:pt x="63" y="163"/>
                    </a:lnTo>
                    <a:lnTo>
                      <a:pt x="86" y="142"/>
                    </a:lnTo>
                    <a:lnTo>
                      <a:pt x="111" y="121"/>
                    </a:lnTo>
                    <a:lnTo>
                      <a:pt x="138" y="101"/>
                    </a:lnTo>
                    <a:lnTo>
                      <a:pt x="166" y="80"/>
                    </a:lnTo>
                    <a:lnTo>
                      <a:pt x="194" y="61"/>
                    </a:lnTo>
                    <a:lnTo>
                      <a:pt x="208" y="53"/>
                    </a:lnTo>
                    <a:lnTo>
                      <a:pt x="222" y="46"/>
                    </a:lnTo>
                    <a:lnTo>
                      <a:pt x="237" y="39"/>
                    </a:lnTo>
                    <a:lnTo>
                      <a:pt x="253" y="33"/>
                    </a:lnTo>
                    <a:lnTo>
                      <a:pt x="269" y="28"/>
                    </a:lnTo>
                    <a:lnTo>
                      <a:pt x="285" y="22"/>
                    </a:lnTo>
                    <a:lnTo>
                      <a:pt x="301" y="18"/>
                    </a:lnTo>
                    <a:lnTo>
                      <a:pt x="317" y="14"/>
                    </a:lnTo>
                    <a:lnTo>
                      <a:pt x="349" y="7"/>
                    </a:lnTo>
                    <a:lnTo>
                      <a:pt x="380" y="3"/>
                    </a:lnTo>
                    <a:lnTo>
                      <a:pt x="409" y="1"/>
                    </a:lnTo>
                    <a:lnTo>
                      <a:pt x="436" y="0"/>
                    </a:lnTo>
                    <a:lnTo>
                      <a:pt x="455" y="1"/>
                    </a:lnTo>
                    <a:lnTo>
                      <a:pt x="472" y="2"/>
                    </a:lnTo>
                    <a:lnTo>
                      <a:pt x="488" y="4"/>
                    </a:lnTo>
                    <a:lnTo>
                      <a:pt x="501" y="7"/>
                    </a:lnTo>
                    <a:lnTo>
                      <a:pt x="515" y="11"/>
                    </a:lnTo>
                    <a:lnTo>
                      <a:pt x="529" y="17"/>
                    </a:lnTo>
                    <a:lnTo>
                      <a:pt x="542" y="22"/>
                    </a:lnTo>
                    <a:lnTo>
                      <a:pt x="554" y="30"/>
                    </a:lnTo>
                    <a:lnTo>
                      <a:pt x="566" y="37"/>
                    </a:lnTo>
                    <a:lnTo>
                      <a:pt x="577" y="47"/>
                    </a:lnTo>
                    <a:lnTo>
                      <a:pt x="587" y="57"/>
                    </a:lnTo>
                    <a:lnTo>
                      <a:pt x="598" y="68"/>
                    </a:lnTo>
                    <a:lnTo>
                      <a:pt x="608" y="79"/>
                    </a:lnTo>
                    <a:lnTo>
                      <a:pt x="616" y="92"/>
                    </a:lnTo>
                    <a:lnTo>
                      <a:pt x="625" y="105"/>
                    </a:lnTo>
                    <a:lnTo>
                      <a:pt x="633" y="120"/>
                    </a:lnTo>
                    <a:lnTo>
                      <a:pt x="641" y="137"/>
                    </a:lnTo>
                    <a:lnTo>
                      <a:pt x="648" y="153"/>
                    </a:lnTo>
                    <a:lnTo>
                      <a:pt x="654" y="171"/>
                    </a:lnTo>
                    <a:lnTo>
                      <a:pt x="661" y="190"/>
                    </a:lnTo>
                    <a:lnTo>
                      <a:pt x="663" y="193"/>
                    </a:lnTo>
                    <a:lnTo>
                      <a:pt x="663" y="197"/>
                    </a:lnTo>
                    <a:lnTo>
                      <a:pt x="662" y="202"/>
                    </a:lnTo>
                    <a:lnTo>
                      <a:pt x="660" y="207"/>
                    </a:lnTo>
                    <a:lnTo>
                      <a:pt x="655" y="209"/>
                    </a:lnTo>
                    <a:lnTo>
                      <a:pt x="650" y="210"/>
                    </a:lnTo>
                    <a:lnTo>
                      <a:pt x="649" y="210"/>
                    </a:lnTo>
                    <a:lnTo>
                      <a:pt x="649" y="210"/>
                    </a:lnTo>
                    <a:lnTo>
                      <a:pt x="648" y="210"/>
                    </a:lnTo>
                    <a:lnTo>
                      <a:pt x="646" y="210"/>
                    </a:lnTo>
                    <a:lnTo>
                      <a:pt x="626" y="205"/>
                    </a:lnTo>
                    <a:lnTo>
                      <a:pt x="609" y="199"/>
                    </a:lnTo>
                    <a:lnTo>
                      <a:pt x="592" y="193"/>
                    </a:lnTo>
                    <a:lnTo>
                      <a:pt x="577" y="186"/>
                    </a:lnTo>
                    <a:lnTo>
                      <a:pt x="560" y="180"/>
                    </a:lnTo>
                    <a:lnTo>
                      <a:pt x="544" y="173"/>
                    </a:lnTo>
                    <a:lnTo>
                      <a:pt x="526" y="168"/>
                    </a:lnTo>
                    <a:lnTo>
                      <a:pt x="506" y="163"/>
                    </a:lnTo>
                    <a:lnTo>
                      <a:pt x="485" y="158"/>
                    </a:lnTo>
                    <a:lnTo>
                      <a:pt x="460" y="154"/>
                    </a:lnTo>
                    <a:lnTo>
                      <a:pt x="432" y="152"/>
                    </a:lnTo>
                    <a:lnTo>
                      <a:pt x="401" y="151"/>
                    </a:lnTo>
                    <a:lnTo>
                      <a:pt x="401" y="151"/>
                    </a:lnTo>
                    <a:lnTo>
                      <a:pt x="401" y="151"/>
                    </a:lnTo>
                    <a:lnTo>
                      <a:pt x="379" y="152"/>
                    </a:lnTo>
                    <a:lnTo>
                      <a:pt x="356" y="154"/>
                    </a:lnTo>
                    <a:lnTo>
                      <a:pt x="332" y="157"/>
                    </a:lnTo>
                    <a:lnTo>
                      <a:pt x="308" y="163"/>
                    </a:lnTo>
                    <a:lnTo>
                      <a:pt x="282" y="168"/>
                    </a:lnTo>
                    <a:lnTo>
                      <a:pt x="256" y="174"/>
                    </a:lnTo>
                    <a:lnTo>
                      <a:pt x="230" y="182"/>
                    </a:lnTo>
                    <a:lnTo>
                      <a:pt x="204" y="190"/>
                    </a:lnTo>
                    <a:lnTo>
                      <a:pt x="152" y="207"/>
                    </a:lnTo>
                    <a:lnTo>
                      <a:pt x="105" y="223"/>
                    </a:lnTo>
                    <a:lnTo>
                      <a:pt x="64" y="238"/>
                    </a:lnTo>
                    <a:lnTo>
                      <a:pt x="30" y="252"/>
                    </a:lnTo>
                    <a:lnTo>
                      <a:pt x="26" y="253"/>
                    </a:lnTo>
                    <a:lnTo>
                      <a:pt x="22" y="253"/>
                    </a:lnTo>
                    <a:close/>
                    <a:moveTo>
                      <a:pt x="436" y="27"/>
                    </a:moveTo>
                    <a:lnTo>
                      <a:pt x="436" y="27"/>
                    </a:lnTo>
                    <a:lnTo>
                      <a:pt x="409" y="28"/>
                    </a:lnTo>
                    <a:lnTo>
                      <a:pt x="380" y="31"/>
                    </a:lnTo>
                    <a:lnTo>
                      <a:pt x="351" y="35"/>
                    </a:lnTo>
                    <a:lnTo>
                      <a:pt x="321" y="41"/>
                    </a:lnTo>
                    <a:lnTo>
                      <a:pt x="290" y="49"/>
                    </a:lnTo>
                    <a:lnTo>
                      <a:pt x="261" y="59"/>
                    </a:lnTo>
                    <a:lnTo>
                      <a:pt x="247" y="64"/>
                    </a:lnTo>
                    <a:lnTo>
                      <a:pt x="233" y="71"/>
                    </a:lnTo>
                    <a:lnTo>
                      <a:pt x="221" y="77"/>
                    </a:lnTo>
                    <a:lnTo>
                      <a:pt x="208" y="85"/>
                    </a:lnTo>
                    <a:lnTo>
                      <a:pt x="185" y="100"/>
                    </a:lnTo>
                    <a:lnTo>
                      <a:pt x="161" y="117"/>
                    </a:lnTo>
                    <a:lnTo>
                      <a:pt x="138" y="134"/>
                    </a:lnTo>
                    <a:lnTo>
                      <a:pt x="115" y="153"/>
                    </a:lnTo>
                    <a:lnTo>
                      <a:pt x="95" y="170"/>
                    </a:lnTo>
                    <a:lnTo>
                      <a:pt x="75" y="187"/>
                    </a:lnTo>
                    <a:lnTo>
                      <a:pt x="57" y="204"/>
                    </a:lnTo>
                    <a:lnTo>
                      <a:pt x="42" y="219"/>
                    </a:lnTo>
                    <a:lnTo>
                      <a:pt x="81" y="204"/>
                    </a:lnTo>
                    <a:lnTo>
                      <a:pt x="125" y="187"/>
                    </a:lnTo>
                    <a:lnTo>
                      <a:pt x="172" y="171"/>
                    </a:lnTo>
                    <a:lnTo>
                      <a:pt x="220" y="156"/>
                    </a:lnTo>
                    <a:lnTo>
                      <a:pt x="244" y="150"/>
                    </a:lnTo>
                    <a:lnTo>
                      <a:pt x="268" y="143"/>
                    </a:lnTo>
                    <a:lnTo>
                      <a:pt x="291" y="138"/>
                    </a:lnTo>
                    <a:lnTo>
                      <a:pt x="315" y="133"/>
                    </a:lnTo>
                    <a:lnTo>
                      <a:pt x="337" y="129"/>
                    </a:lnTo>
                    <a:lnTo>
                      <a:pt x="358" y="126"/>
                    </a:lnTo>
                    <a:lnTo>
                      <a:pt x="379" y="125"/>
                    </a:lnTo>
                    <a:lnTo>
                      <a:pt x="397" y="124"/>
                    </a:lnTo>
                    <a:lnTo>
                      <a:pt x="432" y="125"/>
                    </a:lnTo>
                    <a:lnTo>
                      <a:pt x="462" y="128"/>
                    </a:lnTo>
                    <a:lnTo>
                      <a:pt x="489" y="131"/>
                    </a:lnTo>
                    <a:lnTo>
                      <a:pt x="512" y="137"/>
                    </a:lnTo>
                    <a:lnTo>
                      <a:pt x="533" y="142"/>
                    </a:lnTo>
                    <a:lnTo>
                      <a:pt x="552" y="148"/>
                    </a:lnTo>
                    <a:lnTo>
                      <a:pt x="569" y="155"/>
                    </a:lnTo>
                    <a:lnTo>
                      <a:pt x="586" y="161"/>
                    </a:lnTo>
                    <a:lnTo>
                      <a:pt x="597" y="166"/>
                    </a:lnTo>
                    <a:lnTo>
                      <a:pt x="607" y="169"/>
                    </a:lnTo>
                    <a:lnTo>
                      <a:pt x="618" y="173"/>
                    </a:lnTo>
                    <a:lnTo>
                      <a:pt x="628" y="177"/>
                    </a:lnTo>
                    <a:lnTo>
                      <a:pt x="623" y="163"/>
                    </a:lnTo>
                    <a:lnTo>
                      <a:pt x="616" y="148"/>
                    </a:lnTo>
                    <a:lnTo>
                      <a:pt x="610" y="136"/>
                    </a:lnTo>
                    <a:lnTo>
                      <a:pt x="604" y="123"/>
                    </a:lnTo>
                    <a:lnTo>
                      <a:pt x="597" y="111"/>
                    </a:lnTo>
                    <a:lnTo>
                      <a:pt x="589" y="100"/>
                    </a:lnTo>
                    <a:lnTo>
                      <a:pt x="582" y="90"/>
                    </a:lnTo>
                    <a:lnTo>
                      <a:pt x="573" y="80"/>
                    </a:lnTo>
                    <a:lnTo>
                      <a:pt x="565" y="73"/>
                    </a:lnTo>
                    <a:lnTo>
                      <a:pt x="556" y="64"/>
                    </a:lnTo>
                    <a:lnTo>
                      <a:pt x="546" y="58"/>
                    </a:lnTo>
                    <a:lnTo>
                      <a:pt x="537" y="51"/>
                    </a:lnTo>
                    <a:lnTo>
                      <a:pt x="527" y="46"/>
                    </a:lnTo>
                    <a:lnTo>
                      <a:pt x="516" y="41"/>
                    </a:lnTo>
                    <a:lnTo>
                      <a:pt x="505" y="36"/>
                    </a:lnTo>
                    <a:lnTo>
                      <a:pt x="493" y="33"/>
                    </a:lnTo>
                    <a:lnTo>
                      <a:pt x="483" y="31"/>
                    </a:lnTo>
                    <a:lnTo>
                      <a:pt x="469" y="29"/>
                    </a:lnTo>
                    <a:lnTo>
                      <a:pt x="453" y="28"/>
                    </a:lnTo>
                    <a:lnTo>
                      <a:pt x="43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48"/>
              <p:cNvSpPr>
                <a:spLocks noEditPoints="1"/>
              </p:cNvSpPr>
              <p:nvPr userDrawn="1"/>
            </p:nvSpPr>
            <p:spPr bwMode="auto">
              <a:xfrm>
                <a:off x="1534" y="1914"/>
                <a:ext cx="307" cy="386"/>
              </a:xfrm>
              <a:custGeom>
                <a:avLst/>
                <a:gdLst>
                  <a:gd name="T0" fmla="*/ 374 w 922"/>
                  <a:gd name="T1" fmla="*/ 1156 h 1158"/>
                  <a:gd name="T2" fmla="*/ 271 w 922"/>
                  <a:gd name="T3" fmla="*/ 1129 h 1158"/>
                  <a:gd name="T4" fmla="*/ 175 w 922"/>
                  <a:gd name="T5" fmla="*/ 1068 h 1158"/>
                  <a:gd name="T6" fmla="*/ 96 w 922"/>
                  <a:gd name="T7" fmla="*/ 979 h 1158"/>
                  <a:gd name="T8" fmla="*/ 38 w 922"/>
                  <a:gd name="T9" fmla="*/ 863 h 1158"/>
                  <a:gd name="T10" fmla="*/ 7 w 922"/>
                  <a:gd name="T11" fmla="*/ 734 h 1158"/>
                  <a:gd name="T12" fmla="*/ 1 w 922"/>
                  <a:gd name="T13" fmla="*/ 595 h 1158"/>
                  <a:gd name="T14" fmla="*/ 24 w 922"/>
                  <a:gd name="T15" fmla="*/ 455 h 1158"/>
                  <a:gd name="T16" fmla="*/ 67 w 922"/>
                  <a:gd name="T17" fmla="*/ 333 h 1158"/>
                  <a:gd name="T18" fmla="*/ 127 w 922"/>
                  <a:gd name="T19" fmla="*/ 226 h 1158"/>
                  <a:gd name="T20" fmla="*/ 203 w 922"/>
                  <a:gd name="T21" fmla="*/ 136 h 1158"/>
                  <a:gd name="T22" fmla="*/ 289 w 922"/>
                  <a:gd name="T23" fmla="*/ 66 h 1158"/>
                  <a:gd name="T24" fmla="*/ 387 w 922"/>
                  <a:gd name="T25" fmla="*/ 20 h 1158"/>
                  <a:gd name="T26" fmla="*/ 488 w 922"/>
                  <a:gd name="T27" fmla="*/ 1 h 1158"/>
                  <a:gd name="T28" fmla="*/ 586 w 922"/>
                  <a:gd name="T29" fmla="*/ 8 h 1158"/>
                  <a:gd name="T30" fmla="*/ 693 w 922"/>
                  <a:gd name="T31" fmla="*/ 50 h 1158"/>
                  <a:gd name="T32" fmla="*/ 783 w 922"/>
                  <a:gd name="T33" fmla="*/ 124 h 1158"/>
                  <a:gd name="T34" fmla="*/ 852 w 922"/>
                  <a:gd name="T35" fmla="*/ 222 h 1158"/>
                  <a:gd name="T36" fmla="*/ 898 w 922"/>
                  <a:gd name="T37" fmla="*/ 341 h 1158"/>
                  <a:gd name="T38" fmla="*/ 921 w 922"/>
                  <a:gd name="T39" fmla="*/ 474 h 1158"/>
                  <a:gd name="T40" fmla="*/ 916 w 922"/>
                  <a:gd name="T41" fmla="*/ 617 h 1158"/>
                  <a:gd name="T42" fmla="*/ 883 w 922"/>
                  <a:gd name="T43" fmla="*/ 753 h 1158"/>
                  <a:gd name="T44" fmla="*/ 834 w 922"/>
                  <a:gd name="T45" fmla="*/ 870 h 1158"/>
                  <a:gd name="T46" fmla="*/ 767 w 922"/>
                  <a:gd name="T47" fmla="*/ 970 h 1158"/>
                  <a:gd name="T48" fmla="*/ 686 w 922"/>
                  <a:gd name="T49" fmla="*/ 1052 h 1158"/>
                  <a:gd name="T50" fmla="*/ 595 w 922"/>
                  <a:gd name="T51" fmla="*/ 1112 h 1158"/>
                  <a:gd name="T52" fmla="*/ 496 w 922"/>
                  <a:gd name="T53" fmla="*/ 1149 h 1158"/>
                  <a:gd name="T54" fmla="*/ 510 w 922"/>
                  <a:gd name="T55" fmla="*/ 27 h 1158"/>
                  <a:gd name="T56" fmla="*/ 431 w 922"/>
                  <a:gd name="T57" fmla="*/ 35 h 1158"/>
                  <a:gd name="T58" fmla="*/ 338 w 922"/>
                  <a:gd name="T59" fmla="*/ 70 h 1158"/>
                  <a:gd name="T60" fmla="*/ 252 w 922"/>
                  <a:gd name="T61" fmla="*/ 128 h 1158"/>
                  <a:gd name="T62" fmla="*/ 175 w 922"/>
                  <a:gd name="T63" fmla="*/ 207 h 1158"/>
                  <a:gd name="T64" fmla="*/ 111 w 922"/>
                  <a:gd name="T65" fmla="*/ 303 h 1158"/>
                  <a:gd name="T66" fmla="*/ 64 w 922"/>
                  <a:gd name="T67" fmla="*/ 414 h 1158"/>
                  <a:gd name="T68" fmla="*/ 34 w 922"/>
                  <a:gd name="T69" fmla="*/ 543 h 1158"/>
                  <a:gd name="T70" fmla="*/ 28 w 922"/>
                  <a:gd name="T71" fmla="*/ 677 h 1158"/>
                  <a:gd name="T72" fmla="*/ 48 w 922"/>
                  <a:gd name="T73" fmla="*/ 806 h 1158"/>
                  <a:gd name="T74" fmla="*/ 93 w 922"/>
                  <a:gd name="T75" fmla="*/ 922 h 1158"/>
                  <a:gd name="T76" fmla="*/ 160 w 922"/>
                  <a:gd name="T77" fmla="*/ 1017 h 1158"/>
                  <a:gd name="T78" fmla="*/ 244 w 922"/>
                  <a:gd name="T79" fmla="*/ 1084 h 1158"/>
                  <a:gd name="T80" fmla="*/ 341 w 922"/>
                  <a:gd name="T81" fmla="*/ 1123 h 1158"/>
                  <a:gd name="T82" fmla="*/ 433 w 922"/>
                  <a:gd name="T83" fmla="*/ 1131 h 1158"/>
                  <a:gd name="T84" fmla="*/ 529 w 922"/>
                  <a:gd name="T85" fmla="*/ 1111 h 1158"/>
                  <a:gd name="T86" fmla="*/ 620 w 922"/>
                  <a:gd name="T87" fmla="*/ 1067 h 1158"/>
                  <a:gd name="T88" fmla="*/ 703 w 922"/>
                  <a:gd name="T89" fmla="*/ 1000 h 1158"/>
                  <a:gd name="T90" fmla="*/ 774 w 922"/>
                  <a:gd name="T91" fmla="*/ 915 h 1158"/>
                  <a:gd name="T92" fmla="*/ 832 w 922"/>
                  <a:gd name="T93" fmla="*/ 812 h 1158"/>
                  <a:gd name="T94" fmla="*/ 873 w 922"/>
                  <a:gd name="T95" fmla="*/ 695 h 1158"/>
                  <a:gd name="T96" fmla="*/ 894 w 922"/>
                  <a:gd name="T97" fmla="*/ 559 h 1158"/>
                  <a:gd name="T98" fmla="*/ 889 w 922"/>
                  <a:gd name="T99" fmla="*/ 426 h 1158"/>
                  <a:gd name="T100" fmla="*/ 859 w 922"/>
                  <a:gd name="T101" fmla="*/ 304 h 1158"/>
                  <a:gd name="T102" fmla="*/ 807 w 922"/>
                  <a:gd name="T103" fmla="*/ 197 h 1158"/>
                  <a:gd name="T104" fmla="*/ 733 w 922"/>
                  <a:gd name="T105" fmla="*/ 113 h 1158"/>
                  <a:gd name="T106" fmla="*/ 643 w 922"/>
                  <a:gd name="T107" fmla="*/ 55 h 1158"/>
                  <a:gd name="T108" fmla="*/ 545 w 922"/>
                  <a:gd name="T109" fmla="*/ 2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2" h="1158">
                    <a:moveTo>
                      <a:pt x="413" y="1158"/>
                    </a:moveTo>
                    <a:lnTo>
                      <a:pt x="413" y="1158"/>
                    </a:lnTo>
                    <a:lnTo>
                      <a:pt x="413" y="1158"/>
                    </a:lnTo>
                    <a:lnTo>
                      <a:pt x="393" y="1158"/>
                    </a:lnTo>
                    <a:lnTo>
                      <a:pt x="374" y="1156"/>
                    </a:lnTo>
                    <a:lnTo>
                      <a:pt x="355" y="1153"/>
                    </a:lnTo>
                    <a:lnTo>
                      <a:pt x="336" y="1149"/>
                    </a:lnTo>
                    <a:lnTo>
                      <a:pt x="314" y="1144"/>
                    </a:lnTo>
                    <a:lnTo>
                      <a:pt x="293" y="1137"/>
                    </a:lnTo>
                    <a:lnTo>
                      <a:pt x="271" y="1129"/>
                    </a:lnTo>
                    <a:lnTo>
                      <a:pt x="251" y="1119"/>
                    </a:lnTo>
                    <a:lnTo>
                      <a:pt x="231" y="1108"/>
                    </a:lnTo>
                    <a:lnTo>
                      <a:pt x="212" y="1096"/>
                    </a:lnTo>
                    <a:lnTo>
                      <a:pt x="192" y="1083"/>
                    </a:lnTo>
                    <a:lnTo>
                      <a:pt x="175" y="1068"/>
                    </a:lnTo>
                    <a:lnTo>
                      <a:pt x="158" y="1053"/>
                    </a:lnTo>
                    <a:lnTo>
                      <a:pt x="140" y="1036"/>
                    </a:lnTo>
                    <a:lnTo>
                      <a:pt x="125" y="1019"/>
                    </a:lnTo>
                    <a:lnTo>
                      <a:pt x="110" y="999"/>
                    </a:lnTo>
                    <a:lnTo>
                      <a:pt x="96" y="979"/>
                    </a:lnTo>
                    <a:lnTo>
                      <a:pt x="82" y="958"/>
                    </a:lnTo>
                    <a:lnTo>
                      <a:pt x="70" y="935"/>
                    </a:lnTo>
                    <a:lnTo>
                      <a:pt x="58" y="912"/>
                    </a:lnTo>
                    <a:lnTo>
                      <a:pt x="48" y="888"/>
                    </a:lnTo>
                    <a:lnTo>
                      <a:pt x="38" y="863"/>
                    </a:lnTo>
                    <a:lnTo>
                      <a:pt x="29" y="838"/>
                    </a:lnTo>
                    <a:lnTo>
                      <a:pt x="22" y="813"/>
                    </a:lnTo>
                    <a:lnTo>
                      <a:pt x="15" y="786"/>
                    </a:lnTo>
                    <a:lnTo>
                      <a:pt x="11" y="761"/>
                    </a:lnTo>
                    <a:lnTo>
                      <a:pt x="7" y="734"/>
                    </a:lnTo>
                    <a:lnTo>
                      <a:pt x="3" y="707"/>
                    </a:lnTo>
                    <a:lnTo>
                      <a:pt x="1" y="679"/>
                    </a:lnTo>
                    <a:lnTo>
                      <a:pt x="0" y="652"/>
                    </a:lnTo>
                    <a:lnTo>
                      <a:pt x="0" y="623"/>
                    </a:lnTo>
                    <a:lnTo>
                      <a:pt x="1" y="595"/>
                    </a:lnTo>
                    <a:lnTo>
                      <a:pt x="3" y="567"/>
                    </a:lnTo>
                    <a:lnTo>
                      <a:pt x="8" y="538"/>
                    </a:lnTo>
                    <a:lnTo>
                      <a:pt x="12" y="510"/>
                    </a:lnTo>
                    <a:lnTo>
                      <a:pt x="17" y="481"/>
                    </a:lnTo>
                    <a:lnTo>
                      <a:pt x="24" y="455"/>
                    </a:lnTo>
                    <a:lnTo>
                      <a:pt x="30" y="430"/>
                    </a:lnTo>
                    <a:lnTo>
                      <a:pt x="39" y="405"/>
                    </a:lnTo>
                    <a:lnTo>
                      <a:pt x="48" y="381"/>
                    </a:lnTo>
                    <a:lnTo>
                      <a:pt x="56" y="357"/>
                    </a:lnTo>
                    <a:lnTo>
                      <a:pt x="67" y="333"/>
                    </a:lnTo>
                    <a:lnTo>
                      <a:pt x="78" y="310"/>
                    </a:lnTo>
                    <a:lnTo>
                      <a:pt x="89" y="289"/>
                    </a:lnTo>
                    <a:lnTo>
                      <a:pt x="101" y="267"/>
                    </a:lnTo>
                    <a:lnTo>
                      <a:pt x="113" y="246"/>
                    </a:lnTo>
                    <a:lnTo>
                      <a:pt x="127" y="226"/>
                    </a:lnTo>
                    <a:lnTo>
                      <a:pt x="142" y="207"/>
                    </a:lnTo>
                    <a:lnTo>
                      <a:pt x="156" y="187"/>
                    </a:lnTo>
                    <a:lnTo>
                      <a:pt x="171" y="170"/>
                    </a:lnTo>
                    <a:lnTo>
                      <a:pt x="187" y="153"/>
                    </a:lnTo>
                    <a:lnTo>
                      <a:pt x="203" y="136"/>
                    </a:lnTo>
                    <a:lnTo>
                      <a:pt x="219" y="120"/>
                    </a:lnTo>
                    <a:lnTo>
                      <a:pt x="237" y="105"/>
                    </a:lnTo>
                    <a:lnTo>
                      <a:pt x="254" y="91"/>
                    </a:lnTo>
                    <a:lnTo>
                      <a:pt x="272" y="78"/>
                    </a:lnTo>
                    <a:lnTo>
                      <a:pt x="289" y="66"/>
                    </a:lnTo>
                    <a:lnTo>
                      <a:pt x="309" y="56"/>
                    </a:lnTo>
                    <a:lnTo>
                      <a:pt x="327" y="45"/>
                    </a:lnTo>
                    <a:lnTo>
                      <a:pt x="347" y="36"/>
                    </a:lnTo>
                    <a:lnTo>
                      <a:pt x="366" y="28"/>
                    </a:lnTo>
                    <a:lnTo>
                      <a:pt x="387" y="20"/>
                    </a:lnTo>
                    <a:lnTo>
                      <a:pt x="406" y="15"/>
                    </a:lnTo>
                    <a:lnTo>
                      <a:pt x="427" y="9"/>
                    </a:lnTo>
                    <a:lnTo>
                      <a:pt x="447" y="5"/>
                    </a:lnTo>
                    <a:lnTo>
                      <a:pt x="468" y="2"/>
                    </a:lnTo>
                    <a:lnTo>
                      <a:pt x="488" y="1"/>
                    </a:lnTo>
                    <a:lnTo>
                      <a:pt x="510" y="0"/>
                    </a:lnTo>
                    <a:lnTo>
                      <a:pt x="529" y="1"/>
                    </a:lnTo>
                    <a:lnTo>
                      <a:pt x="549" y="2"/>
                    </a:lnTo>
                    <a:lnTo>
                      <a:pt x="567" y="5"/>
                    </a:lnTo>
                    <a:lnTo>
                      <a:pt x="586" y="8"/>
                    </a:lnTo>
                    <a:lnTo>
                      <a:pt x="609" y="14"/>
                    </a:lnTo>
                    <a:lnTo>
                      <a:pt x="631" y="21"/>
                    </a:lnTo>
                    <a:lnTo>
                      <a:pt x="652" y="30"/>
                    </a:lnTo>
                    <a:lnTo>
                      <a:pt x="673" y="39"/>
                    </a:lnTo>
                    <a:lnTo>
                      <a:pt x="693" y="50"/>
                    </a:lnTo>
                    <a:lnTo>
                      <a:pt x="713" y="63"/>
                    </a:lnTo>
                    <a:lnTo>
                      <a:pt x="731" y="76"/>
                    </a:lnTo>
                    <a:lnTo>
                      <a:pt x="749" y="91"/>
                    </a:lnTo>
                    <a:lnTo>
                      <a:pt x="767" y="106"/>
                    </a:lnTo>
                    <a:lnTo>
                      <a:pt x="783" y="124"/>
                    </a:lnTo>
                    <a:lnTo>
                      <a:pt x="798" y="141"/>
                    </a:lnTo>
                    <a:lnTo>
                      <a:pt x="813" y="160"/>
                    </a:lnTo>
                    <a:lnTo>
                      <a:pt x="827" y="180"/>
                    </a:lnTo>
                    <a:lnTo>
                      <a:pt x="840" y="200"/>
                    </a:lnTo>
                    <a:lnTo>
                      <a:pt x="852" y="222"/>
                    </a:lnTo>
                    <a:lnTo>
                      <a:pt x="863" y="245"/>
                    </a:lnTo>
                    <a:lnTo>
                      <a:pt x="874" y="267"/>
                    </a:lnTo>
                    <a:lnTo>
                      <a:pt x="883" y="291"/>
                    </a:lnTo>
                    <a:lnTo>
                      <a:pt x="892" y="316"/>
                    </a:lnTo>
                    <a:lnTo>
                      <a:pt x="898" y="341"/>
                    </a:lnTo>
                    <a:lnTo>
                      <a:pt x="905" y="367"/>
                    </a:lnTo>
                    <a:lnTo>
                      <a:pt x="910" y="392"/>
                    </a:lnTo>
                    <a:lnTo>
                      <a:pt x="916" y="419"/>
                    </a:lnTo>
                    <a:lnTo>
                      <a:pt x="919" y="446"/>
                    </a:lnTo>
                    <a:lnTo>
                      <a:pt x="921" y="474"/>
                    </a:lnTo>
                    <a:lnTo>
                      <a:pt x="922" y="503"/>
                    </a:lnTo>
                    <a:lnTo>
                      <a:pt x="922" y="531"/>
                    </a:lnTo>
                    <a:lnTo>
                      <a:pt x="921" y="560"/>
                    </a:lnTo>
                    <a:lnTo>
                      <a:pt x="919" y="588"/>
                    </a:lnTo>
                    <a:lnTo>
                      <a:pt x="916" y="617"/>
                    </a:lnTo>
                    <a:lnTo>
                      <a:pt x="910" y="647"/>
                    </a:lnTo>
                    <a:lnTo>
                      <a:pt x="905" y="676"/>
                    </a:lnTo>
                    <a:lnTo>
                      <a:pt x="898" y="702"/>
                    </a:lnTo>
                    <a:lnTo>
                      <a:pt x="892" y="727"/>
                    </a:lnTo>
                    <a:lnTo>
                      <a:pt x="883" y="753"/>
                    </a:lnTo>
                    <a:lnTo>
                      <a:pt x="875" y="777"/>
                    </a:lnTo>
                    <a:lnTo>
                      <a:pt x="866" y="801"/>
                    </a:lnTo>
                    <a:lnTo>
                      <a:pt x="856" y="824"/>
                    </a:lnTo>
                    <a:lnTo>
                      <a:pt x="846" y="847"/>
                    </a:lnTo>
                    <a:lnTo>
                      <a:pt x="834" y="870"/>
                    </a:lnTo>
                    <a:lnTo>
                      <a:pt x="822" y="891"/>
                    </a:lnTo>
                    <a:lnTo>
                      <a:pt x="809" y="912"/>
                    </a:lnTo>
                    <a:lnTo>
                      <a:pt x="795" y="932"/>
                    </a:lnTo>
                    <a:lnTo>
                      <a:pt x="781" y="952"/>
                    </a:lnTo>
                    <a:lnTo>
                      <a:pt x="767" y="970"/>
                    </a:lnTo>
                    <a:lnTo>
                      <a:pt x="752" y="988"/>
                    </a:lnTo>
                    <a:lnTo>
                      <a:pt x="735" y="1006"/>
                    </a:lnTo>
                    <a:lnTo>
                      <a:pt x="720" y="1022"/>
                    </a:lnTo>
                    <a:lnTo>
                      <a:pt x="703" y="1037"/>
                    </a:lnTo>
                    <a:lnTo>
                      <a:pt x="686" y="1052"/>
                    </a:lnTo>
                    <a:lnTo>
                      <a:pt x="668" y="1066"/>
                    </a:lnTo>
                    <a:lnTo>
                      <a:pt x="651" y="1079"/>
                    </a:lnTo>
                    <a:lnTo>
                      <a:pt x="633" y="1091"/>
                    </a:lnTo>
                    <a:lnTo>
                      <a:pt x="613" y="1103"/>
                    </a:lnTo>
                    <a:lnTo>
                      <a:pt x="595" y="1112"/>
                    </a:lnTo>
                    <a:lnTo>
                      <a:pt x="576" y="1122"/>
                    </a:lnTo>
                    <a:lnTo>
                      <a:pt x="556" y="1130"/>
                    </a:lnTo>
                    <a:lnTo>
                      <a:pt x="536" y="1137"/>
                    </a:lnTo>
                    <a:lnTo>
                      <a:pt x="516" y="1144"/>
                    </a:lnTo>
                    <a:lnTo>
                      <a:pt x="496" y="1149"/>
                    </a:lnTo>
                    <a:lnTo>
                      <a:pt x="475" y="1152"/>
                    </a:lnTo>
                    <a:lnTo>
                      <a:pt x="455" y="1156"/>
                    </a:lnTo>
                    <a:lnTo>
                      <a:pt x="434" y="1158"/>
                    </a:lnTo>
                    <a:lnTo>
                      <a:pt x="413" y="1158"/>
                    </a:lnTo>
                    <a:close/>
                    <a:moveTo>
                      <a:pt x="510" y="27"/>
                    </a:moveTo>
                    <a:lnTo>
                      <a:pt x="510" y="27"/>
                    </a:lnTo>
                    <a:lnTo>
                      <a:pt x="489" y="28"/>
                    </a:lnTo>
                    <a:lnTo>
                      <a:pt x="470" y="29"/>
                    </a:lnTo>
                    <a:lnTo>
                      <a:pt x="450" y="32"/>
                    </a:lnTo>
                    <a:lnTo>
                      <a:pt x="431" y="35"/>
                    </a:lnTo>
                    <a:lnTo>
                      <a:pt x="413" y="41"/>
                    </a:lnTo>
                    <a:lnTo>
                      <a:pt x="393" y="46"/>
                    </a:lnTo>
                    <a:lnTo>
                      <a:pt x="375" y="54"/>
                    </a:lnTo>
                    <a:lnTo>
                      <a:pt x="356" y="61"/>
                    </a:lnTo>
                    <a:lnTo>
                      <a:pt x="338" y="70"/>
                    </a:lnTo>
                    <a:lnTo>
                      <a:pt x="320" y="79"/>
                    </a:lnTo>
                    <a:lnTo>
                      <a:pt x="302" y="90"/>
                    </a:lnTo>
                    <a:lnTo>
                      <a:pt x="285" y="102"/>
                    </a:lnTo>
                    <a:lnTo>
                      <a:pt x="268" y="115"/>
                    </a:lnTo>
                    <a:lnTo>
                      <a:pt x="252" y="128"/>
                    </a:lnTo>
                    <a:lnTo>
                      <a:pt x="235" y="142"/>
                    </a:lnTo>
                    <a:lnTo>
                      <a:pt x="219" y="157"/>
                    </a:lnTo>
                    <a:lnTo>
                      <a:pt x="204" y="172"/>
                    </a:lnTo>
                    <a:lnTo>
                      <a:pt x="189" y="190"/>
                    </a:lnTo>
                    <a:lnTo>
                      <a:pt x="175" y="207"/>
                    </a:lnTo>
                    <a:lnTo>
                      <a:pt x="161" y="224"/>
                    </a:lnTo>
                    <a:lnTo>
                      <a:pt x="148" y="243"/>
                    </a:lnTo>
                    <a:lnTo>
                      <a:pt x="135" y="262"/>
                    </a:lnTo>
                    <a:lnTo>
                      <a:pt x="123" y="282"/>
                    </a:lnTo>
                    <a:lnTo>
                      <a:pt x="111" y="303"/>
                    </a:lnTo>
                    <a:lnTo>
                      <a:pt x="101" y="324"/>
                    </a:lnTo>
                    <a:lnTo>
                      <a:pt x="91" y="346"/>
                    </a:lnTo>
                    <a:lnTo>
                      <a:pt x="81" y="368"/>
                    </a:lnTo>
                    <a:lnTo>
                      <a:pt x="72" y="391"/>
                    </a:lnTo>
                    <a:lnTo>
                      <a:pt x="64" y="414"/>
                    </a:lnTo>
                    <a:lnTo>
                      <a:pt x="56" y="438"/>
                    </a:lnTo>
                    <a:lnTo>
                      <a:pt x="50" y="463"/>
                    </a:lnTo>
                    <a:lnTo>
                      <a:pt x="44" y="487"/>
                    </a:lnTo>
                    <a:lnTo>
                      <a:pt x="39" y="514"/>
                    </a:lnTo>
                    <a:lnTo>
                      <a:pt x="34" y="543"/>
                    </a:lnTo>
                    <a:lnTo>
                      <a:pt x="30" y="569"/>
                    </a:lnTo>
                    <a:lnTo>
                      <a:pt x="28" y="596"/>
                    </a:lnTo>
                    <a:lnTo>
                      <a:pt x="27" y="623"/>
                    </a:lnTo>
                    <a:lnTo>
                      <a:pt x="27" y="650"/>
                    </a:lnTo>
                    <a:lnTo>
                      <a:pt x="28" y="677"/>
                    </a:lnTo>
                    <a:lnTo>
                      <a:pt x="30" y="703"/>
                    </a:lnTo>
                    <a:lnTo>
                      <a:pt x="32" y="729"/>
                    </a:lnTo>
                    <a:lnTo>
                      <a:pt x="37" y="755"/>
                    </a:lnTo>
                    <a:lnTo>
                      <a:pt x="42" y="781"/>
                    </a:lnTo>
                    <a:lnTo>
                      <a:pt x="48" y="806"/>
                    </a:lnTo>
                    <a:lnTo>
                      <a:pt x="55" y="830"/>
                    </a:lnTo>
                    <a:lnTo>
                      <a:pt x="63" y="854"/>
                    </a:lnTo>
                    <a:lnTo>
                      <a:pt x="72" y="877"/>
                    </a:lnTo>
                    <a:lnTo>
                      <a:pt x="82" y="901"/>
                    </a:lnTo>
                    <a:lnTo>
                      <a:pt x="93" y="922"/>
                    </a:lnTo>
                    <a:lnTo>
                      <a:pt x="105" y="943"/>
                    </a:lnTo>
                    <a:lnTo>
                      <a:pt x="118" y="964"/>
                    </a:lnTo>
                    <a:lnTo>
                      <a:pt x="131" y="982"/>
                    </a:lnTo>
                    <a:lnTo>
                      <a:pt x="145" y="1000"/>
                    </a:lnTo>
                    <a:lnTo>
                      <a:pt x="160" y="1017"/>
                    </a:lnTo>
                    <a:lnTo>
                      <a:pt x="175" y="1033"/>
                    </a:lnTo>
                    <a:lnTo>
                      <a:pt x="191" y="1048"/>
                    </a:lnTo>
                    <a:lnTo>
                      <a:pt x="208" y="1061"/>
                    </a:lnTo>
                    <a:lnTo>
                      <a:pt x="226" y="1074"/>
                    </a:lnTo>
                    <a:lnTo>
                      <a:pt x="244" y="1084"/>
                    </a:lnTo>
                    <a:lnTo>
                      <a:pt x="262" y="1095"/>
                    </a:lnTo>
                    <a:lnTo>
                      <a:pt x="282" y="1104"/>
                    </a:lnTo>
                    <a:lnTo>
                      <a:pt x="301" y="1111"/>
                    </a:lnTo>
                    <a:lnTo>
                      <a:pt x="321" y="1118"/>
                    </a:lnTo>
                    <a:lnTo>
                      <a:pt x="341" y="1123"/>
                    </a:lnTo>
                    <a:lnTo>
                      <a:pt x="360" y="1127"/>
                    </a:lnTo>
                    <a:lnTo>
                      <a:pt x="377" y="1129"/>
                    </a:lnTo>
                    <a:lnTo>
                      <a:pt x="395" y="1131"/>
                    </a:lnTo>
                    <a:lnTo>
                      <a:pt x="413" y="1131"/>
                    </a:lnTo>
                    <a:lnTo>
                      <a:pt x="433" y="1131"/>
                    </a:lnTo>
                    <a:lnTo>
                      <a:pt x="453" y="1129"/>
                    </a:lnTo>
                    <a:lnTo>
                      <a:pt x="472" y="1125"/>
                    </a:lnTo>
                    <a:lnTo>
                      <a:pt x="491" y="1122"/>
                    </a:lnTo>
                    <a:lnTo>
                      <a:pt x="510" y="1117"/>
                    </a:lnTo>
                    <a:lnTo>
                      <a:pt x="529" y="1111"/>
                    </a:lnTo>
                    <a:lnTo>
                      <a:pt x="548" y="1104"/>
                    </a:lnTo>
                    <a:lnTo>
                      <a:pt x="567" y="1096"/>
                    </a:lnTo>
                    <a:lnTo>
                      <a:pt x="584" y="1088"/>
                    </a:lnTo>
                    <a:lnTo>
                      <a:pt x="603" y="1078"/>
                    </a:lnTo>
                    <a:lnTo>
                      <a:pt x="620" y="1067"/>
                    </a:lnTo>
                    <a:lnTo>
                      <a:pt x="637" y="1055"/>
                    </a:lnTo>
                    <a:lnTo>
                      <a:pt x="654" y="1043"/>
                    </a:lnTo>
                    <a:lnTo>
                      <a:pt x="671" y="1029"/>
                    </a:lnTo>
                    <a:lnTo>
                      <a:pt x="687" y="1015"/>
                    </a:lnTo>
                    <a:lnTo>
                      <a:pt x="703" y="1000"/>
                    </a:lnTo>
                    <a:lnTo>
                      <a:pt x="718" y="985"/>
                    </a:lnTo>
                    <a:lnTo>
                      <a:pt x="733" y="969"/>
                    </a:lnTo>
                    <a:lnTo>
                      <a:pt x="747" y="952"/>
                    </a:lnTo>
                    <a:lnTo>
                      <a:pt x="761" y="933"/>
                    </a:lnTo>
                    <a:lnTo>
                      <a:pt x="774" y="915"/>
                    </a:lnTo>
                    <a:lnTo>
                      <a:pt x="787" y="895"/>
                    </a:lnTo>
                    <a:lnTo>
                      <a:pt x="799" y="875"/>
                    </a:lnTo>
                    <a:lnTo>
                      <a:pt x="811" y="854"/>
                    </a:lnTo>
                    <a:lnTo>
                      <a:pt x="822" y="834"/>
                    </a:lnTo>
                    <a:lnTo>
                      <a:pt x="832" y="812"/>
                    </a:lnTo>
                    <a:lnTo>
                      <a:pt x="841" y="790"/>
                    </a:lnTo>
                    <a:lnTo>
                      <a:pt x="850" y="767"/>
                    </a:lnTo>
                    <a:lnTo>
                      <a:pt x="859" y="743"/>
                    </a:lnTo>
                    <a:lnTo>
                      <a:pt x="866" y="720"/>
                    </a:lnTo>
                    <a:lnTo>
                      <a:pt x="873" y="695"/>
                    </a:lnTo>
                    <a:lnTo>
                      <a:pt x="878" y="670"/>
                    </a:lnTo>
                    <a:lnTo>
                      <a:pt x="884" y="642"/>
                    </a:lnTo>
                    <a:lnTo>
                      <a:pt x="889" y="615"/>
                    </a:lnTo>
                    <a:lnTo>
                      <a:pt x="892" y="587"/>
                    </a:lnTo>
                    <a:lnTo>
                      <a:pt x="894" y="559"/>
                    </a:lnTo>
                    <a:lnTo>
                      <a:pt x="895" y="532"/>
                    </a:lnTo>
                    <a:lnTo>
                      <a:pt x="895" y="505"/>
                    </a:lnTo>
                    <a:lnTo>
                      <a:pt x="894" y="478"/>
                    </a:lnTo>
                    <a:lnTo>
                      <a:pt x="892" y="452"/>
                    </a:lnTo>
                    <a:lnTo>
                      <a:pt x="889" y="426"/>
                    </a:lnTo>
                    <a:lnTo>
                      <a:pt x="884" y="400"/>
                    </a:lnTo>
                    <a:lnTo>
                      <a:pt x="880" y="375"/>
                    </a:lnTo>
                    <a:lnTo>
                      <a:pt x="874" y="350"/>
                    </a:lnTo>
                    <a:lnTo>
                      <a:pt x="867" y="327"/>
                    </a:lnTo>
                    <a:lnTo>
                      <a:pt x="859" y="304"/>
                    </a:lnTo>
                    <a:lnTo>
                      <a:pt x="850" y="281"/>
                    </a:lnTo>
                    <a:lnTo>
                      <a:pt x="840" y="259"/>
                    </a:lnTo>
                    <a:lnTo>
                      <a:pt x="830" y="238"/>
                    </a:lnTo>
                    <a:lnTo>
                      <a:pt x="819" y="218"/>
                    </a:lnTo>
                    <a:lnTo>
                      <a:pt x="807" y="197"/>
                    </a:lnTo>
                    <a:lnTo>
                      <a:pt x="794" y="179"/>
                    </a:lnTo>
                    <a:lnTo>
                      <a:pt x="780" y="160"/>
                    </a:lnTo>
                    <a:lnTo>
                      <a:pt x="765" y="144"/>
                    </a:lnTo>
                    <a:lnTo>
                      <a:pt x="749" y="128"/>
                    </a:lnTo>
                    <a:lnTo>
                      <a:pt x="733" y="113"/>
                    </a:lnTo>
                    <a:lnTo>
                      <a:pt x="717" y="99"/>
                    </a:lnTo>
                    <a:lnTo>
                      <a:pt x="700" y="86"/>
                    </a:lnTo>
                    <a:lnTo>
                      <a:pt x="681" y="75"/>
                    </a:lnTo>
                    <a:lnTo>
                      <a:pt x="662" y="64"/>
                    </a:lnTo>
                    <a:lnTo>
                      <a:pt x="643" y="55"/>
                    </a:lnTo>
                    <a:lnTo>
                      <a:pt x="623" y="47"/>
                    </a:lnTo>
                    <a:lnTo>
                      <a:pt x="602" y="39"/>
                    </a:lnTo>
                    <a:lnTo>
                      <a:pt x="581" y="34"/>
                    </a:lnTo>
                    <a:lnTo>
                      <a:pt x="563" y="31"/>
                    </a:lnTo>
                    <a:lnTo>
                      <a:pt x="545" y="29"/>
                    </a:lnTo>
                    <a:lnTo>
                      <a:pt x="527" y="28"/>
                    </a:lnTo>
                    <a:lnTo>
                      <a:pt x="51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49"/>
              <p:cNvSpPr>
                <a:spLocks/>
              </p:cNvSpPr>
              <p:nvPr userDrawn="1"/>
            </p:nvSpPr>
            <p:spPr bwMode="auto">
              <a:xfrm>
                <a:off x="2732" y="3401"/>
                <a:ext cx="433" cy="60"/>
              </a:xfrm>
              <a:custGeom>
                <a:avLst/>
                <a:gdLst>
                  <a:gd name="T0" fmla="*/ 11 w 1299"/>
                  <a:gd name="T1" fmla="*/ 181 h 181"/>
                  <a:gd name="T2" fmla="*/ 4 w 1299"/>
                  <a:gd name="T3" fmla="*/ 178 h 181"/>
                  <a:gd name="T4" fmla="*/ 0 w 1299"/>
                  <a:gd name="T5" fmla="*/ 171 h 181"/>
                  <a:gd name="T6" fmla="*/ 2 w 1299"/>
                  <a:gd name="T7" fmla="*/ 161 h 181"/>
                  <a:gd name="T8" fmla="*/ 11 w 1299"/>
                  <a:gd name="T9" fmla="*/ 153 h 181"/>
                  <a:gd name="T10" fmla="*/ 52 w 1299"/>
                  <a:gd name="T11" fmla="*/ 130 h 181"/>
                  <a:gd name="T12" fmla="*/ 108 w 1299"/>
                  <a:gd name="T13" fmla="*/ 104 h 181"/>
                  <a:gd name="T14" fmla="*/ 159 w 1299"/>
                  <a:gd name="T15" fmla="*/ 83 h 181"/>
                  <a:gd name="T16" fmla="*/ 218 w 1299"/>
                  <a:gd name="T17" fmla="*/ 63 h 181"/>
                  <a:gd name="T18" fmla="*/ 288 w 1299"/>
                  <a:gd name="T19" fmla="*/ 44 h 181"/>
                  <a:gd name="T20" fmla="*/ 368 w 1299"/>
                  <a:gd name="T21" fmla="*/ 27 h 181"/>
                  <a:gd name="T22" fmla="*/ 458 w 1299"/>
                  <a:gd name="T23" fmla="*/ 13 h 181"/>
                  <a:gd name="T24" fmla="*/ 558 w 1299"/>
                  <a:gd name="T25" fmla="*/ 4 h 181"/>
                  <a:gd name="T26" fmla="*/ 668 w 1299"/>
                  <a:gd name="T27" fmla="*/ 0 h 181"/>
                  <a:gd name="T28" fmla="*/ 788 w 1299"/>
                  <a:gd name="T29" fmla="*/ 4 h 181"/>
                  <a:gd name="T30" fmla="*/ 919 w 1299"/>
                  <a:gd name="T31" fmla="*/ 15 h 181"/>
                  <a:gd name="T32" fmla="*/ 1059 w 1299"/>
                  <a:gd name="T33" fmla="*/ 37 h 181"/>
                  <a:gd name="T34" fmla="*/ 1209 w 1299"/>
                  <a:gd name="T35" fmla="*/ 68 h 181"/>
                  <a:gd name="T36" fmla="*/ 1293 w 1299"/>
                  <a:gd name="T37" fmla="*/ 91 h 181"/>
                  <a:gd name="T38" fmla="*/ 1299 w 1299"/>
                  <a:gd name="T39" fmla="*/ 99 h 181"/>
                  <a:gd name="T40" fmla="*/ 1296 w 1299"/>
                  <a:gd name="T41" fmla="*/ 110 h 181"/>
                  <a:gd name="T42" fmla="*/ 1287 w 1299"/>
                  <a:gd name="T43" fmla="*/ 114 h 181"/>
                  <a:gd name="T44" fmla="*/ 1204 w 1299"/>
                  <a:gd name="T45" fmla="*/ 95 h 181"/>
                  <a:gd name="T46" fmla="*/ 1056 w 1299"/>
                  <a:gd name="T47" fmla="*/ 64 h 181"/>
                  <a:gd name="T48" fmla="*/ 918 w 1299"/>
                  <a:gd name="T49" fmla="*/ 42 h 181"/>
                  <a:gd name="T50" fmla="*/ 789 w 1299"/>
                  <a:gd name="T51" fmla="*/ 31 h 181"/>
                  <a:gd name="T52" fmla="*/ 672 w 1299"/>
                  <a:gd name="T53" fmla="*/ 27 h 181"/>
                  <a:gd name="T54" fmla="*/ 564 w 1299"/>
                  <a:gd name="T55" fmla="*/ 30 h 181"/>
                  <a:gd name="T56" fmla="*/ 465 w 1299"/>
                  <a:gd name="T57" fmla="*/ 39 h 181"/>
                  <a:gd name="T58" fmla="*/ 377 w 1299"/>
                  <a:gd name="T59" fmla="*/ 53 h 181"/>
                  <a:gd name="T60" fmla="*/ 298 w 1299"/>
                  <a:gd name="T61" fmla="*/ 69 h 181"/>
                  <a:gd name="T62" fmla="*/ 230 w 1299"/>
                  <a:gd name="T63" fmla="*/ 87 h 181"/>
                  <a:gd name="T64" fmla="*/ 170 w 1299"/>
                  <a:gd name="T65" fmla="*/ 107 h 181"/>
                  <a:gd name="T66" fmla="*/ 122 w 1299"/>
                  <a:gd name="T67" fmla="*/ 126 h 181"/>
                  <a:gd name="T68" fmla="*/ 67 w 1299"/>
                  <a:gd name="T69" fmla="*/ 152 h 181"/>
                  <a:gd name="T70" fmla="*/ 27 w 1299"/>
                  <a:gd name="T71" fmla="*/ 175 h 181"/>
                  <a:gd name="T72" fmla="*/ 17 w 1299"/>
                  <a:gd name="T7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9" h="181">
                    <a:moveTo>
                      <a:pt x="13" y="181"/>
                    </a:moveTo>
                    <a:lnTo>
                      <a:pt x="11" y="181"/>
                    </a:lnTo>
                    <a:lnTo>
                      <a:pt x="7" y="180"/>
                    </a:lnTo>
                    <a:lnTo>
                      <a:pt x="4" y="178"/>
                    </a:lnTo>
                    <a:lnTo>
                      <a:pt x="2" y="176"/>
                    </a:lnTo>
                    <a:lnTo>
                      <a:pt x="0" y="171"/>
                    </a:lnTo>
                    <a:lnTo>
                      <a:pt x="0" y="166"/>
                    </a:lnTo>
                    <a:lnTo>
                      <a:pt x="2" y="161"/>
                    </a:lnTo>
                    <a:lnTo>
                      <a:pt x="5" y="158"/>
                    </a:lnTo>
                    <a:lnTo>
                      <a:pt x="11" y="153"/>
                    </a:lnTo>
                    <a:lnTo>
                      <a:pt x="27" y="144"/>
                    </a:lnTo>
                    <a:lnTo>
                      <a:pt x="52" y="130"/>
                    </a:lnTo>
                    <a:lnTo>
                      <a:pt x="87" y="112"/>
                    </a:lnTo>
                    <a:lnTo>
                      <a:pt x="108" y="104"/>
                    </a:lnTo>
                    <a:lnTo>
                      <a:pt x="132" y="93"/>
                    </a:lnTo>
                    <a:lnTo>
                      <a:pt x="159" y="83"/>
                    </a:lnTo>
                    <a:lnTo>
                      <a:pt x="187" y="73"/>
                    </a:lnTo>
                    <a:lnTo>
                      <a:pt x="218" y="63"/>
                    </a:lnTo>
                    <a:lnTo>
                      <a:pt x="251" y="53"/>
                    </a:lnTo>
                    <a:lnTo>
                      <a:pt x="288" y="44"/>
                    </a:lnTo>
                    <a:lnTo>
                      <a:pt x="327" y="35"/>
                    </a:lnTo>
                    <a:lnTo>
                      <a:pt x="368" y="27"/>
                    </a:lnTo>
                    <a:lnTo>
                      <a:pt x="411" y="19"/>
                    </a:lnTo>
                    <a:lnTo>
                      <a:pt x="458" y="13"/>
                    </a:lnTo>
                    <a:lnTo>
                      <a:pt x="506" y="8"/>
                    </a:lnTo>
                    <a:lnTo>
                      <a:pt x="558" y="4"/>
                    </a:lnTo>
                    <a:lnTo>
                      <a:pt x="612" y="1"/>
                    </a:lnTo>
                    <a:lnTo>
                      <a:pt x="668" y="0"/>
                    </a:lnTo>
                    <a:lnTo>
                      <a:pt x="727" y="1"/>
                    </a:lnTo>
                    <a:lnTo>
                      <a:pt x="788" y="4"/>
                    </a:lnTo>
                    <a:lnTo>
                      <a:pt x="852" y="9"/>
                    </a:lnTo>
                    <a:lnTo>
                      <a:pt x="919" y="15"/>
                    </a:lnTo>
                    <a:lnTo>
                      <a:pt x="987" y="25"/>
                    </a:lnTo>
                    <a:lnTo>
                      <a:pt x="1059" y="37"/>
                    </a:lnTo>
                    <a:lnTo>
                      <a:pt x="1133" y="51"/>
                    </a:lnTo>
                    <a:lnTo>
                      <a:pt x="1209" y="68"/>
                    </a:lnTo>
                    <a:lnTo>
                      <a:pt x="1288" y="89"/>
                    </a:lnTo>
                    <a:lnTo>
                      <a:pt x="1293" y="91"/>
                    </a:lnTo>
                    <a:lnTo>
                      <a:pt x="1297" y="95"/>
                    </a:lnTo>
                    <a:lnTo>
                      <a:pt x="1299" y="99"/>
                    </a:lnTo>
                    <a:lnTo>
                      <a:pt x="1298" y="105"/>
                    </a:lnTo>
                    <a:lnTo>
                      <a:pt x="1296" y="110"/>
                    </a:lnTo>
                    <a:lnTo>
                      <a:pt x="1291" y="113"/>
                    </a:lnTo>
                    <a:lnTo>
                      <a:pt x="1287" y="114"/>
                    </a:lnTo>
                    <a:lnTo>
                      <a:pt x="1282" y="114"/>
                    </a:lnTo>
                    <a:lnTo>
                      <a:pt x="1204" y="95"/>
                    </a:lnTo>
                    <a:lnTo>
                      <a:pt x="1128" y="78"/>
                    </a:lnTo>
                    <a:lnTo>
                      <a:pt x="1056" y="64"/>
                    </a:lnTo>
                    <a:lnTo>
                      <a:pt x="985" y="52"/>
                    </a:lnTo>
                    <a:lnTo>
                      <a:pt x="918" y="42"/>
                    </a:lnTo>
                    <a:lnTo>
                      <a:pt x="852" y="36"/>
                    </a:lnTo>
                    <a:lnTo>
                      <a:pt x="789" y="31"/>
                    </a:lnTo>
                    <a:lnTo>
                      <a:pt x="729" y="28"/>
                    </a:lnTo>
                    <a:lnTo>
                      <a:pt x="672" y="27"/>
                    </a:lnTo>
                    <a:lnTo>
                      <a:pt x="616" y="28"/>
                    </a:lnTo>
                    <a:lnTo>
                      <a:pt x="564" y="30"/>
                    </a:lnTo>
                    <a:lnTo>
                      <a:pt x="513" y="35"/>
                    </a:lnTo>
                    <a:lnTo>
                      <a:pt x="465" y="39"/>
                    </a:lnTo>
                    <a:lnTo>
                      <a:pt x="420" y="45"/>
                    </a:lnTo>
                    <a:lnTo>
                      <a:pt x="377" y="53"/>
                    </a:lnTo>
                    <a:lnTo>
                      <a:pt x="337" y="60"/>
                    </a:lnTo>
                    <a:lnTo>
                      <a:pt x="298" y="69"/>
                    </a:lnTo>
                    <a:lnTo>
                      <a:pt x="263" y="78"/>
                    </a:lnTo>
                    <a:lnTo>
                      <a:pt x="230" y="87"/>
                    </a:lnTo>
                    <a:lnTo>
                      <a:pt x="200" y="97"/>
                    </a:lnTo>
                    <a:lnTo>
                      <a:pt x="170" y="107"/>
                    </a:lnTo>
                    <a:lnTo>
                      <a:pt x="146" y="117"/>
                    </a:lnTo>
                    <a:lnTo>
                      <a:pt x="122" y="126"/>
                    </a:lnTo>
                    <a:lnTo>
                      <a:pt x="101" y="136"/>
                    </a:lnTo>
                    <a:lnTo>
                      <a:pt x="67" y="152"/>
                    </a:lnTo>
                    <a:lnTo>
                      <a:pt x="42" y="166"/>
                    </a:lnTo>
                    <a:lnTo>
                      <a:pt x="27" y="175"/>
                    </a:lnTo>
                    <a:lnTo>
                      <a:pt x="21" y="179"/>
                    </a:lnTo>
                    <a:lnTo>
                      <a:pt x="17" y="181"/>
                    </a:lnTo>
                    <a:lnTo>
                      <a:pt x="13"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50"/>
              <p:cNvSpPr>
                <a:spLocks/>
              </p:cNvSpPr>
              <p:nvPr userDrawn="1"/>
            </p:nvSpPr>
            <p:spPr bwMode="auto">
              <a:xfrm>
                <a:off x="2781" y="3468"/>
                <a:ext cx="471" cy="87"/>
              </a:xfrm>
              <a:custGeom>
                <a:avLst/>
                <a:gdLst>
                  <a:gd name="T0" fmla="*/ 1399 w 1415"/>
                  <a:gd name="T1" fmla="*/ 261 h 261"/>
                  <a:gd name="T2" fmla="*/ 1390 w 1415"/>
                  <a:gd name="T3" fmla="*/ 258 h 261"/>
                  <a:gd name="T4" fmla="*/ 1351 w 1415"/>
                  <a:gd name="T5" fmla="*/ 241 h 261"/>
                  <a:gd name="T6" fmla="*/ 1280 w 1415"/>
                  <a:gd name="T7" fmla="*/ 211 h 261"/>
                  <a:gd name="T8" fmla="*/ 1181 w 1415"/>
                  <a:gd name="T9" fmla="*/ 175 h 261"/>
                  <a:gd name="T10" fmla="*/ 1059 w 1415"/>
                  <a:gd name="T11" fmla="*/ 135 h 261"/>
                  <a:gd name="T12" fmla="*/ 918 w 1415"/>
                  <a:gd name="T13" fmla="*/ 96 h 261"/>
                  <a:gd name="T14" fmla="*/ 805 w 1415"/>
                  <a:gd name="T15" fmla="*/ 69 h 261"/>
                  <a:gd name="T16" fmla="*/ 726 w 1415"/>
                  <a:gd name="T17" fmla="*/ 54 h 261"/>
                  <a:gd name="T18" fmla="*/ 645 w 1415"/>
                  <a:gd name="T19" fmla="*/ 42 h 261"/>
                  <a:gd name="T20" fmla="*/ 563 w 1415"/>
                  <a:gd name="T21" fmla="*/ 32 h 261"/>
                  <a:gd name="T22" fmla="*/ 494 w 1415"/>
                  <a:gd name="T23" fmla="*/ 27 h 261"/>
                  <a:gd name="T24" fmla="*/ 442 w 1415"/>
                  <a:gd name="T25" fmla="*/ 27 h 261"/>
                  <a:gd name="T26" fmla="*/ 392 w 1415"/>
                  <a:gd name="T27" fmla="*/ 29 h 261"/>
                  <a:gd name="T28" fmla="*/ 344 w 1415"/>
                  <a:gd name="T29" fmla="*/ 33 h 261"/>
                  <a:gd name="T30" fmla="*/ 277 w 1415"/>
                  <a:gd name="T31" fmla="*/ 44 h 261"/>
                  <a:gd name="T32" fmla="*/ 198 w 1415"/>
                  <a:gd name="T33" fmla="*/ 62 h 261"/>
                  <a:gd name="T34" fmla="*/ 131 w 1415"/>
                  <a:gd name="T35" fmla="*/ 84 h 261"/>
                  <a:gd name="T36" fmla="*/ 78 w 1415"/>
                  <a:gd name="T37" fmla="*/ 105 h 261"/>
                  <a:gd name="T38" fmla="*/ 30 w 1415"/>
                  <a:gd name="T39" fmla="*/ 128 h 261"/>
                  <a:gd name="T40" fmla="*/ 15 w 1415"/>
                  <a:gd name="T41" fmla="*/ 136 h 261"/>
                  <a:gd name="T42" fmla="*/ 5 w 1415"/>
                  <a:gd name="T43" fmla="*/ 134 h 261"/>
                  <a:gd name="T44" fmla="*/ 0 w 1415"/>
                  <a:gd name="T45" fmla="*/ 124 h 261"/>
                  <a:gd name="T46" fmla="*/ 2 w 1415"/>
                  <a:gd name="T47" fmla="*/ 114 h 261"/>
                  <a:gd name="T48" fmla="*/ 18 w 1415"/>
                  <a:gd name="T49" fmla="*/ 104 h 261"/>
                  <a:gd name="T50" fmla="*/ 70 w 1415"/>
                  <a:gd name="T51" fmla="*/ 79 h 261"/>
                  <a:gd name="T52" fmla="*/ 124 w 1415"/>
                  <a:gd name="T53" fmla="*/ 57 h 261"/>
                  <a:gd name="T54" fmla="*/ 192 w 1415"/>
                  <a:gd name="T55" fmla="*/ 35 h 261"/>
                  <a:gd name="T56" fmla="*/ 273 w 1415"/>
                  <a:gd name="T57" fmla="*/ 17 h 261"/>
                  <a:gd name="T58" fmla="*/ 342 w 1415"/>
                  <a:gd name="T59" fmla="*/ 6 h 261"/>
                  <a:gd name="T60" fmla="*/ 390 w 1415"/>
                  <a:gd name="T61" fmla="*/ 2 h 261"/>
                  <a:gd name="T62" fmla="*/ 442 w 1415"/>
                  <a:gd name="T63" fmla="*/ 0 h 261"/>
                  <a:gd name="T64" fmla="*/ 495 w 1415"/>
                  <a:gd name="T65" fmla="*/ 0 h 261"/>
                  <a:gd name="T66" fmla="*/ 565 w 1415"/>
                  <a:gd name="T67" fmla="*/ 5 h 261"/>
                  <a:gd name="T68" fmla="*/ 649 w 1415"/>
                  <a:gd name="T69" fmla="*/ 15 h 261"/>
                  <a:gd name="T70" fmla="*/ 731 w 1415"/>
                  <a:gd name="T71" fmla="*/ 28 h 261"/>
                  <a:gd name="T72" fmla="*/ 810 w 1415"/>
                  <a:gd name="T73" fmla="*/ 43 h 261"/>
                  <a:gd name="T74" fmla="*/ 925 w 1415"/>
                  <a:gd name="T75" fmla="*/ 70 h 261"/>
                  <a:gd name="T76" fmla="*/ 1066 w 1415"/>
                  <a:gd name="T77" fmla="*/ 109 h 261"/>
                  <a:gd name="T78" fmla="*/ 1191 w 1415"/>
                  <a:gd name="T79" fmla="*/ 150 h 261"/>
                  <a:gd name="T80" fmla="*/ 1290 w 1415"/>
                  <a:gd name="T81" fmla="*/ 187 h 261"/>
                  <a:gd name="T82" fmla="*/ 1362 w 1415"/>
                  <a:gd name="T83" fmla="*/ 216 h 261"/>
                  <a:gd name="T84" fmla="*/ 1401 w 1415"/>
                  <a:gd name="T85" fmla="*/ 233 h 261"/>
                  <a:gd name="T86" fmla="*/ 1412 w 1415"/>
                  <a:gd name="T87" fmla="*/ 238 h 261"/>
                  <a:gd name="T88" fmla="*/ 1415 w 1415"/>
                  <a:gd name="T89" fmla="*/ 248 h 261"/>
                  <a:gd name="T90" fmla="*/ 1412 w 1415"/>
                  <a:gd name="T91" fmla="*/ 257 h 261"/>
                  <a:gd name="T92" fmla="*/ 1405 w 1415"/>
                  <a:gd name="T9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15" h="261">
                    <a:moveTo>
                      <a:pt x="1401" y="261"/>
                    </a:moveTo>
                    <a:lnTo>
                      <a:pt x="1399" y="261"/>
                    </a:lnTo>
                    <a:lnTo>
                      <a:pt x="1396" y="260"/>
                    </a:lnTo>
                    <a:lnTo>
                      <a:pt x="1390" y="258"/>
                    </a:lnTo>
                    <a:lnTo>
                      <a:pt x="1375" y="250"/>
                    </a:lnTo>
                    <a:lnTo>
                      <a:pt x="1351" y="241"/>
                    </a:lnTo>
                    <a:lnTo>
                      <a:pt x="1319" y="228"/>
                    </a:lnTo>
                    <a:lnTo>
                      <a:pt x="1280" y="211"/>
                    </a:lnTo>
                    <a:lnTo>
                      <a:pt x="1234" y="194"/>
                    </a:lnTo>
                    <a:lnTo>
                      <a:pt x="1181" y="175"/>
                    </a:lnTo>
                    <a:lnTo>
                      <a:pt x="1123" y="155"/>
                    </a:lnTo>
                    <a:lnTo>
                      <a:pt x="1059" y="135"/>
                    </a:lnTo>
                    <a:lnTo>
                      <a:pt x="991" y="115"/>
                    </a:lnTo>
                    <a:lnTo>
                      <a:pt x="918" y="96"/>
                    </a:lnTo>
                    <a:lnTo>
                      <a:pt x="844" y="78"/>
                    </a:lnTo>
                    <a:lnTo>
                      <a:pt x="805" y="69"/>
                    </a:lnTo>
                    <a:lnTo>
                      <a:pt x="765" y="61"/>
                    </a:lnTo>
                    <a:lnTo>
                      <a:pt x="726" y="54"/>
                    </a:lnTo>
                    <a:lnTo>
                      <a:pt x="685" y="47"/>
                    </a:lnTo>
                    <a:lnTo>
                      <a:pt x="645" y="42"/>
                    </a:lnTo>
                    <a:lnTo>
                      <a:pt x="604" y="37"/>
                    </a:lnTo>
                    <a:lnTo>
                      <a:pt x="563" y="32"/>
                    </a:lnTo>
                    <a:lnTo>
                      <a:pt x="521" y="29"/>
                    </a:lnTo>
                    <a:lnTo>
                      <a:pt x="494" y="27"/>
                    </a:lnTo>
                    <a:lnTo>
                      <a:pt x="468" y="27"/>
                    </a:lnTo>
                    <a:lnTo>
                      <a:pt x="442" y="27"/>
                    </a:lnTo>
                    <a:lnTo>
                      <a:pt x="416" y="27"/>
                    </a:lnTo>
                    <a:lnTo>
                      <a:pt x="392" y="29"/>
                    </a:lnTo>
                    <a:lnTo>
                      <a:pt x="368" y="31"/>
                    </a:lnTo>
                    <a:lnTo>
                      <a:pt x="344" y="33"/>
                    </a:lnTo>
                    <a:lnTo>
                      <a:pt x="321" y="37"/>
                    </a:lnTo>
                    <a:lnTo>
                      <a:pt x="277" y="44"/>
                    </a:lnTo>
                    <a:lnTo>
                      <a:pt x="236" y="53"/>
                    </a:lnTo>
                    <a:lnTo>
                      <a:pt x="198" y="62"/>
                    </a:lnTo>
                    <a:lnTo>
                      <a:pt x="163" y="73"/>
                    </a:lnTo>
                    <a:lnTo>
                      <a:pt x="131" y="84"/>
                    </a:lnTo>
                    <a:lnTo>
                      <a:pt x="103" y="95"/>
                    </a:lnTo>
                    <a:lnTo>
                      <a:pt x="78" y="105"/>
                    </a:lnTo>
                    <a:lnTo>
                      <a:pt x="58" y="114"/>
                    </a:lnTo>
                    <a:lnTo>
                      <a:pt x="30" y="128"/>
                    </a:lnTo>
                    <a:lnTo>
                      <a:pt x="20" y="134"/>
                    </a:lnTo>
                    <a:lnTo>
                      <a:pt x="15" y="136"/>
                    </a:lnTo>
                    <a:lnTo>
                      <a:pt x="9" y="136"/>
                    </a:lnTo>
                    <a:lnTo>
                      <a:pt x="5" y="134"/>
                    </a:lnTo>
                    <a:lnTo>
                      <a:pt x="2" y="129"/>
                    </a:lnTo>
                    <a:lnTo>
                      <a:pt x="0" y="124"/>
                    </a:lnTo>
                    <a:lnTo>
                      <a:pt x="0" y="120"/>
                    </a:lnTo>
                    <a:lnTo>
                      <a:pt x="2" y="114"/>
                    </a:lnTo>
                    <a:lnTo>
                      <a:pt x="6" y="111"/>
                    </a:lnTo>
                    <a:lnTo>
                      <a:pt x="18" y="104"/>
                    </a:lnTo>
                    <a:lnTo>
                      <a:pt x="48" y="88"/>
                    </a:lnTo>
                    <a:lnTo>
                      <a:pt x="70" y="79"/>
                    </a:lnTo>
                    <a:lnTo>
                      <a:pt x="95" y="69"/>
                    </a:lnTo>
                    <a:lnTo>
                      <a:pt x="124" y="57"/>
                    </a:lnTo>
                    <a:lnTo>
                      <a:pt x="156" y="46"/>
                    </a:lnTo>
                    <a:lnTo>
                      <a:pt x="192" y="35"/>
                    </a:lnTo>
                    <a:lnTo>
                      <a:pt x="231" y="26"/>
                    </a:lnTo>
                    <a:lnTo>
                      <a:pt x="273" y="17"/>
                    </a:lnTo>
                    <a:lnTo>
                      <a:pt x="318" y="10"/>
                    </a:lnTo>
                    <a:lnTo>
                      <a:pt x="342" y="6"/>
                    </a:lnTo>
                    <a:lnTo>
                      <a:pt x="366" y="3"/>
                    </a:lnTo>
                    <a:lnTo>
                      <a:pt x="390" y="2"/>
                    </a:lnTo>
                    <a:lnTo>
                      <a:pt x="415" y="0"/>
                    </a:lnTo>
                    <a:lnTo>
                      <a:pt x="442" y="0"/>
                    </a:lnTo>
                    <a:lnTo>
                      <a:pt x="468" y="0"/>
                    </a:lnTo>
                    <a:lnTo>
                      <a:pt x="495" y="0"/>
                    </a:lnTo>
                    <a:lnTo>
                      <a:pt x="523" y="2"/>
                    </a:lnTo>
                    <a:lnTo>
                      <a:pt x="565" y="5"/>
                    </a:lnTo>
                    <a:lnTo>
                      <a:pt x="606" y="10"/>
                    </a:lnTo>
                    <a:lnTo>
                      <a:pt x="649" y="15"/>
                    </a:lnTo>
                    <a:lnTo>
                      <a:pt x="690" y="20"/>
                    </a:lnTo>
                    <a:lnTo>
                      <a:pt x="731" y="28"/>
                    </a:lnTo>
                    <a:lnTo>
                      <a:pt x="771" y="34"/>
                    </a:lnTo>
                    <a:lnTo>
                      <a:pt x="810" y="43"/>
                    </a:lnTo>
                    <a:lnTo>
                      <a:pt x="849" y="52"/>
                    </a:lnTo>
                    <a:lnTo>
                      <a:pt x="925" y="70"/>
                    </a:lnTo>
                    <a:lnTo>
                      <a:pt x="998" y="89"/>
                    </a:lnTo>
                    <a:lnTo>
                      <a:pt x="1066" y="109"/>
                    </a:lnTo>
                    <a:lnTo>
                      <a:pt x="1131" y="129"/>
                    </a:lnTo>
                    <a:lnTo>
                      <a:pt x="1191" y="150"/>
                    </a:lnTo>
                    <a:lnTo>
                      <a:pt x="1243" y="169"/>
                    </a:lnTo>
                    <a:lnTo>
                      <a:pt x="1290" y="187"/>
                    </a:lnTo>
                    <a:lnTo>
                      <a:pt x="1330" y="203"/>
                    </a:lnTo>
                    <a:lnTo>
                      <a:pt x="1362" y="216"/>
                    </a:lnTo>
                    <a:lnTo>
                      <a:pt x="1386" y="227"/>
                    </a:lnTo>
                    <a:lnTo>
                      <a:pt x="1401" y="233"/>
                    </a:lnTo>
                    <a:lnTo>
                      <a:pt x="1408" y="235"/>
                    </a:lnTo>
                    <a:lnTo>
                      <a:pt x="1412" y="238"/>
                    </a:lnTo>
                    <a:lnTo>
                      <a:pt x="1414" y="243"/>
                    </a:lnTo>
                    <a:lnTo>
                      <a:pt x="1415" y="248"/>
                    </a:lnTo>
                    <a:lnTo>
                      <a:pt x="1414" y="254"/>
                    </a:lnTo>
                    <a:lnTo>
                      <a:pt x="1412" y="257"/>
                    </a:lnTo>
                    <a:lnTo>
                      <a:pt x="1409" y="259"/>
                    </a:lnTo>
                    <a:lnTo>
                      <a:pt x="1405" y="261"/>
                    </a:lnTo>
                    <a:lnTo>
                      <a:pt x="1401"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51"/>
              <p:cNvSpPr>
                <a:spLocks/>
              </p:cNvSpPr>
              <p:nvPr userDrawn="1"/>
            </p:nvSpPr>
            <p:spPr bwMode="auto">
              <a:xfrm>
                <a:off x="2822" y="3524"/>
                <a:ext cx="462" cy="103"/>
              </a:xfrm>
              <a:custGeom>
                <a:avLst/>
                <a:gdLst>
                  <a:gd name="T0" fmla="*/ 1371 w 1387"/>
                  <a:gd name="T1" fmla="*/ 310 h 310"/>
                  <a:gd name="T2" fmla="*/ 1336 w 1387"/>
                  <a:gd name="T3" fmla="*/ 296 h 310"/>
                  <a:gd name="T4" fmla="*/ 1264 w 1387"/>
                  <a:gd name="T5" fmla="*/ 260 h 310"/>
                  <a:gd name="T6" fmla="*/ 1146 w 1387"/>
                  <a:gd name="T7" fmla="*/ 200 h 310"/>
                  <a:gd name="T8" fmla="*/ 1021 w 1387"/>
                  <a:gd name="T9" fmla="*/ 140 h 310"/>
                  <a:gd name="T10" fmla="*/ 932 w 1387"/>
                  <a:gd name="T11" fmla="*/ 104 h 310"/>
                  <a:gd name="T12" fmla="*/ 838 w 1387"/>
                  <a:gd name="T13" fmla="*/ 71 h 310"/>
                  <a:gd name="T14" fmla="*/ 764 w 1387"/>
                  <a:gd name="T15" fmla="*/ 52 h 310"/>
                  <a:gd name="T16" fmla="*/ 714 w 1387"/>
                  <a:gd name="T17" fmla="*/ 42 h 310"/>
                  <a:gd name="T18" fmla="*/ 664 w 1387"/>
                  <a:gd name="T19" fmla="*/ 35 h 310"/>
                  <a:gd name="T20" fmla="*/ 613 w 1387"/>
                  <a:gd name="T21" fmla="*/ 29 h 310"/>
                  <a:gd name="T22" fmla="*/ 561 w 1387"/>
                  <a:gd name="T23" fmla="*/ 28 h 310"/>
                  <a:gd name="T24" fmla="*/ 509 w 1387"/>
                  <a:gd name="T25" fmla="*/ 29 h 310"/>
                  <a:gd name="T26" fmla="*/ 434 w 1387"/>
                  <a:gd name="T27" fmla="*/ 37 h 310"/>
                  <a:gd name="T28" fmla="*/ 340 w 1387"/>
                  <a:gd name="T29" fmla="*/ 51 h 310"/>
                  <a:gd name="T30" fmla="*/ 256 w 1387"/>
                  <a:gd name="T31" fmla="*/ 67 h 310"/>
                  <a:gd name="T32" fmla="*/ 182 w 1387"/>
                  <a:gd name="T33" fmla="*/ 84 h 310"/>
                  <a:gd name="T34" fmla="*/ 95 w 1387"/>
                  <a:gd name="T35" fmla="*/ 108 h 310"/>
                  <a:gd name="T36" fmla="*/ 28 w 1387"/>
                  <a:gd name="T37" fmla="*/ 130 h 310"/>
                  <a:gd name="T38" fmla="*/ 13 w 1387"/>
                  <a:gd name="T39" fmla="*/ 134 h 310"/>
                  <a:gd name="T40" fmla="*/ 4 w 1387"/>
                  <a:gd name="T41" fmla="*/ 131 h 310"/>
                  <a:gd name="T42" fmla="*/ 0 w 1387"/>
                  <a:gd name="T43" fmla="*/ 121 h 310"/>
                  <a:gd name="T44" fmla="*/ 4 w 1387"/>
                  <a:gd name="T45" fmla="*/ 111 h 310"/>
                  <a:gd name="T46" fmla="*/ 18 w 1387"/>
                  <a:gd name="T47" fmla="*/ 105 h 310"/>
                  <a:gd name="T48" fmla="*/ 86 w 1387"/>
                  <a:gd name="T49" fmla="*/ 82 h 310"/>
                  <a:gd name="T50" fmla="*/ 175 w 1387"/>
                  <a:gd name="T51" fmla="*/ 58 h 310"/>
                  <a:gd name="T52" fmla="*/ 249 w 1387"/>
                  <a:gd name="T53" fmla="*/ 41 h 310"/>
                  <a:gd name="T54" fmla="*/ 334 w 1387"/>
                  <a:gd name="T55" fmla="*/ 25 h 310"/>
                  <a:gd name="T56" fmla="*/ 429 w 1387"/>
                  <a:gd name="T57" fmla="*/ 11 h 310"/>
                  <a:gd name="T58" fmla="*/ 507 w 1387"/>
                  <a:gd name="T59" fmla="*/ 2 h 310"/>
                  <a:gd name="T60" fmla="*/ 561 w 1387"/>
                  <a:gd name="T61" fmla="*/ 0 h 310"/>
                  <a:gd name="T62" fmla="*/ 614 w 1387"/>
                  <a:gd name="T63" fmla="*/ 2 h 310"/>
                  <a:gd name="T64" fmla="*/ 666 w 1387"/>
                  <a:gd name="T65" fmla="*/ 8 h 310"/>
                  <a:gd name="T66" fmla="*/ 718 w 1387"/>
                  <a:gd name="T67" fmla="*/ 15 h 310"/>
                  <a:gd name="T68" fmla="*/ 768 w 1387"/>
                  <a:gd name="T69" fmla="*/ 25 h 310"/>
                  <a:gd name="T70" fmla="*/ 843 w 1387"/>
                  <a:gd name="T71" fmla="*/ 45 h 310"/>
                  <a:gd name="T72" fmla="*/ 939 w 1387"/>
                  <a:gd name="T73" fmla="*/ 78 h 310"/>
                  <a:gd name="T74" fmla="*/ 1031 w 1387"/>
                  <a:gd name="T75" fmla="*/ 116 h 310"/>
                  <a:gd name="T76" fmla="*/ 1157 w 1387"/>
                  <a:gd name="T77" fmla="*/ 176 h 310"/>
                  <a:gd name="T78" fmla="*/ 1276 w 1387"/>
                  <a:gd name="T79" fmla="*/ 235 h 310"/>
                  <a:gd name="T80" fmla="*/ 1347 w 1387"/>
                  <a:gd name="T81" fmla="*/ 271 h 310"/>
                  <a:gd name="T82" fmla="*/ 1384 w 1387"/>
                  <a:gd name="T83" fmla="*/ 287 h 310"/>
                  <a:gd name="T84" fmla="*/ 1387 w 1387"/>
                  <a:gd name="T85" fmla="*/ 297 h 310"/>
                  <a:gd name="T86" fmla="*/ 1384 w 1387"/>
                  <a:gd name="T87" fmla="*/ 306 h 310"/>
                  <a:gd name="T88" fmla="*/ 1377 w 1387"/>
                  <a:gd name="T8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87" h="310">
                    <a:moveTo>
                      <a:pt x="1374" y="310"/>
                    </a:moveTo>
                    <a:lnTo>
                      <a:pt x="1371" y="310"/>
                    </a:lnTo>
                    <a:lnTo>
                      <a:pt x="1369" y="310"/>
                    </a:lnTo>
                    <a:lnTo>
                      <a:pt x="1336" y="296"/>
                    </a:lnTo>
                    <a:lnTo>
                      <a:pt x="1302" y="279"/>
                    </a:lnTo>
                    <a:lnTo>
                      <a:pt x="1264" y="260"/>
                    </a:lnTo>
                    <a:lnTo>
                      <a:pt x="1223" y="239"/>
                    </a:lnTo>
                    <a:lnTo>
                      <a:pt x="1146" y="200"/>
                    </a:lnTo>
                    <a:lnTo>
                      <a:pt x="1064" y="161"/>
                    </a:lnTo>
                    <a:lnTo>
                      <a:pt x="1021" y="140"/>
                    </a:lnTo>
                    <a:lnTo>
                      <a:pt x="977" y="122"/>
                    </a:lnTo>
                    <a:lnTo>
                      <a:pt x="932" y="104"/>
                    </a:lnTo>
                    <a:lnTo>
                      <a:pt x="885" y="88"/>
                    </a:lnTo>
                    <a:lnTo>
                      <a:pt x="838" y="71"/>
                    </a:lnTo>
                    <a:lnTo>
                      <a:pt x="789" y="58"/>
                    </a:lnTo>
                    <a:lnTo>
                      <a:pt x="764" y="52"/>
                    </a:lnTo>
                    <a:lnTo>
                      <a:pt x="739" y="47"/>
                    </a:lnTo>
                    <a:lnTo>
                      <a:pt x="714" y="42"/>
                    </a:lnTo>
                    <a:lnTo>
                      <a:pt x="690" y="38"/>
                    </a:lnTo>
                    <a:lnTo>
                      <a:pt x="664" y="35"/>
                    </a:lnTo>
                    <a:lnTo>
                      <a:pt x="639" y="31"/>
                    </a:lnTo>
                    <a:lnTo>
                      <a:pt x="613" y="29"/>
                    </a:lnTo>
                    <a:lnTo>
                      <a:pt x="587" y="28"/>
                    </a:lnTo>
                    <a:lnTo>
                      <a:pt x="561" y="28"/>
                    </a:lnTo>
                    <a:lnTo>
                      <a:pt x="535" y="28"/>
                    </a:lnTo>
                    <a:lnTo>
                      <a:pt x="509" y="29"/>
                    </a:lnTo>
                    <a:lnTo>
                      <a:pt x="483" y="31"/>
                    </a:lnTo>
                    <a:lnTo>
                      <a:pt x="434" y="37"/>
                    </a:lnTo>
                    <a:lnTo>
                      <a:pt x="385" y="44"/>
                    </a:lnTo>
                    <a:lnTo>
                      <a:pt x="340" y="51"/>
                    </a:lnTo>
                    <a:lnTo>
                      <a:pt x="296" y="59"/>
                    </a:lnTo>
                    <a:lnTo>
                      <a:pt x="256" y="67"/>
                    </a:lnTo>
                    <a:lnTo>
                      <a:pt x="217" y="76"/>
                    </a:lnTo>
                    <a:lnTo>
                      <a:pt x="182" y="84"/>
                    </a:lnTo>
                    <a:lnTo>
                      <a:pt x="150" y="93"/>
                    </a:lnTo>
                    <a:lnTo>
                      <a:pt x="95" y="108"/>
                    </a:lnTo>
                    <a:lnTo>
                      <a:pt x="54" y="121"/>
                    </a:lnTo>
                    <a:lnTo>
                      <a:pt x="28" y="130"/>
                    </a:lnTo>
                    <a:lnTo>
                      <a:pt x="18" y="134"/>
                    </a:lnTo>
                    <a:lnTo>
                      <a:pt x="13" y="134"/>
                    </a:lnTo>
                    <a:lnTo>
                      <a:pt x="8" y="133"/>
                    </a:lnTo>
                    <a:lnTo>
                      <a:pt x="4" y="131"/>
                    </a:lnTo>
                    <a:lnTo>
                      <a:pt x="1" y="125"/>
                    </a:lnTo>
                    <a:lnTo>
                      <a:pt x="0" y="121"/>
                    </a:lnTo>
                    <a:lnTo>
                      <a:pt x="1" y="116"/>
                    </a:lnTo>
                    <a:lnTo>
                      <a:pt x="4" y="111"/>
                    </a:lnTo>
                    <a:lnTo>
                      <a:pt x="8" y="108"/>
                    </a:lnTo>
                    <a:lnTo>
                      <a:pt x="18" y="105"/>
                    </a:lnTo>
                    <a:lnTo>
                      <a:pt x="44" y="96"/>
                    </a:lnTo>
                    <a:lnTo>
                      <a:pt x="86" y="82"/>
                    </a:lnTo>
                    <a:lnTo>
                      <a:pt x="142" y="67"/>
                    </a:lnTo>
                    <a:lnTo>
                      <a:pt x="175" y="58"/>
                    </a:lnTo>
                    <a:lnTo>
                      <a:pt x="210" y="50"/>
                    </a:lnTo>
                    <a:lnTo>
                      <a:pt x="249" y="41"/>
                    </a:lnTo>
                    <a:lnTo>
                      <a:pt x="291" y="32"/>
                    </a:lnTo>
                    <a:lnTo>
                      <a:pt x="334" y="25"/>
                    </a:lnTo>
                    <a:lnTo>
                      <a:pt x="381" y="17"/>
                    </a:lnTo>
                    <a:lnTo>
                      <a:pt x="429" y="11"/>
                    </a:lnTo>
                    <a:lnTo>
                      <a:pt x="480" y="4"/>
                    </a:lnTo>
                    <a:lnTo>
                      <a:pt x="507" y="2"/>
                    </a:lnTo>
                    <a:lnTo>
                      <a:pt x="534" y="1"/>
                    </a:lnTo>
                    <a:lnTo>
                      <a:pt x="561" y="0"/>
                    </a:lnTo>
                    <a:lnTo>
                      <a:pt x="587" y="1"/>
                    </a:lnTo>
                    <a:lnTo>
                      <a:pt x="614" y="2"/>
                    </a:lnTo>
                    <a:lnTo>
                      <a:pt x="640" y="4"/>
                    </a:lnTo>
                    <a:lnTo>
                      <a:pt x="666" y="8"/>
                    </a:lnTo>
                    <a:lnTo>
                      <a:pt x="692" y="11"/>
                    </a:lnTo>
                    <a:lnTo>
                      <a:pt x="718" y="15"/>
                    </a:lnTo>
                    <a:lnTo>
                      <a:pt x="743" y="20"/>
                    </a:lnTo>
                    <a:lnTo>
                      <a:pt x="768" y="25"/>
                    </a:lnTo>
                    <a:lnTo>
                      <a:pt x="793" y="31"/>
                    </a:lnTo>
                    <a:lnTo>
                      <a:pt x="843" y="45"/>
                    </a:lnTo>
                    <a:lnTo>
                      <a:pt x="892" y="61"/>
                    </a:lnTo>
                    <a:lnTo>
                      <a:pt x="939" y="78"/>
                    </a:lnTo>
                    <a:lnTo>
                      <a:pt x="986" y="96"/>
                    </a:lnTo>
                    <a:lnTo>
                      <a:pt x="1031" y="116"/>
                    </a:lnTo>
                    <a:lnTo>
                      <a:pt x="1074" y="135"/>
                    </a:lnTo>
                    <a:lnTo>
                      <a:pt x="1157" y="176"/>
                    </a:lnTo>
                    <a:lnTo>
                      <a:pt x="1235" y="215"/>
                    </a:lnTo>
                    <a:lnTo>
                      <a:pt x="1276" y="235"/>
                    </a:lnTo>
                    <a:lnTo>
                      <a:pt x="1313" y="255"/>
                    </a:lnTo>
                    <a:lnTo>
                      <a:pt x="1347" y="271"/>
                    </a:lnTo>
                    <a:lnTo>
                      <a:pt x="1379" y="284"/>
                    </a:lnTo>
                    <a:lnTo>
                      <a:pt x="1384" y="287"/>
                    </a:lnTo>
                    <a:lnTo>
                      <a:pt x="1386" y="292"/>
                    </a:lnTo>
                    <a:lnTo>
                      <a:pt x="1387" y="297"/>
                    </a:lnTo>
                    <a:lnTo>
                      <a:pt x="1386" y="302"/>
                    </a:lnTo>
                    <a:lnTo>
                      <a:pt x="1384" y="306"/>
                    </a:lnTo>
                    <a:lnTo>
                      <a:pt x="1382" y="308"/>
                    </a:lnTo>
                    <a:lnTo>
                      <a:pt x="1377" y="310"/>
                    </a:lnTo>
                    <a:lnTo>
                      <a:pt x="1374" y="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52"/>
              <p:cNvSpPr>
                <a:spLocks/>
              </p:cNvSpPr>
              <p:nvPr userDrawn="1"/>
            </p:nvSpPr>
            <p:spPr bwMode="auto">
              <a:xfrm>
                <a:off x="3260" y="3882"/>
                <a:ext cx="479" cy="438"/>
              </a:xfrm>
              <a:custGeom>
                <a:avLst/>
                <a:gdLst>
                  <a:gd name="T0" fmla="*/ 1372 w 1438"/>
                  <a:gd name="T1" fmla="*/ 1260 h 1313"/>
                  <a:gd name="T2" fmla="*/ 1300 w 1438"/>
                  <a:gd name="T3" fmla="*/ 1154 h 1313"/>
                  <a:gd name="T4" fmla="*/ 1223 w 1438"/>
                  <a:gd name="T5" fmla="*/ 1049 h 1313"/>
                  <a:gd name="T6" fmla="*/ 1143 w 1438"/>
                  <a:gd name="T7" fmla="*/ 943 h 1313"/>
                  <a:gd name="T8" fmla="*/ 1061 w 1438"/>
                  <a:gd name="T9" fmla="*/ 839 h 1313"/>
                  <a:gd name="T10" fmla="*/ 977 w 1438"/>
                  <a:gd name="T11" fmla="*/ 738 h 1313"/>
                  <a:gd name="T12" fmla="*/ 853 w 1438"/>
                  <a:gd name="T13" fmla="*/ 593 h 1313"/>
                  <a:gd name="T14" fmla="*/ 693 w 1438"/>
                  <a:gd name="T15" fmla="*/ 416 h 1313"/>
                  <a:gd name="T16" fmla="*/ 550 w 1438"/>
                  <a:gd name="T17" fmla="*/ 264 h 1313"/>
                  <a:gd name="T18" fmla="*/ 433 w 1438"/>
                  <a:gd name="T19" fmla="*/ 143 h 1313"/>
                  <a:gd name="T20" fmla="*/ 352 w 1438"/>
                  <a:gd name="T21" fmla="*/ 62 h 1313"/>
                  <a:gd name="T22" fmla="*/ 28 w 1438"/>
                  <a:gd name="T23" fmla="*/ 705 h 1313"/>
                  <a:gd name="T24" fmla="*/ 34 w 1438"/>
                  <a:gd name="T25" fmla="*/ 770 h 1313"/>
                  <a:gd name="T26" fmla="*/ 49 w 1438"/>
                  <a:gd name="T27" fmla="*/ 903 h 1313"/>
                  <a:gd name="T28" fmla="*/ 73 w 1438"/>
                  <a:gd name="T29" fmla="*/ 1090 h 1313"/>
                  <a:gd name="T30" fmla="*/ 105 w 1438"/>
                  <a:gd name="T31" fmla="*/ 1313 h 1313"/>
                  <a:gd name="T32" fmla="*/ 59 w 1438"/>
                  <a:gd name="T33" fmla="*/ 1190 h 1313"/>
                  <a:gd name="T34" fmla="*/ 31 w 1438"/>
                  <a:gd name="T35" fmla="*/ 974 h 1313"/>
                  <a:gd name="T36" fmla="*/ 12 w 1438"/>
                  <a:gd name="T37" fmla="*/ 810 h 1313"/>
                  <a:gd name="T38" fmla="*/ 2 w 1438"/>
                  <a:gd name="T39" fmla="*/ 717 h 1313"/>
                  <a:gd name="T40" fmla="*/ 0 w 1438"/>
                  <a:gd name="T41" fmla="*/ 701 h 1313"/>
                  <a:gd name="T42" fmla="*/ 310 w 1438"/>
                  <a:gd name="T43" fmla="*/ 9 h 1313"/>
                  <a:gd name="T44" fmla="*/ 314 w 1438"/>
                  <a:gd name="T45" fmla="*/ 4 h 1313"/>
                  <a:gd name="T46" fmla="*/ 319 w 1438"/>
                  <a:gd name="T47" fmla="*/ 0 h 1313"/>
                  <a:gd name="T48" fmla="*/ 326 w 1438"/>
                  <a:gd name="T49" fmla="*/ 1 h 1313"/>
                  <a:gd name="T50" fmla="*/ 331 w 1438"/>
                  <a:gd name="T51" fmla="*/ 5 h 1313"/>
                  <a:gd name="T52" fmla="*/ 366 w 1438"/>
                  <a:gd name="T53" fmla="*/ 37 h 1313"/>
                  <a:gd name="T54" fmla="*/ 454 w 1438"/>
                  <a:gd name="T55" fmla="*/ 126 h 1313"/>
                  <a:gd name="T56" fmla="*/ 584 w 1438"/>
                  <a:gd name="T57" fmla="*/ 259 h 1313"/>
                  <a:gd name="T58" fmla="*/ 744 w 1438"/>
                  <a:gd name="T59" fmla="*/ 431 h 1313"/>
                  <a:gd name="T60" fmla="*/ 922 w 1438"/>
                  <a:gd name="T61" fmla="*/ 631 h 1313"/>
                  <a:gd name="T62" fmla="*/ 1013 w 1438"/>
                  <a:gd name="T63" fmla="*/ 739 h 1313"/>
                  <a:gd name="T64" fmla="*/ 1104 w 1438"/>
                  <a:gd name="T65" fmla="*/ 850 h 1313"/>
                  <a:gd name="T66" fmla="*/ 1194 w 1438"/>
                  <a:gd name="T67" fmla="*/ 964 h 1313"/>
                  <a:gd name="T68" fmla="*/ 1280 w 1438"/>
                  <a:gd name="T69" fmla="*/ 1081 h 1313"/>
                  <a:gd name="T70" fmla="*/ 1363 w 1438"/>
                  <a:gd name="T71" fmla="*/ 1197 h 1313"/>
                  <a:gd name="T72" fmla="*/ 1438 w 1438"/>
                  <a:gd name="T73" fmla="*/ 1313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38" h="1313">
                    <a:moveTo>
                      <a:pt x="1407" y="1313"/>
                    </a:moveTo>
                    <a:lnTo>
                      <a:pt x="1372" y="1260"/>
                    </a:lnTo>
                    <a:lnTo>
                      <a:pt x="1337" y="1207"/>
                    </a:lnTo>
                    <a:lnTo>
                      <a:pt x="1300" y="1154"/>
                    </a:lnTo>
                    <a:lnTo>
                      <a:pt x="1262" y="1101"/>
                    </a:lnTo>
                    <a:lnTo>
                      <a:pt x="1223" y="1049"/>
                    </a:lnTo>
                    <a:lnTo>
                      <a:pt x="1183" y="996"/>
                    </a:lnTo>
                    <a:lnTo>
                      <a:pt x="1143" y="943"/>
                    </a:lnTo>
                    <a:lnTo>
                      <a:pt x="1102" y="891"/>
                    </a:lnTo>
                    <a:lnTo>
                      <a:pt x="1061" y="839"/>
                    </a:lnTo>
                    <a:lnTo>
                      <a:pt x="1019" y="788"/>
                    </a:lnTo>
                    <a:lnTo>
                      <a:pt x="977" y="738"/>
                    </a:lnTo>
                    <a:lnTo>
                      <a:pt x="936" y="689"/>
                    </a:lnTo>
                    <a:lnTo>
                      <a:pt x="853" y="593"/>
                    </a:lnTo>
                    <a:lnTo>
                      <a:pt x="772" y="501"/>
                    </a:lnTo>
                    <a:lnTo>
                      <a:pt x="693" y="416"/>
                    </a:lnTo>
                    <a:lnTo>
                      <a:pt x="620" y="336"/>
                    </a:lnTo>
                    <a:lnTo>
                      <a:pt x="550" y="264"/>
                    </a:lnTo>
                    <a:lnTo>
                      <a:pt x="488" y="199"/>
                    </a:lnTo>
                    <a:lnTo>
                      <a:pt x="433" y="143"/>
                    </a:lnTo>
                    <a:lnTo>
                      <a:pt x="387" y="98"/>
                    </a:lnTo>
                    <a:lnTo>
                      <a:pt x="352" y="62"/>
                    </a:lnTo>
                    <a:lnTo>
                      <a:pt x="327" y="37"/>
                    </a:lnTo>
                    <a:lnTo>
                      <a:pt x="28" y="705"/>
                    </a:lnTo>
                    <a:lnTo>
                      <a:pt x="30" y="728"/>
                    </a:lnTo>
                    <a:lnTo>
                      <a:pt x="34" y="770"/>
                    </a:lnTo>
                    <a:lnTo>
                      <a:pt x="41" y="828"/>
                    </a:lnTo>
                    <a:lnTo>
                      <a:pt x="49" y="903"/>
                    </a:lnTo>
                    <a:lnTo>
                      <a:pt x="60" y="990"/>
                    </a:lnTo>
                    <a:lnTo>
                      <a:pt x="73" y="1090"/>
                    </a:lnTo>
                    <a:lnTo>
                      <a:pt x="87" y="1197"/>
                    </a:lnTo>
                    <a:lnTo>
                      <a:pt x="105" y="1313"/>
                    </a:lnTo>
                    <a:lnTo>
                      <a:pt x="78" y="1313"/>
                    </a:lnTo>
                    <a:lnTo>
                      <a:pt x="59" y="1190"/>
                    </a:lnTo>
                    <a:lnTo>
                      <a:pt x="44" y="1077"/>
                    </a:lnTo>
                    <a:lnTo>
                      <a:pt x="31" y="974"/>
                    </a:lnTo>
                    <a:lnTo>
                      <a:pt x="20" y="883"/>
                    </a:lnTo>
                    <a:lnTo>
                      <a:pt x="12" y="810"/>
                    </a:lnTo>
                    <a:lnTo>
                      <a:pt x="5" y="754"/>
                    </a:lnTo>
                    <a:lnTo>
                      <a:pt x="2" y="717"/>
                    </a:lnTo>
                    <a:lnTo>
                      <a:pt x="0" y="704"/>
                    </a:lnTo>
                    <a:lnTo>
                      <a:pt x="0" y="701"/>
                    </a:lnTo>
                    <a:lnTo>
                      <a:pt x="1" y="698"/>
                    </a:lnTo>
                    <a:lnTo>
                      <a:pt x="310" y="9"/>
                    </a:lnTo>
                    <a:lnTo>
                      <a:pt x="312" y="6"/>
                    </a:lnTo>
                    <a:lnTo>
                      <a:pt x="314" y="4"/>
                    </a:lnTo>
                    <a:lnTo>
                      <a:pt x="316" y="1"/>
                    </a:lnTo>
                    <a:lnTo>
                      <a:pt x="319" y="0"/>
                    </a:lnTo>
                    <a:lnTo>
                      <a:pt x="323" y="0"/>
                    </a:lnTo>
                    <a:lnTo>
                      <a:pt x="326" y="1"/>
                    </a:lnTo>
                    <a:lnTo>
                      <a:pt x="329" y="3"/>
                    </a:lnTo>
                    <a:lnTo>
                      <a:pt x="331" y="5"/>
                    </a:lnTo>
                    <a:lnTo>
                      <a:pt x="341" y="13"/>
                    </a:lnTo>
                    <a:lnTo>
                      <a:pt x="366" y="37"/>
                    </a:lnTo>
                    <a:lnTo>
                      <a:pt x="404" y="75"/>
                    </a:lnTo>
                    <a:lnTo>
                      <a:pt x="454" y="126"/>
                    </a:lnTo>
                    <a:lnTo>
                      <a:pt x="515" y="187"/>
                    </a:lnTo>
                    <a:lnTo>
                      <a:pt x="584" y="259"/>
                    </a:lnTo>
                    <a:lnTo>
                      <a:pt x="661" y="341"/>
                    </a:lnTo>
                    <a:lnTo>
                      <a:pt x="744" y="431"/>
                    </a:lnTo>
                    <a:lnTo>
                      <a:pt x="831" y="528"/>
                    </a:lnTo>
                    <a:lnTo>
                      <a:pt x="922" y="631"/>
                    </a:lnTo>
                    <a:lnTo>
                      <a:pt x="967" y="684"/>
                    </a:lnTo>
                    <a:lnTo>
                      <a:pt x="1013" y="739"/>
                    </a:lnTo>
                    <a:lnTo>
                      <a:pt x="1059" y="794"/>
                    </a:lnTo>
                    <a:lnTo>
                      <a:pt x="1104" y="850"/>
                    </a:lnTo>
                    <a:lnTo>
                      <a:pt x="1150" y="907"/>
                    </a:lnTo>
                    <a:lnTo>
                      <a:pt x="1194" y="964"/>
                    </a:lnTo>
                    <a:lnTo>
                      <a:pt x="1238" y="1023"/>
                    </a:lnTo>
                    <a:lnTo>
                      <a:pt x="1280" y="1081"/>
                    </a:lnTo>
                    <a:lnTo>
                      <a:pt x="1323" y="1139"/>
                    </a:lnTo>
                    <a:lnTo>
                      <a:pt x="1363" y="1197"/>
                    </a:lnTo>
                    <a:lnTo>
                      <a:pt x="1401" y="1255"/>
                    </a:lnTo>
                    <a:lnTo>
                      <a:pt x="1438" y="1313"/>
                    </a:lnTo>
                    <a:lnTo>
                      <a:pt x="1407" y="1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53"/>
              <p:cNvSpPr>
                <a:spLocks/>
              </p:cNvSpPr>
              <p:nvPr userDrawn="1"/>
            </p:nvSpPr>
            <p:spPr bwMode="auto">
              <a:xfrm>
                <a:off x="1383" y="1496"/>
                <a:ext cx="1254" cy="1824"/>
              </a:xfrm>
              <a:custGeom>
                <a:avLst/>
                <a:gdLst>
                  <a:gd name="T0" fmla="*/ 3672 w 3761"/>
                  <a:gd name="T1" fmla="*/ 5422 h 5474"/>
                  <a:gd name="T2" fmla="*/ 3199 w 3761"/>
                  <a:gd name="T3" fmla="*/ 5291 h 5474"/>
                  <a:gd name="T4" fmla="*/ 2480 w 3761"/>
                  <a:gd name="T5" fmla="*/ 5217 h 5474"/>
                  <a:gd name="T6" fmla="*/ 1696 w 3761"/>
                  <a:gd name="T7" fmla="*/ 5206 h 5474"/>
                  <a:gd name="T8" fmla="*/ 1029 w 3761"/>
                  <a:gd name="T9" fmla="*/ 5263 h 5474"/>
                  <a:gd name="T10" fmla="*/ 807 w 3761"/>
                  <a:gd name="T11" fmla="*/ 5301 h 5474"/>
                  <a:gd name="T12" fmla="*/ 641 w 3761"/>
                  <a:gd name="T13" fmla="*/ 5278 h 5474"/>
                  <a:gd name="T14" fmla="*/ 394 w 3761"/>
                  <a:gd name="T15" fmla="*/ 5171 h 5474"/>
                  <a:gd name="T16" fmla="*/ 250 w 3761"/>
                  <a:gd name="T17" fmla="*/ 5060 h 5474"/>
                  <a:gd name="T18" fmla="*/ 126 w 3761"/>
                  <a:gd name="T19" fmla="*/ 4909 h 5474"/>
                  <a:gd name="T20" fmla="*/ 38 w 3761"/>
                  <a:gd name="T21" fmla="*/ 4740 h 5474"/>
                  <a:gd name="T22" fmla="*/ 0 w 3761"/>
                  <a:gd name="T23" fmla="*/ 4580 h 5474"/>
                  <a:gd name="T24" fmla="*/ 25 w 3761"/>
                  <a:gd name="T25" fmla="*/ 4476 h 5474"/>
                  <a:gd name="T26" fmla="*/ 108 w 3761"/>
                  <a:gd name="T27" fmla="*/ 4439 h 5474"/>
                  <a:gd name="T28" fmla="*/ 402 w 3761"/>
                  <a:gd name="T29" fmla="*/ 4360 h 5474"/>
                  <a:gd name="T30" fmla="*/ 726 w 3761"/>
                  <a:gd name="T31" fmla="*/ 4270 h 5474"/>
                  <a:gd name="T32" fmla="*/ 935 w 3761"/>
                  <a:gd name="T33" fmla="*/ 4158 h 5474"/>
                  <a:gd name="T34" fmla="*/ 1115 w 3761"/>
                  <a:gd name="T35" fmla="*/ 3980 h 5474"/>
                  <a:gd name="T36" fmla="*/ 1210 w 3761"/>
                  <a:gd name="T37" fmla="*/ 3782 h 5474"/>
                  <a:gd name="T38" fmla="*/ 1231 w 3761"/>
                  <a:gd name="T39" fmla="*/ 3579 h 5474"/>
                  <a:gd name="T40" fmla="*/ 1188 w 3761"/>
                  <a:gd name="T41" fmla="*/ 3389 h 5474"/>
                  <a:gd name="T42" fmla="*/ 1014 w 3761"/>
                  <a:gd name="T43" fmla="*/ 3132 h 5474"/>
                  <a:gd name="T44" fmla="*/ 773 w 3761"/>
                  <a:gd name="T45" fmla="*/ 2835 h 5474"/>
                  <a:gd name="T46" fmla="*/ 623 w 3761"/>
                  <a:gd name="T47" fmla="*/ 2608 h 5474"/>
                  <a:gd name="T48" fmla="*/ 465 w 3761"/>
                  <a:gd name="T49" fmla="*/ 2193 h 5474"/>
                  <a:gd name="T50" fmla="*/ 351 w 3761"/>
                  <a:gd name="T51" fmla="*/ 1636 h 5474"/>
                  <a:gd name="T52" fmla="*/ 337 w 3761"/>
                  <a:gd name="T53" fmla="*/ 1127 h 5474"/>
                  <a:gd name="T54" fmla="*/ 434 w 3761"/>
                  <a:gd name="T55" fmla="*/ 790 h 5474"/>
                  <a:gd name="T56" fmla="*/ 620 w 3761"/>
                  <a:gd name="T57" fmla="*/ 486 h 5474"/>
                  <a:gd name="T58" fmla="*/ 881 w 3761"/>
                  <a:gd name="T59" fmla="*/ 229 h 5474"/>
                  <a:gd name="T60" fmla="*/ 1203 w 3761"/>
                  <a:gd name="T61" fmla="*/ 40 h 5474"/>
                  <a:gd name="T62" fmla="*/ 1321 w 3761"/>
                  <a:gd name="T63" fmla="*/ 14 h 5474"/>
                  <a:gd name="T64" fmla="*/ 1118 w 3761"/>
                  <a:gd name="T65" fmla="*/ 110 h 5474"/>
                  <a:gd name="T66" fmla="*/ 817 w 3761"/>
                  <a:gd name="T67" fmla="*/ 316 h 5474"/>
                  <a:gd name="T68" fmla="*/ 581 w 3761"/>
                  <a:gd name="T69" fmla="*/ 583 h 5474"/>
                  <a:gd name="T70" fmla="*/ 422 w 3761"/>
                  <a:gd name="T71" fmla="*/ 892 h 5474"/>
                  <a:gd name="T72" fmla="*/ 354 w 3761"/>
                  <a:gd name="T73" fmla="*/ 1226 h 5474"/>
                  <a:gd name="T74" fmla="*/ 400 w 3761"/>
                  <a:gd name="T75" fmla="*/ 1792 h 5474"/>
                  <a:gd name="T76" fmla="*/ 540 w 3761"/>
                  <a:gd name="T77" fmla="*/ 2339 h 5474"/>
                  <a:gd name="T78" fmla="*/ 684 w 3761"/>
                  <a:gd name="T79" fmla="*/ 2661 h 5474"/>
                  <a:gd name="T80" fmla="*/ 839 w 3761"/>
                  <a:gd name="T81" fmla="*/ 2877 h 5474"/>
                  <a:gd name="T82" fmla="*/ 1099 w 3761"/>
                  <a:gd name="T83" fmla="*/ 3197 h 5474"/>
                  <a:gd name="T84" fmla="*/ 1232 w 3761"/>
                  <a:gd name="T85" fmla="*/ 3432 h 5474"/>
                  <a:gd name="T86" fmla="*/ 1259 w 3761"/>
                  <a:gd name="T87" fmla="*/ 3636 h 5474"/>
                  <a:gd name="T88" fmla="*/ 1217 w 3761"/>
                  <a:gd name="T89" fmla="*/ 3849 h 5474"/>
                  <a:gd name="T90" fmla="*/ 1095 w 3761"/>
                  <a:gd name="T91" fmla="*/ 4050 h 5474"/>
                  <a:gd name="T92" fmla="*/ 880 w 3761"/>
                  <a:gd name="T93" fmla="*/ 4226 h 5474"/>
                  <a:gd name="T94" fmla="*/ 679 w 3761"/>
                  <a:gd name="T95" fmla="*/ 4315 h 5474"/>
                  <a:gd name="T96" fmla="*/ 324 w 3761"/>
                  <a:gd name="T97" fmla="*/ 4406 h 5474"/>
                  <a:gd name="T98" fmla="*/ 73 w 3761"/>
                  <a:gd name="T99" fmla="*/ 4481 h 5474"/>
                  <a:gd name="T100" fmla="*/ 34 w 3761"/>
                  <a:gd name="T101" fmla="*/ 4509 h 5474"/>
                  <a:gd name="T102" fmla="*/ 32 w 3761"/>
                  <a:gd name="T103" fmla="*/ 4623 h 5474"/>
                  <a:gd name="T104" fmla="*/ 85 w 3761"/>
                  <a:gd name="T105" fmla="*/ 4780 h 5474"/>
                  <a:gd name="T106" fmla="*/ 182 w 3761"/>
                  <a:gd name="T107" fmla="*/ 4939 h 5474"/>
                  <a:gd name="T108" fmla="*/ 307 w 3761"/>
                  <a:gd name="T109" fmla="*/ 5076 h 5474"/>
                  <a:gd name="T110" fmla="*/ 480 w 3761"/>
                  <a:gd name="T111" fmla="*/ 5184 h 5474"/>
                  <a:gd name="T112" fmla="*/ 703 w 3761"/>
                  <a:gd name="T113" fmla="*/ 5266 h 5474"/>
                  <a:gd name="T114" fmla="*/ 864 w 3761"/>
                  <a:gd name="T115" fmla="*/ 5268 h 5474"/>
                  <a:gd name="T116" fmla="*/ 1358 w 3761"/>
                  <a:gd name="T117" fmla="*/ 5200 h 5474"/>
                  <a:gd name="T118" fmla="*/ 2114 w 3761"/>
                  <a:gd name="T119" fmla="*/ 5181 h 5474"/>
                  <a:gd name="T120" fmla="*/ 2897 w 3761"/>
                  <a:gd name="T121" fmla="*/ 5225 h 5474"/>
                  <a:gd name="T122" fmla="*/ 3519 w 3761"/>
                  <a:gd name="T123" fmla="*/ 5334 h 5474"/>
                  <a:gd name="T124" fmla="*/ 3761 w 3761"/>
                  <a:gd name="T125" fmla="*/ 5461 h 5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61" h="5474">
                    <a:moveTo>
                      <a:pt x="3748" y="5474"/>
                    </a:moveTo>
                    <a:lnTo>
                      <a:pt x="3745" y="5474"/>
                    </a:lnTo>
                    <a:lnTo>
                      <a:pt x="3742" y="5473"/>
                    </a:lnTo>
                    <a:lnTo>
                      <a:pt x="3740" y="5472"/>
                    </a:lnTo>
                    <a:lnTo>
                      <a:pt x="3738" y="5470"/>
                    </a:lnTo>
                    <a:lnTo>
                      <a:pt x="3710" y="5445"/>
                    </a:lnTo>
                    <a:lnTo>
                      <a:pt x="3672" y="5422"/>
                    </a:lnTo>
                    <a:lnTo>
                      <a:pt x="3627" y="5400"/>
                    </a:lnTo>
                    <a:lnTo>
                      <a:pt x="3573" y="5379"/>
                    </a:lnTo>
                    <a:lnTo>
                      <a:pt x="3511" y="5359"/>
                    </a:lnTo>
                    <a:lnTo>
                      <a:pt x="3442" y="5340"/>
                    </a:lnTo>
                    <a:lnTo>
                      <a:pt x="3368" y="5323"/>
                    </a:lnTo>
                    <a:lnTo>
                      <a:pt x="3286" y="5307"/>
                    </a:lnTo>
                    <a:lnTo>
                      <a:pt x="3199" y="5291"/>
                    </a:lnTo>
                    <a:lnTo>
                      <a:pt x="3107" y="5277"/>
                    </a:lnTo>
                    <a:lnTo>
                      <a:pt x="3010" y="5264"/>
                    </a:lnTo>
                    <a:lnTo>
                      <a:pt x="2910" y="5252"/>
                    </a:lnTo>
                    <a:lnTo>
                      <a:pt x="2806" y="5242"/>
                    </a:lnTo>
                    <a:lnTo>
                      <a:pt x="2700" y="5232"/>
                    </a:lnTo>
                    <a:lnTo>
                      <a:pt x="2591" y="5225"/>
                    </a:lnTo>
                    <a:lnTo>
                      <a:pt x="2480" y="5217"/>
                    </a:lnTo>
                    <a:lnTo>
                      <a:pt x="2368" y="5212"/>
                    </a:lnTo>
                    <a:lnTo>
                      <a:pt x="2254" y="5208"/>
                    </a:lnTo>
                    <a:lnTo>
                      <a:pt x="2141" y="5205"/>
                    </a:lnTo>
                    <a:lnTo>
                      <a:pt x="2029" y="5203"/>
                    </a:lnTo>
                    <a:lnTo>
                      <a:pt x="1916" y="5203"/>
                    </a:lnTo>
                    <a:lnTo>
                      <a:pt x="1805" y="5204"/>
                    </a:lnTo>
                    <a:lnTo>
                      <a:pt x="1696" y="5206"/>
                    </a:lnTo>
                    <a:lnTo>
                      <a:pt x="1589" y="5211"/>
                    </a:lnTo>
                    <a:lnTo>
                      <a:pt x="1486" y="5215"/>
                    </a:lnTo>
                    <a:lnTo>
                      <a:pt x="1385" y="5222"/>
                    </a:lnTo>
                    <a:lnTo>
                      <a:pt x="1289" y="5230"/>
                    </a:lnTo>
                    <a:lnTo>
                      <a:pt x="1197" y="5239"/>
                    </a:lnTo>
                    <a:lnTo>
                      <a:pt x="1110" y="5250"/>
                    </a:lnTo>
                    <a:lnTo>
                      <a:pt x="1029" y="5263"/>
                    </a:lnTo>
                    <a:lnTo>
                      <a:pt x="953" y="5276"/>
                    </a:lnTo>
                    <a:lnTo>
                      <a:pt x="884" y="5292"/>
                    </a:lnTo>
                    <a:lnTo>
                      <a:pt x="869" y="5295"/>
                    </a:lnTo>
                    <a:lnTo>
                      <a:pt x="853" y="5297"/>
                    </a:lnTo>
                    <a:lnTo>
                      <a:pt x="838" y="5299"/>
                    </a:lnTo>
                    <a:lnTo>
                      <a:pt x="823" y="5300"/>
                    </a:lnTo>
                    <a:lnTo>
                      <a:pt x="807" y="5301"/>
                    </a:lnTo>
                    <a:lnTo>
                      <a:pt x="791" y="5303"/>
                    </a:lnTo>
                    <a:lnTo>
                      <a:pt x="776" y="5301"/>
                    </a:lnTo>
                    <a:lnTo>
                      <a:pt x="761" y="5301"/>
                    </a:lnTo>
                    <a:lnTo>
                      <a:pt x="731" y="5298"/>
                    </a:lnTo>
                    <a:lnTo>
                      <a:pt x="701" y="5293"/>
                    </a:lnTo>
                    <a:lnTo>
                      <a:pt x="670" y="5286"/>
                    </a:lnTo>
                    <a:lnTo>
                      <a:pt x="641" y="5278"/>
                    </a:lnTo>
                    <a:lnTo>
                      <a:pt x="612" y="5268"/>
                    </a:lnTo>
                    <a:lnTo>
                      <a:pt x="583" y="5258"/>
                    </a:lnTo>
                    <a:lnTo>
                      <a:pt x="554" y="5246"/>
                    </a:lnTo>
                    <a:lnTo>
                      <a:pt x="526" y="5235"/>
                    </a:lnTo>
                    <a:lnTo>
                      <a:pt x="469" y="5209"/>
                    </a:lnTo>
                    <a:lnTo>
                      <a:pt x="415" y="5182"/>
                    </a:lnTo>
                    <a:lnTo>
                      <a:pt x="394" y="5171"/>
                    </a:lnTo>
                    <a:lnTo>
                      <a:pt x="372" y="5158"/>
                    </a:lnTo>
                    <a:lnTo>
                      <a:pt x="352" y="5145"/>
                    </a:lnTo>
                    <a:lnTo>
                      <a:pt x="330" y="5130"/>
                    </a:lnTo>
                    <a:lnTo>
                      <a:pt x="310" y="5114"/>
                    </a:lnTo>
                    <a:lnTo>
                      <a:pt x="289" y="5096"/>
                    </a:lnTo>
                    <a:lnTo>
                      <a:pt x="270" y="5078"/>
                    </a:lnTo>
                    <a:lnTo>
                      <a:pt x="250" y="5060"/>
                    </a:lnTo>
                    <a:lnTo>
                      <a:pt x="231" y="5040"/>
                    </a:lnTo>
                    <a:lnTo>
                      <a:pt x="211" y="5020"/>
                    </a:lnTo>
                    <a:lnTo>
                      <a:pt x="193" y="4998"/>
                    </a:lnTo>
                    <a:lnTo>
                      <a:pt x="176" y="4977"/>
                    </a:lnTo>
                    <a:lnTo>
                      <a:pt x="158" y="4954"/>
                    </a:lnTo>
                    <a:lnTo>
                      <a:pt x="142" y="4931"/>
                    </a:lnTo>
                    <a:lnTo>
                      <a:pt x="126" y="4909"/>
                    </a:lnTo>
                    <a:lnTo>
                      <a:pt x="111" y="4885"/>
                    </a:lnTo>
                    <a:lnTo>
                      <a:pt x="97" y="4861"/>
                    </a:lnTo>
                    <a:lnTo>
                      <a:pt x="83" y="4837"/>
                    </a:lnTo>
                    <a:lnTo>
                      <a:pt x="71" y="4812"/>
                    </a:lnTo>
                    <a:lnTo>
                      <a:pt x="59" y="4789"/>
                    </a:lnTo>
                    <a:lnTo>
                      <a:pt x="48" y="4765"/>
                    </a:lnTo>
                    <a:lnTo>
                      <a:pt x="38" y="4740"/>
                    </a:lnTo>
                    <a:lnTo>
                      <a:pt x="29" y="4716"/>
                    </a:lnTo>
                    <a:lnTo>
                      <a:pt x="21" y="4693"/>
                    </a:lnTo>
                    <a:lnTo>
                      <a:pt x="15" y="4669"/>
                    </a:lnTo>
                    <a:lnTo>
                      <a:pt x="9" y="4646"/>
                    </a:lnTo>
                    <a:lnTo>
                      <a:pt x="5" y="4624"/>
                    </a:lnTo>
                    <a:lnTo>
                      <a:pt x="2" y="4602"/>
                    </a:lnTo>
                    <a:lnTo>
                      <a:pt x="0" y="4580"/>
                    </a:lnTo>
                    <a:lnTo>
                      <a:pt x="0" y="4559"/>
                    </a:lnTo>
                    <a:lnTo>
                      <a:pt x="1" y="4539"/>
                    </a:lnTo>
                    <a:lnTo>
                      <a:pt x="3" y="4520"/>
                    </a:lnTo>
                    <a:lnTo>
                      <a:pt x="5" y="4508"/>
                    </a:lnTo>
                    <a:lnTo>
                      <a:pt x="11" y="4496"/>
                    </a:lnTo>
                    <a:lnTo>
                      <a:pt x="17" y="4485"/>
                    </a:lnTo>
                    <a:lnTo>
                      <a:pt x="25" y="4476"/>
                    </a:lnTo>
                    <a:lnTo>
                      <a:pt x="33" y="4467"/>
                    </a:lnTo>
                    <a:lnTo>
                      <a:pt x="44" y="4461"/>
                    </a:lnTo>
                    <a:lnTo>
                      <a:pt x="49" y="4458"/>
                    </a:lnTo>
                    <a:lnTo>
                      <a:pt x="55" y="4456"/>
                    </a:lnTo>
                    <a:lnTo>
                      <a:pt x="61" y="4455"/>
                    </a:lnTo>
                    <a:lnTo>
                      <a:pt x="68" y="4454"/>
                    </a:lnTo>
                    <a:lnTo>
                      <a:pt x="108" y="4439"/>
                    </a:lnTo>
                    <a:lnTo>
                      <a:pt x="150" y="4425"/>
                    </a:lnTo>
                    <a:lnTo>
                      <a:pt x="191" y="4412"/>
                    </a:lnTo>
                    <a:lnTo>
                      <a:pt x="233" y="4400"/>
                    </a:lnTo>
                    <a:lnTo>
                      <a:pt x="275" y="4389"/>
                    </a:lnTo>
                    <a:lnTo>
                      <a:pt x="318" y="4380"/>
                    </a:lnTo>
                    <a:lnTo>
                      <a:pt x="360" y="4370"/>
                    </a:lnTo>
                    <a:lnTo>
                      <a:pt x="402" y="4360"/>
                    </a:lnTo>
                    <a:lnTo>
                      <a:pt x="462" y="4346"/>
                    </a:lnTo>
                    <a:lnTo>
                      <a:pt x="521" y="4332"/>
                    </a:lnTo>
                    <a:lnTo>
                      <a:pt x="581" y="4317"/>
                    </a:lnTo>
                    <a:lnTo>
                      <a:pt x="640" y="4300"/>
                    </a:lnTo>
                    <a:lnTo>
                      <a:pt x="669" y="4290"/>
                    </a:lnTo>
                    <a:lnTo>
                      <a:pt x="698" y="4280"/>
                    </a:lnTo>
                    <a:lnTo>
                      <a:pt x="726" y="4270"/>
                    </a:lnTo>
                    <a:lnTo>
                      <a:pt x="756" y="4258"/>
                    </a:lnTo>
                    <a:lnTo>
                      <a:pt x="784" y="4246"/>
                    </a:lnTo>
                    <a:lnTo>
                      <a:pt x="812" y="4232"/>
                    </a:lnTo>
                    <a:lnTo>
                      <a:pt x="839" y="4218"/>
                    </a:lnTo>
                    <a:lnTo>
                      <a:pt x="867" y="4203"/>
                    </a:lnTo>
                    <a:lnTo>
                      <a:pt x="901" y="4181"/>
                    </a:lnTo>
                    <a:lnTo>
                      <a:pt x="935" y="4158"/>
                    </a:lnTo>
                    <a:lnTo>
                      <a:pt x="966" y="4135"/>
                    </a:lnTo>
                    <a:lnTo>
                      <a:pt x="996" y="4111"/>
                    </a:lnTo>
                    <a:lnTo>
                      <a:pt x="1023" y="4086"/>
                    </a:lnTo>
                    <a:lnTo>
                      <a:pt x="1049" y="4060"/>
                    </a:lnTo>
                    <a:lnTo>
                      <a:pt x="1073" y="4034"/>
                    </a:lnTo>
                    <a:lnTo>
                      <a:pt x="1095" y="4007"/>
                    </a:lnTo>
                    <a:lnTo>
                      <a:pt x="1115" y="3980"/>
                    </a:lnTo>
                    <a:lnTo>
                      <a:pt x="1134" y="3953"/>
                    </a:lnTo>
                    <a:lnTo>
                      <a:pt x="1151" y="3925"/>
                    </a:lnTo>
                    <a:lnTo>
                      <a:pt x="1166" y="3897"/>
                    </a:lnTo>
                    <a:lnTo>
                      <a:pt x="1179" y="3868"/>
                    </a:lnTo>
                    <a:lnTo>
                      <a:pt x="1191" y="3839"/>
                    </a:lnTo>
                    <a:lnTo>
                      <a:pt x="1202" y="3811"/>
                    </a:lnTo>
                    <a:lnTo>
                      <a:pt x="1210" y="3782"/>
                    </a:lnTo>
                    <a:lnTo>
                      <a:pt x="1217" y="3752"/>
                    </a:lnTo>
                    <a:lnTo>
                      <a:pt x="1223" y="3723"/>
                    </a:lnTo>
                    <a:lnTo>
                      <a:pt x="1227" y="3694"/>
                    </a:lnTo>
                    <a:lnTo>
                      <a:pt x="1230" y="3665"/>
                    </a:lnTo>
                    <a:lnTo>
                      <a:pt x="1232" y="3636"/>
                    </a:lnTo>
                    <a:lnTo>
                      <a:pt x="1232" y="3607"/>
                    </a:lnTo>
                    <a:lnTo>
                      <a:pt x="1231" y="3579"/>
                    </a:lnTo>
                    <a:lnTo>
                      <a:pt x="1227" y="3549"/>
                    </a:lnTo>
                    <a:lnTo>
                      <a:pt x="1224" y="3521"/>
                    </a:lnTo>
                    <a:lnTo>
                      <a:pt x="1219" y="3494"/>
                    </a:lnTo>
                    <a:lnTo>
                      <a:pt x="1213" y="3467"/>
                    </a:lnTo>
                    <a:lnTo>
                      <a:pt x="1206" y="3440"/>
                    </a:lnTo>
                    <a:lnTo>
                      <a:pt x="1197" y="3415"/>
                    </a:lnTo>
                    <a:lnTo>
                      <a:pt x="1188" y="3389"/>
                    </a:lnTo>
                    <a:lnTo>
                      <a:pt x="1178" y="3364"/>
                    </a:lnTo>
                    <a:lnTo>
                      <a:pt x="1166" y="3339"/>
                    </a:lnTo>
                    <a:lnTo>
                      <a:pt x="1138" y="3296"/>
                    </a:lnTo>
                    <a:lnTo>
                      <a:pt x="1108" y="3254"/>
                    </a:lnTo>
                    <a:lnTo>
                      <a:pt x="1077" y="3213"/>
                    </a:lnTo>
                    <a:lnTo>
                      <a:pt x="1046" y="3172"/>
                    </a:lnTo>
                    <a:lnTo>
                      <a:pt x="1014" y="3132"/>
                    </a:lnTo>
                    <a:lnTo>
                      <a:pt x="982" y="3092"/>
                    </a:lnTo>
                    <a:lnTo>
                      <a:pt x="950" y="3053"/>
                    </a:lnTo>
                    <a:lnTo>
                      <a:pt x="918" y="3014"/>
                    </a:lnTo>
                    <a:lnTo>
                      <a:pt x="869" y="2956"/>
                    </a:lnTo>
                    <a:lnTo>
                      <a:pt x="820" y="2896"/>
                    </a:lnTo>
                    <a:lnTo>
                      <a:pt x="796" y="2866"/>
                    </a:lnTo>
                    <a:lnTo>
                      <a:pt x="773" y="2835"/>
                    </a:lnTo>
                    <a:lnTo>
                      <a:pt x="749" y="2805"/>
                    </a:lnTo>
                    <a:lnTo>
                      <a:pt x="726" y="2773"/>
                    </a:lnTo>
                    <a:lnTo>
                      <a:pt x="704" y="2741"/>
                    </a:lnTo>
                    <a:lnTo>
                      <a:pt x="682" y="2709"/>
                    </a:lnTo>
                    <a:lnTo>
                      <a:pt x="662" y="2676"/>
                    </a:lnTo>
                    <a:lnTo>
                      <a:pt x="641" y="2643"/>
                    </a:lnTo>
                    <a:lnTo>
                      <a:pt x="623" y="2608"/>
                    </a:lnTo>
                    <a:lnTo>
                      <a:pt x="604" y="2574"/>
                    </a:lnTo>
                    <a:lnTo>
                      <a:pt x="587" y="2537"/>
                    </a:lnTo>
                    <a:lnTo>
                      <a:pt x="571" y="2501"/>
                    </a:lnTo>
                    <a:lnTo>
                      <a:pt x="542" y="2425"/>
                    </a:lnTo>
                    <a:lnTo>
                      <a:pt x="514" y="2348"/>
                    </a:lnTo>
                    <a:lnTo>
                      <a:pt x="489" y="2270"/>
                    </a:lnTo>
                    <a:lnTo>
                      <a:pt x="465" y="2193"/>
                    </a:lnTo>
                    <a:lnTo>
                      <a:pt x="442" y="2115"/>
                    </a:lnTo>
                    <a:lnTo>
                      <a:pt x="423" y="2036"/>
                    </a:lnTo>
                    <a:lnTo>
                      <a:pt x="405" y="1956"/>
                    </a:lnTo>
                    <a:lnTo>
                      <a:pt x="388" y="1876"/>
                    </a:lnTo>
                    <a:lnTo>
                      <a:pt x="374" y="1796"/>
                    </a:lnTo>
                    <a:lnTo>
                      <a:pt x="361" y="1717"/>
                    </a:lnTo>
                    <a:lnTo>
                      <a:pt x="351" y="1636"/>
                    </a:lnTo>
                    <a:lnTo>
                      <a:pt x="342" y="1555"/>
                    </a:lnTo>
                    <a:lnTo>
                      <a:pt x="336" y="1473"/>
                    </a:lnTo>
                    <a:lnTo>
                      <a:pt x="331" y="1391"/>
                    </a:lnTo>
                    <a:lnTo>
                      <a:pt x="328" y="1309"/>
                    </a:lnTo>
                    <a:lnTo>
                      <a:pt x="327" y="1226"/>
                    </a:lnTo>
                    <a:lnTo>
                      <a:pt x="330" y="1176"/>
                    </a:lnTo>
                    <a:lnTo>
                      <a:pt x="337" y="1127"/>
                    </a:lnTo>
                    <a:lnTo>
                      <a:pt x="344" y="1077"/>
                    </a:lnTo>
                    <a:lnTo>
                      <a:pt x="354" y="1029"/>
                    </a:lnTo>
                    <a:lnTo>
                      <a:pt x="366" y="980"/>
                    </a:lnTo>
                    <a:lnTo>
                      <a:pt x="380" y="932"/>
                    </a:lnTo>
                    <a:lnTo>
                      <a:pt x="396" y="884"/>
                    </a:lnTo>
                    <a:lnTo>
                      <a:pt x="413" y="837"/>
                    </a:lnTo>
                    <a:lnTo>
                      <a:pt x="434" y="790"/>
                    </a:lnTo>
                    <a:lnTo>
                      <a:pt x="454" y="745"/>
                    </a:lnTo>
                    <a:lnTo>
                      <a:pt x="478" y="700"/>
                    </a:lnTo>
                    <a:lnTo>
                      <a:pt x="503" y="655"/>
                    </a:lnTo>
                    <a:lnTo>
                      <a:pt x="530" y="611"/>
                    </a:lnTo>
                    <a:lnTo>
                      <a:pt x="558" y="568"/>
                    </a:lnTo>
                    <a:lnTo>
                      <a:pt x="588" y="527"/>
                    </a:lnTo>
                    <a:lnTo>
                      <a:pt x="620" y="486"/>
                    </a:lnTo>
                    <a:lnTo>
                      <a:pt x="653" y="446"/>
                    </a:lnTo>
                    <a:lnTo>
                      <a:pt x="688" y="407"/>
                    </a:lnTo>
                    <a:lnTo>
                      <a:pt x="723" y="368"/>
                    </a:lnTo>
                    <a:lnTo>
                      <a:pt x="761" y="332"/>
                    </a:lnTo>
                    <a:lnTo>
                      <a:pt x="800" y="297"/>
                    </a:lnTo>
                    <a:lnTo>
                      <a:pt x="840" y="262"/>
                    </a:lnTo>
                    <a:lnTo>
                      <a:pt x="881" y="229"/>
                    </a:lnTo>
                    <a:lnTo>
                      <a:pt x="924" y="198"/>
                    </a:lnTo>
                    <a:lnTo>
                      <a:pt x="967" y="167"/>
                    </a:lnTo>
                    <a:lnTo>
                      <a:pt x="1013" y="139"/>
                    </a:lnTo>
                    <a:lnTo>
                      <a:pt x="1058" y="112"/>
                    </a:lnTo>
                    <a:lnTo>
                      <a:pt x="1105" y="87"/>
                    </a:lnTo>
                    <a:lnTo>
                      <a:pt x="1154" y="63"/>
                    </a:lnTo>
                    <a:lnTo>
                      <a:pt x="1203" y="40"/>
                    </a:lnTo>
                    <a:lnTo>
                      <a:pt x="1253" y="20"/>
                    </a:lnTo>
                    <a:lnTo>
                      <a:pt x="1304" y="1"/>
                    </a:lnTo>
                    <a:lnTo>
                      <a:pt x="1310" y="0"/>
                    </a:lnTo>
                    <a:lnTo>
                      <a:pt x="1314" y="1"/>
                    </a:lnTo>
                    <a:lnTo>
                      <a:pt x="1318" y="4"/>
                    </a:lnTo>
                    <a:lnTo>
                      <a:pt x="1321" y="9"/>
                    </a:lnTo>
                    <a:lnTo>
                      <a:pt x="1321" y="14"/>
                    </a:lnTo>
                    <a:lnTo>
                      <a:pt x="1320" y="20"/>
                    </a:lnTo>
                    <a:lnTo>
                      <a:pt x="1317" y="24"/>
                    </a:lnTo>
                    <a:lnTo>
                      <a:pt x="1313" y="26"/>
                    </a:lnTo>
                    <a:lnTo>
                      <a:pt x="1263" y="44"/>
                    </a:lnTo>
                    <a:lnTo>
                      <a:pt x="1213" y="65"/>
                    </a:lnTo>
                    <a:lnTo>
                      <a:pt x="1165" y="87"/>
                    </a:lnTo>
                    <a:lnTo>
                      <a:pt x="1118" y="110"/>
                    </a:lnTo>
                    <a:lnTo>
                      <a:pt x="1072" y="135"/>
                    </a:lnTo>
                    <a:lnTo>
                      <a:pt x="1027" y="162"/>
                    </a:lnTo>
                    <a:lnTo>
                      <a:pt x="982" y="190"/>
                    </a:lnTo>
                    <a:lnTo>
                      <a:pt x="939" y="219"/>
                    </a:lnTo>
                    <a:lnTo>
                      <a:pt x="898" y="251"/>
                    </a:lnTo>
                    <a:lnTo>
                      <a:pt x="857" y="283"/>
                    </a:lnTo>
                    <a:lnTo>
                      <a:pt x="817" y="316"/>
                    </a:lnTo>
                    <a:lnTo>
                      <a:pt x="779" y="351"/>
                    </a:lnTo>
                    <a:lnTo>
                      <a:pt x="743" y="387"/>
                    </a:lnTo>
                    <a:lnTo>
                      <a:pt x="708" y="424"/>
                    </a:lnTo>
                    <a:lnTo>
                      <a:pt x="674" y="462"/>
                    </a:lnTo>
                    <a:lnTo>
                      <a:pt x="641" y="502"/>
                    </a:lnTo>
                    <a:lnTo>
                      <a:pt x="610" y="542"/>
                    </a:lnTo>
                    <a:lnTo>
                      <a:pt x="581" y="583"/>
                    </a:lnTo>
                    <a:lnTo>
                      <a:pt x="553" y="625"/>
                    </a:lnTo>
                    <a:lnTo>
                      <a:pt x="527" y="667"/>
                    </a:lnTo>
                    <a:lnTo>
                      <a:pt x="502" y="712"/>
                    </a:lnTo>
                    <a:lnTo>
                      <a:pt x="479" y="756"/>
                    </a:lnTo>
                    <a:lnTo>
                      <a:pt x="459" y="800"/>
                    </a:lnTo>
                    <a:lnTo>
                      <a:pt x="439" y="846"/>
                    </a:lnTo>
                    <a:lnTo>
                      <a:pt x="422" y="892"/>
                    </a:lnTo>
                    <a:lnTo>
                      <a:pt x="406" y="939"/>
                    </a:lnTo>
                    <a:lnTo>
                      <a:pt x="392" y="986"/>
                    </a:lnTo>
                    <a:lnTo>
                      <a:pt x="381" y="1033"/>
                    </a:lnTo>
                    <a:lnTo>
                      <a:pt x="371" y="1082"/>
                    </a:lnTo>
                    <a:lnTo>
                      <a:pt x="363" y="1129"/>
                    </a:lnTo>
                    <a:lnTo>
                      <a:pt x="357" y="1178"/>
                    </a:lnTo>
                    <a:lnTo>
                      <a:pt x="354" y="1226"/>
                    </a:lnTo>
                    <a:lnTo>
                      <a:pt x="355" y="1309"/>
                    </a:lnTo>
                    <a:lnTo>
                      <a:pt x="358" y="1389"/>
                    </a:lnTo>
                    <a:lnTo>
                      <a:pt x="363" y="1472"/>
                    </a:lnTo>
                    <a:lnTo>
                      <a:pt x="369" y="1551"/>
                    </a:lnTo>
                    <a:lnTo>
                      <a:pt x="378" y="1632"/>
                    </a:lnTo>
                    <a:lnTo>
                      <a:pt x="388" y="1712"/>
                    </a:lnTo>
                    <a:lnTo>
                      <a:pt x="400" y="1792"/>
                    </a:lnTo>
                    <a:lnTo>
                      <a:pt x="414" y="1872"/>
                    </a:lnTo>
                    <a:lnTo>
                      <a:pt x="431" y="1951"/>
                    </a:lnTo>
                    <a:lnTo>
                      <a:pt x="449" y="2030"/>
                    </a:lnTo>
                    <a:lnTo>
                      <a:pt x="468" y="2107"/>
                    </a:lnTo>
                    <a:lnTo>
                      <a:pt x="491" y="2185"/>
                    </a:lnTo>
                    <a:lnTo>
                      <a:pt x="514" y="2263"/>
                    </a:lnTo>
                    <a:lnTo>
                      <a:pt x="540" y="2339"/>
                    </a:lnTo>
                    <a:lnTo>
                      <a:pt x="567" y="2415"/>
                    </a:lnTo>
                    <a:lnTo>
                      <a:pt x="596" y="2491"/>
                    </a:lnTo>
                    <a:lnTo>
                      <a:pt x="612" y="2526"/>
                    </a:lnTo>
                    <a:lnTo>
                      <a:pt x="628" y="2561"/>
                    </a:lnTo>
                    <a:lnTo>
                      <a:pt x="647" y="2595"/>
                    </a:lnTo>
                    <a:lnTo>
                      <a:pt x="665" y="2629"/>
                    </a:lnTo>
                    <a:lnTo>
                      <a:pt x="684" y="2661"/>
                    </a:lnTo>
                    <a:lnTo>
                      <a:pt x="704" y="2693"/>
                    </a:lnTo>
                    <a:lnTo>
                      <a:pt x="725" y="2725"/>
                    </a:lnTo>
                    <a:lnTo>
                      <a:pt x="747" y="2756"/>
                    </a:lnTo>
                    <a:lnTo>
                      <a:pt x="770" y="2786"/>
                    </a:lnTo>
                    <a:lnTo>
                      <a:pt x="792" y="2817"/>
                    </a:lnTo>
                    <a:lnTo>
                      <a:pt x="815" y="2847"/>
                    </a:lnTo>
                    <a:lnTo>
                      <a:pt x="839" y="2877"/>
                    </a:lnTo>
                    <a:lnTo>
                      <a:pt x="888" y="2936"/>
                    </a:lnTo>
                    <a:lnTo>
                      <a:pt x="938" y="2997"/>
                    </a:lnTo>
                    <a:lnTo>
                      <a:pt x="970" y="3036"/>
                    </a:lnTo>
                    <a:lnTo>
                      <a:pt x="1003" y="3075"/>
                    </a:lnTo>
                    <a:lnTo>
                      <a:pt x="1035" y="3114"/>
                    </a:lnTo>
                    <a:lnTo>
                      <a:pt x="1068" y="3155"/>
                    </a:lnTo>
                    <a:lnTo>
                      <a:pt x="1099" y="3197"/>
                    </a:lnTo>
                    <a:lnTo>
                      <a:pt x="1130" y="3239"/>
                    </a:lnTo>
                    <a:lnTo>
                      <a:pt x="1161" y="3282"/>
                    </a:lnTo>
                    <a:lnTo>
                      <a:pt x="1190" y="3326"/>
                    </a:lnTo>
                    <a:lnTo>
                      <a:pt x="1202" y="3351"/>
                    </a:lnTo>
                    <a:lnTo>
                      <a:pt x="1212" y="3378"/>
                    </a:lnTo>
                    <a:lnTo>
                      <a:pt x="1222" y="3405"/>
                    </a:lnTo>
                    <a:lnTo>
                      <a:pt x="1232" y="3432"/>
                    </a:lnTo>
                    <a:lnTo>
                      <a:pt x="1239" y="3460"/>
                    </a:lnTo>
                    <a:lnTo>
                      <a:pt x="1246" y="3488"/>
                    </a:lnTo>
                    <a:lnTo>
                      <a:pt x="1250" y="3517"/>
                    </a:lnTo>
                    <a:lnTo>
                      <a:pt x="1254" y="3546"/>
                    </a:lnTo>
                    <a:lnTo>
                      <a:pt x="1257" y="3575"/>
                    </a:lnTo>
                    <a:lnTo>
                      <a:pt x="1259" y="3606"/>
                    </a:lnTo>
                    <a:lnTo>
                      <a:pt x="1259" y="3636"/>
                    </a:lnTo>
                    <a:lnTo>
                      <a:pt x="1257" y="3666"/>
                    </a:lnTo>
                    <a:lnTo>
                      <a:pt x="1254" y="3696"/>
                    </a:lnTo>
                    <a:lnTo>
                      <a:pt x="1250" y="3727"/>
                    </a:lnTo>
                    <a:lnTo>
                      <a:pt x="1244" y="3757"/>
                    </a:lnTo>
                    <a:lnTo>
                      <a:pt x="1236" y="3788"/>
                    </a:lnTo>
                    <a:lnTo>
                      <a:pt x="1227" y="3818"/>
                    </a:lnTo>
                    <a:lnTo>
                      <a:pt x="1217" y="3849"/>
                    </a:lnTo>
                    <a:lnTo>
                      <a:pt x="1205" y="3878"/>
                    </a:lnTo>
                    <a:lnTo>
                      <a:pt x="1191" y="3908"/>
                    </a:lnTo>
                    <a:lnTo>
                      <a:pt x="1175" y="3937"/>
                    </a:lnTo>
                    <a:lnTo>
                      <a:pt x="1157" y="3966"/>
                    </a:lnTo>
                    <a:lnTo>
                      <a:pt x="1139" y="3995"/>
                    </a:lnTo>
                    <a:lnTo>
                      <a:pt x="1117" y="4023"/>
                    </a:lnTo>
                    <a:lnTo>
                      <a:pt x="1095" y="4050"/>
                    </a:lnTo>
                    <a:lnTo>
                      <a:pt x="1070" y="4077"/>
                    </a:lnTo>
                    <a:lnTo>
                      <a:pt x="1043" y="4104"/>
                    </a:lnTo>
                    <a:lnTo>
                      <a:pt x="1015" y="4130"/>
                    </a:lnTo>
                    <a:lnTo>
                      <a:pt x="985" y="4155"/>
                    </a:lnTo>
                    <a:lnTo>
                      <a:pt x="951" y="4180"/>
                    </a:lnTo>
                    <a:lnTo>
                      <a:pt x="916" y="4204"/>
                    </a:lnTo>
                    <a:lnTo>
                      <a:pt x="880" y="4226"/>
                    </a:lnTo>
                    <a:lnTo>
                      <a:pt x="853" y="4241"/>
                    </a:lnTo>
                    <a:lnTo>
                      <a:pt x="824" y="4257"/>
                    </a:lnTo>
                    <a:lnTo>
                      <a:pt x="796" y="4270"/>
                    </a:lnTo>
                    <a:lnTo>
                      <a:pt x="766" y="4282"/>
                    </a:lnTo>
                    <a:lnTo>
                      <a:pt x="737" y="4294"/>
                    </a:lnTo>
                    <a:lnTo>
                      <a:pt x="708" y="4305"/>
                    </a:lnTo>
                    <a:lnTo>
                      <a:pt x="679" y="4315"/>
                    </a:lnTo>
                    <a:lnTo>
                      <a:pt x="649" y="4325"/>
                    </a:lnTo>
                    <a:lnTo>
                      <a:pt x="589" y="4342"/>
                    </a:lnTo>
                    <a:lnTo>
                      <a:pt x="529" y="4358"/>
                    </a:lnTo>
                    <a:lnTo>
                      <a:pt x="468" y="4372"/>
                    </a:lnTo>
                    <a:lnTo>
                      <a:pt x="408" y="4386"/>
                    </a:lnTo>
                    <a:lnTo>
                      <a:pt x="366" y="4396"/>
                    </a:lnTo>
                    <a:lnTo>
                      <a:pt x="324" y="4406"/>
                    </a:lnTo>
                    <a:lnTo>
                      <a:pt x="282" y="4416"/>
                    </a:lnTo>
                    <a:lnTo>
                      <a:pt x="239" y="4427"/>
                    </a:lnTo>
                    <a:lnTo>
                      <a:pt x="197" y="4439"/>
                    </a:lnTo>
                    <a:lnTo>
                      <a:pt x="156" y="4451"/>
                    </a:lnTo>
                    <a:lnTo>
                      <a:pt x="115" y="4465"/>
                    </a:lnTo>
                    <a:lnTo>
                      <a:pt x="75" y="4480"/>
                    </a:lnTo>
                    <a:lnTo>
                      <a:pt x="73" y="4481"/>
                    </a:lnTo>
                    <a:lnTo>
                      <a:pt x="70" y="4481"/>
                    </a:lnTo>
                    <a:lnTo>
                      <a:pt x="62" y="4482"/>
                    </a:lnTo>
                    <a:lnTo>
                      <a:pt x="56" y="4485"/>
                    </a:lnTo>
                    <a:lnTo>
                      <a:pt x="49" y="4490"/>
                    </a:lnTo>
                    <a:lnTo>
                      <a:pt x="44" y="4495"/>
                    </a:lnTo>
                    <a:lnTo>
                      <a:pt x="39" y="4502"/>
                    </a:lnTo>
                    <a:lnTo>
                      <a:pt x="34" y="4509"/>
                    </a:lnTo>
                    <a:lnTo>
                      <a:pt x="31" y="4517"/>
                    </a:lnTo>
                    <a:lnTo>
                      <a:pt x="30" y="4524"/>
                    </a:lnTo>
                    <a:lnTo>
                      <a:pt x="28" y="4542"/>
                    </a:lnTo>
                    <a:lnTo>
                      <a:pt x="27" y="4561"/>
                    </a:lnTo>
                    <a:lnTo>
                      <a:pt x="27" y="4580"/>
                    </a:lnTo>
                    <a:lnTo>
                      <a:pt x="29" y="4601"/>
                    </a:lnTo>
                    <a:lnTo>
                      <a:pt x="32" y="4623"/>
                    </a:lnTo>
                    <a:lnTo>
                      <a:pt x="36" y="4644"/>
                    </a:lnTo>
                    <a:lnTo>
                      <a:pt x="42" y="4666"/>
                    </a:lnTo>
                    <a:lnTo>
                      <a:pt x="48" y="4688"/>
                    </a:lnTo>
                    <a:lnTo>
                      <a:pt x="56" y="4711"/>
                    </a:lnTo>
                    <a:lnTo>
                      <a:pt x="65" y="4734"/>
                    </a:lnTo>
                    <a:lnTo>
                      <a:pt x="74" y="4756"/>
                    </a:lnTo>
                    <a:lnTo>
                      <a:pt x="85" y="4780"/>
                    </a:lnTo>
                    <a:lnTo>
                      <a:pt x="97" y="4803"/>
                    </a:lnTo>
                    <a:lnTo>
                      <a:pt x="109" y="4827"/>
                    </a:lnTo>
                    <a:lnTo>
                      <a:pt x="122" y="4849"/>
                    </a:lnTo>
                    <a:lnTo>
                      <a:pt x="136" y="4872"/>
                    </a:lnTo>
                    <a:lnTo>
                      <a:pt x="151" y="4895"/>
                    </a:lnTo>
                    <a:lnTo>
                      <a:pt x="166" y="4917"/>
                    </a:lnTo>
                    <a:lnTo>
                      <a:pt x="182" y="4939"/>
                    </a:lnTo>
                    <a:lnTo>
                      <a:pt x="198" y="4960"/>
                    </a:lnTo>
                    <a:lnTo>
                      <a:pt x="216" y="4982"/>
                    </a:lnTo>
                    <a:lnTo>
                      <a:pt x="233" y="5001"/>
                    </a:lnTo>
                    <a:lnTo>
                      <a:pt x="251" y="5022"/>
                    </a:lnTo>
                    <a:lnTo>
                      <a:pt x="270" y="5040"/>
                    </a:lnTo>
                    <a:lnTo>
                      <a:pt x="289" y="5059"/>
                    </a:lnTo>
                    <a:lnTo>
                      <a:pt x="307" y="5076"/>
                    </a:lnTo>
                    <a:lnTo>
                      <a:pt x="327" y="5092"/>
                    </a:lnTo>
                    <a:lnTo>
                      <a:pt x="347" y="5108"/>
                    </a:lnTo>
                    <a:lnTo>
                      <a:pt x="367" y="5122"/>
                    </a:lnTo>
                    <a:lnTo>
                      <a:pt x="387" y="5135"/>
                    </a:lnTo>
                    <a:lnTo>
                      <a:pt x="407" y="5147"/>
                    </a:lnTo>
                    <a:lnTo>
                      <a:pt x="427" y="5158"/>
                    </a:lnTo>
                    <a:lnTo>
                      <a:pt x="480" y="5184"/>
                    </a:lnTo>
                    <a:lnTo>
                      <a:pt x="534" y="5209"/>
                    </a:lnTo>
                    <a:lnTo>
                      <a:pt x="561" y="5221"/>
                    </a:lnTo>
                    <a:lnTo>
                      <a:pt x="589" y="5231"/>
                    </a:lnTo>
                    <a:lnTo>
                      <a:pt x="617" y="5242"/>
                    </a:lnTo>
                    <a:lnTo>
                      <a:pt x="645" y="5251"/>
                    </a:lnTo>
                    <a:lnTo>
                      <a:pt x="675" y="5259"/>
                    </a:lnTo>
                    <a:lnTo>
                      <a:pt x="703" y="5266"/>
                    </a:lnTo>
                    <a:lnTo>
                      <a:pt x="732" y="5270"/>
                    </a:lnTo>
                    <a:lnTo>
                      <a:pt x="761" y="5273"/>
                    </a:lnTo>
                    <a:lnTo>
                      <a:pt x="790" y="5275"/>
                    </a:lnTo>
                    <a:lnTo>
                      <a:pt x="819" y="5275"/>
                    </a:lnTo>
                    <a:lnTo>
                      <a:pt x="833" y="5272"/>
                    </a:lnTo>
                    <a:lnTo>
                      <a:pt x="848" y="5271"/>
                    </a:lnTo>
                    <a:lnTo>
                      <a:pt x="864" y="5268"/>
                    </a:lnTo>
                    <a:lnTo>
                      <a:pt x="878" y="5265"/>
                    </a:lnTo>
                    <a:lnTo>
                      <a:pt x="941" y="5251"/>
                    </a:lnTo>
                    <a:lnTo>
                      <a:pt x="1013" y="5238"/>
                    </a:lnTo>
                    <a:lnTo>
                      <a:pt x="1090" y="5227"/>
                    </a:lnTo>
                    <a:lnTo>
                      <a:pt x="1175" y="5216"/>
                    </a:lnTo>
                    <a:lnTo>
                      <a:pt x="1263" y="5208"/>
                    </a:lnTo>
                    <a:lnTo>
                      <a:pt x="1358" y="5200"/>
                    </a:lnTo>
                    <a:lnTo>
                      <a:pt x="1457" y="5194"/>
                    </a:lnTo>
                    <a:lnTo>
                      <a:pt x="1560" y="5188"/>
                    </a:lnTo>
                    <a:lnTo>
                      <a:pt x="1666" y="5184"/>
                    </a:lnTo>
                    <a:lnTo>
                      <a:pt x="1775" y="5182"/>
                    </a:lnTo>
                    <a:lnTo>
                      <a:pt x="1886" y="5181"/>
                    </a:lnTo>
                    <a:lnTo>
                      <a:pt x="2000" y="5180"/>
                    </a:lnTo>
                    <a:lnTo>
                      <a:pt x="2114" y="5181"/>
                    </a:lnTo>
                    <a:lnTo>
                      <a:pt x="2228" y="5184"/>
                    </a:lnTo>
                    <a:lnTo>
                      <a:pt x="2343" y="5187"/>
                    </a:lnTo>
                    <a:lnTo>
                      <a:pt x="2457" y="5192"/>
                    </a:lnTo>
                    <a:lnTo>
                      <a:pt x="2570" y="5199"/>
                    </a:lnTo>
                    <a:lnTo>
                      <a:pt x="2682" y="5206"/>
                    </a:lnTo>
                    <a:lnTo>
                      <a:pt x="2791" y="5215"/>
                    </a:lnTo>
                    <a:lnTo>
                      <a:pt x="2897" y="5225"/>
                    </a:lnTo>
                    <a:lnTo>
                      <a:pt x="3001" y="5237"/>
                    </a:lnTo>
                    <a:lnTo>
                      <a:pt x="3100" y="5250"/>
                    </a:lnTo>
                    <a:lnTo>
                      <a:pt x="3195" y="5264"/>
                    </a:lnTo>
                    <a:lnTo>
                      <a:pt x="3285" y="5279"/>
                    </a:lnTo>
                    <a:lnTo>
                      <a:pt x="3369" y="5296"/>
                    </a:lnTo>
                    <a:lnTo>
                      <a:pt x="3448" y="5314"/>
                    </a:lnTo>
                    <a:lnTo>
                      <a:pt x="3519" y="5334"/>
                    </a:lnTo>
                    <a:lnTo>
                      <a:pt x="3583" y="5354"/>
                    </a:lnTo>
                    <a:lnTo>
                      <a:pt x="3640" y="5377"/>
                    </a:lnTo>
                    <a:lnTo>
                      <a:pt x="3688" y="5400"/>
                    </a:lnTo>
                    <a:lnTo>
                      <a:pt x="3727" y="5425"/>
                    </a:lnTo>
                    <a:lnTo>
                      <a:pt x="3757" y="5452"/>
                    </a:lnTo>
                    <a:lnTo>
                      <a:pt x="3761" y="5456"/>
                    </a:lnTo>
                    <a:lnTo>
                      <a:pt x="3761" y="5461"/>
                    </a:lnTo>
                    <a:lnTo>
                      <a:pt x="3760" y="5466"/>
                    </a:lnTo>
                    <a:lnTo>
                      <a:pt x="3756" y="5470"/>
                    </a:lnTo>
                    <a:lnTo>
                      <a:pt x="3752" y="5473"/>
                    </a:lnTo>
                    <a:lnTo>
                      <a:pt x="3748" y="54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54"/>
              <p:cNvSpPr>
                <a:spLocks/>
              </p:cNvSpPr>
              <p:nvPr userDrawn="1"/>
            </p:nvSpPr>
            <p:spPr bwMode="auto">
              <a:xfrm>
                <a:off x="2513" y="1822"/>
                <a:ext cx="160" cy="1249"/>
              </a:xfrm>
              <a:custGeom>
                <a:avLst/>
                <a:gdLst>
                  <a:gd name="T0" fmla="*/ 225 w 482"/>
                  <a:gd name="T1" fmla="*/ 3717 h 3747"/>
                  <a:gd name="T2" fmla="*/ 161 w 482"/>
                  <a:gd name="T3" fmla="*/ 3637 h 3747"/>
                  <a:gd name="T4" fmla="*/ 118 w 482"/>
                  <a:gd name="T5" fmla="*/ 3545 h 3747"/>
                  <a:gd name="T6" fmla="*/ 85 w 482"/>
                  <a:gd name="T7" fmla="*/ 3425 h 3747"/>
                  <a:gd name="T8" fmla="*/ 62 w 482"/>
                  <a:gd name="T9" fmla="*/ 3140 h 3747"/>
                  <a:gd name="T10" fmla="*/ 46 w 482"/>
                  <a:gd name="T11" fmla="*/ 2890 h 3747"/>
                  <a:gd name="T12" fmla="*/ 23 w 482"/>
                  <a:gd name="T13" fmla="*/ 2663 h 3747"/>
                  <a:gd name="T14" fmla="*/ 6 w 482"/>
                  <a:gd name="T15" fmla="*/ 2464 h 3747"/>
                  <a:gd name="T16" fmla="*/ 3 w 482"/>
                  <a:gd name="T17" fmla="*/ 2278 h 3747"/>
                  <a:gd name="T18" fmla="*/ 34 w 482"/>
                  <a:gd name="T19" fmla="*/ 2108 h 3747"/>
                  <a:gd name="T20" fmla="*/ 95 w 482"/>
                  <a:gd name="T21" fmla="*/ 1951 h 3747"/>
                  <a:gd name="T22" fmla="*/ 189 w 482"/>
                  <a:gd name="T23" fmla="*/ 1794 h 3747"/>
                  <a:gd name="T24" fmla="*/ 321 w 482"/>
                  <a:gd name="T25" fmla="*/ 1581 h 3747"/>
                  <a:gd name="T26" fmla="*/ 400 w 482"/>
                  <a:gd name="T27" fmla="*/ 1420 h 3747"/>
                  <a:gd name="T28" fmla="*/ 448 w 482"/>
                  <a:gd name="T29" fmla="*/ 1245 h 3747"/>
                  <a:gd name="T30" fmla="*/ 454 w 482"/>
                  <a:gd name="T31" fmla="*/ 1123 h 3747"/>
                  <a:gd name="T32" fmla="*/ 434 w 482"/>
                  <a:gd name="T33" fmla="*/ 1008 h 3747"/>
                  <a:gd name="T34" fmla="*/ 386 w 482"/>
                  <a:gd name="T35" fmla="*/ 846 h 3747"/>
                  <a:gd name="T36" fmla="*/ 347 w 482"/>
                  <a:gd name="T37" fmla="*/ 701 h 3747"/>
                  <a:gd name="T38" fmla="*/ 325 w 482"/>
                  <a:gd name="T39" fmla="*/ 578 h 3747"/>
                  <a:gd name="T40" fmla="*/ 263 w 482"/>
                  <a:gd name="T41" fmla="*/ 393 h 3747"/>
                  <a:gd name="T42" fmla="*/ 206 w 482"/>
                  <a:gd name="T43" fmla="*/ 270 h 3747"/>
                  <a:gd name="T44" fmla="*/ 145 w 482"/>
                  <a:gd name="T45" fmla="*/ 162 h 3747"/>
                  <a:gd name="T46" fmla="*/ 112 w 482"/>
                  <a:gd name="T47" fmla="*/ 83 h 3747"/>
                  <a:gd name="T48" fmla="*/ 112 w 482"/>
                  <a:gd name="T49" fmla="*/ 22 h 3747"/>
                  <a:gd name="T50" fmla="*/ 130 w 482"/>
                  <a:gd name="T51" fmla="*/ 0 h 3747"/>
                  <a:gd name="T52" fmla="*/ 145 w 482"/>
                  <a:gd name="T53" fmla="*/ 16 h 3747"/>
                  <a:gd name="T54" fmla="*/ 136 w 482"/>
                  <a:gd name="T55" fmla="*/ 39 h 3747"/>
                  <a:gd name="T56" fmla="*/ 146 w 482"/>
                  <a:gd name="T57" fmla="*/ 101 h 3747"/>
                  <a:gd name="T58" fmla="*/ 211 w 482"/>
                  <a:gd name="T59" fmla="*/ 225 h 3747"/>
                  <a:gd name="T60" fmla="*/ 252 w 482"/>
                  <a:gd name="T61" fmla="*/ 301 h 3747"/>
                  <a:gd name="T62" fmla="*/ 334 w 482"/>
                  <a:gd name="T63" fmla="*/ 506 h 3747"/>
                  <a:gd name="T64" fmla="*/ 363 w 482"/>
                  <a:gd name="T65" fmla="*/ 637 h 3747"/>
                  <a:gd name="T66" fmla="*/ 394 w 482"/>
                  <a:gd name="T67" fmla="*/ 783 h 3747"/>
                  <a:gd name="T68" fmla="*/ 448 w 482"/>
                  <a:gd name="T69" fmla="*/ 956 h 3747"/>
                  <a:gd name="T70" fmla="*/ 474 w 482"/>
                  <a:gd name="T71" fmla="*/ 1072 h 3747"/>
                  <a:gd name="T72" fmla="*/ 481 w 482"/>
                  <a:gd name="T73" fmla="*/ 1196 h 3747"/>
                  <a:gd name="T74" fmla="*/ 449 w 482"/>
                  <a:gd name="T75" fmla="*/ 1358 h 3747"/>
                  <a:gd name="T76" fmla="*/ 380 w 482"/>
                  <a:gd name="T77" fmla="*/ 1528 h 3747"/>
                  <a:gd name="T78" fmla="*/ 270 w 482"/>
                  <a:gd name="T79" fmla="*/ 1717 h 3747"/>
                  <a:gd name="T80" fmla="*/ 152 w 482"/>
                  <a:gd name="T81" fmla="*/ 1903 h 3747"/>
                  <a:gd name="T82" fmla="*/ 79 w 482"/>
                  <a:gd name="T83" fmla="*/ 2053 h 3747"/>
                  <a:gd name="T84" fmla="*/ 38 w 482"/>
                  <a:gd name="T85" fmla="*/ 2213 h 3747"/>
                  <a:gd name="T86" fmla="*/ 28 w 482"/>
                  <a:gd name="T87" fmla="*/ 2386 h 3747"/>
                  <a:gd name="T88" fmla="*/ 42 w 482"/>
                  <a:gd name="T89" fmla="*/ 2581 h 3747"/>
                  <a:gd name="T90" fmla="*/ 63 w 482"/>
                  <a:gd name="T91" fmla="*/ 2788 h 3747"/>
                  <a:gd name="T92" fmla="*/ 84 w 482"/>
                  <a:gd name="T93" fmla="*/ 3039 h 3747"/>
                  <a:gd name="T94" fmla="*/ 101 w 482"/>
                  <a:gd name="T95" fmla="*/ 3337 h 3747"/>
                  <a:gd name="T96" fmla="*/ 130 w 482"/>
                  <a:gd name="T97" fmla="*/ 3494 h 3747"/>
                  <a:gd name="T98" fmla="*/ 164 w 482"/>
                  <a:gd name="T99" fmla="*/ 3586 h 3747"/>
                  <a:gd name="T100" fmla="*/ 216 w 482"/>
                  <a:gd name="T101" fmla="*/ 3668 h 3747"/>
                  <a:gd name="T102" fmla="*/ 277 w 482"/>
                  <a:gd name="T103" fmla="*/ 3728 h 3747"/>
                  <a:gd name="T104" fmla="*/ 270 w 482"/>
                  <a:gd name="T105" fmla="*/ 3746 h 3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2" h="3747">
                    <a:moveTo>
                      <a:pt x="265" y="3747"/>
                    </a:moveTo>
                    <a:lnTo>
                      <a:pt x="260" y="3747"/>
                    </a:lnTo>
                    <a:lnTo>
                      <a:pt x="256" y="3745"/>
                    </a:lnTo>
                    <a:lnTo>
                      <a:pt x="240" y="3731"/>
                    </a:lnTo>
                    <a:lnTo>
                      <a:pt x="225" y="3717"/>
                    </a:lnTo>
                    <a:lnTo>
                      <a:pt x="210" y="3702"/>
                    </a:lnTo>
                    <a:lnTo>
                      <a:pt x="197" y="3687"/>
                    </a:lnTo>
                    <a:lnTo>
                      <a:pt x="184" y="3670"/>
                    </a:lnTo>
                    <a:lnTo>
                      <a:pt x="172" y="3653"/>
                    </a:lnTo>
                    <a:lnTo>
                      <a:pt x="161" y="3637"/>
                    </a:lnTo>
                    <a:lnTo>
                      <a:pt x="151" y="3619"/>
                    </a:lnTo>
                    <a:lnTo>
                      <a:pt x="142" y="3601"/>
                    </a:lnTo>
                    <a:lnTo>
                      <a:pt x="133" y="3583"/>
                    </a:lnTo>
                    <a:lnTo>
                      <a:pt x="125" y="3564"/>
                    </a:lnTo>
                    <a:lnTo>
                      <a:pt x="118" y="3545"/>
                    </a:lnTo>
                    <a:lnTo>
                      <a:pt x="111" y="3526"/>
                    </a:lnTo>
                    <a:lnTo>
                      <a:pt x="105" y="3506"/>
                    </a:lnTo>
                    <a:lnTo>
                      <a:pt x="100" y="3486"/>
                    </a:lnTo>
                    <a:lnTo>
                      <a:pt x="94" y="3466"/>
                    </a:lnTo>
                    <a:lnTo>
                      <a:pt x="85" y="3425"/>
                    </a:lnTo>
                    <a:lnTo>
                      <a:pt x="79" y="3384"/>
                    </a:lnTo>
                    <a:lnTo>
                      <a:pt x="74" y="3343"/>
                    </a:lnTo>
                    <a:lnTo>
                      <a:pt x="70" y="3301"/>
                    </a:lnTo>
                    <a:lnTo>
                      <a:pt x="65" y="3219"/>
                    </a:lnTo>
                    <a:lnTo>
                      <a:pt x="62" y="3140"/>
                    </a:lnTo>
                    <a:lnTo>
                      <a:pt x="60" y="3091"/>
                    </a:lnTo>
                    <a:lnTo>
                      <a:pt x="57" y="3040"/>
                    </a:lnTo>
                    <a:lnTo>
                      <a:pt x="54" y="2990"/>
                    </a:lnTo>
                    <a:lnTo>
                      <a:pt x="50" y="2940"/>
                    </a:lnTo>
                    <a:lnTo>
                      <a:pt x="46" y="2890"/>
                    </a:lnTo>
                    <a:lnTo>
                      <a:pt x="40" y="2840"/>
                    </a:lnTo>
                    <a:lnTo>
                      <a:pt x="36" y="2791"/>
                    </a:lnTo>
                    <a:lnTo>
                      <a:pt x="30" y="2742"/>
                    </a:lnTo>
                    <a:lnTo>
                      <a:pt x="26" y="2702"/>
                    </a:lnTo>
                    <a:lnTo>
                      <a:pt x="23" y="2663"/>
                    </a:lnTo>
                    <a:lnTo>
                      <a:pt x="19" y="2623"/>
                    </a:lnTo>
                    <a:lnTo>
                      <a:pt x="15" y="2583"/>
                    </a:lnTo>
                    <a:lnTo>
                      <a:pt x="11" y="2543"/>
                    </a:lnTo>
                    <a:lnTo>
                      <a:pt x="8" y="2503"/>
                    </a:lnTo>
                    <a:lnTo>
                      <a:pt x="6" y="2464"/>
                    </a:lnTo>
                    <a:lnTo>
                      <a:pt x="2" y="2424"/>
                    </a:lnTo>
                    <a:lnTo>
                      <a:pt x="1" y="2386"/>
                    </a:lnTo>
                    <a:lnTo>
                      <a:pt x="0" y="2349"/>
                    </a:lnTo>
                    <a:lnTo>
                      <a:pt x="1" y="2314"/>
                    </a:lnTo>
                    <a:lnTo>
                      <a:pt x="3" y="2278"/>
                    </a:lnTo>
                    <a:lnTo>
                      <a:pt x="7" y="2242"/>
                    </a:lnTo>
                    <a:lnTo>
                      <a:pt x="12" y="2209"/>
                    </a:lnTo>
                    <a:lnTo>
                      <a:pt x="17" y="2174"/>
                    </a:lnTo>
                    <a:lnTo>
                      <a:pt x="25" y="2141"/>
                    </a:lnTo>
                    <a:lnTo>
                      <a:pt x="34" y="2108"/>
                    </a:lnTo>
                    <a:lnTo>
                      <a:pt x="43" y="2076"/>
                    </a:lnTo>
                    <a:lnTo>
                      <a:pt x="54" y="2044"/>
                    </a:lnTo>
                    <a:lnTo>
                      <a:pt x="66" y="2012"/>
                    </a:lnTo>
                    <a:lnTo>
                      <a:pt x="80" y="1981"/>
                    </a:lnTo>
                    <a:lnTo>
                      <a:pt x="95" y="1951"/>
                    </a:lnTo>
                    <a:lnTo>
                      <a:pt x="111" y="1919"/>
                    </a:lnTo>
                    <a:lnTo>
                      <a:pt x="130" y="1889"/>
                    </a:lnTo>
                    <a:lnTo>
                      <a:pt x="149" y="1857"/>
                    </a:lnTo>
                    <a:lnTo>
                      <a:pt x="169" y="1826"/>
                    </a:lnTo>
                    <a:lnTo>
                      <a:pt x="189" y="1794"/>
                    </a:lnTo>
                    <a:lnTo>
                      <a:pt x="209" y="1763"/>
                    </a:lnTo>
                    <a:lnTo>
                      <a:pt x="247" y="1704"/>
                    </a:lnTo>
                    <a:lnTo>
                      <a:pt x="285" y="1642"/>
                    </a:lnTo>
                    <a:lnTo>
                      <a:pt x="304" y="1612"/>
                    </a:lnTo>
                    <a:lnTo>
                      <a:pt x="321" y="1581"/>
                    </a:lnTo>
                    <a:lnTo>
                      <a:pt x="338" y="1549"/>
                    </a:lnTo>
                    <a:lnTo>
                      <a:pt x="355" y="1518"/>
                    </a:lnTo>
                    <a:lnTo>
                      <a:pt x="371" y="1486"/>
                    </a:lnTo>
                    <a:lnTo>
                      <a:pt x="386" y="1452"/>
                    </a:lnTo>
                    <a:lnTo>
                      <a:pt x="400" y="1420"/>
                    </a:lnTo>
                    <a:lnTo>
                      <a:pt x="412" y="1385"/>
                    </a:lnTo>
                    <a:lnTo>
                      <a:pt x="423" y="1352"/>
                    </a:lnTo>
                    <a:lnTo>
                      <a:pt x="433" y="1317"/>
                    </a:lnTo>
                    <a:lnTo>
                      <a:pt x="442" y="1282"/>
                    </a:lnTo>
                    <a:lnTo>
                      <a:pt x="448" y="1245"/>
                    </a:lnTo>
                    <a:lnTo>
                      <a:pt x="452" y="1220"/>
                    </a:lnTo>
                    <a:lnTo>
                      <a:pt x="454" y="1195"/>
                    </a:lnTo>
                    <a:lnTo>
                      <a:pt x="455" y="1170"/>
                    </a:lnTo>
                    <a:lnTo>
                      <a:pt x="455" y="1147"/>
                    </a:lnTo>
                    <a:lnTo>
                      <a:pt x="454" y="1123"/>
                    </a:lnTo>
                    <a:lnTo>
                      <a:pt x="452" y="1099"/>
                    </a:lnTo>
                    <a:lnTo>
                      <a:pt x="448" y="1076"/>
                    </a:lnTo>
                    <a:lnTo>
                      <a:pt x="444" y="1054"/>
                    </a:lnTo>
                    <a:lnTo>
                      <a:pt x="440" y="1031"/>
                    </a:lnTo>
                    <a:lnTo>
                      <a:pt x="434" y="1008"/>
                    </a:lnTo>
                    <a:lnTo>
                      <a:pt x="429" y="986"/>
                    </a:lnTo>
                    <a:lnTo>
                      <a:pt x="422" y="964"/>
                    </a:lnTo>
                    <a:lnTo>
                      <a:pt x="409" y="919"/>
                    </a:lnTo>
                    <a:lnTo>
                      <a:pt x="395" y="875"/>
                    </a:lnTo>
                    <a:lnTo>
                      <a:pt x="386" y="846"/>
                    </a:lnTo>
                    <a:lnTo>
                      <a:pt x="377" y="818"/>
                    </a:lnTo>
                    <a:lnTo>
                      <a:pt x="368" y="789"/>
                    </a:lnTo>
                    <a:lnTo>
                      <a:pt x="361" y="760"/>
                    </a:lnTo>
                    <a:lnTo>
                      <a:pt x="353" y="731"/>
                    </a:lnTo>
                    <a:lnTo>
                      <a:pt x="347" y="701"/>
                    </a:lnTo>
                    <a:lnTo>
                      <a:pt x="341" y="671"/>
                    </a:lnTo>
                    <a:lnTo>
                      <a:pt x="337" y="640"/>
                    </a:lnTo>
                    <a:lnTo>
                      <a:pt x="334" y="619"/>
                    </a:lnTo>
                    <a:lnTo>
                      <a:pt x="330" y="598"/>
                    </a:lnTo>
                    <a:lnTo>
                      <a:pt x="325" y="578"/>
                    </a:lnTo>
                    <a:lnTo>
                      <a:pt x="321" y="556"/>
                    </a:lnTo>
                    <a:lnTo>
                      <a:pt x="309" y="515"/>
                    </a:lnTo>
                    <a:lnTo>
                      <a:pt x="295" y="474"/>
                    </a:lnTo>
                    <a:lnTo>
                      <a:pt x="279" y="433"/>
                    </a:lnTo>
                    <a:lnTo>
                      <a:pt x="263" y="393"/>
                    </a:lnTo>
                    <a:lnTo>
                      <a:pt x="245" y="353"/>
                    </a:lnTo>
                    <a:lnTo>
                      <a:pt x="228" y="313"/>
                    </a:lnTo>
                    <a:lnTo>
                      <a:pt x="220" y="296"/>
                    </a:lnTo>
                    <a:lnTo>
                      <a:pt x="214" y="284"/>
                    </a:lnTo>
                    <a:lnTo>
                      <a:pt x="206" y="270"/>
                    </a:lnTo>
                    <a:lnTo>
                      <a:pt x="198" y="255"/>
                    </a:lnTo>
                    <a:lnTo>
                      <a:pt x="188" y="239"/>
                    </a:lnTo>
                    <a:lnTo>
                      <a:pt x="171" y="210"/>
                    </a:lnTo>
                    <a:lnTo>
                      <a:pt x="152" y="178"/>
                    </a:lnTo>
                    <a:lnTo>
                      <a:pt x="145" y="162"/>
                    </a:lnTo>
                    <a:lnTo>
                      <a:pt x="136" y="146"/>
                    </a:lnTo>
                    <a:lnTo>
                      <a:pt x="129" y="131"/>
                    </a:lnTo>
                    <a:lnTo>
                      <a:pt x="122" y="115"/>
                    </a:lnTo>
                    <a:lnTo>
                      <a:pt x="117" y="99"/>
                    </a:lnTo>
                    <a:lnTo>
                      <a:pt x="112" y="83"/>
                    </a:lnTo>
                    <a:lnTo>
                      <a:pt x="110" y="69"/>
                    </a:lnTo>
                    <a:lnTo>
                      <a:pt x="108" y="55"/>
                    </a:lnTo>
                    <a:lnTo>
                      <a:pt x="108" y="41"/>
                    </a:lnTo>
                    <a:lnTo>
                      <a:pt x="110" y="28"/>
                    </a:lnTo>
                    <a:lnTo>
                      <a:pt x="112" y="22"/>
                    </a:lnTo>
                    <a:lnTo>
                      <a:pt x="115" y="16"/>
                    </a:lnTo>
                    <a:lnTo>
                      <a:pt x="118" y="11"/>
                    </a:lnTo>
                    <a:lnTo>
                      <a:pt x="121" y="6"/>
                    </a:lnTo>
                    <a:lnTo>
                      <a:pt x="125" y="1"/>
                    </a:lnTo>
                    <a:lnTo>
                      <a:pt x="130" y="0"/>
                    </a:lnTo>
                    <a:lnTo>
                      <a:pt x="135" y="0"/>
                    </a:lnTo>
                    <a:lnTo>
                      <a:pt x="139" y="2"/>
                    </a:lnTo>
                    <a:lnTo>
                      <a:pt x="144" y="7"/>
                    </a:lnTo>
                    <a:lnTo>
                      <a:pt x="146" y="11"/>
                    </a:lnTo>
                    <a:lnTo>
                      <a:pt x="145" y="16"/>
                    </a:lnTo>
                    <a:lnTo>
                      <a:pt x="143" y="21"/>
                    </a:lnTo>
                    <a:lnTo>
                      <a:pt x="141" y="25"/>
                    </a:lnTo>
                    <a:lnTo>
                      <a:pt x="138" y="29"/>
                    </a:lnTo>
                    <a:lnTo>
                      <a:pt x="137" y="34"/>
                    </a:lnTo>
                    <a:lnTo>
                      <a:pt x="136" y="39"/>
                    </a:lnTo>
                    <a:lnTo>
                      <a:pt x="135" y="50"/>
                    </a:lnTo>
                    <a:lnTo>
                      <a:pt x="136" y="61"/>
                    </a:lnTo>
                    <a:lnTo>
                      <a:pt x="138" y="74"/>
                    </a:lnTo>
                    <a:lnTo>
                      <a:pt x="142" y="87"/>
                    </a:lnTo>
                    <a:lnTo>
                      <a:pt x="146" y="101"/>
                    </a:lnTo>
                    <a:lnTo>
                      <a:pt x="151" y="114"/>
                    </a:lnTo>
                    <a:lnTo>
                      <a:pt x="164" y="143"/>
                    </a:lnTo>
                    <a:lnTo>
                      <a:pt x="179" y="171"/>
                    </a:lnTo>
                    <a:lnTo>
                      <a:pt x="196" y="199"/>
                    </a:lnTo>
                    <a:lnTo>
                      <a:pt x="211" y="225"/>
                    </a:lnTo>
                    <a:lnTo>
                      <a:pt x="222" y="242"/>
                    </a:lnTo>
                    <a:lnTo>
                      <a:pt x="230" y="258"/>
                    </a:lnTo>
                    <a:lnTo>
                      <a:pt x="239" y="272"/>
                    </a:lnTo>
                    <a:lnTo>
                      <a:pt x="244" y="285"/>
                    </a:lnTo>
                    <a:lnTo>
                      <a:pt x="252" y="301"/>
                    </a:lnTo>
                    <a:lnTo>
                      <a:pt x="269" y="341"/>
                    </a:lnTo>
                    <a:lnTo>
                      <a:pt x="287" y="381"/>
                    </a:lnTo>
                    <a:lnTo>
                      <a:pt x="304" y="422"/>
                    </a:lnTo>
                    <a:lnTo>
                      <a:pt x="320" y="464"/>
                    </a:lnTo>
                    <a:lnTo>
                      <a:pt x="334" y="506"/>
                    </a:lnTo>
                    <a:lnTo>
                      <a:pt x="347" y="550"/>
                    </a:lnTo>
                    <a:lnTo>
                      <a:pt x="352" y="571"/>
                    </a:lnTo>
                    <a:lnTo>
                      <a:pt x="357" y="593"/>
                    </a:lnTo>
                    <a:lnTo>
                      <a:pt x="361" y="615"/>
                    </a:lnTo>
                    <a:lnTo>
                      <a:pt x="363" y="637"/>
                    </a:lnTo>
                    <a:lnTo>
                      <a:pt x="367" y="666"/>
                    </a:lnTo>
                    <a:lnTo>
                      <a:pt x="373" y="696"/>
                    </a:lnTo>
                    <a:lnTo>
                      <a:pt x="379" y="726"/>
                    </a:lnTo>
                    <a:lnTo>
                      <a:pt x="387" y="755"/>
                    </a:lnTo>
                    <a:lnTo>
                      <a:pt x="394" y="783"/>
                    </a:lnTo>
                    <a:lnTo>
                      <a:pt x="403" y="811"/>
                    </a:lnTo>
                    <a:lnTo>
                      <a:pt x="412" y="839"/>
                    </a:lnTo>
                    <a:lnTo>
                      <a:pt x="420" y="866"/>
                    </a:lnTo>
                    <a:lnTo>
                      <a:pt x="435" y="910"/>
                    </a:lnTo>
                    <a:lnTo>
                      <a:pt x="448" y="956"/>
                    </a:lnTo>
                    <a:lnTo>
                      <a:pt x="455" y="978"/>
                    </a:lnTo>
                    <a:lnTo>
                      <a:pt x="460" y="1002"/>
                    </a:lnTo>
                    <a:lnTo>
                      <a:pt x="466" y="1025"/>
                    </a:lnTo>
                    <a:lnTo>
                      <a:pt x="471" y="1048"/>
                    </a:lnTo>
                    <a:lnTo>
                      <a:pt x="474" y="1072"/>
                    </a:lnTo>
                    <a:lnTo>
                      <a:pt x="477" y="1096"/>
                    </a:lnTo>
                    <a:lnTo>
                      <a:pt x="480" y="1121"/>
                    </a:lnTo>
                    <a:lnTo>
                      <a:pt x="482" y="1146"/>
                    </a:lnTo>
                    <a:lnTo>
                      <a:pt x="482" y="1171"/>
                    </a:lnTo>
                    <a:lnTo>
                      <a:pt x="481" y="1196"/>
                    </a:lnTo>
                    <a:lnTo>
                      <a:pt x="479" y="1223"/>
                    </a:lnTo>
                    <a:lnTo>
                      <a:pt x="474" y="1249"/>
                    </a:lnTo>
                    <a:lnTo>
                      <a:pt x="468" y="1287"/>
                    </a:lnTo>
                    <a:lnTo>
                      <a:pt x="459" y="1323"/>
                    </a:lnTo>
                    <a:lnTo>
                      <a:pt x="449" y="1358"/>
                    </a:lnTo>
                    <a:lnTo>
                      <a:pt x="437" y="1394"/>
                    </a:lnTo>
                    <a:lnTo>
                      <a:pt x="425" y="1428"/>
                    </a:lnTo>
                    <a:lnTo>
                      <a:pt x="412" y="1462"/>
                    </a:lnTo>
                    <a:lnTo>
                      <a:pt x="396" y="1495"/>
                    </a:lnTo>
                    <a:lnTo>
                      <a:pt x="380" y="1528"/>
                    </a:lnTo>
                    <a:lnTo>
                      <a:pt x="363" y="1560"/>
                    </a:lnTo>
                    <a:lnTo>
                      <a:pt x="346" y="1592"/>
                    </a:lnTo>
                    <a:lnTo>
                      <a:pt x="327" y="1624"/>
                    </a:lnTo>
                    <a:lnTo>
                      <a:pt x="309" y="1655"/>
                    </a:lnTo>
                    <a:lnTo>
                      <a:pt x="270" y="1717"/>
                    </a:lnTo>
                    <a:lnTo>
                      <a:pt x="231" y="1778"/>
                    </a:lnTo>
                    <a:lnTo>
                      <a:pt x="212" y="1808"/>
                    </a:lnTo>
                    <a:lnTo>
                      <a:pt x="191" y="1840"/>
                    </a:lnTo>
                    <a:lnTo>
                      <a:pt x="172" y="1872"/>
                    </a:lnTo>
                    <a:lnTo>
                      <a:pt x="152" y="1903"/>
                    </a:lnTo>
                    <a:lnTo>
                      <a:pt x="135" y="1932"/>
                    </a:lnTo>
                    <a:lnTo>
                      <a:pt x="119" y="1963"/>
                    </a:lnTo>
                    <a:lnTo>
                      <a:pt x="105" y="1993"/>
                    </a:lnTo>
                    <a:lnTo>
                      <a:pt x="92" y="2023"/>
                    </a:lnTo>
                    <a:lnTo>
                      <a:pt x="79" y="2053"/>
                    </a:lnTo>
                    <a:lnTo>
                      <a:pt x="68" y="2085"/>
                    </a:lnTo>
                    <a:lnTo>
                      <a:pt x="60" y="2116"/>
                    </a:lnTo>
                    <a:lnTo>
                      <a:pt x="51" y="2148"/>
                    </a:lnTo>
                    <a:lnTo>
                      <a:pt x="44" y="2180"/>
                    </a:lnTo>
                    <a:lnTo>
                      <a:pt x="38" y="2213"/>
                    </a:lnTo>
                    <a:lnTo>
                      <a:pt x="34" y="2247"/>
                    </a:lnTo>
                    <a:lnTo>
                      <a:pt x="30" y="2280"/>
                    </a:lnTo>
                    <a:lnTo>
                      <a:pt x="28" y="2315"/>
                    </a:lnTo>
                    <a:lnTo>
                      <a:pt x="27" y="2350"/>
                    </a:lnTo>
                    <a:lnTo>
                      <a:pt x="28" y="2386"/>
                    </a:lnTo>
                    <a:lnTo>
                      <a:pt x="29" y="2423"/>
                    </a:lnTo>
                    <a:lnTo>
                      <a:pt x="33" y="2462"/>
                    </a:lnTo>
                    <a:lnTo>
                      <a:pt x="35" y="2502"/>
                    </a:lnTo>
                    <a:lnTo>
                      <a:pt x="38" y="2541"/>
                    </a:lnTo>
                    <a:lnTo>
                      <a:pt x="42" y="2581"/>
                    </a:lnTo>
                    <a:lnTo>
                      <a:pt x="46" y="2621"/>
                    </a:lnTo>
                    <a:lnTo>
                      <a:pt x="50" y="2661"/>
                    </a:lnTo>
                    <a:lnTo>
                      <a:pt x="53" y="2700"/>
                    </a:lnTo>
                    <a:lnTo>
                      <a:pt x="57" y="2739"/>
                    </a:lnTo>
                    <a:lnTo>
                      <a:pt x="63" y="2788"/>
                    </a:lnTo>
                    <a:lnTo>
                      <a:pt x="67" y="2838"/>
                    </a:lnTo>
                    <a:lnTo>
                      <a:pt x="73" y="2888"/>
                    </a:lnTo>
                    <a:lnTo>
                      <a:pt x="77" y="2937"/>
                    </a:lnTo>
                    <a:lnTo>
                      <a:pt x="81" y="2988"/>
                    </a:lnTo>
                    <a:lnTo>
                      <a:pt x="84" y="3039"/>
                    </a:lnTo>
                    <a:lnTo>
                      <a:pt x="87" y="3090"/>
                    </a:lnTo>
                    <a:lnTo>
                      <a:pt x="89" y="3139"/>
                    </a:lnTo>
                    <a:lnTo>
                      <a:pt x="92" y="3217"/>
                    </a:lnTo>
                    <a:lnTo>
                      <a:pt x="96" y="3296"/>
                    </a:lnTo>
                    <a:lnTo>
                      <a:pt x="101" y="3337"/>
                    </a:lnTo>
                    <a:lnTo>
                      <a:pt x="105" y="3377"/>
                    </a:lnTo>
                    <a:lnTo>
                      <a:pt x="111" y="3417"/>
                    </a:lnTo>
                    <a:lnTo>
                      <a:pt x="120" y="3456"/>
                    </a:lnTo>
                    <a:lnTo>
                      <a:pt x="124" y="3475"/>
                    </a:lnTo>
                    <a:lnTo>
                      <a:pt x="130" y="3494"/>
                    </a:lnTo>
                    <a:lnTo>
                      <a:pt x="135" y="3514"/>
                    </a:lnTo>
                    <a:lnTo>
                      <a:pt x="142" y="3532"/>
                    </a:lnTo>
                    <a:lnTo>
                      <a:pt x="149" y="3551"/>
                    </a:lnTo>
                    <a:lnTo>
                      <a:pt x="157" y="3569"/>
                    </a:lnTo>
                    <a:lnTo>
                      <a:pt x="164" y="3586"/>
                    </a:lnTo>
                    <a:lnTo>
                      <a:pt x="174" y="3603"/>
                    </a:lnTo>
                    <a:lnTo>
                      <a:pt x="183" y="3621"/>
                    </a:lnTo>
                    <a:lnTo>
                      <a:pt x="193" y="3637"/>
                    </a:lnTo>
                    <a:lnTo>
                      <a:pt x="204" y="3652"/>
                    </a:lnTo>
                    <a:lnTo>
                      <a:pt x="216" y="3668"/>
                    </a:lnTo>
                    <a:lnTo>
                      <a:pt x="229" y="3682"/>
                    </a:lnTo>
                    <a:lnTo>
                      <a:pt x="243" y="3696"/>
                    </a:lnTo>
                    <a:lnTo>
                      <a:pt x="257" y="3710"/>
                    </a:lnTo>
                    <a:lnTo>
                      <a:pt x="272" y="3723"/>
                    </a:lnTo>
                    <a:lnTo>
                      <a:pt x="277" y="3728"/>
                    </a:lnTo>
                    <a:lnTo>
                      <a:pt x="278" y="3732"/>
                    </a:lnTo>
                    <a:lnTo>
                      <a:pt x="278" y="3737"/>
                    </a:lnTo>
                    <a:lnTo>
                      <a:pt x="274" y="3743"/>
                    </a:lnTo>
                    <a:lnTo>
                      <a:pt x="272" y="3745"/>
                    </a:lnTo>
                    <a:lnTo>
                      <a:pt x="270" y="3746"/>
                    </a:lnTo>
                    <a:lnTo>
                      <a:pt x="267" y="3747"/>
                    </a:lnTo>
                    <a:lnTo>
                      <a:pt x="265" y="37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55"/>
              <p:cNvSpPr>
                <a:spLocks noEditPoints="1"/>
              </p:cNvSpPr>
              <p:nvPr userDrawn="1"/>
            </p:nvSpPr>
            <p:spPr bwMode="auto">
              <a:xfrm>
                <a:off x="2402" y="2509"/>
                <a:ext cx="227" cy="639"/>
              </a:xfrm>
              <a:custGeom>
                <a:avLst/>
                <a:gdLst>
                  <a:gd name="T0" fmla="*/ 35 w 681"/>
                  <a:gd name="T1" fmla="*/ 1914 h 1917"/>
                  <a:gd name="T2" fmla="*/ 22 w 681"/>
                  <a:gd name="T3" fmla="*/ 1849 h 1917"/>
                  <a:gd name="T4" fmla="*/ 2 w 681"/>
                  <a:gd name="T5" fmla="*/ 1646 h 1917"/>
                  <a:gd name="T6" fmla="*/ 2 w 681"/>
                  <a:gd name="T7" fmla="*/ 1394 h 1917"/>
                  <a:gd name="T8" fmla="*/ 19 w 681"/>
                  <a:gd name="T9" fmla="*/ 1165 h 1917"/>
                  <a:gd name="T10" fmla="*/ 49 w 681"/>
                  <a:gd name="T11" fmla="*/ 943 h 1917"/>
                  <a:gd name="T12" fmla="*/ 90 w 681"/>
                  <a:gd name="T13" fmla="*/ 734 h 1917"/>
                  <a:gd name="T14" fmla="*/ 141 w 681"/>
                  <a:gd name="T15" fmla="*/ 539 h 1917"/>
                  <a:gd name="T16" fmla="*/ 198 w 681"/>
                  <a:gd name="T17" fmla="*/ 363 h 1917"/>
                  <a:gd name="T18" fmla="*/ 261 w 681"/>
                  <a:gd name="T19" fmla="*/ 209 h 1917"/>
                  <a:gd name="T20" fmla="*/ 325 w 681"/>
                  <a:gd name="T21" fmla="*/ 81 h 1917"/>
                  <a:gd name="T22" fmla="*/ 376 w 681"/>
                  <a:gd name="T23" fmla="*/ 2 h 1917"/>
                  <a:gd name="T24" fmla="*/ 395 w 681"/>
                  <a:gd name="T25" fmla="*/ 4 h 1917"/>
                  <a:gd name="T26" fmla="*/ 394 w 681"/>
                  <a:gd name="T27" fmla="*/ 28 h 1917"/>
                  <a:gd name="T28" fmla="*/ 379 w 681"/>
                  <a:gd name="T29" fmla="*/ 79 h 1917"/>
                  <a:gd name="T30" fmla="*/ 365 w 681"/>
                  <a:gd name="T31" fmla="*/ 167 h 1917"/>
                  <a:gd name="T32" fmla="*/ 359 w 681"/>
                  <a:gd name="T33" fmla="*/ 297 h 1917"/>
                  <a:gd name="T34" fmla="*/ 374 w 681"/>
                  <a:gd name="T35" fmla="*/ 496 h 1917"/>
                  <a:gd name="T36" fmla="*/ 399 w 681"/>
                  <a:gd name="T37" fmla="*/ 720 h 1917"/>
                  <a:gd name="T38" fmla="*/ 419 w 681"/>
                  <a:gd name="T39" fmla="*/ 1021 h 1917"/>
                  <a:gd name="T40" fmla="*/ 428 w 681"/>
                  <a:gd name="T41" fmla="*/ 1215 h 1917"/>
                  <a:gd name="T42" fmla="*/ 444 w 681"/>
                  <a:gd name="T43" fmla="*/ 1332 h 1917"/>
                  <a:gd name="T44" fmla="*/ 470 w 681"/>
                  <a:gd name="T45" fmla="*/ 1429 h 1917"/>
                  <a:gd name="T46" fmla="*/ 504 w 681"/>
                  <a:gd name="T47" fmla="*/ 1509 h 1917"/>
                  <a:gd name="T48" fmla="*/ 542 w 681"/>
                  <a:gd name="T49" fmla="*/ 1575 h 1917"/>
                  <a:gd name="T50" fmla="*/ 614 w 681"/>
                  <a:gd name="T51" fmla="*/ 1660 h 1917"/>
                  <a:gd name="T52" fmla="*/ 678 w 681"/>
                  <a:gd name="T53" fmla="*/ 1713 h 1917"/>
                  <a:gd name="T54" fmla="*/ 680 w 681"/>
                  <a:gd name="T55" fmla="*/ 1727 h 1917"/>
                  <a:gd name="T56" fmla="*/ 643 w 681"/>
                  <a:gd name="T57" fmla="*/ 1743 h 1917"/>
                  <a:gd name="T58" fmla="*/ 529 w 681"/>
                  <a:gd name="T59" fmla="*/ 1769 h 1917"/>
                  <a:gd name="T60" fmla="*/ 395 w 681"/>
                  <a:gd name="T61" fmla="*/ 1792 h 1917"/>
                  <a:gd name="T62" fmla="*/ 272 w 681"/>
                  <a:gd name="T63" fmla="*/ 1817 h 1917"/>
                  <a:gd name="T64" fmla="*/ 173 w 681"/>
                  <a:gd name="T65" fmla="*/ 1849 h 1917"/>
                  <a:gd name="T66" fmla="*/ 76 w 681"/>
                  <a:gd name="T67" fmla="*/ 1899 h 1917"/>
                  <a:gd name="T68" fmla="*/ 346 w 681"/>
                  <a:gd name="T69" fmla="*/ 98 h 1917"/>
                  <a:gd name="T70" fmla="*/ 303 w 681"/>
                  <a:gd name="T71" fmla="*/ 182 h 1917"/>
                  <a:gd name="T72" fmla="*/ 247 w 681"/>
                  <a:gd name="T73" fmla="*/ 315 h 1917"/>
                  <a:gd name="T74" fmla="*/ 193 w 681"/>
                  <a:gd name="T75" fmla="*/ 466 h 1917"/>
                  <a:gd name="T76" fmla="*/ 144 w 681"/>
                  <a:gd name="T77" fmla="*/ 634 h 1917"/>
                  <a:gd name="T78" fmla="*/ 102 w 681"/>
                  <a:gd name="T79" fmla="*/ 815 h 1917"/>
                  <a:gd name="T80" fmla="*/ 68 w 681"/>
                  <a:gd name="T81" fmla="*/ 1005 h 1917"/>
                  <a:gd name="T82" fmla="*/ 43 w 681"/>
                  <a:gd name="T83" fmla="*/ 1201 h 1917"/>
                  <a:gd name="T84" fmla="*/ 29 w 681"/>
                  <a:gd name="T85" fmla="*/ 1402 h 1917"/>
                  <a:gd name="T86" fmla="*/ 29 w 681"/>
                  <a:gd name="T87" fmla="*/ 1637 h 1917"/>
                  <a:gd name="T88" fmla="*/ 47 w 681"/>
                  <a:gd name="T89" fmla="*/ 1830 h 1917"/>
                  <a:gd name="T90" fmla="*/ 128 w 681"/>
                  <a:gd name="T91" fmla="*/ 1840 h 1917"/>
                  <a:gd name="T92" fmla="*/ 225 w 681"/>
                  <a:gd name="T93" fmla="*/ 1803 h 1917"/>
                  <a:gd name="T94" fmla="*/ 393 w 681"/>
                  <a:gd name="T95" fmla="*/ 1764 h 1917"/>
                  <a:gd name="T96" fmla="*/ 514 w 681"/>
                  <a:gd name="T97" fmla="*/ 1744 h 1917"/>
                  <a:gd name="T98" fmla="*/ 613 w 681"/>
                  <a:gd name="T99" fmla="*/ 1723 h 1917"/>
                  <a:gd name="T100" fmla="*/ 587 w 681"/>
                  <a:gd name="T101" fmla="*/ 1673 h 1917"/>
                  <a:gd name="T102" fmla="*/ 520 w 681"/>
                  <a:gd name="T103" fmla="*/ 1590 h 1917"/>
                  <a:gd name="T104" fmla="*/ 481 w 681"/>
                  <a:gd name="T105" fmla="*/ 1524 h 1917"/>
                  <a:gd name="T106" fmla="*/ 448 w 681"/>
                  <a:gd name="T107" fmla="*/ 1441 h 1917"/>
                  <a:gd name="T108" fmla="*/ 420 w 681"/>
                  <a:gd name="T109" fmla="*/ 1341 h 1917"/>
                  <a:gd name="T110" fmla="*/ 401 w 681"/>
                  <a:gd name="T111" fmla="*/ 1221 h 1917"/>
                  <a:gd name="T112" fmla="*/ 392 w 681"/>
                  <a:gd name="T113" fmla="*/ 1022 h 1917"/>
                  <a:gd name="T114" fmla="*/ 372 w 681"/>
                  <a:gd name="T115" fmla="*/ 722 h 1917"/>
                  <a:gd name="T116" fmla="*/ 347 w 681"/>
                  <a:gd name="T117" fmla="*/ 499 h 1917"/>
                  <a:gd name="T118" fmla="*/ 332 w 681"/>
                  <a:gd name="T119" fmla="*/ 296 h 1917"/>
                  <a:gd name="T120" fmla="*/ 338 w 681"/>
                  <a:gd name="T121" fmla="*/ 164 h 1917"/>
                  <a:gd name="T122" fmla="*/ 345 w 681"/>
                  <a:gd name="T123" fmla="*/ 108 h 1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1" h="1917">
                    <a:moveTo>
                      <a:pt x="44" y="1917"/>
                    </a:moveTo>
                    <a:lnTo>
                      <a:pt x="42" y="1916"/>
                    </a:lnTo>
                    <a:lnTo>
                      <a:pt x="38" y="1916"/>
                    </a:lnTo>
                    <a:lnTo>
                      <a:pt x="35" y="1914"/>
                    </a:lnTo>
                    <a:lnTo>
                      <a:pt x="33" y="1912"/>
                    </a:lnTo>
                    <a:lnTo>
                      <a:pt x="32" y="1908"/>
                    </a:lnTo>
                    <a:lnTo>
                      <a:pt x="31" y="1905"/>
                    </a:lnTo>
                    <a:lnTo>
                      <a:pt x="22" y="1849"/>
                    </a:lnTo>
                    <a:lnTo>
                      <a:pt x="16" y="1798"/>
                    </a:lnTo>
                    <a:lnTo>
                      <a:pt x="10" y="1749"/>
                    </a:lnTo>
                    <a:lnTo>
                      <a:pt x="5" y="1699"/>
                    </a:lnTo>
                    <a:lnTo>
                      <a:pt x="2" y="1646"/>
                    </a:lnTo>
                    <a:lnTo>
                      <a:pt x="0" y="1589"/>
                    </a:lnTo>
                    <a:lnTo>
                      <a:pt x="0" y="1525"/>
                    </a:lnTo>
                    <a:lnTo>
                      <a:pt x="1" y="1451"/>
                    </a:lnTo>
                    <a:lnTo>
                      <a:pt x="2" y="1394"/>
                    </a:lnTo>
                    <a:lnTo>
                      <a:pt x="5" y="1335"/>
                    </a:lnTo>
                    <a:lnTo>
                      <a:pt x="8" y="1278"/>
                    </a:lnTo>
                    <a:lnTo>
                      <a:pt x="14" y="1222"/>
                    </a:lnTo>
                    <a:lnTo>
                      <a:pt x="19" y="1165"/>
                    </a:lnTo>
                    <a:lnTo>
                      <a:pt x="26" y="1109"/>
                    </a:lnTo>
                    <a:lnTo>
                      <a:pt x="32" y="1053"/>
                    </a:lnTo>
                    <a:lnTo>
                      <a:pt x="41" y="998"/>
                    </a:lnTo>
                    <a:lnTo>
                      <a:pt x="49" y="943"/>
                    </a:lnTo>
                    <a:lnTo>
                      <a:pt x="58" y="890"/>
                    </a:lnTo>
                    <a:lnTo>
                      <a:pt x="69" y="838"/>
                    </a:lnTo>
                    <a:lnTo>
                      <a:pt x="79" y="785"/>
                    </a:lnTo>
                    <a:lnTo>
                      <a:pt x="90" y="734"/>
                    </a:lnTo>
                    <a:lnTo>
                      <a:pt x="102" y="683"/>
                    </a:lnTo>
                    <a:lnTo>
                      <a:pt x="115" y="635"/>
                    </a:lnTo>
                    <a:lnTo>
                      <a:pt x="128" y="586"/>
                    </a:lnTo>
                    <a:lnTo>
                      <a:pt x="141" y="539"/>
                    </a:lnTo>
                    <a:lnTo>
                      <a:pt x="155" y="493"/>
                    </a:lnTo>
                    <a:lnTo>
                      <a:pt x="169" y="448"/>
                    </a:lnTo>
                    <a:lnTo>
                      <a:pt x="184" y="405"/>
                    </a:lnTo>
                    <a:lnTo>
                      <a:pt x="198" y="363"/>
                    </a:lnTo>
                    <a:lnTo>
                      <a:pt x="213" y="322"/>
                    </a:lnTo>
                    <a:lnTo>
                      <a:pt x="230" y="283"/>
                    </a:lnTo>
                    <a:lnTo>
                      <a:pt x="245" y="245"/>
                    </a:lnTo>
                    <a:lnTo>
                      <a:pt x="261" y="209"/>
                    </a:lnTo>
                    <a:lnTo>
                      <a:pt x="277" y="175"/>
                    </a:lnTo>
                    <a:lnTo>
                      <a:pt x="292" y="141"/>
                    </a:lnTo>
                    <a:lnTo>
                      <a:pt x="308" y="111"/>
                    </a:lnTo>
                    <a:lnTo>
                      <a:pt x="325" y="81"/>
                    </a:lnTo>
                    <a:lnTo>
                      <a:pt x="341" y="54"/>
                    </a:lnTo>
                    <a:lnTo>
                      <a:pt x="357" y="28"/>
                    </a:lnTo>
                    <a:lnTo>
                      <a:pt x="373" y="5"/>
                    </a:lnTo>
                    <a:lnTo>
                      <a:pt x="376" y="2"/>
                    </a:lnTo>
                    <a:lnTo>
                      <a:pt x="381" y="0"/>
                    </a:lnTo>
                    <a:lnTo>
                      <a:pt x="386" y="0"/>
                    </a:lnTo>
                    <a:lnTo>
                      <a:pt x="390" y="1"/>
                    </a:lnTo>
                    <a:lnTo>
                      <a:pt x="395" y="4"/>
                    </a:lnTo>
                    <a:lnTo>
                      <a:pt x="397" y="9"/>
                    </a:lnTo>
                    <a:lnTo>
                      <a:pt x="398" y="13"/>
                    </a:lnTo>
                    <a:lnTo>
                      <a:pt x="397" y="17"/>
                    </a:lnTo>
                    <a:lnTo>
                      <a:pt x="394" y="28"/>
                    </a:lnTo>
                    <a:lnTo>
                      <a:pt x="389" y="38"/>
                    </a:lnTo>
                    <a:lnTo>
                      <a:pt x="387" y="47"/>
                    </a:lnTo>
                    <a:lnTo>
                      <a:pt x="384" y="57"/>
                    </a:lnTo>
                    <a:lnTo>
                      <a:pt x="379" y="79"/>
                    </a:lnTo>
                    <a:lnTo>
                      <a:pt x="374" y="99"/>
                    </a:lnTo>
                    <a:lnTo>
                      <a:pt x="370" y="119"/>
                    </a:lnTo>
                    <a:lnTo>
                      <a:pt x="368" y="139"/>
                    </a:lnTo>
                    <a:lnTo>
                      <a:pt x="365" y="167"/>
                    </a:lnTo>
                    <a:lnTo>
                      <a:pt x="362" y="194"/>
                    </a:lnTo>
                    <a:lnTo>
                      <a:pt x="360" y="220"/>
                    </a:lnTo>
                    <a:lnTo>
                      <a:pt x="360" y="246"/>
                    </a:lnTo>
                    <a:lnTo>
                      <a:pt x="359" y="297"/>
                    </a:lnTo>
                    <a:lnTo>
                      <a:pt x="360" y="345"/>
                    </a:lnTo>
                    <a:lnTo>
                      <a:pt x="363" y="395"/>
                    </a:lnTo>
                    <a:lnTo>
                      <a:pt x="369" y="445"/>
                    </a:lnTo>
                    <a:lnTo>
                      <a:pt x="374" y="496"/>
                    </a:lnTo>
                    <a:lnTo>
                      <a:pt x="381" y="552"/>
                    </a:lnTo>
                    <a:lnTo>
                      <a:pt x="386" y="603"/>
                    </a:lnTo>
                    <a:lnTo>
                      <a:pt x="393" y="659"/>
                    </a:lnTo>
                    <a:lnTo>
                      <a:pt x="399" y="720"/>
                    </a:lnTo>
                    <a:lnTo>
                      <a:pt x="405" y="786"/>
                    </a:lnTo>
                    <a:lnTo>
                      <a:pt x="410" y="857"/>
                    </a:lnTo>
                    <a:lnTo>
                      <a:pt x="415" y="936"/>
                    </a:lnTo>
                    <a:lnTo>
                      <a:pt x="419" y="1021"/>
                    </a:lnTo>
                    <a:lnTo>
                      <a:pt x="422" y="1115"/>
                    </a:lnTo>
                    <a:lnTo>
                      <a:pt x="423" y="1151"/>
                    </a:lnTo>
                    <a:lnTo>
                      <a:pt x="425" y="1184"/>
                    </a:lnTo>
                    <a:lnTo>
                      <a:pt x="428" y="1215"/>
                    </a:lnTo>
                    <a:lnTo>
                      <a:pt x="432" y="1247"/>
                    </a:lnTo>
                    <a:lnTo>
                      <a:pt x="435" y="1276"/>
                    </a:lnTo>
                    <a:lnTo>
                      <a:pt x="440" y="1305"/>
                    </a:lnTo>
                    <a:lnTo>
                      <a:pt x="444" y="1332"/>
                    </a:lnTo>
                    <a:lnTo>
                      <a:pt x="451" y="1358"/>
                    </a:lnTo>
                    <a:lnTo>
                      <a:pt x="456" y="1383"/>
                    </a:lnTo>
                    <a:lnTo>
                      <a:pt x="464" y="1406"/>
                    </a:lnTo>
                    <a:lnTo>
                      <a:pt x="470" y="1429"/>
                    </a:lnTo>
                    <a:lnTo>
                      <a:pt x="478" y="1451"/>
                    </a:lnTo>
                    <a:lnTo>
                      <a:pt x="487" y="1471"/>
                    </a:lnTo>
                    <a:lnTo>
                      <a:pt x="495" y="1491"/>
                    </a:lnTo>
                    <a:lnTo>
                      <a:pt x="504" y="1509"/>
                    </a:lnTo>
                    <a:lnTo>
                      <a:pt x="512" y="1527"/>
                    </a:lnTo>
                    <a:lnTo>
                      <a:pt x="522" y="1544"/>
                    </a:lnTo>
                    <a:lnTo>
                      <a:pt x="532" y="1560"/>
                    </a:lnTo>
                    <a:lnTo>
                      <a:pt x="542" y="1575"/>
                    </a:lnTo>
                    <a:lnTo>
                      <a:pt x="551" y="1590"/>
                    </a:lnTo>
                    <a:lnTo>
                      <a:pt x="572" y="1616"/>
                    </a:lnTo>
                    <a:lnTo>
                      <a:pt x="593" y="1640"/>
                    </a:lnTo>
                    <a:lnTo>
                      <a:pt x="614" y="1660"/>
                    </a:lnTo>
                    <a:lnTo>
                      <a:pt x="635" y="1680"/>
                    </a:lnTo>
                    <a:lnTo>
                      <a:pt x="655" y="1696"/>
                    </a:lnTo>
                    <a:lnTo>
                      <a:pt x="676" y="1710"/>
                    </a:lnTo>
                    <a:lnTo>
                      <a:pt x="678" y="1713"/>
                    </a:lnTo>
                    <a:lnTo>
                      <a:pt x="680" y="1716"/>
                    </a:lnTo>
                    <a:lnTo>
                      <a:pt x="681" y="1720"/>
                    </a:lnTo>
                    <a:lnTo>
                      <a:pt x="681" y="1724"/>
                    </a:lnTo>
                    <a:lnTo>
                      <a:pt x="680" y="1727"/>
                    </a:lnTo>
                    <a:lnTo>
                      <a:pt x="678" y="1730"/>
                    </a:lnTo>
                    <a:lnTo>
                      <a:pt x="676" y="1732"/>
                    </a:lnTo>
                    <a:lnTo>
                      <a:pt x="672" y="1735"/>
                    </a:lnTo>
                    <a:lnTo>
                      <a:pt x="643" y="1743"/>
                    </a:lnTo>
                    <a:lnTo>
                      <a:pt x="614" y="1751"/>
                    </a:lnTo>
                    <a:lnTo>
                      <a:pt x="586" y="1757"/>
                    </a:lnTo>
                    <a:lnTo>
                      <a:pt x="558" y="1764"/>
                    </a:lnTo>
                    <a:lnTo>
                      <a:pt x="529" y="1769"/>
                    </a:lnTo>
                    <a:lnTo>
                      <a:pt x="501" y="1773"/>
                    </a:lnTo>
                    <a:lnTo>
                      <a:pt x="473" y="1779"/>
                    </a:lnTo>
                    <a:lnTo>
                      <a:pt x="444" y="1783"/>
                    </a:lnTo>
                    <a:lnTo>
                      <a:pt x="395" y="1792"/>
                    </a:lnTo>
                    <a:lnTo>
                      <a:pt x="345" y="1800"/>
                    </a:lnTo>
                    <a:lnTo>
                      <a:pt x="320" y="1805"/>
                    </a:lnTo>
                    <a:lnTo>
                      <a:pt x="295" y="1811"/>
                    </a:lnTo>
                    <a:lnTo>
                      <a:pt x="272" y="1817"/>
                    </a:lnTo>
                    <a:lnTo>
                      <a:pt x="247" y="1823"/>
                    </a:lnTo>
                    <a:lnTo>
                      <a:pt x="222" y="1831"/>
                    </a:lnTo>
                    <a:lnTo>
                      <a:pt x="198" y="1839"/>
                    </a:lnTo>
                    <a:lnTo>
                      <a:pt x="173" y="1849"/>
                    </a:lnTo>
                    <a:lnTo>
                      <a:pt x="150" y="1860"/>
                    </a:lnTo>
                    <a:lnTo>
                      <a:pt x="125" y="1871"/>
                    </a:lnTo>
                    <a:lnTo>
                      <a:pt x="101" y="1884"/>
                    </a:lnTo>
                    <a:lnTo>
                      <a:pt x="76" y="1899"/>
                    </a:lnTo>
                    <a:lnTo>
                      <a:pt x="51" y="1915"/>
                    </a:lnTo>
                    <a:lnTo>
                      <a:pt x="48" y="1916"/>
                    </a:lnTo>
                    <a:lnTo>
                      <a:pt x="44" y="1917"/>
                    </a:lnTo>
                    <a:close/>
                    <a:moveTo>
                      <a:pt x="346" y="98"/>
                    </a:moveTo>
                    <a:lnTo>
                      <a:pt x="346" y="98"/>
                    </a:lnTo>
                    <a:lnTo>
                      <a:pt x="332" y="125"/>
                    </a:lnTo>
                    <a:lnTo>
                      <a:pt x="317" y="153"/>
                    </a:lnTo>
                    <a:lnTo>
                      <a:pt x="303" y="182"/>
                    </a:lnTo>
                    <a:lnTo>
                      <a:pt x="289" y="214"/>
                    </a:lnTo>
                    <a:lnTo>
                      <a:pt x="275" y="246"/>
                    </a:lnTo>
                    <a:lnTo>
                      <a:pt x="260" y="279"/>
                    </a:lnTo>
                    <a:lnTo>
                      <a:pt x="247" y="315"/>
                    </a:lnTo>
                    <a:lnTo>
                      <a:pt x="233" y="351"/>
                    </a:lnTo>
                    <a:lnTo>
                      <a:pt x="219" y="389"/>
                    </a:lnTo>
                    <a:lnTo>
                      <a:pt x="206" y="426"/>
                    </a:lnTo>
                    <a:lnTo>
                      <a:pt x="193" y="466"/>
                    </a:lnTo>
                    <a:lnTo>
                      <a:pt x="180" y="507"/>
                    </a:lnTo>
                    <a:lnTo>
                      <a:pt x="168" y="548"/>
                    </a:lnTo>
                    <a:lnTo>
                      <a:pt x="156" y="590"/>
                    </a:lnTo>
                    <a:lnTo>
                      <a:pt x="144" y="634"/>
                    </a:lnTo>
                    <a:lnTo>
                      <a:pt x="132" y="678"/>
                    </a:lnTo>
                    <a:lnTo>
                      <a:pt x="122" y="723"/>
                    </a:lnTo>
                    <a:lnTo>
                      <a:pt x="112" y="768"/>
                    </a:lnTo>
                    <a:lnTo>
                      <a:pt x="102" y="815"/>
                    </a:lnTo>
                    <a:lnTo>
                      <a:pt x="92" y="861"/>
                    </a:lnTo>
                    <a:lnTo>
                      <a:pt x="84" y="909"/>
                    </a:lnTo>
                    <a:lnTo>
                      <a:pt x="75" y="956"/>
                    </a:lnTo>
                    <a:lnTo>
                      <a:pt x="68" y="1005"/>
                    </a:lnTo>
                    <a:lnTo>
                      <a:pt x="60" y="1053"/>
                    </a:lnTo>
                    <a:lnTo>
                      <a:pt x="54" y="1102"/>
                    </a:lnTo>
                    <a:lnTo>
                      <a:pt x="48" y="1152"/>
                    </a:lnTo>
                    <a:lnTo>
                      <a:pt x="43" y="1201"/>
                    </a:lnTo>
                    <a:lnTo>
                      <a:pt x="38" y="1251"/>
                    </a:lnTo>
                    <a:lnTo>
                      <a:pt x="34" y="1302"/>
                    </a:lnTo>
                    <a:lnTo>
                      <a:pt x="31" y="1351"/>
                    </a:lnTo>
                    <a:lnTo>
                      <a:pt x="29" y="1402"/>
                    </a:lnTo>
                    <a:lnTo>
                      <a:pt x="28" y="1452"/>
                    </a:lnTo>
                    <a:lnTo>
                      <a:pt x="27" y="1522"/>
                    </a:lnTo>
                    <a:lnTo>
                      <a:pt x="27" y="1582"/>
                    </a:lnTo>
                    <a:lnTo>
                      <a:pt x="29" y="1637"/>
                    </a:lnTo>
                    <a:lnTo>
                      <a:pt x="32" y="1687"/>
                    </a:lnTo>
                    <a:lnTo>
                      <a:pt x="36" y="1735"/>
                    </a:lnTo>
                    <a:lnTo>
                      <a:pt x="41" y="1781"/>
                    </a:lnTo>
                    <a:lnTo>
                      <a:pt x="47" y="1830"/>
                    </a:lnTo>
                    <a:lnTo>
                      <a:pt x="55" y="1880"/>
                    </a:lnTo>
                    <a:lnTo>
                      <a:pt x="78" y="1865"/>
                    </a:lnTo>
                    <a:lnTo>
                      <a:pt x="103" y="1852"/>
                    </a:lnTo>
                    <a:lnTo>
                      <a:pt x="128" y="1840"/>
                    </a:lnTo>
                    <a:lnTo>
                      <a:pt x="152" y="1829"/>
                    </a:lnTo>
                    <a:lnTo>
                      <a:pt x="177" y="1819"/>
                    </a:lnTo>
                    <a:lnTo>
                      <a:pt x="200" y="1810"/>
                    </a:lnTo>
                    <a:lnTo>
                      <a:pt x="225" y="1803"/>
                    </a:lnTo>
                    <a:lnTo>
                      <a:pt x="249" y="1795"/>
                    </a:lnTo>
                    <a:lnTo>
                      <a:pt x="298" y="1783"/>
                    </a:lnTo>
                    <a:lnTo>
                      <a:pt x="345" y="1772"/>
                    </a:lnTo>
                    <a:lnTo>
                      <a:pt x="393" y="1764"/>
                    </a:lnTo>
                    <a:lnTo>
                      <a:pt x="440" y="1756"/>
                    </a:lnTo>
                    <a:lnTo>
                      <a:pt x="465" y="1753"/>
                    </a:lnTo>
                    <a:lnTo>
                      <a:pt x="490" y="1749"/>
                    </a:lnTo>
                    <a:lnTo>
                      <a:pt x="514" y="1744"/>
                    </a:lnTo>
                    <a:lnTo>
                      <a:pt x="538" y="1740"/>
                    </a:lnTo>
                    <a:lnTo>
                      <a:pt x="563" y="1735"/>
                    </a:lnTo>
                    <a:lnTo>
                      <a:pt x="588" y="1729"/>
                    </a:lnTo>
                    <a:lnTo>
                      <a:pt x="613" y="1723"/>
                    </a:lnTo>
                    <a:lnTo>
                      <a:pt x="638" y="1716"/>
                    </a:lnTo>
                    <a:lnTo>
                      <a:pt x="623" y="1704"/>
                    </a:lnTo>
                    <a:lnTo>
                      <a:pt x="605" y="1690"/>
                    </a:lnTo>
                    <a:lnTo>
                      <a:pt x="587" y="1673"/>
                    </a:lnTo>
                    <a:lnTo>
                      <a:pt x="569" y="1654"/>
                    </a:lnTo>
                    <a:lnTo>
                      <a:pt x="549" y="1631"/>
                    </a:lnTo>
                    <a:lnTo>
                      <a:pt x="530" y="1604"/>
                    </a:lnTo>
                    <a:lnTo>
                      <a:pt x="520" y="1590"/>
                    </a:lnTo>
                    <a:lnTo>
                      <a:pt x="510" y="1575"/>
                    </a:lnTo>
                    <a:lnTo>
                      <a:pt x="501" y="1559"/>
                    </a:lnTo>
                    <a:lnTo>
                      <a:pt x="491" y="1541"/>
                    </a:lnTo>
                    <a:lnTo>
                      <a:pt x="481" y="1524"/>
                    </a:lnTo>
                    <a:lnTo>
                      <a:pt x="473" y="1505"/>
                    </a:lnTo>
                    <a:lnTo>
                      <a:pt x="464" y="1484"/>
                    </a:lnTo>
                    <a:lnTo>
                      <a:pt x="455" y="1464"/>
                    </a:lnTo>
                    <a:lnTo>
                      <a:pt x="448" y="1441"/>
                    </a:lnTo>
                    <a:lnTo>
                      <a:pt x="440" y="1418"/>
                    </a:lnTo>
                    <a:lnTo>
                      <a:pt x="433" y="1394"/>
                    </a:lnTo>
                    <a:lnTo>
                      <a:pt x="426" y="1368"/>
                    </a:lnTo>
                    <a:lnTo>
                      <a:pt x="420" y="1341"/>
                    </a:lnTo>
                    <a:lnTo>
                      <a:pt x="414" y="1313"/>
                    </a:lnTo>
                    <a:lnTo>
                      <a:pt x="409" y="1283"/>
                    </a:lnTo>
                    <a:lnTo>
                      <a:pt x="405" y="1252"/>
                    </a:lnTo>
                    <a:lnTo>
                      <a:pt x="401" y="1221"/>
                    </a:lnTo>
                    <a:lnTo>
                      <a:pt x="398" y="1187"/>
                    </a:lnTo>
                    <a:lnTo>
                      <a:pt x="396" y="1152"/>
                    </a:lnTo>
                    <a:lnTo>
                      <a:pt x="395" y="1116"/>
                    </a:lnTo>
                    <a:lnTo>
                      <a:pt x="392" y="1022"/>
                    </a:lnTo>
                    <a:lnTo>
                      <a:pt x="388" y="937"/>
                    </a:lnTo>
                    <a:lnTo>
                      <a:pt x="383" y="859"/>
                    </a:lnTo>
                    <a:lnTo>
                      <a:pt x="378" y="788"/>
                    </a:lnTo>
                    <a:lnTo>
                      <a:pt x="372" y="722"/>
                    </a:lnTo>
                    <a:lnTo>
                      <a:pt x="366" y="663"/>
                    </a:lnTo>
                    <a:lnTo>
                      <a:pt x="359" y="607"/>
                    </a:lnTo>
                    <a:lnTo>
                      <a:pt x="354" y="555"/>
                    </a:lnTo>
                    <a:lnTo>
                      <a:pt x="347" y="499"/>
                    </a:lnTo>
                    <a:lnTo>
                      <a:pt x="342" y="447"/>
                    </a:lnTo>
                    <a:lnTo>
                      <a:pt x="336" y="396"/>
                    </a:lnTo>
                    <a:lnTo>
                      <a:pt x="333" y="346"/>
                    </a:lnTo>
                    <a:lnTo>
                      <a:pt x="332" y="296"/>
                    </a:lnTo>
                    <a:lnTo>
                      <a:pt x="332" y="245"/>
                    </a:lnTo>
                    <a:lnTo>
                      <a:pt x="333" y="219"/>
                    </a:lnTo>
                    <a:lnTo>
                      <a:pt x="335" y="192"/>
                    </a:lnTo>
                    <a:lnTo>
                      <a:pt x="338" y="164"/>
                    </a:lnTo>
                    <a:lnTo>
                      <a:pt x="341" y="136"/>
                    </a:lnTo>
                    <a:lnTo>
                      <a:pt x="342" y="126"/>
                    </a:lnTo>
                    <a:lnTo>
                      <a:pt x="343" y="118"/>
                    </a:lnTo>
                    <a:lnTo>
                      <a:pt x="345" y="108"/>
                    </a:lnTo>
                    <a:lnTo>
                      <a:pt x="346"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56"/>
              <p:cNvSpPr>
                <a:spLocks/>
              </p:cNvSpPr>
              <p:nvPr userDrawn="1"/>
            </p:nvSpPr>
            <p:spPr bwMode="auto">
              <a:xfrm>
                <a:off x="1387" y="1416"/>
                <a:ext cx="982" cy="1880"/>
              </a:xfrm>
              <a:custGeom>
                <a:avLst/>
                <a:gdLst>
                  <a:gd name="T0" fmla="*/ 1430 w 2945"/>
                  <a:gd name="T1" fmla="*/ 5582 h 5641"/>
                  <a:gd name="T2" fmla="*/ 460 w 2945"/>
                  <a:gd name="T3" fmla="*/ 5454 h 5641"/>
                  <a:gd name="T4" fmla="*/ 164 w 2945"/>
                  <a:gd name="T5" fmla="*/ 5267 h 5641"/>
                  <a:gd name="T6" fmla="*/ 23 w 2945"/>
                  <a:gd name="T7" fmla="*/ 4981 h 5641"/>
                  <a:gd name="T8" fmla="*/ 2 w 2945"/>
                  <a:gd name="T9" fmla="*/ 4723 h 5641"/>
                  <a:gd name="T10" fmla="*/ 403 w 2945"/>
                  <a:gd name="T11" fmla="*/ 4622 h 5641"/>
                  <a:gd name="T12" fmla="*/ 899 w 2945"/>
                  <a:gd name="T13" fmla="*/ 4439 h 5641"/>
                  <a:gd name="T14" fmla="*/ 1142 w 2945"/>
                  <a:gd name="T15" fmla="*/ 4209 h 5641"/>
                  <a:gd name="T16" fmla="*/ 1218 w 2945"/>
                  <a:gd name="T17" fmla="*/ 3983 h 5641"/>
                  <a:gd name="T18" fmla="*/ 1204 w 2945"/>
                  <a:gd name="T19" fmla="*/ 3719 h 5641"/>
                  <a:gd name="T20" fmla="*/ 1112 w 2945"/>
                  <a:gd name="T21" fmla="*/ 3496 h 5641"/>
                  <a:gd name="T22" fmla="*/ 922 w 2945"/>
                  <a:gd name="T23" fmla="*/ 3278 h 5641"/>
                  <a:gd name="T24" fmla="*/ 629 w 2945"/>
                  <a:gd name="T25" fmla="*/ 2872 h 5641"/>
                  <a:gd name="T26" fmla="*/ 435 w 2945"/>
                  <a:gd name="T27" fmla="*/ 2317 h 5641"/>
                  <a:gd name="T28" fmla="*/ 365 w 2945"/>
                  <a:gd name="T29" fmla="*/ 1912 h 5641"/>
                  <a:gd name="T30" fmla="*/ 317 w 2945"/>
                  <a:gd name="T31" fmla="*/ 1455 h 5641"/>
                  <a:gd name="T32" fmla="*/ 373 w 2945"/>
                  <a:gd name="T33" fmla="*/ 1146 h 5641"/>
                  <a:gd name="T34" fmla="*/ 516 w 2945"/>
                  <a:gd name="T35" fmla="*/ 850 h 5641"/>
                  <a:gd name="T36" fmla="*/ 692 w 2945"/>
                  <a:gd name="T37" fmla="*/ 621 h 5641"/>
                  <a:gd name="T38" fmla="*/ 920 w 2945"/>
                  <a:gd name="T39" fmla="*/ 428 h 5641"/>
                  <a:gd name="T40" fmla="*/ 1177 w 2945"/>
                  <a:gd name="T41" fmla="*/ 290 h 5641"/>
                  <a:gd name="T42" fmla="*/ 1626 w 2945"/>
                  <a:gd name="T43" fmla="*/ 111 h 5641"/>
                  <a:gd name="T44" fmla="*/ 2026 w 2945"/>
                  <a:gd name="T45" fmla="*/ 0 h 5641"/>
                  <a:gd name="T46" fmla="*/ 1901 w 2945"/>
                  <a:gd name="T47" fmla="*/ 56 h 5641"/>
                  <a:gd name="T48" fmla="*/ 1399 w 2945"/>
                  <a:gd name="T49" fmla="*/ 225 h 5641"/>
                  <a:gd name="T50" fmla="*/ 1089 w 2945"/>
                  <a:gd name="T51" fmla="*/ 361 h 5641"/>
                  <a:gd name="T52" fmla="*/ 840 w 2945"/>
                  <a:gd name="T53" fmla="*/ 521 h 5641"/>
                  <a:gd name="T54" fmla="*/ 638 w 2945"/>
                  <a:gd name="T55" fmla="*/ 725 h 5641"/>
                  <a:gd name="T56" fmla="*/ 480 w 2945"/>
                  <a:gd name="T57" fmla="*/ 967 h 5641"/>
                  <a:gd name="T58" fmla="*/ 365 w 2945"/>
                  <a:gd name="T59" fmla="*/ 1277 h 5641"/>
                  <a:gd name="T60" fmla="*/ 344 w 2945"/>
                  <a:gd name="T61" fmla="*/ 1569 h 5641"/>
                  <a:gd name="T62" fmla="*/ 422 w 2945"/>
                  <a:gd name="T63" fmla="*/ 2074 h 5641"/>
                  <a:gd name="T64" fmla="*/ 517 w 2945"/>
                  <a:gd name="T65" fmla="*/ 2541 h 5641"/>
                  <a:gd name="T66" fmla="*/ 781 w 2945"/>
                  <a:gd name="T67" fmla="*/ 3060 h 5641"/>
                  <a:gd name="T68" fmla="*/ 1026 w 2945"/>
                  <a:gd name="T69" fmla="*/ 3355 h 5641"/>
                  <a:gd name="T70" fmla="*/ 1186 w 2945"/>
                  <a:gd name="T71" fmla="*/ 3564 h 5641"/>
                  <a:gd name="T72" fmla="*/ 1251 w 2945"/>
                  <a:gd name="T73" fmla="*/ 3859 h 5641"/>
                  <a:gd name="T74" fmla="*/ 1225 w 2945"/>
                  <a:gd name="T75" fmla="*/ 4078 h 5641"/>
                  <a:gd name="T76" fmla="*/ 1103 w 2945"/>
                  <a:gd name="T77" fmla="*/ 4322 h 5641"/>
                  <a:gd name="T78" fmla="*/ 773 w 2945"/>
                  <a:gd name="T79" fmla="*/ 4527 h 5641"/>
                  <a:gd name="T80" fmla="*/ 154 w 2945"/>
                  <a:gd name="T81" fmla="*/ 4714 h 5641"/>
                  <a:gd name="T82" fmla="*/ 37 w 2945"/>
                  <a:gd name="T83" fmla="*/ 4914 h 5641"/>
                  <a:gd name="T84" fmla="*/ 125 w 2945"/>
                  <a:gd name="T85" fmla="*/ 5165 h 5641"/>
                  <a:gd name="T86" fmla="*/ 358 w 2945"/>
                  <a:gd name="T87" fmla="*/ 5388 h 5641"/>
                  <a:gd name="T88" fmla="*/ 817 w 2945"/>
                  <a:gd name="T89" fmla="*/ 5488 h 5641"/>
                  <a:gd name="T90" fmla="*/ 2084 w 2945"/>
                  <a:gd name="T91" fmla="*/ 5598 h 5641"/>
                  <a:gd name="T92" fmla="*/ 2918 w 2945"/>
                  <a:gd name="T93" fmla="*/ 5576 h 5641"/>
                  <a:gd name="T94" fmla="*/ 2800 w 2945"/>
                  <a:gd name="T95" fmla="*/ 5132 h 5641"/>
                  <a:gd name="T96" fmla="*/ 2492 w 2945"/>
                  <a:gd name="T97" fmla="*/ 4547 h 5641"/>
                  <a:gd name="T98" fmla="*/ 2118 w 2945"/>
                  <a:gd name="T99" fmla="*/ 3949 h 5641"/>
                  <a:gd name="T100" fmla="*/ 1873 w 2945"/>
                  <a:gd name="T101" fmla="*/ 3531 h 5641"/>
                  <a:gd name="T102" fmla="*/ 1555 w 2945"/>
                  <a:gd name="T103" fmla="*/ 3036 h 5641"/>
                  <a:gd name="T104" fmla="*/ 1204 w 2945"/>
                  <a:gd name="T105" fmla="*/ 2458 h 5641"/>
                  <a:gd name="T106" fmla="*/ 1116 w 2945"/>
                  <a:gd name="T107" fmla="*/ 2194 h 5641"/>
                  <a:gd name="T108" fmla="*/ 1286 w 2945"/>
                  <a:gd name="T109" fmla="*/ 2552 h 5641"/>
                  <a:gd name="T110" fmla="*/ 1648 w 2945"/>
                  <a:gd name="T111" fmla="*/ 3130 h 5641"/>
                  <a:gd name="T112" fmla="*/ 1958 w 2945"/>
                  <a:gd name="T113" fmla="*/ 3618 h 5641"/>
                  <a:gd name="T114" fmla="*/ 2173 w 2945"/>
                  <a:gd name="T115" fmla="*/ 3987 h 5641"/>
                  <a:gd name="T116" fmla="*/ 2621 w 2945"/>
                  <a:gd name="T117" fmla="*/ 4717 h 5641"/>
                  <a:gd name="T118" fmla="*/ 2875 w 2945"/>
                  <a:gd name="T119" fmla="*/ 5247 h 5641"/>
                  <a:gd name="T120" fmla="*/ 2940 w 2945"/>
                  <a:gd name="T121" fmla="*/ 5630 h 5641"/>
                  <a:gd name="T122" fmla="*/ 2703 w 2945"/>
                  <a:gd name="T123" fmla="*/ 5641 h 5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45" h="5641">
                    <a:moveTo>
                      <a:pt x="2670" y="5641"/>
                    </a:moveTo>
                    <a:lnTo>
                      <a:pt x="2586" y="5641"/>
                    </a:lnTo>
                    <a:lnTo>
                      <a:pt x="2499" y="5640"/>
                    </a:lnTo>
                    <a:lnTo>
                      <a:pt x="2412" y="5638"/>
                    </a:lnTo>
                    <a:lnTo>
                      <a:pt x="2323" y="5635"/>
                    </a:lnTo>
                    <a:lnTo>
                      <a:pt x="2144" y="5629"/>
                    </a:lnTo>
                    <a:lnTo>
                      <a:pt x="1963" y="5619"/>
                    </a:lnTo>
                    <a:lnTo>
                      <a:pt x="1782" y="5608"/>
                    </a:lnTo>
                    <a:lnTo>
                      <a:pt x="1604" y="5597"/>
                    </a:lnTo>
                    <a:lnTo>
                      <a:pt x="1430" y="5582"/>
                    </a:lnTo>
                    <a:lnTo>
                      <a:pt x="1262" y="5566"/>
                    </a:lnTo>
                    <a:lnTo>
                      <a:pt x="1102" y="5550"/>
                    </a:lnTo>
                    <a:lnTo>
                      <a:pt x="953" y="5533"/>
                    </a:lnTo>
                    <a:lnTo>
                      <a:pt x="816" y="5516"/>
                    </a:lnTo>
                    <a:lnTo>
                      <a:pt x="693" y="5498"/>
                    </a:lnTo>
                    <a:lnTo>
                      <a:pt x="637" y="5489"/>
                    </a:lnTo>
                    <a:lnTo>
                      <a:pt x="586" y="5480"/>
                    </a:lnTo>
                    <a:lnTo>
                      <a:pt x="540" y="5471"/>
                    </a:lnTo>
                    <a:lnTo>
                      <a:pt x="497" y="5463"/>
                    </a:lnTo>
                    <a:lnTo>
                      <a:pt x="460" y="5454"/>
                    </a:lnTo>
                    <a:lnTo>
                      <a:pt x="428" y="5445"/>
                    </a:lnTo>
                    <a:lnTo>
                      <a:pt x="402" y="5438"/>
                    </a:lnTo>
                    <a:lnTo>
                      <a:pt x="382" y="5429"/>
                    </a:lnTo>
                    <a:lnTo>
                      <a:pt x="343" y="5411"/>
                    </a:lnTo>
                    <a:lnTo>
                      <a:pt x="307" y="5390"/>
                    </a:lnTo>
                    <a:lnTo>
                      <a:pt x="274" y="5368"/>
                    </a:lnTo>
                    <a:lnTo>
                      <a:pt x="243" y="5345"/>
                    </a:lnTo>
                    <a:lnTo>
                      <a:pt x="214" y="5320"/>
                    </a:lnTo>
                    <a:lnTo>
                      <a:pt x="187" y="5294"/>
                    </a:lnTo>
                    <a:lnTo>
                      <a:pt x="164" y="5267"/>
                    </a:lnTo>
                    <a:lnTo>
                      <a:pt x="142" y="5240"/>
                    </a:lnTo>
                    <a:lnTo>
                      <a:pt x="122" y="5212"/>
                    </a:lnTo>
                    <a:lnTo>
                      <a:pt x="104" y="5183"/>
                    </a:lnTo>
                    <a:lnTo>
                      <a:pt x="88" y="5154"/>
                    </a:lnTo>
                    <a:lnTo>
                      <a:pt x="73" y="5125"/>
                    </a:lnTo>
                    <a:lnTo>
                      <a:pt x="61" y="5096"/>
                    </a:lnTo>
                    <a:lnTo>
                      <a:pt x="49" y="5067"/>
                    </a:lnTo>
                    <a:lnTo>
                      <a:pt x="40" y="5037"/>
                    </a:lnTo>
                    <a:lnTo>
                      <a:pt x="31" y="5009"/>
                    </a:lnTo>
                    <a:lnTo>
                      <a:pt x="23" y="4981"/>
                    </a:lnTo>
                    <a:lnTo>
                      <a:pt x="18" y="4953"/>
                    </a:lnTo>
                    <a:lnTo>
                      <a:pt x="13" y="4927"/>
                    </a:lnTo>
                    <a:lnTo>
                      <a:pt x="8" y="4901"/>
                    </a:lnTo>
                    <a:lnTo>
                      <a:pt x="5" y="4878"/>
                    </a:lnTo>
                    <a:lnTo>
                      <a:pt x="3" y="4854"/>
                    </a:lnTo>
                    <a:lnTo>
                      <a:pt x="2" y="4832"/>
                    </a:lnTo>
                    <a:lnTo>
                      <a:pt x="0" y="4813"/>
                    </a:lnTo>
                    <a:lnTo>
                      <a:pt x="0" y="4751"/>
                    </a:lnTo>
                    <a:lnTo>
                      <a:pt x="1" y="4728"/>
                    </a:lnTo>
                    <a:lnTo>
                      <a:pt x="2" y="4723"/>
                    </a:lnTo>
                    <a:lnTo>
                      <a:pt x="4" y="4720"/>
                    </a:lnTo>
                    <a:lnTo>
                      <a:pt x="7" y="4718"/>
                    </a:lnTo>
                    <a:lnTo>
                      <a:pt x="11" y="4716"/>
                    </a:lnTo>
                    <a:lnTo>
                      <a:pt x="23" y="4714"/>
                    </a:lnTo>
                    <a:lnTo>
                      <a:pt x="55" y="4707"/>
                    </a:lnTo>
                    <a:lnTo>
                      <a:pt x="101" y="4697"/>
                    </a:lnTo>
                    <a:lnTo>
                      <a:pt x="162" y="4683"/>
                    </a:lnTo>
                    <a:lnTo>
                      <a:pt x="234" y="4667"/>
                    </a:lnTo>
                    <a:lnTo>
                      <a:pt x="315" y="4647"/>
                    </a:lnTo>
                    <a:lnTo>
                      <a:pt x="403" y="4622"/>
                    </a:lnTo>
                    <a:lnTo>
                      <a:pt x="495" y="4595"/>
                    </a:lnTo>
                    <a:lnTo>
                      <a:pt x="543" y="4581"/>
                    </a:lnTo>
                    <a:lnTo>
                      <a:pt x="589" y="4566"/>
                    </a:lnTo>
                    <a:lnTo>
                      <a:pt x="637" y="4550"/>
                    </a:lnTo>
                    <a:lnTo>
                      <a:pt x="683" y="4532"/>
                    </a:lnTo>
                    <a:lnTo>
                      <a:pt x="730" y="4515"/>
                    </a:lnTo>
                    <a:lnTo>
                      <a:pt x="774" y="4497"/>
                    </a:lnTo>
                    <a:lnTo>
                      <a:pt x="817" y="4478"/>
                    </a:lnTo>
                    <a:lnTo>
                      <a:pt x="859" y="4459"/>
                    </a:lnTo>
                    <a:lnTo>
                      <a:pt x="899" y="4439"/>
                    </a:lnTo>
                    <a:lnTo>
                      <a:pt x="937" y="4418"/>
                    </a:lnTo>
                    <a:lnTo>
                      <a:pt x="971" y="4397"/>
                    </a:lnTo>
                    <a:lnTo>
                      <a:pt x="1004" y="4376"/>
                    </a:lnTo>
                    <a:lnTo>
                      <a:pt x="1033" y="4353"/>
                    </a:lnTo>
                    <a:lnTo>
                      <a:pt x="1059" y="4330"/>
                    </a:lnTo>
                    <a:lnTo>
                      <a:pt x="1080" y="4307"/>
                    </a:lnTo>
                    <a:lnTo>
                      <a:pt x="1099" y="4283"/>
                    </a:lnTo>
                    <a:lnTo>
                      <a:pt x="1114" y="4258"/>
                    </a:lnTo>
                    <a:lnTo>
                      <a:pt x="1129" y="4233"/>
                    </a:lnTo>
                    <a:lnTo>
                      <a:pt x="1142" y="4209"/>
                    </a:lnTo>
                    <a:lnTo>
                      <a:pt x="1154" y="4186"/>
                    </a:lnTo>
                    <a:lnTo>
                      <a:pt x="1166" y="4162"/>
                    </a:lnTo>
                    <a:lnTo>
                      <a:pt x="1176" y="4138"/>
                    </a:lnTo>
                    <a:lnTo>
                      <a:pt x="1184" y="4116"/>
                    </a:lnTo>
                    <a:lnTo>
                      <a:pt x="1192" y="4093"/>
                    </a:lnTo>
                    <a:lnTo>
                      <a:pt x="1199" y="4070"/>
                    </a:lnTo>
                    <a:lnTo>
                      <a:pt x="1205" y="4049"/>
                    </a:lnTo>
                    <a:lnTo>
                      <a:pt x="1210" y="4026"/>
                    </a:lnTo>
                    <a:lnTo>
                      <a:pt x="1214" y="4004"/>
                    </a:lnTo>
                    <a:lnTo>
                      <a:pt x="1218" y="3983"/>
                    </a:lnTo>
                    <a:lnTo>
                      <a:pt x="1221" y="3962"/>
                    </a:lnTo>
                    <a:lnTo>
                      <a:pt x="1223" y="3941"/>
                    </a:lnTo>
                    <a:lnTo>
                      <a:pt x="1224" y="3920"/>
                    </a:lnTo>
                    <a:lnTo>
                      <a:pt x="1224" y="3900"/>
                    </a:lnTo>
                    <a:lnTo>
                      <a:pt x="1224" y="3879"/>
                    </a:lnTo>
                    <a:lnTo>
                      <a:pt x="1223" y="3859"/>
                    </a:lnTo>
                    <a:lnTo>
                      <a:pt x="1222" y="3838"/>
                    </a:lnTo>
                    <a:lnTo>
                      <a:pt x="1218" y="3798"/>
                    </a:lnTo>
                    <a:lnTo>
                      <a:pt x="1211" y="3758"/>
                    </a:lnTo>
                    <a:lnTo>
                      <a:pt x="1204" y="3719"/>
                    </a:lnTo>
                    <a:lnTo>
                      <a:pt x="1195" y="3681"/>
                    </a:lnTo>
                    <a:lnTo>
                      <a:pt x="1184" y="3642"/>
                    </a:lnTo>
                    <a:lnTo>
                      <a:pt x="1173" y="3604"/>
                    </a:lnTo>
                    <a:lnTo>
                      <a:pt x="1170" y="3594"/>
                    </a:lnTo>
                    <a:lnTo>
                      <a:pt x="1166" y="3583"/>
                    </a:lnTo>
                    <a:lnTo>
                      <a:pt x="1161" y="3574"/>
                    </a:lnTo>
                    <a:lnTo>
                      <a:pt x="1156" y="3563"/>
                    </a:lnTo>
                    <a:lnTo>
                      <a:pt x="1144" y="3541"/>
                    </a:lnTo>
                    <a:lnTo>
                      <a:pt x="1129" y="3520"/>
                    </a:lnTo>
                    <a:lnTo>
                      <a:pt x="1112" y="3496"/>
                    </a:lnTo>
                    <a:lnTo>
                      <a:pt x="1092" y="3471"/>
                    </a:lnTo>
                    <a:lnTo>
                      <a:pt x="1071" y="3445"/>
                    </a:lnTo>
                    <a:lnTo>
                      <a:pt x="1047" y="3417"/>
                    </a:lnTo>
                    <a:lnTo>
                      <a:pt x="1034" y="3403"/>
                    </a:lnTo>
                    <a:lnTo>
                      <a:pt x="1020" y="3388"/>
                    </a:lnTo>
                    <a:lnTo>
                      <a:pt x="1006" y="3372"/>
                    </a:lnTo>
                    <a:lnTo>
                      <a:pt x="992" y="3357"/>
                    </a:lnTo>
                    <a:lnTo>
                      <a:pt x="969" y="3331"/>
                    </a:lnTo>
                    <a:lnTo>
                      <a:pt x="946" y="3305"/>
                    </a:lnTo>
                    <a:lnTo>
                      <a:pt x="922" y="3278"/>
                    </a:lnTo>
                    <a:lnTo>
                      <a:pt x="898" y="3250"/>
                    </a:lnTo>
                    <a:lnTo>
                      <a:pt x="872" y="3221"/>
                    </a:lnTo>
                    <a:lnTo>
                      <a:pt x="847" y="3190"/>
                    </a:lnTo>
                    <a:lnTo>
                      <a:pt x="822" y="3158"/>
                    </a:lnTo>
                    <a:lnTo>
                      <a:pt x="796" y="3126"/>
                    </a:lnTo>
                    <a:lnTo>
                      <a:pt x="759" y="3075"/>
                    </a:lnTo>
                    <a:lnTo>
                      <a:pt x="724" y="3025"/>
                    </a:lnTo>
                    <a:lnTo>
                      <a:pt x="691" y="2975"/>
                    </a:lnTo>
                    <a:lnTo>
                      <a:pt x="659" y="2924"/>
                    </a:lnTo>
                    <a:lnTo>
                      <a:pt x="629" y="2872"/>
                    </a:lnTo>
                    <a:lnTo>
                      <a:pt x="602" y="2820"/>
                    </a:lnTo>
                    <a:lnTo>
                      <a:pt x="576" y="2767"/>
                    </a:lnTo>
                    <a:lnTo>
                      <a:pt x="552" y="2713"/>
                    </a:lnTo>
                    <a:lnTo>
                      <a:pt x="530" y="2659"/>
                    </a:lnTo>
                    <a:lnTo>
                      <a:pt x="510" y="2604"/>
                    </a:lnTo>
                    <a:lnTo>
                      <a:pt x="491" y="2549"/>
                    </a:lnTo>
                    <a:lnTo>
                      <a:pt x="475" y="2493"/>
                    </a:lnTo>
                    <a:lnTo>
                      <a:pt x="460" y="2435"/>
                    </a:lnTo>
                    <a:lnTo>
                      <a:pt x="447" y="2377"/>
                    </a:lnTo>
                    <a:lnTo>
                      <a:pt x="435" y="2317"/>
                    </a:lnTo>
                    <a:lnTo>
                      <a:pt x="425" y="2257"/>
                    </a:lnTo>
                    <a:lnTo>
                      <a:pt x="419" y="2220"/>
                    </a:lnTo>
                    <a:lnTo>
                      <a:pt x="413" y="2183"/>
                    </a:lnTo>
                    <a:lnTo>
                      <a:pt x="407" y="2148"/>
                    </a:lnTo>
                    <a:lnTo>
                      <a:pt x="401" y="2113"/>
                    </a:lnTo>
                    <a:lnTo>
                      <a:pt x="395" y="2079"/>
                    </a:lnTo>
                    <a:lnTo>
                      <a:pt x="388" y="2045"/>
                    </a:lnTo>
                    <a:lnTo>
                      <a:pt x="383" y="2012"/>
                    </a:lnTo>
                    <a:lnTo>
                      <a:pt x="376" y="1978"/>
                    </a:lnTo>
                    <a:lnTo>
                      <a:pt x="365" y="1912"/>
                    </a:lnTo>
                    <a:lnTo>
                      <a:pt x="353" y="1849"/>
                    </a:lnTo>
                    <a:lnTo>
                      <a:pt x="343" y="1786"/>
                    </a:lnTo>
                    <a:lnTo>
                      <a:pt x="333" y="1725"/>
                    </a:lnTo>
                    <a:lnTo>
                      <a:pt x="326" y="1664"/>
                    </a:lnTo>
                    <a:lnTo>
                      <a:pt x="320" y="1604"/>
                    </a:lnTo>
                    <a:lnTo>
                      <a:pt x="318" y="1573"/>
                    </a:lnTo>
                    <a:lnTo>
                      <a:pt x="317" y="1544"/>
                    </a:lnTo>
                    <a:lnTo>
                      <a:pt x="316" y="1514"/>
                    </a:lnTo>
                    <a:lnTo>
                      <a:pt x="316" y="1484"/>
                    </a:lnTo>
                    <a:lnTo>
                      <a:pt x="317" y="1455"/>
                    </a:lnTo>
                    <a:lnTo>
                      <a:pt x="318" y="1424"/>
                    </a:lnTo>
                    <a:lnTo>
                      <a:pt x="320" y="1394"/>
                    </a:lnTo>
                    <a:lnTo>
                      <a:pt x="324" y="1364"/>
                    </a:lnTo>
                    <a:lnTo>
                      <a:pt x="328" y="1334"/>
                    </a:lnTo>
                    <a:lnTo>
                      <a:pt x="333" y="1304"/>
                    </a:lnTo>
                    <a:lnTo>
                      <a:pt x="339" y="1272"/>
                    </a:lnTo>
                    <a:lnTo>
                      <a:pt x="346" y="1241"/>
                    </a:lnTo>
                    <a:lnTo>
                      <a:pt x="354" y="1210"/>
                    </a:lnTo>
                    <a:lnTo>
                      <a:pt x="362" y="1178"/>
                    </a:lnTo>
                    <a:lnTo>
                      <a:pt x="373" y="1146"/>
                    </a:lnTo>
                    <a:lnTo>
                      <a:pt x="384" y="1114"/>
                    </a:lnTo>
                    <a:lnTo>
                      <a:pt x="397" y="1081"/>
                    </a:lnTo>
                    <a:lnTo>
                      <a:pt x="411" y="1048"/>
                    </a:lnTo>
                    <a:lnTo>
                      <a:pt x="426" y="1014"/>
                    </a:lnTo>
                    <a:lnTo>
                      <a:pt x="442" y="981"/>
                    </a:lnTo>
                    <a:lnTo>
                      <a:pt x="456" y="954"/>
                    </a:lnTo>
                    <a:lnTo>
                      <a:pt x="470" y="927"/>
                    </a:lnTo>
                    <a:lnTo>
                      <a:pt x="486" y="901"/>
                    </a:lnTo>
                    <a:lnTo>
                      <a:pt x="501" y="875"/>
                    </a:lnTo>
                    <a:lnTo>
                      <a:pt x="516" y="850"/>
                    </a:lnTo>
                    <a:lnTo>
                      <a:pt x="532" y="825"/>
                    </a:lnTo>
                    <a:lnTo>
                      <a:pt x="548" y="801"/>
                    </a:lnTo>
                    <a:lnTo>
                      <a:pt x="564" y="777"/>
                    </a:lnTo>
                    <a:lnTo>
                      <a:pt x="582" y="753"/>
                    </a:lnTo>
                    <a:lnTo>
                      <a:pt x="599" y="730"/>
                    </a:lnTo>
                    <a:lnTo>
                      <a:pt x="617" y="708"/>
                    </a:lnTo>
                    <a:lnTo>
                      <a:pt x="636" y="685"/>
                    </a:lnTo>
                    <a:lnTo>
                      <a:pt x="654" y="663"/>
                    </a:lnTo>
                    <a:lnTo>
                      <a:pt x="672" y="643"/>
                    </a:lnTo>
                    <a:lnTo>
                      <a:pt x="692" y="621"/>
                    </a:lnTo>
                    <a:lnTo>
                      <a:pt x="711" y="601"/>
                    </a:lnTo>
                    <a:lnTo>
                      <a:pt x="733" y="580"/>
                    </a:lnTo>
                    <a:lnTo>
                      <a:pt x="754" y="560"/>
                    </a:lnTo>
                    <a:lnTo>
                      <a:pt x="777" y="539"/>
                    </a:lnTo>
                    <a:lnTo>
                      <a:pt x="800" y="519"/>
                    </a:lnTo>
                    <a:lnTo>
                      <a:pt x="822" y="500"/>
                    </a:lnTo>
                    <a:lnTo>
                      <a:pt x="846" y="481"/>
                    </a:lnTo>
                    <a:lnTo>
                      <a:pt x="870" y="463"/>
                    </a:lnTo>
                    <a:lnTo>
                      <a:pt x="895" y="445"/>
                    </a:lnTo>
                    <a:lnTo>
                      <a:pt x="920" y="428"/>
                    </a:lnTo>
                    <a:lnTo>
                      <a:pt x="944" y="412"/>
                    </a:lnTo>
                    <a:lnTo>
                      <a:pt x="970" y="396"/>
                    </a:lnTo>
                    <a:lnTo>
                      <a:pt x="996" y="381"/>
                    </a:lnTo>
                    <a:lnTo>
                      <a:pt x="1023" y="365"/>
                    </a:lnTo>
                    <a:lnTo>
                      <a:pt x="1050" y="350"/>
                    </a:lnTo>
                    <a:lnTo>
                      <a:pt x="1077" y="336"/>
                    </a:lnTo>
                    <a:lnTo>
                      <a:pt x="1104" y="323"/>
                    </a:lnTo>
                    <a:lnTo>
                      <a:pt x="1129" y="311"/>
                    </a:lnTo>
                    <a:lnTo>
                      <a:pt x="1154" y="301"/>
                    </a:lnTo>
                    <a:lnTo>
                      <a:pt x="1177" y="290"/>
                    </a:lnTo>
                    <a:lnTo>
                      <a:pt x="1200" y="280"/>
                    </a:lnTo>
                    <a:lnTo>
                      <a:pt x="1223" y="269"/>
                    </a:lnTo>
                    <a:lnTo>
                      <a:pt x="1247" y="260"/>
                    </a:lnTo>
                    <a:lnTo>
                      <a:pt x="1268" y="250"/>
                    </a:lnTo>
                    <a:lnTo>
                      <a:pt x="1291" y="240"/>
                    </a:lnTo>
                    <a:lnTo>
                      <a:pt x="1389" y="199"/>
                    </a:lnTo>
                    <a:lnTo>
                      <a:pt x="1485" y="163"/>
                    </a:lnTo>
                    <a:lnTo>
                      <a:pt x="1532" y="144"/>
                    </a:lnTo>
                    <a:lnTo>
                      <a:pt x="1579" y="127"/>
                    </a:lnTo>
                    <a:lnTo>
                      <a:pt x="1626" y="111"/>
                    </a:lnTo>
                    <a:lnTo>
                      <a:pt x="1671" y="96"/>
                    </a:lnTo>
                    <a:lnTo>
                      <a:pt x="1718" y="80"/>
                    </a:lnTo>
                    <a:lnTo>
                      <a:pt x="1762" y="66"/>
                    </a:lnTo>
                    <a:lnTo>
                      <a:pt x="1806" y="54"/>
                    </a:lnTo>
                    <a:lnTo>
                      <a:pt x="1850" y="42"/>
                    </a:lnTo>
                    <a:lnTo>
                      <a:pt x="1894" y="30"/>
                    </a:lnTo>
                    <a:lnTo>
                      <a:pt x="1937" y="19"/>
                    </a:lnTo>
                    <a:lnTo>
                      <a:pt x="1979" y="8"/>
                    </a:lnTo>
                    <a:lnTo>
                      <a:pt x="2021" y="0"/>
                    </a:lnTo>
                    <a:lnTo>
                      <a:pt x="2026" y="0"/>
                    </a:lnTo>
                    <a:lnTo>
                      <a:pt x="2032" y="1"/>
                    </a:lnTo>
                    <a:lnTo>
                      <a:pt x="2035" y="5"/>
                    </a:lnTo>
                    <a:lnTo>
                      <a:pt x="2037" y="9"/>
                    </a:lnTo>
                    <a:lnTo>
                      <a:pt x="2037" y="15"/>
                    </a:lnTo>
                    <a:lnTo>
                      <a:pt x="2035" y="20"/>
                    </a:lnTo>
                    <a:lnTo>
                      <a:pt x="2032" y="23"/>
                    </a:lnTo>
                    <a:lnTo>
                      <a:pt x="2026" y="25"/>
                    </a:lnTo>
                    <a:lnTo>
                      <a:pt x="1985" y="35"/>
                    </a:lnTo>
                    <a:lnTo>
                      <a:pt x="1943" y="45"/>
                    </a:lnTo>
                    <a:lnTo>
                      <a:pt x="1901" y="56"/>
                    </a:lnTo>
                    <a:lnTo>
                      <a:pt x="1858" y="68"/>
                    </a:lnTo>
                    <a:lnTo>
                      <a:pt x="1814" y="79"/>
                    </a:lnTo>
                    <a:lnTo>
                      <a:pt x="1769" y="92"/>
                    </a:lnTo>
                    <a:lnTo>
                      <a:pt x="1725" y="106"/>
                    </a:lnTo>
                    <a:lnTo>
                      <a:pt x="1680" y="122"/>
                    </a:lnTo>
                    <a:lnTo>
                      <a:pt x="1634" y="137"/>
                    </a:lnTo>
                    <a:lnTo>
                      <a:pt x="1588" y="153"/>
                    </a:lnTo>
                    <a:lnTo>
                      <a:pt x="1542" y="170"/>
                    </a:lnTo>
                    <a:lnTo>
                      <a:pt x="1494" y="187"/>
                    </a:lnTo>
                    <a:lnTo>
                      <a:pt x="1399" y="225"/>
                    </a:lnTo>
                    <a:lnTo>
                      <a:pt x="1302" y="265"/>
                    </a:lnTo>
                    <a:lnTo>
                      <a:pt x="1279" y="275"/>
                    </a:lnTo>
                    <a:lnTo>
                      <a:pt x="1258" y="285"/>
                    </a:lnTo>
                    <a:lnTo>
                      <a:pt x="1235" y="294"/>
                    </a:lnTo>
                    <a:lnTo>
                      <a:pt x="1211" y="304"/>
                    </a:lnTo>
                    <a:lnTo>
                      <a:pt x="1188" y="315"/>
                    </a:lnTo>
                    <a:lnTo>
                      <a:pt x="1165" y="326"/>
                    </a:lnTo>
                    <a:lnTo>
                      <a:pt x="1141" y="336"/>
                    </a:lnTo>
                    <a:lnTo>
                      <a:pt x="1116" y="348"/>
                    </a:lnTo>
                    <a:lnTo>
                      <a:pt x="1089" y="361"/>
                    </a:lnTo>
                    <a:lnTo>
                      <a:pt x="1062" y="374"/>
                    </a:lnTo>
                    <a:lnTo>
                      <a:pt x="1036" y="389"/>
                    </a:lnTo>
                    <a:lnTo>
                      <a:pt x="1010" y="403"/>
                    </a:lnTo>
                    <a:lnTo>
                      <a:pt x="984" y="418"/>
                    </a:lnTo>
                    <a:lnTo>
                      <a:pt x="960" y="435"/>
                    </a:lnTo>
                    <a:lnTo>
                      <a:pt x="935" y="451"/>
                    </a:lnTo>
                    <a:lnTo>
                      <a:pt x="911" y="468"/>
                    </a:lnTo>
                    <a:lnTo>
                      <a:pt x="886" y="485"/>
                    </a:lnTo>
                    <a:lnTo>
                      <a:pt x="863" y="503"/>
                    </a:lnTo>
                    <a:lnTo>
                      <a:pt x="840" y="521"/>
                    </a:lnTo>
                    <a:lnTo>
                      <a:pt x="817" y="540"/>
                    </a:lnTo>
                    <a:lnTo>
                      <a:pt x="794" y="559"/>
                    </a:lnTo>
                    <a:lnTo>
                      <a:pt x="773" y="579"/>
                    </a:lnTo>
                    <a:lnTo>
                      <a:pt x="751" y="600"/>
                    </a:lnTo>
                    <a:lnTo>
                      <a:pt x="731" y="620"/>
                    </a:lnTo>
                    <a:lnTo>
                      <a:pt x="711" y="640"/>
                    </a:lnTo>
                    <a:lnTo>
                      <a:pt x="693" y="660"/>
                    </a:lnTo>
                    <a:lnTo>
                      <a:pt x="674" y="682"/>
                    </a:lnTo>
                    <a:lnTo>
                      <a:pt x="656" y="703"/>
                    </a:lnTo>
                    <a:lnTo>
                      <a:pt x="638" y="725"/>
                    </a:lnTo>
                    <a:lnTo>
                      <a:pt x="620" y="747"/>
                    </a:lnTo>
                    <a:lnTo>
                      <a:pt x="603" y="769"/>
                    </a:lnTo>
                    <a:lnTo>
                      <a:pt x="587" y="793"/>
                    </a:lnTo>
                    <a:lnTo>
                      <a:pt x="571" y="817"/>
                    </a:lnTo>
                    <a:lnTo>
                      <a:pt x="555" y="840"/>
                    </a:lnTo>
                    <a:lnTo>
                      <a:pt x="538" y="864"/>
                    </a:lnTo>
                    <a:lnTo>
                      <a:pt x="523" y="889"/>
                    </a:lnTo>
                    <a:lnTo>
                      <a:pt x="509" y="915"/>
                    </a:lnTo>
                    <a:lnTo>
                      <a:pt x="494" y="940"/>
                    </a:lnTo>
                    <a:lnTo>
                      <a:pt x="480" y="967"/>
                    </a:lnTo>
                    <a:lnTo>
                      <a:pt x="467" y="993"/>
                    </a:lnTo>
                    <a:lnTo>
                      <a:pt x="451" y="1026"/>
                    </a:lnTo>
                    <a:lnTo>
                      <a:pt x="436" y="1058"/>
                    </a:lnTo>
                    <a:lnTo>
                      <a:pt x="422" y="1091"/>
                    </a:lnTo>
                    <a:lnTo>
                      <a:pt x="410" y="1122"/>
                    </a:lnTo>
                    <a:lnTo>
                      <a:pt x="399" y="1155"/>
                    </a:lnTo>
                    <a:lnTo>
                      <a:pt x="388" y="1185"/>
                    </a:lnTo>
                    <a:lnTo>
                      <a:pt x="380" y="1216"/>
                    </a:lnTo>
                    <a:lnTo>
                      <a:pt x="372" y="1246"/>
                    </a:lnTo>
                    <a:lnTo>
                      <a:pt x="365" y="1277"/>
                    </a:lnTo>
                    <a:lnTo>
                      <a:pt x="359" y="1306"/>
                    </a:lnTo>
                    <a:lnTo>
                      <a:pt x="354" y="1336"/>
                    </a:lnTo>
                    <a:lnTo>
                      <a:pt x="351" y="1365"/>
                    </a:lnTo>
                    <a:lnTo>
                      <a:pt x="347" y="1394"/>
                    </a:lnTo>
                    <a:lnTo>
                      <a:pt x="345" y="1423"/>
                    </a:lnTo>
                    <a:lnTo>
                      <a:pt x="343" y="1453"/>
                    </a:lnTo>
                    <a:lnTo>
                      <a:pt x="343" y="1482"/>
                    </a:lnTo>
                    <a:lnTo>
                      <a:pt x="343" y="1511"/>
                    </a:lnTo>
                    <a:lnTo>
                      <a:pt x="343" y="1540"/>
                    </a:lnTo>
                    <a:lnTo>
                      <a:pt x="344" y="1569"/>
                    </a:lnTo>
                    <a:lnTo>
                      <a:pt x="346" y="1598"/>
                    </a:lnTo>
                    <a:lnTo>
                      <a:pt x="352" y="1658"/>
                    </a:lnTo>
                    <a:lnTo>
                      <a:pt x="359" y="1718"/>
                    </a:lnTo>
                    <a:lnTo>
                      <a:pt x="369" y="1780"/>
                    </a:lnTo>
                    <a:lnTo>
                      <a:pt x="380" y="1842"/>
                    </a:lnTo>
                    <a:lnTo>
                      <a:pt x="390" y="1907"/>
                    </a:lnTo>
                    <a:lnTo>
                      <a:pt x="403" y="1973"/>
                    </a:lnTo>
                    <a:lnTo>
                      <a:pt x="409" y="2006"/>
                    </a:lnTo>
                    <a:lnTo>
                      <a:pt x="415" y="2040"/>
                    </a:lnTo>
                    <a:lnTo>
                      <a:pt x="422" y="2074"/>
                    </a:lnTo>
                    <a:lnTo>
                      <a:pt x="428" y="2109"/>
                    </a:lnTo>
                    <a:lnTo>
                      <a:pt x="434" y="2143"/>
                    </a:lnTo>
                    <a:lnTo>
                      <a:pt x="440" y="2179"/>
                    </a:lnTo>
                    <a:lnTo>
                      <a:pt x="446" y="2216"/>
                    </a:lnTo>
                    <a:lnTo>
                      <a:pt x="451" y="2252"/>
                    </a:lnTo>
                    <a:lnTo>
                      <a:pt x="462" y="2313"/>
                    </a:lnTo>
                    <a:lnTo>
                      <a:pt x="473" y="2371"/>
                    </a:lnTo>
                    <a:lnTo>
                      <a:pt x="486" y="2428"/>
                    </a:lnTo>
                    <a:lnTo>
                      <a:pt x="501" y="2486"/>
                    </a:lnTo>
                    <a:lnTo>
                      <a:pt x="517" y="2541"/>
                    </a:lnTo>
                    <a:lnTo>
                      <a:pt x="535" y="2596"/>
                    </a:lnTo>
                    <a:lnTo>
                      <a:pt x="556" y="2650"/>
                    </a:lnTo>
                    <a:lnTo>
                      <a:pt x="577" y="2704"/>
                    </a:lnTo>
                    <a:lnTo>
                      <a:pt x="601" y="2755"/>
                    </a:lnTo>
                    <a:lnTo>
                      <a:pt x="626" y="2807"/>
                    </a:lnTo>
                    <a:lnTo>
                      <a:pt x="653" y="2859"/>
                    </a:lnTo>
                    <a:lnTo>
                      <a:pt x="682" y="2910"/>
                    </a:lnTo>
                    <a:lnTo>
                      <a:pt x="713" y="2961"/>
                    </a:lnTo>
                    <a:lnTo>
                      <a:pt x="746" y="3010"/>
                    </a:lnTo>
                    <a:lnTo>
                      <a:pt x="781" y="3060"/>
                    </a:lnTo>
                    <a:lnTo>
                      <a:pt x="818" y="3110"/>
                    </a:lnTo>
                    <a:lnTo>
                      <a:pt x="843" y="3142"/>
                    </a:lnTo>
                    <a:lnTo>
                      <a:pt x="869" y="3173"/>
                    </a:lnTo>
                    <a:lnTo>
                      <a:pt x="894" y="3203"/>
                    </a:lnTo>
                    <a:lnTo>
                      <a:pt x="919" y="3233"/>
                    </a:lnTo>
                    <a:lnTo>
                      <a:pt x="942" y="3261"/>
                    </a:lnTo>
                    <a:lnTo>
                      <a:pt x="966" y="3288"/>
                    </a:lnTo>
                    <a:lnTo>
                      <a:pt x="990" y="3314"/>
                    </a:lnTo>
                    <a:lnTo>
                      <a:pt x="1012" y="3338"/>
                    </a:lnTo>
                    <a:lnTo>
                      <a:pt x="1026" y="3355"/>
                    </a:lnTo>
                    <a:lnTo>
                      <a:pt x="1041" y="3370"/>
                    </a:lnTo>
                    <a:lnTo>
                      <a:pt x="1053" y="3385"/>
                    </a:lnTo>
                    <a:lnTo>
                      <a:pt x="1066" y="3400"/>
                    </a:lnTo>
                    <a:lnTo>
                      <a:pt x="1092" y="3428"/>
                    </a:lnTo>
                    <a:lnTo>
                      <a:pt x="1115" y="3456"/>
                    </a:lnTo>
                    <a:lnTo>
                      <a:pt x="1134" y="3482"/>
                    </a:lnTo>
                    <a:lnTo>
                      <a:pt x="1153" y="3506"/>
                    </a:lnTo>
                    <a:lnTo>
                      <a:pt x="1168" y="3529"/>
                    </a:lnTo>
                    <a:lnTo>
                      <a:pt x="1181" y="3552"/>
                    </a:lnTo>
                    <a:lnTo>
                      <a:pt x="1186" y="3564"/>
                    </a:lnTo>
                    <a:lnTo>
                      <a:pt x="1192" y="3575"/>
                    </a:lnTo>
                    <a:lnTo>
                      <a:pt x="1196" y="3586"/>
                    </a:lnTo>
                    <a:lnTo>
                      <a:pt x="1199" y="3596"/>
                    </a:lnTo>
                    <a:lnTo>
                      <a:pt x="1210" y="3635"/>
                    </a:lnTo>
                    <a:lnTo>
                      <a:pt x="1221" y="3675"/>
                    </a:lnTo>
                    <a:lnTo>
                      <a:pt x="1231" y="3715"/>
                    </a:lnTo>
                    <a:lnTo>
                      <a:pt x="1238" y="3756"/>
                    </a:lnTo>
                    <a:lnTo>
                      <a:pt x="1245" y="3797"/>
                    </a:lnTo>
                    <a:lnTo>
                      <a:pt x="1249" y="3838"/>
                    </a:lnTo>
                    <a:lnTo>
                      <a:pt x="1251" y="3859"/>
                    </a:lnTo>
                    <a:lnTo>
                      <a:pt x="1251" y="3880"/>
                    </a:lnTo>
                    <a:lnTo>
                      <a:pt x="1251" y="3901"/>
                    </a:lnTo>
                    <a:lnTo>
                      <a:pt x="1251" y="3922"/>
                    </a:lnTo>
                    <a:lnTo>
                      <a:pt x="1250" y="3944"/>
                    </a:lnTo>
                    <a:lnTo>
                      <a:pt x="1248" y="3966"/>
                    </a:lnTo>
                    <a:lnTo>
                      <a:pt x="1245" y="3987"/>
                    </a:lnTo>
                    <a:lnTo>
                      <a:pt x="1241" y="4010"/>
                    </a:lnTo>
                    <a:lnTo>
                      <a:pt x="1237" y="4032"/>
                    </a:lnTo>
                    <a:lnTo>
                      <a:pt x="1232" y="4055"/>
                    </a:lnTo>
                    <a:lnTo>
                      <a:pt x="1225" y="4078"/>
                    </a:lnTo>
                    <a:lnTo>
                      <a:pt x="1219" y="4100"/>
                    </a:lnTo>
                    <a:lnTo>
                      <a:pt x="1210" y="4124"/>
                    </a:lnTo>
                    <a:lnTo>
                      <a:pt x="1200" y="4148"/>
                    </a:lnTo>
                    <a:lnTo>
                      <a:pt x="1191" y="4172"/>
                    </a:lnTo>
                    <a:lnTo>
                      <a:pt x="1179" y="4197"/>
                    </a:lnTo>
                    <a:lnTo>
                      <a:pt x="1166" y="4221"/>
                    </a:lnTo>
                    <a:lnTo>
                      <a:pt x="1153" y="4246"/>
                    </a:lnTo>
                    <a:lnTo>
                      <a:pt x="1138" y="4272"/>
                    </a:lnTo>
                    <a:lnTo>
                      <a:pt x="1122" y="4298"/>
                    </a:lnTo>
                    <a:lnTo>
                      <a:pt x="1103" y="4322"/>
                    </a:lnTo>
                    <a:lnTo>
                      <a:pt x="1083" y="4344"/>
                    </a:lnTo>
                    <a:lnTo>
                      <a:pt x="1058" y="4367"/>
                    </a:lnTo>
                    <a:lnTo>
                      <a:pt x="1031" y="4389"/>
                    </a:lnTo>
                    <a:lnTo>
                      <a:pt x="1001" y="4410"/>
                    </a:lnTo>
                    <a:lnTo>
                      <a:pt x="967" y="4432"/>
                    </a:lnTo>
                    <a:lnTo>
                      <a:pt x="933" y="4451"/>
                    </a:lnTo>
                    <a:lnTo>
                      <a:pt x="895" y="4472"/>
                    </a:lnTo>
                    <a:lnTo>
                      <a:pt x="856" y="4490"/>
                    </a:lnTo>
                    <a:lnTo>
                      <a:pt x="815" y="4510"/>
                    </a:lnTo>
                    <a:lnTo>
                      <a:pt x="773" y="4527"/>
                    </a:lnTo>
                    <a:lnTo>
                      <a:pt x="730" y="4544"/>
                    </a:lnTo>
                    <a:lnTo>
                      <a:pt x="686" y="4561"/>
                    </a:lnTo>
                    <a:lnTo>
                      <a:pt x="642" y="4577"/>
                    </a:lnTo>
                    <a:lnTo>
                      <a:pt x="597" y="4593"/>
                    </a:lnTo>
                    <a:lnTo>
                      <a:pt x="551" y="4607"/>
                    </a:lnTo>
                    <a:lnTo>
                      <a:pt x="463" y="4634"/>
                    </a:lnTo>
                    <a:lnTo>
                      <a:pt x="376" y="4659"/>
                    </a:lnTo>
                    <a:lnTo>
                      <a:pt x="294" y="4680"/>
                    </a:lnTo>
                    <a:lnTo>
                      <a:pt x="220" y="4698"/>
                    </a:lnTo>
                    <a:lnTo>
                      <a:pt x="154" y="4714"/>
                    </a:lnTo>
                    <a:lnTo>
                      <a:pt x="98" y="4727"/>
                    </a:lnTo>
                    <a:lnTo>
                      <a:pt x="55" y="4735"/>
                    </a:lnTo>
                    <a:lnTo>
                      <a:pt x="27" y="4741"/>
                    </a:lnTo>
                    <a:lnTo>
                      <a:pt x="27" y="4758"/>
                    </a:lnTo>
                    <a:lnTo>
                      <a:pt x="27" y="4783"/>
                    </a:lnTo>
                    <a:lnTo>
                      <a:pt x="28" y="4814"/>
                    </a:lnTo>
                    <a:lnTo>
                      <a:pt x="30" y="4851"/>
                    </a:lnTo>
                    <a:lnTo>
                      <a:pt x="32" y="4871"/>
                    </a:lnTo>
                    <a:lnTo>
                      <a:pt x="34" y="4892"/>
                    </a:lnTo>
                    <a:lnTo>
                      <a:pt x="37" y="4914"/>
                    </a:lnTo>
                    <a:lnTo>
                      <a:pt x="42" y="4937"/>
                    </a:lnTo>
                    <a:lnTo>
                      <a:pt x="47" y="4961"/>
                    </a:lnTo>
                    <a:lnTo>
                      <a:pt x="53" y="4986"/>
                    </a:lnTo>
                    <a:lnTo>
                      <a:pt x="60" y="5010"/>
                    </a:lnTo>
                    <a:lnTo>
                      <a:pt x="68" y="5036"/>
                    </a:lnTo>
                    <a:lnTo>
                      <a:pt x="76" y="5061"/>
                    </a:lnTo>
                    <a:lnTo>
                      <a:pt x="87" y="5087"/>
                    </a:lnTo>
                    <a:lnTo>
                      <a:pt x="98" y="5113"/>
                    </a:lnTo>
                    <a:lnTo>
                      <a:pt x="111" y="5139"/>
                    </a:lnTo>
                    <a:lnTo>
                      <a:pt x="125" y="5165"/>
                    </a:lnTo>
                    <a:lnTo>
                      <a:pt x="140" y="5191"/>
                    </a:lnTo>
                    <a:lnTo>
                      <a:pt x="157" y="5216"/>
                    </a:lnTo>
                    <a:lnTo>
                      <a:pt x="177" y="5240"/>
                    </a:lnTo>
                    <a:lnTo>
                      <a:pt x="197" y="5264"/>
                    </a:lnTo>
                    <a:lnTo>
                      <a:pt x="219" y="5287"/>
                    </a:lnTo>
                    <a:lnTo>
                      <a:pt x="243" y="5309"/>
                    </a:lnTo>
                    <a:lnTo>
                      <a:pt x="268" y="5331"/>
                    </a:lnTo>
                    <a:lnTo>
                      <a:pt x="297" y="5352"/>
                    </a:lnTo>
                    <a:lnTo>
                      <a:pt x="327" y="5371"/>
                    </a:lnTo>
                    <a:lnTo>
                      <a:pt x="358" y="5388"/>
                    </a:lnTo>
                    <a:lnTo>
                      <a:pt x="393" y="5404"/>
                    </a:lnTo>
                    <a:lnTo>
                      <a:pt x="414" y="5413"/>
                    </a:lnTo>
                    <a:lnTo>
                      <a:pt x="443" y="5422"/>
                    </a:lnTo>
                    <a:lnTo>
                      <a:pt x="480" y="5431"/>
                    </a:lnTo>
                    <a:lnTo>
                      <a:pt x="522" y="5440"/>
                    </a:lnTo>
                    <a:lnTo>
                      <a:pt x="571" y="5450"/>
                    </a:lnTo>
                    <a:lnTo>
                      <a:pt x="625" y="5460"/>
                    </a:lnTo>
                    <a:lnTo>
                      <a:pt x="683" y="5469"/>
                    </a:lnTo>
                    <a:lnTo>
                      <a:pt x="748" y="5479"/>
                    </a:lnTo>
                    <a:lnTo>
                      <a:pt x="817" y="5488"/>
                    </a:lnTo>
                    <a:lnTo>
                      <a:pt x="890" y="5497"/>
                    </a:lnTo>
                    <a:lnTo>
                      <a:pt x="967" y="5507"/>
                    </a:lnTo>
                    <a:lnTo>
                      <a:pt x="1048" y="5517"/>
                    </a:lnTo>
                    <a:lnTo>
                      <a:pt x="1220" y="5534"/>
                    </a:lnTo>
                    <a:lnTo>
                      <a:pt x="1402" y="5551"/>
                    </a:lnTo>
                    <a:lnTo>
                      <a:pt x="1592" y="5567"/>
                    </a:lnTo>
                    <a:lnTo>
                      <a:pt x="1787" y="5580"/>
                    </a:lnTo>
                    <a:lnTo>
                      <a:pt x="1886" y="5587"/>
                    </a:lnTo>
                    <a:lnTo>
                      <a:pt x="1984" y="5592"/>
                    </a:lnTo>
                    <a:lnTo>
                      <a:pt x="2084" y="5598"/>
                    </a:lnTo>
                    <a:lnTo>
                      <a:pt x="2182" y="5602"/>
                    </a:lnTo>
                    <a:lnTo>
                      <a:pt x="2280" y="5606"/>
                    </a:lnTo>
                    <a:lnTo>
                      <a:pt x="2376" y="5610"/>
                    </a:lnTo>
                    <a:lnTo>
                      <a:pt x="2472" y="5612"/>
                    </a:lnTo>
                    <a:lnTo>
                      <a:pt x="2565" y="5613"/>
                    </a:lnTo>
                    <a:lnTo>
                      <a:pt x="2657" y="5614"/>
                    </a:lnTo>
                    <a:lnTo>
                      <a:pt x="2747" y="5613"/>
                    </a:lnTo>
                    <a:lnTo>
                      <a:pt x="2833" y="5612"/>
                    </a:lnTo>
                    <a:lnTo>
                      <a:pt x="2916" y="5610"/>
                    </a:lnTo>
                    <a:lnTo>
                      <a:pt x="2918" y="5576"/>
                    </a:lnTo>
                    <a:lnTo>
                      <a:pt x="2918" y="5540"/>
                    </a:lnTo>
                    <a:lnTo>
                      <a:pt x="2914" y="5503"/>
                    </a:lnTo>
                    <a:lnTo>
                      <a:pt x="2909" y="5462"/>
                    </a:lnTo>
                    <a:lnTo>
                      <a:pt x="2899" y="5420"/>
                    </a:lnTo>
                    <a:lnTo>
                      <a:pt x="2888" y="5375"/>
                    </a:lnTo>
                    <a:lnTo>
                      <a:pt x="2874" y="5330"/>
                    </a:lnTo>
                    <a:lnTo>
                      <a:pt x="2858" y="5282"/>
                    </a:lnTo>
                    <a:lnTo>
                      <a:pt x="2841" y="5233"/>
                    </a:lnTo>
                    <a:lnTo>
                      <a:pt x="2821" y="5183"/>
                    </a:lnTo>
                    <a:lnTo>
                      <a:pt x="2800" y="5132"/>
                    </a:lnTo>
                    <a:lnTo>
                      <a:pt x="2776" y="5081"/>
                    </a:lnTo>
                    <a:lnTo>
                      <a:pt x="2752" y="5028"/>
                    </a:lnTo>
                    <a:lnTo>
                      <a:pt x="2726" y="4975"/>
                    </a:lnTo>
                    <a:lnTo>
                      <a:pt x="2699" y="4921"/>
                    </a:lnTo>
                    <a:lnTo>
                      <a:pt x="2671" y="4867"/>
                    </a:lnTo>
                    <a:lnTo>
                      <a:pt x="2643" y="4813"/>
                    </a:lnTo>
                    <a:lnTo>
                      <a:pt x="2613" y="4759"/>
                    </a:lnTo>
                    <a:lnTo>
                      <a:pt x="2584" y="4706"/>
                    </a:lnTo>
                    <a:lnTo>
                      <a:pt x="2552" y="4652"/>
                    </a:lnTo>
                    <a:lnTo>
                      <a:pt x="2492" y="4547"/>
                    </a:lnTo>
                    <a:lnTo>
                      <a:pt x="2430" y="4446"/>
                    </a:lnTo>
                    <a:lnTo>
                      <a:pt x="2371" y="4349"/>
                    </a:lnTo>
                    <a:lnTo>
                      <a:pt x="2314" y="4257"/>
                    </a:lnTo>
                    <a:lnTo>
                      <a:pt x="2260" y="4173"/>
                    </a:lnTo>
                    <a:lnTo>
                      <a:pt x="2211" y="4097"/>
                    </a:lnTo>
                    <a:lnTo>
                      <a:pt x="2189" y="4063"/>
                    </a:lnTo>
                    <a:lnTo>
                      <a:pt x="2169" y="4031"/>
                    </a:lnTo>
                    <a:lnTo>
                      <a:pt x="2151" y="4001"/>
                    </a:lnTo>
                    <a:lnTo>
                      <a:pt x="2133" y="3974"/>
                    </a:lnTo>
                    <a:lnTo>
                      <a:pt x="2118" y="3949"/>
                    </a:lnTo>
                    <a:lnTo>
                      <a:pt x="2104" y="3928"/>
                    </a:lnTo>
                    <a:lnTo>
                      <a:pt x="2093" y="3908"/>
                    </a:lnTo>
                    <a:lnTo>
                      <a:pt x="2085" y="3892"/>
                    </a:lnTo>
                    <a:lnTo>
                      <a:pt x="2056" y="3840"/>
                    </a:lnTo>
                    <a:lnTo>
                      <a:pt x="2026" y="3787"/>
                    </a:lnTo>
                    <a:lnTo>
                      <a:pt x="1996" y="3736"/>
                    </a:lnTo>
                    <a:lnTo>
                      <a:pt x="1966" y="3684"/>
                    </a:lnTo>
                    <a:lnTo>
                      <a:pt x="1935" y="3632"/>
                    </a:lnTo>
                    <a:lnTo>
                      <a:pt x="1904" y="3581"/>
                    </a:lnTo>
                    <a:lnTo>
                      <a:pt x="1873" y="3531"/>
                    </a:lnTo>
                    <a:lnTo>
                      <a:pt x="1842" y="3480"/>
                    </a:lnTo>
                    <a:lnTo>
                      <a:pt x="1810" y="3430"/>
                    </a:lnTo>
                    <a:lnTo>
                      <a:pt x="1779" y="3382"/>
                    </a:lnTo>
                    <a:lnTo>
                      <a:pt x="1749" y="3333"/>
                    </a:lnTo>
                    <a:lnTo>
                      <a:pt x="1718" y="3285"/>
                    </a:lnTo>
                    <a:lnTo>
                      <a:pt x="1687" y="3238"/>
                    </a:lnTo>
                    <a:lnTo>
                      <a:pt x="1656" y="3192"/>
                    </a:lnTo>
                    <a:lnTo>
                      <a:pt x="1627" y="3145"/>
                    </a:lnTo>
                    <a:lnTo>
                      <a:pt x="1597" y="3100"/>
                    </a:lnTo>
                    <a:lnTo>
                      <a:pt x="1555" y="3036"/>
                    </a:lnTo>
                    <a:lnTo>
                      <a:pt x="1513" y="2973"/>
                    </a:lnTo>
                    <a:lnTo>
                      <a:pt x="1474" y="2912"/>
                    </a:lnTo>
                    <a:lnTo>
                      <a:pt x="1435" y="2850"/>
                    </a:lnTo>
                    <a:lnTo>
                      <a:pt x="1397" y="2791"/>
                    </a:lnTo>
                    <a:lnTo>
                      <a:pt x="1360" y="2733"/>
                    </a:lnTo>
                    <a:lnTo>
                      <a:pt x="1326" y="2676"/>
                    </a:lnTo>
                    <a:lnTo>
                      <a:pt x="1292" y="2619"/>
                    </a:lnTo>
                    <a:lnTo>
                      <a:pt x="1261" y="2564"/>
                    </a:lnTo>
                    <a:lnTo>
                      <a:pt x="1232" y="2510"/>
                    </a:lnTo>
                    <a:lnTo>
                      <a:pt x="1204" y="2458"/>
                    </a:lnTo>
                    <a:lnTo>
                      <a:pt x="1179" y="2407"/>
                    </a:lnTo>
                    <a:lnTo>
                      <a:pt x="1156" y="2356"/>
                    </a:lnTo>
                    <a:lnTo>
                      <a:pt x="1136" y="2306"/>
                    </a:lnTo>
                    <a:lnTo>
                      <a:pt x="1117" y="2259"/>
                    </a:lnTo>
                    <a:lnTo>
                      <a:pt x="1102" y="2211"/>
                    </a:lnTo>
                    <a:lnTo>
                      <a:pt x="1101" y="2206"/>
                    </a:lnTo>
                    <a:lnTo>
                      <a:pt x="1103" y="2202"/>
                    </a:lnTo>
                    <a:lnTo>
                      <a:pt x="1106" y="2197"/>
                    </a:lnTo>
                    <a:lnTo>
                      <a:pt x="1111" y="2195"/>
                    </a:lnTo>
                    <a:lnTo>
                      <a:pt x="1116" y="2194"/>
                    </a:lnTo>
                    <a:lnTo>
                      <a:pt x="1122" y="2196"/>
                    </a:lnTo>
                    <a:lnTo>
                      <a:pt x="1125" y="2200"/>
                    </a:lnTo>
                    <a:lnTo>
                      <a:pt x="1128" y="2204"/>
                    </a:lnTo>
                    <a:lnTo>
                      <a:pt x="1143" y="2250"/>
                    </a:lnTo>
                    <a:lnTo>
                      <a:pt x="1160" y="2298"/>
                    </a:lnTo>
                    <a:lnTo>
                      <a:pt x="1181" y="2346"/>
                    </a:lnTo>
                    <a:lnTo>
                      <a:pt x="1204" y="2396"/>
                    </a:lnTo>
                    <a:lnTo>
                      <a:pt x="1228" y="2448"/>
                    </a:lnTo>
                    <a:lnTo>
                      <a:pt x="1256" y="2500"/>
                    </a:lnTo>
                    <a:lnTo>
                      <a:pt x="1286" y="2552"/>
                    </a:lnTo>
                    <a:lnTo>
                      <a:pt x="1317" y="2608"/>
                    </a:lnTo>
                    <a:lnTo>
                      <a:pt x="1349" y="2664"/>
                    </a:lnTo>
                    <a:lnTo>
                      <a:pt x="1384" y="2720"/>
                    </a:lnTo>
                    <a:lnTo>
                      <a:pt x="1421" y="2778"/>
                    </a:lnTo>
                    <a:lnTo>
                      <a:pt x="1458" y="2837"/>
                    </a:lnTo>
                    <a:lnTo>
                      <a:pt x="1497" y="2898"/>
                    </a:lnTo>
                    <a:lnTo>
                      <a:pt x="1537" y="2959"/>
                    </a:lnTo>
                    <a:lnTo>
                      <a:pt x="1577" y="3022"/>
                    </a:lnTo>
                    <a:lnTo>
                      <a:pt x="1619" y="3085"/>
                    </a:lnTo>
                    <a:lnTo>
                      <a:pt x="1648" y="3130"/>
                    </a:lnTo>
                    <a:lnTo>
                      <a:pt x="1679" y="3176"/>
                    </a:lnTo>
                    <a:lnTo>
                      <a:pt x="1710" y="3223"/>
                    </a:lnTo>
                    <a:lnTo>
                      <a:pt x="1740" y="3270"/>
                    </a:lnTo>
                    <a:lnTo>
                      <a:pt x="1772" y="3319"/>
                    </a:lnTo>
                    <a:lnTo>
                      <a:pt x="1803" y="3368"/>
                    </a:lnTo>
                    <a:lnTo>
                      <a:pt x="1834" y="3416"/>
                    </a:lnTo>
                    <a:lnTo>
                      <a:pt x="1866" y="3466"/>
                    </a:lnTo>
                    <a:lnTo>
                      <a:pt x="1897" y="3516"/>
                    </a:lnTo>
                    <a:lnTo>
                      <a:pt x="1927" y="3567"/>
                    </a:lnTo>
                    <a:lnTo>
                      <a:pt x="1958" y="3618"/>
                    </a:lnTo>
                    <a:lnTo>
                      <a:pt x="1989" y="3670"/>
                    </a:lnTo>
                    <a:lnTo>
                      <a:pt x="2020" y="3722"/>
                    </a:lnTo>
                    <a:lnTo>
                      <a:pt x="2049" y="3774"/>
                    </a:lnTo>
                    <a:lnTo>
                      <a:pt x="2079" y="3826"/>
                    </a:lnTo>
                    <a:lnTo>
                      <a:pt x="2108" y="3879"/>
                    </a:lnTo>
                    <a:lnTo>
                      <a:pt x="2117" y="3895"/>
                    </a:lnTo>
                    <a:lnTo>
                      <a:pt x="2128" y="3914"/>
                    </a:lnTo>
                    <a:lnTo>
                      <a:pt x="2141" y="3936"/>
                    </a:lnTo>
                    <a:lnTo>
                      <a:pt x="2156" y="3960"/>
                    </a:lnTo>
                    <a:lnTo>
                      <a:pt x="2173" y="3987"/>
                    </a:lnTo>
                    <a:lnTo>
                      <a:pt x="2193" y="4017"/>
                    </a:lnTo>
                    <a:lnTo>
                      <a:pt x="2212" y="4049"/>
                    </a:lnTo>
                    <a:lnTo>
                      <a:pt x="2234" y="4082"/>
                    </a:lnTo>
                    <a:lnTo>
                      <a:pt x="2287" y="4165"/>
                    </a:lnTo>
                    <a:lnTo>
                      <a:pt x="2344" y="4255"/>
                    </a:lnTo>
                    <a:lnTo>
                      <a:pt x="2403" y="4350"/>
                    </a:lnTo>
                    <a:lnTo>
                      <a:pt x="2465" y="4450"/>
                    </a:lnTo>
                    <a:lnTo>
                      <a:pt x="2529" y="4555"/>
                    </a:lnTo>
                    <a:lnTo>
                      <a:pt x="2590" y="4662"/>
                    </a:lnTo>
                    <a:lnTo>
                      <a:pt x="2621" y="4717"/>
                    </a:lnTo>
                    <a:lnTo>
                      <a:pt x="2652" y="4771"/>
                    </a:lnTo>
                    <a:lnTo>
                      <a:pt x="2681" y="4826"/>
                    </a:lnTo>
                    <a:lnTo>
                      <a:pt x="2709" y="4880"/>
                    </a:lnTo>
                    <a:lnTo>
                      <a:pt x="2737" y="4934"/>
                    </a:lnTo>
                    <a:lnTo>
                      <a:pt x="2764" y="4988"/>
                    </a:lnTo>
                    <a:lnTo>
                      <a:pt x="2789" y="5042"/>
                    </a:lnTo>
                    <a:lnTo>
                      <a:pt x="2813" y="5095"/>
                    </a:lnTo>
                    <a:lnTo>
                      <a:pt x="2835" y="5146"/>
                    </a:lnTo>
                    <a:lnTo>
                      <a:pt x="2857" y="5197"/>
                    </a:lnTo>
                    <a:lnTo>
                      <a:pt x="2875" y="5247"/>
                    </a:lnTo>
                    <a:lnTo>
                      <a:pt x="2892" y="5297"/>
                    </a:lnTo>
                    <a:lnTo>
                      <a:pt x="2908" y="5344"/>
                    </a:lnTo>
                    <a:lnTo>
                      <a:pt x="2920" y="5389"/>
                    </a:lnTo>
                    <a:lnTo>
                      <a:pt x="2930" y="5434"/>
                    </a:lnTo>
                    <a:lnTo>
                      <a:pt x="2938" y="5477"/>
                    </a:lnTo>
                    <a:lnTo>
                      <a:pt x="2943" y="5517"/>
                    </a:lnTo>
                    <a:lnTo>
                      <a:pt x="2945" y="5556"/>
                    </a:lnTo>
                    <a:lnTo>
                      <a:pt x="2944" y="5591"/>
                    </a:lnTo>
                    <a:lnTo>
                      <a:pt x="2941" y="5626"/>
                    </a:lnTo>
                    <a:lnTo>
                      <a:pt x="2940" y="5630"/>
                    </a:lnTo>
                    <a:lnTo>
                      <a:pt x="2937" y="5633"/>
                    </a:lnTo>
                    <a:lnTo>
                      <a:pt x="2932" y="5635"/>
                    </a:lnTo>
                    <a:lnTo>
                      <a:pt x="2928" y="5637"/>
                    </a:lnTo>
                    <a:lnTo>
                      <a:pt x="2897" y="5638"/>
                    </a:lnTo>
                    <a:lnTo>
                      <a:pt x="2865" y="5639"/>
                    </a:lnTo>
                    <a:lnTo>
                      <a:pt x="2834" y="5639"/>
                    </a:lnTo>
                    <a:lnTo>
                      <a:pt x="2802" y="5640"/>
                    </a:lnTo>
                    <a:lnTo>
                      <a:pt x="2769" y="5640"/>
                    </a:lnTo>
                    <a:lnTo>
                      <a:pt x="2737" y="5641"/>
                    </a:lnTo>
                    <a:lnTo>
                      <a:pt x="2703" y="5641"/>
                    </a:lnTo>
                    <a:lnTo>
                      <a:pt x="2670" y="56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57"/>
              <p:cNvSpPr>
                <a:spLocks/>
              </p:cNvSpPr>
              <p:nvPr userDrawn="1"/>
            </p:nvSpPr>
            <p:spPr bwMode="auto">
              <a:xfrm>
                <a:off x="1743" y="1977"/>
                <a:ext cx="39" cy="179"/>
              </a:xfrm>
              <a:custGeom>
                <a:avLst/>
                <a:gdLst>
                  <a:gd name="T0" fmla="*/ 47 w 115"/>
                  <a:gd name="T1" fmla="*/ 537 h 537"/>
                  <a:gd name="T2" fmla="*/ 43 w 115"/>
                  <a:gd name="T3" fmla="*/ 537 h 537"/>
                  <a:gd name="T4" fmla="*/ 38 w 115"/>
                  <a:gd name="T5" fmla="*/ 535 h 537"/>
                  <a:gd name="T6" fmla="*/ 35 w 115"/>
                  <a:gd name="T7" fmla="*/ 532 h 537"/>
                  <a:gd name="T8" fmla="*/ 34 w 115"/>
                  <a:gd name="T9" fmla="*/ 527 h 537"/>
                  <a:gd name="T10" fmla="*/ 24 w 115"/>
                  <a:gd name="T11" fmla="*/ 495 h 537"/>
                  <a:gd name="T12" fmla="*/ 17 w 115"/>
                  <a:gd name="T13" fmla="*/ 460 h 537"/>
                  <a:gd name="T14" fmla="*/ 10 w 115"/>
                  <a:gd name="T15" fmla="*/ 426 h 537"/>
                  <a:gd name="T16" fmla="*/ 5 w 115"/>
                  <a:gd name="T17" fmla="*/ 390 h 537"/>
                  <a:gd name="T18" fmla="*/ 2 w 115"/>
                  <a:gd name="T19" fmla="*/ 355 h 537"/>
                  <a:gd name="T20" fmla="*/ 0 w 115"/>
                  <a:gd name="T21" fmla="*/ 318 h 537"/>
                  <a:gd name="T22" fmla="*/ 0 w 115"/>
                  <a:gd name="T23" fmla="*/ 282 h 537"/>
                  <a:gd name="T24" fmla="*/ 2 w 115"/>
                  <a:gd name="T25" fmla="*/ 247 h 537"/>
                  <a:gd name="T26" fmla="*/ 5 w 115"/>
                  <a:gd name="T27" fmla="*/ 212 h 537"/>
                  <a:gd name="T28" fmla="*/ 10 w 115"/>
                  <a:gd name="T29" fmla="*/ 178 h 537"/>
                  <a:gd name="T30" fmla="*/ 14 w 115"/>
                  <a:gd name="T31" fmla="*/ 161 h 537"/>
                  <a:gd name="T32" fmla="*/ 18 w 115"/>
                  <a:gd name="T33" fmla="*/ 144 h 537"/>
                  <a:gd name="T34" fmla="*/ 23 w 115"/>
                  <a:gd name="T35" fmla="*/ 128 h 537"/>
                  <a:gd name="T36" fmla="*/ 29 w 115"/>
                  <a:gd name="T37" fmla="*/ 113 h 537"/>
                  <a:gd name="T38" fmla="*/ 34 w 115"/>
                  <a:gd name="T39" fmla="*/ 98 h 537"/>
                  <a:gd name="T40" fmla="*/ 41 w 115"/>
                  <a:gd name="T41" fmla="*/ 83 h 537"/>
                  <a:gd name="T42" fmla="*/ 47 w 115"/>
                  <a:gd name="T43" fmla="*/ 68 h 537"/>
                  <a:gd name="T44" fmla="*/ 55 w 115"/>
                  <a:gd name="T45" fmla="*/ 55 h 537"/>
                  <a:gd name="T46" fmla="*/ 63 w 115"/>
                  <a:gd name="T47" fmla="*/ 41 h 537"/>
                  <a:gd name="T48" fmla="*/ 72 w 115"/>
                  <a:gd name="T49" fmla="*/ 28 h 537"/>
                  <a:gd name="T50" fmla="*/ 82 w 115"/>
                  <a:gd name="T51" fmla="*/ 16 h 537"/>
                  <a:gd name="T52" fmla="*/ 92 w 115"/>
                  <a:gd name="T53" fmla="*/ 4 h 537"/>
                  <a:gd name="T54" fmla="*/ 97 w 115"/>
                  <a:gd name="T55" fmla="*/ 1 h 537"/>
                  <a:gd name="T56" fmla="*/ 101 w 115"/>
                  <a:gd name="T57" fmla="*/ 0 h 537"/>
                  <a:gd name="T58" fmla="*/ 106 w 115"/>
                  <a:gd name="T59" fmla="*/ 0 h 537"/>
                  <a:gd name="T60" fmla="*/ 111 w 115"/>
                  <a:gd name="T61" fmla="*/ 3 h 537"/>
                  <a:gd name="T62" fmla="*/ 114 w 115"/>
                  <a:gd name="T63" fmla="*/ 7 h 537"/>
                  <a:gd name="T64" fmla="*/ 115 w 115"/>
                  <a:gd name="T65" fmla="*/ 12 h 537"/>
                  <a:gd name="T66" fmla="*/ 115 w 115"/>
                  <a:gd name="T67" fmla="*/ 17 h 537"/>
                  <a:gd name="T68" fmla="*/ 112 w 115"/>
                  <a:gd name="T69" fmla="*/ 22 h 537"/>
                  <a:gd name="T70" fmla="*/ 102 w 115"/>
                  <a:gd name="T71" fmla="*/ 33 h 537"/>
                  <a:gd name="T72" fmla="*/ 93 w 115"/>
                  <a:gd name="T73" fmla="*/ 45 h 537"/>
                  <a:gd name="T74" fmla="*/ 85 w 115"/>
                  <a:gd name="T75" fmla="*/ 57 h 537"/>
                  <a:gd name="T76" fmla="*/ 77 w 115"/>
                  <a:gd name="T77" fmla="*/ 70 h 537"/>
                  <a:gd name="T78" fmla="*/ 71 w 115"/>
                  <a:gd name="T79" fmla="*/ 83 h 537"/>
                  <a:gd name="T80" fmla="*/ 63 w 115"/>
                  <a:gd name="T81" fmla="*/ 96 h 537"/>
                  <a:gd name="T82" fmla="*/ 58 w 115"/>
                  <a:gd name="T83" fmla="*/ 111 h 537"/>
                  <a:gd name="T84" fmla="*/ 52 w 115"/>
                  <a:gd name="T85" fmla="*/ 125 h 537"/>
                  <a:gd name="T86" fmla="*/ 47 w 115"/>
                  <a:gd name="T87" fmla="*/ 140 h 537"/>
                  <a:gd name="T88" fmla="*/ 43 w 115"/>
                  <a:gd name="T89" fmla="*/ 155 h 537"/>
                  <a:gd name="T90" fmla="*/ 39 w 115"/>
                  <a:gd name="T91" fmla="*/ 170 h 537"/>
                  <a:gd name="T92" fmla="*/ 36 w 115"/>
                  <a:gd name="T93" fmla="*/ 186 h 537"/>
                  <a:gd name="T94" fmla="*/ 31 w 115"/>
                  <a:gd name="T95" fmla="*/ 219 h 537"/>
                  <a:gd name="T96" fmla="*/ 28 w 115"/>
                  <a:gd name="T97" fmla="*/ 252 h 537"/>
                  <a:gd name="T98" fmla="*/ 27 w 115"/>
                  <a:gd name="T99" fmla="*/ 286 h 537"/>
                  <a:gd name="T100" fmla="*/ 27 w 115"/>
                  <a:gd name="T101" fmla="*/ 320 h 537"/>
                  <a:gd name="T102" fmla="*/ 29 w 115"/>
                  <a:gd name="T103" fmla="*/ 355 h 537"/>
                  <a:gd name="T104" fmla="*/ 32 w 115"/>
                  <a:gd name="T105" fmla="*/ 388 h 537"/>
                  <a:gd name="T106" fmla="*/ 37 w 115"/>
                  <a:gd name="T107" fmla="*/ 423 h 537"/>
                  <a:gd name="T108" fmla="*/ 43 w 115"/>
                  <a:gd name="T109" fmla="*/ 456 h 537"/>
                  <a:gd name="T110" fmla="*/ 50 w 115"/>
                  <a:gd name="T111" fmla="*/ 489 h 537"/>
                  <a:gd name="T112" fmla="*/ 60 w 115"/>
                  <a:gd name="T113" fmla="*/ 520 h 537"/>
                  <a:gd name="T114" fmla="*/ 60 w 115"/>
                  <a:gd name="T115" fmla="*/ 525 h 537"/>
                  <a:gd name="T116" fmla="*/ 59 w 115"/>
                  <a:gd name="T117" fmla="*/ 531 h 537"/>
                  <a:gd name="T118" fmla="*/ 56 w 115"/>
                  <a:gd name="T119" fmla="*/ 534 h 537"/>
                  <a:gd name="T120" fmla="*/ 50 w 115"/>
                  <a:gd name="T121" fmla="*/ 537 h 537"/>
                  <a:gd name="T122" fmla="*/ 48 w 115"/>
                  <a:gd name="T123" fmla="*/ 537 h 537"/>
                  <a:gd name="T124" fmla="*/ 47 w 115"/>
                  <a:gd name="T125"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 h="537">
                    <a:moveTo>
                      <a:pt x="47" y="537"/>
                    </a:moveTo>
                    <a:lnTo>
                      <a:pt x="43" y="537"/>
                    </a:lnTo>
                    <a:lnTo>
                      <a:pt x="38" y="535"/>
                    </a:lnTo>
                    <a:lnTo>
                      <a:pt x="35" y="532"/>
                    </a:lnTo>
                    <a:lnTo>
                      <a:pt x="34" y="527"/>
                    </a:lnTo>
                    <a:lnTo>
                      <a:pt x="24" y="495"/>
                    </a:lnTo>
                    <a:lnTo>
                      <a:pt x="17" y="460"/>
                    </a:lnTo>
                    <a:lnTo>
                      <a:pt x="10" y="426"/>
                    </a:lnTo>
                    <a:lnTo>
                      <a:pt x="5" y="390"/>
                    </a:lnTo>
                    <a:lnTo>
                      <a:pt x="2" y="355"/>
                    </a:lnTo>
                    <a:lnTo>
                      <a:pt x="0" y="318"/>
                    </a:lnTo>
                    <a:lnTo>
                      <a:pt x="0" y="282"/>
                    </a:lnTo>
                    <a:lnTo>
                      <a:pt x="2" y="247"/>
                    </a:lnTo>
                    <a:lnTo>
                      <a:pt x="5" y="212"/>
                    </a:lnTo>
                    <a:lnTo>
                      <a:pt x="10" y="178"/>
                    </a:lnTo>
                    <a:lnTo>
                      <a:pt x="14" y="161"/>
                    </a:lnTo>
                    <a:lnTo>
                      <a:pt x="18" y="144"/>
                    </a:lnTo>
                    <a:lnTo>
                      <a:pt x="23" y="128"/>
                    </a:lnTo>
                    <a:lnTo>
                      <a:pt x="29" y="113"/>
                    </a:lnTo>
                    <a:lnTo>
                      <a:pt x="34" y="98"/>
                    </a:lnTo>
                    <a:lnTo>
                      <a:pt x="41" y="83"/>
                    </a:lnTo>
                    <a:lnTo>
                      <a:pt x="47" y="68"/>
                    </a:lnTo>
                    <a:lnTo>
                      <a:pt x="55" y="55"/>
                    </a:lnTo>
                    <a:lnTo>
                      <a:pt x="63" y="41"/>
                    </a:lnTo>
                    <a:lnTo>
                      <a:pt x="72" y="28"/>
                    </a:lnTo>
                    <a:lnTo>
                      <a:pt x="82" y="16"/>
                    </a:lnTo>
                    <a:lnTo>
                      <a:pt x="92" y="4"/>
                    </a:lnTo>
                    <a:lnTo>
                      <a:pt x="97" y="1"/>
                    </a:lnTo>
                    <a:lnTo>
                      <a:pt x="101" y="0"/>
                    </a:lnTo>
                    <a:lnTo>
                      <a:pt x="106" y="0"/>
                    </a:lnTo>
                    <a:lnTo>
                      <a:pt x="111" y="3"/>
                    </a:lnTo>
                    <a:lnTo>
                      <a:pt x="114" y="7"/>
                    </a:lnTo>
                    <a:lnTo>
                      <a:pt x="115" y="12"/>
                    </a:lnTo>
                    <a:lnTo>
                      <a:pt x="115" y="17"/>
                    </a:lnTo>
                    <a:lnTo>
                      <a:pt x="112" y="22"/>
                    </a:lnTo>
                    <a:lnTo>
                      <a:pt x="102" y="33"/>
                    </a:lnTo>
                    <a:lnTo>
                      <a:pt x="93" y="45"/>
                    </a:lnTo>
                    <a:lnTo>
                      <a:pt x="85" y="57"/>
                    </a:lnTo>
                    <a:lnTo>
                      <a:pt x="77" y="70"/>
                    </a:lnTo>
                    <a:lnTo>
                      <a:pt x="71" y="83"/>
                    </a:lnTo>
                    <a:lnTo>
                      <a:pt x="63" y="96"/>
                    </a:lnTo>
                    <a:lnTo>
                      <a:pt x="58" y="111"/>
                    </a:lnTo>
                    <a:lnTo>
                      <a:pt x="52" y="125"/>
                    </a:lnTo>
                    <a:lnTo>
                      <a:pt x="47" y="140"/>
                    </a:lnTo>
                    <a:lnTo>
                      <a:pt x="43" y="155"/>
                    </a:lnTo>
                    <a:lnTo>
                      <a:pt x="39" y="170"/>
                    </a:lnTo>
                    <a:lnTo>
                      <a:pt x="36" y="186"/>
                    </a:lnTo>
                    <a:lnTo>
                      <a:pt x="31" y="219"/>
                    </a:lnTo>
                    <a:lnTo>
                      <a:pt x="28" y="252"/>
                    </a:lnTo>
                    <a:lnTo>
                      <a:pt x="27" y="286"/>
                    </a:lnTo>
                    <a:lnTo>
                      <a:pt x="27" y="320"/>
                    </a:lnTo>
                    <a:lnTo>
                      <a:pt x="29" y="355"/>
                    </a:lnTo>
                    <a:lnTo>
                      <a:pt x="32" y="388"/>
                    </a:lnTo>
                    <a:lnTo>
                      <a:pt x="37" y="423"/>
                    </a:lnTo>
                    <a:lnTo>
                      <a:pt x="43" y="456"/>
                    </a:lnTo>
                    <a:lnTo>
                      <a:pt x="50" y="489"/>
                    </a:lnTo>
                    <a:lnTo>
                      <a:pt x="60" y="520"/>
                    </a:lnTo>
                    <a:lnTo>
                      <a:pt x="60" y="525"/>
                    </a:lnTo>
                    <a:lnTo>
                      <a:pt x="59" y="531"/>
                    </a:lnTo>
                    <a:lnTo>
                      <a:pt x="56" y="534"/>
                    </a:lnTo>
                    <a:lnTo>
                      <a:pt x="50" y="537"/>
                    </a:lnTo>
                    <a:lnTo>
                      <a:pt x="48" y="537"/>
                    </a:lnTo>
                    <a:lnTo>
                      <a:pt x="47" y="5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58"/>
              <p:cNvSpPr>
                <a:spLocks/>
              </p:cNvSpPr>
              <p:nvPr userDrawn="1"/>
            </p:nvSpPr>
            <p:spPr bwMode="auto">
              <a:xfrm>
                <a:off x="2057" y="1399"/>
                <a:ext cx="387" cy="114"/>
              </a:xfrm>
              <a:custGeom>
                <a:avLst/>
                <a:gdLst>
                  <a:gd name="T0" fmla="*/ 1143 w 1160"/>
                  <a:gd name="T1" fmla="*/ 343 h 344"/>
                  <a:gd name="T2" fmla="*/ 1137 w 1160"/>
                  <a:gd name="T3" fmla="*/ 341 h 344"/>
                  <a:gd name="T4" fmla="*/ 1117 w 1160"/>
                  <a:gd name="T5" fmla="*/ 311 h 344"/>
                  <a:gd name="T6" fmla="*/ 1076 w 1160"/>
                  <a:gd name="T7" fmla="*/ 261 h 344"/>
                  <a:gd name="T8" fmla="*/ 1030 w 1160"/>
                  <a:gd name="T9" fmla="*/ 217 h 344"/>
                  <a:gd name="T10" fmla="*/ 981 w 1160"/>
                  <a:gd name="T11" fmla="*/ 176 h 344"/>
                  <a:gd name="T12" fmla="*/ 928 w 1160"/>
                  <a:gd name="T13" fmla="*/ 141 h 344"/>
                  <a:gd name="T14" fmla="*/ 871 w 1160"/>
                  <a:gd name="T15" fmla="*/ 110 h 344"/>
                  <a:gd name="T16" fmla="*/ 808 w 1160"/>
                  <a:gd name="T17" fmla="*/ 84 h 344"/>
                  <a:gd name="T18" fmla="*/ 742 w 1160"/>
                  <a:gd name="T19" fmla="*/ 63 h 344"/>
                  <a:gd name="T20" fmla="*/ 672 w 1160"/>
                  <a:gd name="T21" fmla="*/ 47 h 344"/>
                  <a:gd name="T22" fmla="*/ 598 w 1160"/>
                  <a:gd name="T23" fmla="*/ 35 h 344"/>
                  <a:gd name="T24" fmla="*/ 520 w 1160"/>
                  <a:gd name="T25" fmla="*/ 29 h 344"/>
                  <a:gd name="T26" fmla="*/ 438 w 1160"/>
                  <a:gd name="T27" fmla="*/ 27 h 344"/>
                  <a:gd name="T28" fmla="*/ 351 w 1160"/>
                  <a:gd name="T29" fmla="*/ 30 h 344"/>
                  <a:gd name="T30" fmla="*/ 260 w 1160"/>
                  <a:gd name="T31" fmla="*/ 37 h 344"/>
                  <a:gd name="T32" fmla="*/ 166 w 1160"/>
                  <a:gd name="T33" fmla="*/ 49 h 344"/>
                  <a:gd name="T34" fmla="*/ 67 w 1160"/>
                  <a:gd name="T35" fmla="*/ 67 h 344"/>
                  <a:gd name="T36" fmla="*/ 11 w 1160"/>
                  <a:gd name="T37" fmla="*/ 77 h 344"/>
                  <a:gd name="T38" fmla="*/ 3 w 1160"/>
                  <a:gd name="T39" fmla="*/ 72 h 344"/>
                  <a:gd name="T40" fmla="*/ 0 w 1160"/>
                  <a:gd name="T41" fmla="*/ 62 h 344"/>
                  <a:gd name="T42" fmla="*/ 7 w 1160"/>
                  <a:gd name="T43" fmla="*/ 54 h 344"/>
                  <a:gd name="T44" fmla="*/ 63 w 1160"/>
                  <a:gd name="T45" fmla="*/ 41 h 344"/>
                  <a:gd name="T46" fmla="*/ 163 w 1160"/>
                  <a:gd name="T47" fmla="*/ 22 h 344"/>
                  <a:gd name="T48" fmla="*/ 260 w 1160"/>
                  <a:gd name="T49" fmla="*/ 11 h 344"/>
                  <a:gd name="T50" fmla="*/ 353 w 1160"/>
                  <a:gd name="T51" fmla="*/ 2 h 344"/>
                  <a:gd name="T52" fmla="*/ 441 w 1160"/>
                  <a:gd name="T53" fmla="*/ 0 h 344"/>
                  <a:gd name="T54" fmla="*/ 526 w 1160"/>
                  <a:gd name="T55" fmla="*/ 2 h 344"/>
                  <a:gd name="T56" fmla="*/ 606 w 1160"/>
                  <a:gd name="T57" fmla="*/ 9 h 344"/>
                  <a:gd name="T58" fmla="*/ 682 w 1160"/>
                  <a:gd name="T59" fmla="*/ 21 h 344"/>
                  <a:gd name="T60" fmla="*/ 754 w 1160"/>
                  <a:gd name="T61" fmla="*/ 37 h 344"/>
                  <a:gd name="T62" fmla="*/ 821 w 1160"/>
                  <a:gd name="T63" fmla="*/ 60 h 344"/>
                  <a:gd name="T64" fmla="*/ 885 w 1160"/>
                  <a:gd name="T65" fmla="*/ 87 h 344"/>
                  <a:gd name="T66" fmla="*/ 944 w 1160"/>
                  <a:gd name="T67" fmla="*/ 118 h 344"/>
                  <a:gd name="T68" fmla="*/ 999 w 1160"/>
                  <a:gd name="T69" fmla="*/ 155 h 344"/>
                  <a:gd name="T70" fmla="*/ 1050 w 1160"/>
                  <a:gd name="T71" fmla="*/ 197 h 344"/>
                  <a:gd name="T72" fmla="*/ 1096 w 1160"/>
                  <a:gd name="T73" fmla="*/ 244 h 344"/>
                  <a:gd name="T74" fmla="*/ 1138 w 1160"/>
                  <a:gd name="T75" fmla="*/ 295 h 344"/>
                  <a:gd name="T76" fmla="*/ 1160 w 1160"/>
                  <a:gd name="T77" fmla="*/ 328 h 344"/>
                  <a:gd name="T78" fmla="*/ 1158 w 1160"/>
                  <a:gd name="T79" fmla="*/ 338 h 344"/>
                  <a:gd name="T80" fmla="*/ 1150 w 1160"/>
                  <a:gd name="T81" fmla="*/ 3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60" h="344">
                    <a:moveTo>
                      <a:pt x="1146" y="344"/>
                    </a:moveTo>
                    <a:lnTo>
                      <a:pt x="1143" y="343"/>
                    </a:lnTo>
                    <a:lnTo>
                      <a:pt x="1140" y="342"/>
                    </a:lnTo>
                    <a:lnTo>
                      <a:pt x="1137" y="341"/>
                    </a:lnTo>
                    <a:lnTo>
                      <a:pt x="1135" y="338"/>
                    </a:lnTo>
                    <a:lnTo>
                      <a:pt x="1117" y="311"/>
                    </a:lnTo>
                    <a:lnTo>
                      <a:pt x="1096" y="286"/>
                    </a:lnTo>
                    <a:lnTo>
                      <a:pt x="1076" y="261"/>
                    </a:lnTo>
                    <a:lnTo>
                      <a:pt x="1053" y="238"/>
                    </a:lnTo>
                    <a:lnTo>
                      <a:pt x="1030" y="217"/>
                    </a:lnTo>
                    <a:lnTo>
                      <a:pt x="1007" y="196"/>
                    </a:lnTo>
                    <a:lnTo>
                      <a:pt x="981" y="176"/>
                    </a:lnTo>
                    <a:lnTo>
                      <a:pt x="955" y="157"/>
                    </a:lnTo>
                    <a:lnTo>
                      <a:pt x="928" y="141"/>
                    </a:lnTo>
                    <a:lnTo>
                      <a:pt x="900" y="125"/>
                    </a:lnTo>
                    <a:lnTo>
                      <a:pt x="871" y="110"/>
                    </a:lnTo>
                    <a:lnTo>
                      <a:pt x="839" y="97"/>
                    </a:lnTo>
                    <a:lnTo>
                      <a:pt x="808" y="84"/>
                    </a:lnTo>
                    <a:lnTo>
                      <a:pt x="776" y="73"/>
                    </a:lnTo>
                    <a:lnTo>
                      <a:pt x="742" y="63"/>
                    </a:lnTo>
                    <a:lnTo>
                      <a:pt x="707" y="55"/>
                    </a:lnTo>
                    <a:lnTo>
                      <a:pt x="672" y="47"/>
                    </a:lnTo>
                    <a:lnTo>
                      <a:pt x="636" y="41"/>
                    </a:lnTo>
                    <a:lnTo>
                      <a:pt x="598" y="35"/>
                    </a:lnTo>
                    <a:lnTo>
                      <a:pt x="560" y="31"/>
                    </a:lnTo>
                    <a:lnTo>
                      <a:pt x="520" y="29"/>
                    </a:lnTo>
                    <a:lnTo>
                      <a:pt x="480" y="27"/>
                    </a:lnTo>
                    <a:lnTo>
                      <a:pt x="438" y="27"/>
                    </a:lnTo>
                    <a:lnTo>
                      <a:pt x="394" y="28"/>
                    </a:lnTo>
                    <a:lnTo>
                      <a:pt x="351" y="30"/>
                    </a:lnTo>
                    <a:lnTo>
                      <a:pt x="307" y="33"/>
                    </a:lnTo>
                    <a:lnTo>
                      <a:pt x="260" y="37"/>
                    </a:lnTo>
                    <a:lnTo>
                      <a:pt x="214" y="43"/>
                    </a:lnTo>
                    <a:lnTo>
                      <a:pt x="166" y="49"/>
                    </a:lnTo>
                    <a:lnTo>
                      <a:pt x="117" y="58"/>
                    </a:lnTo>
                    <a:lnTo>
                      <a:pt x="67" y="67"/>
                    </a:lnTo>
                    <a:lnTo>
                      <a:pt x="16" y="77"/>
                    </a:lnTo>
                    <a:lnTo>
                      <a:pt x="11" y="77"/>
                    </a:lnTo>
                    <a:lnTo>
                      <a:pt x="7" y="75"/>
                    </a:lnTo>
                    <a:lnTo>
                      <a:pt x="3" y="72"/>
                    </a:lnTo>
                    <a:lnTo>
                      <a:pt x="0" y="68"/>
                    </a:lnTo>
                    <a:lnTo>
                      <a:pt x="0" y="62"/>
                    </a:lnTo>
                    <a:lnTo>
                      <a:pt x="2" y="57"/>
                    </a:lnTo>
                    <a:lnTo>
                      <a:pt x="7" y="54"/>
                    </a:lnTo>
                    <a:lnTo>
                      <a:pt x="11" y="52"/>
                    </a:lnTo>
                    <a:lnTo>
                      <a:pt x="63" y="41"/>
                    </a:lnTo>
                    <a:lnTo>
                      <a:pt x="114" y="31"/>
                    </a:lnTo>
                    <a:lnTo>
                      <a:pt x="163" y="22"/>
                    </a:lnTo>
                    <a:lnTo>
                      <a:pt x="213" y="16"/>
                    </a:lnTo>
                    <a:lnTo>
                      <a:pt x="260" y="11"/>
                    </a:lnTo>
                    <a:lnTo>
                      <a:pt x="307" y="5"/>
                    </a:lnTo>
                    <a:lnTo>
                      <a:pt x="353" y="2"/>
                    </a:lnTo>
                    <a:lnTo>
                      <a:pt x="398" y="1"/>
                    </a:lnTo>
                    <a:lnTo>
                      <a:pt x="441" y="0"/>
                    </a:lnTo>
                    <a:lnTo>
                      <a:pt x="484" y="0"/>
                    </a:lnTo>
                    <a:lnTo>
                      <a:pt x="526" y="2"/>
                    </a:lnTo>
                    <a:lnTo>
                      <a:pt x="566" y="5"/>
                    </a:lnTo>
                    <a:lnTo>
                      <a:pt x="606" y="9"/>
                    </a:lnTo>
                    <a:lnTo>
                      <a:pt x="644" y="15"/>
                    </a:lnTo>
                    <a:lnTo>
                      <a:pt x="682" y="21"/>
                    </a:lnTo>
                    <a:lnTo>
                      <a:pt x="718" y="29"/>
                    </a:lnTo>
                    <a:lnTo>
                      <a:pt x="754" y="37"/>
                    </a:lnTo>
                    <a:lnTo>
                      <a:pt x="787" y="48"/>
                    </a:lnTo>
                    <a:lnTo>
                      <a:pt x="821" y="60"/>
                    </a:lnTo>
                    <a:lnTo>
                      <a:pt x="853" y="73"/>
                    </a:lnTo>
                    <a:lnTo>
                      <a:pt x="885" y="87"/>
                    </a:lnTo>
                    <a:lnTo>
                      <a:pt x="915" y="102"/>
                    </a:lnTo>
                    <a:lnTo>
                      <a:pt x="944" y="118"/>
                    </a:lnTo>
                    <a:lnTo>
                      <a:pt x="972" y="137"/>
                    </a:lnTo>
                    <a:lnTo>
                      <a:pt x="999" y="155"/>
                    </a:lnTo>
                    <a:lnTo>
                      <a:pt x="1025" y="176"/>
                    </a:lnTo>
                    <a:lnTo>
                      <a:pt x="1050" y="197"/>
                    </a:lnTo>
                    <a:lnTo>
                      <a:pt x="1074" y="220"/>
                    </a:lnTo>
                    <a:lnTo>
                      <a:pt x="1096" y="244"/>
                    </a:lnTo>
                    <a:lnTo>
                      <a:pt x="1118" y="269"/>
                    </a:lnTo>
                    <a:lnTo>
                      <a:pt x="1138" y="295"/>
                    </a:lnTo>
                    <a:lnTo>
                      <a:pt x="1158" y="322"/>
                    </a:lnTo>
                    <a:lnTo>
                      <a:pt x="1160" y="328"/>
                    </a:lnTo>
                    <a:lnTo>
                      <a:pt x="1160" y="333"/>
                    </a:lnTo>
                    <a:lnTo>
                      <a:pt x="1158" y="338"/>
                    </a:lnTo>
                    <a:lnTo>
                      <a:pt x="1153" y="342"/>
                    </a:lnTo>
                    <a:lnTo>
                      <a:pt x="1150" y="343"/>
                    </a:lnTo>
                    <a:lnTo>
                      <a:pt x="1146" y="3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59"/>
              <p:cNvSpPr>
                <a:spLocks noEditPoints="1"/>
              </p:cNvSpPr>
              <p:nvPr userDrawn="1"/>
            </p:nvSpPr>
            <p:spPr bwMode="auto">
              <a:xfrm>
                <a:off x="1514" y="1372"/>
                <a:ext cx="1162" cy="996"/>
              </a:xfrm>
              <a:custGeom>
                <a:avLst/>
                <a:gdLst>
                  <a:gd name="T0" fmla="*/ 1446 w 3484"/>
                  <a:gd name="T1" fmla="*/ 2952 h 2986"/>
                  <a:gd name="T2" fmla="*/ 1182 w 3484"/>
                  <a:gd name="T3" fmla="*/ 2797 h 2986"/>
                  <a:gd name="T4" fmla="*/ 789 w 3484"/>
                  <a:gd name="T5" fmla="*/ 2395 h 2986"/>
                  <a:gd name="T6" fmla="*/ 358 w 3484"/>
                  <a:gd name="T7" fmla="*/ 1822 h 2986"/>
                  <a:gd name="T8" fmla="*/ 87 w 3484"/>
                  <a:gd name="T9" fmla="*/ 1321 h 2986"/>
                  <a:gd name="T10" fmla="*/ 6 w 3484"/>
                  <a:gd name="T11" fmla="*/ 1042 h 2986"/>
                  <a:gd name="T12" fmla="*/ 157 w 3484"/>
                  <a:gd name="T13" fmla="*/ 781 h 2986"/>
                  <a:gd name="T14" fmla="*/ 476 w 3484"/>
                  <a:gd name="T15" fmla="*/ 436 h 2986"/>
                  <a:gd name="T16" fmla="*/ 749 w 3484"/>
                  <a:gd name="T17" fmla="*/ 240 h 2986"/>
                  <a:gd name="T18" fmla="*/ 1293 w 3484"/>
                  <a:gd name="T19" fmla="*/ 63 h 2986"/>
                  <a:gd name="T20" fmla="*/ 1832 w 3484"/>
                  <a:gd name="T21" fmla="*/ 0 h 2986"/>
                  <a:gd name="T22" fmla="*/ 2311 w 3484"/>
                  <a:gd name="T23" fmla="*/ 66 h 2986"/>
                  <a:gd name="T24" fmla="*/ 2628 w 3484"/>
                  <a:gd name="T25" fmla="*/ 233 h 2986"/>
                  <a:gd name="T26" fmla="*/ 2831 w 3484"/>
                  <a:gd name="T27" fmla="*/ 461 h 2986"/>
                  <a:gd name="T28" fmla="*/ 3043 w 3484"/>
                  <a:gd name="T29" fmla="*/ 747 h 2986"/>
                  <a:gd name="T30" fmla="*/ 3187 w 3484"/>
                  <a:gd name="T31" fmla="*/ 1003 h 2986"/>
                  <a:gd name="T32" fmla="*/ 3268 w 3484"/>
                  <a:gd name="T33" fmla="*/ 1212 h 2986"/>
                  <a:gd name="T34" fmla="*/ 3305 w 3484"/>
                  <a:gd name="T35" fmla="*/ 1464 h 2986"/>
                  <a:gd name="T36" fmla="*/ 3336 w 3484"/>
                  <a:gd name="T37" fmla="*/ 1815 h 2986"/>
                  <a:gd name="T38" fmla="*/ 3441 w 3484"/>
                  <a:gd name="T39" fmla="*/ 2207 h 2986"/>
                  <a:gd name="T40" fmla="*/ 3481 w 3484"/>
                  <a:gd name="T41" fmla="*/ 2460 h 2986"/>
                  <a:gd name="T42" fmla="*/ 3482 w 3484"/>
                  <a:gd name="T43" fmla="*/ 2502 h 2986"/>
                  <a:gd name="T44" fmla="*/ 3474 w 3484"/>
                  <a:gd name="T45" fmla="*/ 2569 h 2986"/>
                  <a:gd name="T46" fmla="*/ 3440 w 3484"/>
                  <a:gd name="T47" fmla="*/ 2660 h 2986"/>
                  <a:gd name="T48" fmla="*/ 3431 w 3484"/>
                  <a:gd name="T49" fmla="*/ 2522 h 2986"/>
                  <a:gd name="T50" fmla="*/ 3385 w 3484"/>
                  <a:gd name="T51" fmla="*/ 2369 h 2986"/>
                  <a:gd name="T52" fmla="*/ 3301 w 3484"/>
                  <a:gd name="T53" fmla="*/ 2310 h 2986"/>
                  <a:gd name="T54" fmla="*/ 3110 w 3484"/>
                  <a:gd name="T55" fmla="*/ 2301 h 2986"/>
                  <a:gd name="T56" fmla="*/ 2888 w 3484"/>
                  <a:gd name="T57" fmla="*/ 2383 h 2986"/>
                  <a:gd name="T58" fmla="*/ 2643 w 3484"/>
                  <a:gd name="T59" fmla="*/ 2573 h 2986"/>
                  <a:gd name="T60" fmla="*/ 2257 w 3484"/>
                  <a:gd name="T61" fmla="*/ 2829 h 2986"/>
                  <a:gd name="T62" fmla="*/ 1914 w 3484"/>
                  <a:gd name="T63" fmla="*/ 2951 h 2986"/>
                  <a:gd name="T64" fmla="*/ 1650 w 3484"/>
                  <a:gd name="T65" fmla="*/ 2986 h 2986"/>
                  <a:gd name="T66" fmla="*/ 80 w 3484"/>
                  <a:gd name="T67" fmla="*/ 1220 h 2986"/>
                  <a:gd name="T68" fmla="*/ 259 w 3484"/>
                  <a:gd name="T69" fmla="*/ 1614 h 2986"/>
                  <a:gd name="T70" fmla="*/ 669 w 3484"/>
                  <a:gd name="T71" fmla="*/ 2206 h 2986"/>
                  <a:gd name="T72" fmla="*/ 1081 w 3484"/>
                  <a:gd name="T73" fmla="*/ 2668 h 2986"/>
                  <a:gd name="T74" fmla="*/ 1369 w 3484"/>
                  <a:gd name="T75" fmla="*/ 2890 h 2986"/>
                  <a:gd name="T76" fmla="*/ 1625 w 3484"/>
                  <a:gd name="T77" fmla="*/ 2959 h 2986"/>
                  <a:gd name="T78" fmla="*/ 1896 w 3484"/>
                  <a:gd name="T79" fmla="*/ 2927 h 2986"/>
                  <a:gd name="T80" fmla="*/ 2245 w 3484"/>
                  <a:gd name="T81" fmla="*/ 2804 h 2986"/>
                  <a:gd name="T82" fmla="*/ 2626 w 3484"/>
                  <a:gd name="T83" fmla="*/ 2553 h 2986"/>
                  <a:gd name="T84" fmla="*/ 2876 w 3484"/>
                  <a:gd name="T85" fmla="*/ 2360 h 2986"/>
                  <a:gd name="T86" fmla="*/ 3107 w 3484"/>
                  <a:gd name="T87" fmla="*/ 2274 h 2986"/>
                  <a:gd name="T88" fmla="*/ 3309 w 3484"/>
                  <a:gd name="T89" fmla="*/ 2284 h 2986"/>
                  <a:gd name="T90" fmla="*/ 3422 w 3484"/>
                  <a:gd name="T91" fmla="*/ 2376 h 2986"/>
                  <a:gd name="T92" fmla="*/ 3453 w 3484"/>
                  <a:gd name="T93" fmla="*/ 2433 h 2986"/>
                  <a:gd name="T94" fmla="*/ 3373 w 3484"/>
                  <a:gd name="T95" fmla="*/ 2085 h 2986"/>
                  <a:gd name="T96" fmla="*/ 3290 w 3484"/>
                  <a:gd name="T97" fmla="*/ 1658 h 2986"/>
                  <a:gd name="T98" fmla="*/ 3274 w 3484"/>
                  <a:gd name="T99" fmla="*/ 1395 h 2986"/>
                  <a:gd name="T100" fmla="*/ 3208 w 3484"/>
                  <a:gd name="T101" fmla="*/ 1123 h 2986"/>
                  <a:gd name="T102" fmla="*/ 3127 w 3484"/>
                  <a:gd name="T103" fmla="*/ 935 h 2986"/>
                  <a:gd name="T104" fmla="*/ 2914 w 3484"/>
                  <a:gd name="T105" fmla="*/ 618 h 2986"/>
                  <a:gd name="T106" fmla="*/ 2736 w 3484"/>
                  <a:gd name="T107" fmla="*/ 382 h 2986"/>
                  <a:gd name="T108" fmla="*/ 2539 w 3484"/>
                  <a:gd name="T109" fmla="*/ 200 h 2986"/>
                  <a:gd name="T110" fmla="*/ 2157 w 3484"/>
                  <a:gd name="T111" fmla="*/ 55 h 2986"/>
                  <a:gd name="T112" fmla="*/ 1654 w 3484"/>
                  <a:gd name="T113" fmla="*/ 34 h 2986"/>
                  <a:gd name="T114" fmla="*/ 1121 w 3484"/>
                  <a:gd name="T115" fmla="*/ 135 h 2986"/>
                  <a:gd name="T116" fmla="*/ 676 w 3484"/>
                  <a:gd name="T117" fmla="*/ 311 h 2986"/>
                  <a:gd name="T118" fmla="*/ 407 w 3484"/>
                  <a:gd name="T119" fmla="*/ 541 h 2986"/>
                  <a:gd name="T120" fmla="*/ 36 w 3484"/>
                  <a:gd name="T121" fmla="*/ 993 h 2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84" h="2986">
                    <a:moveTo>
                      <a:pt x="1650" y="2986"/>
                    </a:moveTo>
                    <a:lnTo>
                      <a:pt x="1637" y="2986"/>
                    </a:lnTo>
                    <a:lnTo>
                      <a:pt x="1624" y="2986"/>
                    </a:lnTo>
                    <a:lnTo>
                      <a:pt x="1594" y="2984"/>
                    </a:lnTo>
                    <a:lnTo>
                      <a:pt x="1564" y="2980"/>
                    </a:lnTo>
                    <a:lnTo>
                      <a:pt x="1534" y="2976"/>
                    </a:lnTo>
                    <a:lnTo>
                      <a:pt x="1505" y="2970"/>
                    </a:lnTo>
                    <a:lnTo>
                      <a:pt x="1475" y="2962"/>
                    </a:lnTo>
                    <a:lnTo>
                      <a:pt x="1446" y="2952"/>
                    </a:lnTo>
                    <a:lnTo>
                      <a:pt x="1416" y="2941"/>
                    </a:lnTo>
                    <a:lnTo>
                      <a:pt x="1386" y="2929"/>
                    </a:lnTo>
                    <a:lnTo>
                      <a:pt x="1357" y="2915"/>
                    </a:lnTo>
                    <a:lnTo>
                      <a:pt x="1328" y="2899"/>
                    </a:lnTo>
                    <a:lnTo>
                      <a:pt x="1299" y="2882"/>
                    </a:lnTo>
                    <a:lnTo>
                      <a:pt x="1270" y="2863"/>
                    </a:lnTo>
                    <a:lnTo>
                      <a:pt x="1240" y="2843"/>
                    </a:lnTo>
                    <a:lnTo>
                      <a:pt x="1211" y="2821"/>
                    </a:lnTo>
                    <a:lnTo>
                      <a:pt x="1182" y="2797"/>
                    </a:lnTo>
                    <a:lnTo>
                      <a:pt x="1153" y="2772"/>
                    </a:lnTo>
                    <a:lnTo>
                      <a:pt x="1108" y="2731"/>
                    </a:lnTo>
                    <a:lnTo>
                      <a:pt x="1062" y="2688"/>
                    </a:lnTo>
                    <a:lnTo>
                      <a:pt x="1017" y="2644"/>
                    </a:lnTo>
                    <a:lnTo>
                      <a:pt x="972" y="2598"/>
                    </a:lnTo>
                    <a:lnTo>
                      <a:pt x="926" y="2550"/>
                    </a:lnTo>
                    <a:lnTo>
                      <a:pt x="881" y="2500"/>
                    </a:lnTo>
                    <a:lnTo>
                      <a:pt x="834" y="2449"/>
                    </a:lnTo>
                    <a:lnTo>
                      <a:pt x="789" y="2395"/>
                    </a:lnTo>
                    <a:lnTo>
                      <a:pt x="743" y="2340"/>
                    </a:lnTo>
                    <a:lnTo>
                      <a:pt x="695" y="2283"/>
                    </a:lnTo>
                    <a:lnTo>
                      <a:pt x="649" y="2224"/>
                    </a:lnTo>
                    <a:lnTo>
                      <a:pt x="601" y="2161"/>
                    </a:lnTo>
                    <a:lnTo>
                      <a:pt x="553" y="2097"/>
                    </a:lnTo>
                    <a:lnTo>
                      <a:pt x="504" y="2031"/>
                    </a:lnTo>
                    <a:lnTo>
                      <a:pt x="455" y="1962"/>
                    </a:lnTo>
                    <a:lnTo>
                      <a:pt x="406" y="1891"/>
                    </a:lnTo>
                    <a:lnTo>
                      <a:pt x="358" y="1822"/>
                    </a:lnTo>
                    <a:lnTo>
                      <a:pt x="314" y="1755"/>
                    </a:lnTo>
                    <a:lnTo>
                      <a:pt x="273" y="1689"/>
                    </a:lnTo>
                    <a:lnTo>
                      <a:pt x="236" y="1627"/>
                    </a:lnTo>
                    <a:lnTo>
                      <a:pt x="201" y="1564"/>
                    </a:lnTo>
                    <a:lnTo>
                      <a:pt x="169" y="1504"/>
                    </a:lnTo>
                    <a:lnTo>
                      <a:pt x="140" y="1444"/>
                    </a:lnTo>
                    <a:lnTo>
                      <a:pt x="113" y="1385"/>
                    </a:lnTo>
                    <a:lnTo>
                      <a:pt x="100" y="1354"/>
                    </a:lnTo>
                    <a:lnTo>
                      <a:pt x="87" y="1321"/>
                    </a:lnTo>
                    <a:lnTo>
                      <a:pt x="75" y="1290"/>
                    </a:lnTo>
                    <a:lnTo>
                      <a:pt x="65" y="1259"/>
                    </a:lnTo>
                    <a:lnTo>
                      <a:pt x="54" y="1228"/>
                    </a:lnTo>
                    <a:lnTo>
                      <a:pt x="44" y="1197"/>
                    </a:lnTo>
                    <a:lnTo>
                      <a:pt x="35" y="1167"/>
                    </a:lnTo>
                    <a:lnTo>
                      <a:pt x="27" y="1136"/>
                    </a:lnTo>
                    <a:lnTo>
                      <a:pt x="19" y="1104"/>
                    </a:lnTo>
                    <a:lnTo>
                      <a:pt x="12" y="1073"/>
                    </a:lnTo>
                    <a:lnTo>
                      <a:pt x="6" y="1042"/>
                    </a:lnTo>
                    <a:lnTo>
                      <a:pt x="0" y="1010"/>
                    </a:lnTo>
                    <a:lnTo>
                      <a:pt x="1" y="1005"/>
                    </a:lnTo>
                    <a:lnTo>
                      <a:pt x="4" y="996"/>
                    </a:lnTo>
                    <a:lnTo>
                      <a:pt x="11" y="984"/>
                    </a:lnTo>
                    <a:lnTo>
                      <a:pt x="18" y="970"/>
                    </a:lnTo>
                    <a:lnTo>
                      <a:pt x="42" y="935"/>
                    </a:lnTo>
                    <a:lnTo>
                      <a:pt x="73" y="890"/>
                    </a:lnTo>
                    <a:lnTo>
                      <a:pt x="112" y="839"/>
                    </a:lnTo>
                    <a:lnTo>
                      <a:pt x="157" y="781"/>
                    </a:lnTo>
                    <a:lnTo>
                      <a:pt x="207" y="721"/>
                    </a:lnTo>
                    <a:lnTo>
                      <a:pt x="262" y="657"/>
                    </a:lnTo>
                    <a:lnTo>
                      <a:pt x="291" y="625"/>
                    </a:lnTo>
                    <a:lnTo>
                      <a:pt x="320" y="593"/>
                    </a:lnTo>
                    <a:lnTo>
                      <a:pt x="351" y="560"/>
                    </a:lnTo>
                    <a:lnTo>
                      <a:pt x="382" y="528"/>
                    </a:lnTo>
                    <a:lnTo>
                      <a:pt x="413" y="496"/>
                    </a:lnTo>
                    <a:lnTo>
                      <a:pt x="445" y="466"/>
                    </a:lnTo>
                    <a:lnTo>
                      <a:pt x="476" y="436"/>
                    </a:lnTo>
                    <a:lnTo>
                      <a:pt x="507" y="408"/>
                    </a:lnTo>
                    <a:lnTo>
                      <a:pt x="540" y="380"/>
                    </a:lnTo>
                    <a:lnTo>
                      <a:pt x="571" y="354"/>
                    </a:lnTo>
                    <a:lnTo>
                      <a:pt x="602" y="330"/>
                    </a:lnTo>
                    <a:lnTo>
                      <a:pt x="633" y="308"/>
                    </a:lnTo>
                    <a:lnTo>
                      <a:pt x="663" y="287"/>
                    </a:lnTo>
                    <a:lnTo>
                      <a:pt x="692" y="269"/>
                    </a:lnTo>
                    <a:lnTo>
                      <a:pt x="721" y="254"/>
                    </a:lnTo>
                    <a:lnTo>
                      <a:pt x="749" y="240"/>
                    </a:lnTo>
                    <a:lnTo>
                      <a:pt x="810" y="215"/>
                    </a:lnTo>
                    <a:lnTo>
                      <a:pt x="870" y="191"/>
                    </a:lnTo>
                    <a:lnTo>
                      <a:pt x="931" y="168"/>
                    </a:lnTo>
                    <a:lnTo>
                      <a:pt x="992" y="147"/>
                    </a:lnTo>
                    <a:lnTo>
                      <a:pt x="1053" y="127"/>
                    </a:lnTo>
                    <a:lnTo>
                      <a:pt x="1113" y="109"/>
                    </a:lnTo>
                    <a:lnTo>
                      <a:pt x="1174" y="92"/>
                    </a:lnTo>
                    <a:lnTo>
                      <a:pt x="1234" y="77"/>
                    </a:lnTo>
                    <a:lnTo>
                      <a:pt x="1293" y="63"/>
                    </a:lnTo>
                    <a:lnTo>
                      <a:pt x="1354" y="50"/>
                    </a:lnTo>
                    <a:lnTo>
                      <a:pt x="1414" y="39"/>
                    </a:lnTo>
                    <a:lnTo>
                      <a:pt x="1474" y="28"/>
                    </a:lnTo>
                    <a:lnTo>
                      <a:pt x="1533" y="20"/>
                    </a:lnTo>
                    <a:lnTo>
                      <a:pt x="1592" y="13"/>
                    </a:lnTo>
                    <a:lnTo>
                      <a:pt x="1652" y="7"/>
                    </a:lnTo>
                    <a:lnTo>
                      <a:pt x="1711" y="3"/>
                    </a:lnTo>
                    <a:lnTo>
                      <a:pt x="1773" y="1"/>
                    </a:lnTo>
                    <a:lnTo>
                      <a:pt x="1832" y="0"/>
                    </a:lnTo>
                    <a:lnTo>
                      <a:pt x="1892" y="0"/>
                    </a:lnTo>
                    <a:lnTo>
                      <a:pt x="1949" y="2"/>
                    </a:lnTo>
                    <a:lnTo>
                      <a:pt x="2004" y="6"/>
                    </a:lnTo>
                    <a:lnTo>
                      <a:pt x="2059" y="12"/>
                    </a:lnTo>
                    <a:lnTo>
                      <a:pt x="2112" y="19"/>
                    </a:lnTo>
                    <a:lnTo>
                      <a:pt x="2164" y="29"/>
                    </a:lnTo>
                    <a:lnTo>
                      <a:pt x="2214" y="39"/>
                    </a:lnTo>
                    <a:lnTo>
                      <a:pt x="2263" y="52"/>
                    </a:lnTo>
                    <a:lnTo>
                      <a:pt x="2311" y="66"/>
                    </a:lnTo>
                    <a:lnTo>
                      <a:pt x="2357" y="81"/>
                    </a:lnTo>
                    <a:lnTo>
                      <a:pt x="2401" y="98"/>
                    </a:lnTo>
                    <a:lnTo>
                      <a:pt x="2444" y="118"/>
                    </a:lnTo>
                    <a:lnTo>
                      <a:pt x="2487" y="138"/>
                    </a:lnTo>
                    <a:lnTo>
                      <a:pt x="2527" y="161"/>
                    </a:lnTo>
                    <a:lnTo>
                      <a:pt x="2554" y="177"/>
                    </a:lnTo>
                    <a:lnTo>
                      <a:pt x="2579" y="195"/>
                    </a:lnTo>
                    <a:lnTo>
                      <a:pt x="2604" y="214"/>
                    </a:lnTo>
                    <a:lnTo>
                      <a:pt x="2628" y="233"/>
                    </a:lnTo>
                    <a:lnTo>
                      <a:pt x="2652" y="254"/>
                    </a:lnTo>
                    <a:lnTo>
                      <a:pt x="2673" y="274"/>
                    </a:lnTo>
                    <a:lnTo>
                      <a:pt x="2695" y="296"/>
                    </a:lnTo>
                    <a:lnTo>
                      <a:pt x="2715" y="318"/>
                    </a:lnTo>
                    <a:lnTo>
                      <a:pt x="2736" y="341"/>
                    </a:lnTo>
                    <a:lnTo>
                      <a:pt x="2755" y="364"/>
                    </a:lnTo>
                    <a:lnTo>
                      <a:pt x="2775" y="387"/>
                    </a:lnTo>
                    <a:lnTo>
                      <a:pt x="2794" y="412"/>
                    </a:lnTo>
                    <a:lnTo>
                      <a:pt x="2831" y="461"/>
                    </a:lnTo>
                    <a:lnTo>
                      <a:pt x="2869" y="512"/>
                    </a:lnTo>
                    <a:lnTo>
                      <a:pt x="2872" y="516"/>
                    </a:lnTo>
                    <a:lnTo>
                      <a:pt x="2887" y="537"/>
                    </a:lnTo>
                    <a:lnTo>
                      <a:pt x="2903" y="559"/>
                    </a:lnTo>
                    <a:lnTo>
                      <a:pt x="2920" y="581"/>
                    </a:lnTo>
                    <a:lnTo>
                      <a:pt x="2936" y="602"/>
                    </a:lnTo>
                    <a:lnTo>
                      <a:pt x="2971" y="650"/>
                    </a:lnTo>
                    <a:lnTo>
                      <a:pt x="3007" y="698"/>
                    </a:lnTo>
                    <a:lnTo>
                      <a:pt x="3043" y="747"/>
                    </a:lnTo>
                    <a:lnTo>
                      <a:pt x="3076" y="795"/>
                    </a:lnTo>
                    <a:lnTo>
                      <a:pt x="3092" y="821"/>
                    </a:lnTo>
                    <a:lnTo>
                      <a:pt x="3107" y="846"/>
                    </a:lnTo>
                    <a:lnTo>
                      <a:pt x="3123" y="872"/>
                    </a:lnTo>
                    <a:lnTo>
                      <a:pt x="3138" y="897"/>
                    </a:lnTo>
                    <a:lnTo>
                      <a:pt x="3152" y="923"/>
                    </a:lnTo>
                    <a:lnTo>
                      <a:pt x="3165" y="949"/>
                    </a:lnTo>
                    <a:lnTo>
                      <a:pt x="3177" y="976"/>
                    </a:lnTo>
                    <a:lnTo>
                      <a:pt x="3187" y="1003"/>
                    </a:lnTo>
                    <a:lnTo>
                      <a:pt x="3193" y="1014"/>
                    </a:lnTo>
                    <a:lnTo>
                      <a:pt x="3197" y="1025"/>
                    </a:lnTo>
                    <a:lnTo>
                      <a:pt x="3201" y="1036"/>
                    </a:lnTo>
                    <a:lnTo>
                      <a:pt x="3207" y="1048"/>
                    </a:lnTo>
                    <a:lnTo>
                      <a:pt x="3220" y="1080"/>
                    </a:lnTo>
                    <a:lnTo>
                      <a:pt x="3233" y="1114"/>
                    </a:lnTo>
                    <a:lnTo>
                      <a:pt x="3246" y="1146"/>
                    </a:lnTo>
                    <a:lnTo>
                      <a:pt x="3258" y="1179"/>
                    </a:lnTo>
                    <a:lnTo>
                      <a:pt x="3268" y="1212"/>
                    </a:lnTo>
                    <a:lnTo>
                      <a:pt x="3278" y="1247"/>
                    </a:lnTo>
                    <a:lnTo>
                      <a:pt x="3286" y="1282"/>
                    </a:lnTo>
                    <a:lnTo>
                      <a:pt x="3292" y="1319"/>
                    </a:lnTo>
                    <a:lnTo>
                      <a:pt x="3295" y="1343"/>
                    </a:lnTo>
                    <a:lnTo>
                      <a:pt x="3299" y="1368"/>
                    </a:lnTo>
                    <a:lnTo>
                      <a:pt x="3301" y="1391"/>
                    </a:lnTo>
                    <a:lnTo>
                      <a:pt x="3302" y="1415"/>
                    </a:lnTo>
                    <a:lnTo>
                      <a:pt x="3304" y="1440"/>
                    </a:lnTo>
                    <a:lnTo>
                      <a:pt x="3305" y="1464"/>
                    </a:lnTo>
                    <a:lnTo>
                      <a:pt x="3306" y="1487"/>
                    </a:lnTo>
                    <a:lnTo>
                      <a:pt x="3307" y="1511"/>
                    </a:lnTo>
                    <a:lnTo>
                      <a:pt x="3309" y="1547"/>
                    </a:lnTo>
                    <a:lnTo>
                      <a:pt x="3310" y="1584"/>
                    </a:lnTo>
                    <a:lnTo>
                      <a:pt x="3314" y="1619"/>
                    </a:lnTo>
                    <a:lnTo>
                      <a:pt x="3317" y="1655"/>
                    </a:lnTo>
                    <a:lnTo>
                      <a:pt x="3322" y="1705"/>
                    </a:lnTo>
                    <a:lnTo>
                      <a:pt x="3329" y="1758"/>
                    </a:lnTo>
                    <a:lnTo>
                      <a:pt x="3336" y="1815"/>
                    </a:lnTo>
                    <a:lnTo>
                      <a:pt x="3347" y="1872"/>
                    </a:lnTo>
                    <a:lnTo>
                      <a:pt x="3358" y="1930"/>
                    </a:lnTo>
                    <a:lnTo>
                      <a:pt x="3372" y="1989"/>
                    </a:lnTo>
                    <a:lnTo>
                      <a:pt x="3381" y="2019"/>
                    </a:lnTo>
                    <a:lnTo>
                      <a:pt x="3389" y="2048"/>
                    </a:lnTo>
                    <a:lnTo>
                      <a:pt x="3398" y="2077"/>
                    </a:lnTo>
                    <a:lnTo>
                      <a:pt x="3409" y="2106"/>
                    </a:lnTo>
                    <a:lnTo>
                      <a:pt x="3426" y="2158"/>
                    </a:lnTo>
                    <a:lnTo>
                      <a:pt x="3441" y="2207"/>
                    </a:lnTo>
                    <a:lnTo>
                      <a:pt x="3454" y="2255"/>
                    </a:lnTo>
                    <a:lnTo>
                      <a:pt x="3465" y="2302"/>
                    </a:lnTo>
                    <a:lnTo>
                      <a:pt x="3468" y="2326"/>
                    </a:lnTo>
                    <a:lnTo>
                      <a:pt x="3472" y="2349"/>
                    </a:lnTo>
                    <a:lnTo>
                      <a:pt x="3475" y="2372"/>
                    </a:lnTo>
                    <a:lnTo>
                      <a:pt x="3478" y="2393"/>
                    </a:lnTo>
                    <a:lnTo>
                      <a:pt x="3479" y="2416"/>
                    </a:lnTo>
                    <a:lnTo>
                      <a:pt x="3480" y="2437"/>
                    </a:lnTo>
                    <a:lnTo>
                      <a:pt x="3481" y="2460"/>
                    </a:lnTo>
                    <a:lnTo>
                      <a:pt x="3481" y="2482"/>
                    </a:lnTo>
                    <a:lnTo>
                      <a:pt x="3481" y="2482"/>
                    </a:lnTo>
                    <a:lnTo>
                      <a:pt x="3481" y="2482"/>
                    </a:lnTo>
                    <a:lnTo>
                      <a:pt x="3482" y="2483"/>
                    </a:lnTo>
                    <a:lnTo>
                      <a:pt x="3483" y="2485"/>
                    </a:lnTo>
                    <a:lnTo>
                      <a:pt x="3483" y="2487"/>
                    </a:lnTo>
                    <a:lnTo>
                      <a:pt x="3483" y="2492"/>
                    </a:lnTo>
                    <a:lnTo>
                      <a:pt x="3484" y="2492"/>
                    </a:lnTo>
                    <a:lnTo>
                      <a:pt x="3482" y="2502"/>
                    </a:lnTo>
                    <a:lnTo>
                      <a:pt x="3480" y="2525"/>
                    </a:lnTo>
                    <a:lnTo>
                      <a:pt x="3479" y="2532"/>
                    </a:lnTo>
                    <a:lnTo>
                      <a:pt x="3478" y="2541"/>
                    </a:lnTo>
                    <a:lnTo>
                      <a:pt x="3477" y="2551"/>
                    </a:lnTo>
                    <a:lnTo>
                      <a:pt x="3475" y="2562"/>
                    </a:lnTo>
                    <a:lnTo>
                      <a:pt x="3475" y="2563"/>
                    </a:lnTo>
                    <a:lnTo>
                      <a:pt x="3475" y="2564"/>
                    </a:lnTo>
                    <a:lnTo>
                      <a:pt x="3475" y="2567"/>
                    </a:lnTo>
                    <a:lnTo>
                      <a:pt x="3474" y="2569"/>
                    </a:lnTo>
                    <a:lnTo>
                      <a:pt x="3471" y="2590"/>
                    </a:lnTo>
                    <a:lnTo>
                      <a:pt x="3467" y="2609"/>
                    </a:lnTo>
                    <a:lnTo>
                      <a:pt x="3464" y="2630"/>
                    </a:lnTo>
                    <a:lnTo>
                      <a:pt x="3459" y="2650"/>
                    </a:lnTo>
                    <a:lnTo>
                      <a:pt x="3457" y="2655"/>
                    </a:lnTo>
                    <a:lnTo>
                      <a:pt x="3454" y="2659"/>
                    </a:lnTo>
                    <a:lnTo>
                      <a:pt x="3450" y="2661"/>
                    </a:lnTo>
                    <a:lnTo>
                      <a:pt x="3444" y="2661"/>
                    </a:lnTo>
                    <a:lnTo>
                      <a:pt x="3440" y="2660"/>
                    </a:lnTo>
                    <a:lnTo>
                      <a:pt x="3436" y="2657"/>
                    </a:lnTo>
                    <a:lnTo>
                      <a:pt x="3434" y="2652"/>
                    </a:lnTo>
                    <a:lnTo>
                      <a:pt x="3432" y="2648"/>
                    </a:lnTo>
                    <a:lnTo>
                      <a:pt x="3432" y="2639"/>
                    </a:lnTo>
                    <a:lnTo>
                      <a:pt x="3432" y="2632"/>
                    </a:lnTo>
                    <a:lnTo>
                      <a:pt x="3432" y="2623"/>
                    </a:lnTo>
                    <a:lnTo>
                      <a:pt x="3432" y="2614"/>
                    </a:lnTo>
                    <a:lnTo>
                      <a:pt x="3432" y="2568"/>
                    </a:lnTo>
                    <a:lnTo>
                      <a:pt x="3431" y="2522"/>
                    </a:lnTo>
                    <a:lnTo>
                      <a:pt x="3429" y="2499"/>
                    </a:lnTo>
                    <a:lnTo>
                      <a:pt x="3427" y="2476"/>
                    </a:lnTo>
                    <a:lnTo>
                      <a:pt x="3423" y="2455"/>
                    </a:lnTo>
                    <a:lnTo>
                      <a:pt x="3417" y="2434"/>
                    </a:lnTo>
                    <a:lnTo>
                      <a:pt x="3410" y="2414"/>
                    </a:lnTo>
                    <a:lnTo>
                      <a:pt x="3401" y="2395"/>
                    </a:lnTo>
                    <a:lnTo>
                      <a:pt x="3397" y="2387"/>
                    </a:lnTo>
                    <a:lnTo>
                      <a:pt x="3390" y="2377"/>
                    </a:lnTo>
                    <a:lnTo>
                      <a:pt x="3385" y="2369"/>
                    </a:lnTo>
                    <a:lnTo>
                      <a:pt x="3377" y="2361"/>
                    </a:lnTo>
                    <a:lnTo>
                      <a:pt x="3371" y="2353"/>
                    </a:lnTo>
                    <a:lnTo>
                      <a:pt x="3362" y="2346"/>
                    </a:lnTo>
                    <a:lnTo>
                      <a:pt x="3354" y="2339"/>
                    </a:lnTo>
                    <a:lnTo>
                      <a:pt x="3345" y="2332"/>
                    </a:lnTo>
                    <a:lnTo>
                      <a:pt x="3334" y="2326"/>
                    </a:lnTo>
                    <a:lnTo>
                      <a:pt x="3325" y="2320"/>
                    </a:lnTo>
                    <a:lnTo>
                      <a:pt x="3313" y="2314"/>
                    </a:lnTo>
                    <a:lnTo>
                      <a:pt x="3301" y="2310"/>
                    </a:lnTo>
                    <a:lnTo>
                      <a:pt x="3282" y="2304"/>
                    </a:lnTo>
                    <a:lnTo>
                      <a:pt x="3263" y="2299"/>
                    </a:lnTo>
                    <a:lnTo>
                      <a:pt x="3244" y="2295"/>
                    </a:lnTo>
                    <a:lnTo>
                      <a:pt x="3223" y="2293"/>
                    </a:lnTo>
                    <a:lnTo>
                      <a:pt x="3201" y="2292"/>
                    </a:lnTo>
                    <a:lnTo>
                      <a:pt x="3180" y="2293"/>
                    </a:lnTo>
                    <a:lnTo>
                      <a:pt x="3157" y="2294"/>
                    </a:lnTo>
                    <a:lnTo>
                      <a:pt x="3133" y="2297"/>
                    </a:lnTo>
                    <a:lnTo>
                      <a:pt x="3110" y="2301"/>
                    </a:lnTo>
                    <a:lnTo>
                      <a:pt x="3085" y="2307"/>
                    </a:lnTo>
                    <a:lnTo>
                      <a:pt x="3060" y="2313"/>
                    </a:lnTo>
                    <a:lnTo>
                      <a:pt x="3034" y="2321"/>
                    </a:lnTo>
                    <a:lnTo>
                      <a:pt x="3007" y="2331"/>
                    </a:lnTo>
                    <a:lnTo>
                      <a:pt x="2980" y="2340"/>
                    </a:lnTo>
                    <a:lnTo>
                      <a:pt x="2952" y="2352"/>
                    </a:lnTo>
                    <a:lnTo>
                      <a:pt x="2924" y="2365"/>
                    </a:lnTo>
                    <a:lnTo>
                      <a:pt x="2906" y="2374"/>
                    </a:lnTo>
                    <a:lnTo>
                      <a:pt x="2888" y="2383"/>
                    </a:lnTo>
                    <a:lnTo>
                      <a:pt x="2872" y="2393"/>
                    </a:lnTo>
                    <a:lnTo>
                      <a:pt x="2855" y="2403"/>
                    </a:lnTo>
                    <a:lnTo>
                      <a:pt x="2822" y="2424"/>
                    </a:lnTo>
                    <a:lnTo>
                      <a:pt x="2791" y="2447"/>
                    </a:lnTo>
                    <a:lnTo>
                      <a:pt x="2761" y="2472"/>
                    </a:lnTo>
                    <a:lnTo>
                      <a:pt x="2732" y="2497"/>
                    </a:lnTo>
                    <a:lnTo>
                      <a:pt x="2701" y="2522"/>
                    </a:lnTo>
                    <a:lnTo>
                      <a:pt x="2673" y="2547"/>
                    </a:lnTo>
                    <a:lnTo>
                      <a:pt x="2643" y="2573"/>
                    </a:lnTo>
                    <a:lnTo>
                      <a:pt x="2613" y="2599"/>
                    </a:lnTo>
                    <a:lnTo>
                      <a:pt x="2582" y="2625"/>
                    </a:lnTo>
                    <a:lnTo>
                      <a:pt x="2550" y="2650"/>
                    </a:lnTo>
                    <a:lnTo>
                      <a:pt x="2504" y="2685"/>
                    </a:lnTo>
                    <a:lnTo>
                      <a:pt x="2455" y="2717"/>
                    </a:lnTo>
                    <a:lnTo>
                      <a:pt x="2407" y="2747"/>
                    </a:lnTo>
                    <a:lnTo>
                      <a:pt x="2357" y="2776"/>
                    </a:lnTo>
                    <a:lnTo>
                      <a:pt x="2307" y="2803"/>
                    </a:lnTo>
                    <a:lnTo>
                      <a:pt x="2257" y="2829"/>
                    </a:lnTo>
                    <a:lnTo>
                      <a:pt x="2205" y="2853"/>
                    </a:lnTo>
                    <a:lnTo>
                      <a:pt x="2152" y="2873"/>
                    </a:lnTo>
                    <a:lnTo>
                      <a:pt x="2116" y="2888"/>
                    </a:lnTo>
                    <a:lnTo>
                      <a:pt x="2081" y="2900"/>
                    </a:lnTo>
                    <a:lnTo>
                      <a:pt x="2046" y="2912"/>
                    </a:lnTo>
                    <a:lnTo>
                      <a:pt x="2013" y="2923"/>
                    </a:lnTo>
                    <a:lnTo>
                      <a:pt x="1979" y="2933"/>
                    </a:lnTo>
                    <a:lnTo>
                      <a:pt x="1946" y="2943"/>
                    </a:lnTo>
                    <a:lnTo>
                      <a:pt x="1914" y="2951"/>
                    </a:lnTo>
                    <a:lnTo>
                      <a:pt x="1882" y="2958"/>
                    </a:lnTo>
                    <a:lnTo>
                      <a:pt x="1852" y="2964"/>
                    </a:lnTo>
                    <a:lnTo>
                      <a:pt x="1820" y="2971"/>
                    </a:lnTo>
                    <a:lnTo>
                      <a:pt x="1791" y="2975"/>
                    </a:lnTo>
                    <a:lnTo>
                      <a:pt x="1762" y="2979"/>
                    </a:lnTo>
                    <a:lnTo>
                      <a:pt x="1733" y="2983"/>
                    </a:lnTo>
                    <a:lnTo>
                      <a:pt x="1705" y="2985"/>
                    </a:lnTo>
                    <a:lnTo>
                      <a:pt x="1677" y="2986"/>
                    </a:lnTo>
                    <a:lnTo>
                      <a:pt x="1650" y="2986"/>
                    </a:lnTo>
                    <a:close/>
                    <a:moveTo>
                      <a:pt x="27" y="1008"/>
                    </a:moveTo>
                    <a:lnTo>
                      <a:pt x="27" y="1008"/>
                    </a:lnTo>
                    <a:lnTo>
                      <a:pt x="32" y="1038"/>
                    </a:lnTo>
                    <a:lnTo>
                      <a:pt x="39" y="1069"/>
                    </a:lnTo>
                    <a:lnTo>
                      <a:pt x="45" y="1099"/>
                    </a:lnTo>
                    <a:lnTo>
                      <a:pt x="53" y="1129"/>
                    </a:lnTo>
                    <a:lnTo>
                      <a:pt x="61" y="1159"/>
                    </a:lnTo>
                    <a:lnTo>
                      <a:pt x="70" y="1189"/>
                    </a:lnTo>
                    <a:lnTo>
                      <a:pt x="80" y="1220"/>
                    </a:lnTo>
                    <a:lnTo>
                      <a:pt x="90" y="1250"/>
                    </a:lnTo>
                    <a:lnTo>
                      <a:pt x="101" y="1281"/>
                    </a:lnTo>
                    <a:lnTo>
                      <a:pt x="113" y="1311"/>
                    </a:lnTo>
                    <a:lnTo>
                      <a:pt x="125" y="1343"/>
                    </a:lnTo>
                    <a:lnTo>
                      <a:pt x="138" y="1374"/>
                    </a:lnTo>
                    <a:lnTo>
                      <a:pt x="165" y="1432"/>
                    </a:lnTo>
                    <a:lnTo>
                      <a:pt x="194" y="1492"/>
                    </a:lnTo>
                    <a:lnTo>
                      <a:pt x="225" y="1552"/>
                    </a:lnTo>
                    <a:lnTo>
                      <a:pt x="259" y="1614"/>
                    </a:lnTo>
                    <a:lnTo>
                      <a:pt x="297" y="1676"/>
                    </a:lnTo>
                    <a:lnTo>
                      <a:pt x="337" y="1741"/>
                    </a:lnTo>
                    <a:lnTo>
                      <a:pt x="381" y="1807"/>
                    </a:lnTo>
                    <a:lnTo>
                      <a:pt x="427" y="1876"/>
                    </a:lnTo>
                    <a:lnTo>
                      <a:pt x="477" y="1947"/>
                    </a:lnTo>
                    <a:lnTo>
                      <a:pt x="526" y="2015"/>
                    </a:lnTo>
                    <a:lnTo>
                      <a:pt x="574" y="2081"/>
                    </a:lnTo>
                    <a:lnTo>
                      <a:pt x="622" y="2145"/>
                    </a:lnTo>
                    <a:lnTo>
                      <a:pt x="669" y="2206"/>
                    </a:lnTo>
                    <a:lnTo>
                      <a:pt x="717" y="2266"/>
                    </a:lnTo>
                    <a:lnTo>
                      <a:pt x="763" y="2323"/>
                    </a:lnTo>
                    <a:lnTo>
                      <a:pt x="809" y="2378"/>
                    </a:lnTo>
                    <a:lnTo>
                      <a:pt x="855" y="2431"/>
                    </a:lnTo>
                    <a:lnTo>
                      <a:pt x="900" y="2482"/>
                    </a:lnTo>
                    <a:lnTo>
                      <a:pt x="946" y="2531"/>
                    </a:lnTo>
                    <a:lnTo>
                      <a:pt x="991" y="2579"/>
                    </a:lnTo>
                    <a:lnTo>
                      <a:pt x="1035" y="2624"/>
                    </a:lnTo>
                    <a:lnTo>
                      <a:pt x="1081" y="2668"/>
                    </a:lnTo>
                    <a:lnTo>
                      <a:pt x="1126" y="2710"/>
                    </a:lnTo>
                    <a:lnTo>
                      <a:pt x="1171" y="2752"/>
                    </a:lnTo>
                    <a:lnTo>
                      <a:pt x="1199" y="2776"/>
                    </a:lnTo>
                    <a:lnTo>
                      <a:pt x="1228" y="2799"/>
                    </a:lnTo>
                    <a:lnTo>
                      <a:pt x="1256" y="2821"/>
                    </a:lnTo>
                    <a:lnTo>
                      <a:pt x="1284" y="2840"/>
                    </a:lnTo>
                    <a:lnTo>
                      <a:pt x="1312" y="2858"/>
                    </a:lnTo>
                    <a:lnTo>
                      <a:pt x="1340" y="2875"/>
                    </a:lnTo>
                    <a:lnTo>
                      <a:pt x="1369" y="2890"/>
                    </a:lnTo>
                    <a:lnTo>
                      <a:pt x="1397" y="2904"/>
                    </a:lnTo>
                    <a:lnTo>
                      <a:pt x="1425" y="2916"/>
                    </a:lnTo>
                    <a:lnTo>
                      <a:pt x="1453" y="2926"/>
                    </a:lnTo>
                    <a:lnTo>
                      <a:pt x="1481" y="2935"/>
                    </a:lnTo>
                    <a:lnTo>
                      <a:pt x="1510" y="2943"/>
                    </a:lnTo>
                    <a:lnTo>
                      <a:pt x="1539" y="2949"/>
                    </a:lnTo>
                    <a:lnTo>
                      <a:pt x="1568" y="2953"/>
                    </a:lnTo>
                    <a:lnTo>
                      <a:pt x="1596" y="2957"/>
                    </a:lnTo>
                    <a:lnTo>
                      <a:pt x="1625" y="2959"/>
                    </a:lnTo>
                    <a:lnTo>
                      <a:pt x="1653" y="2959"/>
                    </a:lnTo>
                    <a:lnTo>
                      <a:pt x="1681" y="2959"/>
                    </a:lnTo>
                    <a:lnTo>
                      <a:pt x="1710" y="2957"/>
                    </a:lnTo>
                    <a:lnTo>
                      <a:pt x="1739" y="2954"/>
                    </a:lnTo>
                    <a:lnTo>
                      <a:pt x="1770" y="2951"/>
                    </a:lnTo>
                    <a:lnTo>
                      <a:pt x="1801" y="2947"/>
                    </a:lnTo>
                    <a:lnTo>
                      <a:pt x="1832" y="2941"/>
                    </a:lnTo>
                    <a:lnTo>
                      <a:pt x="1864" y="2935"/>
                    </a:lnTo>
                    <a:lnTo>
                      <a:pt x="1896" y="2927"/>
                    </a:lnTo>
                    <a:lnTo>
                      <a:pt x="1929" y="2919"/>
                    </a:lnTo>
                    <a:lnTo>
                      <a:pt x="1963" y="2910"/>
                    </a:lnTo>
                    <a:lnTo>
                      <a:pt x="1997" y="2899"/>
                    </a:lnTo>
                    <a:lnTo>
                      <a:pt x="2032" y="2889"/>
                    </a:lnTo>
                    <a:lnTo>
                      <a:pt x="2069" y="2876"/>
                    </a:lnTo>
                    <a:lnTo>
                      <a:pt x="2105" y="2863"/>
                    </a:lnTo>
                    <a:lnTo>
                      <a:pt x="2142" y="2849"/>
                    </a:lnTo>
                    <a:lnTo>
                      <a:pt x="2194" y="2828"/>
                    </a:lnTo>
                    <a:lnTo>
                      <a:pt x="2245" y="2804"/>
                    </a:lnTo>
                    <a:lnTo>
                      <a:pt x="2294" y="2780"/>
                    </a:lnTo>
                    <a:lnTo>
                      <a:pt x="2344" y="2753"/>
                    </a:lnTo>
                    <a:lnTo>
                      <a:pt x="2393" y="2725"/>
                    </a:lnTo>
                    <a:lnTo>
                      <a:pt x="2441" y="2694"/>
                    </a:lnTo>
                    <a:lnTo>
                      <a:pt x="2488" y="2662"/>
                    </a:lnTo>
                    <a:lnTo>
                      <a:pt x="2534" y="2628"/>
                    </a:lnTo>
                    <a:lnTo>
                      <a:pt x="2565" y="2604"/>
                    </a:lnTo>
                    <a:lnTo>
                      <a:pt x="2596" y="2579"/>
                    </a:lnTo>
                    <a:lnTo>
                      <a:pt x="2626" y="2553"/>
                    </a:lnTo>
                    <a:lnTo>
                      <a:pt x="2655" y="2527"/>
                    </a:lnTo>
                    <a:lnTo>
                      <a:pt x="2684" y="2501"/>
                    </a:lnTo>
                    <a:lnTo>
                      <a:pt x="2714" y="2475"/>
                    </a:lnTo>
                    <a:lnTo>
                      <a:pt x="2745" y="2450"/>
                    </a:lnTo>
                    <a:lnTo>
                      <a:pt x="2776" y="2426"/>
                    </a:lnTo>
                    <a:lnTo>
                      <a:pt x="2808" y="2402"/>
                    </a:lnTo>
                    <a:lnTo>
                      <a:pt x="2842" y="2380"/>
                    </a:lnTo>
                    <a:lnTo>
                      <a:pt x="2858" y="2369"/>
                    </a:lnTo>
                    <a:lnTo>
                      <a:pt x="2876" y="2360"/>
                    </a:lnTo>
                    <a:lnTo>
                      <a:pt x="2894" y="2350"/>
                    </a:lnTo>
                    <a:lnTo>
                      <a:pt x="2912" y="2341"/>
                    </a:lnTo>
                    <a:lnTo>
                      <a:pt x="2942" y="2327"/>
                    </a:lnTo>
                    <a:lnTo>
                      <a:pt x="2971" y="2315"/>
                    </a:lnTo>
                    <a:lnTo>
                      <a:pt x="2999" y="2305"/>
                    </a:lnTo>
                    <a:lnTo>
                      <a:pt x="3028" y="2295"/>
                    </a:lnTo>
                    <a:lnTo>
                      <a:pt x="3055" y="2286"/>
                    </a:lnTo>
                    <a:lnTo>
                      <a:pt x="3082" y="2280"/>
                    </a:lnTo>
                    <a:lnTo>
                      <a:pt x="3107" y="2274"/>
                    </a:lnTo>
                    <a:lnTo>
                      <a:pt x="3132" y="2270"/>
                    </a:lnTo>
                    <a:lnTo>
                      <a:pt x="3157" y="2267"/>
                    </a:lnTo>
                    <a:lnTo>
                      <a:pt x="3181" y="2266"/>
                    </a:lnTo>
                    <a:lnTo>
                      <a:pt x="3205" y="2265"/>
                    </a:lnTo>
                    <a:lnTo>
                      <a:pt x="3227" y="2266"/>
                    </a:lnTo>
                    <a:lnTo>
                      <a:pt x="3249" y="2269"/>
                    </a:lnTo>
                    <a:lnTo>
                      <a:pt x="3271" y="2272"/>
                    </a:lnTo>
                    <a:lnTo>
                      <a:pt x="3290" y="2278"/>
                    </a:lnTo>
                    <a:lnTo>
                      <a:pt x="3309" y="2284"/>
                    </a:lnTo>
                    <a:lnTo>
                      <a:pt x="3328" y="2292"/>
                    </a:lnTo>
                    <a:lnTo>
                      <a:pt x="3344" y="2299"/>
                    </a:lnTo>
                    <a:lnTo>
                      <a:pt x="3358" y="2309"/>
                    </a:lnTo>
                    <a:lnTo>
                      <a:pt x="3372" y="2318"/>
                    </a:lnTo>
                    <a:lnTo>
                      <a:pt x="3384" y="2328"/>
                    </a:lnTo>
                    <a:lnTo>
                      <a:pt x="3395" y="2339"/>
                    </a:lnTo>
                    <a:lnTo>
                      <a:pt x="3404" y="2351"/>
                    </a:lnTo>
                    <a:lnTo>
                      <a:pt x="3414" y="2363"/>
                    </a:lnTo>
                    <a:lnTo>
                      <a:pt x="3422" y="2376"/>
                    </a:lnTo>
                    <a:lnTo>
                      <a:pt x="3428" y="2389"/>
                    </a:lnTo>
                    <a:lnTo>
                      <a:pt x="3435" y="2402"/>
                    </a:lnTo>
                    <a:lnTo>
                      <a:pt x="3440" y="2416"/>
                    </a:lnTo>
                    <a:lnTo>
                      <a:pt x="3444" y="2430"/>
                    </a:lnTo>
                    <a:lnTo>
                      <a:pt x="3448" y="2445"/>
                    </a:lnTo>
                    <a:lnTo>
                      <a:pt x="3451" y="2460"/>
                    </a:lnTo>
                    <a:lnTo>
                      <a:pt x="3454" y="2475"/>
                    </a:lnTo>
                    <a:lnTo>
                      <a:pt x="3454" y="2455"/>
                    </a:lnTo>
                    <a:lnTo>
                      <a:pt x="3453" y="2433"/>
                    </a:lnTo>
                    <a:lnTo>
                      <a:pt x="3452" y="2413"/>
                    </a:lnTo>
                    <a:lnTo>
                      <a:pt x="3450" y="2391"/>
                    </a:lnTo>
                    <a:lnTo>
                      <a:pt x="3444" y="2348"/>
                    </a:lnTo>
                    <a:lnTo>
                      <a:pt x="3437" y="2304"/>
                    </a:lnTo>
                    <a:lnTo>
                      <a:pt x="3427" y="2259"/>
                    </a:lnTo>
                    <a:lnTo>
                      <a:pt x="3415" y="2212"/>
                    </a:lnTo>
                    <a:lnTo>
                      <a:pt x="3400" y="2164"/>
                    </a:lnTo>
                    <a:lnTo>
                      <a:pt x="3383" y="2116"/>
                    </a:lnTo>
                    <a:lnTo>
                      <a:pt x="3373" y="2085"/>
                    </a:lnTo>
                    <a:lnTo>
                      <a:pt x="3363" y="2056"/>
                    </a:lnTo>
                    <a:lnTo>
                      <a:pt x="3355" y="2026"/>
                    </a:lnTo>
                    <a:lnTo>
                      <a:pt x="3346" y="1996"/>
                    </a:lnTo>
                    <a:lnTo>
                      <a:pt x="3332" y="1936"/>
                    </a:lnTo>
                    <a:lnTo>
                      <a:pt x="3320" y="1877"/>
                    </a:lnTo>
                    <a:lnTo>
                      <a:pt x="3310" y="1819"/>
                    </a:lnTo>
                    <a:lnTo>
                      <a:pt x="3302" y="1763"/>
                    </a:lnTo>
                    <a:lnTo>
                      <a:pt x="3295" y="1709"/>
                    </a:lnTo>
                    <a:lnTo>
                      <a:pt x="3290" y="1658"/>
                    </a:lnTo>
                    <a:lnTo>
                      <a:pt x="3287" y="1621"/>
                    </a:lnTo>
                    <a:lnTo>
                      <a:pt x="3283" y="1585"/>
                    </a:lnTo>
                    <a:lnTo>
                      <a:pt x="3282" y="1549"/>
                    </a:lnTo>
                    <a:lnTo>
                      <a:pt x="3280" y="1512"/>
                    </a:lnTo>
                    <a:lnTo>
                      <a:pt x="3279" y="1490"/>
                    </a:lnTo>
                    <a:lnTo>
                      <a:pt x="3278" y="1466"/>
                    </a:lnTo>
                    <a:lnTo>
                      <a:pt x="3277" y="1442"/>
                    </a:lnTo>
                    <a:lnTo>
                      <a:pt x="3275" y="1418"/>
                    </a:lnTo>
                    <a:lnTo>
                      <a:pt x="3274" y="1395"/>
                    </a:lnTo>
                    <a:lnTo>
                      <a:pt x="3272" y="1371"/>
                    </a:lnTo>
                    <a:lnTo>
                      <a:pt x="3268" y="1347"/>
                    </a:lnTo>
                    <a:lnTo>
                      <a:pt x="3265" y="1323"/>
                    </a:lnTo>
                    <a:lnTo>
                      <a:pt x="3259" y="1288"/>
                    </a:lnTo>
                    <a:lnTo>
                      <a:pt x="3251" y="1253"/>
                    </a:lnTo>
                    <a:lnTo>
                      <a:pt x="3242" y="1220"/>
                    </a:lnTo>
                    <a:lnTo>
                      <a:pt x="3232" y="1187"/>
                    </a:lnTo>
                    <a:lnTo>
                      <a:pt x="3220" y="1155"/>
                    </a:lnTo>
                    <a:lnTo>
                      <a:pt x="3208" y="1123"/>
                    </a:lnTo>
                    <a:lnTo>
                      <a:pt x="3195" y="1090"/>
                    </a:lnTo>
                    <a:lnTo>
                      <a:pt x="3182" y="1058"/>
                    </a:lnTo>
                    <a:lnTo>
                      <a:pt x="3177" y="1047"/>
                    </a:lnTo>
                    <a:lnTo>
                      <a:pt x="3172" y="1035"/>
                    </a:lnTo>
                    <a:lnTo>
                      <a:pt x="3168" y="1024"/>
                    </a:lnTo>
                    <a:lnTo>
                      <a:pt x="3163" y="1012"/>
                    </a:lnTo>
                    <a:lnTo>
                      <a:pt x="3152" y="987"/>
                    </a:lnTo>
                    <a:lnTo>
                      <a:pt x="3140" y="961"/>
                    </a:lnTo>
                    <a:lnTo>
                      <a:pt x="3127" y="935"/>
                    </a:lnTo>
                    <a:lnTo>
                      <a:pt x="3114" y="910"/>
                    </a:lnTo>
                    <a:lnTo>
                      <a:pt x="3099" y="884"/>
                    </a:lnTo>
                    <a:lnTo>
                      <a:pt x="3084" y="859"/>
                    </a:lnTo>
                    <a:lnTo>
                      <a:pt x="3069" y="834"/>
                    </a:lnTo>
                    <a:lnTo>
                      <a:pt x="3052" y="810"/>
                    </a:lnTo>
                    <a:lnTo>
                      <a:pt x="3020" y="761"/>
                    </a:lnTo>
                    <a:lnTo>
                      <a:pt x="2985" y="713"/>
                    </a:lnTo>
                    <a:lnTo>
                      <a:pt x="2950" y="666"/>
                    </a:lnTo>
                    <a:lnTo>
                      <a:pt x="2914" y="618"/>
                    </a:lnTo>
                    <a:lnTo>
                      <a:pt x="2898" y="597"/>
                    </a:lnTo>
                    <a:lnTo>
                      <a:pt x="2882" y="575"/>
                    </a:lnTo>
                    <a:lnTo>
                      <a:pt x="2866" y="554"/>
                    </a:lnTo>
                    <a:lnTo>
                      <a:pt x="2850" y="532"/>
                    </a:lnTo>
                    <a:lnTo>
                      <a:pt x="2846" y="528"/>
                    </a:lnTo>
                    <a:lnTo>
                      <a:pt x="2811" y="478"/>
                    </a:lnTo>
                    <a:lnTo>
                      <a:pt x="2774" y="430"/>
                    </a:lnTo>
                    <a:lnTo>
                      <a:pt x="2754" y="406"/>
                    </a:lnTo>
                    <a:lnTo>
                      <a:pt x="2736" y="382"/>
                    </a:lnTo>
                    <a:lnTo>
                      <a:pt x="2717" y="359"/>
                    </a:lnTo>
                    <a:lnTo>
                      <a:pt x="2697" y="338"/>
                    </a:lnTo>
                    <a:lnTo>
                      <a:pt x="2677" y="315"/>
                    </a:lnTo>
                    <a:lnTo>
                      <a:pt x="2656" y="295"/>
                    </a:lnTo>
                    <a:lnTo>
                      <a:pt x="2635" y="274"/>
                    </a:lnTo>
                    <a:lnTo>
                      <a:pt x="2612" y="255"/>
                    </a:lnTo>
                    <a:lnTo>
                      <a:pt x="2588" y="235"/>
                    </a:lnTo>
                    <a:lnTo>
                      <a:pt x="2564" y="217"/>
                    </a:lnTo>
                    <a:lnTo>
                      <a:pt x="2539" y="200"/>
                    </a:lnTo>
                    <a:lnTo>
                      <a:pt x="2512" y="183"/>
                    </a:lnTo>
                    <a:lnTo>
                      <a:pt x="2474" y="162"/>
                    </a:lnTo>
                    <a:lnTo>
                      <a:pt x="2433" y="142"/>
                    </a:lnTo>
                    <a:lnTo>
                      <a:pt x="2390" y="123"/>
                    </a:lnTo>
                    <a:lnTo>
                      <a:pt x="2347" y="107"/>
                    </a:lnTo>
                    <a:lnTo>
                      <a:pt x="2302" y="91"/>
                    </a:lnTo>
                    <a:lnTo>
                      <a:pt x="2255" y="78"/>
                    </a:lnTo>
                    <a:lnTo>
                      <a:pt x="2207" y="66"/>
                    </a:lnTo>
                    <a:lnTo>
                      <a:pt x="2157" y="55"/>
                    </a:lnTo>
                    <a:lnTo>
                      <a:pt x="2106" y="46"/>
                    </a:lnTo>
                    <a:lnTo>
                      <a:pt x="2055" y="39"/>
                    </a:lnTo>
                    <a:lnTo>
                      <a:pt x="2001" y="33"/>
                    </a:lnTo>
                    <a:lnTo>
                      <a:pt x="1946" y="29"/>
                    </a:lnTo>
                    <a:lnTo>
                      <a:pt x="1889" y="27"/>
                    </a:lnTo>
                    <a:lnTo>
                      <a:pt x="1832" y="27"/>
                    </a:lnTo>
                    <a:lnTo>
                      <a:pt x="1773" y="28"/>
                    </a:lnTo>
                    <a:lnTo>
                      <a:pt x="1712" y="30"/>
                    </a:lnTo>
                    <a:lnTo>
                      <a:pt x="1654" y="34"/>
                    </a:lnTo>
                    <a:lnTo>
                      <a:pt x="1596" y="40"/>
                    </a:lnTo>
                    <a:lnTo>
                      <a:pt x="1536" y="47"/>
                    </a:lnTo>
                    <a:lnTo>
                      <a:pt x="1478" y="55"/>
                    </a:lnTo>
                    <a:lnTo>
                      <a:pt x="1419" y="65"/>
                    </a:lnTo>
                    <a:lnTo>
                      <a:pt x="1359" y="77"/>
                    </a:lnTo>
                    <a:lnTo>
                      <a:pt x="1300" y="88"/>
                    </a:lnTo>
                    <a:lnTo>
                      <a:pt x="1239" y="102"/>
                    </a:lnTo>
                    <a:lnTo>
                      <a:pt x="1180" y="119"/>
                    </a:lnTo>
                    <a:lnTo>
                      <a:pt x="1121" y="135"/>
                    </a:lnTo>
                    <a:lnTo>
                      <a:pt x="1060" y="153"/>
                    </a:lnTo>
                    <a:lnTo>
                      <a:pt x="1000" y="173"/>
                    </a:lnTo>
                    <a:lnTo>
                      <a:pt x="940" y="194"/>
                    </a:lnTo>
                    <a:lnTo>
                      <a:pt x="880" y="216"/>
                    </a:lnTo>
                    <a:lnTo>
                      <a:pt x="819" y="240"/>
                    </a:lnTo>
                    <a:lnTo>
                      <a:pt x="759" y="264"/>
                    </a:lnTo>
                    <a:lnTo>
                      <a:pt x="732" y="277"/>
                    </a:lnTo>
                    <a:lnTo>
                      <a:pt x="704" y="294"/>
                    </a:lnTo>
                    <a:lnTo>
                      <a:pt x="676" y="311"/>
                    </a:lnTo>
                    <a:lnTo>
                      <a:pt x="647" y="330"/>
                    </a:lnTo>
                    <a:lnTo>
                      <a:pt x="616" y="352"/>
                    </a:lnTo>
                    <a:lnTo>
                      <a:pt x="587" y="374"/>
                    </a:lnTo>
                    <a:lnTo>
                      <a:pt x="557" y="399"/>
                    </a:lnTo>
                    <a:lnTo>
                      <a:pt x="527" y="426"/>
                    </a:lnTo>
                    <a:lnTo>
                      <a:pt x="496" y="453"/>
                    </a:lnTo>
                    <a:lnTo>
                      <a:pt x="466" y="481"/>
                    </a:lnTo>
                    <a:lnTo>
                      <a:pt x="436" y="512"/>
                    </a:lnTo>
                    <a:lnTo>
                      <a:pt x="407" y="541"/>
                    </a:lnTo>
                    <a:lnTo>
                      <a:pt x="349" y="602"/>
                    </a:lnTo>
                    <a:lnTo>
                      <a:pt x="293" y="664"/>
                    </a:lnTo>
                    <a:lnTo>
                      <a:pt x="242" y="725"/>
                    </a:lnTo>
                    <a:lnTo>
                      <a:pt x="193" y="784"/>
                    </a:lnTo>
                    <a:lnTo>
                      <a:pt x="149" y="839"/>
                    </a:lnTo>
                    <a:lnTo>
                      <a:pt x="110" y="888"/>
                    </a:lnTo>
                    <a:lnTo>
                      <a:pt x="79" y="932"/>
                    </a:lnTo>
                    <a:lnTo>
                      <a:pt x="54" y="967"/>
                    </a:lnTo>
                    <a:lnTo>
                      <a:pt x="36" y="993"/>
                    </a:lnTo>
                    <a:lnTo>
                      <a:pt x="27" y="10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60"/>
              <p:cNvSpPr>
                <a:spLocks/>
              </p:cNvSpPr>
              <p:nvPr userDrawn="1"/>
            </p:nvSpPr>
            <p:spPr bwMode="auto">
              <a:xfrm>
                <a:off x="1625" y="1657"/>
                <a:ext cx="1050" cy="713"/>
              </a:xfrm>
              <a:custGeom>
                <a:avLst/>
                <a:gdLst>
                  <a:gd name="T0" fmla="*/ 1172 w 3150"/>
                  <a:gd name="T1" fmla="*/ 2096 h 2140"/>
                  <a:gd name="T2" fmla="*/ 907 w 3150"/>
                  <a:gd name="T3" fmla="*/ 1938 h 2140"/>
                  <a:gd name="T4" fmla="*/ 607 w 3150"/>
                  <a:gd name="T5" fmla="*/ 1657 h 2140"/>
                  <a:gd name="T6" fmla="*/ 281 w 3150"/>
                  <a:gd name="T7" fmla="*/ 1280 h 2140"/>
                  <a:gd name="T8" fmla="*/ 35 w 3150"/>
                  <a:gd name="T9" fmla="*/ 981 h 2140"/>
                  <a:gd name="T10" fmla="*/ 22 w 3150"/>
                  <a:gd name="T11" fmla="*/ 4 h 2140"/>
                  <a:gd name="T12" fmla="*/ 212 w 3150"/>
                  <a:gd name="T13" fmla="*/ 1161 h 2140"/>
                  <a:gd name="T14" fmla="*/ 557 w 3150"/>
                  <a:gd name="T15" fmla="*/ 1562 h 2140"/>
                  <a:gd name="T16" fmla="*/ 939 w 3150"/>
                  <a:gd name="T17" fmla="*/ 1928 h 2140"/>
                  <a:gd name="T18" fmla="*/ 1219 w 3150"/>
                  <a:gd name="T19" fmla="*/ 2086 h 2140"/>
                  <a:gd name="T20" fmla="*/ 1429 w 3150"/>
                  <a:gd name="T21" fmla="*/ 2111 h 2140"/>
                  <a:gd name="T22" fmla="*/ 1700 w 3150"/>
                  <a:gd name="T23" fmla="*/ 2052 h 2140"/>
                  <a:gd name="T24" fmla="*/ 1966 w 3150"/>
                  <a:gd name="T25" fmla="*/ 1944 h 2140"/>
                  <a:gd name="T26" fmla="*/ 2203 w 3150"/>
                  <a:gd name="T27" fmla="*/ 1787 h 2140"/>
                  <a:gd name="T28" fmla="*/ 2417 w 3150"/>
                  <a:gd name="T29" fmla="*/ 1589 h 2140"/>
                  <a:gd name="T30" fmla="*/ 2626 w 3150"/>
                  <a:gd name="T31" fmla="*/ 1454 h 2140"/>
                  <a:gd name="T32" fmla="*/ 2835 w 3150"/>
                  <a:gd name="T33" fmla="*/ 1401 h 2140"/>
                  <a:gd name="T34" fmla="*/ 3005 w 3150"/>
                  <a:gd name="T35" fmla="*/ 1427 h 2140"/>
                  <a:gd name="T36" fmla="*/ 3114 w 3150"/>
                  <a:gd name="T37" fmla="*/ 1552 h 2140"/>
                  <a:gd name="T38" fmla="*/ 3094 w 3150"/>
                  <a:gd name="T39" fmla="*/ 1395 h 2140"/>
                  <a:gd name="T40" fmla="*/ 3038 w 3150"/>
                  <a:gd name="T41" fmla="*/ 1278 h 2140"/>
                  <a:gd name="T42" fmla="*/ 2902 w 3150"/>
                  <a:gd name="T43" fmla="*/ 1234 h 2140"/>
                  <a:gd name="T44" fmla="*/ 2737 w 3150"/>
                  <a:gd name="T45" fmla="*/ 1245 h 2140"/>
                  <a:gd name="T46" fmla="*/ 2487 w 3150"/>
                  <a:gd name="T47" fmla="*/ 1359 h 2140"/>
                  <a:gd name="T48" fmla="*/ 2111 w 3150"/>
                  <a:gd name="T49" fmla="*/ 1631 h 2140"/>
                  <a:gd name="T50" fmla="*/ 1839 w 3150"/>
                  <a:gd name="T51" fmla="*/ 1756 h 2140"/>
                  <a:gd name="T52" fmla="*/ 1449 w 3150"/>
                  <a:gd name="T53" fmla="*/ 1766 h 2140"/>
                  <a:gd name="T54" fmla="*/ 1106 w 3150"/>
                  <a:gd name="T55" fmla="*/ 1590 h 2140"/>
                  <a:gd name="T56" fmla="*/ 816 w 3150"/>
                  <a:gd name="T57" fmla="*/ 1231 h 2140"/>
                  <a:gd name="T58" fmla="*/ 619 w 3150"/>
                  <a:gd name="T59" fmla="*/ 779 h 2140"/>
                  <a:gd name="T60" fmla="*/ 573 w 3150"/>
                  <a:gd name="T61" fmla="*/ 454 h 2140"/>
                  <a:gd name="T62" fmla="*/ 606 w 3150"/>
                  <a:gd name="T63" fmla="*/ 244 h 2140"/>
                  <a:gd name="T64" fmla="*/ 649 w 3150"/>
                  <a:gd name="T65" fmla="*/ 208 h 2140"/>
                  <a:gd name="T66" fmla="*/ 605 w 3150"/>
                  <a:gd name="T67" fmla="*/ 378 h 2140"/>
                  <a:gd name="T68" fmla="*/ 613 w 3150"/>
                  <a:gd name="T69" fmla="*/ 617 h 2140"/>
                  <a:gd name="T70" fmla="*/ 741 w 3150"/>
                  <a:gd name="T71" fmla="*/ 1028 h 2140"/>
                  <a:gd name="T72" fmla="*/ 956 w 3150"/>
                  <a:gd name="T73" fmla="*/ 1391 h 2140"/>
                  <a:gd name="T74" fmla="*/ 1261 w 3150"/>
                  <a:gd name="T75" fmla="*/ 1664 h 2140"/>
                  <a:gd name="T76" fmla="*/ 1671 w 3150"/>
                  <a:gd name="T77" fmla="*/ 1755 h 2140"/>
                  <a:gd name="T78" fmla="*/ 2014 w 3150"/>
                  <a:gd name="T79" fmla="*/ 1657 h 2140"/>
                  <a:gd name="T80" fmla="*/ 2345 w 3150"/>
                  <a:gd name="T81" fmla="*/ 1426 h 2140"/>
                  <a:gd name="T82" fmla="*/ 2675 w 3150"/>
                  <a:gd name="T83" fmla="*/ 1236 h 2140"/>
                  <a:gd name="T84" fmla="*/ 2846 w 3150"/>
                  <a:gd name="T85" fmla="*/ 1203 h 2140"/>
                  <a:gd name="T86" fmla="*/ 3010 w 3150"/>
                  <a:gd name="T87" fmla="*/ 1234 h 2140"/>
                  <a:gd name="T88" fmla="*/ 3093 w 3150"/>
                  <a:gd name="T89" fmla="*/ 1298 h 2140"/>
                  <a:gd name="T90" fmla="*/ 3144 w 3150"/>
                  <a:gd name="T91" fmla="*/ 1504 h 2140"/>
                  <a:gd name="T92" fmla="*/ 3137 w 3150"/>
                  <a:gd name="T93" fmla="*/ 1754 h 2140"/>
                  <a:gd name="T94" fmla="*/ 3114 w 3150"/>
                  <a:gd name="T95" fmla="*/ 1808 h 2140"/>
                  <a:gd name="T96" fmla="*/ 3101 w 3150"/>
                  <a:gd name="T97" fmla="*/ 1678 h 2140"/>
                  <a:gd name="T98" fmla="*/ 3073 w 3150"/>
                  <a:gd name="T99" fmla="*/ 1524 h 2140"/>
                  <a:gd name="T100" fmla="*/ 2961 w 3150"/>
                  <a:gd name="T101" fmla="*/ 1439 h 2140"/>
                  <a:gd name="T102" fmla="*/ 2789 w 3150"/>
                  <a:gd name="T103" fmla="*/ 1434 h 2140"/>
                  <a:gd name="T104" fmla="*/ 2586 w 3150"/>
                  <a:gd name="T105" fmla="*/ 1503 h 2140"/>
                  <a:gd name="T106" fmla="*/ 2394 w 3150"/>
                  <a:gd name="T107" fmla="*/ 1648 h 2140"/>
                  <a:gd name="T108" fmla="*/ 2169 w 3150"/>
                  <a:gd name="T109" fmla="*/ 1848 h 2140"/>
                  <a:gd name="T110" fmla="*/ 1921 w 3150"/>
                  <a:gd name="T111" fmla="*/ 1996 h 2140"/>
                  <a:gd name="T112" fmla="*/ 1644 w 3150"/>
                  <a:gd name="T113" fmla="*/ 2096 h 2140"/>
                  <a:gd name="T114" fmla="*/ 1388 w 3150"/>
                  <a:gd name="T115" fmla="*/ 2140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50" h="2140">
                    <a:moveTo>
                      <a:pt x="1388" y="2140"/>
                    </a:moveTo>
                    <a:lnTo>
                      <a:pt x="1361" y="2139"/>
                    </a:lnTo>
                    <a:lnTo>
                      <a:pt x="1335" y="2137"/>
                    </a:lnTo>
                    <a:lnTo>
                      <a:pt x="1308" y="2134"/>
                    </a:lnTo>
                    <a:lnTo>
                      <a:pt x="1281" y="2130"/>
                    </a:lnTo>
                    <a:lnTo>
                      <a:pt x="1254" y="2123"/>
                    </a:lnTo>
                    <a:lnTo>
                      <a:pt x="1227" y="2115"/>
                    </a:lnTo>
                    <a:lnTo>
                      <a:pt x="1200" y="2107"/>
                    </a:lnTo>
                    <a:lnTo>
                      <a:pt x="1172" y="2096"/>
                    </a:lnTo>
                    <a:lnTo>
                      <a:pt x="1144" y="2084"/>
                    </a:lnTo>
                    <a:lnTo>
                      <a:pt x="1116" y="2071"/>
                    </a:lnTo>
                    <a:lnTo>
                      <a:pt x="1087" y="2057"/>
                    </a:lnTo>
                    <a:lnTo>
                      <a:pt x="1057" y="2041"/>
                    </a:lnTo>
                    <a:lnTo>
                      <a:pt x="1028" y="2023"/>
                    </a:lnTo>
                    <a:lnTo>
                      <a:pt x="998" y="2004"/>
                    </a:lnTo>
                    <a:lnTo>
                      <a:pt x="969" y="1984"/>
                    </a:lnTo>
                    <a:lnTo>
                      <a:pt x="938" y="1961"/>
                    </a:lnTo>
                    <a:lnTo>
                      <a:pt x="907" y="1938"/>
                    </a:lnTo>
                    <a:lnTo>
                      <a:pt x="876" y="1913"/>
                    </a:lnTo>
                    <a:lnTo>
                      <a:pt x="844" y="1887"/>
                    </a:lnTo>
                    <a:lnTo>
                      <a:pt x="811" y="1859"/>
                    </a:lnTo>
                    <a:lnTo>
                      <a:pt x="779" y="1828"/>
                    </a:lnTo>
                    <a:lnTo>
                      <a:pt x="745" y="1797"/>
                    </a:lnTo>
                    <a:lnTo>
                      <a:pt x="712" y="1765"/>
                    </a:lnTo>
                    <a:lnTo>
                      <a:pt x="677" y="1730"/>
                    </a:lnTo>
                    <a:lnTo>
                      <a:pt x="643" y="1694"/>
                    </a:lnTo>
                    <a:lnTo>
                      <a:pt x="607" y="1657"/>
                    </a:lnTo>
                    <a:lnTo>
                      <a:pt x="571" y="1618"/>
                    </a:lnTo>
                    <a:lnTo>
                      <a:pt x="535" y="1577"/>
                    </a:lnTo>
                    <a:lnTo>
                      <a:pt x="498" y="1535"/>
                    </a:lnTo>
                    <a:lnTo>
                      <a:pt x="460" y="1490"/>
                    </a:lnTo>
                    <a:lnTo>
                      <a:pt x="421" y="1445"/>
                    </a:lnTo>
                    <a:lnTo>
                      <a:pt x="383" y="1398"/>
                    </a:lnTo>
                    <a:lnTo>
                      <a:pt x="349" y="1358"/>
                    </a:lnTo>
                    <a:lnTo>
                      <a:pt x="316" y="1318"/>
                    </a:lnTo>
                    <a:lnTo>
                      <a:pt x="281" y="1280"/>
                    </a:lnTo>
                    <a:lnTo>
                      <a:pt x="248" y="1242"/>
                    </a:lnTo>
                    <a:lnTo>
                      <a:pt x="219" y="1210"/>
                    </a:lnTo>
                    <a:lnTo>
                      <a:pt x="190" y="1178"/>
                    </a:lnTo>
                    <a:lnTo>
                      <a:pt x="163" y="1146"/>
                    </a:lnTo>
                    <a:lnTo>
                      <a:pt x="135" y="1114"/>
                    </a:lnTo>
                    <a:lnTo>
                      <a:pt x="109" y="1081"/>
                    </a:lnTo>
                    <a:lnTo>
                      <a:pt x="83" y="1049"/>
                    </a:lnTo>
                    <a:lnTo>
                      <a:pt x="59" y="1015"/>
                    </a:lnTo>
                    <a:lnTo>
                      <a:pt x="35" y="981"/>
                    </a:lnTo>
                    <a:lnTo>
                      <a:pt x="34" y="978"/>
                    </a:lnTo>
                    <a:lnTo>
                      <a:pt x="33" y="974"/>
                    </a:lnTo>
                    <a:lnTo>
                      <a:pt x="0" y="14"/>
                    </a:lnTo>
                    <a:lnTo>
                      <a:pt x="0" y="8"/>
                    </a:lnTo>
                    <a:lnTo>
                      <a:pt x="4" y="4"/>
                    </a:lnTo>
                    <a:lnTo>
                      <a:pt x="8" y="2"/>
                    </a:lnTo>
                    <a:lnTo>
                      <a:pt x="13" y="0"/>
                    </a:lnTo>
                    <a:lnTo>
                      <a:pt x="18" y="1"/>
                    </a:lnTo>
                    <a:lnTo>
                      <a:pt x="22" y="4"/>
                    </a:lnTo>
                    <a:lnTo>
                      <a:pt x="25" y="8"/>
                    </a:lnTo>
                    <a:lnTo>
                      <a:pt x="27" y="13"/>
                    </a:lnTo>
                    <a:lnTo>
                      <a:pt x="60" y="969"/>
                    </a:lnTo>
                    <a:lnTo>
                      <a:pt x="83" y="1003"/>
                    </a:lnTo>
                    <a:lnTo>
                      <a:pt x="107" y="1035"/>
                    </a:lnTo>
                    <a:lnTo>
                      <a:pt x="132" y="1067"/>
                    </a:lnTo>
                    <a:lnTo>
                      <a:pt x="158" y="1099"/>
                    </a:lnTo>
                    <a:lnTo>
                      <a:pt x="185" y="1130"/>
                    </a:lnTo>
                    <a:lnTo>
                      <a:pt x="212" y="1161"/>
                    </a:lnTo>
                    <a:lnTo>
                      <a:pt x="240" y="1193"/>
                    </a:lnTo>
                    <a:lnTo>
                      <a:pt x="268" y="1224"/>
                    </a:lnTo>
                    <a:lnTo>
                      <a:pt x="302" y="1262"/>
                    </a:lnTo>
                    <a:lnTo>
                      <a:pt x="336" y="1300"/>
                    </a:lnTo>
                    <a:lnTo>
                      <a:pt x="370" y="1340"/>
                    </a:lnTo>
                    <a:lnTo>
                      <a:pt x="404" y="1380"/>
                    </a:lnTo>
                    <a:lnTo>
                      <a:pt x="456" y="1444"/>
                    </a:lnTo>
                    <a:lnTo>
                      <a:pt x="508" y="1504"/>
                    </a:lnTo>
                    <a:lnTo>
                      <a:pt x="557" y="1562"/>
                    </a:lnTo>
                    <a:lnTo>
                      <a:pt x="605" y="1615"/>
                    </a:lnTo>
                    <a:lnTo>
                      <a:pt x="652" y="1664"/>
                    </a:lnTo>
                    <a:lnTo>
                      <a:pt x="697" y="1711"/>
                    </a:lnTo>
                    <a:lnTo>
                      <a:pt x="741" y="1755"/>
                    </a:lnTo>
                    <a:lnTo>
                      <a:pt x="783" y="1795"/>
                    </a:lnTo>
                    <a:lnTo>
                      <a:pt x="824" y="1833"/>
                    </a:lnTo>
                    <a:lnTo>
                      <a:pt x="863" y="1867"/>
                    </a:lnTo>
                    <a:lnTo>
                      <a:pt x="901" y="1899"/>
                    </a:lnTo>
                    <a:lnTo>
                      <a:pt x="939" y="1928"/>
                    </a:lnTo>
                    <a:lnTo>
                      <a:pt x="974" y="1955"/>
                    </a:lnTo>
                    <a:lnTo>
                      <a:pt x="1009" y="1978"/>
                    </a:lnTo>
                    <a:lnTo>
                      <a:pt x="1042" y="2000"/>
                    </a:lnTo>
                    <a:lnTo>
                      <a:pt x="1074" y="2019"/>
                    </a:lnTo>
                    <a:lnTo>
                      <a:pt x="1105" y="2037"/>
                    </a:lnTo>
                    <a:lnTo>
                      <a:pt x="1135" y="2052"/>
                    </a:lnTo>
                    <a:lnTo>
                      <a:pt x="1164" y="2066"/>
                    </a:lnTo>
                    <a:lnTo>
                      <a:pt x="1192" y="2077"/>
                    </a:lnTo>
                    <a:lnTo>
                      <a:pt x="1219" y="2086"/>
                    </a:lnTo>
                    <a:lnTo>
                      <a:pt x="1246" y="2095"/>
                    </a:lnTo>
                    <a:lnTo>
                      <a:pt x="1271" y="2101"/>
                    </a:lnTo>
                    <a:lnTo>
                      <a:pt x="1296" y="2106"/>
                    </a:lnTo>
                    <a:lnTo>
                      <a:pt x="1320" y="2110"/>
                    </a:lnTo>
                    <a:lnTo>
                      <a:pt x="1344" y="2112"/>
                    </a:lnTo>
                    <a:lnTo>
                      <a:pt x="1365" y="2113"/>
                    </a:lnTo>
                    <a:lnTo>
                      <a:pt x="1388" y="2113"/>
                    </a:lnTo>
                    <a:lnTo>
                      <a:pt x="1408" y="2113"/>
                    </a:lnTo>
                    <a:lnTo>
                      <a:pt x="1429" y="2111"/>
                    </a:lnTo>
                    <a:lnTo>
                      <a:pt x="1449" y="2109"/>
                    </a:lnTo>
                    <a:lnTo>
                      <a:pt x="1469" y="2106"/>
                    </a:lnTo>
                    <a:lnTo>
                      <a:pt x="1503" y="2100"/>
                    </a:lnTo>
                    <a:lnTo>
                      <a:pt x="1537" y="2093"/>
                    </a:lnTo>
                    <a:lnTo>
                      <a:pt x="1570" y="2086"/>
                    </a:lnTo>
                    <a:lnTo>
                      <a:pt x="1604" y="2078"/>
                    </a:lnTo>
                    <a:lnTo>
                      <a:pt x="1636" y="2070"/>
                    </a:lnTo>
                    <a:lnTo>
                      <a:pt x="1669" y="2062"/>
                    </a:lnTo>
                    <a:lnTo>
                      <a:pt x="1700" y="2052"/>
                    </a:lnTo>
                    <a:lnTo>
                      <a:pt x="1731" y="2042"/>
                    </a:lnTo>
                    <a:lnTo>
                      <a:pt x="1763" y="2031"/>
                    </a:lnTo>
                    <a:lnTo>
                      <a:pt x="1793" y="2020"/>
                    </a:lnTo>
                    <a:lnTo>
                      <a:pt x="1822" y="2010"/>
                    </a:lnTo>
                    <a:lnTo>
                      <a:pt x="1852" y="1998"/>
                    </a:lnTo>
                    <a:lnTo>
                      <a:pt x="1880" y="1985"/>
                    </a:lnTo>
                    <a:lnTo>
                      <a:pt x="1909" y="1972"/>
                    </a:lnTo>
                    <a:lnTo>
                      <a:pt x="1937" y="1958"/>
                    </a:lnTo>
                    <a:lnTo>
                      <a:pt x="1966" y="1944"/>
                    </a:lnTo>
                    <a:lnTo>
                      <a:pt x="1994" y="1929"/>
                    </a:lnTo>
                    <a:lnTo>
                      <a:pt x="2021" y="1914"/>
                    </a:lnTo>
                    <a:lnTo>
                      <a:pt x="2048" y="1897"/>
                    </a:lnTo>
                    <a:lnTo>
                      <a:pt x="2075" y="1880"/>
                    </a:lnTo>
                    <a:lnTo>
                      <a:pt x="2101" y="1863"/>
                    </a:lnTo>
                    <a:lnTo>
                      <a:pt x="2126" y="1845"/>
                    </a:lnTo>
                    <a:lnTo>
                      <a:pt x="2152" y="1826"/>
                    </a:lnTo>
                    <a:lnTo>
                      <a:pt x="2178" y="1807"/>
                    </a:lnTo>
                    <a:lnTo>
                      <a:pt x="2203" y="1787"/>
                    </a:lnTo>
                    <a:lnTo>
                      <a:pt x="2228" y="1767"/>
                    </a:lnTo>
                    <a:lnTo>
                      <a:pt x="2253" y="1745"/>
                    </a:lnTo>
                    <a:lnTo>
                      <a:pt x="2278" y="1724"/>
                    </a:lnTo>
                    <a:lnTo>
                      <a:pt x="2302" y="1701"/>
                    </a:lnTo>
                    <a:lnTo>
                      <a:pt x="2326" y="1678"/>
                    </a:lnTo>
                    <a:lnTo>
                      <a:pt x="2351" y="1653"/>
                    </a:lnTo>
                    <a:lnTo>
                      <a:pt x="2375" y="1630"/>
                    </a:lnTo>
                    <a:lnTo>
                      <a:pt x="2395" y="1608"/>
                    </a:lnTo>
                    <a:lnTo>
                      <a:pt x="2417" y="1589"/>
                    </a:lnTo>
                    <a:lnTo>
                      <a:pt x="2438" y="1569"/>
                    </a:lnTo>
                    <a:lnTo>
                      <a:pt x="2461" y="1551"/>
                    </a:lnTo>
                    <a:lnTo>
                      <a:pt x="2484" y="1535"/>
                    </a:lnTo>
                    <a:lnTo>
                      <a:pt x="2508" y="1519"/>
                    </a:lnTo>
                    <a:lnTo>
                      <a:pt x="2530" y="1503"/>
                    </a:lnTo>
                    <a:lnTo>
                      <a:pt x="2554" y="1489"/>
                    </a:lnTo>
                    <a:lnTo>
                      <a:pt x="2578" y="1476"/>
                    </a:lnTo>
                    <a:lnTo>
                      <a:pt x="2602" y="1465"/>
                    </a:lnTo>
                    <a:lnTo>
                      <a:pt x="2626" y="1454"/>
                    </a:lnTo>
                    <a:lnTo>
                      <a:pt x="2650" y="1444"/>
                    </a:lnTo>
                    <a:lnTo>
                      <a:pt x="2674" y="1435"/>
                    </a:lnTo>
                    <a:lnTo>
                      <a:pt x="2698" y="1427"/>
                    </a:lnTo>
                    <a:lnTo>
                      <a:pt x="2721" y="1420"/>
                    </a:lnTo>
                    <a:lnTo>
                      <a:pt x="2745" y="1415"/>
                    </a:lnTo>
                    <a:lnTo>
                      <a:pt x="2768" y="1410"/>
                    </a:lnTo>
                    <a:lnTo>
                      <a:pt x="2791" y="1405"/>
                    </a:lnTo>
                    <a:lnTo>
                      <a:pt x="2813" y="1403"/>
                    </a:lnTo>
                    <a:lnTo>
                      <a:pt x="2835" y="1401"/>
                    </a:lnTo>
                    <a:lnTo>
                      <a:pt x="2856" y="1400"/>
                    </a:lnTo>
                    <a:lnTo>
                      <a:pt x="2878" y="1400"/>
                    </a:lnTo>
                    <a:lnTo>
                      <a:pt x="2898" y="1401"/>
                    </a:lnTo>
                    <a:lnTo>
                      <a:pt x="2918" y="1403"/>
                    </a:lnTo>
                    <a:lnTo>
                      <a:pt x="2937" y="1405"/>
                    </a:lnTo>
                    <a:lnTo>
                      <a:pt x="2956" y="1410"/>
                    </a:lnTo>
                    <a:lnTo>
                      <a:pt x="2973" y="1415"/>
                    </a:lnTo>
                    <a:lnTo>
                      <a:pt x="2990" y="1420"/>
                    </a:lnTo>
                    <a:lnTo>
                      <a:pt x="3005" y="1427"/>
                    </a:lnTo>
                    <a:lnTo>
                      <a:pt x="3021" y="1434"/>
                    </a:lnTo>
                    <a:lnTo>
                      <a:pt x="3035" y="1443"/>
                    </a:lnTo>
                    <a:lnTo>
                      <a:pt x="3048" y="1453"/>
                    </a:lnTo>
                    <a:lnTo>
                      <a:pt x="3064" y="1468"/>
                    </a:lnTo>
                    <a:lnTo>
                      <a:pt x="3078" y="1484"/>
                    </a:lnTo>
                    <a:lnTo>
                      <a:pt x="3090" y="1500"/>
                    </a:lnTo>
                    <a:lnTo>
                      <a:pt x="3099" y="1517"/>
                    </a:lnTo>
                    <a:lnTo>
                      <a:pt x="3108" y="1535"/>
                    </a:lnTo>
                    <a:lnTo>
                      <a:pt x="3114" y="1552"/>
                    </a:lnTo>
                    <a:lnTo>
                      <a:pt x="3120" y="1570"/>
                    </a:lnTo>
                    <a:lnTo>
                      <a:pt x="3123" y="1590"/>
                    </a:lnTo>
                    <a:lnTo>
                      <a:pt x="3122" y="1557"/>
                    </a:lnTo>
                    <a:lnTo>
                      <a:pt x="3119" y="1526"/>
                    </a:lnTo>
                    <a:lnTo>
                      <a:pt x="3116" y="1497"/>
                    </a:lnTo>
                    <a:lnTo>
                      <a:pt x="3110" y="1470"/>
                    </a:lnTo>
                    <a:lnTo>
                      <a:pt x="3106" y="1444"/>
                    </a:lnTo>
                    <a:lnTo>
                      <a:pt x="3099" y="1419"/>
                    </a:lnTo>
                    <a:lnTo>
                      <a:pt x="3094" y="1395"/>
                    </a:lnTo>
                    <a:lnTo>
                      <a:pt x="3089" y="1373"/>
                    </a:lnTo>
                    <a:lnTo>
                      <a:pt x="3081" y="1347"/>
                    </a:lnTo>
                    <a:lnTo>
                      <a:pt x="3079" y="1338"/>
                    </a:lnTo>
                    <a:lnTo>
                      <a:pt x="3073" y="1323"/>
                    </a:lnTo>
                    <a:lnTo>
                      <a:pt x="3069" y="1310"/>
                    </a:lnTo>
                    <a:lnTo>
                      <a:pt x="3065" y="1299"/>
                    </a:lnTo>
                    <a:lnTo>
                      <a:pt x="3057" y="1292"/>
                    </a:lnTo>
                    <a:lnTo>
                      <a:pt x="3049" y="1285"/>
                    </a:lnTo>
                    <a:lnTo>
                      <a:pt x="3038" y="1278"/>
                    </a:lnTo>
                    <a:lnTo>
                      <a:pt x="3026" y="1271"/>
                    </a:lnTo>
                    <a:lnTo>
                      <a:pt x="3014" y="1265"/>
                    </a:lnTo>
                    <a:lnTo>
                      <a:pt x="3000" y="1259"/>
                    </a:lnTo>
                    <a:lnTo>
                      <a:pt x="2985" y="1253"/>
                    </a:lnTo>
                    <a:lnTo>
                      <a:pt x="2970" y="1249"/>
                    </a:lnTo>
                    <a:lnTo>
                      <a:pt x="2954" y="1243"/>
                    </a:lnTo>
                    <a:lnTo>
                      <a:pt x="2937" y="1240"/>
                    </a:lnTo>
                    <a:lnTo>
                      <a:pt x="2920" y="1237"/>
                    </a:lnTo>
                    <a:lnTo>
                      <a:pt x="2902" y="1234"/>
                    </a:lnTo>
                    <a:lnTo>
                      <a:pt x="2884" y="1231"/>
                    </a:lnTo>
                    <a:lnTo>
                      <a:pt x="2866" y="1230"/>
                    </a:lnTo>
                    <a:lnTo>
                      <a:pt x="2848" y="1230"/>
                    </a:lnTo>
                    <a:lnTo>
                      <a:pt x="2829" y="1231"/>
                    </a:lnTo>
                    <a:lnTo>
                      <a:pt x="2810" y="1234"/>
                    </a:lnTo>
                    <a:lnTo>
                      <a:pt x="2792" y="1236"/>
                    </a:lnTo>
                    <a:lnTo>
                      <a:pt x="2772" y="1238"/>
                    </a:lnTo>
                    <a:lnTo>
                      <a:pt x="2755" y="1242"/>
                    </a:lnTo>
                    <a:lnTo>
                      <a:pt x="2737" y="1245"/>
                    </a:lnTo>
                    <a:lnTo>
                      <a:pt x="2718" y="1251"/>
                    </a:lnTo>
                    <a:lnTo>
                      <a:pt x="2701" y="1255"/>
                    </a:lnTo>
                    <a:lnTo>
                      <a:pt x="2684" y="1261"/>
                    </a:lnTo>
                    <a:lnTo>
                      <a:pt x="2649" y="1273"/>
                    </a:lnTo>
                    <a:lnTo>
                      <a:pt x="2616" y="1288"/>
                    </a:lnTo>
                    <a:lnTo>
                      <a:pt x="2583" y="1304"/>
                    </a:lnTo>
                    <a:lnTo>
                      <a:pt x="2551" y="1321"/>
                    </a:lnTo>
                    <a:lnTo>
                      <a:pt x="2518" y="1339"/>
                    </a:lnTo>
                    <a:lnTo>
                      <a:pt x="2487" y="1359"/>
                    </a:lnTo>
                    <a:lnTo>
                      <a:pt x="2456" y="1379"/>
                    </a:lnTo>
                    <a:lnTo>
                      <a:pt x="2424" y="1401"/>
                    </a:lnTo>
                    <a:lnTo>
                      <a:pt x="2362" y="1446"/>
                    </a:lnTo>
                    <a:lnTo>
                      <a:pt x="2300" y="1494"/>
                    </a:lnTo>
                    <a:lnTo>
                      <a:pt x="2247" y="1534"/>
                    </a:lnTo>
                    <a:lnTo>
                      <a:pt x="2193" y="1574"/>
                    </a:lnTo>
                    <a:lnTo>
                      <a:pt x="2166" y="1593"/>
                    </a:lnTo>
                    <a:lnTo>
                      <a:pt x="2139" y="1612"/>
                    </a:lnTo>
                    <a:lnTo>
                      <a:pt x="2111" y="1631"/>
                    </a:lnTo>
                    <a:lnTo>
                      <a:pt x="2083" y="1648"/>
                    </a:lnTo>
                    <a:lnTo>
                      <a:pt x="2054" y="1665"/>
                    </a:lnTo>
                    <a:lnTo>
                      <a:pt x="2026" y="1682"/>
                    </a:lnTo>
                    <a:lnTo>
                      <a:pt x="1996" y="1697"/>
                    </a:lnTo>
                    <a:lnTo>
                      <a:pt x="1966" y="1711"/>
                    </a:lnTo>
                    <a:lnTo>
                      <a:pt x="1935" y="1724"/>
                    </a:lnTo>
                    <a:lnTo>
                      <a:pt x="1904" y="1736"/>
                    </a:lnTo>
                    <a:lnTo>
                      <a:pt x="1872" y="1746"/>
                    </a:lnTo>
                    <a:lnTo>
                      <a:pt x="1839" y="1756"/>
                    </a:lnTo>
                    <a:lnTo>
                      <a:pt x="1794" y="1766"/>
                    </a:lnTo>
                    <a:lnTo>
                      <a:pt x="1748" y="1774"/>
                    </a:lnTo>
                    <a:lnTo>
                      <a:pt x="1704" y="1780"/>
                    </a:lnTo>
                    <a:lnTo>
                      <a:pt x="1661" y="1783"/>
                    </a:lnTo>
                    <a:lnTo>
                      <a:pt x="1617" y="1784"/>
                    </a:lnTo>
                    <a:lnTo>
                      <a:pt x="1575" y="1783"/>
                    </a:lnTo>
                    <a:lnTo>
                      <a:pt x="1533" y="1780"/>
                    </a:lnTo>
                    <a:lnTo>
                      <a:pt x="1490" y="1773"/>
                    </a:lnTo>
                    <a:lnTo>
                      <a:pt x="1449" y="1766"/>
                    </a:lnTo>
                    <a:lnTo>
                      <a:pt x="1409" y="1755"/>
                    </a:lnTo>
                    <a:lnTo>
                      <a:pt x="1369" y="1742"/>
                    </a:lnTo>
                    <a:lnTo>
                      <a:pt x="1330" y="1727"/>
                    </a:lnTo>
                    <a:lnTo>
                      <a:pt x="1291" y="1710"/>
                    </a:lnTo>
                    <a:lnTo>
                      <a:pt x="1253" y="1690"/>
                    </a:lnTo>
                    <a:lnTo>
                      <a:pt x="1215" y="1669"/>
                    </a:lnTo>
                    <a:lnTo>
                      <a:pt x="1178" y="1645"/>
                    </a:lnTo>
                    <a:lnTo>
                      <a:pt x="1142" y="1618"/>
                    </a:lnTo>
                    <a:lnTo>
                      <a:pt x="1106" y="1590"/>
                    </a:lnTo>
                    <a:lnTo>
                      <a:pt x="1071" y="1558"/>
                    </a:lnTo>
                    <a:lnTo>
                      <a:pt x="1037" y="1525"/>
                    </a:lnTo>
                    <a:lnTo>
                      <a:pt x="1003" y="1490"/>
                    </a:lnTo>
                    <a:lnTo>
                      <a:pt x="971" y="1453"/>
                    </a:lnTo>
                    <a:lnTo>
                      <a:pt x="939" y="1413"/>
                    </a:lnTo>
                    <a:lnTo>
                      <a:pt x="906" y="1371"/>
                    </a:lnTo>
                    <a:lnTo>
                      <a:pt x="876" y="1326"/>
                    </a:lnTo>
                    <a:lnTo>
                      <a:pt x="846" y="1280"/>
                    </a:lnTo>
                    <a:lnTo>
                      <a:pt x="816" y="1231"/>
                    </a:lnTo>
                    <a:lnTo>
                      <a:pt x="787" y="1181"/>
                    </a:lnTo>
                    <a:lnTo>
                      <a:pt x="759" y="1128"/>
                    </a:lnTo>
                    <a:lnTo>
                      <a:pt x="732" y="1073"/>
                    </a:lnTo>
                    <a:lnTo>
                      <a:pt x="705" y="1015"/>
                    </a:lnTo>
                    <a:lnTo>
                      <a:pt x="679" y="956"/>
                    </a:lnTo>
                    <a:lnTo>
                      <a:pt x="663" y="915"/>
                    </a:lnTo>
                    <a:lnTo>
                      <a:pt x="647" y="871"/>
                    </a:lnTo>
                    <a:lnTo>
                      <a:pt x="632" y="826"/>
                    </a:lnTo>
                    <a:lnTo>
                      <a:pt x="619" y="779"/>
                    </a:lnTo>
                    <a:lnTo>
                      <a:pt x="606" y="731"/>
                    </a:lnTo>
                    <a:lnTo>
                      <a:pt x="595" y="681"/>
                    </a:lnTo>
                    <a:lnTo>
                      <a:pt x="587" y="630"/>
                    </a:lnTo>
                    <a:lnTo>
                      <a:pt x="580" y="579"/>
                    </a:lnTo>
                    <a:lnTo>
                      <a:pt x="577" y="555"/>
                    </a:lnTo>
                    <a:lnTo>
                      <a:pt x="575" y="530"/>
                    </a:lnTo>
                    <a:lnTo>
                      <a:pt x="574" y="504"/>
                    </a:lnTo>
                    <a:lnTo>
                      <a:pt x="573" y="479"/>
                    </a:lnTo>
                    <a:lnTo>
                      <a:pt x="573" y="454"/>
                    </a:lnTo>
                    <a:lnTo>
                      <a:pt x="574" y="429"/>
                    </a:lnTo>
                    <a:lnTo>
                      <a:pt x="575" y="405"/>
                    </a:lnTo>
                    <a:lnTo>
                      <a:pt x="577" y="381"/>
                    </a:lnTo>
                    <a:lnTo>
                      <a:pt x="580" y="357"/>
                    </a:lnTo>
                    <a:lnTo>
                      <a:pt x="583" y="333"/>
                    </a:lnTo>
                    <a:lnTo>
                      <a:pt x="588" y="310"/>
                    </a:lnTo>
                    <a:lnTo>
                      <a:pt x="593" y="287"/>
                    </a:lnTo>
                    <a:lnTo>
                      <a:pt x="600" y="265"/>
                    </a:lnTo>
                    <a:lnTo>
                      <a:pt x="606" y="244"/>
                    </a:lnTo>
                    <a:lnTo>
                      <a:pt x="615" y="222"/>
                    </a:lnTo>
                    <a:lnTo>
                      <a:pt x="623" y="202"/>
                    </a:lnTo>
                    <a:lnTo>
                      <a:pt x="627" y="197"/>
                    </a:lnTo>
                    <a:lnTo>
                      <a:pt x="631" y="194"/>
                    </a:lnTo>
                    <a:lnTo>
                      <a:pt x="636" y="194"/>
                    </a:lnTo>
                    <a:lnTo>
                      <a:pt x="642" y="195"/>
                    </a:lnTo>
                    <a:lnTo>
                      <a:pt x="646" y="198"/>
                    </a:lnTo>
                    <a:lnTo>
                      <a:pt x="648" y="203"/>
                    </a:lnTo>
                    <a:lnTo>
                      <a:pt x="649" y="208"/>
                    </a:lnTo>
                    <a:lnTo>
                      <a:pt x="648" y="213"/>
                    </a:lnTo>
                    <a:lnTo>
                      <a:pt x="640" y="232"/>
                    </a:lnTo>
                    <a:lnTo>
                      <a:pt x="632" y="251"/>
                    </a:lnTo>
                    <a:lnTo>
                      <a:pt x="625" y="271"/>
                    </a:lnTo>
                    <a:lnTo>
                      <a:pt x="620" y="291"/>
                    </a:lnTo>
                    <a:lnTo>
                      <a:pt x="616" y="312"/>
                    </a:lnTo>
                    <a:lnTo>
                      <a:pt x="611" y="333"/>
                    </a:lnTo>
                    <a:lnTo>
                      <a:pt x="607" y="356"/>
                    </a:lnTo>
                    <a:lnTo>
                      <a:pt x="605" y="378"/>
                    </a:lnTo>
                    <a:lnTo>
                      <a:pt x="603" y="401"/>
                    </a:lnTo>
                    <a:lnTo>
                      <a:pt x="602" y="424"/>
                    </a:lnTo>
                    <a:lnTo>
                      <a:pt x="601" y="448"/>
                    </a:lnTo>
                    <a:lnTo>
                      <a:pt x="601" y="471"/>
                    </a:lnTo>
                    <a:lnTo>
                      <a:pt x="602" y="495"/>
                    </a:lnTo>
                    <a:lnTo>
                      <a:pt x="603" y="519"/>
                    </a:lnTo>
                    <a:lnTo>
                      <a:pt x="604" y="544"/>
                    </a:lnTo>
                    <a:lnTo>
                      <a:pt x="606" y="569"/>
                    </a:lnTo>
                    <a:lnTo>
                      <a:pt x="613" y="617"/>
                    </a:lnTo>
                    <a:lnTo>
                      <a:pt x="621" y="667"/>
                    </a:lnTo>
                    <a:lnTo>
                      <a:pt x="631" y="715"/>
                    </a:lnTo>
                    <a:lnTo>
                      <a:pt x="643" y="764"/>
                    </a:lnTo>
                    <a:lnTo>
                      <a:pt x="657" y="811"/>
                    </a:lnTo>
                    <a:lnTo>
                      <a:pt x="671" y="858"/>
                    </a:lnTo>
                    <a:lnTo>
                      <a:pt x="687" y="902"/>
                    </a:lnTo>
                    <a:lnTo>
                      <a:pt x="704" y="945"/>
                    </a:lnTo>
                    <a:lnTo>
                      <a:pt x="723" y="987"/>
                    </a:lnTo>
                    <a:lnTo>
                      <a:pt x="741" y="1028"/>
                    </a:lnTo>
                    <a:lnTo>
                      <a:pt x="760" y="1071"/>
                    </a:lnTo>
                    <a:lnTo>
                      <a:pt x="782" y="1112"/>
                    </a:lnTo>
                    <a:lnTo>
                      <a:pt x="804" y="1154"/>
                    </a:lnTo>
                    <a:lnTo>
                      <a:pt x="826" y="1195"/>
                    </a:lnTo>
                    <a:lnTo>
                      <a:pt x="850" y="1236"/>
                    </a:lnTo>
                    <a:lnTo>
                      <a:pt x="875" y="1276"/>
                    </a:lnTo>
                    <a:lnTo>
                      <a:pt x="901" y="1315"/>
                    </a:lnTo>
                    <a:lnTo>
                      <a:pt x="928" y="1353"/>
                    </a:lnTo>
                    <a:lnTo>
                      <a:pt x="956" y="1391"/>
                    </a:lnTo>
                    <a:lnTo>
                      <a:pt x="985" y="1427"/>
                    </a:lnTo>
                    <a:lnTo>
                      <a:pt x="1015" y="1462"/>
                    </a:lnTo>
                    <a:lnTo>
                      <a:pt x="1048" y="1496"/>
                    </a:lnTo>
                    <a:lnTo>
                      <a:pt x="1080" y="1528"/>
                    </a:lnTo>
                    <a:lnTo>
                      <a:pt x="1114" y="1560"/>
                    </a:lnTo>
                    <a:lnTo>
                      <a:pt x="1149" y="1589"/>
                    </a:lnTo>
                    <a:lnTo>
                      <a:pt x="1186" y="1616"/>
                    </a:lnTo>
                    <a:lnTo>
                      <a:pt x="1223" y="1641"/>
                    </a:lnTo>
                    <a:lnTo>
                      <a:pt x="1261" y="1664"/>
                    </a:lnTo>
                    <a:lnTo>
                      <a:pt x="1303" y="1685"/>
                    </a:lnTo>
                    <a:lnTo>
                      <a:pt x="1344" y="1703"/>
                    </a:lnTo>
                    <a:lnTo>
                      <a:pt x="1386" y="1719"/>
                    </a:lnTo>
                    <a:lnTo>
                      <a:pt x="1430" y="1732"/>
                    </a:lnTo>
                    <a:lnTo>
                      <a:pt x="1475" y="1743"/>
                    </a:lnTo>
                    <a:lnTo>
                      <a:pt x="1523" y="1751"/>
                    </a:lnTo>
                    <a:lnTo>
                      <a:pt x="1570" y="1756"/>
                    </a:lnTo>
                    <a:lnTo>
                      <a:pt x="1620" y="1757"/>
                    </a:lnTo>
                    <a:lnTo>
                      <a:pt x="1671" y="1755"/>
                    </a:lnTo>
                    <a:lnTo>
                      <a:pt x="1724" y="1751"/>
                    </a:lnTo>
                    <a:lnTo>
                      <a:pt x="1778" y="1742"/>
                    </a:lnTo>
                    <a:lnTo>
                      <a:pt x="1833" y="1729"/>
                    </a:lnTo>
                    <a:lnTo>
                      <a:pt x="1864" y="1720"/>
                    </a:lnTo>
                    <a:lnTo>
                      <a:pt x="1895" y="1711"/>
                    </a:lnTo>
                    <a:lnTo>
                      <a:pt x="1926" y="1699"/>
                    </a:lnTo>
                    <a:lnTo>
                      <a:pt x="1956" y="1686"/>
                    </a:lnTo>
                    <a:lnTo>
                      <a:pt x="1985" y="1672"/>
                    </a:lnTo>
                    <a:lnTo>
                      <a:pt x="2014" y="1657"/>
                    </a:lnTo>
                    <a:lnTo>
                      <a:pt x="2042" y="1641"/>
                    </a:lnTo>
                    <a:lnTo>
                      <a:pt x="2070" y="1624"/>
                    </a:lnTo>
                    <a:lnTo>
                      <a:pt x="2098" y="1607"/>
                    </a:lnTo>
                    <a:lnTo>
                      <a:pt x="2125" y="1589"/>
                    </a:lnTo>
                    <a:lnTo>
                      <a:pt x="2152" y="1570"/>
                    </a:lnTo>
                    <a:lnTo>
                      <a:pt x="2179" y="1551"/>
                    </a:lnTo>
                    <a:lnTo>
                      <a:pt x="2231" y="1512"/>
                    </a:lnTo>
                    <a:lnTo>
                      <a:pt x="2284" y="1472"/>
                    </a:lnTo>
                    <a:lnTo>
                      <a:pt x="2345" y="1426"/>
                    </a:lnTo>
                    <a:lnTo>
                      <a:pt x="2407" y="1380"/>
                    </a:lnTo>
                    <a:lnTo>
                      <a:pt x="2438" y="1359"/>
                    </a:lnTo>
                    <a:lnTo>
                      <a:pt x="2471" y="1337"/>
                    </a:lnTo>
                    <a:lnTo>
                      <a:pt x="2503" y="1317"/>
                    </a:lnTo>
                    <a:lnTo>
                      <a:pt x="2537" y="1297"/>
                    </a:lnTo>
                    <a:lnTo>
                      <a:pt x="2570" y="1280"/>
                    </a:lnTo>
                    <a:lnTo>
                      <a:pt x="2605" y="1264"/>
                    </a:lnTo>
                    <a:lnTo>
                      <a:pt x="2639" y="1249"/>
                    </a:lnTo>
                    <a:lnTo>
                      <a:pt x="2675" y="1236"/>
                    </a:lnTo>
                    <a:lnTo>
                      <a:pt x="2693" y="1229"/>
                    </a:lnTo>
                    <a:lnTo>
                      <a:pt x="2712" y="1224"/>
                    </a:lnTo>
                    <a:lnTo>
                      <a:pt x="2730" y="1220"/>
                    </a:lnTo>
                    <a:lnTo>
                      <a:pt x="2749" y="1215"/>
                    </a:lnTo>
                    <a:lnTo>
                      <a:pt x="2769" y="1212"/>
                    </a:lnTo>
                    <a:lnTo>
                      <a:pt x="2787" y="1209"/>
                    </a:lnTo>
                    <a:lnTo>
                      <a:pt x="2807" y="1207"/>
                    </a:lnTo>
                    <a:lnTo>
                      <a:pt x="2827" y="1204"/>
                    </a:lnTo>
                    <a:lnTo>
                      <a:pt x="2846" y="1203"/>
                    </a:lnTo>
                    <a:lnTo>
                      <a:pt x="2865" y="1203"/>
                    </a:lnTo>
                    <a:lnTo>
                      <a:pt x="2883" y="1204"/>
                    </a:lnTo>
                    <a:lnTo>
                      <a:pt x="2903" y="1207"/>
                    </a:lnTo>
                    <a:lnTo>
                      <a:pt x="2921" y="1210"/>
                    </a:lnTo>
                    <a:lnTo>
                      <a:pt x="2941" y="1213"/>
                    </a:lnTo>
                    <a:lnTo>
                      <a:pt x="2959" y="1217"/>
                    </a:lnTo>
                    <a:lnTo>
                      <a:pt x="2976" y="1222"/>
                    </a:lnTo>
                    <a:lnTo>
                      <a:pt x="2994" y="1228"/>
                    </a:lnTo>
                    <a:lnTo>
                      <a:pt x="3010" y="1234"/>
                    </a:lnTo>
                    <a:lnTo>
                      <a:pt x="3026" y="1241"/>
                    </a:lnTo>
                    <a:lnTo>
                      <a:pt x="3040" y="1249"/>
                    </a:lnTo>
                    <a:lnTo>
                      <a:pt x="3054" y="1256"/>
                    </a:lnTo>
                    <a:lnTo>
                      <a:pt x="3066" y="1265"/>
                    </a:lnTo>
                    <a:lnTo>
                      <a:pt x="3078" y="1273"/>
                    </a:lnTo>
                    <a:lnTo>
                      <a:pt x="3087" y="1283"/>
                    </a:lnTo>
                    <a:lnTo>
                      <a:pt x="3089" y="1286"/>
                    </a:lnTo>
                    <a:lnTo>
                      <a:pt x="3091" y="1290"/>
                    </a:lnTo>
                    <a:lnTo>
                      <a:pt x="3093" y="1298"/>
                    </a:lnTo>
                    <a:lnTo>
                      <a:pt x="3099" y="1315"/>
                    </a:lnTo>
                    <a:lnTo>
                      <a:pt x="3105" y="1331"/>
                    </a:lnTo>
                    <a:lnTo>
                      <a:pt x="3108" y="1339"/>
                    </a:lnTo>
                    <a:lnTo>
                      <a:pt x="3114" y="1366"/>
                    </a:lnTo>
                    <a:lnTo>
                      <a:pt x="3123" y="1402"/>
                    </a:lnTo>
                    <a:lnTo>
                      <a:pt x="3133" y="1441"/>
                    </a:lnTo>
                    <a:lnTo>
                      <a:pt x="3136" y="1461"/>
                    </a:lnTo>
                    <a:lnTo>
                      <a:pt x="3140" y="1483"/>
                    </a:lnTo>
                    <a:lnTo>
                      <a:pt x="3144" y="1504"/>
                    </a:lnTo>
                    <a:lnTo>
                      <a:pt x="3147" y="1527"/>
                    </a:lnTo>
                    <a:lnTo>
                      <a:pt x="3149" y="1552"/>
                    </a:lnTo>
                    <a:lnTo>
                      <a:pt x="3150" y="1577"/>
                    </a:lnTo>
                    <a:lnTo>
                      <a:pt x="3150" y="1604"/>
                    </a:lnTo>
                    <a:lnTo>
                      <a:pt x="3150" y="1631"/>
                    </a:lnTo>
                    <a:lnTo>
                      <a:pt x="3149" y="1660"/>
                    </a:lnTo>
                    <a:lnTo>
                      <a:pt x="3146" y="1690"/>
                    </a:lnTo>
                    <a:lnTo>
                      <a:pt x="3143" y="1721"/>
                    </a:lnTo>
                    <a:lnTo>
                      <a:pt x="3137" y="1754"/>
                    </a:lnTo>
                    <a:lnTo>
                      <a:pt x="3135" y="1764"/>
                    </a:lnTo>
                    <a:lnTo>
                      <a:pt x="3134" y="1773"/>
                    </a:lnTo>
                    <a:lnTo>
                      <a:pt x="3132" y="1782"/>
                    </a:lnTo>
                    <a:lnTo>
                      <a:pt x="3130" y="1792"/>
                    </a:lnTo>
                    <a:lnTo>
                      <a:pt x="3128" y="1797"/>
                    </a:lnTo>
                    <a:lnTo>
                      <a:pt x="3126" y="1802"/>
                    </a:lnTo>
                    <a:lnTo>
                      <a:pt x="3123" y="1806"/>
                    </a:lnTo>
                    <a:lnTo>
                      <a:pt x="3119" y="1808"/>
                    </a:lnTo>
                    <a:lnTo>
                      <a:pt x="3114" y="1808"/>
                    </a:lnTo>
                    <a:lnTo>
                      <a:pt x="3109" y="1807"/>
                    </a:lnTo>
                    <a:lnTo>
                      <a:pt x="3106" y="1804"/>
                    </a:lnTo>
                    <a:lnTo>
                      <a:pt x="3103" y="1800"/>
                    </a:lnTo>
                    <a:lnTo>
                      <a:pt x="3101" y="1795"/>
                    </a:lnTo>
                    <a:lnTo>
                      <a:pt x="3100" y="1774"/>
                    </a:lnTo>
                    <a:lnTo>
                      <a:pt x="3100" y="1754"/>
                    </a:lnTo>
                    <a:lnTo>
                      <a:pt x="3100" y="1733"/>
                    </a:lnTo>
                    <a:lnTo>
                      <a:pt x="3101" y="1712"/>
                    </a:lnTo>
                    <a:lnTo>
                      <a:pt x="3101" y="1678"/>
                    </a:lnTo>
                    <a:lnTo>
                      <a:pt x="3101" y="1646"/>
                    </a:lnTo>
                    <a:lnTo>
                      <a:pt x="3100" y="1629"/>
                    </a:lnTo>
                    <a:lnTo>
                      <a:pt x="3099" y="1614"/>
                    </a:lnTo>
                    <a:lnTo>
                      <a:pt x="3097" y="1597"/>
                    </a:lnTo>
                    <a:lnTo>
                      <a:pt x="3094" y="1582"/>
                    </a:lnTo>
                    <a:lnTo>
                      <a:pt x="3091" y="1567"/>
                    </a:lnTo>
                    <a:lnTo>
                      <a:pt x="3086" y="1552"/>
                    </a:lnTo>
                    <a:lnTo>
                      <a:pt x="3080" y="1538"/>
                    </a:lnTo>
                    <a:lnTo>
                      <a:pt x="3073" y="1524"/>
                    </a:lnTo>
                    <a:lnTo>
                      <a:pt x="3065" y="1511"/>
                    </a:lnTo>
                    <a:lnTo>
                      <a:pt x="3055" y="1498"/>
                    </a:lnTo>
                    <a:lnTo>
                      <a:pt x="3043" y="1486"/>
                    </a:lnTo>
                    <a:lnTo>
                      <a:pt x="3030" y="1474"/>
                    </a:lnTo>
                    <a:lnTo>
                      <a:pt x="3018" y="1465"/>
                    </a:lnTo>
                    <a:lnTo>
                      <a:pt x="3005" y="1457"/>
                    </a:lnTo>
                    <a:lnTo>
                      <a:pt x="2991" y="1451"/>
                    </a:lnTo>
                    <a:lnTo>
                      <a:pt x="2977" y="1444"/>
                    </a:lnTo>
                    <a:lnTo>
                      <a:pt x="2961" y="1439"/>
                    </a:lnTo>
                    <a:lnTo>
                      <a:pt x="2945" y="1435"/>
                    </a:lnTo>
                    <a:lnTo>
                      <a:pt x="2928" y="1431"/>
                    </a:lnTo>
                    <a:lnTo>
                      <a:pt x="2909" y="1429"/>
                    </a:lnTo>
                    <a:lnTo>
                      <a:pt x="2891" y="1428"/>
                    </a:lnTo>
                    <a:lnTo>
                      <a:pt x="2871" y="1427"/>
                    </a:lnTo>
                    <a:lnTo>
                      <a:pt x="2852" y="1428"/>
                    </a:lnTo>
                    <a:lnTo>
                      <a:pt x="2832" y="1429"/>
                    </a:lnTo>
                    <a:lnTo>
                      <a:pt x="2810" y="1431"/>
                    </a:lnTo>
                    <a:lnTo>
                      <a:pt x="2789" y="1434"/>
                    </a:lnTo>
                    <a:lnTo>
                      <a:pt x="2767" y="1438"/>
                    </a:lnTo>
                    <a:lnTo>
                      <a:pt x="2745" y="1443"/>
                    </a:lnTo>
                    <a:lnTo>
                      <a:pt x="2722" y="1448"/>
                    </a:lnTo>
                    <a:lnTo>
                      <a:pt x="2701" y="1456"/>
                    </a:lnTo>
                    <a:lnTo>
                      <a:pt x="2678" y="1463"/>
                    </a:lnTo>
                    <a:lnTo>
                      <a:pt x="2656" y="1472"/>
                    </a:lnTo>
                    <a:lnTo>
                      <a:pt x="2632" y="1482"/>
                    </a:lnTo>
                    <a:lnTo>
                      <a:pt x="2609" y="1492"/>
                    </a:lnTo>
                    <a:lnTo>
                      <a:pt x="2586" y="1503"/>
                    </a:lnTo>
                    <a:lnTo>
                      <a:pt x="2564" y="1515"/>
                    </a:lnTo>
                    <a:lnTo>
                      <a:pt x="2542" y="1529"/>
                    </a:lnTo>
                    <a:lnTo>
                      <a:pt x="2519" y="1543"/>
                    </a:lnTo>
                    <a:lnTo>
                      <a:pt x="2498" y="1558"/>
                    </a:lnTo>
                    <a:lnTo>
                      <a:pt x="2476" y="1575"/>
                    </a:lnTo>
                    <a:lnTo>
                      <a:pt x="2455" y="1592"/>
                    </a:lnTo>
                    <a:lnTo>
                      <a:pt x="2434" y="1609"/>
                    </a:lnTo>
                    <a:lnTo>
                      <a:pt x="2414" y="1629"/>
                    </a:lnTo>
                    <a:lnTo>
                      <a:pt x="2394" y="1648"/>
                    </a:lnTo>
                    <a:lnTo>
                      <a:pt x="2369" y="1673"/>
                    </a:lnTo>
                    <a:lnTo>
                      <a:pt x="2346" y="1698"/>
                    </a:lnTo>
                    <a:lnTo>
                      <a:pt x="2321" y="1721"/>
                    </a:lnTo>
                    <a:lnTo>
                      <a:pt x="2296" y="1744"/>
                    </a:lnTo>
                    <a:lnTo>
                      <a:pt x="2271" y="1766"/>
                    </a:lnTo>
                    <a:lnTo>
                      <a:pt x="2245" y="1787"/>
                    </a:lnTo>
                    <a:lnTo>
                      <a:pt x="2220" y="1809"/>
                    </a:lnTo>
                    <a:lnTo>
                      <a:pt x="2194" y="1828"/>
                    </a:lnTo>
                    <a:lnTo>
                      <a:pt x="2169" y="1848"/>
                    </a:lnTo>
                    <a:lnTo>
                      <a:pt x="2142" y="1867"/>
                    </a:lnTo>
                    <a:lnTo>
                      <a:pt x="2116" y="1886"/>
                    </a:lnTo>
                    <a:lnTo>
                      <a:pt x="2089" y="1903"/>
                    </a:lnTo>
                    <a:lnTo>
                      <a:pt x="2062" y="1920"/>
                    </a:lnTo>
                    <a:lnTo>
                      <a:pt x="2035" y="1936"/>
                    </a:lnTo>
                    <a:lnTo>
                      <a:pt x="2007" y="1952"/>
                    </a:lnTo>
                    <a:lnTo>
                      <a:pt x="1978" y="1968"/>
                    </a:lnTo>
                    <a:lnTo>
                      <a:pt x="1950" y="1982"/>
                    </a:lnTo>
                    <a:lnTo>
                      <a:pt x="1921" y="1996"/>
                    </a:lnTo>
                    <a:lnTo>
                      <a:pt x="1892" y="2010"/>
                    </a:lnTo>
                    <a:lnTo>
                      <a:pt x="1863" y="2023"/>
                    </a:lnTo>
                    <a:lnTo>
                      <a:pt x="1833" y="2035"/>
                    </a:lnTo>
                    <a:lnTo>
                      <a:pt x="1802" y="2046"/>
                    </a:lnTo>
                    <a:lnTo>
                      <a:pt x="1771" y="2057"/>
                    </a:lnTo>
                    <a:lnTo>
                      <a:pt x="1740" y="2068"/>
                    </a:lnTo>
                    <a:lnTo>
                      <a:pt x="1709" y="2078"/>
                    </a:lnTo>
                    <a:lnTo>
                      <a:pt x="1676" y="2087"/>
                    </a:lnTo>
                    <a:lnTo>
                      <a:pt x="1644" y="2096"/>
                    </a:lnTo>
                    <a:lnTo>
                      <a:pt x="1610" y="2105"/>
                    </a:lnTo>
                    <a:lnTo>
                      <a:pt x="1577" y="2112"/>
                    </a:lnTo>
                    <a:lnTo>
                      <a:pt x="1543" y="2120"/>
                    </a:lnTo>
                    <a:lnTo>
                      <a:pt x="1509" y="2126"/>
                    </a:lnTo>
                    <a:lnTo>
                      <a:pt x="1473" y="2133"/>
                    </a:lnTo>
                    <a:lnTo>
                      <a:pt x="1452" y="2136"/>
                    </a:lnTo>
                    <a:lnTo>
                      <a:pt x="1430" y="2138"/>
                    </a:lnTo>
                    <a:lnTo>
                      <a:pt x="1409" y="2139"/>
                    </a:lnTo>
                    <a:lnTo>
                      <a:pt x="1388" y="2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61"/>
              <p:cNvSpPr>
                <a:spLocks/>
              </p:cNvSpPr>
              <p:nvPr userDrawn="1"/>
            </p:nvSpPr>
            <p:spPr bwMode="auto">
              <a:xfrm>
                <a:off x="2457" y="3089"/>
                <a:ext cx="646" cy="266"/>
              </a:xfrm>
              <a:custGeom>
                <a:avLst/>
                <a:gdLst>
                  <a:gd name="T0" fmla="*/ 1919 w 1939"/>
                  <a:gd name="T1" fmla="*/ 797 h 799"/>
                  <a:gd name="T2" fmla="*/ 1891 w 1939"/>
                  <a:gd name="T3" fmla="*/ 749 h 799"/>
                  <a:gd name="T4" fmla="*/ 1811 w 1939"/>
                  <a:gd name="T5" fmla="*/ 615 h 799"/>
                  <a:gd name="T6" fmla="*/ 1716 w 1939"/>
                  <a:gd name="T7" fmla="*/ 481 h 799"/>
                  <a:gd name="T8" fmla="*/ 1643 w 1939"/>
                  <a:gd name="T9" fmla="*/ 396 h 799"/>
                  <a:gd name="T10" fmla="*/ 1585 w 1939"/>
                  <a:gd name="T11" fmla="*/ 336 h 799"/>
                  <a:gd name="T12" fmla="*/ 1523 w 1939"/>
                  <a:gd name="T13" fmla="*/ 282 h 799"/>
                  <a:gd name="T14" fmla="*/ 1458 w 1939"/>
                  <a:gd name="T15" fmla="*/ 233 h 799"/>
                  <a:gd name="T16" fmla="*/ 1388 w 1939"/>
                  <a:gd name="T17" fmla="*/ 191 h 799"/>
                  <a:gd name="T18" fmla="*/ 1300 w 1939"/>
                  <a:gd name="T19" fmla="*/ 152 h 799"/>
                  <a:gd name="T20" fmla="*/ 1174 w 1939"/>
                  <a:gd name="T21" fmla="*/ 110 h 799"/>
                  <a:gd name="T22" fmla="*/ 1041 w 1939"/>
                  <a:gd name="T23" fmla="*/ 76 h 799"/>
                  <a:gd name="T24" fmla="*/ 906 w 1939"/>
                  <a:gd name="T25" fmla="*/ 51 h 799"/>
                  <a:gd name="T26" fmla="*/ 771 w 1939"/>
                  <a:gd name="T27" fmla="*/ 36 h 799"/>
                  <a:gd name="T28" fmla="*/ 641 w 1939"/>
                  <a:gd name="T29" fmla="*/ 28 h 799"/>
                  <a:gd name="T30" fmla="*/ 518 w 1939"/>
                  <a:gd name="T31" fmla="*/ 29 h 799"/>
                  <a:gd name="T32" fmla="*/ 407 w 1939"/>
                  <a:gd name="T33" fmla="*/ 38 h 799"/>
                  <a:gd name="T34" fmla="*/ 310 w 1939"/>
                  <a:gd name="T35" fmla="*/ 54 h 799"/>
                  <a:gd name="T36" fmla="*/ 231 w 1939"/>
                  <a:gd name="T37" fmla="*/ 78 h 799"/>
                  <a:gd name="T38" fmla="*/ 173 w 1939"/>
                  <a:gd name="T39" fmla="*/ 110 h 799"/>
                  <a:gd name="T40" fmla="*/ 130 w 1939"/>
                  <a:gd name="T41" fmla="*/ 149 h 799"/>
                  <a:gd name="T42" fmla="*/ 83 w 1939"/>
                  <a:gd name="T43" fmla="*/ 194 h 799"/>
                  <a:gd name="T44" fmla="*/ 24 w 1939"/>
                  <a:gd name="T45" fmla="*/ 255 h 799"/>
                  <a:gd name="T46" fmla="*/ 8 w 1939"/>
                  <a:gd name="T47" fmla="*/ 258 h 799"/>
                  <a:gd name="T48" fmla="*/ 0 w 1939"/>
                  <a:gd name="T49" fmla="*/ 246 h 799"/>
                  <a:gd name="T50" fmla="*/ 24 w 1939"/>
                  <a:gd name="T51" fmla="*/ 215 h 799"/>
                  <a:gd name="T52" fmla="*/ 86 w 1939"/>
                  <a:gd name="T53" fmla="*/ 153 h 799"/>
                  <a:gd name="T54" fmla="*/ 125 w 1939"/>
                  <a:gd name="T55" fmla="*/ 117 h 799"/>
                  <a:gd name="T56" fmla="*/ 173 w 1939"/>
                  <a:gd name="T57" fmla="*/ 78 h 799"/>
                  <a:gd name="T58" fmla="*/ 240 w 1939"/>
                  <a:gd name="T59" fmla="*/ 46 h 799"/>
                  <a:gd name="T60" fmla="*/ 328 w 1939"/>
                  <a:gd name="T61" fmla="*/ 23 h 799"/>
                  <a:gd name="T62" fmla="*/ 432 w 1939"/>
                  <a:gd name="T63" fmla="*/ 8 h 799"/>
                  <a:gd name="T64" fmla="*/ 549 w 1939"/>
                  <a:gd name="T65" fmla="*/ 0 h 799"/>
                  <a:gd name="T66" fmla="*/ 677 w 1939"/>
                  <a:gd name="T67" fmla="*/ 1 h 799"/>
                  <a:gd name="T68" fmla="*/ 812 w 1939"/>
                  <a:gd name="T69" fmla="*/ 11 h 799"/>
                  <a:gd name="T70" fmla="*/ 950 w 1939"/>
                  <a:gd name="T71" fmla="*/ 30 h 799"/>
                  <a:gd name="T72" fmla="*/ 1088 w 1939"/>
                  <a:gd name="T73" fmla="*/ 58 h 799"/>
                  <a:gd name="T74" fmla="*/ 1223 w 1939"/>
                  <a:gd name="T75" fmla="*/ 96 h 799"/>
                  <a:gd name="T76" fmla="*/ 1352 w 1939"/>
                  <a:gd name="T77" fmla="*/ 144 h 799"/>
                  <a:gd name="T78" fmla="*/ 1425 w 1939"/>
                  <a:gd name="T79" fmla="*/ 180 h 799"/>
                  <a:gd name="T80" fmla="*/ 1494 w 1939"/>
                  <a:gd name="T81" fmla="*/ 226 h 799"/>
                  <a:gd name="T82" fmla="*/ 1560 w 1939"/>
                  <a:gd name="T83" fmla="*/ 277 h 799"/>
                  <a:gd name="T84" fmla="*/ 1623 w 1939"/>
                  <a:gd name="T85" fmla="*/ 335 h 799"/>
                  <a:gd name="T86" fmla="*/ 1681 w 1939"/>
                  <a:gd name="T87" fmla="*/ 397 h 799"/>
                  <a:gd name="T88" fmla="*/ 1770 w 1939"/>
                  <a:gd name="T89" fmla="*/ 508 h 799"/>
                  <a:gd name="T90" fmla="*/ 1861 w 1939"/>
                  <a:gd name="T91" fmla="*/ 646 h 799"/>
                  <a:gd name="T92" fmla="*/ 1937 w 1939"/>
                  <a:gd name="T93" fmla="*/ 778 h 799"/>
                  <a:gd name="T94" fmla="*/ 1936 w 1939"/>
                  <a:gd name="T95" fmla="*/ 793 h 799"/>
                  <a:gd name="T96" fmla="*/ 1925 w 1939"/>
                  <a:gd name="T97" fmla="*/ 799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9" h="799">
                    <a:moveTo>
                      <a:pt x="1925" y="799"/>
                    </a:moveTo>
                    <a:lnTo>
                      <a:pt x="1922" y="798"/>
                    </a:lnTo>
                    <a:lnTo>
                      <a:pt x="1919" y="797"/>
                    </a:lnTo>
                    <a:lnTo>
                      <a:pt x="1915" y="795"/>
                    </a:lnTo>
                    <a:lnTo>
                      <a:pt x="1913" y="791"/>
                    </a:lnTo>
                    <a:lnTo>
                      <a:pt x="1891" y="749"/>
                    </a:lnTo>
                    <a:lnTo>
                      <a:pt x="1866" y="705"/>
                    </a:lnTo>
                    <a:lnTo>
                      <a:pt x="1839" y="661"/>
                    </a:lnTo>
                    <a:lnTo>
                      <a:pt x="1811" y="615"/>
                    </a:lnTo>
                    <a:lnTo>
                      <a:pt x="1780" y="570"/>
                    </a:lnTo>
                    <a:lnTo>
                      <a:pt x="1749" y="526"/>
                    </a:lnTo>
                    <a:lnTo>
                      <a:pt x="1716" y="481"/>
                    </a:lnTo>
                    <a:lnTo>
                      <a:pt x="1681" y="438"/>
                    </a:lnTo>
                    <a:lnTo>
                      <a:pt x="1663" y="417"/>
                    </a:lnTo>
                    <a:lnTo>
                      <a:pt x="1643" y="396"/>
                    </a:lnTo>
                    <a:lnTo>
                      <a:pt x="1625" y="376"/>
                    </a:lnTo>
                    <a:lnTo>
                      <a:pt x="1605" y="355"/>
                    </a:lnTo>
                    <a:lnTo>
                      <a:pt x="1585" y="336"/>
                    </a:lnTo>
                    <a:lnTo>
                      <a:pt x="1566" y="317"/>
                    </a:lnTo>
                    <a:lnTo>
                      <a:pt x="1545" y="299"/>
                    </a:lnTo>
                    <a:lnTo>
                      <a:pt x="1523" y="282"/>
                    </a:lnTo>
                    <a:lnTo>
                      <a:pt x="1502" y="264"/>
                    </a:lnTo>
                    <a:lnTo>
                      <a:pt x="1480" y="248"/>
                    </a:lnTo>
                    <a:lnTo>
                      <a:pt x="1458" y="233"/>
                    </a:lnTo>
                    <a:lnTo>
                      <a:pt x="1435" y="218"/>
                    </a:lnTo>
                    <a:lnTo>
                      <a:pt x="1412" y="204"/>
                    </a:lnTo>
                    <a:lnTo>
                      <a:pt x="1388" y="191"/>
                    </a:lnTo>
                    <a:lnTo>
                      <a:pt x="1365" y="179"/>
                    </a:lnTo>
                    <a:lnTo>
                      <a:pt x="1341" y="168"/>
                    </a:lnTo>
                    <a:lnTo>
                      <a:pt x="1300" y="152"/>
                    </a:lnTo>
                    <a:lnTo>
                      <a:pt x="1259" y="137"/>
                    </a:lnTo>
                    <a:lnTo>
                      <a:pt x="1217" y="123"/>
                    </a:lnTo>
                    <a:lnTo>
                      <a:pt x="1174" y="110"/>
                    </a:lnTo>
                    <a:lnTo>
                      <a:pt x="1129" y="97"/>
                    </a:lnTo>
                    <a:lnTo>
                      <a:pt x="1085" y="86"/>
                    </a:lnTo>
                    <a:lnTo>
                      <a:pt x="1041" y="76"/>
                    </a:lnTo>
                    <a:lnTo>
                      <a:pt x="995" y="67"/>
                    </a:lnTo>
                    <a:lnTo>
                      <a:pt x="950" y="58"/>
                    </a:lnTo>
                    <a:lnTo>
                      <a:pt x="906" y="51"/>
                    </a:lnTo>
                    <a:lnTo>
                      <a:pt x="860" y="45"/>
                    </a:lnTo>
                    <a:lnTo>
                      <a:pt x="815" y="40"/>
                    </a:lnTo>
                    <a:lnTo>
                      <a:pt x="771" y="36"/>
                    </a:lnTo>
                    <a:lnTo>
                      <a:pt x="728" y="32"/>
                    </a:lnTo>
                    <a:lnTo>
                      <a:pt x="683" y="29"/>
                    </a:lnTo>
                    <a:lnTo>
                      <a:pt x="641" y="28"/>
                    </a:lnTo>
                    <a:lnTo>
                      <a:pt x="599" y="27"/>
                    </a:lnTo>
                    <a:lnTo>
                      <a:pt x="558" y="28"/>
                    </a:lnTo>
                    <a:lnTo>
                      <a:pt x="518" y="29"/>
                    </a:lnTo>
                    <a:lnTo>
                      <a:pt x="480" y="31"/>
                    </a:lnTo>
                    <a:lnTo>
                      <a:pt x="443" y="33"/>
                    </a:lnTo>
                    <a:lnTo>
                      <a:pt x="407" y="38"/>
                    </a:lnTo>
                    <a:lnTo>
                      <a:pt x="373" y="42"/>
                    </a:lnTo>
                    <a:lnTo>
                      <a:pt x="341" y="48"/>
                    </a:lnTo>
                    <a:lnTo>
                      <a:pt x="310" y="54"/>
                    </a:lnTo>
                    <a:lnTo>
                      <a:pt x="282" y="62"/>
                    </a:lnTo>
                    <a:lnTo>
                      <a:pt x="255" y="69"/>
                    </a:lnTo>
                    <a:lnTo>
                      <a:pt x="231" y="78"/>
                    </a:lnTo>
                    <a:lnTo>
                      <a:pt x="209" y="87"/>
                    </a:lnTo>
                    <a:lnTo>
                      <a:pt x="190" y="98"/>
                    </a:lnTo>
                    <a:lnTo>
                      <a:pt x="173" y="110"/>
                    </a:lnTo>
                    <a:lnTo>
                      <a:pt x="159" y="122"/>
                    </a:lnTo>
                    <a:lnTo>
                      <a:pt x="144" y="136"/>
                    </a:lnTo>
                    <a:lnTo>
                      <a:pt x="130" y="149"/>
                    </a:lnTo>
                    <a:lnTo>
                      <a:pt x="117" y="161"/>
                    </a:lnTo>
                    <a:lnTo>
                      <a:pt x="105" y="173"/>
                    </a:lnTo>
                    <a:lnTo>
                      <a:pt x="83" y="194"/>
                    </a:lnTo>
                    <a:lnTo>
                      <a:pt x="62" y="214"/>
                    </a:lnTo>
                    <a:lnTo>
                      <a:pt x="43" y="233"/>
                    </a:lnTo>
                    <a:lnTo>
                      <a:pt x="24" y="255"/>
                    </a:lnTo>
                    <a:lnTo>
                      <a:pt x="19" y="258"/>
                    </a:lnTo>
                    <a:lnTo>
                      <a:pt x="14" y="259"/>
                    </a:lnTo>
                    <a:lnTo>
                      <a:pt x="8" y="258"/>
                    </a:lnTo>
                    <a:lnTo>
                      <a:pt x="4" y="256"/>
                    </a:lnTo>
                    <a:lnTo>
                      <a:pt x="1" y="252"/>
                    </a:lnTo>
                    <a:lnTo>
                      <a:pt x="0" y="246"/>
                    </a:lnTo>
                    <a:lnTo>
                      <a:pt x="0" y="241"/>
                    </a:lnTo>
                    <a:lnTo>
                      <a:pt x="3" y="236"/>
                    </a:lnTo>
                    <a:lnTo>
                      <a:pt x="24" y="215"/>
                    </a:lnTo>
                    <a:lnTo>
                      <a:pt x="44" y="194"/>
                    </a:lnTo>
                    <a:lnTo>
                      <a:pt x="65" y="174"/>
                    </a:lnTo>
                    <a:lnTo>
                      <a:pt x="86" y="153"/>
                    </a:lnTo>
                    <a:lnTo>
                      <a:pt x="98" y="141"/>
                    </a:lnTo>
                    <a:lnTo>
                      <a:pt x="111" y="130"/>
                    </a:lnTo>
                    <a:lnTo>
                      <a:pt x="125" y="117"/>
                    </a:lnTo>
                    <a:lnTo>
                      <a:pt x="140" y="103"/>
                    </a:lnTo>
                    <a:lnTo>
                      <a:pt x="154" y="90"/>
                    </a:lnTo>
                    <a:lnTo>
                      <a:pt x="173" y="78"/>
                    </a:lnTo>
                    <a:lnTo>
                      <a:pt x="192" y="66"/>
                    </a:lnTo>
                    <a:lnTo>
                      <a:pt x="215" y="56"/>
                    </a:lnTo>
                    <a:lnTo>
                      <a:pt x="240" y="46"/>
                    </a:lnTo>
                    <a:lnTo>
                      <a:pt x="268" y="38"/>
                    </a:lnTo>
                    <a:lnTo>
                      <a:pt x="297" y="30"/>
                    </a:lnTo>
                    <a:lnTo>
                      <a:pt x="328" y="23"/>
                    </a:lnTo>
                    <a:lnTo>
                      <a:pt x="360" y="17"/>
                    </a:lnTo>
                    <a:lnTo>
                      <a:pt x="396" y="12"/>
                    </a:lnTo>
                    <a:lnTo>
                      <a:pt x="432" y="8"/>
                    </a:lnTo>
                    <a:lnTo>
                      <a:pt x="470" y="4"/>
                    </a:lnTo>
                    <a:lnTo>
                      <a:pt x="509" y="2"/>
                    </a:lnTo>
                    <a:lnTo>
                      <a:pt x="549" y="0"/>
                    </a:lnTo>
                    <a:lnTo>
                      <a:pt x="592" y="0"/>
                    </a:lnTo>
                    <a:lnTo>
                      <a:pt x="634" y="0"/>
                    </a:lnTo>
                    <a:lnTo>
                      <a:pt x="677" y="1"/>
                    </a:lnTo>
                    <a:lnTo>
                      <a:pt x="721" y="3"/>
                    </a:lnTo>
                    <a:lnTo>
                      <a:pt x="766" y="7"/>
                    </a:lnTo>
                    <a:lnTo>
                      <a:pt x="812" y="11"/>
                    </a:lnTo>
                    <a:lnTo>
                      <a:pt x="857" y="16"/>
                    </a:lnTo>
                    <a:lnTo>
                      <a:pt x="904" y="23"/>
                    </a:lnTo>
                    <a:lnTo>
                      <a:pt x="950" y="30"/>
                    </a:lnTo>
                    <a:lnTo>
                      <a:pt x="995" y="39"/>
                    </a:lnTo>
                    <a:lnTo>
                      <a:pt x="1042" y="48"/>
                    </a:lnTo>
                    <a:lnTo>
                      <a:pt x="1088" y="58"/>
                    </a:lnTo>
                    <a:lnTo>
                      <a:pt x="1134" y="70"/>
                    </a:lnTo>
                    <a:lnTo>
                      <a:pt x="1178" y="83"/>
                    </a:lnTo>
                    <a:lnTo>
                      <a:pt x="1223" y="96"/>
                    </a:lnTo>
                    <a:lnTo>
                      <a:pt x="1266" y="111"/>
                    </a:lnTo>
                    <a:lnTo>
                      <a:pt x="1310" y="127"/>
                    </a:lnTo>
                    <a:lnTo>
                      <a:pt x="1352" y="144"/>
                    </a:lnTo>
                    <a:lnTo>
                      <a:pt x="1377" y="155"/>
                    </a:lnTo>
                    <a:lnTo>
                      <a:pt x="1400" y="167"/>
                    </a:lnTo>
                    <a:lnTo>
                      <a:pt x="1425" y="180"/>
                    </a:lnTo>
                    <a:lnTo>
                      <a:pt x="1449" y="194"/>
                    </a:lnTo>
                    <a:lnTo>
                      <a:pt x="1472" y="209"/>
                    </a:lnTo>
                    <a:lnTo>
                      <a:pt x="1494" y="226"/>
                    </a:lnTo>
                    <a:lnTo>
                      <a:pt x="1517" y="242"/>
                    </a:lnTo>
                    <a:lnTo>
                      <a:pt x="1539" y="259"/>
                    </a:lnTo>
                    <a:lnTo>
                      <a:pt x="1560" y="277"/>
                    </a:lnTo>
                    <a:lnTo>
                      <a:pt x="1582" y="296"/>
                    </a:lnTo>
                    <a:lnTo>
                      <a:pt x="1602" y="315"/>
                    </a:lnTo>
                    <a:lnTo>
                      <a:pt x="1623" y="335"/>
                    </a:lnTo>
                    <a:lnTo>
                      <a:pt x="1642" y="355"/>
                    </a:lnTo>
                    <a:lnTo>
                      <a:pt x="1662" y="376"/>
                    </a:lnTo>
                    <a:lnTo>
                      <a:pt x="1681" y="397"/>
                    </a:lnTo>
                    <a:lnTo>
                      <a:pt x="1699" y="419"/>
                    </a:lnTo>
                    <a:lnTo>
                      <a:pt x="1736" y="463"/>
                    </a:lnTo>
                    <a:lnTo>
                      <a:pt x="1770" y="508"/>
                    </a:lnTo>
                    <a:lnTo>
                      <a:pt x="1802" y="554"/>
                    </a:lnTo>
                    <a:lnTo>
                      <a:pt x="1833" y="600"/>
                    </a:lnTo>
                    <a:lnTo>
                      <a:pt x="1861" y="646"/>
                    </a:lnTo>
                    <a:lnTo>
                      <a:pt x="1888" y="691"/>
                    </a:lnTo>
                    <a:lnTo>
                      <a:pt x="1914" y="735"/>
                    </a:lnTo>
                    <a:lnTo>
                      <a:pt x="1937" y="778"/>
                    </a:lnTo>
                    <a:lnTo>
                      <a:pt x="1939" y="784"/>
                    </a:lnTo>
                    <a:lnTo>
                      <a:pt x="1938" y="789"/>
                    </a:lnTo>
                    <a:lnTo>
                      <a:pt x="1936" y="793"/>
                    </a:lnTo>
                    <a:lnTo>
                      <a:pt x="1932" y="797"/>
                    </a:lnTo>
                    <a:lnTo>
                      <a:pt x="1928" y="798"/>
                    </a:lnTo>
                    <a:lnTo>
                      <a:pt x="1925" y="7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62"/>
              <p:cNvSpPr>
                <a:spLocks noEditPoints="1"/>
              </p:cNvSpPr>
              <p:nvPr userDrawn="1"/>
            </p:nvSpPr>
            <p:spPr bwMode="auto">
              <a:xfrm>
                <a:off x="2424" y="1950"/>
                <a:ext cx="198" cy="79"/>
              </a:xfrm>
              <a:custGeom>
                <a:avLst/>
                <a:gdLst>
                  <a:gd name="T0" fmla="*/ 15 w 593"/>
                  <a:gd name="T1" fmla="*/ 234 h 237"/>
                  <a:gd name="T2" fmla="*/ 6 w 593"/>
                  <a:gd name="T3" fmla="*/ 227 h 237"/>
                  <a:gd name="T4" fmla="*/ 0 w 593"/>
                  <a:gd name="T5" fmla="*/ 212 h 237"/>
                  <a:gd name="T6" fmla="*/ 4 w 593"/>
                  <a:gd name="T7" fmla="*/ 183 h 237"/>
                  <a:gd name="T8" fmla="*/ 29 w 593"/>
                  <a:gd name="T9" fmla="*/ 140 h 237"/>
                  <a:gd name="T10" fmla="*/ 72 w 593"/>
                  <a:gd name="T11" fmla="*/ 92 h 237"/>
                  <a:gd name="T12" fmla="*/ 132 w 593"/>
                  <a:gd name="T13" fmla="*/ 49 h 237"/>
                  <a:gd name="T14" fmla="*/ 195 w 593"/>
                  <a:gd name="T15" fmla="*/ 20 h 237"/>
                  <a:gd name="T16" fmla="*/ 237 w 593"/>
                  <a:gd name="T17" fmla="*/ 8 h 237"/>
                  <a:gd name="T18" fmla="*/ 282 w 593"/>
                  <a:gd name="T19" fmla="*/ 2 h 237"/>
                  <a:gd name="T20" fmla="*/ 343 w 593"/>
                  <a:gd name="T21" fmla="*/ 0 h 237"/>
                  <a:gd name="T22" fmla="*/ 400 w 593"/>
                  <a:gd name="T23" fmla="*/ 5 h 237"/>
                  <a:gd name="T24" fmla="*/ 448 w 593"/>
                  <a:gd name="T25" fmla="*/ 13 h 237"/>
                  <a:gd name="T26" fmla="*/ 487 w 593"/>
                  <a:gd name="T27" fmla="*/ 26 h 237"/>
                  <a:gd name="T28" fmla="*/ 518 w 593"/>
                  <a:gd name="T29" fmla="*/ 43 h 237"/>
                  <a:gd name="T30" fmla="*/ 547 w 593"/>
                  <a:gd name="T31" fmla="*/ 66 h 237"/>
                  <a:gd name="T32" fmla="*/ 574 w 593"/>
                  <a:gd name="T33" fmla="*/ 101 h 237"/>
                  <a:gd name="T34" fmla="*/ 584 w 593"/>
                  <a:gd name="T35" fmla="*/ 128 h 237"/>
                  <a:gd name="T36" fmla="*/ 593 w 593"/>
                  <a:gd name="T37" fmla="*/ 188 h 237"/>
                  <a:gd name="T38" fmla="*/ 589 w 593"/>
                  <a:gd name="T39" fmla="*/ 197 h 237"/>
                  <a:gd name="T40" fmla="*/ 579 w 593"/>
                  <a:gd name="T41" fmla="*/ 200 h 237"/>
                  <a:gd name="T42" fmla="*/ 552 w 593"/>
                  <a:gd name="T43" fmla="*/ 193 h 237"/>
                  <a:gd name="T44" fmla="*/ 456 w 593"/>
                  <a:gd name="T45" fmla="*/ 171 h 237"/>
                  <a:gd name="T46" fmla="*/ 374 w 593"/>
                  <a:gd name="T47" fmla="*/ 161 h 237"/>
                  <a:gd name="T48" fmla="*/ 319 w 593"/>
                  <a:gd name="T49" fmla="*/ 162 h 237"/>
                  <a:gd name="T50" fmla="*/ 263 w 593"/>
                  <a:gd name="T51" fmla="*/ 175 h 237"/>
                  <a:gd name="T52" fmla="*/ 133 w 593"/>
                  <a:gd name="T53" fmla="*/ 214 h 237"/>
                  <a:gd name="T54" fmla="*/ 61 w 593"/>
                  <a:gd name="T55" fmla="*/ 234 h 237"/>
                  <a:gd name="T56" fmla="*/ 28 w 593"/>
                  <a:gd name="T57" fmla="*/ 209 h 237"/>
                  <a:gd name="T58" fmla="*/ 34 w 593"/>
                  <a:gd name="T59" fmla="*/ 210 h 237"/>
                  <a:gd name="T60" fmla="*/ 74 w 593"/>
                  <a:gd name="T61" fmla="*/ 203 h 237"/>
                  <a:gd name="T62" fmla="*/ 168 w 593"/>
                  <a:gd name="T63" fmla="*/ 175 h 237"/>
                  <a:gd name="T64" fmla="*/ 236 w 593"/>
                  <a:gd name="T65" fmla="*/ 155 h 237"/>
                  <a:gd name="T66" fmla="*/ 298 w 593"/>
                  <a:gd name="T67" fmla="*/ 139 h 237"/>
                  <a:gd name="T68" fmla="*/ 348 w 593"/>
                  <a:gd name="T69" fmla="*/ 133 h 237"/>
                  <a:gd name="T70" fmla="*/ 399 w 593"/>
                  <a:gd name="T71" fmla="*/ 135 h 237"/>
                  <a:gd name="T72" fmla="*/ 494 w 593"/>
                  <a:gd name="T73" fmla="*/ 151 h 237"/>
                  <a:gd name="T74" fmla="*/ 563 w 593"/>
                  <a:gd name="T75" fmla="*/ 168 h 237"/>
                  <a:gd name="T76" fmla="*/ 556 w 593"/>
                  <a:gd name="T77" fmla="*/ 127 h 237"/>
                  <a:gd name="T78" fmla="*/ 543 w 593"/>
                  <a:gd name="T79" fmla="*/ 102 h 237"/>
                  <a:gd name="T80" fmla="*/ 512 w 593"/>
                  <a:gd name="T81" fmla="*/ 72 h 237"/>
                  <a:gd name="T82" fmla="*/ 470 w 593"/>
                  <a:gd name="T83" fmla="*/ 49 h 237"/>
                  <a:gd name="T84" fmla="*/ 435 w 593"/>
                  <a:gd name="T85" fmla="*/ 38 h 237"/>
                  <a:gd name="T86" fmla="*/ 392 w 593"/>
                  <a:gd name="T87" fmla="*/ 31 h 237"/>
                  <a:gd name="T88" fmla="*/ 340 w 593"/>
                  <a:gd name="T89" fmla="*/ 27 h 237"/>
                  <a:gd name="T90" fmla="*/ 274 w 593"/>
                  <a:gd name="T91" fmla="*/ 30 h 237"/>
                  <a:gd name="T92" fmla="*/ 205 w 593"/>
                  <a:gd name="T93" fmla="*/ 46 h 237"/>
                  <a:gd name="T94" fmla="*/ 145 w 593"/>
                  <a:gd name="T95" fmla="*/ 72 h 237"/>
                  <a:gd name="T96" fmla="*/ 99 w 593"/>
                  <a:gd name="T97" fmla="*/ 105 h 237"/>
                  <a:gd name="T98" fmla="*/ 63 w 593"/>
                  <a:gd name="T99" fmla="*/ 140 h 237"/>
                  <a:gd name="T100" fmla="*/ 41 w 593"/>
                  <a:gd name="T101" fmla="*/ 171 h 237"/>
                  <a:gd name="T102" fmla="*/ 27 w 593"/>
                  <a:gd name="T103" fmla="*/ 206 h 237"/>
                  <a:gd name="T104" fmla="*/ 28 w 593"/>
                  <a:gd name="T105" fmla="*/ 20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93" h="237">
                    <a:moveTo>
                      <a:pt x="34" y="237"/>
                    </a:moveTo>
                    <a:lnTo>
                      <a:pt x="23" y="236"/>
                    </a:lnTo>
                    <a:lnTo>
                      <a:pt x="15" y="234"/>
                    </a:lnTo>
                    <a:lnTo>
                      <a:pt x="12" y="231"/>
                    </a:lnTo>
                    <a:lnTo>
                      <a:pt x="9" y="229"/>
                    </a:lnTo>
                    <a:lnTo>
                      <a:pt x="6" y="227"/>
                    </a:lnTo>
                    <a:lnTo>
                      <a:pt x="4" y="223"/>
                    </a:lnTo>
                    <a:lnTo>
                      <a:pt x="2" y="219"/>
                    </a:lnTo>
                    <a:lnTo>
                      <a:pt x="0" y="212"/>
                    </a:lnTo>
                    <a:lnTo>
                      <a:pt x="0" y="204"/>
                    </a:lnTo>
                    <a:lnTo>
                      <a:pt x="1" y="196"/>
                    </a:lnTo>
                    <a:lnTo>
                      <a:pt x="4" y="183"/>
                    </a:lnTo>
                    <a:lnTo>
                      <a:pt x="10" y="170"/>
                    </a:lnTo>
                    <a:lnTo>
                      <a:pt x="18" y="155"/>
                    </a:lnTo>
                    <a:lnTo>
                      <a:pt x="29" y="140"/>
                    </a:lnTo>
                    <a:lnTo>
                      <a:pt x="41" y="124"/>
                    </a:lnTo>
                    <a:lnTo>
                      <a:pt x="56" y="108"/>
                    </a:lnTo>
                    <a:lnTo>
                      <a:pt x="72" y="92"/>
                    </a:lnTo>
                    <a:lnTo>
                      <a:pt x="90" y="77"/>
                    </a:lnTo>
                    <a:lnTo>
                      <a:pt x="111" y="62"/>
                    </a:lnTo>
                    <a:lnTo>
                      <a:pt x="132" y="49"/>
                    </a:lnTo>
                    <a:lnTo>
                      <a:pt x="156" y="36"/>
                    </a:lnTo>
                    <a:lnTo>
                      <a:pt x="181" y="25"/>
                    </a:lnTo>
                    <a:lnTo>
                      <a:pt x="195" y="20"/>
                    </a:lnTo>
                    <a:lnTo>
                      <a:pt x="208" y="16"/>
                    </a:lnTo>
                    <a:lnTo>
                      <a:pt x="222" y="12"/>
                    </a:lnTo>
                    <a:lnTo>
                      <a:pt x="237" y="8"/>
                    </a:lnTo>
                    <a:lnTo>
                      <a:pt x="252" y="6"/>
                    </a:lnTo>
                    <a:lnTo>
                      <a:pt x="267" y="4"/>
                    </a:lnTo>
                    <a:lnTo>
                      <a:pt x="282" y="2"/>
                    </a:lnTo>
                    <a:lnTo>
                      <a:pt x="299" y="0"/>
                    </a:lnTo>
                    <a:lnTo>
                      <a:pt x="321" y="0"/>
                    </a:lnTo>
                    <a:lnTo>
                      <a:pt x="343" y="0"/>
                    </a:lnTo>
                    <a:lnTo>
                      <a:pt x="363" y="0"/>
                    </a:lnTo>
                    <a:lnTo>
                      <a:pt x="383" y="3"/>
                    </a:lnTo>
                    <a:lnTo>
                      <a:pt x="400" y="5"/>
                    </a:lnTo>
                    <a:lnTo>
                      <a:pt x="417" y="7"/>
                    </a:lnTo>
                    <a:lnTo>
                      <a:pt x="434" y="10"/>
                    </a:lnTo>
                    <a:lnTo>
                      <a:pt x="448" y="13"/>
                    </a:lnTo>
                    <a:lnTo>
                      <a:pt x="462" y="18"/>
                    </a:lnTo>
                    <a:lnTo>
                      <a:pt x="475" y="22"/>
                    </a:lnTo>
                    <a:lnTo>
                      <a:pt x="487" y="26"/>
                    </a:lnTo>
                    <a:lnTo>
                      <a:pt x="497" y="32"/>
                    </a:lnTo>
                    <a:lnTo>
                      <a:pt x="508" y="37"/>
                    </a:lnTo>
                    <a:lnTo>
                      <a:pt x="518" y="43"/>
                    </a:lnTo>
                    <a:lnTo>
                      <a:pt x="526" y="48"/>
                    </a:lnTo>
                    <a:lnTo>
                      <a:pt x="534" y="54"/>
                    </a:lnTo>
                    <a:lnTo>
                      <a:pt x="547" y="66"/>
                    </a:lnTo>
                    <a:lnTo>
                      <a:pt x="558" y="78"/>
                    </a:lnTo>
                    <a:lnTo>
                      <a:pt x="566" y="90"/>
                    </a:lnTo>
                    <a:lnTo>
                      <a:pt x="574" y="101"/>
                    </a:lnTo>
                    <a:lnTo>
                      <a:pt x="578" y="112"/>
                    </a:lnTo>
                    <a:lnTo>
                      <a:pt x="582" y="120"/>
                    </a:lnTo>
                    <a:lnTo>
                      <a:pt x="584" y="128"/>
                    </a:lnTo>
                    <a:lnTo>
                      <a:pt x="585" y="133"/>
                    </a:lnTo>
                    <a:lnTo>
                      <a:pt x="593" y="185"/>
                    </a:lnTo>
                    <a:lnTo>
                      <a:pt x="593" y="188"/>
                    </a:lnTo>
                    <a:lnTo>
                      <a:pt x="592" y="192"/>
                    </a:lnTo>
                    <a:lnTo>
                      <a:pt x="591" y="195"/>
                    </a:lnTo>
                    <a:lnTo>
                      <a:pt x="589" y="197"/>
                    </a:lnTo>
                    <a:lnTo>
                      <a:pt x="586" y="199"/>
                    </a:lnTo>
                    <a:lnTo>
                      <a:pt x="583" y="200"/>
                    </a:lnTo>
                    <a:lnTo>
                      <a:pt x="579" y="200"/>
                    </a:lnTo>
                    <a:lnTo>
                      <a:pt x="576" y="199"/>
                    </a:lnTo>
                    <a:lnTo>
                      <a:pt x="570" y="198"/>
                    </a:lnTo>
                    <a:lnTo>
                      <a:pt x="552" y="193"/>
                    </a:lnTo>
                    <a:lnTo>
                      <a:pt x="526" y="186"/>
                    </a:lnTo>
                    <a:lnTo>
                      <a:pt x="494" y="179"/>
                    </a:lnTo>
                    <a:lnTo>
                      <a:pt x="456" y="171"/>
                    </a:lnTo>
                    <a:lnTo>
                      <a:pt x="416" y="165"/>
                    </a:lnTo>
                    <a:lnTo>
                      <a:pt x="395" y="162"/>
                    </a:lnTo>
                    <a:lnTo>
                      <a:pt x="374" y="161"/>
                    </a:lnTo>
                    <a:lnTo>
                      <a:pt x="354" y="160"/>
                    </a:lnTo>
                    <a:lnTo>
                      <a:pt x="334" y="161"/>
                    </a:lnTo>
                    <a:lnTo>
                      <a:pt x="319" y="162"/>
                    </a:lnTo>
                    <a:lnTo>
                      <a:pt x="302" y="166"/>
                    </a:lnTo>
                    <a:lnTo>
                      <a:pt x="282" y="170"/>
                    </a:lnTo>
                    <a:lnTo>
                      <a:pt x="263" y="175"/>
                    </a:lnTo>
                    <a:lnTo>
                      <a:pt x="220" y="187"/>
                    </a:lnTo>
                    <a:lnTo>
                      <a:pt x="176" y="201"/>
                    </a:lnTo>
                    <a:lnTo>
                      <a:pt x="133" y="214"/>
                    </a:lnTo>
                    <a:lnTo>
                      <a:pt x="95" y="226"/>
                    </a:lnTo>
                    <a:lnTo>
                      <a:pt x="77" y="230"/>
                    </a:lnTo>
                    <a:lnTo>
                      <a:pt x="61" y="234"/>
                    </a:lnTo>
                    <a:lnTo>
                      <a:pt x="46" y="236"/>
                    </a:lnTo>
                    <a:lnTo>
                      <a:pt x="34" y="237"/>
                    </a:lnTo>
                    <a:close/>
                    <a:moveTo>
                      <a:pt x="28" y="209"/>
                    </a:moveTo>
                    <a:lnTo>
                      <a:pt x="28" y="209"/>
                    </a:lnTo>
                    <a:lnTo>
                      <a:pt x="30" y="210"/>
                    </a:lnTo>
                    <a:lnTo>
                      <a:pt x="34" y="210"/>
                    </a:lnTo>
                    <a:lnTo>
                      <a:pt x="45" y="209"/>
                    </a:lnTo>
                    <a:lnTo>
                      <a:pt x="58" y="207"/>
                    </a:lnTo>
                    <a:lnTo>
                      <a:pt x="74" y="203"/>
                    </a:lnTo>
                    <a:lnTo>
                      <a:pt x="90" y="199"/>
                    </a:lnTo>
                    <a:lnTo>
                      <a:pt x="128" y="188"/>
                    </a:lnTo>
                    <a:lnTo>
                      <a:pt x="168" y="175"/>
                    </a:lnTo>
                    <a:lnTo>
                      <a:pt x="191" y="169"/>
                    </a:lnTo>
                    <a:lnTo>
                      <a:pt x="213" y="161"/>
                    </a:lnTo>
                    <a:lnTo>
                      <a:pt x="236" y="155"/>
                    </a:lnTo>
                    <a:lnTo>
                      <a:pt x="258" y="148"/>
                    </a:lnTo>
                    <a:lnTo>
                      <a:pt x="278" y="143"/>
                    </a:lnTo>
                    <a:lnTo>
                      <a:pt x="298" y="139"/>
                    </a:lnTo>
                    <a:lnTo>
                      <a:pt x="316" y="135"/>
                    </a:lnTo>
                    <a:lnTo>
                      <a:pt x="332" y="134"/>
                    </a:lnTo>
                    <a:lnTo>
                      <a:pt x="348" y="133"/>
                    </a:lnTo>
                    <a:lnTo>
                      <a:pt x="366" y="133"/>
                    </a:lnTo>
                    <a:lnTo>
                      <a:pt x="382" y="134"/>
                    </a:lnTo>
                    <a:lnTo>
                      <a:pt x="399" y="135"/>
                    </a:lnTo>
                    <a:lnTo>
                      <a:pt x="431" y="140"/>
                    </a:lnTo>
                    <a:lnTo>
                      <a:pt x="464" y="144"/>
                    </a:lnTo>
                    <a:lnTo>
                      <a:pt x="494" y="151"/>
                    </a:lnTo>
                    <a:lnTo>
                      <a:pt x="521" y="156"/>
                    </a:lnTo>
                    <a:lnTo>
                      <a:pt x="544" y="162"/>
                    </a:lnTo>
                    <a:lnTo>
                      <a:pt x="563" y="168"/>
                    </a:lnTo>
                    <a:lnTo>
                      <a:pt x="558" y="138"/>
                    </a:lnTo>
                    <a:lnTo>
                      <a:pt x="557" y="133"/>
                    </a:lnTo>
                    <a:lnTo>
                      <a:pt x="556" y="127"/>
                    </a:lnTo>
                    <a:lnTo>
                      <a:pt x="552" y="119"/>
                    </a:lnTo>
                    <a:lnTo>
                      <a:pt x="548" y="111"/>
                    </a:lnTo>
                    <a:lnTo>
                      <a:pt x="543" y="102"/>
                    </a:lnTo>
                    <a:lnTo>
                      <a:pt x="534" y="92"/>
                    </a:lnTo>
                    <a:lnTo>
                      <a:pt x="524" y="81"/>
                    </a:lnTo>
                    <a:lnTo>
                      <a:pt x="512" y="72"/>
                    </a:lnTo>
                    <a:lnTo>
                      <a:pt x="497" y="62"/>
                    </a:lnTo>
                    <a:lnTo>
                      <a:pt x="480" y="53"/>
                    </a:lnTo>
                    <a:lnTo>
                      <a:pt x="470" y="49"/>
                    </a:lnTo>
                    <a:lnTo>
                      <a:pt x="460" y="45"/>
                    </a:lnTo>
                    <a:lnTo>
                      <a:pt x="448" y="41"/>
                    </a:lnTo>
                    <a:lnTo>
                      <a:pt x="435" y="38"/>
                    </a:lnTo>
                    <a:lnTo>
                      <a:pt x="422" y="35"/>
                    </a:lnTo>
                    <a:lnTo>
                      <a:pt x="408" y="33"/>
                    </a:lnTo>
                    <a:lnTo>
                      <a:pt x="392" y="31"/>
                    </a:lnTo>
                    <a:lnTo>
                      <a:pt x="375" y="29"/>
                    </a:lnTo>
                    <a:lnTo>
                      <a:pt x="358" y="27"/>
                    </a:lnTo>
                    <a:lnTo>
                      <a:pt x="340" y="27"/>
                    </a:lnTo>
                    <a:lnTo>
                      <a:pt x="320" y="27"/>
                    </a:lnTo>
                    <a:lnTo>
                      <a:pt x="300" y="27"/>
                    </a:lnTo>
                    <a:lnTo>
                      <a:pt x="274" y="30"/>
                    </a:lnTo>
                    <a:lnTo>
                      <a:pt x="249" y="34"/>
                    </a:lnTo>
                    <a:lnTo>
                      <a:pt x="226" y="38"/>
                    </a:lnTo>
                    <a:lnTo>
                      <a:pt x="205" y="46"/>
                    </a:lnTo>
                    <a:lnTo>
                      <a:pt x="183" y="53"/>
                    </a:lnTo>
                    <a:lnTo>
                      <a:pt x="164" y="62"/>
                    </a:lnTo>
                    <a:lnTo>
                      <a:pt x="145" y="72"/>
                    </a:lnTo>
                    <a:lnTo>
                      <a:pt x="129" y="83"/>
                    </a:lnTo>
                    <a:lnTo>
                      <a:pt x="113" y="93"/>
                    </a:lnTo>
                    <a:lnTo>
                      <a:pt x="99" y="105"/>
                    </a:lnTo>
                    <a:lnTo>
                      <a:pt x="86" y="116"/>
                    </a:lnTo>
                    <a:lnTo>
                      <a:pt x="74" y="128"/>
                    </a:lnTo>
                    <a:lnTo>
                      <a:pt x="63" y="140"/>
                    </a:lnTo>
                    <a:lnTo>
                      <a:pt x="55" y="151"/>
                    </a:lnTo>
                    <a:lnTo>
                      <a:pt x="47" y="161"/>
                    </a:lnTo>
                    <a:lnTo>
                      <a:pt x="41" y="171"/>
                    </a:lnTo>
                    <a:lnTo>
                      <a:pt x="32" y="186"/>
                    </a:lnTo>
                    <a:lnTo>
                      <a:pt x="28" y="198"/>
                    </a:lnTo>
                    <a:lnTo>
                      <a:pt x="27" y="206"/>
                    </a:lnTo>
                    <a:lnTo>
                      <a:pt x="27" y="209"/>
                    </a:lnTo>
                    <a:lnTo>
                      <a:pt x="28" y="209"/>
                    </a:lnTo>
                    <a:lnTo>
                      <a:pt x="28"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63"/>
              <p:cNvSpPr>
                <a:spLocks noEditPoints="1"/>
              </p:cNvSpPr>
              <p:nvPr userDrawn="1"/>
            </p:nvSpPr>
            <p:spPr bwMode="auto">
              <a:xfrm>
                <a:off x="1771" y="2599"/>
                <a:ext cx="21" cy="19"/>
              </a:xfrm>
              <a:custGeom>
                <a:avLst/>
                <a:gdLst>
                  <a:gd name="T0" fmla="*/ 32 w 64"/>
                  <a:gd name="T1" fmla="*/ 58 h 58"/>
                  <a:gd name="T2" fmla="*/ 26 w 64"/>
                  <a:gd name="T3" fmla="*/ 58 h 58"/>
                  <a:gd name="T4" fmla="*/ 19 w 64"/>
                  <a:gd name="T5" fmla="*/ 56 h 58"/>
                  <a:gd name="T6" fmla="*/ 14 w 64"/>
                  <a:gd name="T7" fmla="*/ 53 h 58"/>
                  <a:gd name="T8" fmla="*/ 9 w 64"/>
                  <a:gd name="T9" fmla="*/ 49 h 58"/>
                  <a:gd name="T10" fmla="*/ 5 w 64"/>
                  <a:gd name="T11" fmla="*/ 45 h 58"/>
                  <a:gd name="T12" fmla="*/ 2 w 64"/>
                  <a:gd name="T13" fmla="*/ 41 h 58"/>
                  <a:gd name="T14" fmla="*/ 0 w 64"/>
                  <a:gd name="T15" fmla="*/ 34 h 58"/>
                  <a:gd name="T16" fmla="*/ 0 w 64"/>
                  <a:gd name="T17" fmla="*/ 29 h 58"/>
                  <a:gd name="T18" fmla="*/ 0 w 64"/>
                  <a:gd name="T19" fmla="*/ 22 h 58"/>
                  <a:gd name="T20" fmla="*/ 2 w 64"/>
                  <a:gd name="T21" fmla="*/ 17 h 58"/>
                  <a:gd name="T22" fmla="*/ 5 w 64"/>
                  <a:gd name="T23" fmla="*/ 13 h 58"/>
                  <a:gd name="T24" fmla="*/ 9 w 64"/>
                  <a:gd name="T25" fmla="*/ 8 h 58"/>
                  <a:gd name="T26" fmla="*/ 14 w 64"/>
                  <a:gd name="T27" fmla="*/ 4 h 58"/>
                  <a:gd name="T28" fmla="*/ 19 w 64"/>
                  <a:gd name="T29" fmla="*/ 2 h 58"/>
                  <a:gd name="T30" fmla="*/ 26 w 64"/>
                  <a:gd name="T31" fmla="*/ 0 h 58"/>
                  <a:gd name="T32" fmla="*/ 32 w 64"/>
                  <a:gd name="T33" fmla="*/ 0 h 58"/>
                  <a:gd name="T34" fmla="*/ 39 w 64"/>
                  <a:gd name="T35" fmla="*/ 0 h 58"/>
                  <a:gd name="T36" fmla="*/ 45 w 64"/>
                  <a:gd name="T37" fmla="*/ 2 h 58"/>
                  <a:gd name="T38" fmla="*/ 50 w 64"/>
                  <a:gd name="T39" fmla="*/ 4 h 58"/>
                  <a:gd name="T40" fmla="*/ 55 w 64"/>
                  <a:gd name="T41" fmla="*/ 8 h 58"/>
                  <a:gd name="T42" fmla="*/ 59 w 64"/>
                  <a:gd name="T43" fmla="*/ 13 h 58"/>
                  <a:gd name="T44" fmla="*/ 62 w 64"/>
                  <a:gd name="T45" fmla="*/ 17 h 58"/>
                  <a:gd name="T46" fmla="*/ 64 w 64"/>
                  <a:gd name="T47" fmla="*/ 22 h 58"/>
                  <a:gd name="T48" fmla="*/ 64 w 64"/>
                  <a:gd name="T49" fmla="*/ 29 h 58"/>
                  <a:gd name="T50" fmla="*/ 64 w 64"/>
                  <a:gd name="T51" fmla="*/ 34 h 58"/>
                  <a:gd name="T52" fmla="*/ 62 w 64"/>
                  <a:gd name="T53" fmla="*/ 41 h 58"/>
                  <a:gd name="T54" fmla="*/ 59 w 64"/>
                  <a:gd name="T55" fmla="*/ 45 h 58"/>
                  <a:gd name="T56" fmla="*/ 55 w 64"/>
                  <a:gd name="T57" fmla="*/ 49 h 58"/>
                  <a:gd name="T58" fmla="*/ 50 w 64"/>
                  <a:gd name="T59" fmla="*/ 53 h 58"/>
                  <a:gd name="T60" fmla="*/ 45 w 64"/>
                  <a:gd name="T61" fmla="*/ 56 h 58"/>
                  <a:gd name="T62" fmla="*/ 39 w 64"/>
                  <a:gd name="T63" fmla="*/ 58 h 58"/>
                  <a:gd name="T64" fmla="*/ 32 w 64"/>
                  <a:gd name="T65" fmla="*/ 58 h 58"/>
                  <a:gd name="T66" fmla="*/ 32 w 64"/>
                  <a:gd name="T67" fmla="*/ 27 h 58"/>
                  <a:gd name="T68" fmla="*/ 32 w 64"/>
                  <a:gd name="T69" fmla="*/ 27 h 58"/>
                  <a:gd name="T70" fmla="*/ 28 w 64"/>
                  <a:gd name="T71" fmla="*/ 28 h 58"/>
                  <a:gd name="T72" fmla="*/ 27 w 64"/>
                  <a:gd name="T73" fmla="*/ 29 h 58"/>
                  <a:gd name="T74" fmla="*/ 28 w 64"/>
                  <a:gd name="T75" fmla="*/ 30 h 58"/>
                  <a:gd name="T76" fmla="*/ 32 w 64"/>
                  <a:gd name="T77" fmla="*/ 31 h 58"/>
                  <a:gd name="T78" fmla="*/ 36 w 64"/>
                  <a:gd name="T79" fmla="*/ 30 h 58"/>
                  <a:gd name="T80" fmla="*/ 37 w 64"/>
                  <a:gd name="T81" fmla="*/ 29 h 58"/>
                  <a:gd name="T82" fmla="*/ 36 w 64"/>
                  <a:gd name="T83" fmla="*/ 28 h 58"/>
                  <a:gd name="T84" fmla="*/ 32 w 64"/>
                  <a:gd name="T8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58">
                    <a:moveTo>
                      <a:pt x="32" y="58"/>
                    </a:moveTo>
                    <a:lnTo>
                      <a:pt x="26" y="58"/>
                    </a:lnTo>
                    <a:lnTo>
                      <a:pt x="19" y="56"/>
                    </a:lnTo>
                    <a:lnTo>
                      <a:pt x="14" y="53"/>
                    </a:lnTo>
                    <a:lnTo>
                      <a:pt x="9" y="49"/>
                    </a:lnTo>
                    <a:lnTo>
                      <a:pt x="5" y="45"/>
                    </a:lnTo>
                    <a:lnTo>
                      <a:pt x="2" y="41"/>
                    </a:lnTo>
                    <a:lnTo>
                      <a:pt x="0" y="34"/>
                    </a:lnTo>
                    <a:lnTo>
                      <a:pt x="0" y="29"/>
                    </a:lnTo>
                    <a:lnTo>
                      <a:pt x="0" y="22"/>
                    </a:lnTo>
                    <a:lnTo>
                      <a:pt x="2" y="17"/>
                    </a:lnTo>
                    <a:lnTo>
                      <a:pt x="5" y="13"/>
                    </a:lnTo>
                    <a:lnTo>
                      <a:pt x="9" y="8"/>
                    </a:lnTo>
                    <a:lnTo>
                      <a:pt x="14" y="4"/>
                    </a:lnTo>
                    <a:lnTo>
                      <a:pt x="19" y="2"/>
                    </a:lnTo>
                    <a:lnTo>
                      <a:pt x="26" y="0"/>
                    </a:lnTo>
                    <a:lnTo>
                      <a:pt x="32" y="0"/>
                    </a:lnTo>
                    <a:lnTo>
                      <a:pt x="39" y="0"/>
                    </a:lnTo>
                    <a:lnTo>
                      <a:pt x="45" y="2"/>
                    </a:lnTo>
                    <a:lnTo>
                      <a:pt x="50" y="4"/>
                    </a:lnTo>
                    <a:lnTo>
                      <a:pt x="55" y="8"/>
                    </a:lnTo>
                    <a:lnTo>
                      <a:pt x="59" y="13"/>
                    </a:lnTo>
                    <a:lnTo>
                      <a:pt x="62" y="17"/>
                    </a:lnTo>
                    <a:lnTo>
                      <a:pt x="64" y="22"/>
                    </a:lnTo>
                    <a:lnTo>
                      <a:pt x="64" y="29"/>
                    </a:lnTo>
                    <a:lnTo>
                      <a:pt x="64" y="34"/>
                    </a:lnTo>
                    <a:lnTo>
                      <a:pt x="62" y="41"/>
                    </a:lnTo>
                    <a:lnTo>
                      <a:pt x="59" y="45"/>
                    </a:lnTo>
                    <a:lnTo>
                      <a:pt x="55" y="49"/>
                    </a:lnTo>
                    <a:lnTo>
                      <a:pt x="50" y="53"/>
                    </a:lnTo>
                    <a:lnTo>
                      <a:pt x="45" y="56"/>
                    </a:lnTo>
                    <a:lnTo>
                      <a:pt x="39" y="58"/>
                    </a:lnTo>
                    <a:lnTo>
                      <a:pt x="32" y="58"/>
                    </a:lnTo>
                    <a:close/>
                    <a:moveTo>
                      <a:pt x="32" y="27"/>
                    </a:moveTo>
                    <a:lnTo>
                      <a:pt x="32" y="27"/>
                    </a:lnTo>
                    <a:lnTo>
                      <a:pt x="28" y="28"/>
                    </a:lnTo>
                    <a:lnTo>
                      <a:pt x="27" y="29"/>
                    </a:lnTo>
                    <a:lnTo>
                      <a:pt x="28" y="30"/>
                    </a:lnTo>
                    <a:lnTo>
                      <a:pt x="32" y="31"/>
                    </a:lnTo>
                    <a:lnTo>
                      <a:pt x="36" y="30"/>
                    </a:lnTo>
                    <a:lnTo>
                      <a:pt x="37" y="29"/>
                    </a:lnTo>
                    <a:lnTo>
                      <a:pt x="36" y="28"/>
                    </a:lnTo>
                    <a:lnTo>
                      <a:pt x="3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64"/>
              <p:cNvSpPr>
                <a:spLocks noEditPoints="1"/>
              </p:cNvSpPr>
              <p:nvPr userDrawn="1"/>
            </p:nvSpPr>
            <p:spPr bwMode="auto">
              <a:xfrm>
                <a:off x="1788" y="2526"/>
                <a:ext cx="27" cy="28"/>
              </a:xfrm>
              <a:custGeom>
                <a:avLst/>
                <a:gdLst>
                  <a:gd name="T0" fmla="*/ 33 w 82"/>
                  <a:gd name="T1" fmla="*/ 82 h 83"/>
                  <a:gd name="T2" fmla="*/ 19 w 82"/>
                  <a:gd name="T3" fmla="*/ 75 h 83"/>
                  <a:gd name="T4" fmla="*/ 7 w 82"/>
                  <a:gd name="T5" fmla="*/ 65 h 83"/>
                  <a:gd name="T6" fmla="*/ 0 w 82"/>
                  <a:gd name="T7" fmla="*/ 49 h 83"/>
                  <a:gd name="T8" fmla="*/ 0 w 82"/>
                  <a:gd name="T9" fmla="*/ 33 h 83"/>
                  <a:gd name="T10" fmla="*/ 7 w 82"/>
                  <a:gd name="T11" fmla="*/ 18 h 83"/>
                  <a:gd name="T12" fmla="*/ 19 w 82"/>
                  <a:gd name="T13" fmla="*/ 7 h 83"/>
                  <a:gd name="T14" fmla="*/ 33 w 82"/>
                  <a:gd name="T15" fmla="*/ 1 h 83"/>
                  <a:gd name="T16" fmla="*/ 50 w 82"/>
                  <a:gd name="T17" fmla="*/ 1 h 83"/>
                  <a:gd name="T18" fmla="*/ 64 w 82"/>
                  <a:gd name="T19" fmla="*/ 7 h 83"/>
                  <a:gd name="T20" fmla="*/ 76 w 82"/>
                  <a:gd name="T21" fmla="*/ 18 h 83"/>
                  <a:gd name="T22" fmla="*/ 81 w 82"/>
                  <a:gd name="T23" fmla="*/ 33 h 83"/>
                  <a:gd name="T24" fmla="*/ 81 w 82"/>
                  <a:gd name="T25" fmla="*/ 49 h 83"/>
                  <a:gd name="T26" fmla="*/ 76 w 82"/>
                  <a:gd name="T27" fmla="*/ 65 h 83"/>
                  <a:gd name="T28" fmla="*/ 64 w 82"/>
                  <a:gd name="T29" fmla="*/ 75 h 83"/>
                  <a:gd name="T30" fmla="*/ 50 w 82"/>
                  <a:gd name="T31" fmla="*/ 82 h 83"/>
                  <a:gd name="T32" fmla="*/ 41 w 82"/>
                  <a:gd name="T33" fmla="*/ 27 h 83"/>
                  <a:gd name="T34" fmla="*/ 38 w 82"/>
                  <a:gd name="T35" fmla="*/ 27 h 83"/>
                  <a:gd name="T36" fmla="*/ 33 w 82"/>
                  <a:gd name="T37" fmla="*/ 29 h 83"/>
                  <a:gd name="T38" fmla="*/ 30 w 82"/>
                  <a:gd name="T39" fmla="*/ 33 h 83"/>
                  <a:gd name="T40" fmla="*/ 27 w 82"/>
                  <a:gd name="T41" fmla="*/ 39 h 83"/>
                  <a:gd name="T42" fmla="*/ 27 w 82"/>
                  <a:gd name="T43" fmla="*/ 44 h 83"/>
                  <a:gd name="T44" fmla="*/ 30 w 82"/>
                  <a:gd name="T45" fmla="*/ 49 h 83"/>
                  <a:gd name="T46" fmla="*/ 33 w 82"/>
                  <a:gd name="T47" fmla="*/ 53 h 83"/>
                  <a:gd name="T48" fmla="*/ 38 w 82"/>
                  <a:gd name="T49" fmla="*/ 55 h 83"/>
                  <a:gd name="T50" fmla="*/ 45 w 82"/>
                  <a:gd name="T51" fmla="*/ 55 h 83"/>
                  <a:gd name="T52" fmla="*/ 49 w 82"/>
                  <a:gd name="T53" fmla="*/ 53 h 83"/>
                  <a:gd name="T54" fmla="*/ 53 w 82"/>
                  <a:gd name="T55" fmla="*/ 49 h 83"/>
                  <a:gd name="T56" fmla="*/ 55 w 82"/>
                  <a:gd name="T57" fmla="*/ 44 h 83"/>
                  <a:gd name="T58" fmla="*/ 55 w 82"/>
                  <a:gd name="T59" fmla="*/ 39 h 83"/>
                  <a:gd name="T60" fmla="*/ 53 w 82"/>
                  <a:gd name="T61" fmla="*/ 33 h 83"/>
                  <a:gd name="T62" fmla="*/ 49 w 82"/>
                  <a:gd name="T63" fmla="*/ 29 h 83"/>
                  <a:gd name="T64" fmla="*/ 45 w 82"/>
                  <a:gd name="T65" fmla="*/ 2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 h="83">
                    <a:moveTo>
                      <a:pt x="41" y="83"/>
                    </a:moveTo>
                    <a:lnTo>
                      <a:pt x="33" y="82"/>
                    </a:lnTo>
                    <a:lnTo>
                      <a:pt x="25" y="80"/>
                    </a:lnTo>
                    <a:lnTo>
                      <a:pt x="19" y="75"/>
                    </a:lnTo>
                    <a:lnTo>
                      <a:pt x="12" y="71"/>
                    </a:lnTo>
                    <a:lnTo>
                      <a:pt x="7" y="65"/>
                    </a:lnTo>
                    <a:lnTo>
                      <a:pt x="4" y="57"/>
                    </a:lnTo>
                    <a:lnTo>
                      <a:pt x="0" y="49"/>
                    </a:lnTo>
                    <a:lnTo>
                      <a:pt x="0" y="41"/>
                    </a:lnTo>
                    <a:lnTo>
                      <a:pt x="0" y="33"/>
                    </a:lnTo>
                    <a:lnTo>
                      <a:pt x="4" y="26"/>
                    </a:lnTo>
                    <a:lnTo>
                      <a:pt x="7" y="18"/>
                    </a:lnTo>
                    <a:lnTo>
                      <a:pt x="12" y="12"/>
                    </a:lnTo>
                    <a:lnTo>
                      <a:pt x="19" y="7"/>
                    </a:lnTo>
                    <a:lnTo>
                      <a:pt x="25" y="3"/>
                    </a:lnTo>
                    <a:lnTo>
                      <a:pt x="33" y="1"/>
                    </a:lnTo>
                    <a:lnTo>
                      <a:pt x="41" y="0"/>
                    </a:lnTo>
                    <a:lnTo>
                      <a:pt x="50" y="1"/>
                    </a:lnTo>
                    <a:lnTo>
                      <a:pt x="58" y="3"/>
                    </a:lnTo>
                    <a:lnTo>
                      <a:pt x="64" y="7"/>
                    </a:lnTo>
                    <a:lnTo>
                      <a:pt x="71" y="12"/>
                    </a:lnTo>
                    <a:lnTo>
                      <a:pt x="76" y="18"/>
                    </a:lnTo>
                    <a:lnTo>
                      <a:pt x="79" y="26"/>
                    </a:lnTo>
                    <a:lnTo>
                      <a:pt x="81" y="33"/>
                    </a:lnTo>
                    <a:lnTo>
                      <a:pt x="82" y="41"/>
                    </a:lnTo>
                    <a:lnTo>
                      <a:pt x="81" y="49"/>
                    </a:lnTo>
                    <a:lnTo>
                      <a:pt x="79" y="57"/>
                    </a:lnTo>
                    <a:lnTo>
                      <a:pt x="76" y="65"/>
                    </a:lnTo>
                    <a:lnTo>
                      <a:pt x="71" y="71"/>
                    </a:lnTo>
                    <a:lnTo>
                      <a:pt x="64" y="75"/>
                    </a:lnTo>
                    <a:lnTo>
                      <a:pt x="58" y="80"/>
                    </a:lnTo>
                    <a:lnTo>
                      <a:pt x="50" y="82"/>
                    </a:lnTo>
                    <a:lnTo>
                      <a:pt x="41" y="83"/>
                    </a:lnTo>
                    <a:close/>
                    <a:moveTo>
                      <a:pt x="41" y="27"/>
                    </a:moveTo>
                    <a:lnTo>
                      <a:pt x="41" y="27"/>
                    </a:lnTo>
                    <a:lnTo>
                      <a:pt x="38" y="27"/>
                    </a:lnTo>
                    <a:lnTo>
                      <a:pt x="36" y="28"/>
                    </a:lnTo>
                    <a:lnTo>
                      <a:pt x="33" y="29"/>
                    </a:lnTo>
                    <a:lnTo>
                      <a:pt x="32" y="31"/>
                    </a:lnTo>
                    <a:lnTo>
                      <a:pt x="30" y="33"/>
                    </a:lnTo>
                    <a:lnTo>
                      <a:pt x="29" y="35"/>
                    </a:lnTo>
                    <a:lnTo>
                      <a:pt x="27" y="39"/>
                    </a:lnTo>
                    <a:lnTo>
                      <a:pt x="27" y="41"/>
                    </a:lnTo>
                    <a:lnTo>
                      <a:pt x="27" y="44"/>
                    </a:lnTo>
                    <a:lnTo>
                      <a:pt x="29" y="47"/>
                    </a:lnTo>
                    <a:lnTo>
                      <a:pt x="30" y="49"/>
                    </a:lnTo>
                    <a:lnTo>
                      <a:pt x="32" y="52"/>
                    </a:lnTo>
                    <a:lnTo>
                      <a:pt x="33" y="53"/>
                    </a:lnTo>
                    <a:lnTo>
                      <a:pt x="36" y="55"/>
                    </a:lnTo>
                    <a:lnTo>
                      <a:pt x="38" y="55"/>
                    </a:lnTo>
                    <a:lnTo>
                      <a:pt x="41" y="56"/>
                    </a:lnTo>
                    <a:lnTo>
                      <a:pt x="45" y="55"/>
                    </a:lnTo>
                    <a:lnTo>
                      <a:pt x="47" y="55"/>
                    </a:lnTo>
                    <a:lnTo>
                      <a:pt x="49" y="53"/>
                    </a:lnTo>
                    <a:lnTo>
                      <a:pt x="51" y="52"/>
                    </a:lnTo>
                    <a:lnTo>
                      <a:pt x="53" y="49"/>
                    </a:lnTo>
                    <a:lnTo>
                      <a:pt x="54" y="47"/>
                    </a:lnTo>
                    <a:lnTo>
                      <a:pt x="55" y="44"/>
                    </a:lnTo>
                    <a:lnTo>
                      <a:pt x="55" y="41"/>
                    </a:lnTo>
                    <a:lnTo>
                      <a:pt x="55" y="39"/>
                    </a:lnTo>
                    <a:lnTo>
                      <a:pt x="54" y="35"/>
                    </a:lnTo>
                    <a:lnTo>
                      <a:pt x="53" y="33"/>
                    </a:lnTo>
                    <a:lnTo>
                      <a:pt x="51" y="31"/>
                    </a:lnTo>
                    <a:lnTo>
                      <a:pt x="49" y="29"/>
                    </a:lnTo>
                    <a:lnTo>
                      <a:pt x="47" y="28"/>
                    </a:lnTo>
                    <a:lnTo>
                      <a:pt x="45" y="27"/>
                    </a:lnTo>
                    <a:lnTo>
                      <a:pt x="4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65"/>
              <p:cNvSpPr>
                <a:spLocks noEditPoints="1"/>
              </p:cNvSpPr>
              <p:nvPr userDrawn="1"/>
            </p:nvSpPr>
            <p:spPr bwMode="auto">
              <a:xfrm>
                <a:off x="1775" y="2417"/>
                <a:ext cx="28" cy="27"/>
              </a:xfrm>
              <a:custGeom>
                <a:avLst/>
                <a:gdLst>
                  <a:gd name="T0" fmla="*/ 33 w 83"/>
                  <a:gd name="T1" fmla="*/ 82 h 82"/>
                  <a:gd name="T2" fmla="*/ 18 w 83"/>
                  <a:gd name="T3" fmla="*/ 75 h 82"/>
                  <a:gd name="T4" fmla="*/ 7 w 83"/>
                  <a:gd name="T5" fmla="*/ 63 h 82"/>
                  <a:gd name="T6" fmla="*/ 1 w 83"/>
                  <a:gd name="T7" fmla="*/ 49 h 82"/>
                  <a:gd name="T8" fmla="*/ 1 w 83"/>
                  <a:gd name="T9" fmla="*/ 32 h 82"/>
                  <a:gd name="T10" fmla="*/ 7 w 83"/>
                  <a:gd name="T11" fmla="*/ 18 h 82"/>
                  <a:gd name="T12" fmla="*/ 18 w 83"/>
                  <a:gd name="T13" fmla="*/ 6 h 82"/>
                  <a:gd name="T14" fmla="*/ 33 w 83"/>
                  <a:gd name="T15" fmla="*/ 0 h 82"/>
                  <a:gd name="T16" fmla="*/ 49 w 83"/>
                  <a:gd name="T17" fmla="*/ 0 h 82"/>
                  <a:gd name="T18" fmla="*/ 64 w 83"/>
                  <a:gd name="T19" fmla="*/ 6 h 82"/>
                  <a:gd name="T20" fmla="*/ 75 w 83"/>
                  <a:gd name="T21" fmla="*/ 18 h 82"/>
                  <a:gd name="T22" fmla="*/ 82 w 83"/>
                  <a:gd name="T23" fmla="*/ 32 h 82"/>
                  <a:gd name="T24" fmla="*/ 82 w 83"/>
                  <a:gd name="T25" fmla="*/ 49 h 82"/>
                  <a:gd name="T26" fmla="*/ 75 w 83"/>
                  <a:gd name="T27" fmla="*/ 63 h 82"/>
                  <a:gd name="T28" fmla="*/ 64 w 83"/>
                  <a:gd name="T29" fmla="*/ 75 h 82"/>
                  <a:gd name="T30" fmla="*/ 49 w 83"/>
                  <a:gd name="T31" fmla="*/ 82 h 82"/>
                  <a:gd name="T32" fmla="*/ 41 w 83"/>
                  <a:gd name="T33" fmla="*/ 27 h 82"/>
                  <a:gd name="T34" fmla="*/ 38 w 83"/>
                  <a:gd name="T35" fmla="*/ 27 h 82"/>
                  <a:gd name="T36" fmla="*/ 33 w 83"/>
                  <a:gd name="T37" fmla="*/ 29 h 82"/>
                  <a:gd name="T38" fmla="*/ 29 w 83"/>
                  <a:gd name="T39" fmla="*/ 33 h 82"/>
                  <a:gd name="T40" fmla="*/ 27 w 83"/>
                  <a:gd name="T41" fmla="*/ 37 h 82"/>
                  <a:gd name="T42" fmla="*/ 27 w 83"/>
                  <a:gd name="T43" fmla="*/ 44 h 82"/>
                  <a:gd name="T44" fmla="*/ 29 w 83"/>
                  <a:gd name="T45" fmla="*/ 48 h 82"/>
                  <a:gd name="T46" fmla="*/ 33 w 83"/>
                  <a:gd name="T47" fmla="*/ 52 h 82"/>
                  <a:gd name="T48" fmla="*/ 38 w 83"/>
                  <a:gd name="T49" fmla="*/ 55 h 82"/>
                  <a:gd name="T50" fmla="*/ 44 w 83"/>
                  <a:gd name="T51" fmla="*/ 55 h 82"/>
                  <a:gd name="T52" fmla="*/ 49 w 83"/>
                  <a:gd name="T53" fmla="*/ 52 h 82"/>
                  <a:gd name="T54" fmla="*/ 54 w 83"/>
                  <a:gd name="T55" fmla="*/ 48 h 82"/>
                  <a:gd name="T56" fmla="*/ 56 w 83"/>
                  <a:gd name="T57" fmla="*/ 44 h 82"/>
                  <a:gd name="T58" fmla="*/ 56 w 83"/>
                  <a:gd name="T59" fmla="*/ 37 h 82"/>
                  <a:gd name="T60" fmla="*/ 54 w 83"/>
                  <a:gd name="T61" fmla="*/ 33 h 82"/>
                  <a:gd name="T62" fmla="*/ 49 w 83"/>
                  <a:gd name="T63" fmla="*/ 29 h 82"/>
                  <a:gd name="T64" fmla="*/ 44 w 83"/>
                  <a:gd name="T65" fmla="*/ 2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3" h="82">
                    <a:moveTo>
                      <a:pt x="41" y="82"/>
                    </a:moveTo>
                    <a:lnTo>
                      <a:pt x="33" y="82"/>
                    </a:lnTo>
                    <a:lnTo>
                      <a:pt x="25" y="78"/>
                    </a:lnTo>
                    <a:lnTo>
                      <a:pt x="18" y="75"/>
                    </a:lnTo>
                    <a:lnTo>
                      <a:pt x="11" y="70"/>
                    </a:lnTo>
                    <a:lnTo>
                      <a:pt x="7" y="63"/>
                    </a:lnTo>
                    <a:lnTo>
                      <a:pt x="3" y="57"/>
                    </a:lnTo>
                    <a:lnTo>
                      <a:pt x="1" y="49"/>
                    </a:lnTo>
                    <a:lnTo>
                      <a:pt x="0" y="41"/>
                    </a:lnTo>
                    <a:lnTo>
                      <a:pt x="1" y="32"/>
                    </a:lnTo>
                    <a:lnTo>
                      <a:pt x="3" y="24"/>
                    </a:lnTo>
                    <a:lnTo>
                      <a:pt x="7" y="18"/>
                    </a:lnTo>
                    <a:lnTo>
                      <a:pt x="11" y="11"/>
                    </a:lnTo>
                    <a:lnTo>
                      <a:pt x="18" y="6"/>
                    </a:lnTo>
                    <a:lnTo>
                      <a:pt x="25" y="3"/>
                    </a:lnTo>
                    <a:lnTo>
                      <a:pt x="33" y="0"/>
                    </a:lnTo>
                    <a:lnTo>
                      <a:pt x="41" y="0"/>
                    </a:lnTo>
                    <a:lnTo>
                      <a:pt x="49" y="0"/>
                    </a:lnTo>
                    <a:lnTo>
                      <a:pt x="57" y="3"/>
                    </a:lnTo>
                    <a:lnTo>
                      <a:pt x="64" y="6"/>
                    </a:lnTo>
                    <a:lnTo>
                      <a:pt x="71" y="11"/>
                    </a:lnTo>
                    <a:lnTo>
                      <a:pt x="75" y="18"/>
                    </a:lnTo>
                    <a:lnTo>
                      <a:pt x="79" y="24"/>
                    </a:lnTo>
                    <a:lnTo>
                      <a:pt x="82" y="32"/>
                    </a:lnTo>
                    <a:lnTo>
                      <a:pt x="83" y="41"/>
                    </a:lnTo>
                    <a:lnTo>
                      <a:pt x="82" y="49"/>
                    </a:lnTo>
                    <a:lnTo>
                      <a:pt x="79" y="57"/>
                    </a:lnTo>
                    <a:lnTo>
                      <a:pt x="75" y="63"/>
                    </a:lnTo>
                    <a:lnTo>
                      <a:pt x="71" y="70"/>
                    </a:lnTo>
                    <a:lnTo>
                      <a:pt x="64" y="75"/>
                    </a:lnTo>
                    <a:lnTo>
                      <a:pt x="57" y="78"/>
                    </a:lnTo>
                    <a:lnTo>
                      <a:pt x="49" y="82"/>
                    </a:lnTo>
                    <a:lnTo>
                      <a:pt x="41" y="82"/>
                    </a:lnTo>
                    <a:close/>
                    <a:moveTo>
                      <a:pt x="41" y="27"/>
                    </a:moveTo>
                    <a:lnTo>
                      <a:pt x="41" y="27"/>
                    </a:lnTo>
                    <a:lnTo>
                      <a:pt x="38" y="27"/>
                    </a:lnTo>
                    <a:lnTo>
                      <a:pt x="35" y="28"/>
                    </a:lnTo>
                    <a:lnTo>
                      <a:pt x="33" y="29"/>
                    </a:lnTo>
                    <a:lnTo>
                      <a:pt x="31" y="31"/>
                    </a:lnTo>
                    <a:lnTo>
                      <a:pt x="29" y="33"/>
                    </a:lnTo>
                    <a:lnTo>
                      <a:pt x="28" y="35"/>
                    </a:lnTo>
                    <a:lnTo>
                      <a:pt x="27" y="37"/>
                    </a:lnTo>
                    <a:lnTo>
                      <a:pt x="27" y="41"/>
                    </a:lnTo>
                    <a:lnTo>
                      <a:pt x="27" y="44"/>
                    </a:lnTo>
                    <a:lnTo>
                      <a:pt x="28" y="46"/>
                    </a:lnTo>
                    <a:lnTo>
                      <a:pt x="29" y="48"/>
                    </a:lnTo>
                    <a:lnTo>
                      <a:pt x="31" y="50"/>
                    </a:lnTo>
                    <a:lnTo>
                      <a:pt x="33" y="52"/>
                    </a:lnTo>
                    <a:lnTo>
                      <a:pt x="35" y="54"/>
                    </a:lnTo>
                    <a:lnTo>
                      <a:pt x="38" y="55"/>
                    </a:lnTo>
                    <a:lnTo>
                      <a:pt x="41" y="55"/>
                    </a:lnTo>
                    <a:lnTo>
                      <a:pt x="44" y="55"/>
                    </a:lnTo>
                    <a:lnTo>
                      <a:pt x="47" y="54"/>
                    </a:lnTo>
                    <a:lnTo>
                      <a:pt x="49" y="52"/>
                    </a:lnTo>
                    <a:lnTo>
                      <a:pt x="51" y="50"/>
                    </a:lnTo>
                    <a:lnTo>
                      <a:pt x="54" y="48"/>
                    </a:lnTo>
                    <a:lnTo>
                      <a:pt x="55" y="46"/>
                    </a:lnTo>
                    <a:lnTo>
                      <a:pt x="56" y="44"/>
                    </a:lnTo>
                    <a:lnTo>
                      <a:pt x="56" y="41"/>
                    </a:lnTo>
                    <a:lnTo>
                      <a:pt x="56" y="37"/>
                    </a:lnTo>
                    <a:lnTo>
                      <a:pt x="55" y="35"/>
                    </a:lnTo>
                    <a:lnTo>
                      <a:pt x="54" y="33"/>
                    </a:lnTo>
                    <a:lnTo>
                      <a:pt x="51" y="31"/>
                    </a:lnTo>
                    <a:lnTo>
                      <a:pt x="49" y="29"/>
                    </a:lnTo>
                    <a:lnTo>
                      <a:pt x="47" y="28"/>
                    </a:lnTo>
                    <a:lnTo>
                      <a:pt x="44" y="27"/>
                    </a:lnTo>
                    <a:lnTo>
                      <a:pt x="4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66"/>
              <p:cNvSpPr>
                <a:spLocks noEditPoints="1"/>
              </p:cNvSpPr>
              <p:nvPr userDrawn="1"/>
            </p:nvSpPr>
            <p:spPr bwMode="auto">
              <a:xfrm>
                <a:off x="1710" y="2266"/>
                <a:ext cx="33" cy="33"/>
              </a:xfrm>
              <a:custGeom>
                <a:avLst/>
                <a:gdLst>
                  <a:gd name="T0" fmla="*/ 40 w 99"/>
                  <a:gd name="T1" fmla="*/ 98 h 99"/>
                  <a:gd name="T2" fmla="*/ 22 w 99"/>
                  <a:gd name="T3" fmla="*/ 90 h 99"/>
                  <a:gd name="T4" fmla="*/ 9 w 99"/>
                  <a:gd name="T5" fmla="*/ 77 h 99"/>
                  <a:gd name="T6" fmla="*/ 1 w 99"/>
                  <a:gd name="T7" fmla="*/ 60 h 99"/>
                  <a:gd name="T8" fmla="*/ 1 w 99"/>
                  <a:gd name="T9" fmla="*/ 39 h 99"/>
                  <a:gd name="T10" fmla="*/ 9 w 99"/>
                  <a:gd name="T11" fmla="*/ 22 h 99"/>
                  <a:gd name="T12" fmla="*/ 22 w 99"/>
                  <a:gd name="T13" fmla="*/ 9 h 99"/>
                  <a:gd name="T14" fmla="*/ 40 w 99"/>
                  <a:gd name="T15" fmla="*/ 1 h 99"/>
                  <a:gd name="T16" fmla="*/ 59 w 99"/>
                  <a:gd name="T17" fmla="*/ 1 h 99"/>
                  <a:gd name="T18" fmla="*/ 77 w 99"/>
                  <a:gd name="T19" fmla="*/ 9 h 99"/>
                  <a:gd name="T20" fmla="*/ 91 w 99"/>
                  <a:gd name="T21" fmla="*/ 22 h 99"/>
                  <a:gd name="T22" fmla="*/ 98 w 99"/>
                  <a:gd name="T23" fmla="*/ 39 h 99"/>
                  <a:gd name="T24" fmla="*/ 98 w 99"/>
                  <a:gd name="T25" fmla="*/ 60 h 99"/>
                  <a:gd name="T26" fmla="*/ 91 w 99"/>
                  <a:gd name="T27" fmla="*/ 77 h 99"/>
                  <a:gd name="T28" fmla="*/ 77 w 99"/>
                  <a:gd name="T29" fmla="*/ 90 h 99"/>
                  <a:gd name="T30" fmla="*/ 59 w 99"/>
                  <a:gd name="T31" fmla="*/ 98 h 99"/>
                  <a:gd name="T32" fmla="*/ 50 w 99"/>
                  <a:gd name="T33" fmla="*/ 27 h 99"/>
                  <a:gd name="T34" fmla="*/ 45 w 99"/>
                  <a:gd name="T35" fmla="*/ 27 h 99"/>
                  <a:gd name="T36" fmla="*/ 37 w 99"/>
                  <a:gd name="T37" fmla="*/ 31 h 99"/>
                  <a:gd name="T38" fmla="*/ 31 w 99"/>
                  <a:gd name="T39" fmla="*/ 37 h 99"/>
                  <a:gd name="T40" fmla="*/ 28 w 99"/>
                  <a:gd name="T41" fmla="*/ 45 h 99"/>
                  <a:gd name="T42" fmla="*/ 28 w 99"/>
                  <a:gd name="T43" fmla="*/ 54 h 99"/>
                  <a:gd name="T44" fmla="*/ 31 w 99"/>
                  <a:gd name="T45" fmla="*/ 62 h 99"/>
                  <a:gd name="T46" fmla="*/ 37 w 99"/>
                  <a:gd name="T47" fmla="*/ 68 h 99"/>
                  <a:gd name="T48" fmla="*/ 45 w 99"/>
                  <a:gd name="T49" fmla="*/ 72 h 99"/>
                  <a:gd name="T50" fmla="*/ 54 w 99"/>
                  <a:gd name="T51" fmla="*/ 72 h 99"/>
                  <a:gd name="T52" fmla="*/ 62 w 99"/>
                  <a:gd name="T53" fmla="*/ 68 h 99"/>
                  <a:gd name="T54" fmla="*/ 68 w 99"/>
                  <a:gd name="T55" fmla="*/ 62 h 99"/>
                  <a:gd name="T56" fmla="*/ 71 w 99"/>
                  <a:gd name="T57" fmla="*/ 54 h 99"/>
                  <a:gd name="T58" fmla="*/ 71 w 99"/>
                  <a:gd name="T59" fmla="*/ 45 h 99"/>
                  <a:gd name="T60" fmla="*/ 68 w 99"/>
                  <a:gd name="T61" fmla="*/ 37 h 99"/>
                  <a:gd name="T62" fmla="*/ 62 w 99"/>
                  <a:gd name="T63" fmla="*/ 31 h 99"/>
                  <a:gd name="T64" fmla="*/ 54 w 99"/>
                  <a:gd name="T65" fmla="*/ 2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 h="99">
                    <a:moveTo>
                      <a:pt x="50" y="99"/>
                    </a:moveTo>
                    <a:lnTo>
                      <a:pt x="40" y="98"/>
                    </a:lnTo>
                    <a:lnTo>
                      <a:pt x="30" y="95"/>
                    </a:lnTo>
                    <a:lnTo>
                      <a:pt x="22" y="90"/>
                    </a:lnTo>
                    <a:lnTo>
                      <a:pt x="15" y="85"/>
                    </a:lnTo>
                    <a:lnTo>
                      <a:pt x="9" y="77"/>
                    </a:lnTo>
                    <a:lnTo>
                      <a:pt x="4" y="68"/>
                    </a:lnTo>
                    <a:lnTo>
                      <a:pt x="1" y="60"/>
                    </a:lnTo>
                    <a:lnTo>
                      <a:pt x="0" y="50"/>
                    </a:lnTo>
                    <a:lnTo>
                      <a:pt x="1" y="39"/>
                    </a:lnTo>
                    <a:lnTo>
                      <a:pt x="4" y="31"/>
                    </a:lnTo>
                    <a:lnTo>
                      <a:pt x="9" y="22"/>
                    </a:lnTo>
                    <a:lnTo>
                      <a:pt x="15" y="14"/>
                    </a:lnTo>
                    <a:lnTo>
                      <a:pt x="22" y="9"/>
                    </a:lnTo>
                    <a:lnTo>
                      <a:pt x="30" y="4"/>
                    </a:lnTo>
                    <a:lnTo>
                      <a:pt x="40" y="1"/>
                    </a:lnTo>
                    <a:lnTo>
                      <a:pt x="50" y="0"/>
                    </a:lnTo>
                    <a:lnTo>
                      <a:pt x="59" y="1"/>
                    </a:lnTo>
                    <a:lnTo>
                      <a:pt x="69" y="4"/>
                    </a:lnTo>
                    <a:lnTo>
                      <a:pt x="77" y="9"/>
                    </a:lnTo>
                    <a:lnTo>
                      <a:pt x="84" y="14"/>
                    </a:lnTo>
                    <a:lnTo>
                      <a:pt x="91" y="22"/>
                    </a:lnTo>
                    <a:lnTo>
                      <a:pt x="95" y="31"/>
                    </a:lnTo>
                    <a:lnTo>
                      <a:pt x="98" y="39"/>
                    </a:lnTo>
                    <a:lnTo>
                      <a:pt x="99" y="50"/>
                    </a:lnTo>
                    <a:lnTo>
                      <a:pt x="98" y="60"/>
                    </a:lnTo>
                    <a:lnTo>
                      <a:pt x="95" y="68"/>
                    </a:lnTo>
                    <a:lnTo>
                      <a:pt x="91" y="77"/>
                    </a:lnTo>
                    <a:lnTo>
                      <a:pt x="84" y="85"/>
                    </a:lnTo>
                    <a:lnTo>
                      <a:pt x="77" y="90"/>
                    </a:lnTo>
                    <a:lnTo>
                      <a:pt x="69" y="95"/>
                    </a:lnTo>
                    <a:lnTo>
                      <a:pt x="59" y="98"/>
                    </a:lnTo>
                    <a:lnTo>
                      <a:pt x="50" y="99"/>
                    </a:lnTo>
                    <a:close/>
                    <a:moveTo>
                      <a:pt x="50" y="27"/>
                    </a:moveTo>
                    <a:lnTo>
                      <a:pt x="50" y="27"/>
                    </a:lnTo>
                    <a:lnTo>
                      <a:pt x="45" y="27"/>
                    </a:lnTo>
                    <a:lnTo>
                      <a:pt x="41" y="28"/>
                    </a:lnTo>
                    <a:lnTo>
                      <a:pt x="37" y="31"/>
                    </a:lnTo>
                    <a:lnTo>
                      <a:pt x="34" y="34"/>
                    </a:lnTo>
                    <a:lnTo>
                      <a:pt x="31" y="37"/>
                    </a:lnTo>
                    <a:lnTo>
                      <a:pt x="29" y="40"/>
                    </a:lnTo>
                    <a:lnTo>
                      <a:pt x="28" y="45"/>
                    </a:lnTo>
                    <a:lnTo>
                      <a:pt x="27" y="50"/>
                    </a:lnTo>
                    <a:lnTo>
                      <a:pt x="28" y="54"/>
                    </a:lnTo>
                    <a:lnTo>
                      <a:pt x="29" y="59"/>
                    </a:lnTo>
                    <a:lnTo>
                      <a:pt x="31" y="62"/>
                    </a:lnTo>
                    <a:lnTo>
                      <a:pt x="34" y="65"/>
                    </a:lnTo>
                    <a:lnTo>
                      <a:pt x="37" y="68"/>
                    </a:lnTo>
                    <a:lnTo>
                      <a:pt x="41" y="71"/>
                    </a:lnTo>
                    <a:lnTo>
                      <a:pt x="45" y="72"/>
                    </a:lnTo>
                    <a:lnTo>
                      <a:pt x="50" y="72"/>
                    </a:lnTo>
                    <a:lnTo>
                      <a:pt x="54" y="72"/>
                    </a:lnTo>
                    <a:lnTo>
                      <a:pt x="58" y="71"/>
                    </a:lnTo>
                    <a:lnTo>
                      <a:pt x="62" y="68"/>
                    </a:lnTo>
                    <a:lnTo>
                      <a:pt x="66" y="65"/>
                    </a:lnTo>
                    <a:lnTo>
                      <a:pt x="68" y="62"/>
                    </a:lnTo>
                    <a:lnTo>
                      <a:pt x="70" y="59"/>
                    </a:lnTo>
                    <a:lnTo>
                      <a:pt x="71" y="54"/>
                    </a:lnTo>
                    <a:lnTo>
                      <a:pt x="72" y="50"/>
                    </a:lnTo>
                    <a:lnTo>
                      <a:pt x="71" y="45"/>
                    </a:lnTo>
                    <a:lnTo>
                      <a:pt x="70" y="40"/>
                    </a:lnTo>
                    <a:lnTo>
                      <a:pt x="68" y="37"/>
                    </a:lnTo>
                    <a:lnTo>
                      <a:pt x="66" y="34"/>
                    </a:lnTo>
                    <a:lnTo>
                      <a:pt x="62" y="31"/>
                    </a:lnTo>
                    <a:lnTo>
                      <a:pt x="58" y="28"/>
                    </a:lnTo>
                    <a:lnTo>
                      <a:pt x="54"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67"/>
              <p:cNvSpPr>
                <a:spLocks noEditPoints="1"/>
              </p:cNvSpPr>
              <p:nvPr userDrawn="1"/>
            </p:nvSpPr>
            <p:spPr bwMode="auto">
              <a:xfrm>
                <a:off x="1803" y="2144"/>
                <a:ext cx="23" cy="22"/>
              </a:xfrm>
              <a:custGeom>
                <a:avLst/>
                <a:gdLst>
                  <a:gd name="T0" fmla="*/ 34 w 68"/>
                  <a:gd name="T1" fmla="*/ 68 h 68"/>
                  <a:gd name="T2" fmla="*/ 27 w 68"/>
                  <a:gd name="T3" fmla="*/ 68 h 68"/>
                  <a:gd name="T4" fmla="*/ 20 w 68"/>
                  <a:gd name="T5" fmla="*/ 66 h 68"/>
                  <a:gd name="T6" fmla="*/ 15 w 68"/>
                  <a:gd name="T7" fmla="*/ 63 h 68"/>
                  <a:gd name="T8" fmla="*/ 10 w 68"/>
                  <a:gd name="T9" fmla="*/ 59 h 68"/>
                  <a:gd name="T10" fmla="*/ 5 w 68"/>
                  <a:gd name="T11" fmla="*/ 53 h 68"/>
                  <a:gd name="T12" fmla="*/ 2 w 68"/>
                  <a:gd name="T13" fmla="*/ 48 h 68"/>
                  <a:gd name="T14" fmla="*/ 1 w 68"/>
                  <a:gd name="T15" fmla="*/ 41 h 68"/>
                  <a:gd name="T16" fmla="*/ 0 w 68"/>
                  <a:gd name="T17" fmla="*/ 34 h 68"/>
                  <a:gd name="T18" fmla="*/ 1 w 68"/>
                  <a:gd name="T19" fmla="*/ 27 h 68"/>
                  <a:gd name="T20" fmla="*/ 2 w 68"/>
                  <a:gd name="T21" fmla="*/ 21 h 68"/>
                  <a:gd name="T22" fmla="*/ 5 w 68"/>
                  <a:gd name="T23" fmla="*/ 15 h 68"/>
                  <a:gd name="T24" fmla="*/ 10 w 68"/>
                  <a:gd name="T25" fmla="*/ 10 h 68"/>
                  <a:gd name="T26" fmla="*/ 15 w 68"/>
                  <a:gd name="T27" fmla="*/ 6 h 68"/>
                  <a:gd name="T28" fmla="*/ 20 w 68"/>
                  <a:gd name="T29" fmla="*/ 2 h 68"/>
                  <a:gd name="T30" fmla="*/ 27 w 68"/>
                  <a:gd name="T31" fmla="*/ 0 h 68"/>
                  <a:gd name="T32" fmla="*/ 34 w 68"/>
                  <a:gd name="T33" fmla="*/ 0 h 68"/>
                  <a:gd name="T34" fmla="*/ 41 w 68"/>
                  <a:gd name="T35" fmla="*/ 0 h 68"/>
                  <a:gd name="T36" fmla="*/ 47 w 68"/>
                  <a:gd name="T37" fmla="*/ 2 h 68"/>
                  <a:gd name="T38" fmla="*/ 53 w 68"/>
                  <a:gd name="T39" fmla="*/ 6 h 68"/>
                  <a:gd name="T40" fmla="*/ 58 w 68"/>
                  <a:gd name="T41" fmla="*/ 10 h 68"/>
                  <a:gd name="T42" fmla="*/ 62 w 68"/>
                  <a:gd name="T43" fmla="*/ 15 h 68"/>
                  <a:gd name="T44" fmla="*/ 66 w 68"/>
                  <a:gd name="T45" fmla="*/ 21 h 68"/>
                  <a:gd name="T46" fmla="*/ 68 w 68"/>
                  <a:gd name="T47" fmla="*/ 27 h 68"/>
                  <a:gd name="T48" fmla="*/ 68 w 68"/>
                  <a:gd name="T49" fmla="*/ 34 h 68"/>
                  <a:gd name="T50" fmla="*/ 68 w 68"/>
                  <a:gd name="T51" fmla="*/ 41 h 68"/>
                  <a:gd name="T52" fmla="*/ 66 w 68"/>
                  <a:gd name="T53" fmla="*/ 48 h 68"/>
                  <a:gd name="T54" fmla="*/ 62 w 68"/>
                  <a:gd name="T55" fmla="*/ 53 h 68"/>
                  <a:gd name="T56" fmla="*/ 58 w 68"/>
                  <a:gd name="T57" fmla="*/ 59 h 68"/>
                  <a:gd name="T58" fmla="*/ 53 w 68"/>
                  <a:gd name="T59" fmla="*/ 63 h 68"/>
                  <a:gd name="T60" fmla="*/ 47 w 68"/>
                  <a:gd name="T61" fmla="*/ 66 h 68"/>
                  <a:gd name="T62" fmla="*/ 41 w 68"/>
                  <a:gd name="T63" fmla="*/ 68 h 68"/>
                  <a:gd name="T64" fmla="*/ 34 w 68"/>
                  <a:gd name="T65" fmla="*/ 68 h 68"/>
                  <a:gd name="T66" fmla="*/ 34 w 68"/>
                  <a:gd name="T67" fmla="*/ 27 h 68"/>
                  <a:gd name="T68" fmla="*/ 34 w 68"/>
                  <a:gd name="T69" fmla="*/ 27 h 68"/>
                  <a:gd name="T70" fmla="*/ 31 w 68"/>
                  <a:gd name="T71" fmla="*/ 27 h 68"/>
                  <a:gd name="T72" fmla="*/ 29 w 68"/>
                  <a:gd name="T73" fmla="*/ 29 h 68"/>
                  <a:gd name="T74" fmla="*/ 27 w 68"/>
                  <a:gd name="T75" fmla="*/ 32 h 68"/>
                  <a:gd name="T76" fmla="*/ 27 w 68"/>
                  <a:gd name="T77" fmla="*/ 34 h 68"/>
                  <a:gd name="T78" fmla="*/ 27 w 68"/>
                  <a:gd name="T79" fmla="*/ 37 h 68"/>
                  <a:gd name="T80" fmla="*/ 29 w 68"/>
                  <a:gd name="T81" fmla="*/ 39 h 68"/>
                  <a:gd name="T82" fmla="*/ 31 w 68"/>
                  <a:gd name="T83" fmla="*/ 40 h 68"/>
                  <a:gd name="T84" fmla="*/ 34 w 68"/>
                  <a:gd name="T85" fmla="*/ 40 h 68"/>
                  <a:gd name="T86" fmla="*/ 37 w 68"/>
                  <a:gd name="T87" fmla="*/ 40 h 68"/>
                  <a:gd name="T88" fmla="*/ 39 w 68"/>
                  <a:gd name="T89" fmla="*/ 39 h 68"/>
                  <a:gd name="T90" fmla="*/ 41 w 68"/>
                  <a:gd name="T91" fmla="*/ 37 h 68"/>
                  <a:gd name="T92" fmla="*/ 41 w 68"/>
                  <a:gd name="T93" fmla="*/ 34 h 68"/>
                  <a:gd name="T94" fmla="*/ 41 w 68"/>
                  <a:gd name="T95" fmla="*/ 32 h 68"/>
                  <a:gd name="T96" fmla="*/ 39 w 68"/>
                  <a:gd name="T97" fmla="*/ 29 h 68"/>
                  <a:gd name="T98" fmla="*/ 37 w 68"/>
                  <a:gd name="T99" fmla="*/ 27 h 68"/>
                  <a:gd name="T100" fmla="*/ 34 w 68"/>
                  <a:gd name="T101"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68">
                    <a:moveTo>
                      <a:pt x="34" y="68"/>
                    </a:moveTo>
                    <a:lnTo>
                      <a:pt x="27" y="68"/>
                    </a:lnTo>
                    <a:lnTo>
                      <a:pt x="20" y="66"/>
                    </a:lnTo>
                    <a:lnTo>
                      <a:pt x="15" y="63"/>
                    </a:lnTo>
                    <a:lnTo>
                      <a:pt x="10" y="59"/>
                    </a:lnTo>
                    <a:lnTo>
                      <a:pt x="5" y="53"/>
                    </a:lnTo>
                    <a:lnTo>
                      <a:pt x="2" y="48"/>
                    </a:lnTo>
                    <a:lnTo>
                      <a:pt x="1" y="41"/>
                    </a:lnTo>
                    <a:lnTo>
                      <a:pt x="0" y="34"/>
                    </a:lnTo>
                    <a:lnTo>
                      <a:pt x="1" y="27"/>
                    </a:lnTo>
                    <a:lnTo>
                      <a:pt x="2" y="21"/>
                    </a:lnTo>
                    <a:lnTo>
                      <a:pt x="5" y="15"/>
                    </a:lnTo>
                    <a:lnTo>
                      <a:pt x="10" y="10"/>
                    </a:lnTo>
                    <a:lnTo>
                      <a:pt x="15" y="6"/>
                    </a:lnTo>
                    <a:lnTo>
                      <a:pt x="20" y="2"/>
                    </a:lnTo>
                    <a:lnTo>
                      <a:pt x="27" y="0"/>
                    </a:lnTo>
                    <a:lnTo>
                      <a:pt x="34" y="0"/>
                    </a:lnTo>
                    <a:lnTo>
                      <a:pt x="41" y="0"/>
                    </a:lnTo>
                    <a:lnTo>
                      <a:pt x="47" y="2"/>
                    </a:lnTo>
                    <a:lnTo>
                      <a:pt x="53" y="6"/>
                    </a:lnTo>
                    <a:lnTo>
                      <a:pt x="58" y="10"/>
                    </a:lnTo>
                    <a:lnTo>
                      <a:pt x="62" y="15"/>
                    </a:lnTo>
                    <a:lnTo>
                      <a:pt x="66" y="21"/>
                    </a:lnTo>
                    <a:lnTo>
                      <a:pt x="68" y="27"/>
                    </a:lnTo>
                    <a:lnTo>
                      <a:pt x="68" y="34"/>
                    </a:lnTo>
                    <a:lnTo>
                      <a:pt x="68" y="41"/>
                    </a:lnTo>
                    <a:lnTo>
                      <a:pt x="66" y="48"/>
                    </a:lnTo>
                    <a:lnTo>
                      <a:pt x="62" y="53"/>
                    </a:lnTo>
                    <a:lnTo>
                      <a:pt x="58" y="59"/>
                    </a:lnTo>
                    <a:lnTo>
                      <a:pt x="53" y="63"/>
                    </a:lnTo>
                    <a:lnTo>
                      <a:pt x="47" y="66"/>
                    </a:lnTo>
                    <a:lnTo>
                      <a:pt x="41" y="68"/>
                    </a:lnTo>
                    <a:lnTo>
                      <a:pt x="34" y="68"/>
                    </a:lnTo>
                    <a:close/>
                    <a:moveTo>
                      <a:pt x="34" y="27"/>
                    </a:moveTo>
                    <a:lnTo>
                      <a:pt x="34" y="27"/>
                    </a:lnTo>
                    <a:lnTo>
                      <a:pt x="31" y="27"/>
                    </a:lnTo>
                    <a:lnTo>
                      <a:pt x="29" y="29"/>
                    </a:lnTo>
                    <a:lnTo>
                      <a:pt x="27" y="32"/>
                    </a:lnTo>
                    <a:lnTo>
                      <a:pt x="27" y="34"/>
                    </a:lnTo>
                    <a:lnTo>
                      <a:pt x="27" y="37"/>
                    </a:lnTo>
                    <a:lnTo>
                      <a:pt x="29" y="39"/>
                    </a:lnTo>
                    <a:lnTo>
                      <a:pt x="31" y="40"/>
                    </a:lnTo>
                    <a:lnTo>
                      <a:pt x="34" y="40"/>
                    </a:lnTo>
                    <a:lnTo>
                      <a:pt x="37" y="40"/>
                    </a:lnTo>
                    <a:lnTo>
                      <a:pt x="39" y="39"/>
                    </a:lnTo>
                    <a:lnTo>
                      <a:pt x="41" y="37"/>
                    </a:lnTo>
                    <a:lnTo>
                      <a:pt x="41" y="34"/>
                    </a:lnTo>
                    <a:lnTo>
                      <a:pt x="41" y="32"/>
                    </a:lnTo>
                    <a:lnTo>
                      <a:pt x="39" y="29"/>
                    </a:lnTo>
                    <a:lnTo>
                      <a:pt x="37" y="27"/>
                    </a:ln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68"/>
              <p:cNvSpPr>
                <a:spLocks noEditPoints="1"/>
              </p:cNvSpPr>
              <p:nvPr userDrawn="1"/>
            </p:nvSpPr>
            <p:spPr bwMode="auto">
              <a:xfrm>
                <a:off x="1621" y="2128"/>
                <a:ext cx="32" cy="32"/>
              </a:xfrm>
              <a:custGeom>
                <a:avLst/>
                <a:gdLst>
                  <a:gd name="T0" fmla="*/ 38 w 95"/>
                  <a:gd name="T1" fmla="*/ 94 h 95"/>
                  <a:gd name="T2" fmla="*/ 21 w 95"/>
                  <a:gd name="T3" fmla="*/ 87 h 95"/>
                  <a:gd name="T4" fmla="*/ 8 w 95"/>
                  <a:gd name="T5" fmla="*/ 74 h 95"/>
                  <a:gd name="T6" fmla="*/ 2 w 95"/>
                  <a:gd name="T7" fmla="*/ 57 h 95"/>
                  <a:gd name="T8" fmla="*/ 2 w 95"/>
                  <a:gd name="T9" fmla="*/ 38 h 95"/>
                  <a:gd name="T10" fmla="*/ 8 w 95"/>
                  <a:gd name="T11" fmla="*/ 21 h 95"/>
                  <a:gd name="T12" fmla="*/ 21 w 95"/>
                  <a:gd name="T13" fmla="*/ 8 h 95"/>
                  <a:gd name="T14" fmla="*/ 38 w 95"/>
                  <a:gd name="T15" fmla="*/ 1 h 95"/>
                  <a:gd name="T16" fmla="*/ 58 w 95"/>
                  <a:gd name="T17" fmla="*/ 1 h 95"/>
                  <a:gd name="T18" fmla="*/ 74 w 95"/>
                  <a:gd name="T19" fmla="*/ 8 h 95"/>
                  <a:gd name="T20" fmla="*/ 87 w 95"/>
                  <a:gd name="T21" fmla="*/ 21 h 95"/>
                  <a:gd name="T22" fmla="*/ 94 w 95"/>
                  <a:gd name="T23" fmla="*/ 38 h 95"/>
                  <a:gd name="T24" fmla="*/ 94 w 95"/>
                  <a:gd name="T25" fmla="*/ 57 h 95"/>
                  <a:gd name="T26" fmla="*/ 87 w 95"/>
                  <a:gd name="T27" fmla="*/ 74 h 95"/>
                  <a:gd name="T28" fmla="*/ 74 w 95"/>
                  <a:gd name="T29" fmla="*/ 87 h 95"/>
                  <a:gd name="T30" fmla="*/ 58 w 95"/>
                  <a:gd name="T31" fmla="*/ 94 h 95"/>
                  <a:gd name="T32" fmla="*/ 48 w 95"/>
                  <a:gd name="T33" fmla="*/ 27 h 95"/>
                  <a:gd name="T34" fmla="*/ 44 w 95"/>
                  <a:gd name="T35" fmla="*/ 28 h 95"/>
                  <a:gd name="T36" fmla="*/ 36 w 95"/>
                  <a:gd name="T37" fmla="*/ 30 h 95"/>
                  <a:gd name="T38" fmla="*/ 31 w 95"/>
                  <a:gd name="T39" fmla="*/ 37 h 95"/>
                  <a:gd name="T40" fmla="*/ 27 w 95"/>
                  <a:gd name="T41" fmla="*/ 43 h 95"/>
                  <a:gd name="T42" fmla="*/ 27 w 95"/>
                  <a:gd name="T43" fmla="*/ 52 h 95"/>
                  <a:gd name="T44" fmla="*/ 31 w 95"/>
                  <a:gd name="T45" fmla="*/ 59 h 95"/>
                  <a:gd name="T46" fmla="*/ 36 w 95"/>
                  <a:gd name="T47" fmla="*/ 65 h 95"/>
                  <a:gd name="T48" fmla="*/ 44 w 95"/>
                  <a:gd name="T49" fmla="*/ 68 h 95"/>
                  <a:gd name="T50" fmla="*/ 52 w 95"/>
                  <a:gd name="T51" fmla="*/ 68 h 95"/>
                  <a:gd name="T52" fmla="*/ 59 w 95"/>
                  <a:gd name="T53" fmla="*/ 65 h 95"/>
                  <a:gd name="T54" fmla="*/ 65 w 95"/>
                  <a:gd name="T55" fmla="*/ 59 h 95"/>
                  <a:gd name="T56" fmla="*/ 67 w 95"/>
                  <a:gd name="T57" fmla="*/ 52 h 95"/>
                  <a:gd name="T58" fmla="*/ 67 w 95"/>
                  <a:gd name="T59" fmla="*/ 43 h 95"/>
                  <a:gd name="T60" fmla="*/ 65 w 95"/>
                  <a:gd name="T61" fmla="*/ 37 h 95"/>
                  <a:gd name="T62" fmla="*/ 59 w 95"/>
                  <a:gd name="T63" fmla="*/ 30 h 95"/>
                  <a:gd name="T64" fmla="*/ 52 w 95"/>
                  <a:gd name="T65"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 h="95">
                    <a:moveTo>
                      <a:pt x="48" y="95"/>
                    </a:moveTo>
                    <a:lnTo>
                      <a:pt x="38" y="94"/>
                    </a:lnTo>
                    <a:lnTo>
                      <a:pt x="30" y="92"/>
                    </a:lnTo>
                    <a:lnTo>
                      <a:pt x="21" y="87"/>
                    </a:lnTo>
                    <a:lnTo>
                      <a:pt x="15" y="81"/>
                    </a:lnTo>
                    <a:lnTo>
                      <a:pt x="8" y="74"/>
                    </a:lnTo>
                    <a:lnTo>
                      <a:pt x="4" y="66"/>
                    </a:lnTo>
                    <a:lnTo>
                      <a:pt x="2" y="57"/>
                    </a:lnTo>
                    <a:lnTo>
                      <a:pt x="0" y="47"/>
                    </a:lnTo>
                    <a:lnTo>
                      <a:pt x="2" y="38"/>
                    </a:lnTo>
                    <a:lnTo>
                      <a:pt x="4" y="29"/>
                    </a:lnTo>
                    <a:lnTo>
                      <a:pt x="8" y="21"/>
                    </a:lnTo>
                    <a:lnTo>
                      <a:pt x="15" y="14"/>
                    </a:lnTo>
                    <a:lnTo>
                      <a:pt x="21" y="8"/>
                    </a:lnTo>
                    <a:lnTo>
                      <a:pt x="30" y="4"/>
                    </a:lnTo>
                    <a:lnTo>
                      <a:pt x="38" y="1"/>
                    </a:lnTo>
                    <a:lnTo>
                      <a:pt x="48" y="0"/>
                    </a:lnTo>
                    <a:lnTo>
                      <a:pt x="58" y="1"/>
                    </a:lnTo>
                    <a:lnTo>
                      <a:pt x="66" y="4"/>
                    </a:lnTo>
                    <a:lnTo>
                      <a:pt x="74" y="8"/>
                    </a:lnTo>
                    <a:lnTo>
                      <a:pt x="81" y="14"/>
                    </a:lnTo>
                    <a:lnTo>
                      <a:pt x="87" y="21"/>
                    </a:lnTo>
                    <a:lnTo>
                      <a:pt x="91" y="29"/>
                    </a:lnTo>
                    <a:lnTo>
                      <a:pt x="94" y="38"/>
                    </a:lnTo>
                    <a:lnTo>
                      <a:pt x="95" y="47"/>
                    </a:lnTo>
                    <a:lnTo>
                      <a:pt x="94" y="57"/>
                    </a:lnTo>
                    <a:lnTo>
                      <a:pt x="91" y="66"/>
                    </a:lnTo>
                    <a:lnTo>
                      <a:pt x="87" y="74"/>
                    </a:lnTo>
                    <a:lnTo>
                      <a:pt x="81" y="81"/>
                    </a:lnTo>
                    <a:lnTo>
                      <a:pt x="74" y="87"/>
                    </a:lnTo>
                    <a:lnTo>
                      <a:pt x="66" y="92"/>
                    </a:lnTo>
                    <a:lnTo>
                      <a:pt x="58" y="94"/>
                    </a:lnTo>
                    <a:lnTo>
                      <a:pt x="48" y="95"/>
                    </a:lnTo>
                    <a:close/>
                    <a:moveTo>
                      <a:pt x="48" y="27"/>
                    </a:moveTo>
                    <a:lnTo>
                      <a:pt x="48" y="27"/>
                    </a:lnTo>
                    <a:lnTo>
                      <a:pt x="44" y="28"/>
                    </a:lnTo>
                    <a:lnTo>
                      <a:pt x="40" y="29"/>
                    </a:lnTo>
                    <a:lnTo>
                      <a:pt x="36" y="30"/>
                    </a:lnTo>
                    <a:lnTo>
                      <a:pt x="34" y="33"/>
                    </a:lnTo>
                    <a:lnTo>
                      <a:pt x="31" y="37"/>
                    </a:lnTo>
                    <a:lnTo>
                      <a:pt x="29" y="40"/>
                    </a:lnTo>
                    <a:lnTo>
                      <a:pt x="27" y="43"/>
                    </a:lnTo>
                    <a:lnTo>
                      <a:pt x="27" y="47"/>
                    </a:lnTo>
                    <a:lnTo>
                      <a:pt x="27" y="52"/>
                    </a:lnTo>
                    <a:lnTo>
                      <a:pt x="29" y="55"/>
                    </a:lnTo>
                    <a:lnTo>
                      <a:pt x="31" y="59"/>
                    </a:lnTo>
                    <a:lnTo>
                      <a:pt x="34" y="62"/>
                    </a:lnTo>
                    <a:lnTo>
                      <a:pt x="36" y="65"/>
                    </a:lnTo>
                    <a:lnTo>
                      <a:pt x="40" y="67"/>
                    </a:lnTo>
                    <a:lnTo>
                      <a:pt x="44" y="68"/>
                    </a:lnTo>
                    <a:lnTo>
                      <a:pt x="48" y="68"/>
                    </a:lnTo>
                    <a:lnTo>
                      <a:pt x="52" y="68"/>
                    </a:lnTo>
                    <a:lnTo>
                      <a:pt x="56" y="67"/>
                    </a:lnTo>
                    <a:lnTo>
                      <a:pt x="59" y="65"/>
                    </a:lnTo>
                    <a:lnTo>
                      <a:pt x="62" y="62"/>
                    </a:lnTo>
                    <a:lnTo>
                      <a:pt x="65" y="59"/>
                    </a:lnTo>
                    <a:lnTo>
                      <a:pt x="66" y="55"/>
                    </a:lnTo>
                    <a:lnTo>
                      <a:pt x="67" y="52"/>
                    </a:lnTo>
                    <a:lnTo>
                      <a:pt x="69" y="47"/>
                    </a:lnTo>
                    <a:lnTo>
                      <a:pt x="67" y="43"/>
                    </a:lnTo>
                    <a:lnTo>
                      <a:pt x="66" y="40"/>
                    </a:lnTo>
                    <a:lnTo>
                      <a:pt x="65" y="37"/>
                    </a:lnTo>
                    <a:lnTo>
                      <a:pt x="62" y="33"/>
                    </a:lnTo>
                    <a:lnTo>
                      <a:pt x="59" y="30"/>
                    </a:lnTo>
                    <a:lnTo>
                      <a:pt x="56" y="29"/>
                    </a:lnTo>
                    <a:lnTo>
                      <a:pt x="52" y="28"/>
                    </a:lnTo>
                    <a:lnTo>
                      <a:pt x="4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69"/>
              <p:cNvSpPr>
                <a:spLocks noEditPoints="1"/>
              </p:cNvSpPr>
              <p:nvPr userDrawn="1"/>
            </p:nvSpPr>
            <p:spPr bwMode="auto">
              <a:xfrm>
                <a:off x="1621" y="2010"/>
                <a:ext cx="31" cy="31"/>
              </a:xfrm>
              <a:custGeom>
                <a:avLst/>
                <a:gdLst>
                  <a:gd name="T0" fmla="*/ 37 w 92"/>
                  <a:gd name="T1" fmla="*/ 92 h 92"/>
                  <a:gd name="T2" fmla="*/ 21 w 92"/>
                  <a:gd name="T3" fmla="*/ 84 h 92"/>
                  <a:gd name="T4" fmla="*/ 8 w 92"/>
                  <a:gd name="T5" fmla="*/ 72 h 92"/>
                  <a:gd name="T6" fmla="*/ 2 w 92"/>
                  <a:gd name="T7" fmla="*/ 55 h 92"/>
                  <a:gd name="T8" fmla="*/ 2 w 92"/>
                  <a:gd name="T9" fmla="*/ 37 h 92"/>
                  <a:gd name="T10" fmla="*/ 8 w 92"/>
                  <a:gd name="T11" fmla="*/ 20 h 92"/>
                  <a:gd name="T12" fmla="*/ 21 w 92"/>
                  <a:gd name="T13" fmla="*/ 7 h 92"/>
                  <a:gd name="T14" fmla="*/ 37 w 92"/>
                  <a:gd name="T15" fmla="*/ 1 h 92"/>
                  <a:gd name="T16" fmla="*/ 56 w 92"/>
                  <a:gd name="T17" fmla="*/ 1 h 92"/>
                  <a:gd name="T18" fmla="*/ 72 w 92"/>
                  <a:gd name="T19" fmla="*/ 7 h 92"/>
                  <a:gd name="T20" fmla="*/ 85 w 92"/>
                  <a:gd name="T21" fmla="*/ 20 h 92"/>
                  <a:gd name="T22" fmla="*/ 91 w 92"/>
                  <a:gd name="T23" fmla="*/ 37 h 92"/>
                  <a:gd name="T24" fmla="*/ 91 w 92"/>
                  <a:gd name="T25" fmla="*/ 55 h 92"/>
                  <a:gd name="T26" fmla="*/ 85 w 92"/>
                  <a:gd name="T27" fmla="*/ 72 h 92"/>
                  <a:gd name="T28" fmla="*/ 72 w 92"/>
                  <a:gd name="T29" fmla="*/ 84 h 92"/>
                  <a:gd name="T30" fmla="*/ 56 w 92"/>
                  <a:gd name="T31" fmla="*/ 92 h 92"/>
                  <a:gd name="T32" fmla="*/ 47 w 92"/>
                  <a:gd name="T33" fmla="*/ 27 h 92"/>
                  <a:gd name="T34" fmla="*/ 43 w 92"/>
                  <a:gd name="T35" fmla="*/ 28 h 92"/>
                  <a:gd name="T36" fmla="*/ 36 w 92"/>
                  <a:gd name="T37" fmla="*/ 30 h 92"/>
                  <a:gd name="T38" fmla="*/ 31 w 92"/>
                  <a:gd name="T39" fmla="*/ 35 h 92"/>
                  <a:gd name="T40" fmla="*/ 27 w 92"/>
                  <a:gd name="T41" fmla="*/ 42 h 92"/>
                  <a:gd name="T42" fmla="*/ 27 w 92"/>
                  <a:gd name="T43" fmla="*/ 49 h 92"/>
                  <a:gd name="T44" fmla="*/ 31 w 92"/>
                  <a:gd name="T45" fmla="*/ 57 h 92"/>
                  <a:gd name="T46" fmla="*/ 36 w 92"/>
                  <a:gd name="T47" fmla="*/ 61 h 92"/>
                  <a:gd name="T48" fmla="*/ 43 w 92"/>
                  <a:gd name="T49" fmla="*/ 65 h 92"/>
                  <a:gd name="T50" fmla="*/ 50 w 92"/>
                  <a:gd name="T51" fmla="*/ 65 h 92"/>
                  <a:gd name="T52" fmla="*/ 57 w 92"/>
                  <a:gd name="T53" fmla="*/ 61 h 92"/>
                  <a:gd name="T54" fmla="*/ 62 w 92"/>
                  <a:gd name="T55" fmla="*/ 57 h 92"/>
                  <a:gd name="T56" fmla="*/ 65 w 92"/>
                  <a:gd name="T57" fmla="*/ 49 h 92"/>
                  <a:gd name="T58" fmla="*/ 65 w 92"/>
                  <a:gd name="T59" fmla="*/ 42 h 92"/>
                  <a:gd name="T60" fmla="*/ 62 w 92"/>
                  <a:gd name="T61" fmla="*/ 35 h 92"/>
                  <a:gd name="T62" fmla="*/ 57 w 92"/>
                  <a:gd name="T63" fmla="*/ 30 h 92"/>
                  <a:gd name="T64" fmla="*/ 50 w 92"/>
                  <a:gd name="T65" fmla="*/ 2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2">
                    <a:moveTo>
                      <a:pt x="47" y="92"/>
                    </a:moveTo>
                    <a:lnTo>
                      <a:pt x="37" y="92"/>
                    </a:lnTo>
                    <a:lnTo>
                      <a:pt x="29" y="88"/>
                    </a:lnTo>
                    <a:lnTo>
                      <a:pt x="21" y="84"/>
                    </a:lnTo>
                    <a:lnTo>
                      <a:pt x="13" y="79"/>
                    </a:lnTo>
                    <a:lnTo>
                      <a:pt x="8" y="72"/>
                    </a:lnTo>
                    <a:lnTo>
                      <a:pt x="4" y="64"/>
                    </a:lnTo>
                    <a:lnTo>
                      <a:pt x="2" y="55"/>
                    </a:lnTo>
                    <a:lnTo>
                      <a:pt x="0" y="46"/>
                    </a:lnTo>
                    <a:lnTo>
                      <a:pt x="2" y="37"/>
                    </a:lnTo>
                    <a:lnTo>
                      <a:pt x="4" y="28"/>
                    </a:lnTo>
                    <a:lnTo>
                      <a:pt x="8" y="20"/>
                    </a:lnTo>
                    <a:lnTo>
                      <a:pt x="13" y="14"/>
                    </a:lnTo>
                    <a:lnTo>
                      <a:pt x="21" y="7"/>
                    </a:lnTo>
                    <a:lnTo>
                      <a:pt x="29" y="4"/>
                    </a:lnTo>
                    <a:lnTo>
                      <a:pt x="37" y="1"/>
                    </a:lnTo>
                    <a:lnTo>
                      <a:pt x="47" y="0"/>
                    </a:lnTo>
                    <a:lnTo>
                      <a:pt x="56" y="1"/>
                    </a:lnTo>
                    <a:lnTo>
                      <a:pt x="64" y="4"/>
                    </a:lnTo>
                    <a:lnTo>
                      <a:pt x="72" y="7"/>
                    </a:lnTo>
                    <a:lnTo>
                      <a:pt x="79" y="14"/>
                    </a:lnTo>
                    <a:lnTo>
                      <a:pt x="85" y="20"/>
                    </a:lnTo>
                    <a:lnTo>
                      <a:pt x="89" y="28"/>
                    </a:lnTo>
                    <a:lnTo>
                      <a:pt x="91" y="37"/>
                    </a:lnTo>
                    <a:lnTo>
                      <a:pt x="92" y="46"/>
                    </a:lnTo>
                    <a:lnTo>
                      <a:pt x="91" y="55"/>
                    </a:lnTo>
                    <a:lnTo>
                      <a:pt x="89" y="64"/>
                    </a:lnTo>
                    <a:lnTo>
                      <a:pt x="85" y="72"/>
                    </a:lnTo>
                    <a:lnTo>
                      <a:pt x="79" y="79"/>
                    </a:lnTo>
                    <a:lnTo>
                      <a:pt x="72" y="84"/>
                    </a:lnTo>
                    <a:lnTo>
                      <a:pt x="64" y="88"/>
                    </a:lnTo>
                    <a:lnTo>
                      <a:pt x="56" y="92"/>
                    </a:lnTo>
                    <a:lnTo>
                      <a:pt x="47" y="92"/>
                    </a:lnTo>
                    <a:close/>
                    <a:moveTo>
                      <a:pt x="47" y="27"/>
                    </a:moveTo>
                    <a:lnTo>
                      <a:pt x="47" y="27"/>
                    </a:lnTo>
                    <a:lnTo>
                      <a:pt x="43" y="28"/>
                    </a:lnTo>
                    <a:lnTo>
                      <a:pt x="39" y="29"/>
                    </a:lnTo>
                    <a:lnTo>
                      <a:pt x="36" y="30"/>
                    </a:lnTo>
                    <a:lnTo>
                      <a:pt x="33" y="32"/>
                    </a:lnTo>
                    <a:lnTo>
                      <a:pt x="31" y="35"/>
                    </a:lnTo>
                    <a:lnTo>
                      <a:pt x="29" y="39"/>
                    </a:lnTo>
                    <a:lnTo>
                      <a:pt x="27" y="42"/>
                    </a:lnTo>
                    <a:lnTo>
                      <a:pt x="27" y="46"/>
                    </a:lnTo>
                    <a:lnTo>
                      <a:pt x="27" y="49"/>
                    </a:lnTo>
                    <a:lnTo>
                      <a:pt x="29" y="54"/>
                    </a:lnTo>
                    <a:lnTo>
                      <a:pt x="31" y="57"/>
                    </a:lnTo>
                    <a:lnTo>
                      <a:pt x="33" y="59"/>
                    </a:lnTo>
                    <a:lnTo>
                      <a:pt x="36" y="61"/>
                    </a:lnTo>
                    <a:lnTo>
                      <a:pt x="39" y="64"/>
                    </a:lnTo>
                    <a:lnTo>
                      <a:pt x="43" y="65"/>
                    </a:lnTo>
                    <a:lnTo>
                      <a:pt x="47" y="65"/>
                    </a:lnTo>
                    <a:lnTo>
                      <a:pt x="50" y="65"/>
                    </a:lnTo>
                    <a:lnTo>
                      <a:pt x="53" y="64"/>
                    </a:lnTo>
                    <a:lnTo>
                      <a:pt x="57" y="61"/>
                    </a:lnTo>
                    <a:lnTo>
                      <a:pt x="60" y="59"/>
                    </a:lnTo>
                    <a:lnTo>
                      <a:pt x="62" y="57"/>
                    </a:lnTo>
                    <a:lnTo>
                      <a:pt x="64" y="54"/>
                    </a:lnTo>
                    <a:lnTo>
                      <a:pt x="65" y="49"/>
                    </a:lnTo>
                    <a:lnTo>
                      <a:pt x="65" y="46"/>
                    </a:lnTo>
                    <a:lnTo>
                      <a:pt x="65" y="42"/>
                    </a:lnTo>
                    <a:lnTo>
                      <a:pt x="64" y="39"/>
                    </a:lnTo>
                    <a:lnTo>
                      <a:pt x="62" y="35"/>
                    </a:lnTo>
                    <a:lnTo>
                      <a:pt x="60" y="32"/>
                    </a:lnTo>
                    <a:lnTo>
                      <a:pt x="57" y="30"/>
                    </a:lnTo>
                    <a:lnTo>
                      <a:pt x="53" y="29"/>
                    </a:lnTo>
                    <a:lnTo>
                      <a:pt x="50" y="28"/>
                    </a:lnTo>
                    <a:lnTo>
                      <a:pt x="4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70"/>
              <p:cNvSpPr>
                <a:spLocks noEditPoints="1"/>
              </p:cNvSpPr>
              <p:nvPr userDrawn="1"/>
            </p:nvSpPr>
            <p:spPr bwMode="auto">
              <a:xfrm>
                <a:off x="1520" y="2058"/>
                <a:ext cx="24" cy="24"/>
              </a:xfrm>
              <a:custGeom>
                <a:avLst/>
                <a:gdLst>
                  <a:gd name="T0" fmla="*/ 37 w 72"/>
                  <a:gd name="T1" fmla="*/ 72 h 72"/>
                  <a:gd name="T2" fmla="*/ 29 w 72"/>
                  <a:gd name="T3" fmla="*/ 72 h 72"/>
                  <a:gd name="T4" fmla="*/ 23 w 72"/>
                  <a:gd name="T5" fmla="*/ 70 h 72"/>
                  <a:gd name="T6" fmla="*/ 16 w 72"/>
                  <a:gd name="T7" fmla="*/ 66 h 72"/>
                  <a:gd name="T8" fmla="*/ 11 w 72"/>
                  <a:gd name="T9" fmla="*/ 62 h 72"/>
                  <a:gd name="T10" fmla="*/ 7 w 72"/>
                  <a:gd name="T11" fmla="*/ 57 h 72"/>
                  <a:gd name="T12" fmla="*/ 3 w 72"/>
                  <a:gd name="T13" fmla="*/ 50 h 72"/>
                  <a:gd name="T14" fmla="*/ 1 w 72"/>
                  <a:gd name="T15" fmla="*/ 44 h 72"/>
                  <a:gd name="T16" fmla="*/ 0 w 72"/>
                  <a:gd name="T17" fmla="*/ 36 h 72"/>
                  <a:gd name="T18" fmla="*/ 1 w 72"/>
                  <a:gd name="T19" fmla="*/ 29 h 72"/>
                  <a:gd name="T20" fmla="*/ 3 w 72"/>
                  <a:gd name="T21" fmla="*/ 22 h 72"/>
                  <a:gd name="T22" fmla="*/ 7 w 72"/>
                  <a:gd name="T23" fmla="*/ 17 h 72"/>
                  <a:gd name="T24" fmla="*/ 11 w 72"/>
                  <a:gd name="T25" fmla="*/ 11 h 72"/>
                  <a:gd name="T26" fmla="*/ 16 w 72"/>
                  <a:gd name="T27" fmla="*/ 7 h 72"/>
                  <a:gd name="T28" fmla="*/ 23 w 72"/>
                  <a:gd name="T29" fmla="*/ 4 h 72"/>
                  <a:gd name="T30" fmla="*/ 29 w 72"/>
                  <a:gd name="T31" fmla="*/ 2 h 72"/>
                  <a:gd name="T32" fmla="*/ 37 w 72"/>
                  <a:gd name="T33" fmla="*/ 0 h 72"/>
                  <a:gd name="T34" fmla="*/ 43 w 72"/>
                  <a:gd name="T35" fmla="*/ 2 h 72"/>
                  <a:gd name="T36" fmla="*/ 51 w 72"/>
                  <a:gd name="T37" fmla="*/ 4 h 72"/>
                  <a:gd name="T38" fmla="*/ 56 w 72"/>
                  <a:gd name="T39" fmla="*/ 7 h 72"/>
                  <a:gd name="T40" fmla="*/ 62 w 72"/>
                  <a:gd name="T41" fmla="*/ 11 h 72"/>
                  <a:gd name="T42" fmla="*/ 66 w 72"/>
                  <a:gd name="T43" fmla="*/ 17 h 72"/>
                  <a:gd name="T44" fmla="*/ 69 w 72"/>
                  <a:gd name="T45" fmla="*/ 22 h 72"/>
                  <a:gd name="T46" fmla="*/ 71 w 72"/>
                  <a:gd name="T47" fmla="*/ 29 h 72"/>
                  <a:gd name="T48" fmla="*/ 72 w 72"/>
                  <a:gd name="T49" fmla="*/ 36 h 72"/>
                  <a:gd name="T50" fmla="*/ 71 w 72"/>
                  <a:gd name="T51" fmla="*/ 44 h 72"/>
                  <a:gd name="T52" fmla="*/ 69 w 72"/>
                  <a:gd name="T53" fmla="*/ 50 h 72"/>
                  <a:gd name="T54" fmla="*/ 66 w 72"/>
                  <a:gd name="T55" fmla="*/ 57 h 72"/>
                  <a:gd name="T56" fmla="*/ 62 w 72"/>
                  <a:gd name="T57" fmla="*/ 62 h 72"/>
                  <a:gd name="T58" fmla="*/ 56 w 72"/>
                  <a:gd name="T59" fmla="*/ 66 h 72"/>
                  <a:gd name="T60" fmla="*/ 51 w 72"/>
                  <a:gd name="T61" fmla="*/ 70 h 72"/>
                  <a:gd name="T62" fmla="*/ 43 w 72"/>
                  <a:gd name="T63" fmla="*/ 72 h 72"/>
                  <a:gd name="T64" fmla="*/ 37 w 72"/>
                  <a:gd name="T65" fmla="*/ 72 h 72"/>
                  <a:gd name="T66" fmla="*/ 37 w 72"/>
                  <a:gd name="T67" fmla="*/ 27 h 72"/>
                  <a:gd name="T68" fmla="*/ 37 w 72"/>
                  <a:gd name="T69" fmla="*/ 27 h 72"/>
                  <a:gd name="T70" fmla="*/ 33 w 72"/>
                  <a:gd name="T71" fmla="*/ 29 h 72"/>
                  <a:gd name="T72" fmla="*/ 30 w 72"/>
                  <a:gd name="T73" fmla="*/ 30 h 72"/>
                  <a:gd name="T74" fmla="*/ 28 w 72"/>
                  <a:gd name="T75" fmla="*/ 33 h 72"/>
                  <a:gd name="T76" fmla="*/ 27 w 72"/>
                  <a:gd name="T77" fmla="*/ 36 h 72"/>
                  <a:gd name="T78" fmla="*/ 28 w 72"/>
                  <a:gd name="T79" fmla="*/ 39 h 72"/>
                  <a:gd name="T80" fmla="*/ 30 w 72"/>
                  <a:gd name="T81" fmla="*/ 43 h 72"/>
                  <a:gd name="T82" fmla="*/ 33 w 72"/>
                  <a:gd name="T83" fmla="*/ 45 h 72"/>
                  <a:gd name="T84" fmla="*/ 37 w 72"/>
                  <a:gd name="T85" fmla="*/ 45 h 72"/>
                  <a:gd name="T86" fmla="*/ 40 w 72"/>
                  <a:gd name="T87" fmla="*/ 45 h 72"/>
                  <a:gd name="T88" fmla="*/ 42 w 72"/>
                  <a:gd name="T89" fmla="*/ 43 h 72"/>
                  <a:gd name="T90" fmla="*/ 44 w 72"/>
                  <a:gd name="T91" fmla="*/ 39 h 72"/>
                  <a:gd name="T92" fmla="*/ 45 w 72"/>
                  <a:gd name="T93" fmla="*/ 36 h 72"/>
                  <a:gd name="T94" fmla="*/ 44 w 72"/>
                  <a:gd name="T95" fmla="*/ 33 h 72"/>
                  <a:gd name="T96" fmla="*/ 42 w 72"/>
                  <a:gd name="T97" fmla="*/ 30 h 72"/>
                  <a:gd name="T98" fmla="*/ 40 w 72"/>
                  <a:gd name="T99" fmla="*/ 29 h 72"/>
                  <a:gd name="T100" fmla="*/ 37 w 72"/>
                  <a:gd name="T101"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 h="72">
                    <a:moveTo>
                      <a:pt x="37" y="72"/>
                    </a:moveTo>
                    <a:lnTo>
                      <a:pt x="29" y="72"/>
                    </a:lnTo>
                    <a:lnTo>
                      <a:pt x="23" y="70"/>
                    </a:lnTo>
                    <a:lnTo>
                      <a:pt x="16" y="66"/>
                    </a:lnTo>
                    <a:lnTo>
                      <a:pt x="11" y="62"/>
                    </a:lnTo>
                    <a:lnTo>
                      <a:pt x="7" y="57"/>
                    </a:lnTo>
                    <a:lnTo>
                      <a:pt x="3" y="50"/>
                    </a:lnTo>
                    <a:lnTo>
                      <a:pt x="1" y="44"/>
                    </a:lnTo>
                    <a:lnTo>
                      <a:pt x="0" y="36"/>
                    </a:lnTo>
                    <a:lnTo>
                      <a:pt x="1" y="29"/>
                    </a:lnTo>
                    <a:lnTo>
                      <a:pt x="3" y="22"/>
                    </a:lnTo>
                    <a:lnTo>
                      <a:pt x="7" y="17"/>
                    </a:lnTo>
                    <a:lnTo>
                      <a:pt x="11" y="11"/>
                    </a:lnTo>
                    <a:lnTo>
                      <a:pt x="16" y="7"/>
                    </a:lnTo>
                    <a:lnTo>
                      <a:pt x="23" y="4"/>
                    </a:lnTo>
                    <a:lnTo>
                      <a:pt x="29" y="2"/>
                    </a:lnTo>
                    <a:lnTo>
                      <a:pt x="37" y="0"/>
                    </a:lnTo>
                    <a:lnTo>
                      <a:pt x="43" y="2"/>
                    </a:lnTo>
                    <a:lnTo>
                      <a:pt x="51" y="4"/>
                    </a:lnTo>
                    <a:lnTo>
                      <a:pt x="56" y="7"/>
                    </a:lnTo>
                    <a:lnTo>
                      <a:pt x="62" y="11"/>
                    </a:lnTo>
                    <a:lnTo>
                      <a:pt x="66" y="17"/>
                    </a:lnTo>
                    <a:lnTo>
                      <a:pt x="69" y="22"/>
                    </a:lnTo>
                    <a:lnTo>
                      <a:pt x="71" y="29"/>
                    </a:lnTo>
                    <a:lnTo>
                      <a:pt x="72" y="36"/>
                    </a:lnTo>
                    <a:lnTo>
                      <a:pt x="71" y="44"/>
                    </a:lnTo>
                    <a:lnTo>
                      <a:pt x="69" y="50"/>
                    </a:lnTo>
                    <a:lnTo>
                      <a:pt x="66" y="57"/>
                    </a:lnTo>
                    <a:lnTo>
                      <a:pt x="62" y="62"/>
                    </a:lnTo>
                    <a:lnTo>
                      <a:pt x="56" y="66"/>
                    </a:lnTo>
                    <a:lnTo>
                      <a:pt x="51" y="70"/>
                    </a:lnTo>
                    <a:lnTo>
                      <a:pt x="43" y="72"/>
                    </a:lnTo>
                    <a:lnTo>
                      <a:pt x="37" y="72"/>
                    </a:lnTo>
                    <a:close/>
                    <a:moveTo>
                      <a:pt x="37" y="27"/>
                    </a:moveTo>
                    <a:lnTo>
                      <a:pt x="37" y="27"/>
                    </a:lnTo>
                    <a:lnTo>
                      <a:pt x="33" y="29"/>
                    </a:lnTo>
                    <a:lnTo>
                      <a:pt x="30" y="30"/>
                    </a:lnTo>
                    <a:lnTo>
                      <a:pt x="28" y="33"/>
                    </a:lnTo>
                    <a:lnTo>
                      <a:pt x="27" y="36"/>
                    </a:lnTo>
                    <a:lnTo>
                      <a:pt x="28" y="39"/>
                    </a:lnTo>
                    <a:lnTo>
                      <a:pt x="30" y="43"/>
                    </a:lnTo>
                    <a:lnTo>
                      <a:pt x="33" y="45"/>
                    </a:lnTo>
                    <a:lnTo>
                      <a:pt x="37" y="45"/>
                    </a:lnTo>
                    <a:lnTo>
                      <a:pt x="40" y="45"/>
                    </a:lnTo>
                    <a:lnTo>
                      <a:pt x="42" y="43"/>
                    </a:lnTo>
                    <a:lnTo>
                      <a:pt x="44" y="39"/>
                    </a:lnTo>
                    <a:lnTo>
                      <a:pt x="45" y="36"/>
                    </a:lnTo>
                    <a:lnTo>
                      <a:pt x="44" y="33"/>
                    </a:lnTo>
                    <a:lnTo>
                      <a:pt x="42" y="30"/>
                    </a:lnTo>
                    <a:lnTo>
                      <a:pt x="40" y="29"/>
                    </a:lnTo>
                    <a:lnTo>
                      <a:pt x="3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71"/>
              <p:cNvSpPr>
                <a:spLocks noEditPoints="1"/>
              </p:cNvSpPr>
              <p:nvPr userDrawn="1"/>
            </p:nvSpPr>
            <p:spPr bwMode="auto">
              <a:xfrm>
                <a:off x="1463" y="2040"/>
                <a:ext cx="22" cy="22"/>
              </a:xfrm>
              <a:custGeom>
                <a:avLst/>
                <a:gdLst>
                  <a:gd name="T0" fmla="*/ 34 w 67"/>
                  <a:gd name="T1" fmla="*/ 68 h 68"/>
                  <a:gd name="T2" fmla="*/ 27 w 67"/>
                  <a:gd name="T3" fmla="*/ 67 h 68"/>
                  <a:gd name="T4" fmla="*/ 21 w 67"/>
                  <a:gd name="T5" fmla="*/ 66 h 68"/>
                  <a:gd name="T6" fmla="*/ 14 w 67"/>
                  <a:gd name="T7" fmla="*/ 63 h 68"/>
                  <a:gd name="T8" fmla="*/ 10 w 67"/>
                  <a:gd name="T9" fmla="*/ 59 h 68"/>
                  <a:gd name="T10" fmla="*/ 6 w 67"/>
                  <a:gd name="T11" fmla="*/ 53 h 68"/>
                  <a:gd name="T12" fmla="*/ 3 w 67"/>
                  <a:gd name="T13" fmla="*/ 48 h 68"/>
                  <a:gd name="T14" fmla="*/ 0 w 67"/>
                  <a:gd name="T15" fmla="*/ 41 h 68"/>
                  <a:gd name="T16" fmla="*/ 0 w 67"/>
                  <a:gd name="T17" fmla="*/ 35 h 68"/>
                  <a:gd name="T18" fmla="*/ 0 w 67"/>
                  <a:gd name="T19" fmla="*/ 27 h 68"/>
                  <a:gd name="T20" fmla="*/ 3 w 67"/>
                  <a:gd name="T21" fmla="*/ 22 h 68"/>
                  <a:gd name="T22" fmla="*/ 6 w 67"/>
                  <a:gd name="T23" fmla="*/ 15 h 68"/>
                  <a:gd name="T24" fmla="*/ 10 w 67"/>
                  <a:gd name="T25" fmla="*/ 11 h 68"/>
                  <a:gd name="T26" fmla="*/ 14 w 67"/>
                  <a:gd name="T27" fmla="*/ 7 h 68"/>
                  <a:gd name="T28" fmla="*/ 21 w 67"/>
                  <a:gd name="T29" fmla="*/ 4 h 68"/>
                  <a:gd name="T30" fmla="*/ 27 w 67"/>
                  <a:gd name="T31" fmla="*/ 1 h 68"/>
                  <a:gd name="T32" fmla="*/ 34 w 67"/>
                  <a:gd name="T33" fmla="*/ 0 h 68"/>
                  <a:gd name="T34" fmla="*/ 40 w 67"/>
                  <a:gd name="T35" fmla="*/ 1 h 68"/>
                  <a:gd name="T36" fmla="*/ 47 w 67"/>
                  <a:gd name="T37" fmla="*/ 4 h 68"/>
                  <a:gd name="T38" fmla="*/ 52 w 67"/>
                  <a:gd name="T39" fmla="*/ 7 h 68"/>
                  <a:gd name="T40" fmla="*/ 58 w 67"/>
                  <a:gd name="T41" fmla="*/ 11 h 68"/>
                  <a:gd name="T42" fmla="*/ 62 w 67"/>
                  <a:gd name="T43" fmla="*/ 15 h 68"/>
                  <a:gd name="T44" fmla="*/ 65 w 67"/>
                  <a:gd name="T45" fmla="*/ 22 h 68"/>
                  <a:gd name="T46" fmla="*/ 67 w 67"/>
                  <a:gd name="T47" fmla="*/ 27 h 68"/>
                  <a:gd name="T48" fmla="*/ 67 w 67"/>
                  <a:gd name="T49" fmla="*/ 35 h 68"/>
                  <a:gd name="T50" fmla="*/ 67 w 67"/>
                  <a:gd name="T51" fmla="*/ 41 h 68"/>
                  <a:gd name="T52" fmla="*/ 65 w 67"/>
                  <a:gd name="T53" fmla="*/ 48 h 68"/>
                  <a:gd name="T54" fmla="*/ 62 w 67"/>
                  <a:gd name="T55" fmla="*/ 53 h 68"/>
                  <a:gd name="T56" fmla="*/ 58 w 67"/>
                  <a:gd name="T57" fmla="*/ 59 h 68"/>
                  <a:gd name="T58" fmla="*/ 52 w 67"/>
                  <a:gd name="T59" fmla="*/ 63 h 68"/>
                  <a:gd name="T60" fmla="*/ 47 w 67"/>
                  <a:gd name="T61" fmla="*/ 66 h 68"/>
                  <a:gd name="T62" fmla="*/ 40 w 67"/>
                  <a:gd name="T63" fmla="*/ 67 h 68"/>
                  <a:gd name="T64" fmla="*/ 34 w 67"/>
                  <a:gd name="T65" fmla="*/ 68 h 68"/>
                  <a:gd name="T66" fmla="*/ 34 w 67"/>
                  <a:gd name="T67" fmla="*/ 27 h 68"/>
                  <a:gd name="T68" fmla="*/ 34 w 67"/>
                  <a:gd name="T69" fmla="*/ 27 h 68"/>
                  <a:gd name="T70" fmla="*/ 31 w 67"/>
                  <a:gd name="T71" fmla="*/ 28 h 68"/>
                  <a:gd name="T72" fmla="*/ 29 w 67"/>
                  <a:gd name="T73" fmla="*/ 29 h 68"/>
                  <a:gd name="T74" fmla="*/ 27 w 67"/>
                  <a:gd name="T75" fmla="*/ 32 h 68"/>
                  <a:gd name="T76" fmla="*/ 27 w 67"/>
                  <a:gd name="T77" fmla="*/ 35 h 68"/>
                  <a:gd name="T78" fmla="*/ 27 w 67"/>
                  <a:gd name="T79" fmla="*/ 37 h 68"/>
                  <a:gd name="T80" fmla="*/ 30 w 67"/>
                  <a:gd name="T81" fmla="*/ 39 h 68"/>
                  <a:gd name="T82" fmla="*/ 32 w 67"/>
                  <a:gd name="T83" fmla="*/ 40 h 68"/>
                  <a:gd name="T84" fmla="*/ 34 w 67"/>
                  <a:gd name="T85" fmla="*/ 40 h 68"/>
                  <a:gd name="T86" fmla="*/ 36 w 67"/>
                  <a:gd name="T87" fmla="*/ 40 h 68"/>
                  <a:gd name="T88" fmla="*/ 38 w 67"/>
                  <a:gd name="T89" fmla="*/ 39 h 68"/>
                  <a:gd name="T90" fmla="*/ 40 w 67"/>
                  <a:gd name="T91" fmla="*/ 37 h 68"/>
                  <a:gd name="T92" fmla="*/ 40 w 67"/>
                  <a:gd name="T93" fmla="*/ 35 h 68"/>
                  <a:gd name="T94" fmla="*/ 40 w 67"/>
                  <a:gd name="T95" fmla="*/ 32 h 68"/>
                  <a:gd name="T96" fmla="*/ 38 w 67"/>
                  <a:gd name="T97" fmla="*/ 29 h 68"/>
                  <a:gd name="T98" fmla="*/ 36 w 67"/>
                  <a:gd name="T99" fmla="*/ 28 h 68"/>
                  <a:gd name="T100" fmla="*/ 34 w 67"/>
                  <a:gd name="T101"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34" y="68"/>
                    </a:moveTo>
                    <a:lnTo>
                      <a:pt x="27" y="67"/>
                    </a:lnTo>
                    <a:lnTo>
                      <a:pt x="21" y="66"/>
                    </a:lnTo>
                    <a:lnTo>
                      <a:pt x="14" y="63"/>
                    </a:lnTo>
                    <a:lnTo>
                      <a:pt x="10" y="59"/>
                    </a:lnTo>
                    <a:lnTo>
                      <a:pt x="6" y="53"/>
                    </a:lnTo>
                    <a:lnTo>
                      <a:pt x="3" y="48"/>
                    </a:lnTo>
                    <a:lnTo>
                      <a:pt x="0" y="41"/>
                    </a:lnTo>
                    <a:lnTo>
                      <a:pt x="0" y="35"/>
                    </a:lnTo>
                    <a:lnTo>
                      <a:pt x="0" y="27"/>
                    </a:lnTo>
                    <a:lnTo>
                      <a:pt x="3" y="22"/>
                    </a:lnTo>
                    <a:lnTo>
                      <a:pt x="6" y="15"/>
                    </a:lnTo>
                    <a:lnTo>
                      <a:pt x="10" y="11"/>
                    </a:lnTo>
                    <a:lnTo>
                      <a:pt x="14" y="7"/>
                    </a:lnTo>
                    <a:lnTo>
                      <a:pt x="21" y="4"/>
                    </a:lnTo>
                    <a:lnTo>
                      <a:pt x="27" y="1"/>
                    </a:lnTo>
                    <a:lnTo>
                      <a:pt x="34" y="0"/>
                    </a:lnTo>
                    <a:lnTo>
                      <a:pt x="40" y="1"/>
                    </a:lnTo>
                    <a:lnTo>
                      <a:pt x="47" y="4"/>
                    </a:lnTo>
                    <a:lnTo>
                      <a:pt x="52" y="7"/>
                    </a:lnTo>
                    <a:lnTo>
                      <a:pt x="58" y="11"/>
                    </a:lnTo>
                    <a:lnTo>
                      <a:pt x="62" y="15"/>
                    </a:lnTo>
                    <a:lnTo>
                      <a:pt x="65" y="22"/>
                    </a:lnTo>
                    <a:lnTo>
                      <a:pt x="67" y="27"/>
                    </a:lnTo>
                    <a:lnTo>
                      <a:pt x="67" y="35"/>
                    </a:lnTo>
                    <a:lnTo>
                      <a:pt x="67" y="41"/>
                    </a:lnTo>
                    <a:lnTo>
                      <a:pt x="65" y="48"/>
                    </a:lnTo>
                    <a:lnTo>
                      <a:pt x="62" y="53"/>
                    </a:lnTo>
                    <a:lnTo>
                      <a:pt x="58" y="59"/>
                    </a:lnTo>
                    <a:lnTo>
                      <a:pt x="52" y="63"/>
                    </a:lnTo>
                    <a:lnTo>
                      <a:pt x="47" y="66"/>
                    </a:lnTo>
                    <a:lnTo>
                      <a:pt x="40" y="67"/>
                    </a:lnTo>
                    <a:lnTo>
                      <a:pt x="34" y="68"/>
                    </a:lnTo>
                    <a:close/>
                    <a:moveTo>
                      <a:pt x="34" y="27"/>
                    </a:moveTo>
                    <a:lnTo>
                      <a:pt x="34" y="27"/>
                    </a:lnTo>
                    <a:lnTo>
                      <a:pt x="31" y="28"/>
                    </a:lnTo>
                    <a:lnTo>
                      <a:pt x="29" y="29"/>
                    </a:lnTo>
                    <a:lnTo>
                      <a:pt x="27" y="32"/>
                    </a:lnTo>
                    <a:lnTo>
                      <a:pt x="27" y="35"/>
                    </a:lnTo>
                    <a:lnTo>
                      <a:pt x="27" y="37"/>
                    </a:lnTo>
                    <a:lnTo>
                      <a:pt x="30" y="39"/>
                    </a:lnTo>
                    <a:lnTo>
                      <a:pt x="32" y="40"/>
                    </a:lnTo>
                    <a:lnTo>
                      <a:pt x="34" y="40"/>
                    </a:lnTo>
                    <a:lnTo>
                      <a:pt x="36" y="40"/>
                    </a:lnTo>
                    <a:lnTo>
                      <a:pt x="38" y="39"/>
                    </a:lnTo>
                    <a:lnTo>
                      <a:pt x="40" y="37"/>
                    </a:lnTo>
                    <a:lnTo>
                      <a:pt x="40" y="35"/>
                    </a:lnTo>
                    <a:lnTo>
                      <a:pt x="40" y="32"/>
                    </a:lnTo>
                    <a:lnTo>
                      <a:pt x="38" y="29"/>
                    </a:lnTo>
                    <a:lnTo>
                      <a:pt x="36" y="28"/>
                    </a:ln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72"/>
              <p:cNvSpPr>
                <a:spLocks noEditPoints="1"/>
              </p:cNvSpPr>
              <p:nvPr userDrawn="1"/>
            </p:nvSpPr>
            <p:spPr bwMode="auto">
              <a:xfrm>
                <a:off x="2473" y="3099"/>
                <a:ext cx="24" cy="23"/>
              </a:xfrm>
              <a:custGeom>
                <a:avLst/>
                <a:gdLst>
                  <a:gd name="T0" fmla="*/ 36 w 72"/>
                  <a:gd name="T1" fmla="*/ 71 h 71"/>
                  <a:gd name="T2" fmla="*/ 29 w 72"/>
                  <a:gd name="T3" fmla="*/ 70 h 71"/>
                  <a:gd name="T4" fmla="*/ 22 w 72"/>
                  <a:gd name="T5" fmla="*/ 68 h 71"/>
                  <a:gd name="T6" fmla="*/ 16 w 72"/>
                  <a:gd name="T7" fmla="*/ 65 h 71"/>
                  <a:gd name="T8" fmla="*/ 11 w 72"/>
                  <a:gd name="T9" fmla="*/ 61 h 71"/>
                  <a:gd name="T10" fmla="*/ 7 w 72"/>
                  <a:gd name="T11" fmla="*/ 55 h 71"/>
                  <a:gd name="T12" fmla="*/ 4 w 72"/>
                  <a:gd name="T13" fmla="*/ 50 h 71"/>
                  <a:gd name="T14" fmla="*/ 2 w 72"/>
                  <a:gd name="T15" fmla="*/ 43 h 71"/>
                  <a:gd name="T16" fmla="*/ 0 w 72"/>
                  <a:gd name="T17" fmla="*/ 36 h 71"/>
                  <a:gd name="T18" fmla="*/ 2 w 72"/>
                  <a:gd name="T19" fmla="*/ 28 h 71"/>
                  <a:gd name="T20" fmla="*/ 4 w 72"/>
                  <a:gd name="T21" fmla="*/ 22 h 71"/>
                  <a:gd name="T22" fmla="*/ 7 w 72"/>
                  <a:gd name="T23" fmla="*/ 15 h 71"/>
                  <a:gd name="T24" fmla="*/ 11 w 72"/>
                  <a:gd name="T25" fmla="*/ 11 h 71"/>
                  <a:gd name="T26" fmla="*/ 16 w 72"/>
                  <a:gd name="T27" fmla="*/ 7 h 71"/>
                  <a:gd name="T28" fmla="*/ 22 w 72"/>
                  <a:gd name="T29" fmla="*/ 3 h 71"/>
                  <a:gd name="T30" fmla="*/ 29 w 72"/>
                  <a:gd name="T31" fmla="*/ 1 h 71"/>
                  <a:gd name="T32" fmla="*/ 36 w 72"/>
                  <a:gd name="T33" fmla="*/ 0 h 71"/>
                  <a:gd name="T34" fmla="*/ 43 w 72"/>
                  <a:gd name="T35" fmla="*/ 1 h 71"/>
                  <a:gd name="T36" fmla="*/ 50 w 72"/>
                  <a:gd name="T37" fmla="*/ 3 h 71"/>
                  <a:gd name="T38" fmla="*/ 56 w 72"/>
                  <a:gd name="T39" fmla="*/ 7 h 71"/>
                  <a:gd name="T40" fmla="*/ 61 w 72"/>
                  <a:gd name="T41" fmla="*/ 11 h 71"/>
                  <a:gd name="T42" fmla="*/ 65 w 72"/>
                  <a:gd name="T43" fmla="*/ 15 h 71"/>
                  <a:gd name="T44" fmla="*/ 68 w 72"/>
                  <a:gd name="T45" fmla="*/ 22 h 71"/>
                  <a:gd name="T46" fmla="*/ 71 w 72"/>
                  <a:gd name="T47" fmla="*/ 28 h 71"/>
                  <a:gd name="T48" fmla="*/ 72 w 72"/>
                  <a:gd name="T49" fmla="*/ 36 h 71"/>
                  <a:gd name="T50" fmla="*/ 71 w 72"/>
                  <a:gd name="T51" fmla="*/ 43 h 71"/>
                  <a:gd name="T52" fmla="*/ 68 w 72"/>
                  <a:gd name="T53" fmla="*/ 50 h 71"/>
                  <a:gd name="T54" fmla="*/ 65 w 72"/>
                  <a:gd name="T55" fmla="*/ 55 h 71"/>
                  <a:gd name="T56" fmla="*/ 61 w 72"/>
                  <a:gd name="T57" fmla="*/ 61 h 71"/>
                  <a:gd name="T58" fmla="*/ 56 w 72"/>
                  <a:gd name="T59" fmla="*/ 65 h 71"/>
                  <a:gd name="T60" fmla="*/ 50 w 72"/>
                  <a:gd name="T61" fmla="*/ 68 h 71"/>
                  <a:gd name="T62" fmla="*/ 43 w 72"/>
                  <a:gd name="T63" fmla="*/ 70 h 71"/>
                  <a:gd name="T64" fmla="*/ 36 w 72"/>
                  <a:gd name="T65" fmla="*/ 71 h 71"/>
                  <a:gd name="T66" fmla="*/ 36 w 72"/>
                  <a:gd name="T67" fmla="*/ 27 h 71"/>
                  <a:gd name="T68" fmla="*/ 36 w 72"/>
                  <a:gd name="T69" fmla="*/ 27 h 71"/>
                  <a:gd name="T70" fmla="*/ 33 w 72"/>
                  <a:gd name="T71" fmla="*/ 28 h 71"/>
                  <a:gd name="T72" fmla="*/ 30 w 72"/>
                  <a:gd name="T73" fmla="*/ 29 h 71"/>
                  <a:gd name="T74" fmla="*/ 29 w 72"/>
                  <a:gd name="T75" fmla="*/ 33 h 71"/>
                  <a:gd name="T76" fmla="*/ 27 w 72"/>
                  <a:gd name="T77" fmla="*/ 36 h 71"/>
                  <a:gd name="T78" fmla="*/ 29 w 72"/>
                  <a:gd name="T79" fmla="*/ 39 h 71"/>
                  <a:gd name="T80" fmla="*/ 30 w 72"/>
                  <a:gd name="T81" fmla="*/ 41 h 71"/>
                  <a:gd name="T82" fmla="*/ 33 w 72"/>
                  <a:gd name="T83" fmla="*/ 43 h 71"/>
                  <a:gd name="T84" fmla="*/ 36 w 72"/>
                  <a:gd name="T85" fmla="*/ 45 h 71"/>
                  <a:gd name="T86" fmla="*/ 39 w 72"/>
                  <a:gd name="T87" fmla="*/ 43 h 71"/>
                  <a:gd name="T88" fmla="*/ 42 w 72"/>
                  <a:gd name="T89" fmla="*/ 41 h 71"/>
                  <a:gd name="T90" fmla="*/ 44 w 72"/>
                  <a:gd name="T91" fmla="*/ 39 h 71"/>
                  <a:gd name="T92" fmla="*/ 45 w 72"/>
                  <a:gd name="T93" fmla="*/ 36 h 71"/>
                  <a:gd name="T94" fmla="*/ 44 w 72"/>
                  <a:gd name="T95" fmla="*/ 33 h 71"/>
                  <a:gd name="T96" fmla="*/ 42 w 72"/>
                  <a:gd name="T97" fmla="*/ 29 h 71"/>
                  <a:gd name="T98" fmla="*/ 39 w 72"/>
                  <a:gd name="T99" fmla="*/ 28 h 71"/>
                  <a:gd name="T100" fmla="*/ 36 w 72"/>
                  <a:gd name="T101" fmla="*/ 2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 h="71">
                    <a:moveTo>
                      <a:pt x="36" y="71"/>
                    </a:moveTo>
                    <a:lnTo>
                      <a:pt x="29" y="70"/>
                    </a:lnTo>
                    <a:lnTo>
                      <a:pt x="22" y="68"/>
                    </a:lnTo>
                    <a:lnTo>
                      <a:pt x="16" y="65"/>
                    </a:lnTo>
                    <a:lnTo>
                      <a:pt x="11" y="61"/>
                    </a:lnTo>
                    <a:lnTo>
                      <a:pt x="7" y="55"/>
                    </a:lnTo>
                    <a:lnTo>
                      <a:pt x="4" y="50"/>
                    </a:lnTo>
                    <a:lnTo>
                      <a:pt x="2" y="43"/>
                    </a:lnTo>
                    <a:lnTo>
                      <a:pt x="0" y="36"/>
                    </a:lnTo>
                    <a:lnTo>
                      <a:pt x="2" y="28"/>
                    </a:lnTo>
                    <a:lnTo>
                      <a:pt x="4" y="22"/>
                    </a:lnTo>
                    <a:lnTo>
                      <a:pt x="7" y="15"/>
                    </a:lnTo>
                    <a:lnTo>
                      <a:pt x="11" y="11"/>
                    </a:lnTo>
                    <a:lnTo>
                      <a:pt x="16" y="7"/>
                    </a:lnTo>
                    <a:lnTo>
                      <a:pt x="22" y="3"/>
                    </a:lnTo>
                    <a:lnTo>
                      <a:pt x="29" y="1"/>
                    </a:lnTo>
                    <a:lnTo>
                      <a:pt x="36" y="0"/>
                    </a:lnTo>
                    <a:lnTo>
                      <a:pt x="43" y="1"/>
                    </a:lnTo>
                    <a:lnTo>
                      <a:pt x="50" y="3"/>
                    </a:lnTo>
                    <a:lnTo>
                      <a:pt x="56" y="7"/>
                    </a:lnTo>
                    <a:lnTo>
                      <a:pt x="61" y="11"/>
                    </a:lnTo>
                    <a:lnTo>
                      <a:pt x="65" y="15"/>
                    </a:lnTo>
                    <a:lnTo>
                      <a:pt x="68" y="22"/>
                    </a:lnTo>
                    <a:lnTo>
                      <a:pt x="71" y="28"/>
                    </a:lnTo>
                    <a:lnTo>
                      <a:pt x="72" y="36"/>
                    </a:lnTo>
                    <a:lnTo>
                      <a:pt x="71" y="43"/>
                    </a:lnTo>
                    <a:lnTo>
                      <a:pt x="68" y="50"/>
                    </a:lnTo>
                    <a:lnTo>
                      <a:pt x="65" y="55"/>
                    </a:lnTo>
                    <a:lnTo>
                      <a:pt x="61" y="61"/>
                    </a:lnTo>
                    <a:lnTo>
                      <a:pt x="56" y="65"/>
                    </a:lnTo>
                    <a:lnTo>
                      <a:pt x="50" y="68"/>
                    </a:lnTo>
                    <a:lnTo>
                      <a:pt x="43" y="70"/>
                    </a:lnTo>
                    <a:lnTo>
                      <a:pt x="36" y="71"/>
                    </a:lnTo>
                    <a:close/>
                    <a:moveTo>
                      <a:pt x="36" y="27"/>
                    </a:moveTo>
                    <a:lnTo>
                      <a:pt x="36" y="27"/>
                    </a:lnTo>
                    <a:lnTo>
                      <a:pt x="33" y="28"/>
                    </a:lnTo>
                    <a:lnTo>
                      <a:pt x="30" y="29"/>
                    </a:lnTo>
                    <a:lnTo>
                      <a:pt x="29" y="33"/>
                    </a:lnTo>
                    <a:lnTo>
                      <a:pt x="27" y="36"/>
                    </a:lnTo>
                    <a:lnTo>
                      <a:pt x="29" y="39"/>
                    </a:lnTo>
                    <a:lnTo>
                      <a:pt x="30" y="41"/>
                    </a:lnTo>
                    <a:lnTo>
                      <a:pt x="33" y="43"/>
                    </a:lnTo>
                    <a:lnTo>
                      <a:pt x="36" y="45"/>
                    </a:lnTo>
                    <a:lnTo>
                      <a:pt x="39" y="43"/>
                    </a:lnTo>
                    <a:lnTo>
                      <a:pt x="42" y="41"/>
                    </a:lnTo>
                    <a:lnTo>
                      <a:pt x="44" y="39"/>
                    </a:lnTo>
                    <a:lnTo>
                      <a:pt x="45" y="36"/>
                    </a:lnTo>
                    <a:lnTo>
                      <a:pt x="44" y="33"/>
                    </a:lnTo>
                    <a:lnTo>
                      <a:pt x="42" y="29"/>
                    </a:lnTo>
                    <a:lnTo>
                      <a:pt x="39" y="28"/>
                    </a:lnTo>
                    <a:lnTo>
                      <a:pt x="3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73"/>
              <p:cNvSpPr>
                <a:spLocks noEditPoints="1"/>
              </p:cNvSpPr>
              <p:nvPr userDrawn="1"/>
            </p:nvSpPr>
            <p:spPr bwMode="auto">
              <a:xfrm>
                <a:off x="2527" y="3082"/>
                <a:ext cx="22" cy="21"/>
              </a:xfrm>
              <a:custGeom>
                <a:avLst/>
                <a:gdLst>
                  <a:gd name="T0" fmla="*/ 33 w 64"/>
                  <a:gd name="T1" fmla="*/ 63 h 63"/>
                  <a:gd name="T2" fmla="*/ 26 w 64"/>
                  <a:gd name="T3" fmla="*/ 63 h 63"/>
                  <a:gd name="T4" fmla="*/ 20 w 64"/>
                  <a:gd name="T5" fmla="*/ 61 h 63"/>
                  <a:gd name="T6" fmla="*/ 14 w 64"/>
                  <a:gd name="T7" fmla="*/ 58 h 63"/>
                  <a:gd name="T8" fmla="*/ 10 w 64"/>
                  <a:gd name="T9" fmla="*/ 55 h 63"/>
                  <a:gd name="T10" fmla="*/ 6 w 64"/>
                  <a:gd name="T11" fmla="*/ 49 h 63"/>
                  <a:gd name="T12" fmla="*/ 3 w 64"/>
                  <a:gd name="T13" fmla="*/ 44 h 63"/>
                  <a:gd name="T14" fmla="*/ 2 w 64"/>
                  <a:gd name="T15" fmla="*/ 38 h 63"/>
                  <a:gd name="T16" fmla="*/ 0 w 64"/>
                  <a:gd name="T17" fmla="*/ 32 h 63"/>
                  <a:gd name="T18" fmla="*/ 2 w 64"/>
                  <a:gd name="T19" fmla="*/ 26 h 63"/>
                  <a:gd name="T20" fmla="*/ 3 w 64"/>
                  <a:gd name="T21" fmla="*/ 19 h 63"/>
                  <a:gd name="T22" fmla="*/ 6 w 64"/>
                  <a:gd name="T23" fmla="*/ 14 h 63"/>
                  <a:gd name="T24" fmla="*/ 10 w 64"/>
                  <a:gd name="T25" fmla="*/ 9 h 63"/>
                  <a:gd name="T26" fmla="*/ 14 w 64"/>
                  <a:gd name="T27" fmla="*/ 5 h 63"/>
                  <a:gd name="T28" fmla="*/ 20 w 64"/>
                  <a:gd name="T29" fmla="*/ 2 h 63"/>
                  <a:gd name="T30" fmla="*/ 26 w 64"/>
                  <a:gd name="T31" fmla="*/ 1 h 63"/>
                  <a:gd name="T32" fmla="*/ 33 w 64"/>
                  <a:gd name="T33" fmla="*/ 0 h 63"/>
                  <a:gd name="T34" fmla="*/ 39 w 64"/>
                  <a:gd name="T35" fmla="*/ 1 h 63"/>
                  <a:gd name="T36" fmla="*/ 45 w 64"/>
                  <a:gd name="T37" fmla="*/ 2 h 63"/>
                  <a:gd name="T38" fmla="*/ 50 w 64"/>
                  <a:gd name="T39" fmla="*/ 5 h 63"/>
                  <a:gd name="T40" fmla="*/ 56 w 64"/>
                  <a:gd name="T41" fmla="*/ 9 h 63"/>
                  <a:gd name="T42" fmla="*/ 59 w 64"/>
                  <a:gd name="T43" fmla="*/ 14 h 63"/>
                  <a:gd name="T44" fmla="*/ 62 w 64"/>
                  <a:gd name="T45" fmla="*/ 19 h 63"/>
                  <a:gd name="T46" fmla="*/ 64 w 64"/>
                  <a:gd name="T47" fmla="*/ 26 h 63"/>
                  <a:gd name="T48" fmla="*/ 64 w 64"/>
                  <a:gd name="T49" fmla="*/ 32 h 63"/>
                  <a:gd name="T50" fmla="*/ 64 w 64"/>
                  <a:gd name="T51" fmla="*/ 38 h 63"/>
                  <a:gd name="T52" fmla="*/ 62 w 64"/>
                  <a:gd name="T53" fmla="*/ 44 h 63"/>
                  <a:gd name="T54" fmla="*/ 59 w 64"/>
                  <a:gd name="T55" fmla="*/ 49 h 63"/>
                  <a:gd name="T56" fmla="*/ 56 w 64"/>
                  <a:gd name="T57" fmla="*/ 55 h 63"/>
                  <a:gd name="T58" fmla="*/ 50 w 64"/>
                  <a:gd name="T59" fmla="*/ 58 h 63"/>
                  <a:gd name="T60" fmla="*/ 45 w 64"/>
                  <a:gd name="T61" fmla="*/ 61 h 63"/>
                  <a:gd name="T62" fmla="*/ 39 w 64"/>
                  <a:gd name="T63" fmla="*/ 63 h 63"/>
                  <a:gd name="T64" fmla="*/ 33 w 64"/>
                  <a:gd name="T65" fmla="*/ 63 h 63"/>
                  <a:gd name="T66" fmla="*/ 33 w 64"/>
                  <a:gd name="T67" fmla="*/ 27 h 63"/>
                  <a:gd name="T68" fmla="*/ 33 w 64"/>
                  <a:gd name="T69" fmla="*/ 27 h 63"/>
                  <a:gd name="T70" fmla="*/ 31 w 64"/>
                  <a:gd name="T71" fmla="*/ 27 h 63"/>
                  <a:gd name="T72" fmla="*/ 29 w 64"/>
                  <a:gd name="T73" fmla="*/ 28 h 63"/>
                  <a:gd name="T74" fmla="*/ 27 w 64"/>
                  <a:gd name="T75" fmla="*/ 30 h 63"/>
                  <a:gd name="T76" fmla="*/ 27 w 64"/>
                  <a:gd name="T77" fmla="*/ 32 h 63"/>
                  <a:gd name="T78" fmla="*/ 27 w 64"/>
                  <a:gd name="T79" fmla="*/ 33 h 63"/>
                  <a:gd name="T80" fmla="*/ 29 w 64"/>
                  <a:gd name="T81" fmla="*/ 35 h 63"/>
                  <a:gd name="T82" fmla="*/ 31 w 64"/>
                  <a:gd name="T83" fmla="*/ 35 h 63"/>
                  <a:gd name="T84" fmla="*/ 33 w 64"/>
                  <a:gd name="T85" fmla="*/ 36 h 63"/>
                  <a:gd name="T86" fmla="*/ 34 w 64"/>
                  <a:gd name="T87" fmla="*/ 35 h 63"/>
                  <a:gd name="T88" fmla="*/ 36 w 64"/>
                  <a:gd name="T89" fmla="*/ 35 h 63"/>
                  <a:gd name="T90" fmla="*/ 37 w 64"/>
                  <a:gd name="T91" fmla="*/ 33 h 63"/>
                  <a:gd name="T92" fmla="*/ 37 w 64"/>
                  <a:gd name="T93" fmla="*/ 32 h 63"/>
                  <a:gd name="T94" fmla="*/ 37 w 64"/>
                  <a:gd name="T95" fmla="*/ 30 h 63"/>
                  <a:gd name="T96" fmla="*/ 36 w 64"/>
                  <a:gd name="T97" fmla="*/ 28 h 63"/>
                  <a:gd name="T98" fmla="*/ 35 w 64"/>
                  <a:gd name="T99" fmla="*/ 27 h 63"/>
                  <a:gd name="T100" fmla="*/ 33 w 64"/>
                  <a:gd name="T101"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 h="63">
                    <a:moveTo>
                      <a:pt x="33" y="63"/>
                    </a:moveTo>
                    <a:lnTo>
                      <a:pt x="26" y="63"/>
                    </a:lnTo>
                    <a:lnTo>
                      <a:pt x="20" y="61"/>
                    </a:lnTo>
                    <a:lnTo>
                      <a:pt x="14" y="58"/>
                    </a:lnTo>
                    <a:lnTo>
                      <a:pt x="10" y="55"/>
                    </a:lnTo>
                    <a:lnTo>
                      <a:pt x="6" y="49"/>
                    </a:lnTo>
                    <a:lnTo>
                      <a:pt x="3" y="44"/>
                    </a:lnTo>
                    <a:lnTo>
                      <a:pt x="2" y="38"/>
                    </a:lnTo>
                    <a:lnTo>
                      <a:pt x="0" y="32"/>
                    </a:lnTo>
                    <a:lnTo>
                      <a:pt x="2" y="26"/>
                    </a:lnTo>
                    <a:lnTo>
                      <a:pt x="3" y="19"/>
                    </a:lnTo>
                    <a:lnTo>
                      <a:pt x="6" y="14"/>
                    </a:lnTo>
                    <a:lnTo>
                      <a:pt x="10" y="9"/>
                    </a:lnTo>
                    <a:lnTo>
                      <a:pt x="14" y="5"/>
                    </a:lnTo>
                    <a:lnTo>
                      <a:pt x="20" y="2"/>
                    </a:lnTo>
                    <a:lnTo>
                      <a:pt x="26" y="1"/>
                    </a:lnTo>
                    <a:lnTo>
                      <a:pt x="33" y="0"/>
                    </a:lnTo>
                    <a:lnTo>
                      <a:pt x="39" y="1"/>
                    </a:lnTo>
                    <a:lnTo>
                      <a:pt x="45" y="2"/>
                    </a:lnTo>
                    <a:lnTo>
                      <a:pt x="50" y="5"/>
                    </a:lnTo>
                    <a:lnTo>
                      <a:pt x="56" y="9"/>
                    </a:lnTo>
                    <a:lnTo>
                      <a:pt x="59" y="14"/>
                    </a:lnTo>
                    <a:lnTo>
                      <a:pt x="62" y="19"/>
                    </a:lnTo>
                    <a:lnTo>
                      <a:pt x="64" y="26"/>
                    </a:lnTo>
                    <a:lnTo>
                      <a:pt x="64" y="32"/>
                    </a:lnTo>
                    <a:lnTo>
                      <a:pt x="64" y="38"/>
                    </a:lnTo>
                    <a:lnTo>
                      <a:pt x="62" y="44"/>
                    </a:lnTo>
                    <a:lnTo>
                      <a:pt x="59" y="49"/>
                    </a:lnTo>
                    <a:lnTo>
                      <a:pt x="56" y="55"/>
                    </a:lnTo>
                    <a:lnTo>
                      <a:pt x="50" y="58"/>
                    </a:lnTo>
                    <a:lnTo>
                      <a:pt x="45" y="61"/>
                    </a:lnTo>
                    <a:lnTo>
                      <a:pt x="39" y="63"/>
                    </a:lnTo>
                    <a:lnTo>
                      <a:pt x="33" y="63"/>
                    </a:lnTo>
                    <a:close/>
                    <a:moveTo>
                      <a:pt x="33" y="27"/>
                    </a:moveTo>
                    <a:lnTo>
                      <a:pt x="33" y="27"/>
                    </a:lnTo>
                    <a:lnTo>
                      <a:pt x="31" y="27"/>
                    </a:lnTo>
                    <a:lnTo>
                      <a:pt x="29" y="28"/>
                    </a:lnTo>
                    <a:lnTo>
                      <a:pt x="27" y="30"/>
                    </a:lnTo>
                    <a:lnTo>
                      <a:pt x="27" y="32"/>
                    </a:lnTo>
                    <a:lnTo>
                      <a:pt x="27" y="33"/>
                    </a:lnTo>
                    <a:lnTo>
                      <a:pt x="29" y="35"/>
                    </a:lnTo>
                    <a:lnTo>
                      <a:pt x="31" y="35"/>
                    </a:lnTo>
                    <a:lnTo>
                      <a:pt x="33" y="36"/>
                    </a:lnTo>
                    <a:lnTo>
                      <a:pt x="34" y="35"/>
                    </a:lnTo>
                    <a:lnTo>
                      <a:pt x="36" y="35"/>
                    </a:lnTo>
                    <a:lnTo>
                      <a:pt x="37" y="33"/>
                    </a:lnTo>
                    <a:lnTo>
                      <a:pt x="37" y="32"/>
                    </a:lnTo>
                    <a:lnTo>
                      <a:pt x="37" y="30"/>
                    </a:lnTo>
                    <a:lnTo>
                      <a:pt x="36" y="28"/>
                    </a:lnTo>
                    <a:lnTo>
                      <a:pt x="35" y="27"/>
                    </a:lnTo>
                    <a:lnTo>
                      <a:pt x="3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74"/>
              <p:cNvSpPr>
                <a:spLocks noEditPoints="1"/>
              </p:cNvSpPr>
              <p:nvPr userDrawn="1"/>
            </p:nvSpPr>
            <p:spPr bwMode="auto">
              <a:xfrm>
                <a:off x="2557" y="3074"/>
                <a:ext cx="24" cy="25"/>
              </a:xfrm>
              <a:custGeom>
                <a:avLst/>
                <a:gdLst>
                  <a:gd name="T0" fmla="*/ 37 w 73"/>
                  <a:gd name="T1" fmla="*/ 74 h 74"/>
                  <a:gd name="T2" fmla="*/ 30 w 73"/>
                  <a:gd name="T3" fmla="*/ 73 h 74"/>
                  <a:gd name="T4" fmla="*/ 25 w 73"/>
                  <a:gd name="T5" fmla="*/ 72 h 74"/>
                  <a:gd name="T6" fmla="*/ 19 w 73"/>
                  <a:gd name="T7" fmla="*/ 70 h 74"/>
                  <a:gd name="T8" fmla="*/ 15 w 73"/>
                  <a:gd name="T9" fmla="*/ 67 h 74"/>
                  <a:gd name="T10" fmla="*/ 11 w 73"/>
                  <a:gd name="T11" fmla="*/ 64 h 74"/>
                  <a:gd name="T12" fmla="*/ 6 w 73"/>
                  <a:gd name="T13" fmla="*/ 59 h 74"/>
                  <a:gd name="T14" fmla="*/ 3 w 73"/>
                  <a:gd name="T15" fmla="*/ 54 h 74"/>
                  <a:gd name="T16" fmla="*/ 1 w 73"/>
                  <a:gd name="T17" fmla="*/ 48 h 74"/>
                  <a:gd name="T18" fmla="*/ 0 w 73"/>
                  <a:gd name="T19" fmla="*/ 42 h 74"/>
                  <a:gd name="T20" fmla="*/ 0 w 73"/>
                  <a:gd name="T21" fmla="*/ 34 h 74"/>
                  <a:gd name="T22" fmla="*/ 1 w 73"/>
                  <a:gd name="T23" fmla="*/ 27 h 74"/>
                  <a:gd name="T24" fmla="*/ 3 w 73"/>
                  <a:gd name="T25" fmla="*/ 20 h 74"/>
                  <a:gd name="T26" fmla="*/ 8 w 73"/>
                  <a:gd name="T27" fmla="*/ 14 h 74"/>
                  <a:gd name="T28" fmla="*/ 13 w 73"/>
                  <a:gd name="T29" fmla="*/ 10 h 74"/>
                  <a:gd name="T30" fmla="*/ 18 w 73"/>
                  <a:gd name="T31" fmla="*/ 5 h 74"/>
                  <a:gd name="T32" fmla="*/ 25 w 73"/>
                  <a:gd name="T33" fmla="*/ 2 h 74"/>
                  <a:gd name="T34" fmla="*/ 32 w 73"/>
                  <a:gd name="T35" fmla="*/ 1 h 74"/>
                  <a:gd name="T36" fmla="*/ 40 w 73"/>
                  <a:gd name="T37" fmla="*/ 0 h 74"/>
                  <a:gd name="T38" fmla="*/ 46 w 73"/>
                  <a:gd name="T39" fmla="*/ 2 h 74"/>
                  <a:gd name="T40" fmla="*/ 53 w 73"/>
                  <a:gd name="T41" fmla="*/ 4 h 74"/>
                  <a:gd name="T42" fmla="*/ 59 w 73"/>
                  <a:gd name="T43" fmla="*/ 8 h 74"/>
                  <a:gd name="T44" fmla="*/ 65 w 73"/>
                  <a:gd name="T45" fmla="*/ 13 h 74"/>
                  <a:gd name="T46" fmla="*/ 69 w 73"/>
                  <a:gd name="T47" fmla="*/ 19 h 74"/>
                  <a:gd name="T48" fmla="*/ 72 w 73"/>
                  <a:gd name="T49" fmla="*/ 26 h 74"/>
                  <a:gd name="T50" fmla="*/ 73 w 73"/>
                  <a:gd name="T51" fmla="*/ 32 h 74"/>
                  <a:gd name="T52" fmla="*/ 73 w 73"/>
                  <a:gd name="T53" fmla="*/ 40 h 74"/>
                  <a:gd name="T54" fmla="*/ 72 w 73"/>
                  <a:gd name="T55" fmla="*/ 47 h 74"/>
                  <a:gd name="T56" fmla="*/ 70 w 73"/>
                  <a:gd name="T57" fmla="*/ 54 h 74"/>
                  <a:gd name="T58" fmla="*/ 66 w 73"/>
                  <a:gd name="T59" fmla="*/ 60 h 74"/>
                  <a:gd name="T60" fmla="*/ 60 w 73"/>
                  <a:gd name="T61" fmla="*/ 66 h 74"/>
                  <a:gd name="T62" fmla="*/ 55 w 73"/>
                  <a:gd name="T63" fmla="*/ 69 h 74"/>
                  <a:gd name="T64" fmla="*/ 49 w 73"/>
                  <a:gd name="T65" fmla="*/ 72 h 74"/>
                  <a:gd name="T66" fmla="*/ 42 w 73"/>
                  <a:gd name="T67" fmla="*/ 73 h 74"/>
                  <a:gd name="T68" fmla="*/ 37 w 73"/>
                  <a:gd name="T69" fmla="*/ 74 h 74"/>
                  <a:gd name="T70" fmla="*/ 37 w 73"/>
                  <a:gd name="T71" fmla="*/ 27 h 74"/>
                  <a:gd name="T72" fmla="*/ 37 w 73"/>
                  <a:gd name="T73" fmla="*/ 27 h 74"/>
                  <a:gd name="T74" fmla="*/ 35 w 73"/>
                  <a:gd name="T75" fmla="*/ 27 h 74"/>
                  <a:gd name="T76" fmla="*/ 33 w 73"/>
                  <a:gd name="T77" fmla="*/ 28 h 74"/>
                  <a:gd name="T78" fmla="*/ 30 w 73"/>
                  <a:gd name="T79" fmla="*/ 30 h 74"/>
                  <a:gd name="T80" fmla="*/ 28 w 73"/>
                  <a:gd name="T81" fmla="*/ 32 h 74"/>
                  <a:gd name="T82" fmla="*/ 27 w 73"/>
                  <a:gd name="T83" fmla="*/ 37 h 74"/>
                  <a:gd name="T84" fmla="*/ 27 w 73"/>
                  <a:gd name="T85" fmla="*/ 40 h 74"/>
                  <a:gd name="T86" fmla="*/ 29 w 73"/>
                  <a:gd name="T87" fmla="*/ 44 h 74"/>
                  <a:gd name="T88" fmla="*/ 32 w 73"/>
                  <a:gd name="T89" fmla="*/ 46 h 74"/>
                  <a:gd name="T90" fmla="*/ 36 w 73"/>
                  <a:gd name="T91" fmla="*/ 47 h 74"/>
                  <a:gd name="T92" fmla="*/ 40 w 73"/>
                  <a:gd name="T93" fmla="*/ 46 h 74"/>
                  <a:gd name="T94" fmla="*/ 43 w 73"/>
                  <a:gd name="T95" fmla="*/ 45 h 74"/>
                  <a:gd name="T96" fmla="*/ 45 w 73"/>
                  <a:gd name="T97" fmla="*/ 42 h 74"/>
                  <a:gd name="T98" fmla="*/ 46 w 73"/>
                  <a:gd name="T99" fmla="*/ 38 h 74"/>
                  <a:gd name="T100" fmla="*/ 46 w 73"/>
                  <a:gd name="T101" fmla="*/ 34 h 74"/>
                  <a:gd name="T102" fmla="*/ 44 w 73"/>
                  <a:gd name="T103" fmla="*/ 31 h 74"/>
                  <a:gd name="T104" fmla="*/ 42 w 73"/>
                  <a:gd name="T105" fmla="*/ 29 h 74"/>
                  <a:gd name="T106" fmla="*/ 40 w 73"/>
                  <a:gd name="T107" fmla="*/ 28 h 74"/>
                  <a:gd name="T108" fmla="*/ 37 w 73"/>
                  <a:gd name="T109" fmla="*/ 2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3" h="74">
                    <a:moveTo>
                      <a:pt x="37" y="74"/>
                    </a:moveTo>
                    <a:lnTo>
                      <a:pt x="30" y="73"/>
                    </a:lnTo>
                    <a:lnTo>
                      <a:pt x="25" y="72"/>
                    </a:lnTo>
                    <a:lnTo>
                      <a:pt x="19" y="70"/>
                    </a:lnTo>
                    <a:lnTo>
                      <a:pt x="15" y="67"/>
                    </a:lnTo>
                    <a:lnTo>
                      <a:pt x="11" y="64"/>
                    </a:lnTo>
                    <a:lnTo>
                      <a:pt x="6" y="59"/>
                    </a:lnTo>
                    <a:lnTo>
                      <a:pt x="3" y="54"/>
                    </a:lnTo>
                    <a:lnTo>
                      <a:pt x="1" y="48"/>
                    </a:lnTo>
                    <a:lnTo>
                      <a:pt x="0" y="42"/>
                    </a:lnTo>
                    <a:lnTo>
                      <a:pt x="0" y="34"/>
                    </a:lnTo>
                    <a:lnTo>
                      <a:pt x="1" y="27"/>
                    </a:lnTo>
                    <a:lnTo>
                      <a:pt x="3" y="20"/>
                    </a:lnTo>
                    <a:lnTo>
                      <a:pt x="8" y="14"/>
                    </a:lnTo>
                    <a:lnTo>
                      <a:pt x="13" y="10"/>
                    </a:lnTo>
                    <a:lnTo>
                      <a:pt x="18" y="5"/>
                    </a:lnTo>
                    <a:lnTo>
                      <a:pt x="25" y="2"/>
                    </a:lnTo>
                    <a:lnTo>
                      <a:pt x="32" y="1"/>
                    </a:lnTo>
                    <a:lnTo>
                      <a:pt x="40" y="0"/>
                    </a:lnTo>
                    <a:lnTo>
                      <a:pt x="46" y="2"/>
                    </a:lnTo>
                    <a:lnTo>
                      <a:pt x="53" y="4"/>
                    </a:lnTo>
                    <a:lnTo>
                      <a:pt x="59" y="8"/>
                    </a:lnTo>
                    <a:lnTo>
                      <a:pt x="65" y="13"/>
                    </a:lnTo>
                    <a:lnTo>
                      <a:pt x="69" y="19"/>
                    </a:lnTo>
                    <a:lnTo>
                      <a:pt x="72" y="26"/>
                    </a:lnTo>
                    <a:lnTo>
                      <a:pt x="73" y="32"/>
                    </a:lnTo>
                    <a:lnTo>
                      <a:pt x="73" y="40"/>
                    </a:lnTo>
                    <a:lnTo>
                      <a:pt x="72" y="47"/>
                    </a:lnTo>
                    <a:lnTo>
                      <a:pt x="70" y="54"/>
                    </a:lnTo>
                    <a:lnTo>
                      <a:pt x="66" y="60"/>
                    </a:lnTo>
                    <a:lnTo>
                      <a:pt x="60" y="66"/>
                    </a:lnTo>
                    <a:lnTo>
                      <a:pt x="55" y="69"/>
                    </a:lnTo>
                    <a:lnTo>
                      <a:pt x="49" y="72"/>
                    </a:lnTo>
                    <a:lnTo>
                      <a:pt x="42" y="73"/>
                    </a:lnTo>
                    <a:lnTo>
                      <a:pt x="37" y="74"/>
                    </a:lnTo>
                    <a:close/>
                    <a:moveTo>
                      <a:pt x="37" y="27"/>
                    </a:moveTo>
                    <a:lnTo>
                      <a:pt x="37" y="27"/>
                    </a:lnTo>
                    <a:lnTo>
                      <a:pt x="35" y="27"/>
                    </a:lnTo>
                    <a:lnTo>
                      <a:pt x="33" y="28"/>
                    </a:lnTo>
                    <a:lnTo>
                      <a:pt x="30" y="30"/>
                    </a:lnTo>
                    <a:lnTo>
                      <a:pt x="28" y="32"/>
                    </a:lnTo>
                    <a:lnTo>
                      <a:pt x="27" y="37"/>
                    </a:lnTo>
                    <a:lnTo>
                      <a:pt x="27" y="40"/>
                    </a:lnTo>
                    <a:lnTo>
                      <a:pt x="29" y="44"/>
                    </a:lnTo>
                    <a:lnTo>
                      <a:pt x="32" y="46"/>
                    </a:lnTo>
                    <a:lnTo>
                      <a:pt x="36" y="47"/>
                    </a:lnTo>
                    <a:lnTo>
                      <a:pt x="40" y="46"/>
                    </a:lnTo>
                    <a:lnTo>
                      <a:pt x="43" y="45"/>
                    </a:lnTo>
                    <a:lnTo>
                      <a:pt x="45" y="42"/>
                    </a:lnTo>
                    <a:lnTo>
                      <a:pt x="46" y="38"/>
                    </a:lnTo>
                    <a:lnTo>
                      <a:pt x="46" y="34"/>
                    </a:lnTo>
                    <a:lnTo>
                      <a:pt x="44" y="31"/>
                    </a:lnTo>
                    <a:lnTo>
                      <a:pt x="42" y="29"/>
                    </a:lnTo>
                    <a:lnTo>
                      <a:pt x="40" y="28"/>
                    </a:lnTo>
                    <a:lnTo>
                      <a:pt x="3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75"/>
              <p:cNvSpPr>
                <a:spLocks noEditPoints="1"/>
              </p:cNvSpPr>
              <p:nvPr userDrawn="1"/>
            </p:nvSpPr>
            <p:spPr bwMode="auto">
              <a:xfrm>
                <a:off x="2232" y="3076"/>
                <a:ext cx="24" cy="23"/>
              </a:xfrm>
              <a:custGeom>
                <a:avLst/>
                <a:gdLst>
                  <a:gd name="T0" fmla="*/ 36 w 71"/>
                  <a:gd name="T1" fmla="*/ 70 h 70"/>
                  <a:gd name="T2" fmla="*/ 28 w 71"/>
                  <a:gd name="T3" fmla="*/ 70 h 70"/>
                  <a:gd name="T4" fmla="*/ 22 w 71"/>
                  <a:gd name="T5" fmla="*/ 68 h 70"/>
                  <a:gd name="T6" fmla="*/ 16 w 71"/>
                  <a:gd name="T7" fmla="*/ 65 h 70"/>
                  <a:gd name="T8" fmla="*/ 11 w 71"/>
                  <a:gd name="T9" fmla="*/ 61 h 70"/>
                  <a:gd name="T10" fmla="*/ 6 w 71"/>
                  <a:gd name="T11" fmla="*/ 55 h 70"/>
                  <a:gd name="T12" fmla="*/ 3 w 71"/>
                  <a:gd name="T13" fmla="*/ 49 h 70"/>
                  <a:gd name="T14" fmla="*/ 1 w 71"/>
                  <a:gd name="T15" fmla="*/ 42 h 70"/>
                  <a:gd name="T16" fmla="*/ 0 w 71"/>
                  <a:gd name="T17" fmla="*/ 36 h 70"/>
                  <a:gd name="T18" fmla="*/ 1 w 71"/>
                  <a:gd name="T19" fmla="*/ 28 h 70"/>
                  <a:gd name="T20" fmla="*/ 3 w 71"/>
                  <a:gd name="T21" fmla="*/ 22 h 70"/>
                  <a:gd name="T22" fmla="*/ 6 w 71"/>
                  <a:gd name="T23" fmla="*/ 15 h 70"/>
                  <a:gd name="T24" fmla="*/ 11 w 71"/>
                  <a:gd name="T25" fmla="*/ 11 h 70"/>
                  <a:gd name="T26" fmla="*/ 16 w 71"/>
                  <a:gd name="T27" fmla="*/ 7 h 70"/>
                  <a:gd name="T28" fmla="*/ 22 w 71"/>
                  <a:gd name="T29" fmla="*/ 3 h 70"/>
                  <a:gd name="T30" fmla="*/ 28 w 71"/>
                  <a:gd name="T31" fmla="*/ 1 h 70"/>
                  <a:gd name="T32" fmla="*/ 36 w 71"/>
                  <a:gd name="T33" fmla="*/ 0 h 70"/>
                  <a:gd name="T34" fmla="*/ 42 w 71"/>
                  <a:gd name="T35" fmla="*/ 1 h 70"/>
                  <a:gd name="T36" fmla="*/ 50 w 71"/>
                  <a:gd name="T37" fmla="*/ 3 h 70"/>
                  <a:gd name="T38" fmla="*/ 55 w 71"/>
                  <a:gd name="T39" fmla="*/ 7 h 70"/>
                  <a:gd name="T40" fmla="*/ 60 w 71"/>
                  <a:gd name="T41" fmla="*/ 11 h 70"/>
                  <a:gd name="T42" fmla="*/ 65 w 71"/>
                  <a:gd name="T43" fmla="*/ 15 h 70"/>
                  <a:gd name="T44" fmla="*/ 68 w 71"/>
                  <a:gd name="T45" fmla="*/ 22 h 70"/>
                  <a:gd name="T46" fmla="*/ 70 w 71"/>
                  <a:gd name="T47" fmla="*/ 28 h 70"/>
                  <a:gd name="T48" fmla="*/ 71 w 71"/>
                  <a:gd name="T49" fmla="*/ 36 h 70"/>
                  <a:gd name="T50" fmla="*/ 70 w 71"/>
                  <a:gd name="T51" fmla="*/ 42 h 70"/>
                  <a:gd name="T52" fmla="*/ 68 w 71"/>
                  <a:gd name="T53" fmla="*/ 49 h 70"/>
                  <a:gd name="T54" fmla="*/ 65 w 71"/>
                  <a:gd name="T55" fmla="*/ 55 h 70"/>
                  <a:gd name="T56" fmla="*/ 60 w 71"/>
                  <a:gd name="T57" fmla="*/ 61 h 70"/>
                  <a:gd name="T58" fmla="*/ 55 w 71"/>
                  <a:gd name="T59" fmla="*/ 65 h 70"/>
                  <a:gd name="T60" fmla="*/ 50 w 71"/>
                  <a:gd name="T61" fmla="*/ 68 h 70"/>
                  <a:gd name="T62" fmla="*/ 42 w 71"/>
                  <a:gd name="T63" fmla="*/ 70 h 70"/>
                  <a:gd name="T64" fmla="*/ 36 w 71"/>
                  <a:gd name="T65" fmla="*/ 70 h 70"/>
                  <a:gd name="T66" fmla="*/ 36 w 71"/>
                  <a:gd name="T67" fmla="*/ 27 h 70"/>
                  <a:gd name="T68" fmla="*/ 36 w 71"/>
                  <a:gd name="T69" fmla="*/ 27 h 70"/>
                  <a:gd name="T70" fmla="*/ 32 w 71"/>
                  <a:gd name="T71" fmla="*/ 28 h 70"/>
                  <a:gd name="T72" fmla="*/ 29 w 71"/>
                  <a:gd name="T73" fmla="*/ 29 h 70"/>
                  <a:gd name="T74" fmla="*/ 28 w 71"/>
                  <a:gd name="T75" fmla="*/ 33 h 70"/>
                  <a:gd name="T76" fmla="*/ 27 w 71"/>
                  <a:gd name="T77" fmla="*/ 36 h 70"/>
                  <a:gd name="T78" fmla="*/ 28 w 71"/>
                  <a:gd name="T79" fmla="*/ 39 h 70"/>
                  <a:gd name="T80" fmla="*/ 29 w 71"/>
                  <a:gd name="T81" fmla="*/ 41 h 70"/>
                  <a:gd name="T82" fmla="*/ 32 w 71"/>
                  <a:gd name="T83" fmla="*/ 43 h 70"/>
                  <a:gd name="T84" fmla="*/ 36 w 71"/>
                  <a:gd name="T85" fmla="*/ 43 h 70"/>
                  <a:gd name="T86" fmla="*/ 39 w 71"/>
                  <a:gd name="T87" fmla="*/ 43 h 70"/>
                  <a:gd name="T88" fmla="*/ 41 w 71"/>
                  <a:gd name="T89" fmla="*/ 41 h 70"/>
                  <a:gd name="T90" fmla="*/ 43 w 71"/>
                  <a:gd name="T91" fmla="*/ 39 h 70"/>
                  <a:gd name="T92" fmla="*/ 44 w 71"/>
                  <a:gd name="T93" fmla="*/ 36 h 70"/>
                  <a:gd name="T94" fmla="*/ 43 w 71"/>
                  <a:gd name="T95" fmla="*/ 33 h 70"/>
                  <a:gd name="T96" fmla="*/ 41 w 71"/>
                  <a:gd name="T97" fmla="*/ 29 h 70"/>
                  <a:gd name="T98" fmla="*/ 39 w 71"/>
                  <a:gd name="T99" fmla="*/ 28 h 70"/>
                  <a:gd name="T100" fmla="*/ 36 w 71"/>
                  <a:gd name="T101"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 h="70">
                    <a:moveTo>
                      <a:pt x="36" y="70"/>
                    </a:moveTo>
                    <a:lnTo>
                      <a:pt x="28" y="70"/>
                    </a:lnTo>
                    <a:lnTo>
                      <a:pt x="22" y="68"/>
                    </a:lnTo>
                    <a:lnTo>
                      <a:pt x="16" y="65"/>
                    </a:lnTo>
                    <a:lnTo>
                      <a:pt x="11" y="61"/>
                    </a:lnTo>
                    <a:lnTo>
                      <a:pt x="6" y="55"/>
                    </a:lnTo>
                    <a:lnTo>
                      <a:pt x="3" y="49"/>
                    </a:lnTo>
                    <a:lnTo>
                      <a:pt x="1" y="42"/>
                    </a:lnTo>
                    <a:lnTo>
                      <a:pt x="0" y="36"/>
                    </a:lnTo>
                    <a:lnTo>
                      <a:pt x="1" y="28"/>
                    </a:lnTo>
                    <a:lnTo>
                      <a:pt x="3" y="22"/>
                    </a:lnTo>
                    <a:lnTo>
                      <a:pt x="6" y="15"/>
                    </a:lnTo>
                    <a:lnTo>
                      <a:pt x="11" y="11"/>
                    </a:lnTo>
                    <a:lnTo>
                      <a:pt x="16" y="7"/>
                    </a:lnTo>
                    <a:lnTo>
                      <a:pt x="22" y="3"/>
                    </a:lnTo>
                    <a:lnTo>
                      <a:pt x="28" y="1"/>
                    </a:lnTo>
                    <a:lnTo>
                      <a:pt x="36" y="0"/>
                    </a:lnTo>
                    <a:lnTo>
                      <a:pt x="42" y="1"/>
                    </a:lnTo>
                    <a:lnTo>
                      <a:pt x="50" y="3"/>
                    </a:lnTo>
                    <a:lnTo>
                      <a:pt x="55" y="7"/>
                    </a:lnTo>
                    <a:lnTo>
                      <a:pt x="60" y="11"/>
                    </a:lnTo>
                    <a:lnTo>
                      <a:pt x="65" y="15"/>
                    </a:lnTo>
                    <a:lnTo>
                      <a:pt x="68" y="22"/>
                    </a:lnTo>
                    <a:lnTo>
                      <a:pt x="70" y="28"/>
                    </a:lnTo>
                    <a:lnTo>
                      <a:pt x="71" y="36"/>
                    </a:lnTo>
                    <a:lnTo>
                      <a:pt x="70" y="42"/>
                    </a:lnTo>
                    <a:lnTo>
                      <a:pt x="68" y="49"/>
                    </a:lnTo>
                    <a:lnTo>
                      <a:pt x="65" y="55"/>
                    </a:lnTo>
                    <a:lnTo>
                      <a:pt x="60" y="61"/>
                    </a:lnTo>
                    <a:lnTo>
                      <a:pt x="55" y="65"/>
                    </a:lnTo>
                    <a:lnTo>
                      <a:pt x="50" y="68"/>
                    </a:lnTo>
                    <a:lnTo>
                      <a:pt x="42" y="70"/>
                    </a:lnTo>
                    <a:lnTo>
                      <a:pt x="36" y="70"/>
                    </a:lnTo>
                    <a:close/>
                    <a:moveTo>
                      <a:pt x="36" y="27"/>
                    </a:moveTo>
                    <a:lnTo>
                      <a:pt x="36" y="27"/>
                    </a:lnTo>
                    <a:lnTo>
                      <a:pt x="32" y="28"/>
                    </a:lnTo>
                    <a:lnTo>
                      <a:pt x="29" y="29"/>
                    </a:lnTo>
                    <a:lnTo>
                      <a:pt x="28" y="33"/>
                    </a:lnTo>
                    <a:lnTo>
                      <a:pt x="27" y="36"/>
                    </a:lnTo>
                    <a:lnTo>
                      <a:pt x="28" y="39"/>
                    </a:lnTo>
                    <a:lnTo>
                      <a:pt x="29" y="41"/>
                    </a:lnTo>
                    <a:lnTo>
                      <a:pt x="32" y="43"/>
                    </a:lnTo>
                    <a:lnTo>
                      <a:pt x="36" y="43"/>
                    </a:lnTo>
                    <a:lnTo>
                      <a:pt x="39" y="43"/>
                    </a:lnTo>
                    <a:lnTo>
                      <a:pt x="41" y="41"/>
                    </a:lnTo>
                    <a:lnTo>
                      <a:pt x="43" y="39"/>
                    </a:lnTo>
                    <a:lnTo>
                      <a:pt x="44" y="36"/>
                    </a:lnTo>
                    <a:lnTo>
                      <a:pt x="43" y="33"/>
                    </a:lnTo>
                    <a:lnTo>
                      <a:pt x="41" y="29"/>
                    </a:lnTo>
                    <a:lnTo>
                      <a:pt x="39" y="28"/>
                    </a:lnTo>
                    <a:lnTo>
                      <a:pt x="36"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76"/>
              <p:cNvSpPr>
                <a:spLocks noEditPoints="1"/>
              </p:cNvSpPr>
              <p:nvPr userDrawn="1"/>
            </p:nvSpPr>
            <p:spPr bwMode="auto">
              <a:xfrm>
                <a:off x="2171" y="3061"/>
                <a:ext cx="25" cy="26"/>
              </a:xfrm>
              <a:custGeom>
                <a:avLst/>
                <a:gdLst>
                  <a:gd name="T0" fmla="*/ 39 w 77"/>
                  <a:gd name="T1" fmla="*/ 77 h 77"/>
                  <a:gd name="T2" fmla="*/ 32 w 77"/>
                  <a:gd name="T3" fmla="*/ 76 h 77"/>
                  <a:gd name="T4" fmla="*/ 24 w 77"/>
                  <a:gd name="T5" fmla="*/ 73 h 77"/>
                  <a:gd name="T6" fmla="*/ 18 w 77"/>
                  <a:gd name="T7" fmla="*/ 70 h 77"/>
                  <a:gd name="T8" fmla="*/ 12 w 77"/>
                  <a:gd name="T9" fmla="*/ 66 h 77"/>
                  <a:gd name="T10" fmla="*/ 7 w 77"/>
                  <a:gd name="T11" fmla="*/ 60 h 77"/>
                  <a:gd name="T12" fmla="*/ 4 w 77"/>
                  <a:gd name="T13" fmla="*/ 54 h 77"/>
                  <a:gd name="T14" fmla="*/ 1 w 77"/>
                  <a:gd name="T15" fmla="*/ 46 h 77"/>
                  <a:gd name="T16" fmla="*/ 0 w 77"/>
                  <a:gd name="T17" fmla="*/ 39 h 77"/>
                  <a:gd name="T18" fmla="*/ 1 w 77"/>
                  <a:gd name="T19" fmla="*/ 31 h 77"/>
                  <a:gd name="T20" fmla="*/ 4 w 77"/>
                  <a:gd name="T21" fmla="*/ 24 h 77"/>
                  <a:gd name="T22" fmla="*/ 7 w 77"/>
                  <a:gd name="T23" fmla="*/ 17 h 77"/>
                  <a:gd name="T24" fmla="*/ 12 w 77"/>
                  <a:gd name="T25" fmla="*/ 12 h 77"/>
                  <a:gd name="T26" fmla="*/ 18 w 77"/>
                  <a:gd name="T27" fmla="*/ 8 h 77"/>
                  <a:gd name="T28" fmla="*/ 24 w 77"/>
                  <a:gd name="T29" fmla="*/ 3 h 77"/>
                  <a:gd name="T30" fmla="*/ 32 w 77"/>
                  <a:gd name="T31" fmla="*/ 1 h 77"/>
                  <a:gd name="T32" fmla="*/ 39 w 77"/>
                  <a:gd name="T33" fmla="*/ 0 h 77"/>
                  <a:gd name="T34" fmla="*/ 47 w 77"/>
                  <a:gd name="T35" fmla="*/ 1 h 77"/>
                  <a:gd name="T36" fmla="*/ 54 w 77"/>
                  <a:gd name="T37" fmla="*/ 3 h 77"/>
                  <a:gd name="T38" fmla="*/ 61 w 77"/>
                  <a:gd name="T39" fmla="*/ 8 h 77"/>
                  <a:gd name="T40" fmla="*/ 66 w 77"/>
                  <a:gd name="T41" fmla="*/ 12 h 77"/>
                  <a:gd name="T42" fmla="*/ 71 w 77"/>
                  <a:gd name="T43" fmla="*/ 17 h 77"/>
                  <a:gd name="T44" fmla="*/ 74 w 77"/>
                  <a:gd name="T45" fmla="*/ 24 h 77"/>
                  <a:gd name="T46" fmla="*/ 76 w 77"/>
                  <a:gd name="T47" fmla="*/ 31 h 77"/>
                  <a:gd name="T48" fmla="*/ 77 w 77"/>
                  <a:gd name="T49" fmla="*/ 39 h 77"/>
                  <a:gd name="T50" fmla="*/ 76 w 77"/>
                  <a:gd name="T51" fmla="*/ 46 h 77"/>
                  <a:gd name="T52" fmla="*/ 74 w 77"/>
                  <a:gd name="T53" fmla="*/ 54 h 77"/>
                  <a:gd name="T54" fmla="*/ 71 w 77"/>
                  <a:gd name="T55" fmla="*/ 60 h 77"/>
                  <a:gd name="T56" fmla="*/ 66 w 77"/>
                  <a:gd name="T57" fmla="*/ 66 h 77"/>
                  <a:gd name="T58" fmla="*/ 61 w 77"/>
                  <a:gd name="T59" fmla="*/ 70 h 77"/>
                  <a:gd name="T60" fmla="*/ 54 w 77"/>
                  <a:gd name="T61" fmla="*/ 73 h 77"/>
                  <a:gd name="T62" fmla="*/ 47 w 77"/>
                  <a:gd name="T63" fmla="*/ 76 h 77"/>
                  <a:gd name="T64" fmla="*/ 39 w 77"/>
                  <a:gd name="T65" fmla="*/ 77 h 77"/>
                  <a:gd name="T66" fmla="*/ 39 w 77"/>
                  <a:gd name="T67" fmla="*/ 27 h 77"/>
                  <a:gd name="T68" fmla="*/ 39 w 77"/>
                  <a:gd name="T69" fmla="*/ 27 h 77"/>
                  <a:gd name="T70" fmla="*/ 35 w 77"/>
                  <a:gd name="T71" fmla="*/ 28 h 77"/>
                  <a:gd name="T72" fmla="*/ 31 w 77"/>
                  <a:gd name="T73" fmla="*/ 31 h 77"/>
                  <a:gd name="T74" fmla="*/ 28 w 77"/>
                  <a:gd name="T75" fmla="*/ 35 h 77"/>
                  <a:gd name="T76" fmla="*/ 27 w 77"/>
                  <a:gd name="T77" fmla="*/ 39 h 77"/>
                  <a:gd name="T78" fmla="*/ 28 w 77"/>
                  <a:gd name="T79" fmla="*/ 43 h 77"/>
                  <a:gd name="T80" fmla="*/ 31 w 77"/>
                  <a:gd name="T81" fmla="*/ 46 h 77"/>
                  <a:gd name="T82" fmla="*/ 35 w 77"/>
                  <a:gd name="T83" fmla="*/ 49 h 77"/>
                  <a:gd name="T84" fmla="*/ 39 w 77"/>
                  <a:gd name="T85" fmla="*/ 50 h 77"/>
                  <a:gd name="T86" fmla="*/ 44 w 77"/>
                  <a:gd name="T87" fmla="*/ 49 h 77"/>
                  <a:gd name="T88" fmla="*/ 47 w 77"/>
                  <a:gd name="T89" fmla="*/ 46 h 77"/>
                  <a:gd name="T90" fmla="*/ 49 w 77"/>
                  <a:gd name="T91" fmla="*/ 43 h 77"/>
                  <a:gd name="T92" fmla="*/ 50 w 77"/>
                  <a:gd name="T93" fmla="*/ 39 h 77"/>
                  <a:gd name="T94" fmla="*/ 49 w 77"/>
                  <a:gd name="T95" fmla="*/ 35 h 77"/>
                  <a:gd name="T96" fmla="*/ 47 w 77"/>
                  <a:gd name="T97" fmla="*/ 31 h 77"/>
                  <a:gd name="T98" fmla="*/ 44 w 77"/>
                  <a:gd name="T99" fmla="*/ 28 h 77"/>
                  <a:gd name="T100" fmla="*/ 39 w 77"/>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77">
                    <a:moveTo>
                      <a:pt x="39" y="77"/>
                    </a:moveTo>
                    <a:lnTo>
                      <a:pt x="32" y="76"/>
                    </a:lnTo>
                    <a:lnTo>
                      <a:pt x="24" y="73"/>
                    </a:lnTo>
                    <a:lnTo>
                      <a:pt x="18" y="70"/>
                    </a:lnTo>
                    <a:lnTo>
                      <a:pt x="12" y="66"/>
                    </a:lnTo>
                    <a:lnTo>
                      <a:pt x="7" y="60"/>
                    </a:lnTo>
                    <a:lnTo>
                      <a:pt x="4" y="54"/>
                    </a:lnTo>
                    <a:lnTo>
                      <a:pt x="1" y="46"/>
                    </a:lnTo>
                    <a:lnTo>
                      <a:pt x="0" y="39"/>
                    </a:lnTo>
                    <a:lnTo>
                      <a:pt x="1" y="31"/>
                    </a:lnTo>
                    <a:lnTo>
                      <a:pt x="4" y="24"/>
                    </a:lnTo>
                    <a:lnTo>
                      <a:pt x="7" y="17"/>
                    </a:lnTo>
                    <a:lnTo>
                      <a:pt x="12" y="12"/>
                    </a:lnTo>
                    <a:lnTo>
                      <a:pt x="18" y="8"/>
                    </a:lnTo>
                    <a:lnTo>
                      <a:pt x="24" y="3"/>
                    </a:lnTo>
                    <a:lnTo>
                      <a:pt x="32" y="1"/>
                    </a:lnTo>
                    <a:lnTo>
                      <a:pt x="39" y="0"/>
                    </a:lnTo>
                    <a:lnTo>
                      <a:pt x="47" y="1"/>
                    </a:lnTo>
                    <a:lnTo>
                      <a:pt x="54" y="3"/>
                    </a:lnTo>
                    <a:lnTo>
                      <a:pt x="61" y="8"/>
                    </a:lnTo>
                    <a:lnTo>
                      <a:pt x="66" y="12"/>
                    </a:lnTo>
                    <a:lnTo>
                      <a:pt x="71" y="17"/>
                    </a:lnTo>
                    <a:lnTo>
                      <a:pt x="74" y="24"/>
                    </a:lnTo>
                    <a:lnTo>
                      <a:pt x="76" y="31"/>
                    </a:lnTo>
                    <a:lnTo>
                      <a:pt x="77" y="39"/>
                    </a:lnTo>
                    <a:lnTo>
                      <a:pt x="76" y="46"/>
                    </a:lnTo>
                    <a:lnTo>
                      <a:pt x="74" y="54"/>
                    </a:lnTo>
                    <a:lnTo>
                      <a:pt x="71" y="60"/>
                    </a:lnTo>
                    <a:lnTo>
                      <a:pt x="66" y="66"/>
                    </a:lnTo>
                    <a:lnTo>
                      <a:pt x="61" y="70"/>
                    </a:lnTo>
                    <a:lnTo>
                      <a:pt x="54" y="73"/>
                    </a:lnTo>
                    <a:lnTo>
                      <a:pt x="47" y="76"/>
                    </a:lnTo>
                    <a:lnTo>
                      <a:pt x="39" y="77"/>
                    </a:lnTo>
                    <a:close/>
                    <a:moveTo>
                      <a:pt x="39" y="27"/>
                    </a:moveTo>
                    <a:lnTo>
                      <a:pt x="39" y="27"/>
                    </a:lnTo>
                    <a:lnTo>
                      <a:pt x="35" y="28"/>
                    </a:lnTo>
                    <a:lnTo>
                      <a:pt x="31" y="31"/>
                    </a:lnTo>
                    <a:lnTo>
                      <a:pt x="28" y="35"/>
                    </a:lnTo>
                    <a:lnTo>
                      <a:pt x="27" y="39"/>
                    </a:lnTo>
                    <a:lnTo>
                      <a:pt x="28" y="43"/>
                    </a:lnTo>
                    <a:lnTo>
                      <a:pt x="31" y="46"/>
                    </a:lnTo>
                    <a:lnTo>
                      <a:pt x="35" y="49"/>
                    </a:lnTo>
                    <a:lnTo>
                      <a:pt x="39" y="50"/>
                    </a:lnTo>
                    <a:lnTo>
                      <a:pt x="44" y="49"/>
                    </a:lnTo>
                    <a:lnTo>
                      <a:pt x="47" y="46"/>
                    </a:lnTo>
                    <a:lnTo>
                      <a:pt x="49" y="43"/>
                    </a:lnTo>
                    <a:lnTo>
                      <a:pt x="50" y="39"/>
                    </a:lnTo>
                    <a:lnTo>
                      <a:pt x="49" y="35"/>
                    </a:lnTo>
                    <a:lnTo>
                      <a:pt x="47" y="31"/>
                    </a:lnTo>
                    <a:lnTo>
                      <a:pt x="44" y="28"/>
                    </a:lnTo>
                    <a:lnTo>
                      <a:pt x="3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77"/>
              <p:cNvSpPr>
                <a:spLocks noEditPoints="1"/>
              </p:cNvSpPr>
              <p:nvPr userDrawn="1"/>
            </p:nvSpPr>
            <p:spPr bwMode="auto">
              <a:xfrm>
                <a:off x="2080" y="3048"/>
                <a:ext cx="34" cy="34"/>
              </a:xfrm>
              <a:custGeom>
                <a:avLst/>
                <a:gdLst>
                  <a:gd name="T0" fmla="*/ 40 w 102"/>
                  <a:gd name="T1" fmla="*/ 101 h 102"/>
                  <a:gd name="T2" fmla="*/ 23 w 102"/>
                  <a:gd name="T3" fmla="*/ 93 h 102"/>
                  <a:gd name="T4" fmla="*/ 9 w 102"/>
                  <a:gd name="T5" fmla="*/ 80 h 102"/>
                  <a:gd name="T6" fmla="*/ 1 w 102"/>
                  <a:gd name="T7" fmla="*/ 62 h 102"/>
                  <a:gd name="T8" fmla="*/ 1 w 102"/>
                  <a:gd name="T9" fmla="*/ 41 h 102"/>
                  <a:gd name="T10" fmla="*/ 9 w 102"/>
                  <a:gd name="T11" fmla="*/ 23 h 102"/>
                  <a:gd name="T12" fmla="*/ 23 w 102"/>
                  <a:gd name="T13" fmla="*/ 9 h 102"/>
                  <a:gd name="T14" fmla="*/ 40 w 102"/>
                  <a:gd name="T15" fmla="*/ 1 h 102"/>
                  <a:gd name="T16" fmla="*/ 61 w 102"/>
                  <a:gd name="T17" fmla="*/ 1 h 102"/>
                  <a:gd name="T18" fmla="*/ 79 w 102"/>
                  <a:gd name="T19" fmla="*/ 9 h 102"/>
                  <a:gd name="T20" fmla="*/ 93 w 102"/>
                  <a:gd name="T21" fmla="*/ 23 h 102"/>
                  <a:gd name="T22" fmla="*/ 101 w 102"/>
                  <a:gd name="T23" fmla="*/ 41 h 102"/>
                  <a:gd name="T24" fmla="*/ 101 w 102"/>
                  <a:gd name="T25" fmla="*/ 62 h 102"/>
                  <a:gd name="T26" fmla="*/ 93 w 102"/>
                  <a:gd name="T27" fmla="*/ 80 h 102"/>
                  <a:gd name="T28" fmla="*/ 79 w 102"/>
                  <a:gd name="T29" fmla="*/ 93 h 102"/>
                  <a:gd name="T30" fmla="*/ 61 w 102"/>
                  <a:gd name="T31" fmla="*/ 101 h 102"/>
                  <a:gd name="T32" fmla="*/ 51 w 102"/>
                  <a:gd name="T33" fmla="*/ 27 h 102"/>
                  <a:gd name="T34" fmla="*/ 46 w 102"/>
                  <a:gd name="T35" fmla="*/ 28 h 102"/>
                  <a:gd name="T36" fmla="*/ 38 w 102"/>
                  <a:gd name="T37" fmla="*/ 31 h 102"/>
                  <a:gd name="T38" fmla="*/ 32 w 102"/>
                  <a:gd name="T39" fmla="*/ 38 h 102"/>
                  <a:gd name="T40" fmla="*/ 27 w 102"/>
                  <a:gd name="T41" fmla="*/ 47 h 102"/>
                  <a:gd name="T42" fmla="*/ 27 w 102"/>
                  <a:gd name="T43" fmla="*/ 56 h 102"/>
                  <a:gd name="T44" fmla="*/ 32 w 102"/>
                  <a:gd name="T45" fmla="*/ 65 h 102"/>
                  <a:gd name="T46" fmla="*/ 38 w 102"/>
                  <a:gd name="T47" fmla="*/ 70 h 102"/>
                  <a:gd name="T48" fmla="*/ 46 w 102"/>
                  <a:gd name="T49" fmla="*/ 75 h 102"/>
                  <a:gd name="T50" fmla="*/ 55 w 102"/>
                  <a:gd name="T51" fmla="*/ 75 h 102"/>
                  <a:gd name="T52" fmla="*/ 64 w 102"/>
                  <a:gd name="T53" fmla="*/ 70 h 102"/>
                  <a:gd name="T54" fmla="*/ 71 w 102"/>
                  <a:gd name="T55" fmla="*/ 65 h 102"/>
                  <a:gd name="T56" fmla="*/ 74 w 102"/>
                  <a:gd name="T57" fmla="*/ 56 h 102"/>
                  <a:gd name="T58" fmla="*/ 74 w 102"/>
                  <a:gd name="T59" fmla="*/ 47 h 102"/>
                  <a:gd name="T60" fmla="*/ 71 w 102"/>
                  <a:gd name="T61" fmla="*/ 38 h 102"/>
                  <a:gd name="T62" fmla="*/ 64 w 102"/>
                  <a:gd name="T63" fmla="*/ 31 h 102"/>
                  <a:gd name="T64" fmla="*/ 55 w 102"/>
                  <a:gd name="T65" fmla="*/ 2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2" h="102">
                    <a:moveTo>
                      <a:pt x="51" y="102"/>
                    </a:moveTo>
                    <a:lnTo>
                      <a:pt x="40" y="101"/>
                    </a:lnTo>
                    <a:lnTo>
                      <a:pt x="32" y="98"/>
                    </a:lnTo>
                    <a:lnTo>
                      <a:pt x="23" y="93"/>
                    </a:lnTo>
                    <a:lnTo>
                      <a:pt x="15" y="86"/>
                    </a:lnTo>
                    <a:lnTo>
                      <a:pt x="9" y="80"/>
                    </a:lnTo>
                    <a:lnTo>
                      <a:pt x="5" y="71"/>
                    </a:lnTo>
                    <a:lnTo>
                      <a:pt x="1" y="62"/>
                    </a:lnTo>
                    <a:lnTo>
                      <a:pt x="0" y="51"/>
                    </a:lnTo>
                    <a:lnTo>
                      <a:pt x="1" y="41"/>
                    </a:lnTo>
                    <a:lnTo>
                      <a:pt x="5" y="31"/>
                    </a:lnTo>
                    <a:lnTo>
                      <a:pt x="9" y="23"/>
                    </a:lnTo>
                    <a:lnTo>
                      <a:pt x="15" y="15"/>
                    </a:lnTo>
                    <a:lnTo>
                      <a:pt x="23" y="9"/>
                    </a:lnTo>
                    <a:lnTo>
                      <a:pt x="32" y="4"/>
                    </a:lnTo>
                    <a:lnTo>
                      <a:pt x="40" y="1"/>
                    </a:lnTo>
                    <a:lnTo>
                      <a:pt x="51" y="0"/>
                    </a:lnTo>
                    <a:lnTo>
                      <a:pt x="61" y="1"/>
                    </a:lnTo>
                    <a:lnTo>
                      <a:pt x="71" y="4"/>
                    </a:lnTo>
                    <a:lnTo>
                      <a:pt x="79" y="9"/>
                    </a:lnTo>
                    <a:lnTo>
                      <a:pt x="87" y="15"/>
                    </a:lnTo>
                    <a:lnTo>
                      <a:pt x="93" y="23"/>
                    </a:lnTo>
                    <a:lnTo>
                      <a:pt x="97" y="31"/>
                    </a:lnTo>
                    <a:lnTo>
                      <a:pt x="101" y="41"/>
                    </a:lnTo>
                    <a:lnTo>
                      <a:pt x="102" y="51"/>
                    </a:lnTo>
                    <a:lnTo>
                      <a:pt x="101" y="62"/>
                    </a:lnTo>
                    <a:lnTo>
                      <a:pt x="97" y="71"/>
                    </a:lnTo>
                    <a:lnTo>
                      <a:pt x="93" y="80"/>
                    </a:lnTo>
                    <a:lnTo>
                      <a:pt x="87" y="86"/>
                    </a:lnTo>
                    <a:lnTo>
                      <a:pt x="79" y="93"/>
                    </a:lnTo>
                    <a:lnTo>
                      <a:pt x="71" y="98"/>
                    </a:lnTo>
                    <a:lnTo>
                      <a:pt x="61" y="101"/>
                    </a:lnTo>
                    <a:lnTo>
                      <a:pt x="51" y="102"/>
                    </a:lnTo>
                    <a:close/>
                    <a:moveTo>
                      <a:pt x="51" y="27"/>
                    </a:moveTo>
                    <a:lnTo>
                      <a:pt x="51" y="27"/>
                    </a:lnTo>
                    <a:lnTo>
                      <a:pt x="46" y="28"/>
                    </a:lnTo>
                    <a:lnTo>
                      <a:pt x="41" y="29"/>
                    </a:lnTo>
                    <a:lnTo>
                      <a:pt x="38" y="31"/>
                    </a:lnTo>
                    <a:lnTo>
                      <a:pt x="34" y="35"/>
                    </a:lnTo>
                    <a:lnTo>
                      <a:pt x="32" y="38"/>
                    </a:lnTo>
                    <a:lnTo>
                      <a:pt x="29" y="42"/>
                    </a:lnTo>
                    <a:lnTo>
                      <a:pt x="27" y="47"/>
                    </a:lnTo>
                    <a:lnTo>
                      <a:pt x="27" y="51"/>
                    </a:lnTo>
                    <a:lnTo>
                      <a:pt x="27" y="56"/>
                    </a:lnTo>
                    <a:lnTo>
                      <a:pt x="29" y="61"/>
                    </a:lnTo>
                    <a:lnTo>
                      <a:pt x="32" y="65"/>
                    </a:lnTo>
                    <a:lnTo>
                      <a:pt x="34" y="68"/>
                    </a:lnTo>
                    <a:lnTo>
                      <a:pt x="38" y="70"/>
                    </a:lnTo>
                    <a:lnTo>
                      <a:pt x="41" y="72"/>
                    </a:lnTo>
                    <a:lnTo>
                      <a:pt x="46" y="75"/>
                    </a:lnTo>
                    <a:lnTo>
                      <a:pt x="51" y="75"/>
                    </a:lnTo>
                    <a:lnTo>
                      <a:pt x="55" y="75"/>
                    </a:lnTo>
                    <a:lnTo>
                      <a:pt x="60" y="72"/>
                    </a:lnTo>
                    <a:lnTo>
                      <a:pt x="64" y="70"/>
                    </a:lnTo>
                    <a:lnTo>
                      <a:pt x="67" y="68"/>
                    </a:lnTo>
                    <a:lnTo>
                      <a:pt x="71" y="65"/>
                    </a:lnTo>
                    <a:lnTo>
                      <a:pt x="73" y="61"/>
                    </a:lnTo>
                    <a:lnTo>
                      <a:pt x="74" y="56"/>
                    </a:lnTo>
                    <a:lnTo>
                      <a:pt x="75" y="51"/>
                    </a:lnTo>
                    <a:lnTo>
                      <a:pt x="74" y="47"/>
                    </a:lnTo>
                    <a:lnTo>
                      <a:pt x="73" y="42"/>
                    </a:lnTo>
                    <a:lnTo>
                      <a:pt x="71" y="38"/>
                    </a:lnTo>
                    <a:lnTo>
                      <a:pt x="67" y="35"/>
                    </a:lnTo>
                    <a:lnTo>
                      <a:pt x="64" y="31"/>
                    </a:lnTo>
                    <a:lnTo>
                      <a:pt x="60" y="29"/>
                    </a:lnTo>
                    <a:lnTo>
                      <a:pt x="55" y="28"/>
                    </a:lnTo>
                    <a:lnTo>
                      <a:pt x="5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78"/>
              <p:cNvSpPr>
                <a:spLocks noEditPoints="1"/>
              </p:cNvSpPr>
              <p:nvPr userDrawn="1"/>
            </p:nvSpPr>
            <p:spPr bwMode="auto">
              <a:xfrm>
                <a:off x="2002" y="3044"/>
                <a:ext cx="35" cy="35"/>
              </a:xfrm>
              <a:custGeom>
                <a:avLst/>
                <a:gdLst>
                  <a:gd name="T0" fmla="*/ 42 w 105"/>
                  <a:gd name="T1" fmla="*/ 104 h 105"/>
                  <a:gd name="T2" fmla="*/ 24 w 105"/>
                  <a:gd name="T3" fmla="*/ 96 h 105"/>
                  <a:gd name="T4" fmla="*/ 9 w 105"/>
                  <a:gd name="T5" fmla="*/ 82 h 105"/>
                  <a:gd name="T6" fmla="*/ 1 w 105"/>
                  <a:gd name="T7" fmla="*/ 63 h 105"/>
                  <a:gd name="T8" fmla="*/ 1 w 105"/>
                  <a:gd name="T9" fmla="*/ 42 h 105"/>
                  <a:gd name="T10" fmla="*/ 9 w 105"/>
                  <a:gd name="T11" fmla="*/ 24 h 105"/>
                  <a:gd name="T12" fmla="*/ 24 w 105"/>
                  <a:gd name="T13" fmla="*/ 9 h 105"/>
                  <a:gd name="T14" fmla="*/ 42 w 105"/>
                  <a:gd name="T15" fmla="*/ 1 h 105"/>
                  <a:gd name="T16" fmla="*/ 64 w 105"/>
                  <a:gd name="T17" fmla="*/ 1 h 105"/>
                  <a:gd name="T18" fmla="*/ 82 w 105"/>
                  <a:gd name="T19" fmla="*/ 9 h 105"/>
                  <a:gd name="T20" fmla="*/ 96 w 105"/>
                  <a:gd name="T21" fmla="*/ 24 h 105"/>
                  <a:gd name="T22" fmla="*/ 104 w 105"/>
                  <a:gd name="T23" fmla="*/ 42 h 105"/>
                  <a:gd name="T24" fmla="*/ 104 w 105"/>
                  <a:gd name="T25" fmla="*/ 63 h 105"/>
                  <a:gd name="T26" fmla="*/ 96 w 105"/>
                  <a:gd name="T27" fmla="*/ 82 h 105"/>
                  <a:gd name="T28" fmla="*/ 82 w 105"/>
                  <a:gd name="T29" fmla="*/ 96 h 105"/>
                  <a:gd name="T30" fmla="*/ 64 w 105"/>
                  <a:gd name="T31" fmla="*/ 104 h 105"/>
                  <a:gd name="T32" fmla="*/ 53 w 105"/>
                  <a:gd name="T33" fmla="*/ 27 h 105"/>
                  <a:gd name="T34" fmla="*/ 47 w 105"/>
                  <a:gd name="T35" fmla="*/ 28 h 105"/>
                  <a:gd name="T36" fmla="*/ 39 w 105"/>
                  <a:gd name="T37" fmla="*/ 31 h 105"/>
                  <a:gd name="T38" fmla="*/ 31 w 105"/>
                  <a:gd name="T39" fmla="*/ 39 h 105"/>
                  <a:gd name="T40" fmla="*/ 28 w 105"/>
                  <a:gd name="T41" fmla="*/ 48 h 105"/>
                  <a:gd name="T42" fmla="*/ 28 w 105"/>
                  <a:gd name="T43" fmla="*/ 57 h 105"/>
                  <a:gd name="T44" fmla="*/ 31 w 105"/>
                  <a:gd name="T45" fmla="*/ 67 h 105"/>
                  <a:gd name="T46" fmla="*/ 39 w 105"/>
                  <a:gd name="T47" fmla="*/ 74 h 105"/>
                  <a:gd name="T48" fmla="*/ 47 w 105"/>
                  <a:gd name="T49" fmla="*/ 78 h 105"/>
                  <a:gd name="T50" fmla="*/ 57 w 105"/>
                  <a:gd name="T51" fmla="*/ 78 h 105"/>
                  <a:gd name="T52" fmla="*/ 67 w 105"/>
                  <a:gd name="T53" fmla="*/ 74 h 105"/>
                  <a:gd name="T54" fmla="*/ 73 w 105"/>
                  <a:gd name="T55" fmla="*/ 67 h 105"/>
                  <a:gd name="T56" fmla="*/ 78 w 105"/>
                  <a:gd name="T57" fmla="*/ 57 h 105"/>
                  <a:gd name="T58" fmla="*/ 78 w 105"/>
                  <a:gd name="T59" fmla="*/ 48 h 105"/>
                  <a:gd name="T60" fmla="*/ 73 w 105"/>
                  <a:gd name="T61" fmla="*/ 39 h 105"/>
                  <a:gd name="T62" fmla="*/ 67 w 105"/>
                  <a:gd name="T63" fmla="*/ 31 h 105"/>
                  <a:gd name="T64" fmla="*/ 57 w 105"/>
                  <a:gd name="T65" fmla="*/ 2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05">
                    <a:moveTo>
                      <a:pt x="53" y="105"/>
                    </a:moveTo>
                    <a:lnTo>
                      <a:pt x="42" y="104"/>
                    </a:lnTo>
                    <a:lnTo>
                      <a:pt x="32" y="101"/>
                    </a:lnTo>
                    <a:lnTo>
                      <a:pt x="24" y="96"/>
                    </a:lnTo>
                    <a:lnTo>
                      <a:pt x="15" y="90"/>
                    </a:lnTo>
                    <a:lnTo>
                      <a:pt x="9" y="82"/>
                    </a:lnTo>
                    <a:lnTo>
                      <a:pt x="4" y="74"/>
                    </a:lnTo>
                    <a:lnTo>
                      <a:pt x="1" y="63"/>
                    </a:lnTo>
                    <a:lnTo>
                      <a:pt x="0" y="53"/>
                    </a:lnTo>
                    <a:lnTo>
                      <a:pt x="1" y="42"/>
                    </a:lnTo>
                    <a:lnTo>
                      <a:pt x="4" y="33"/>
                    </a:lnTo>
                    <a:lnTo>
                      <a:pt x="9" y="24"/>
                    </a:lnTo>
                    <a:lnTo>
                      <a:pt x="15" y="15"/>
                    </a:lnTo>
                    <a:lnTo>
                      <a:pt x="24" y="9"/>
                    </a:lnTo>
                    <a:lnTo>
                      <a:pt x="32" y="4"/>
                    </a:lnTo>
                    <a:lnTo>
                      <a:pt x="42" y="1"/>
                    </a:lnTo>
                    <a:lnTo>
                      <a:pt x="53" y="0"/>
                    </a:lnTo>
                    <a:lnTo>
                      <a:pt x="64" y="1"/>
                    </a:lnTo>
                    <a:lnTo>
                      <a:pt x="73" y="4"/>
                    </a:lnTo>
                    <a:lnTo>
                      <a:pt x="82" y="9"/>
                    </a:lnTo>
                    <a:lnTo>
                      <a:pt x="90" y="15"/>
                    </a:lnTo>
                    <a:lnTo>
                      <a:pt x="96" y="24"/>
                    </a:lnTo>
                    <a:lnTo>
                      <a:pt x="101" y="33"/>
                    </a:lnTo>
                    <a:lnTo>
                      <a:pt x="104" y="42"/>
                    </a:lnTo>
                    <a:lnTo>
                      <a:pt x="105" y="53"/>
                    </a:lnTo>
                    <a:lnTo>
                      <a:pt x="104" y="63"/>
                    </a:lnTo>
                    <a:lnTo>
                      <a:pt x="101" y="74"/>
                    </a:lnTo>
                    <a:lnTo>
                      <a:pt x="96" y="82"/>
                    </a:lnTo>
                    <a:lnTo>
                      <a:pt x="90" y="90"/>
                    </a:lnTo>
                    <a:lnTo>
                      <a:pt x="82" y="96"/>
                    </a:lnTo>
                    <a:lnTo>
                      <a:pt x="73" y="101"/>
                    </a:lnTo>
                    <a:lnTo>
                      <a:pt x="64" y="104"/>
                    </a:lnTo>
                    <a:lnTo>
                      <a:pt x="53" y="105"/>
                    </a:lnTo>
                    <a:close/>
                    <a:moveTo>
                      <a:pt x="53" y="27"/>
                    </a:moveTo>
                    <a:lnTo>
                      <a:pt x="53" y="27"/>
                    </a:lnTo>
                    <a:lnTo>
                      <a:pt x="47" y="28"/>
                    </a:lnTo>
                    <a:lnTo>
                      <a:pt x="43" y="29"/>
                    </a:lnTo>
                    <a:lnTo>
                      <a:pt x="39" y="31"/>
                    </a:lnTo>
                    <a:lnTo>
                      <a:pt x="34" y="35"/>
                    </a:lnTo>
                    <a:lnTo>
                      <a:pt x="31" y="39"/>
                    </a:lnTo>
                    <a:lnTo>
                      <a:pt x="29" y="43"/>
                    </a:lnTo>
                    <a:lnTo>
                      <a:pt x="28" y="48"/>
                    </a:lnTo>
                    <a:lnTo>
                      <a:pt x="27" y="53"/>
                    </a:lnTo>
                    <a:lnTo>
                      <a:pt x="28" y="57"/>
                    </a:lnTo>
                    <a:lnTo>
                      <a:pt x="29" y="63"/>
                    </a:lnTo>
                    <a:lnTo>
                      <a:pt x="31" y="67"/>
                    </a:lnTo>
                    <a:lnTo>
                      <a:pt x="34" y="70"/>
                    </a:lnTo>
                    <a:lnTo>
                      <a:pt x="39" y="74"/>
                    </a:lnTo>
                    <a:lnTo>
                      <a:pt x="43" y="76"/>
                    </a:lnTo>
                    <a:lnTo>
                      <a:pt x="47" y="78"/>
                    </a:lnTo>
                    <a:lnTo>
                      <a:pt x="53" y="78"/>
                    </a:lnTo>
                    <a:lnTo>
                      <a:pt x="57" y="78"/>
                    </a:lnTo>
                    <a:lnTo>
                      <a:pt x="63" y="76"/>
                    </a:lnTo>
                    <a:lnTo>
                      <a:pt x="67" y="74"/>
                    </a:lnTo>
                    <a:lnTo>
                      <a:pt x="70" y="70"/>
                    </a:lnTo>
                    <a:lnTo>
                      <a:pt x="73" y="67"/>
                    </a:lnTo>
                    <a:lnTo>
                      <a:pt x="76" y="63"/>
                    </a:lnTo>
                    <a:lnTo>
                      <a:pt x="78" y="57"/>
                    </a:lnTo>
                    <a:lnTo>
                      <a:pt x="78" y="53"/>
                    </a:lnTo>
                    <a:lnTo>
                      <a:pt x="78" y="48"/>
                    </a:lnTo>
                    <a:lnTo>
                      <a:pt x="76" y="43"/>
                    </a:lnTo>
                    <a:lnTo>
                      <a:pt x="73" y="39"/>
                    </a:lnTo>
                    <a:lnTo>
                      <a:pt x="70" y="35"/>
                    </a:lnTo>
                    <a:lnTo>
                      <a:pt x="67" y="31"/>
                    </a:lnTo>
                    <a:lnTo>
                      <a:pt x="63" y="29"/>
                    </a:lnTo>
                    <a:lnTo>
                      <a:pt x="57" y="28"/>
                    </a:lnTo>
                    <a:lnTo>
                      <a:pt x="5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179"/>
              <p:cNvSpPr>
                <a:spLocks noEditPoints="1"/>
              </p:cNvSpPr>
              <p:nvPr userDrawn="1"/>
            </p:nvSpPr>
            <p:spPr bwMode="auto">
              <a:xfrm>
                <a:off x="1936" y="3045"/>
                <a:ext cx="33" cy="33"/>
              </a:xfrm>
              <a:custGeom>
                <a:avLst/>
                <a:gdLst>
                  <a:gd name="T0" fmla="*/ 40 w 100"/>
                  <a:gd name="T1" fmla="*/ 99 h 100"/>
                  <a:gd name="T2" fmla="*/ 22 w 100"/>
                  <a:gd name="T3" fmla="*/ 91 h 100"/>
                  <a:gd name="T4" fmla="*/ 9 w 100"/>
                  <a:gd name="T5" fmla="*/ 78 h 100"/>
                  <a:gd name="T6" fmla="*/ 1 w 100"/>
                  <a:gd name="T7" fmla="*/ 60 h 100"/>
                  <a:gd name="T8" fmla="*/ 1 w 100"/>
                  <a:gd name="T9" fmla="*/ 40 h 100"/>
                  <a:gd name="T10" fmla="*/ 9 w 100"/>
                  <a:gd name="T11" fmla="*/ 22 h 100"/>
                  <a:gd name="T12" fmla="*/ 22 w 100"/>
                  <a:gd name="T13" fmla="*/ 8 h 100"/>
                  <a:gd name="T14" fmla="*/ 40 w 100"/>
                  <a:gd name="T15" fmla="*/ 1 h 100"/>
                  <a:gd name="T16" fmla="*/ 60 w 100"/>
                  <a:gd name="T17" fmla="*/ 1 h 100"/>
                  <a:gd name="T18" fmla="*/ 78 w 100"/>
                  <a:gd name="T19" fmla="*/ 8 h 100"/>
                  <a:gd name="T20" fmla="*/ 91 w 100"/>
                  <a:gd name="T21" fmla="*/ 22 h 100"/>
                  <a:gd name="T22" fmla="*/ 98 w 100"/>
                  <a:gd name="T23" fmla="*/ 40 h 100"/>
                  <a:gd name="T24" fmla="*/ 98 w 100"/>
                  <a:gd name="T25" fmla="*/ 60 h 100"/>
                  <a:gd name="T26" fmla="*/ 91 w 100"/>
                  <a:gd name="T27" fmla="*/ 78 h 100"/>
                  <a:gd name="T28" fmla="*/ 78 w 100"/>
                  <a:gd name="T29" fmla="*/ 91 h 100"/>
                  <a:gd name="T30" fmla="*/ 60 w 100"/>
                  <a:gd name="T31" fmla="*/ 99 h 100"/>
                  <a:gd name="T32" fmla="*/ 50 w 100"/>
                  <a:gd name="T33" fmla="*/ 27 h 100"/>
                  <a:gd name="T34" fmla="*/ 46 w 100"/>
                  <a:gd name="T35" fmla="*/ 27 h 100"/>
                  <a:gd name="T36" fmla="*/ 37 w 100"/>
                  <a:gd name="T37" fmla="*/ 31 h 100"/>
                  <a:gd name="T38" fmla="*/ 30 w 100"/>
                  <a:gd name="T39" fmla="*/ 37 h 100"/>
                  <a:gd name="T40" fmla="*/ 27 w 100"/>
                  <a:gd name="T41" fmla="*/ 46 h 100"/>
                  <a:gd name="T42" fmla="*/ 27 w 100"/>
                  <a:gd name="T43" fmla="*/ 54 h 100"/>
                  <a:gd name="T44" fmla="*/ 30 w 100"/>
                  <a:gd name="T45" fmla="*/ 63 h 100"/>
                  <a:gd name="T46" fmla="*/ 37 w 100"/>
                  <a:gd name="T47" fmla="*/ 68 h 100"/>
                  <a:gd name="T48" fmla="*/ 46 w 100"/>
                  <a:gd name="T49" fmla="*/ 73 h 100"/>
                  <a:gd name="T50" fmla="*/ 54 w 100"/>
                  <a:gd name="T51" fmla="*/ 73 h 100"/>
                  <a:gd name="T52" fmla="*/ 63 w 100"/>
                  <a:gd name="T53" fmla="*/ 68 h 100"/>
                  <a:gd name="T54" fmla="*/ 69 w 100"/>
                  <a:gd name="T55" fmla="*/ 63 h 100"/>
                  <a:gd name="T56" fmla="*/ 73 w 100"/>
                  <a:gd name="T57" fmla="*/ 54 h 100"/>
                  <a:gd name="T58" fmla="*/ 73 w 100"/>
                  <a:gd name="T59" fmla="*/ 46 h 100"/>
                  <a:gd name="T60" fmla="*/ 69 w 100"/>
                  <a:gd name="T61" fmla="*/ 37 h 100"/>
                  <a:gd name="T62" fmla="*/ 63 w 100"/>
                  <a:gd name="T63" fmla="*/ 31 h 100"/>
                  <a:gd name="T64" fmla="*/ 54 w 100"/>
                  <a:gd name="T65" fmla="*/ 2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00">
                    <a:moveTo>
                      <a:pt x="50" y="100"/>
                    </a:moveTo>
                    <a:lnTo>
                      <a:pt x="40" y="99"/>
                    </a:lnTo>
                    <a:lnTo>
                      <a:pt x="30" y="95"/>
                    </a:lnTo>
                    <a:lnTo>
                      <a:pt x="22" y="91"/>
                    </a:lnTo>
                    <a:lnTo>
                      <a:pt x="14" y="86"/>
                    </a:lnTo>
                    <a:lnTo>
                      <a:pt x="9" y="78"/>
                    </a:lnTo>
                    <a:lnTo>
                      <a:pt x="3" y="69"/>
                    </a:lnTo>
                    <a:lnTo>
                      <a:pt x="1" y="60"/>
                    </a:lnTo>
                    <a:lnTo>
                      <a:pt x="0" y="50"/>
                    </a:lnTo>
                    <a:lnTo>
                      <a:pt x="1" y="40"/>
                    </a:lnTo>
                    <a:lnTo>
                      <a:pt x="3" y="31"/>
                    </a:lnTo>
                    <a:lnTo>
                      <a:pt x="9" y="22"/>
                    </a:lnTo>
                    <a:lnTo>
                      <a:pt x="14" y="14"/>
                    </a:lnTo>
                    <a:lnTo>
                      <a:pt x="22" y="8"/>
                    </a:lnTo>
                    <a:lnTo>
                      <a:pt x="30" y="4"/>
                    </a:lnTo>
                    <a:lnTo>
                      <a:pt x="40" y="1"/>
                    </a:lnTo>
                    <a:lnTo>
                      <a:pt x="50" y="0"/>
                    </a:lnTo>
                    <a:lnTo>
                      <a:pt x="60" y="1"/>
                    </a:lnTo>
                    <a:lnTo>
                      <a:pt x="69" y="4"/>
                    </a:lnTo>
                    <a:lnTo>
                      <a:pt x="78" y="8"/>
                    </a:lnTo>
                    <a:lnTo>
                      <a:pt x="86" y="14"/>
                    </a:lnTo>
                    <a:lnTo>
                      <a:pt x="91" y="22"/>
                    </a:lnTo>
                    <a:lnTo>
                      <a:pt x="96" y="31"/>
                    </a:lnTo>
                    <a:lnTo>
                      <a:pt x="98" y="40"/>
                    </a:lnTo>
                    <a:lnTo>
                      <a:pt x="100" y="50"/>
                    </a:lnTo>
                    <a:lnTo>
                      <a:pt x="98" y="60"/>
                    </a:lnTo>
                    <a:lnTo>
                      <a:pt x="96" y="69"/>
                    </a:lnTo>
                    <a:lnTo>
                      <a:pt x="91" y="78"/>
                    </a:lnTo>
                    <a:lnTo>
                      <a:pt x="86" y="86"/>
                    </a:lnTo>
                    <a:lnTo>
                      <a:pt x="78" y="91"/>
                    </a:lnTo>
                    <a:lnTo>
                      <a:pt x="69" y="95"/>
                    </a:lnTo>
                    <a:lnTo>
                      <a:pt x="60" y="99"/>
                    </a:lnTo>
                    <a:lnTo>
                      <a:pt x="50" y="100"/>
                    </a:lnTo>
                    <a:close/>
                    <a:moveTo>
                      <a:pt x="50" y="27"/>
                    </a:moveTo>
                    <a:lnTo>
                      <a:pt x="50" y="27"/>
                    </a:lnTo>
                    <a:lnTo>
                      <a:pt x="46" y="27"/>
                    </a:lnTo>
                    <a:lnTo>
                      <a:pt x="41" y="28"/>
                    </a:lnTo>
                    <a:lnTo>
                      <a:pt x="37" y="31"/>
                    </a:lnTo>
                    <a:lnTo>
                      <a:pt x="34" y="34"/>
                    </a:lnTo>
                    <a:lnTo>
                      <a:pt x="30" y="37"/>
                    </a:lnTo>
                    <a:lnTo>
                      <a:pt x="28" y="41"/>
                    </a:lnTo>
                    <a:lnTo>
                      <a:pt x="27" y="46"/>
                    </a:lnTo>
                    <a:lnTo>
                      <a:pt x="27" y="50"/>
                    </a:lnTo>
                    <a:lnTo>
                      <a:pt x="27" y="54"/>
                    </a:lnTo>
                    <a:lnTo>
                      <a:pt x="28" y="59"/>
                    </a:lnTo>
                    <a:lnTo>
                      <a:pt x="30" y="63"/>
                    </a:lnTo>
                    <a:lnTo>
                      <a:pt x="34" y="66"/>
                    </a:lnTo>
                    <a:lnTo>
                      <a:pt x="37" y="68"/>
                    </a:lnTo>
                    <a:lnTo>
                      <a:pt x="41" y="71"/>
                    </a:lnTo>
                    <a:lnTo>
                      <a:pt x="46" y="73"/>
                    </a:lnTo>
                    <a:lnTo>
                      <a:pt x="50" y="73"/>
                    </a:lnTo>
                    <a:lnTo>
                      <a:pt x="54" y="73"/>
                    </a:lnTo>
                    <a:lnTo>
                      <a:pt x="59" y="71"/>
                    </a:lnTo>
                    <a:lnTo>
                      <a:pt x="63" y="68"/>
                    </a:lnTo>
                    <a:lnTo>
                      <a:pt x="66" y="66"/>
                    </a:lnTo>
                    <a:lnTo>
                      <a:pt x="69" y="63"/>
                    </a:lnTo>
                    <a:lnTo>
                      <a:pt x="71" y="59"/>
                    </a:lnTo>
                    <a:lnTo>
                      <a:pt x="73" y="54"/>
                    </a:lnTo>
                    <a:lnTo>
                      <a:pt x="73" y="50"/>
                    </a:lnTo>
                    <a:lnTo>
                      <a:pt x="73" y="46"/>
                    </a:lnTo>
                    <a:lnTo>
                      <a:pt x="71" y="41"/>
                    </a:lnTo>
                    <a:lnTo>
                      <a:pt x="69" y="37"/>
                    </a:lnTo>
                    <a:lnTo>
                      <a:pt x="66" y="34"/>
                    </a:lnTo>
                    <a:lnTo>
                      <a:pt x="63" y="31"/>
                    </a:lnTo>
                    <a:lnTo>
                      <a:pt x="59" y="28"/>
                    </a:lnTo>
                    <a:lnTo>
                      <a:pt x="54"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180"/>
              <p:cNvSpPr>
                <a:spLocks noEditPoints="1"/>
              </p:cNvSpPr>
              <p:nvPr userDrawn="1"/>
            </p:nvSpPr>
            <p:spPr bwMode="auto">
              <a:xfrm>
                <a:off x="1810" y="3032"/>
                <a:ext cx="45" cy="46"/>
              </a:xfrm>
              <a:custGeom>
                <a:avLst/>
                <a:gdLst>
                  <a:gd name="T0" fmla="*/ 62 w 137"/>
                  <a:gd name="T1" fmla="*/ 137 h 137"/>
                  <a:gd name="T2" fmla="*/ 49 w 137"/>
                  <a:gd name="T3" fmla="*/ 133 h 137"/>
                  <a:gd name="T4" fmla="*/ 36 w 137"/>
                  <a:gd name="T5" fmla="*/ 128 h 137"/>
                  <a:gd name="T6" fmla="*/ 25 w 137"/>
                  <a:gd name="T7" fmla="*/ 120 h 137"/>
                  <a:gd name="T8" fmla="*/ 16 w 137"/>
                  <a:gd name="T9" fmla="*/ 112 h 137"/>
                  <a:gd name="T10" fmla="*/ 9 w 137"/>
                  <a:gd name="T11" fmla="*/ 101 h 137"/>
                  <a:gd name="T12" fmla="*/ 4 w 137"/>
                  <a:gd name="T13" fmla="*/ 88 h 137"/>
                  <a:gd name="T14" fmla="*/ 0 w 137"/>
                  <a:gd name="T15" fmla="*/ 75 h 137"/>
                  <a:gd name="T16" fmla="*/ 0 w 137"/>
                  <a:gd name="T17" fmla="*/ 61 h 137"/>
                  <a:gd name="T18" fmla="*/ 4 w 137"/>
                  <a:gd name="T19" fmla="*/ 47 h 137"/>
                  <a:gd name="T20" fmla="*/ 9 w 137"/>
                  <a:gd name="T21" fmla="*/ 35 h 137"/>
                  <a:gd name="T22" fmla="*/ 16 w 137"/>
                  <a:gd name="T23" fmla="*/ 24 h 137"/>
                  <a:gd name="T24" fmla="*/ 25 w 137"/>
                  <a:gd name="T25" fmla="*/ 15 h 137"/>
                  <a:gd name="T26" fmla="*/ 36 w 137"/>
                  <a:gd name="T27" fmla="*/ 7 h 137"/>
                  <a:gd name="T28" fmla="*/ 49 w 137"/>
                  <a:gd name="T29" fmla="*/ 2 h 137"/>
                  <a:gd name="T30" fmla="*/ 62 w 137"/>
                  <a:gd name="T31" fmla="*/ 0 h 137"/>
                  <a:gd name="T32" fmla="*/ 76 w 137"/>
                  <a:gd name="T33" fmla="*/ 0 h 137"/>
                  <a:gd name="T34" fmla="*/ 90 w 137"/>
                  <a:gd name="T35" fmla="*/ 2 h 137"/>
                  <a:gd name="T36" fmla="*/ 102 w 137"/>
                  <a:gd name="T37" fmla="*/ 7 h 137"/>
                  <a:gd name="T38" fmla="*/ 113 w 137"/>
                  <a:gd name="T39" fmla="*/ 15 h 137"/>
                  <a:gd name="T40" fmla="*/ 122 w 137"/>
                  <a:gd name="T41" fmla="*/ 24 h 137"/>
                  <a:gd name="T42" fmla="*/ 130 w 137"/>
                  <a:gd name="T43" fmla="*/ 35 h 137"/>
                  <a:gd name="T44" fmla="*/ 134 w 137"/>
                  <a:gd name="T45" fmla="*/ 47 h 137"/>
                  <a:gd name="T46" fmla="*/ 137 w 137"/>
                  <a:gd name="T47" fmla="*/ 61 h 137"/>
                  <a:gd name="T48" fmla="*/ 137 w 137"/>
                  <a:gd name="T49" fmla="*/ 75 h 137"/>
                  <a:gd name="T50" fmla="*/ 134 w 137"/>
                  <a:gd name="T51" fmla="*/ 88 h 137"/>
                  <a:gd name="T52" fmla="*/ 130 w 137"/>
                  <a:gd name="T53" fmla="*/ 101 h 137"/>
                  <a:gd name="T54" fmla="*/ 122 w 137"/>
                  <a:gd name="T55" fmla="*/ 112 h 137"/>
                  <a:gd name="T56" fmla="*/ 113 w 137"/>
                  <a:gd name="T57" fmla="*/ 120 h 137"/>
                  <a:gd name="T58" fmla="*/ 102 w 137"/>
                  <a:gd name="T59" fmla="*/ 128 h 137"/>
                  <a:gd name="T60" fmla="*/ 90 w 137"/>
                  <a:gd name="T61" fmla="*/ 133 h 137"/>
                  <a:gd name="T62" fmla="*/ 76 w 137"/>
                  <a:gd name="T63" fmla="*/ 137 h 137"/>
                  <a:gd name="T64" fmla="*/ 69 w 137"/>
                  <a:gd name="T65" fmla="*/ 27 h 137"/>
                  <a:gd name="T66" fmla="*/ 61 w 137"/>
                  <a:gd name="T67" fmla="*/ 27 h 137"/>
                  <a:gd name="T68" fmla="*/ 46 w 137"/>
                  <a:gd name="T69" fmla="*/ 33 h 137"/>
                  <a:gd name="T70" fmla="*/ 35 w 137"/>
                  <a:gd name="T71" fmla="*/ 45 h 137"/>
                  <a:gd name="T72" fmla="*/ 28 w 137"/>
                  <a:gd name="T73" fmla="*/ 59 h 137"/>
                  <a:gd name="T74" fmla="*/ 28 w 137"/>
                  <a:gd name="T75" fmla="*/ 76 h 137"/>
                  <a:gd name="T76" fmla="*/ 35 w 137"/>
                  <a:gd name="T77" fmla="*/ 91 h 137"/>
                  <a:gd name="T78" fmla="*/ 46 w 137"/>
                  <a:gd name="T79" fmla="*/ 102 h 137"/>
                  <a:gd name="T80" fmla="*/ 61 w 137"/>
                  <a:gd name="T81" fmla="*/ 109 h 137"/>
                  <a:gd name="T82" fmla="*/ 77 w 137"/>
                  <a:gd name="T83" fmla="*/ 109 h 137"/>
                  <a:gd name="T84" fmla="*/ 92 w 137"/>
                  <a:gd name="T85" fmla="*/ 102 h 137"/>
                  <a:gd name="T86" fmla="*/ 104 w 137"/>
                  <a:gd name="T87" fmla="*/ 91 h 137"/>
                  <a:gd name="T88" fmla="*/ 109 w 137"/>
                  <a:gd name="T89" fmla="*/ 76 h 137"/>
                  <a:gd name="T90" fmla="*/ 109 w 137"/>
                  <a:gd name="T91" fmla="*/ 59 h 137"/>
                  <a:gd name="T92" fmla="*/ 104 w 137"/>
                  <a:gd name="T93" fmla="*/ 45 h 137"/>
                  <a:gd name="T94" fmla="*/ 92 w 137"/>
                  <a:gd name="T95" fmla="*/ 33 h 137"/>
                  <a:gd name="T96" fmla="*/ 77 w 137"/>
                  <a:gd name="T97" fmla="*/ 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7" h="137">
                    <a:moveTo>
                      <a:pt x="69" y="137"/>
                    </a:moveTo>
                    <a:lnTo>
                      <a:pt x="62" y="137"/>
                    </a:lnTo>
                    <a:lnTo>
                      <a:pt x="55" y="136"/>
                    </a:lnTo>
                    <a:lnTo>
                      <a:pt x="49" y="133"/>
                    </a:lnTo>
                    <a:lnTo>
                      <a:pt x="42" y="131"/>
                    </a:lnTo>
                    <a:lnTo>
                      <a:pt x="36" y="128"/>
                    </a:lnTo>
                    <a:lnTo>
                      <a:pt x="31" y="125"/>
                    </a:lnTo>
                    <a:lnTo>
                      <a:pt x="25" y="120"/>
                    </a:lnTo>
                    <a:lnTo>
                      <a:pt x="21" y="116"/>
                    </a:lnTo>
                    <a:lnTo>
                      <a:pt x="16" y="112"/>
                    </a:lnTo>
                    <a:lnTo>
                      <a:pt x="12" y="106"/>
                    </a:lnTo>
                    <a:lnTo>
                      <a:pt x="9" y="101"/>
                    </a:lnTo>
                    <a:lnTo>
                      <a:pt x="6" y="95"/>
                    </a:lnTo>
                    <a:lnTo>
                      <a:pt x="4" y="88"/>
                    </a:lnTo>
                    <a:lnTo>
                      <a:pt x="1" y="82"/>
                    </a:lnTo>
                    <a:lnTo>
                      <a:pt x="0" y="75"/>
                    </a:lnTo>
                    <a:lnTo>
                      <a:pt x="0" y="68"/>
                    </a:lnTo>
                    <a:lnTo>
                      <a:pt x="0" y="61"/>
                    </a:lnTo>
                    <a:lnTo>
                      <a:pt x="1" y="54"/>
                    </a:lnTo>
                    <a:lnTo>
                      <a:pt x="4" y="47"/>
                    </a:lnTo>
                    <a:lnTo>
                      <a:pt x="6" y="41"/>
                    </a:lnTo>
                    <a:lnTo>
                      <a:pt x="9" y="35"/>
                    </a:lnTo>
                    <a:lnTo>
                      <a:pt x="12" y="30"/>
                    </a:lnTo>
                    <a:lnTo>
                      <a:pt x="16" y="24"/>
                    </a:lnTo>
                    <a:lnTo>
                      <a:pt x="21" y="19"/>
                    </a:lnTo>
                    <a:lnTo>
                      <a:pt x="25" y="15"/>
                    </a:lnTo>
                    <a:lnTo>
                      <a:pt x="31" y="10"/>
                    </a:lnTo>
                    <a:lnTo>
                      <a:pt x="36" y="7"/>
                    </a:lnTo>
                    <a:lnTo>
                      <a:pt x="42" y="5"/>
                    </a:lnTo>
                    <a:lnTo>
                      <a:pt x="49" y="2"/>
                    </a:lnTo>
                    <a:lnTo>
                      <a:pt x="55" y="1"/>
                    </a:lnTo>
                    <a:lnTo>
                      <a:pt x="62" y="0"/>
                    </a:lnTo>
                    <a:lnTo>
                      <a:pt x="69" y="0"/>
                    </a:lnTo>
                    <a:lnTo>
                      <a:pt x="76" y="0"/>
                    </a:lnTo>
                    <a:lnTo>
                      <a:pt x="82" y="1"/>
                    </a:lnTo>
                    <a:lnTo>
                      <a:pt x="90" y="2"/>
                    </a:lnTo>
                    <a:lnTo>
                      <a:pt x="95" y="5"/>
                    </a:lnTo>
                    <a:lnTo>
                      <a:pt x="102" y="7"/>
                    </a:lnTo>
                    <a:lnTo>
                      <a:pt x="107" y="10"/>
                    </a:lnTo>
                    <a:lnTo>
                      <a:pt x="113" y="15"/>
                    </a:lnTo>
                    <a:lnTo>
                      <a:pt x="118" y="19"/>
                    </a:lnTo>
                    <a:lnTo>
                      <a:pt x="122" y="24"/>
                    </a:lnTo>
                    <a:lnTo>
                      <a:pt x="126" y="30"/>
                    </a:lnTo>
                    <a:lnTo>
                      <a:pt x="130" y="35"/>
                    </a:lnTo>
                    <a:lnTo>
                      <a:pt x="132" y="41"/>
                    </a:lnTo>
                    <a:lnTo>
                      <a:pt x="134" y="47"/>
                    </a:lnTo>
                    <a:lnTo>
                      <a:pt x="136" y="54"/>
                    </a:lnTo>
                    <a:lnTo>
                      <a:pt x="137" y="61"/>
                    </a:lnTo>
                    <a:lnTo>
                      <a:pt x="137" y="68"/>
                    </a:lnTo>
                    <a:lnTo>
                      <a:pt x="137" y="75"/>
                    </a:lnTo>
                    <a:lnTo>
                      <a:pt x="136" y="82"/>
                    </a:lnTo>
                    <a:lnTo>
                      <a:pt x="134" y="88"/>
                    </a:lnTo>
                    <a:lnTo>
                      <a:pt x="132" y="95"/>
                    </a:lnTo>
                    <a:lnTo>
                      <a:pt x="130" y="101"/>
                    </a:lnTo>
                    <a:lnTo>
                      <a:pt x="126" y="106"/>
                    </a:lnTo>
                    <a:lnTo>
                      <a:pt x="122" y="112"/>
                    </a:lnTo>
                    <a:lnTo>
                      <a:pt x="118" y="116"/>
                    </a:lnTo>
                    <a:lnTo>
                      <a:pt x="113" y="120"/>
                    </a:lnTo>
                    <a:lnTo>
                      <a:pt x="107" y="125"/>
                    </a:lnTo>
                    <a:lnTo>
                      <a:pt x="102" y="128"/>
                    </a:lnTo>
                    <a:lnTo>
                      <a:pt x="95" y="131"/>
                    </a:lnTo>
                    <a:lnTo>
                      <a:pt x="90" y="133"/>
                    </a:lnTo>
                    <a:lnTo>
                      <a:pt x="82" y="136"/>
                    </a:lnTo>
                    <a:lnTo>
                      <a:pt x="76" y="137"/>
                    </a:lnTo>
                    <a:lnTo>
                      <a:pt x="69" y="137"/>
                    </a:lnTo>
                    <a:close/>
                    <a:moveTo>
                      <a:pt x="69" y="27"/>
                    </a:moveTo>
                    <a:lnTo>
                      <a:pt x="69" y="27"/>
                    </a:lnTo>
                    <a:lnTo>
                      <a:pt x="61" y="27"/>
                    </a:lnTo>
                    <a:lnTo>
                      <a:pt x="53" y="30"/>
                    </a:lnTo>
                    <a:lnTo>
                      <a:pt x="46" y="33"/>
                    </a:lnTo>
                    <a:lnTo>
                      <a:pt x="39" y="38"/>
                    </a:lnTo>
                    <a:lnTo>
                      <a:pt x="35" y="45"/>
                    </a:lnTo>
                    <a:lnTo>
                      <a:pt x="31" y="51"/>
                    </a:lnTo>
                    <a:lnTo>
                      <a:pt x="28" y="59"/>
                    </a:lnTo>
                    <a:lnTo>
                      <a:pt x="27" y="68"/>
                    </a:lnTo>
                    <a:lnTo>
                      <a:pt x="28" y="76"/>
                    </a:lnTo>
                    <a:lnTo>
                      <a:pt x="31" y="84"/>
                    </a:lnTo>
                    <a:lnTo>
                      <a:pt x="35" y="91"/>
                    </a:lnTo>
                    <a:lnTo>
                      <a:pt x="39" y="98"/>
                    </a:lnTo>
                    <a:lnTo>
                      <a:pt x="46" y="102"/>
                    </a:lnTo>
                    <a:lnTo>
                      <a:pt x="53" y="106"/>
                    </a:lnTo>
                    <a:lnTo>
                      <a:pt x="61" y="109"/>
                    </a:lnTo>
                    <a:lnTo>
                      <a:pt x="69" y="110"/>
                    </a:lnTo>
                    <a:lnTo>
                      <a:pt x="77" y="109"/>
                    </a:lnTo>
                    <a:lnTo>
                      <a:pt x="86" y="106"/>
                    </a:lnTo>
                    <a:lnTo>
                      <a:pt x="92" y="102"/>
                    </a:lnTo>
                    <a:lnTo>
                      <a:pt x="99" y="98"/>
                    </a:lnTo>
                    <a:lnTo>
                      <a:pt x="104" y="91"/>
                    </a:lnTo>
                    <a:lnTo>
                      <a:pt x="107" y="84"/>
                    </a:lnTo>
                    <a:lnTo>
                      <a:pt x="109" y="76"/>
                    </a:lnTo>
                    <a:lnTo>
                      <a:pt x="110" y="68"/>
                    </a:lnTo>
                    <a:lnTo>
                      <a:pt x="109" y="59"/>
                    </a:lnTo>
                    <a:lnTo>
                      <a:pt x="107" y="51"/>
                    </a:lnTo>
                    <a:lnTo>
                      <a:pt x="104" y="45"/>
                    </a:lnTo>
                    <a:lnTo>
                      <a:pt x="99" y="38"/>
                    </a:lnTo>
                    <a:lnTo>
                      <a:pt x="92" y="33"/>
                    </a:lnTo>
                    <a:lnTo>
                      <a:pt x="86" y="30"/>
                    </a:lnTo>
                    <a:lnTo>
                      <a:pt x="77" y="27"/>
                    </a:lnTo>
                    <a:lnTo>
                      <a:pt x="6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81"/>
              <p:cNvSpPr>
                <a:spLocks noEditPoints="1"/>
              </p:cNvSpPr>
              <p:nvPr userDrawn="1"/>
            </p:nvSpPr>
            <p:spPr bwMode="auto">
              <a:xfrm>
                <a:off x="1666" y="2994"/>
                <a:ext cx="46" cy="46"/>
              </a:xfrm>
              <a:custGeom>
                <a:avLst/>
                <a:gdLst>
                  <a:gd name="T0" fmla="*/ 62 w 138"/>
                  <a:gd name="T1" fmla="*/ 138 h 138"/>
                  <a:gd name="T2" fmla="*/ 49 w 138"/>
                  <a:gd name="T3" fmla="*/ 135 h 138"/>
                  <a:gd name="T4" fmla="*/ 36 w 138"/>
                  <a:gd name="T5" fmla="*/ 130 h 138"/>
                  <a:gd name="T6" fmla="*/ 25 w 138"/>
                  <a:gd name="T7" fmla="*/ 122 h 138"/>
                  <a:gd name="T8" fmla="*/ 15 w 138"/>
                  <a:gd name="T9" fmla="*/ 114 h 138"/>
                  <a:gd name="T10" fmla="*/ 8 w 138"/>
                  <a:gd name="T11" fmla="*/ 103 h 138"/>
                  <a:gd name="T12" fmla="*/ 4 w 138"/>
                  <a:gd name="T13" fmla="*/ 90 h 138"/>
                  <a:gd name="T14" fmla="*/ 0 w 138"/>
                  <a:gd name="T15" fmla="*/ 77 h 138"/>
                  <a:gd name="T16" fmla="*/ 0 w 138"/>
                  <a:gd name="T17" fmla="*/ 63 h 138"/>
                  <a:gd name="T18" fmla="*/ 4 w 138"/>
                  <a:gd name="T19" fmla="*/ 49 h 138"/>
                  <a:gd name="T20" fmla="*/ 8 w 138"/>
                  <a:gd name="T21" fmla="*/ 37 h 138"/>
                  <a:gd name="T22" fmla="*/ 15 w 138"/>
                  <a:gd name="T23" fmla="*/ 26 h 138"/>
                  <a:gd name="T24" fmla="*/ 25 w 138"/>
                  <a:gd name="T25" fmla="*/ 16 h 138"/>
                  <a:gd name="T26" fmla="*/ 36 w 138"/>
                  <a:gd name="T27" fmla="*/ 9 h 138"/>
                  <a:gd name="T28" fmla="*/ 49 w 138"/>
                  <a:gd name="T29" fmla="*/ 3 h 138"/>
                  <a:gd name="T30" fmla="*/ 62 w 138"/>
                  <a:gd name="T31" fmla="*/ 1 h 138"/>
                  <a:gd name="T32" fmla="*/ 76 w 138"/>
                  <a:gd name="T33" fmla="*/ 1 h 138"/>
                  <a:gd name="T34" fmla="*/ 89 w 138"/>
                  <a:gd name="T35" fmla="*/ 3 h 138"/>
                  <a:gd name="T36" fmla="*/ 102 w 138"/>
                  <a:gd name="T37" fmla="*/ 9 h 138"/>
                  <a:gd name="T38" fmla="*/ 113 w 138"/>
                  <a:gd name="T39" fmla="*/ 16 h 138"/>
                  <a:gd name="T40" fmla="*/ 122 w 138"/>
                  <a:gd name="T41" fmla="*/ 26 h 138"/>
                  <a:gd name="T42" fmla="*/ 130 w 138"/>
                  <a:gd name="T43" fmla="*/ 37 h 138"/>
                  <a:gd name="T44" fmla="*/ 134 w 138"/>
                  <a:gd name="T45" fmla="*/ 49 h 138"/>
                  <a:gd name="T46" fmla="*/ 138 w 138"/>
                  <a:gd name="T47" fmla="*/ 63 h 138"/>
                  <a:gd name="T48" fmla="*/ 138 w 138"/>
                  <a:gd name="T49" fmla="*/ 77 h 138"/>
                  <a:gd name="T50" fmla="*/ 134 w 138"/>
                  <a:gd name="T51" fmla="*/ 90 h 138"/>
                  <a:gd name="T52" fmla="*/ 130 w 138"/>
                  <a:gd name="T53" fmla="*/ 103 h 138"/>
                  <a:gd name="T54" fmla="*/ 122 w 138"/>
                  <a:gd name="T55" fmla="*/ 114 h 138"/>
                  <a:gd name="T56" fmla="*/ 113 w 138"/>
                  <a:gd name="T57" fmla="*/ 122 h 138"/>
                  <a:gd name="T58" fmla="*/ 102 w 138"/>
                  <a:gd name="T59" fmla="*/ 130 h 138"/>
                  <a:gd name="T60" fmla="*/ 89 w 138"/>
                  <a:gd name="T61" fmla="*/ 135 h 138"/>
                  <a:gd name="T62" fmla="*/ 76 w 138"/>
                  <a:gd name="T63" fmla="*/ 138 h 138"/>
                  <a:gd name="T64" fmla="*/ 69 w 138"/>
                  <a:gd name="T65" fmla="*/ 27 h 138"/>
                  <a:gd name="T66" fmla="*/ 61 w 138"/>
                  <a:gd name="T67" fmla="*/ 28 h 138"/>
                  <a:gd name="T68" fmla="*/ 46 w 138"/>
                  <a:gd name="T69" fmla="*/ 35 h 138"/>
                  <a:gd name="T70" fmla="*/ 34 w 138"/>
                  <a:gd name="T71" fmla="*/ 47 h 138"/>
                  <a:gd name="T72" fmla="*/ 28 w 138"/>
                  <a:gd name="T73" fmla="*/ 61 h 138"/>
                  <a:gd name="T74" fmla="*/ 28 w 138"/>
                  <a:gd name="T75" fmla="*/ 78 h 138"/>
                  <a:gd name="T76" fmla="*/ 34 w 138"/>
                  <a:gd name="T77" fmla="*/ 93 h 138"/>
                  <a:gd name="T78" fmla="*/ 46 w 138"/>
                  <a:gd name="T79" fmla="*/ 104 h 138"/>
                  <a:gd name="T80" fmla="*/ 61 w 138"/>
                  <a:gd name="T81" fmla="*/ 110 h 138"/>
                  <a:gd name="T82" fmla="*/ 77 w 138"/>
                  <a:gd name="T83" fmla="*/ 110 h 138"/>
                  <a:gd name="T84" fmla="*/ 92 w 138"/>
                  <a:gd name="T85" fmla="*/ 104 h 138"/>
                  <a:gd name="T86" fmla="*/ 104 w 138"/>
                  <a:gd name="T87" fmla="*/ 93 h 138"/>
                  <a:gd name="T88" fmla="*/ 111 w 138"/>
                  <a:gd name="T89" fmla="*/ 78 h 138"/>
                  <a:gd name="T90" fmla="*/ 111 w 138"/>
                  <a:gd name="T91" fmla="*/ 61 h 138"/>
                  <a:gd name="T92" fmla="*/ 104 w 138"/>
                  <a:gd name="T93" fmla="*/ 47 h 138"/>
                  <a:gd name="T94" fmla="*/ 92 w 138"/>
                  <a:gd name="T95" fmla="*/ 35 h 138"/>
                  <a:gd name="T96" fmla="*/ 77 w 138"/>
                  <a:gd name="T9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 h="138">
                    <a:moveTo>
                      <a:pt x="69" y="138"/>
                    </a:moveTo>
                    <a:lnTo>
                      <a:pt x="62" y="138"/>
                    </a:lnTo>
                    <a:lnTo>
                      <a:pt x="55" y="137"/>
                    </a:lnTo>
                    <a:lnTo>
                      <a:pt x="49" y="135"/>
                    </a:lnTo>
                    <a:lnTo>
                      <a:pt x="42" y="133"/>
                    </a:lnTo>
                    <a:lnTo>
                      <a:pt x="36" y="130"/>
                    </a:lnTo>
                    <a:lnTo>
                      <a:pt x="31" y="127"/>
                    </a:lnTo>
                    <a:lnTo>
                      <a:pt x="25" y="122"/>
                    </a:lnTo>
                    <a:lnTo>
                      <a:pt x="20" y="118"/>
                    </a:lnTo>
                    <a:lnTo>
                      <a:pt x="15" y="114"/>
                    </a:lnTo>
                    <a:lnTo>
                      <a:pt x="12" y="108"/>
                    </a:lnTo>
                    <a:lnTo>
                      <a:pt x="8" y="103"/>
                    </a:lnTo>
                    <a:lnTo>
                      <a:pt x="6" y="96"/>
                    </a:lnTo>
                    <a:lnTo>
                      <a:pt x="4" y="90"/>
                    </a:lnTo>
                    <a:lnTo>
                      <a:pt x="1" y="83"/>
                    </a:lnTo>
                    <a:lnTo>
                      <a:pt x="0" y="77"/>
                    </a:lnTo>
                    <a:lnTo>
                      <a:pt x="0" y="69"/>
                    </a:lnTo>
                    <a:lnTo>
                      <a:pt x="0" y="63"/>
                    </a:lnTo>
                    <a:lnTo>
                      <a:pt x="1" y="55"/>
                    </a:lnTo>
                    <a:lnTo>
                      <a:pt x="4" y="49"/>
                    </a:lnTo>
                    <a:lnTo>
                      <a:pt x="6" y="42"/>
                    </a:lnTo>
                    <a:lnTo>
                      <a:pt x="8" y="37"/>
                    </a:lnTo>
                    <a:lnTo>
                      <a:pt x="12" y="32"/>
                    </a:lnTo>
                    <a:lnTo>
                      <a:pt x="15" y="26"/>
                    </a:lnTo>
                    <a:lnTo>
                      <a:pt x="20" y="21"/>
                    </a:lnTo>
                    <a:lnTo>
                      <a:pt x="25" y="16"/>
                    </a:lnTo>
                    <a:lnTo>
                      <a:pt x="31" y="12"/>
                    </a:lnTo>
                    <a:lnTo>
                      <a:pt x="36" y="9"/>
                    </a:lnTo>
                    <a:lnTo>
                      <a:pt x="42" y="6"/>
                    </a:lnTo>
                    <a:lnTo>
                      <a:pt x="49" y="3"/>
                    </a:lnTo>
                    <a:lnTo>
                      <a:pt x="55" y="2"/>
                    </a:lnTo>
                    <a:lnTo>
                      <a:pt x="62" y="1"/>
                    </a:lnTo>
                    <a:lnTo>
                      <a:pt x="69" y="0"/>
                    </a:lnTo>
                    <a:lnTo>
                      <a:pt x="76" y="1"/>
                    </a:lnTo>
                    <a:lnTo>
                      <a:pt x="82" y="2"/>
                    </a:lnTo>
                    <a:lnTo>
                      <a:pt x="89" y="3"/>
                    </a:lnTo>
                    <a:lnTo>
                      <a:pt x="95" y="6"/>
                    </a:lnTo>
                    <a:lnTo>
                      <a:pt x="102" y="9"/>
                    </a:lnTo>
                    <a:lnTo>
                      <a:pt x="107" y="12"/>
                    </a:lnTo>
                    <a:lnTo>
                      <a:pt x="113" y="16"/>
                    </a:lnTo>
                    <a:lnTo>
                      <a:pt x="118" y="21"/>
                    </a:lnTo>
                    <a:lnTo>
                      <a:pt x="122" y="26"/>
                    </a:lnTo>
                    <a:lnTo>
                      <a:pt x="126" y="32"/>
                    </a:lnTo>
                    <a:lnTo>
                      <a:pt x="130" y="37"/>
                    </a:lnTo>
                    <a:lnTo>
                      <a:pt x="132" y="42"/>
                    </a:lnTo>
                    <a:lnTo>
                      <a:pt x="134" y="49"/>
                    </a:lnTo>
                    <a:lnTo>
                      <a:pt x="136" y="55"/>
                    </a:lnTo>
                    <a:lnTo>
                      <a:pt x="138" y="63"/>
                    </a:lnTo>
                    <a:lnTo>
                      <a:pt x="138" y="69"/>
                    </a:lnTo>
                    <a:lnTo>
                      <a:pt x="138" y="77"/>
                    </a:lnTo>
                    <a:lnTo>
                      <a:pt x="136" y="83"/>
                    </a:lnTo>
                    <a:lnTo>
                      <a:pt x="134" y="90"/>
                    </a:lnTo>
                    <a:lnTo>
                      <a:pt x="132" y="96"/>
                    </a:lnTo>
                    <a:lnTo>
                      <a:pt x="130" y="103"/>
                    </a:lnTo>
                    <a:lnTo>
                      <a:pt x="126" y="108"/>
                    </a:lnTo>
                    <a:lnTo>
                      <a:pt x="122" y="114"/>
                    </a:lnTo>
                    <a:lnTo>
                      <a:pt x="118" y="118"/>
                    </a:lnTo>
                    <a:lnTo>
                      <a:pt x="113" y="122"/>
                    </a:lnTo>
                    <a:lnTo>
                      <a:pt x="107" y="127"/>
                    </a:lnTo>
                    <a:lnTo>
                      <a:pt x="102" y="130"/>
                    </a:lnTo>
                    <a:lnTo>
                      <a:pt x="95" y="133"/>
                    </a:lnTo>
                    <a:lnTo>
                      <a:pt x="89" y="135"/>
                    </a:lnTo>
                    <a:lnTo>
                      <a:pt x="82" y="137"/>
                    </a:lnTo>
                    <a:lnTo>
                      <a:pt x="76" y="138"/>
                    </a:lnTo>
                    <a:lnTo>
                      <a:pt x="69" y="138"/>
                    </a:lnTo>
                    <a:close/>
                    <a:moveTo>
                      <a:pt x="69" y="27"/>
                    </a:moveTo>
                    <a:lnTo>
                      <a:pt x="69" y="27"/>
                    </a:lnTo>
                    <a:lnTo>
                      <a:pt x="61" y="28"/>
                    </a:lnTo>
                    <a:lnTo>
                      <a:pt x="52" y="30"/>
                    </a:lnTo>
                    <a:lnTo>
                      <a:pt x="46" y="35"/>
                    </a:lnTo>
                    <a:lnTo>
                      <a:pt x="39" y="40"/>
                    </a:lnTo>
                    <a:lnTo>
                      <a:pt x="34" y="47"/>
                    </a:lnTo>
                    <a:lnTo>
                      <a:pt x="31" y="53"/>
                    </a:lnTo>
                    <a:lnTo>
                      <a:pt x="28" y="61"/>
                    </a:lnTo>
                    <a:lnTo>
                      <a:pt x="27" y="69"/>
                    </a:lnTo>
                    <a:lnTo>
                      <a:pt x="28" y="78"/>
                    </a:lnTo>
                    <a:lnTo>
                      <a:pt x="31" y="85"/>
                    </a:lnTo>
                    <a:lnTo>
                      <a:pt x="34" y="93"/>
                    </a:lnTo>
                    <a:lnTo>
                      <a:pt x="39" y="100"/>
                    </a:lnTo>
                    <a:lnTo>
                      <a:pt x="46" y="104"/>
                    </a:lnTo>
                    <a:lnTo>
                      <a:pt x="52" y="108"/>
                    </a:lnTo>
                    <a:lnTo>
                      <a:pt x="61" y="110"/>
                    </a:lnTo>
                    <a:lnTo>
                      <a:pt x="69" y="111"/>
                    </a:lnTo>
                    <a:lnTo>
                      <a:pt x="77" y="110"/>
                    </a:lnTo>
                    <a:lnTo>
                      <a:pt x="86" y="108"/>
                    </a:lnTo>
                    <a:lnTo>
                      <a:pt x="92" y="104"/>
                    </a:lnTo>
                    <a:lnTo>
                      <a:pt x="99" y="100"/>
                    </a:lnTo>
                    <a:lnTo>
                      <a:pt x="104" y="93"/>
                    </a:lnTo>
                    <a:lnTo>
                      <a:pt x="107" y="85"/>
                    </a:lnTo>
                    <a:lnTo>
                      <a:pt x="111" y="78"/>
                    </a:lnTo>
                    <a:lnTo>
                      <a:pt x="111" y="69"/>
                    </a:lnTo>
                    <a:lnTo>
                      <a:pt x="111" y="61"/>
                    </a:lnTo>
                    <a:lnTo>
                      <a:pt x="107" y="53"/>
                    </a:lnTo>
                    <a:lnTo>
                      <a:pt x="104" y="47"/>
                    </a:lnTo>
                    <a:lnTo>
                      <a:pt x="99" y="40"/>
                    </a:lnTo>
                    <a:lnTo>
                      <a:pt x="92" y="35"/>
                    </a:lnTo>
                    <a:lnTo>
                      <a:pt x="86" y="30"/>
                    </a:lnTo>
                    <a:lnTo>
                      <a:pt x="77" y="28"/>
                    </a:lnTo>
                    <a:lnTo>
                      <a:pt x="6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82"/>
              <p:cNvSpPr>
                <a:spLocks noEditPoints="1"/>
              </p:cNvSpPr>
              <p:nvPr userDrawn="1"/>
            </p:nvSpPr>
            <p:spPr bwMode="auto">
              <a:xfrm>
                <a:off x="1559" y="2965"/>
                <a:ext cx="47" cy="48"/>
              </a:xfrm>
              <a:custGeom>
                <a:avLst/>
                <a:gdLst>
                  <a:gd name="T0" fmla="*/ 63 w 141"/>
                  <a:gd name="T1" fmla="*/ 141 h 142"/>
                  <a:gd name="T2" fmla="*/ 49 w 141"/>
                  <a:gd name="T3" fmla="*/ 139 h 142"/>
                  <a:gd name="T4" fmla="*/ 36 w 141"/>
                  <a:gd name="T5" fmla="*/ 134 h 142"/>
                  <a:gd name="T6" fmla="*/ 26 w 141"/>
                  <a:gd name="T7" fmla="*/ 126 h 142"/>
                  <a:gd name="T8" fmla="*/ 16 w 141"/>
                  <a:gd name="T9" fmla="*/ 116 h 142"/>
                  <a:gd name="T10" fmla="*/ 7 w 141"/>
                  <a:gd name="T11" fmla="*/ 104 h 142"/>
                  <a:gd name="T12" fmla="*/ 2 w 141"/>
                  <a:gd name="T13" fmla="*/ 92 h 142"/>
                  <a:gd name="T14" fmla="*/ 0 w 141"/>
                  <a:gd name="T15" fmla="*/ 79 h 142"/>
                  <a:gd name="T16" fmla="*/ 0 w 141"/>
                  <a:gd name="T17" fmla="*/ 63 h 142"/>
                  <a:gd name="T18" fmla="*/ 2 w 141"/>
                  <a:gd name="T19" fmla="*/ 49 h 142"/>
                  <a:gd name="T20" fmla="*/ 7 w 141"/>
                  <a:gd name="T21" fmla="*/ 38 h 142"/>
                  <a:gd name="T22" fmla="*/ 16 w 141"/>
                  <a:gd name="T23" fmla="*/ 26 h 142"/>
                  <a:gd name="T24" fmla="*/ 26 w 141"/>
                  <a:gd name="T25" fmla="*/ 16 h 142"/>
                  <a:gd name="T26" fmla="*/ 36 w 141"/>
                  <a:gd name="T27" fmla="*/ 8 h 142"/>
                  <a:gd name="T28" fmla="*/ 49 w 141"/>
                  <a:gd name="T29" fmla="*/ 3 h 142"/>
                  <a:gd name="T30" fmla="*/ 63 w 141"/>
                  <a:gd name="T31" fmla="*/ 0 h 142"/>
                  <a:gd name="T32" fmla="*/ 77 w 141"/>
                  <a:gd name="T33" fmla="*/ 0 h 142"/>
                  <a:gd name="T34" fmla="*/ 91 w 141"/>
                  <a:gd name="T35" fmla="*/ 3 h 142"/>
                  <a:gd name="T36" fmla="*/ 104 w 141"/>
                  <a:gd name="T37" fmla="*/ 8 h 142"/>
                  <a:gd name="T38" fmla="*/ 115 w 141"/>
                  <a:gd name="T39" fmla="*/ 16 h 142"/>
                  <a:gd name="T40" fmla="*/ 125 w 141"/>
                  <a:gd name="T41" fmla="*/ 26 h 142"/>
                  <a:gd name="T42" fmla="*/ 132 w 141"/>
                  <a:gd name="T43" fmla="*/ 38 h 142"/>
                  <a:gd name="T44" fmla="*/ 138 w 141"/>
                  <a:gd name="T45" fmla="*/ 49 h 142"/>
                  <a:gd name="T46" fmla="*/ 141 w 141"/>
                  <a:gd name="T47" fmla="*/ 63 h 142"/>
                  <a:gd name="T48" fmla="*/ 141 w 141"/>
                  <a:gd name="T49" fmla="*/ 79 h 142"/>
                  <a:gd name="T50" fmla="*/ 138 w 141"/>
                  <a:gd name="T51" fmla="*/ 92 h 142"/>
                  <a:gd name="T52" fmla="*/ 132 w 141"/>
                  <a:gd name="T53" fmla="*/ 104 h 142"/>
                  <a:gd name="T54" fmla="*/ 125 w 141"/>
                  <a:gd name="T55" fmla="*/ 116 h 142"/>
                  <a:gd name="T56" fmla="*/ 115 w 141"/>
                  <a:gd name="T57" fmla="*/ 126 h 142"/>
                  <a:gd name="T58" fmla="*/ 104 w 141"/>
                  <a:gd name="T59" fmla="*/ 134 h 142"/>
                  <a:gd name="T60" fmla="*/ 91 w 141"/>
                  <a:gd name="T61" fmla="*/ 139 h 142"/>
                  <a:gd name="T62" fmla="*/ 77 w 141"/>
                  <a:gd name="T63" fmla="*/ 141 h 142"/>
                  <a:gd name="T64" fmla="*/ 70 w 141"/>
                  <a:gd name="T65" fmla="*/ 27 h 142"/>
                  <a:gd name="T66" fmla="*/ 61 w 141"/>
                  <a:gd name="T67" fmla="*/ 28 h 142"/>
                  <a:gd name="T68" fmla="*/ 46 w 141"/>
                  <a:gd name="T69" fmla="*/ 34 h 142"/>
                  <a:gd name="T70" fmla="*/ 34 w 141"/>
                  <a:gd name="T71" fmla="*/ 46 h 142"/>
                  <a:gd name="T72" fmla="*/ 27 w 141"/>
                  <a:gd name="T73" fmla="*/ 62 h 142"/>
                  <a:gd name="T74" fmla="*/ 27 w 141"/>
                  <a:gd name="T75" fmla="*/ 80 h 142"/>
                  <a:gd name="T76" fmla="*/ 34 w 141"/>
                  <a:gd name="T77" fmla="*/ 96 h 142"/>
                  <a:gd name="T78" fmla="*/ 46 w 141"/>
                  <a:gd name="T79" fmla="*/ 108 h 142"/>
                  <a:gd name="T80" fmla="*/ 61 w 141"/>
                  <a:gd name="T81" fmla="*/ 114 h 142"/>
                  <a:gd name="T82" fmla="*/ 79 w 141"/>
                  <a:gd name="T83" fmla="*/ 114 h 142"/>
                  <a:gd name="T84" fmla="*/ 95 w 141"/>
                  <a:gd name="T85" fmla="*/ 108 h 142"/>
                  <a:gd name="T86" fmla="*/ 106 w 141"/>
                  <a:gd name="T87" fmla="*/ 96 h 142"/>
                  <a:gd name="T88" fmla="*/ 113 w 141"/>
                  <a:gd name="T89" fmla="*/ 80 h 142"/>
                  <a:gd name="T90" fmla="*/ 113 w 141"/>
                  <a:gd name="T91" fmla="*/ 62 h 142"/>
                  <a:gd name="T92" fmla="*/ 106 w 141"/>
                  <a:gd name="T93" fmla="*/ 46 h 142"/>
                  <a:gd name="T94" fmla="*/ 95 w 141"/>
                  <a:gd name="T95" fmla="*/ 34 h 142"/>
                  <a:gd name="T96" fmla="*/ 79 w 141"/>
                  <a:gd name="T97" fmla="*/ 2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lnTo>
                      <a:pt x="63" y="141"/>
                    </a:lnTo>
                    <a:lnTo>
                      <a:pt x="56" y="140"/>
                    </a:lnTo>
                    <a:lnTo>
                      <a:pt x="49" y="139"/>
                    </a:lnTo>
                    <a:lnTo>
                      <a:pt x="43" y="137"/>
                    </a:lnTo>
                    <a:lnTo>
                      <a:pt x="36" y="134"/>
                    </a:lnTo>
                    <a:lnTo>
                      <a:pt x="31" y="129"/>
                    </a:lnTo>
                    <a:lnTo>
                      <a:pt x="26" y="126"/>
                    </a:lnTo>
                    <a:lnTo>
                      <a:pt x="20" y="121"/>
                    </a:lnTo>
                    <a:lnTo>
                      <a:pt x="16" y="116"/>
                    </a:lnTo>
                    <a:lnTo>
                      <a:pt x="11" y="111"/>
                    </a:lnTo>
                    <a:lnTo>
                      <a:pt x="7" y="104"/>
                    </a:lnTo>
                    <a:lnTo>
                      <a:pt x="5" y="98"/>
                    </a:lnTo>
                    <a:lnTo>
                      <a:pt x="2" y="92"/>
                    </a:lnTo>
                    <a:lnTo>
                      <a:pt x="1" y="85"/>
                    </a:lnTo>
                    <a:lnTo>
                      <a:pt x="0" y="79"/>
                    </a:lnTo>
                    <a:lnTo>
                      <a:pt x="0" y="71"/>
                    </a:lnTo>
                    <a:lnTo>
                      <a:pt x="0" y="63"/>
                    </a:lnTo>
                    <a:lnTo>
                      <a:pt x="1" y="57"/>
                    </a:lnTo>
                    <a:lnTo>
                      <a:pt x="2" y="49"/>
                    </a:lnTo>
                    <a:lnTo>
                      <a:pt x="5" y="43"/>
                    </a:lnTo>
                    <a:lnTo>
                      <a:pt x="7" y="38"/>
                    </a:lnTo>
                    <a:lnTo>
                      <a:pt x="11" y="31"/>
                    </a:lnTo>
                    <a:lnTo>
                      <a:pt x="16" y="26"/>
                    </a:lnTo>
                    <a:lnTo>
                      <a:pt x="20" y="20"/>
                    </a:lnTo>
                    <a:lnTo>
                      <a:pt x="26" y="16"/>
                    </a:lnTo>
                    <a:lnTo>
                      <a:pt x="31" y="12"/>
                    </a:lnTo>
                    <a:lnTo>
                      <a:pt x="36" y="8"/>
                    </a:lnTo>
                    <a:lnTo>
                      <a:pt x="43" y="5"/>
                    </a:lnTo>
                    <a:lnTo>
                      <a:pt x="49" y="3"/>
                    </a:lnTo>
                    <a:lnTo>
                      <a:pt x="56" y="1"/>
                    </a:lnTo>
                    <a:lnTo>
                      <a:pt x="63" y="0"/>
                    </a:lnTo>
                    <a:lnTo>
                      <a:pt x="70" y="0"/>
                    </a:lnTo>
                    <a:lnTo>
                      <a:pt x="77" y="0"/>
                    </a:lnTo>
                    <a:lnTo>
                      <a:pt x="85" y="1"/>
                    </a:lnTo>
                    <a:lnTo>
                      <a:pt x="91" y="3"/>
                    </a:lnTo>
                    <a:lnTo>
                      <a:pt x="98" y="5"/>
                    </a:lnTo>
                    <a:lnTo>
                      <a:pt x="104" y="8"/>
                    </a:lnTo>
                    <a:lnTo>
                      <a:pt x="110" y="12"/>
                    </a:lnTo>
                    <a:lnTo>
                      <a:pt x="115" y="16"/>
                    </a:lnTo>
                    <a:lnTo>
                      <a:pt x="121" y="20"/>
                    </a:lnTo>
                    <a:lnTo>
                      <a:pt x="125" y="26"/>
                    </a:lnTo>
                    <a:lnTo>
                      <a:pt x="129" y="31"/>
                    </a:lnTo>
                    <a:lnTo>
                      <a:pt x="132" y="38"/>
                    </a:lnTo>
                    <a:lnTo>
                      <a:pt x="136" y="43"/>
                    </a:lnTo>
                    <a:lnTo>
                      <a:pt x="138" y="49"/>
                    </a:lnTo>
                    <a:lnTo>
                      <a:pt x="140" y="57"/>
                    </a:lnTo>
                    <a:lnTo>
                      <a:pt x="141" y="63"/>
                    </a:lnTo>
                    <a:lnTo>
                      <a:pt x="141" y="71"/>
                    </a:lnTo>
                    <a:lnTo>
                      <a:pt x="141" y="79"/>
                    </a:lnTo>
                    <a:lnTo>
                      <a:pt x="140" y="85"/>
                    </a:lnTo>
                    <a:lnTo>
                      <a:pt x="138" y="92"/>
                    </a:lnTo>
                    <a:lnTo>
                      <a:pt x="136" y="98"/>
                    </a:lnTo>
                    <a:lnTo>
                      <a:pt x="132" y="104"/>
                    </a:lnTo>
                    <a:lnTo>
                      <a:pt x="129" y="111"/>
                    </a:lnTo>
                    <a:lnTo>
                      <a:pt x="125" y="116"/>
                    </a:lnTo>
                    <a:lnTo>
                      <a:pt x="121" y="121"/>
                    </a:lnTo>
                    <a:lnTo>
                      <a:pt x="115" y="126"/>
                    </a:lnTo>
                    <a:lnTo>
                      <a:pt x="110" y="129"/>
                    </a:lnTo>
                    <a:lnTo>
                      <a:pt x="104" y="134"/>
                    </a:lnTo>
                    <a:lnTo>
                      <a:pt x="98" y="137"/>
                    </a:lnTo>
                    <a:lnTo>
                      <a:pt x="91" y="139"/>
                    </a:lnTo>
                    <a:lnTo>
                      <a:pt x="85" y="140"/>
                    </a:lnTo>
                    <a:lnTo>
                      <a:pt x="77" y="141"/>
                    </a:lnTo>
                    <a:lnTo>
                      <a:pt x="70" y="142"/>
                    </a:lnTo>
                    <a:close/>
                    <a:moveTo>
                      <a:pt x="70" y="27"/>
                    </a:moveTo>
                    <a:lnTo>
                      <a:pt x="70" y="27"/>
                    </a:lnTo>
                    <a:lnTo>
                      <a:pt x="61" y="28"/>
                    </a:lnTo>
                    <a:lnTo>
                      <a:pt x="52" y="30"/>
                    </a:lnTo>
                    <a:lnTo>
                      <a:pt x="46" y="34"/>
                    </a:lnTo>
                    <a:lnTo>
                      <a:pt x="40" y="40"/>
                    </a:lnTo>
                    <a:lnTo>
                      <a:pt x="34" y="46"/>
                    </a:lnTo>
                    <a:lnTo>
                      <a:pt x="30" y="54"/>
                    </a:lnTo>
                    <a:lnTo>
                      <a:pt x="27" y="62"/>
                    </a:lnTo>
                    <a:lnTo>
                      <a:pt x="27" y="71"/>
                    </a:lnTo>
                    <a:lnTo>
                      <a:pt x="27" y="80"/>
                    </a:lnTo>
                    <a:lnTo>
                      <a:pt x="30" y="88"/>
                    </a:lnTo>
                    <a:lnTo>
                      <a:pt x="34" y="96"/>
                    </a:lnTo>
                    <a:lnTo>
                      <a:pt x="40" y="102"/>
                    </a:lnTo>
                    <a:lnTo>
                      <a:pt x="46" y="108"/>
                    </a:lnTo>
                    <a:lnTo>
                      <a:pt x="52" y="111"/>
                    </a:lnTo>
                    <a:lnTo>
                      <a:pt x="61" y="114"/>
                    </a:lnTo>
                    <a:lnTo>
                      <a:pt x="70" y="115"/>
                    </a:lnTo>
                    <a:lnTo>
                      <a:pt x="79" y="114"/>
                    </a:lnTo>
                    <a:lnTo>
                      <a:pt x="87" y="111"/>
                    </a:lnTo>
                    <a:lnTo>
                      <a:pt x="95" y="108"/>
                    </a:lnTo>
                    <a:lnTo>
                      <a:pt x="101" y="102"/>
                    </a:lnTo>
                    <a:lnTo>
                      <a:pt x="106" y="96"/>
                    </a:lnTo>
                    <a:lnTo>
                      <a:pt x="111" y="88"/>
                    </a:lnTo>
                    <a:lnTo>
                      <a:pt x="113" y="80"/>
                    </a:lnTo>
                    <a:lnTo>
                      <a:pt x="114" y="71"/>
                    </a:lnTo>
                    <a:lnTo>
                      <a:pt x="113" y="62"/>
                    </a:lnTo>
                    <a:lnTo>
                      <a:pt x="111" y="54"/>
                    </a:lnTo>
                    <a:lnTo>
                      <a:pt x="106" y="46"/>
                    </a:lnTo>
                    <a:lnTo>
                      <a:pt x="101" y="40"/>
                    </a:lnTo>
                    <a:lnTo>
                      <a:pt x="95" y="34"/>
                    </a:lnTo>
                    <a:lnTo>
                      <a:pt x="87" y="30"/>
                    </a:lnTo>
                    <a:lnTo>
                      <a:pt x="79" y="28"/>
                    </a:lnTo>
                    <a:lnTo>
                      <a:pt x="7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83"/>
              <p:cNvSpPr>
                <a:spLocks noEditPoints="1"/>
              </p:cNvSpPr>
              <p:nvPr userDrawn="1"/>
            </p:nvSpPr>
            <p:spPr bwMode="auto">
              <a:xfrm>
                <a:off x="1357" y="2944"/>
                <a:ext cx="22" cy="22"/>
              </a:xfrm>
              <a:custGeom>
                <a:avLst/>
                <a:gdLst>
                  <a:gd name="T0" fmla="*/ 33 w 66"/>
                  <a:gd name="T1" fmla="*/ 66 h 66"/>
                  <a:gd name="T2" fmla="*/ 26 w 66"/>
                  <a:gd name="T3" fmla="*/ 65 h 66"/>
                  <a:gd name="T4" fmla="*/ 20 w 66"/>
                  <a:gd name="T5" fmla="*/ 64 h 66"/>
                  <a:gd name="T6" fmla="*/ 14 w 66"/>
                  <a:gd name="T7" fmla="*/ 61 h 66"/>
                  <a:gd name="T8" fmla="*/ 10 w 66"/>
                  <a:gd name="T9" fmla="*/ 56 h 66"/>
                  <a:gd name="T10" fmla="*/ 5 w 66"/>
                  <a:gd name="T11" fmla="*/ 51 h 66"/>
                  <a:gd name="T12" fmla="*/ 2 w 66"/>
                  <a:gd name="T13" fmla="*/ 45 h 66"/>
                  <a:gd name="T14" fmla="*/ 1 w 66"/>
                  <a:gd name="T15" fmla="*/ 40 h 66"/>
                  <a:gd name="T16" fmla="*/ 0 w 66"/>
                  <a:gd name="T17" fmla="*/ 33 h 66"/>
                  <a:gd name="T18" fmla="*/ 1 w 66"/>
                  <a:gd name="T19" fmla="*/ 26 h 66"/>
                  <a:gd name="T20" fmla="*/ 2 w 66"/>
                  <a:gd name="T21" fmla="*/ 20 h 66"/>
                  <a:gd name="T22" fmla="*/ 5 w 66"/>
                  <a:gd name="T23" fmla="*/ 14 h 66"/>
                  <a:gd name="T24" fmla="*/ 10 w 66"/>
                  <a:gd name="T25" fmla="*/ 10 h 66"/>
                  <a:gd name="T26" fmla="*/ 14 w 66"/>
                  <a:gd name="T27" fmla="*/ 6 h 66"/>
                  <a:gd name="T28" fmla="*/ 20 w 66"/>
                  <a:gd name="T29" fmla="*/ 2 h 66"/>
                  <a:gd name="T30" fmla="*/ 26 w 66"/>
                  <a:gd name="T31" fmla="*/ 0 h 66"/>
                  <a:gd name="T32" fmla="*/ 33 w 66"/>
                  <a:gd name="T33" fmla="*/ 0 h 66"/>
                  <a:gd name="T34" fmla="*/ 40 w 66"/>
                  <a:gd name="T35" fmla="*/ 0 h 66"/>
                  <a:gd name="T36" fmla="*/ 45 w 66"/>
                  <a:gd name="T37" fmla="*/ 2 h 66"/>
                  <a:gd name="T38" fmla="*/ 52 w 66"/>
                  <a:gd name="T39" fmla="*/ 6 h 66"/>
                  <a:gd name="T40" fmla="*/ 56 w 66"/>
                  <a:gd name="T41" fmla="*/ 10 h 66"/>
                  <a:gd name="T42" fmla="*/ 60 w 66"/>
                  <a:gd name="T43" fmla="*/ 14 h 66"/>
                  <a:gd name="T44" fmla="*/ 64 w 66"/>
                  <a:gd name="T45" fmla="*/ 20 h 66"/>
                  <a:gd name="T46" fmla="*/ 65 w 66"/>
                  <a:gd name="T47" fmla="*/ 26 h 66"/>
                  <a:gd name="T48" fmla="*/ 66 w 66"/>
                  <a:gd name="T49" fmla="*/ 33 h 66"/>
                  <a:gd name="T50" fmla="*/ 65 w 66"/>
                  <a:gd name="T51" fmla="*/ 40 h 66"/>
                  <a:gd name="T52" fmla="*/ 64 w 66"/>
                  <a:gd name="T53" fmla="*/ 45 h 66"/>
                  <a:gd name="T54" fmla="*/ 60 w 66"/>
                  <a:gd name="T55" fmla="*/ 51 h 66"/>
                  <a:gd name="T56" fmla="*/ 56 w 66"/>
                  <a:gd name="T57" fmla="*/ 56 h 66"/>
                  <a:gd name="T58" fmla="*/ 52 w 66"/>
                  <a:gd name="T59" fmla="*/ 61 h 66"/>
                  <a:gd name="T60" fmla="*/ 45 w 66"/>
                  <a:gd name="T61" fmla="*/ 64 h 66"/>
                  <a:gd name="T62" fmla="*/ 40 w 66"/>
                  <a:gd name="T63" fmla="*/ 65 h 66"/>
                  <a:gd name="T64" fmla="*/ 33 w 66"/>
                  <a:gd name="T65" fmla="*/ 66 h 66"/>
                  <a:gd name="T66" fmla="*/ 33 w 66"/>
                  <a:gd name="T67" fmla="*/ 27 h 66"/>
                  <a:gd name="T68" fmla="*/ 33 w 66"/>
                  <a:gd name="T69" fmla="*/ 27 h 66"/>
                  <a:gd name="T70" fmla="*/ 30 w 66"/>
                  <a:gd name="T71" fmla="*/ 27 h 66"/>
                  <a:gd name="T72" fmla="*/ 29 w 66"/>
                  <a:gd name="T73" fmla="*/ 28 h 66"/>
                  <a:gd name="T74" fmla="*/ 27 w 66"/>
                  <a:gd name="T75" fmla="*/ 30 h 66"/>
                  <a:gd name="T76" fmla="*/ 27 w 66"/>
                  <a:gd name="T77" fmla="*/ 33 h 66"/>
                  <a:gd name="T78" fmla="*/ 27 w 66"/>
                  <a:gd name="T79" fmla="*/ 35 h 66"/>
                  <a:gd name="T80" fmla="*/ 29 w 66"/>
                  <a:gd name="T81" fmla="*/ 37 h 66"/>
                  <a:gd name="T82" fmla="*/ 30 w 66"/>
                  <a:gd name="T83" fmla="*/ 38 h 66"/>
                  <a:gd name="T84" fmla="*/ 33 w 66"/>
                  <a:gd name="T85" fmla="*/ 38 h 66"/>
                  <a:gd name="T86" fmla="*/ 36 w 66"/>
                  <a:gd name="T87" fmla="*/ 38 h 66"/>
                  <a:gd name="T88" fmla="*/ 37 w 66"/>
                  <a:gd name="T89" fmla="*/ 37 h 66"/>
                  <a:gd name="T90" fmla="*/ 39 w 66"/>
                  <a:gd name="T91" fmla="*/ 35 h 66"/>
                  <a:gd name="T92" fmla="*/ 39 w 66"/>
                  <a:gd name="T93" fmla="*/ 33 h 66"/>
                  <a:gd name="T94" fmla="*/ 39 w 66"/>
                  <a:gd name="T95" fmla="*/ 30 h 66"/>
                  <a:gd name="T96" fmla="*/ 37 w 66"/>
                  <a:gd name="T97" fmla="*/ 28 h 66"/>
                  <a:gd name="T98" fmla="*/ 36 w 66"/>
                  <a:gd name="T99" fmla="*/ 27 h 66"/>
                  <a:gd name="T100" fmla="*/ 33 w 66"/>
                  <a:gd name="T101"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6" h="66">
                    <a:moveTo>
                      <a:pt x="33" y="66"/>
                    </a:moveTo>
                    <a:lnTo>
                      <a:pt x="26" y="65"/>
                    </a:lnTo>
                    <a:lnTo>
                      <a:pt x="20" y="64"/>
                    </a:lnTo>
                    <a:lnTo>
                      <a:pt x="14" y="61"/>
                    </a:lnTo>
                    <a:lnTo>
                      <a:pt x="10" y="56"/>
                    </a:lnTo>
                    <a:lnTo>
                      <a:pt x="5" y="51"/>
                    </a:lnTo>
                    <a:lnTo>
                      <a:pt x="2" y="45"/>
                    </a:lnTo>
                    <a:lnTo>
                      <a:pt x="1" y="40"/>
                    </a:lnTo>
                    <a:lnTo>
                      <a:pt x="0" y="33"/>
                    </a:lnTo>
                    <a:lnTo>
                      <a:pt x="1" y="26"/>
                    </a:lnTo>
                    <a:lnTo>
                      <a:pt x="2" y="20"/>
                    </a:lnTo>
                    <a:lnTo>
                      <a:pt x="5" y="14"/>
                    </a:lnTo>
                    <a:lnTo>
                      <a:pt x="10" y="10"/>
                    </a:lnTo>
                    <a:lnTo>
                      <a:pt x="14" y="6"/>
                    </a:lnTo>
                    <a:lnTo>
                      <a:pt x="20" y="2"/>
                    </a:lnTo>
                    <a:lnTo>
                      <a:pt x="26" y="0"/>
                    </a:lnTo>
                    <a:lnTo>
                      <a:pt x="33" y="0"/>
                    </a:lnTo>
                    <a:lnTo>
                      <a:pt x="40" y="0"/>
                    </a:lnTo>
                    <a:lnTo>
                      <a:pt x="45" y="2"/>
                    </a:lnTo>
                    <a:lnTo>
                      <a:pt x="52" y="6"/>
                    </a:lnTo>
                    <a:lnTo>
                      <a:pt x="56" y="10"/>
                    </a:lnTo>
                    <a:lnTo>
                      <a:pt x="60" y="14"/>
                    </a:lnTo>
                    <a:lnTo>
                      <a:pt x="64" y="20"/>
                    </a:lnTo>
                    <a:lnTo>
                      <a:pt x="65" y="26"/>
                    </a:lnTo>
                    <a:lnTo>
                      <a:pt x="66" y="33"/>
                    </a:lnTo>
                    <a:lnTo>
                      <a:pt x="65" y="40"/>
                    </a:lnTo>
                    <a:lnTo>
                      <a:pt x="64" y="45"/>
                    </a:lnTo>
                    <a:lnTo>
                      <a:pt x="60" y="51"/>
                    </a:lnTo>
                    <a:lnTo>
                      <a:pt x="56" y="56"/>
                    </a:lnTo>
                    <a:lnTo>
                      <a:pt x="52" y="61"/>
                    </a:lnTo>
                    <a:lnTo>
                      <a:pt x="45" y="64"/>
                    </a:lnTo>
                    <a:lnTo>
                      <a:pt x="40" y="65"/>
                    </a:lnTo>
                    <a:lnTo>
                      <a:pt x="33" y="66"/>
                    </a:lnTo>
                    <a:close/>
                    <a:moveTo>
                      <a:pt x="33" y="27"/>
                    </a:moveTo>
                    <a:lnTo>
                      <a:pt x="33" y="27"/>
                    </a:lnTo>
                    <a:lnTo>
                      <a:pt x="30" y="27"/>
                    </a:lnTo>
                    <a:lnTo>
                      <a:pt x="29" y="28"/>
                    </a:lnTo>
                    <a:lnTo>
                      <a:pt x="27" y="30"/>
                    </a:lnTo>
                    <a:lnTo>
                      <a:pt x="27" y="33"/>
                    </a:lnTo>
                    <a:lnTo>
                      <a:pt x="27" y="35"/>
                    </a:lnTo>
                    <a:lnTo>
                      <a:pt x="29" y="37"/>
                    </a:lnTo>
                    <a:lnTo>
                      <a:pt x="30" y="38"/>
                    </a:lnTo>
                    <a:lnTo>
                      <a:pt x="33" y="38"/>
                    </a:lnTo>
                    <a:lnTo>
                      <a:pt x="36" y="38"/>
                    </a:lnTo>
                    <a:lnTo>
                      <a:pt x="37" y="37"/>
                    </a:lnTo>
                    <a:lnTo>
                      <a:pt x="39" y="35"/>
                    </a:lnTo>
                    <a:lnTo>
                      <a:pt x="39" y="33"/>
                    </a:lnTo>
                    <a:lnTo>
                      <a:pt x="39" y="30"/>
                    </a:lnTo>
                    <a:lnTo>
                      <a:pt x="37" y="28"/>
                    </a:lnTo>
                    <a:lnTo>
                      <a:pt x="36" y="27"/>
                    </a:lnTo>
                    <a:lnTo>
                      <a:pt x="3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84"/>
              <p:cNvSpPr>
                <a:spLocks noEditPoints="1"/>
              </p:cNvSpPr>
              <p:nvPr userDrawn="1"/>
            </p:nvSpPr>
            <p:spPr bwMode="auto">
              <a:xfrm>
                <a:off x="2773" y="3488"/>
                <a:ext cx="26" cy="26"/>
              </a:xfrm>
              <a:custGeom>
                <a:avLst/>
                <a:gdLst>
                  <a:gd name="T0" fmla="*/ 38 w 77"/>
                  <a:gd name="T1" fmla="*/ 77 h 77"/>
                  <a:gd name="T2" fmla="*/ 30 w 77"/>
                  <a:gd name="T3" fmla="*/ 76 h 77"/>
                  <a:gd name="T4" fmla="*/ 24 w 77"/>
                  <a:gd name="T5" fmla="*/ 74 h 77"/>
                  <a:gd name="T6" fmla="*/ 17 w 77"/>
                  <a:gd name="T7" fmla="*/ 70 h 77"/>
                  <a:gd name="T8" fmla="*/ 11 w 77"/>
                  <a:gd name="T9" fmla="*/ 65 h 77"/>
                  <a:gd name="T10" fmla="*/ 6 w 77"/>
                  <a:gd name="T11" fmla="*/ 60 h 77"/>
                  <a:gd name="T12" fmla="*/ 3 w 77"/>
                  <a:gd name="T13" fmla="*/ 53 h 77"/>
                  <a:gd name="T14" fmla="*/ 1 w 77"/>
                  <a:gd name="T15" fmla="*/ 47 h 77"/>
                  <a:gd name="T16" fmla="*/ 0 w 77"/>
                  <a:gd name="T17" fmla="*/ 39 h 77"/>
                  <a:gd name="T18" fmla="*/ 1 w 77"/>
                  <a:gd name="T19" fmla="*/ 31 h 77"/>
                  <a:gd name="T20" fmla="*/ 3 w 77"/>
                  <a:gd name="T21" fmla="*/ 24 h 77"/>
                  <a:gd name="T22" fmla="*/ 6 w 77"/>
                  <a:gd name="T23" fmla="*/ 18 h 77"/>
                  <a:gd name="T24" fmla="*/ 11 w 77"/>
                  <a:gd name="T25" fmla="*/ 12 h 77"/>
                  <a:gd name="T26" fmla="*/ 17 w 77"/>
                  <a:gd name="T27" fmla="*/ 7 h 77"/>
                  <a:gd name="T28" fmla="*/ 24 w 77"/>
                  <a:gd name="T29" fmla="*/ 4 h 77"/>
                  <a:gd name="T30" fmla="*/ 30 w 77"/>
                  <a:gd name="T31" fmla="*/ 1 h 77"/>
                  <a:gd name="T32" fmla="*/ 38 w 77"/>
                  <a:gd name="T33" fmla="*/ 0 h 77"/>
                  <a:gd name="T34" fmla="*/ 46 w 77"/>
                  <a:gd name="T35" fmla="*/ 1 h 77"/>
                  <a:gd name="T36" fmla="*/ 53 w 77"/>
                  <a:gd name="T37" fmla="*/ 4 h 77"/>
                  <a:gd name="T38" fmla="*/ 59 w 77"/>
                  <a:gd name="T39" fmla="*/ 7 h 77"/>
                  <a:gd name="T40" fmla="*/ 65 w 77"/>
                  <a:gd name="T41" fmla="*/ 12 h 77"/>
                  <a:gd name="T42" fmla="*/ 70 w 77"/>
                  <a:gd name="T43" fmla="*/ 18 h 77"/>
                  <a:gd name="T44" fmla="*/ 73 w 77"/>
                  <a:gd name="T45" fmla="*/ 24 h 77"/>
                  <a:gd name="T46" fmla="*/ 75 w 77"/>
                  <a:gd name="T47" fmla="*/ 31 h 77"/>
                  <a:gd name="T48" fmla="*/ 77 w 77"/>
                  <a:gd name="T49" fmla="*/ 39 h 77"/>
                  <a:gd name="T50" fmla="*/ 75 w 77"/>
                  <a:gd name="T51" fmla="*/ 47 h 77"/>
                  <a:gd name="T52" fmla="*/ 73 w 77"/>
                  <a:gd name="T53" fmla="*/ 53 h 77"/>
                  <a:gd name="T54" fmla="*/ 70 w 77"/>
                  <a:gd name="T55" fmla="*/ 60 h 77"/>
                  <a:gd name="T56" fmla="*/ 65 w 77"/>
                  <a:gd name="T57" fmla="*/ 65 h 77"/>
                  <a:gd name="T58" fmla="*/ 59 w 77"/>
                  <a:gd name="T59" fmla="*/ 70 h 77"/>
                  <a:gd name="T60" fmla="*/ 53 w 77"/>
                  <a:gd name="T61" fmla="*/ 74 h 77"/>
                  <a:gd name="T62" fmla="*/ 46 w 77"/>
                  <a:gd name="T63" fmla="*/ 76 h 77"/>
                  <a:gd name="T64" fmla="*/ 38 w 77"/>
                  <a:gd name="T65" fmla="*/ 77 h 77"/>
                  <a:gd name="T66" fmla="*/ 38 w 77"/>
                  <a:gd name="T67" fmla="*/ 27 h 77"/>
                  <a:gd name="T68" fmla="*/ 38 w 77"/>
                  <a:gd name="T69" fmla="*/ 27 h 77"/>
                  <a:gd name="T70" fmla="*/ 33 w 77"/>
                  <a:gd name="T71" fmla="*/ 28 h 77"/>
                  <a:gd name="T72" fmla="*/ 30 w 77"/>
                  <a:gd name="T73" fmla="*/ 31 h 77"/>
                  <a:gd name="T74" fmla="*/ 28 w 77"/>
                  <a:gd name="T75" fmla="*/ 35 h 77"/>
                  <a:gd name="T76" fmla="*/ 27 w 77"/>
                  <a:gd name="T77" fmla="*/ 39 h 77"/>
                  <a:gd name="T78" fmla="*/ 28 w 77"/>
                  <a:gd name="T79" fmla="*/ 44 h 77"/>
                  <a:gd name="T80" fmla="*/ 30 w 77"/>
                  <a:gd name="T81" fmla="*/ 47 h 77"/>
                  <a:gd name="T82" fmla="*/ 33 w 77"/>
                  <a:gd name="T83" fmla="*/ 49 h 77"/>
                  <a:gd name="T84" fmla="*/ 38 w 77"/>
                  <a:gd name="T85" fmla="*/ 50 h 77"/>
                  <a:gd name="T86" fmla="*/ 42 w 77"/>
                  <a:gd name="T87" fmla="*/ 49 h 77"/>
                  <a:gd name="T88" fmla="*/ 46 w 77"/>
                  <a:gd name="T89" fmla="*/ 47 h 77"/>
                  <a:gd name="T90" fmla="*/ 48 w 77"/>
                  <a:gd name="T91" fmla="*/ 44 h 77"/>
                  <a:gd name="T92" fmla="*/ 50 w 77"/>
                  <a:gd name="T93" fmla="*/ 39 h 77"/>
                  <a:gd name="T94" fmla="*/ 48 w 77"/>
                  <a:gd name="T95" fmla="*/ 35 h 77"/>
                  <a:gd name="T96" fmla="*/ 46 w 77"/>
                  <a:gd name="T97" fmla="*/ 31 h 77"/>
                  <a:gd name="T98" fmla="*/ 42 w 77"/>
                  <a:gd name="T99" fmla="*/ 28 h 77"/>
                  <a:gd name="T100" fmla="*/ 38 w 77"/>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77">
                    <a:moveTo>
                      <a:pt x="38" y="77"/>
                    </a:moveTo>
                    <a:lnTo>
                      <a:pt x="30" y="76"/>
                    </a:lnTo>
                    <a:lnTo>
                      <a:pt x="24" y="74"/>
                    </a:lnTo>
                    <a:lnTo>
                      <a:pt x="17" y="70"/>
                    </a:lnTo>
                    <a:lnTo>
                      <a:pt x="11" y="65"/>
                    </a:lnTo>
                    <a:lnTo>
                      <a:pt x="6" y="60"/>
                    </a:lnTo>
                    <a:lnTo>
                      <a:pt x="3" y="53"/>
                    </a:lnTo>
                    <a:lnTo>
                      <a:pt x="1" y="47"/>
                    </a:lnTo>
                    <a:lnTo>
                      <a:pt x="0" y="39"/>
                    </a:lnTo>
                    <a:lnTo>
                      <a:pt x="1" y="31"/>
                    </a:lnTo>
                    <a:lnTo>
                      <a:pt x="3" y="24"/>
                    </a:lnTo>
                    <a:lnTo>
                      <a:pt x="6" y="18"/>
                    </a:lnTo>
                    <a:lnTo>
                      <a:pt x="11" y="12"/>
                    </a:lnTo>
                    <a:lnTo>
                      <a:pt x="17" y="7"/>
                    </a:lnTo>
                    <a:lnTo>
                      <a:pt x="24" y="4"/>
                    </a:lnTo>
                    <a:lnTo>
                      <a:pt x="30" y="1"/>
                    </a:lnTo>
                    <a:lnTo>
                      <a:pt x="38" y="0"/>
                    </a:lnTo>
                    <a:lnTo>
                      <a:pt x="46" y="1"/>
                    </a:lnTo>
                    <a:lnTo>
                      <a:pt x="53" y="4"/>
                    </a:lnTo>
                    <a:lnTo>
                      <a:pt x="59" y="7"/>
                    </a:lnTo>
                    <a:lnTo>
                      <a:pt x="65" y="12"/>
                    </a:lnTo>
                    <a:lnTo>
                      <a:pt x="70" y="18"/>
                    </a:lnTo>
                    <a:lnTo>
                      <a:pt x="73" y="24"/>
                    </a:lnTo>
                    <a:lnTo>
                      <a:pt x="75" y="31"/>
                    </a:lnTo>
                    <a:lnTo>
                      <a:pt x="77" y="39"/>
                    </a:lnTo>
                    <a:lnTo>
                      <a:pt x="75" y="47"/>
                    </a:lnTo>
                    <a:lnTo>
                      <a:pt x="73" y="53"/>
                    </a:lnTo>
                    <a:lnTo>
                      <a:pt x="70" y="60"/>
                    </a:lnTo>
                    <a:lnTo>
                      <a:pt x="65" y="65"/>
                    </a:lnTo>
                    <a:lnTo>
                      <a:pt x="59" y="70"/>
                    </a:lnTo>
                    <a:lnTo>
                      <a:pt x="53" y="74"/>
                    </a:lnTo>
                    <a:lnTo>
                      <a:pt x="46" y="76"/>
                    </a:lnTo>
                    <a:lnTo>
                      <a:pt x="38" y="77"/>
                    </a:lnTo>
                    <a:close/>
                    <a:moveTo>
                      <a:pt x="38" y="27"/>
                    </a:moveTo>
                    <a:lnTo>
                      <a:pt x="38" y="27"/>
                    </a:lnTo>
                    <a:lnTo>
                      <a:pt x="33" y="28"/>
                    </a:lnTo>
                    <a:lnTo>
                      <a:pt x="30" y="31"/>
                    </a:lnTo>
                    <a:lnTo>
                      <a:pt x="28" y="35"/>
                    </a:lnTo>
                    <a:lnTo>
                      <a:pt x="27" y="39"/>
                    </a:lnTo>
                    <a:lnTo>
                      <a:pt x="28" y="44"/>
                    </a:lnTo>
                    <a:lnTo>
                      <a:pt x="30" y="47"/>
                    </a:lnTo>
                    <a:lnTo>
                      <a:pt x="33" y="49"/>
                    </a:lnTo>
                    <a:lnTo>
                      <a:pt x="38" y="50"/>
                    </a:lnTo>
                    <a:lnTo>
                      <a:pt x="42" y="49"/>
                    </a:lnTo>
                    <a:lnTo>
                      <a:pt x="46" y="47"/>
                    </a:lnTo>
                    <a:lnTo>
                      <a:pt x="48" y="44"/>
                    </a:lnTo>
                    <a:lnTo>
                      <a:pt x="50" y="39"/>
                    </a:lnTo>
                    <a:lnTo>
                      <a:pt x="48" y="35"/>
                    </a:lnTo>
                    <a:lnTo>
                      <a:pt x="46" y="31"/>
                    </a:lnTo>
                    <a:lnTo>
                      <a:pt x="42" y="28"/>
                    </a:lnTo>
                    <a:lnTo>
                      <a:pt x="3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85"/>
              <p:cNvSpPr>
                <a:spLocks noEditPoints="1"/>
              </p:cNvSpPr>
              <p:nvPr userDrawn="1"/>
            </p:nvSpPr>
            <p:spPr bwMode="auto">
              <a:xfrm>
                <a:off x="2708" y="3402"/>
                <a:ext cx="33" cy="33"/>
              </a:xfrm>
              <a:custGeom>
                <a:avLst/>
                <a:gdLst>
                  <a:gd name="T0" fmla="*/ 40 w 101"/>
                  <a:gd name="T1" fmla="*/ 99 h 101"/>
                  <a:gd name="T2" fmla="*/ 22 w 101"/>
                  <a:gd name="T3" fmla="*/ 92 h 101"/>
                  <a:gd name="T4" fmla="*/ 9 w 101"/>
                  <a:gd name="T5" fmla="*/ 78 h 101"/>
                  <a:gd name="T6" fmla="*/ 2 w 101"/>
                  <a:gd name="T7" fmla="*/ 61 h 101"/>
                  <a:gd name="T8" fmla="*/ 2 w 101"/>
                  <a:gd name="T9" fmla="*/ 40 h 101"/>
                  <a:gd name="T10" fmla="*/ 9 w 101"/>
                  <a:gd name="T11" fmla="*/ 22 h 101"/>
                  <a:gd name="T12" fmla="*/ 22 w 101"/>
                  <a:gd name="T13" fmla="*/ 9 h 101"/>
                  <a:gd name="T14" fmla="*/ 40 w 101"/>
                  <a:gd name="T15" fmla="*/ 1 h 101"/>
                  <a:gd name="T16" fmla="*/ 61 w 101"/>
                  <a:gd name="T17" fmla="*/ 1 h 101"/>
                  <a:gd name="T18" fmla="*/ 78 w 101"/>
                  <a:gd name="T19" fmla="*/ 9 h 101"/>
                  <a:gd name="T20" fmla="*/ 92 w 101"/>
                  <a:gd name="T21" fmla="*/ 22 h 101"/>
                  <a:gd name="T22" fmla="*/ 100 w 101"/>
                  <a:gd name="T23" fmla="*/ 40 h 101"/>
                  <a:gd name="T24" fmla="*/ 100 w 101"/>
                  <a:gd name="T25" fmla="*/ 61 h 101"/>
                  <a:gd name="T26" fmla="*/ 92 w 101"/>
                  <a:gd name="T27" fmla="*/ 78 h 101"/>
                  <a:gd name="T28" fmla="*/ 78 w 101"/>
                  <a:gd name="T29" fmla="*/ 92 h 101"/>
                  <a:gd name="T30" fmla="*/ 61 w 101"/>
                  <a:gd name="T31" fmla="*/ 99 h 101"/>
                  <a:gd name="T32" fmla="*/ 50 w 101"/>
                  <a:gd name="T33" fmla="*/ 27 h 101"/>
                  <a:gd name="T34" fmla="*/ 46 w 101"/>
                  <a:gd name="T35" fmla="*/ 27 h 101"/>
                  <a:gd name="T36" fmla="*/ 37 w 101"/>
                  <a:gd name="T37" fmla="*/ 31 h 101"/>
                  <a:gd name="T38" fmla="*/ 32 w 101"/>
                  <a:gd name="T39" fmla="*/ 37 h 101"/>
                  <a:gd name="T40" fmla="*/ 27 w 101"/>
                  <a:gd name="T41" fmla="*/ 46 h 101"/>
                  <a:gd name="T42" fmla="*/ 27 w 101"/>
                  <a:gd name="T43" fmla="*/ 55 h 101"/>
                  <a:gd name="T44" fmla="*/ 32 w 101"/>
                  <a:gd name="T45" fmla="*/ 63 h 101"/>
                  <a:gd name="T46" fmla="*/ 37 w 101"/>
                  <a:gd name="T47" fmla="*/ 69 h 101"/>
                  <a:gd name="T48" fmla="*/ 46 w 101"/>
                  <a:gd name="T49" fmla="*/ 72 h 101"/>
                  <a:gd name="T50" fmla="*/ 55 w 101"/>
                  <a:gd name="T51" fmla="*/ 72 h 101"/>
                  <a:gd name="T52" fmla="*/ 63 w 101"/>
                  <a:gd name="T53" fmla="*/ 69 h 101"/>
                  <a:gd name="T54" fmla="*/ 70 w 101"/>
                  <a:gd name="T55" fmla="*/ 63 h 101"/>
                  <a:gd name="T56" fmla="*/ 73 w 101"/>
                  <a:gd name="T57" fmla="*/ 55 h 101"/>
                  <a:gd name="T58" fmla="*/ 73 w 101"/>
                  <a:gd name="T59" fmla="*/ 46 h 101"/>
                  <a:gd name="T60" fmla="*/ 70 w 101"/>
                  <a:gd name="T61" fmla="*/ 37 h 101"/>
                  <a:gd name="T62" fmla="*/ 63 w 101"/>
                  <a:gd name="T63" fmla="*/ 31 h 101"/>
                  <a:gd name="T64" fmla="*/ 55 w 101"/>
                  <a:gd name="T65" fmla="*/ 2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50" y="101"/>
                    </a:moveTo>
                    <a:lnTo>
                      <a:pt x="40" y="99"/>
                    </a:lnTo>
                    <a:lnTo>
                      <a:pt x="31" y="96"/>
                    </a:lnTo>
                    <a:lnTo>
                      <a:pt x="22" y="92"/>
                    </a:lnTo>
                    <a:lnTo>
                      <a:pt x="16" y="85"/>
                    </a:lnTo>
                    <a:lnTo>
                      <a:pt x="9" y="78"/>
                    </a:lnTo>
                    <a:lnTo>
                      <a:pt x="5" y="69"/>
                    </a:lnTo>
                    <a:lnTo>
                      <a:pt x="2" y="61"/>
                    </a:lnTo>
                    <a:lnTo>
                      <a:pt x="0" y="50"/>
                    </a:lnTo>
                    <a:lnTo>
                      <a:pt x="2" y="40"/>
                    </a:lnTo>
                    <a:lnTo>
                      <a:pt x="5" y="30"/>
                    </a:lnTo>
                    <a:lnTo>
                      <a:pt x="9" y="22"/>
                    </a:lnTo>
                    <a:lnTo>
                      <a:pt x="16" y="15"/>
                    </a:lnTo>
                    <a:lnTo>
                      <a:pt x="22" y="9"/>
                    </a:lnTo>
                    <a:lnTo>
                      <a:pt x="31" y="4"/>
                    </a:lnTo>
                    <a:lnTo>
                      <a:pt x="40" y="1"/>
                    </a:lnTo>
                    <a:lnTo>
                      <a:pt x="50" y="0"/>
                    </a:lnTo>
                    <a:lnTo>
                      <a:pt x="61" y="1"/>
                    </a:lnTo>
                    <a:lnTo>
                      <a:pt x="71" y="4"/>
                    </a:lnTo>
                    <a:lnTo>
                      <a:pt x="78" y="9"/>
                    </a:lnTo>
                    <a:lnTo>
                      <a:pt x="86" y="15"/>
                    </a:lnTo>
                    <a:lnTo>
                      <a:pt x="92" y="22"/>
                    </a:lnTo>
                    <a:lnTo>
                      <a:pt x="97" y="30"/>
                    </a:lnTo>
                    <a:lnTo>
                      <a:pt x="100" y="40"/>
                    </a:lnTo>
                    <a:lnTo>
                      <a:pt x="101" y="50"/>
                    </a:lnTo>
                    <a:lnTo>
                      <a:pt x="100" y="61"/>
                    </a:lnTo>
                    <a:lnTo>
                      <a:pt x="97" y="69"/>
                    </a:lnTo>
                    <a:lnTo>
                      <a:pt x="92" y="78"/>
                    </a:lnTo>
                    <a:lnTo>
                      <a:pt x="86" y="85"/>
                    </a:lnTo>
                    <a:lnTo>
                      <a:pt x="78" y="92"/>
                    </a:lnTo>
                    <a:lnTo>
                      <a:pt x="71" y="96"/>
                    </a:lnTo>
                    <a:lnTo>
                      <a:pt x="61" y="99"/>
                    </a:lnTo>
                    <a:lnTo>
                      <a:pt x="50" y="101"/>
                    </a:lnTo>
                    <a:close/>
                    <a:moveTo>
                      <a:pt x="50" y="27"/>
                    </a:moveTo>
                    <a:lnTo>
                      <a:pt x="50" y="27"/>
                    </a:lnTo>
                    <a:lnTo>
                      <a:pt x="46" y="27"/>
                    </a:lnTo>
                    <a:lnTo>
                      <a:pt x="41" y="29"/>
                    </a:lnTo>
                    <a:lnTo>
                      <a:pt x="37" y="31"/>
                    </a:lnTo>
                    <a:lnTo>
                      <a:pt x="34" y="34"/>
                    </a:lnTo>
                    <a:lnTo>
                      <a:pt x="32" y="37"/>
                    </a:lnTo>
                    <a:lnTo>
                      <a:pt x="30" y="41"/>
                    </a:lnTo>
                    <a:lnTo>
                      <a:pt x="27" y="46"/>
                    </a:lnTo>
                    <a:lnTo>
                      <a:pt x="27" y="50"/>
                    </a:lnTo>
                    <a:lnTo>
                      <a:pt x="27" y="55"/>
                    </a:lnTo>
                    <a:lnTo>
                      <a:pt x="30" y="60"/>
                    </a:lnTo>
                    <a:lnTo>
                      <a:pt x="32" y="63"/>
                    </a:lnTo>
                    <a:lnTo>
                      <a:pt x="34" y="67"/>
                    </a:lnTo>
                    <a:lnTo>
                      <a:pt x="37" y="69"/>
                    </a:lnTo>
                    <a:lnTo>
                      <a:pt x="41" y="71"/>
                    </a:lnTo>
                    <a:lnTo>
                      <a:pt x="46" y="72"/>
                    </a:lnTo>
                    <a:lnTo>
                      <a:pt x="50" y="74"/>
                    </a:lnTo>
                    <a:lnTo>
                      <a:pt x="55" y="72"/>
                    </a:lnTo>
                    <a:lnTo>
                      <a:pt x="60" y="71"/>
                    </a:lnTo>
                    <a:lnTo>
                      <a:pt x="63" y="69"/>
                    </a:lnTo>
                    <a:lnTo>
                      <a:pt x="67" y="67"/>
                    </a:lnTo>
                    <a:lnTo>
                      <a:pt x="70" y="63"/>
                    </a:lnTo>
                    <a:lnTo>
                      <a:pt x="72" y="60"/>
                    </a:lnTo>
                    <a:lnTo>
                      <a:pt x="73" y="55"/>
                    </a:lnTo>
                    <a:lnTo>
                      <a:pt x="74" y="50"/>
                    </a:lnTo>
                    <a:lnTo>
                      <a:pt x="73" y="46"/>
                    </a:lnTo>
                    <a:lnTo>
                      <a:pt x="72" y="41"/>
                    </a:lnTo>
                    <a:lnTo>
                      <a:pt x="70" y="37"/>
                    </a:lnTo>
                    <a:lnTo>
                      <a:pt x="67" y="34"/>
                    </a:lnTo>
                    <a:lnTo>
                      <a:pt x="63" y="31"/>
                    </a:lnTo>
                    <a:lnTo>
                      <a:pt x="60" y="29"/>
                    </a:lnTo>
                    <a:lnTo>
                      <a:pt x="55"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86"/>
              <p:cNvSpPr>
                <a:spLocks noEditPoints="1"/>
              </p:cNvSpPr>
              <p:nvPr userDrawn="1"/>
            </p:nvSpPr>
            <p:spPr bwMode="auto">
              <a:xfrm>
                <a:off x="2657" y="3341"/>
                <a:ext cx="34" cy="34"/>
              </a:xfrm>
              <a:custGeom>
                <a:avLst/>
                <a:gdLst>
                  <a:gd name="T0" fmla="*/ 40 w 101"/>
                  <a:gd name="T1" fmla="*/ 99 h 100"/>
                  <a:gd name="T2" fmla="*/ 22 w 101"/>
                  <a:gd name="T3" fmla="*/ 92 h 100"/>
                  <a:gd name="T4" fmla="*/ 9 w 101"/>
                  <a:gd name="T5" fmla="*/ 79 h 100"/>
                  <a:gd name="T6" fmla="*/ 1 w 101"/>
                  <a:gd name="T7" fmla="*/ 60 h 100"/>
                  <a:gd name="T8" fmla="*/ 1 w 101"/>
                  <a:gd name="T9" fmla="*/ 40 h 100"/>
                  <a:gd name="T10" fmla="*/ 9 w 101"/>
                  <a:gd name="T11" fmla="*/ 22 h 100"/>
                  <a:gd name="T12" fmla="*/ 22 w 101"/>
                  <a:gd name="T13" fmla="*/ 8 h 100"/>
                  <a:gd name="T14" fmla="*/ 40 w 101"/>
                  <a:gd name="T15" fmla="*/ 1 h 100"/>
                  <a:gd name="T16" fmla="*/ 61 w 101"/>
                  <a:gd name="T17" fmla="*/ 1 h 100"/>
                  <a:gd name="T18" fmla="*/ 78 w 101"/>
                  <a:gd name="T19" fmla="*/ 8 h 100"/>
                  <a:gd name="T20" fmla="*/ 92 w 101"/>
                  <a:gd name="T21" fmla="*/ 22 h 100"/>
                  <a:gd name="T22" fmla="*/ 100 w 101"/>
                  <a:gd name="T23" fmla="*/ 40 h 100"/>
                  <a:gd name="T24" fmla="*/ 100 w 101"/>
                  <a:gd name="T25" fmla="*/ 60 h 100"/>
                  <a:gd name="T26" fmla="*/ 92 w 101"/>
                  <a:gd name="T27" fmla="*/ 79 h 100"/>
                  <a:gd name="T28" fmla="*/ 78 w 101"/>
                  <a:gd name="T29" fmla="*/ 92 h 100"/>
                  <a:gd name="T30" fmla="*/ 61 w 101"/>
                  <a:gd name="T31" fmla="*/ 99 h 100"/>
                  <a:gd name="T32" fmla="*/ 50 w 101"/>
                  <a:gd name="T33" fmla="*/ 27 h 100"/>
                  <a:gd name="T34" fmla="*/ 46 w 101"/>
                  <a:gd name="T35" fmla="*/ 28 h 100"/>
                  <a:gd name="T36" fmla="*/ 37 w 101"/>
                  <a:gd name="T37" fmla="*/ 31 h 100"/>
                  <a:gd name="T38" fmla="*/ 32 w 101"/>
                  <a:gd name="T39" fmla="*/ 38 h 100"/>
                  <a:gd name="T40" fmla="*/ 27 w 101"/>
                  <a:gd name="T41" fmla="*/ 45 h 100"/>
                  <a:gd name="T42" fmla="*/ 27 w 101"/>
                  <a:gd name="T43" fmla="*/ 55 h 100"/>
                  <a:gd name="T44" fmla="*/ 32 w 101"/>
                  <a:gd name="T45" fmla="*/ 64 h 100"/>
                  <a:gd name="T46" fmla="*/ 37 w 101"/>
                  <a:gd name="T47" fmla="*/ 70 h 100"/>
                  <a:gd name="T48" fmla="*/ 46 w 101"/>
                  <a:gd name="T49" fmla="*/ 73 h 100"/>
                  <a:gd name="T50" fmla="*/ 55 w 101"/>
                  <a:gd name="T51" fmla="*/ 73 h 100"/>
                  <a:gd name="T52" fmla="*/ 63 w 101"/>
                  <a:gd name="T53" fmla="*/ 70 h 100"/>
                  <a:gd name="T54" fmla="*/ 69 w 101"/>
                  <a:gd name="T55" fmla="*/ 64 h 100"/>
                  <a:gd name="T56" fmla="*/ 73 w 101"/>
                  <a:gd name="T57" fmla="*/ 55 h 100"/>
                  <a:gd name="T58" fmla="*/ 73 w 101"/>
                  <a:gd name="T59" fmla="*/ 45 h 100"/>
                  <a:gd name="T60" fmla="*/ 69 w 101"/>
                  <a:gd name="T61" fmla="*/ 38 h 100"/>
                  <a:gd name="T62" fmla="*/ 63 w 101"/>
                  <a:gd name="T63" fmla="*/ 31 h 100"/>
                  <a:gd name="T64" fmla="*/ 55 w 101"/>
                  <a:gd name="T65" fmla="*/ 2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50" y="100"/>
                    </a:moveTo>
                    <a:lnTo>
                      <a:pt x="40" y="99"/>
                    </a:lnTo>
                    <a:lnTo>
                      <a:pt x="30" y="97"/>
                    </a:lnTo>
                    <a:lnTo>
                      <a:pt x="22" y="92"/>
                    </a:lnTo>
                    <a:lnTo>
                      <a:pt x="14" y="86"/>
                    </a:lnTo>
                    <a:lnTo>
                      <a:pt x="9" y="79"/>
                    </a:lnTo>
                    <a:lnTo>
                      <a:pt x="3" y="70"/>
                    </a:lnTo>
                    <a:lnTo>
                      <a:pt x="1" y="60"/>
                    </a:lnTo>
                    <a:lnTo>
                      <a:pt x="0" y="51"/>
                    </a:lnTo>
                    <a:lnTo>
                      <a:pt x="1" y="40"/>
                    </a:lnTo>
                    <a:lnTo>
                      <a:pt x="3" y="31"/>
                    </a:lnTo>
                    <a:lnTo>
                      <a:pt x="9" y="22"/>
                    </a:lnTo>
                    <a:lnTo>
                      <a:pt x="14" y="15"/>
                    </a:lnTo>
                    <a:lnTo>
                      <a:pt x="22" y="8"/>
                    </a:lnTo>
                    <a:lnTo>
                      <a:pt x="30" y="4"/>
                    </a:lnTo>
                    <a:lnTo>
                      <a:pt x="40" y="1"/>
                    </a:lnTo>
                    <a:lnTo>
                      <a:pt x="50" y="0"/>
                    </a:lnTo>
                    <a:lnTo>
                      <a:pt x="61" y="1"/>
                    </a:lnTo>
                    <a:lnTo>
                      <a:pt x="69" y="4"/>
                    </a:lnTo>
                    <a:lnTo>
                      <a:pt x="78" y="8"/>
                    </a:lnTo>
                    <a:lnTo>
                      <a:pt x="86" y="15"/>
                    </a:lnTo>
                    <a:lnTo>
                      <a:pt x="92" y="22"/>
                    </a:lnTo>
                    <a:lnTo>
                      <a:pt x="96" y="31"/>
                    </a:lnTo>
                    <a:lnTo>
                      <a:pt x="100" y="40"/>
                    </a:lnTo>
                    <a:lnTo>
                      <a:pt x="101" y="51"/>
                    </a:lnTo>
                    <a:lnTo>
                      <a:pt x="100" y="60"/>
                    </a:lnTo>
                    <a:lnTo>
                      <a:pt x="96" y="70"/>
                    </a:lnTo>
                    <a:lnTo>
                      <a:pt x="92" y="79"/>
                    </a:lnTo>
                    <a:lnTo>
                      <a:pt x="86" y="86"/>
                    </a:lnTo>
                    <a:lnTo>
                      <a:pt x="78" y="92"/>
                    </a:lnTo>
                    <a:lnTo>
                      <a:pt x="69" y="97"/>
                    </a:lnTo>
                    <a:lnTo>
                      <a:pt x="61" y="99"/>
                    </a:lnTo>
                    <a:lnTo>
                      <a:pt x="50" y="100"/>
                    </a:lnTo>
                    <a:close/>
                    <a:moveTo>
                      <a:pt x="50" y="27"/>
                    </a:moveTo>
                    <a:lnTo>
                      <a:pt x="50" y="27"/>
                    </a:lnTo>
                    <a:lnTo>
                      <a:pt x="46" y="28"/>
                    </a:lnTo>
                    <a:lnTo>
                      <a:pt x="41" y="29"/>
                    </a:lnTo>
                    <a:lnTo>
                      <a:pt x="37" y="31"/>
                    </a:lnTo>
                    <a:lnTo>
                      <a:pt x="34" y="34"/>
                    </a:lnTo>
                    <a:lnTo>
                      <a:pt x="32" y="38"/>
                    </a:lnTo>
                    <a:lnTo>
                      <a:pt x="29" y="41"/>
                    </a:lnTo>
                    <a:lnTo>
                      <a:pt x="27" y="45"/>
                    </a:lnTo>
                    <a:lnTo>
                      <a:pt x="27" y="51"/>
                    </a:lnTo>
                    <a:lnTo>
                      <a:pt x="27" y="55"/>
                    </a:lnTo>
                    <a:lnTo>
                      <a:pt x="29" y="59"/>
                    </a:lnTo>
                    <a:lnTo>
                      <a:pt x="32" y="64"/>
                    </a:lnTo>
                    <a:lnTo>
                      <a:pt x="34" y="67"/>
                    </a:lnTo>
                    <a:lnTo>
                      <a:pt x="37" y="70"/>
                    </a:lnTo>
                    <a:lnTo>
                      <a:pt x="41" y="72"/>
                    </a:lnTo>
                    <a:lnTo>
                      <a:pt x="46" y="73"/>
                    </a:lnTo>
                    <a:lnTo>
                      <a:pt x="50" y="73"/>
                    </a:lnTo>
                    <a:lnTo>
                      <a:pt x="55" y="73"/>
                    </a:lnTo>
                    <a:lnTo>
                      <a:pt x="60" y="72"/>
                    </a:lnTo>
                    <a:lnTo>
                      <a:pt x="63" y="70"/>
                    </a:lnTo>
                    <a:lnTo>
                      <a:pt x="66" y="67"/>
                    </a:lnTo>
                    <a:lnTo>
                      <a:pt x="69" y="64"/>
                    </a:lnTo>
                    <a:lnTo>
                      <a:pt x="72" y="59"/>
                    </a:lnTo>
                    <a:lnTo>
                      <a:pt x="73" y="55"/>
                    </a:lnTo>
                    <a:lnTo>
                      <a:pt x="74" y="51"/>
                    </a:lnTo>
                    <a:lnTo>
                      <a:pt x="73" y="45"/>
                    </a:lnTo>
                    <a:lnTo>
                      <a:pt x="72" y="41"/>
                    </a:lnTo>
                    <a:lnTo>
                      <a:pt x="69" y="38"/>
                    </a:lnTo>
                    <a:lnTo>
                      <a:pt x="66" y="34"/>
                    </a:lnTo>
                    <a:lnTo>
                      <a:pt x="63" y="31"/>
                    </a:lnTo>
                    <a:lnTo>
                      <a:pt x="60" y="29"/>
                    </a:lnTo>
                    <a:lnTo>
                      <a:pt x="55" y="28"/>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87"/>
              <p:cNvSpPr>
                <a:spLocks noEditPoints="1"/>
              </p:cNvSpPr>
              <p:nvPr userDrawn="1"/>
            </p:nvSpPr>
            <p:spPr bwMode="auto">
              <a:xfrm>
                <a:off x="2958" y="3891"/>
                <a:ext cx="49" cy="50"/>
              </a:xfrm>
              <a:custGeom>
                <a:avLst/>
                <a:gdLst>
                  <a:gd name="T0" fmla="*/ 67 w 148"/>
                  <a:gd name="T1" fmla="*/ 148 h 148"/>
                  <a:gd name="T2" fmla="*/ 52 w 148"/>
                  <a:gd name="T3" fmla="*/ 145 h 148"/>
                  <a:gd name="T4" fmla="*/ 39 w 148"/>
                  <a:gd name="T5" fmla="*/ 140 h 148"/>
                  <a:gd name="T6" fmla="*/ 27 w 148"/>
                  <a:gd name="T7" fmla="*/ 132 h 148"/>
                  <a:gd name="T8" fmla="*/ 17 w 148"/>
                  <a:gd name="T9" fmla="*/ 121 h 148"/>
                  <a:gd name="T10" fmla="*/ 8 w 148"/>
                  <a:gd name="T11" fmla="*/ 109 h 148"/>
                  <a:gd name="T12" fmla="*/ 3 w 148"/>
                  <a:gd name="T13" fmla="*/ 96 h 148"/>
                  <a:gd name="T14" fmla="*/ 0 w 148"/>
                  <a:gd name="T15" fmla="*/ 82 h 148"/>
                  <a:gd name="T16" fmla="*/ 0 w 148"/>
                  <a:gd name="T17" fmla="*/ 67 h 148"/>
                  <a:gd name="T18" fmla="*/ 3 w 148"/>
                  <a:gd name="T19" fmla="*/ 52 h 148"/>
                  <a:gd name="T20" fmla="*/ 8 w 148"/>
                  <a:gd name="T21" fmla="*/ 39 h 148"/>
                  <a:gd name="T22" fmla="*/ 17 w 148"/>
                  <a:gd name="T23" fmla="*/ 27 h 148"/>
                  <a:gd name="T24" fmla="*/ 27 w 148"/>
                  <a:gd name="T25" fmla="*/ 18 h 148"/>
                  <a:gd name="T26" fmla="*/ 39 w 148"/>
                  <a:gd name="T27" fmla="*/ 9 h 148"/>
                  <a:gd name="T28" fmla="*/ 52 w 148"/>
                  <a:gd name="T29" fmla="*/ 4 h 148"/>
                  <a:gd name="T30" fmla="*/ 67 w 148"/>
                  <a:gd name="T31" fmla="*/ 0 h 148"/>
                  <a:gd name="T32" fmla="*/ 82 w 148"/>
                  <a:gd name="T33" fmla="*/ 0 h 148"/>
                  <a:gd name="T34" fmla="*/ 96 w 148"/>
                  <a:gd name="T35" fmla="*/ 4 h 148"/>
                  <a:gd name="T36" fmla="*/ 109 w 148"/>
                  <a:gd name="T37" fmla="*/ 9 h 148"/>
                  <a:gd name="T38" fmla="*/ 121 w 148"/>
                  <a:gd name="T39" fmla="*/ 18 h 148"/>
                  <a:gd name="T40" fmla="*/ 132 w 148"/>
                  <a:gd name="T41" fmla="*/ 27 h 148"/>
                  <a:gd name="T42" fmla="*/ 139 w 148"/>
                  <a:gd name="T43" fmla="*/ 39 h 148"/>
                  <a:gd name="T44" fmla="*/ 145 w 148"/>
                  <a:gd name="T45" fmla="*/ 52 h 148"/>
                  <a:gd name="T46" fmla="*/ 148 w 148"/>
                  <a:gd name="T47" fmla="*/ 67 h 148"/>
                  <a:gd name="T48" fmla="*/ 148 w 148"/>
                  <a:gd name="T49" fmla="*/ 82 h 148"/>
                  <a:gd name="T50" fmla="*/ 145 w 148"/>
                  <a:gd name="T51" fmla="*/ 96 h 148"/>
                  <a:gd name="T52" fmla="*/ 139 w 148"/>
                  <a:gd name="T53" fmla="*/ 109 h 148"/>
                  <a:gd name="T54" fmla="*/ 132 w 148"/>
                  <a:gd name="T55" fmla="*/ 121 h 148"/>
                  <a:gd name="T56" fmla="*/ 121 w 148"/>
                  <a:gd name="T57" fmla="*/ 132 h 148"/>
                  <a:gd name="T58" fmla="*/ 109 w 148"/>
                  <a:gd name="T59" fmla="*/ 140 h 148"/>
                  <a:gd name="T60" fmla="*/ 96 w 148"/>
                  <a:gd name="T61" fmla="*/ 145 h 148"/>
                  <a:gd name="T62" fmla="*/ 82 w 148"/>
                  <a:gd name="T63" fmla="*/ 148 h 148"/>
                  <a:gd name="T64" fmla="*/ 74 w 148"/>
                  <a:gd name="T65" fmla="*/ 27 h 148"/>
                  <a:gd name="T66" fmla="*/ 65 w 148"/>
                  <a:gd name="T67" fmla="*/ 28 h 148"/>
                  <a:gd name="T68" fmla="*/ 47 w 148"/>
                  <a:gd name="T69" fmla="*/ 35 h 148"/>
                  <a:gd name="T70" fmla="*/ 34 w 148"/>
                  <a:gd name="T71" fmla="*/ 48 h 148"/>
                  <a:gd name="T72" fmla="*/ 28 w 148"/>
                  <a:gd name="T73" fmla="*/ 65 h 148"/>
                  <a:gd name="T74" fmla="*/ 28 w 148"/>
                  <a:gd name="T75" fmla="*/ 83 h 148"/>
                  <a:gd name="T76" fmla="*/ 34 w 148"/>
                  <a:gd name="T77" fmla="*/ 101 h 148"/>
                  <a:gd name="T78" fmla="*/ 47 w 148"/>
                  <a:gd name="T79" fmla="*/ 114 h 148"/>
                  <a:gd name="T80" fmla="*/ 65 w 148"/>
                  <a:gd name="T81" fmla="*/ 121 h 148"/>
                  <a:gd name="T82" fmla="*/ 83 w 148"/>
                  <a:gd name="T83" fmla="*/ 121 h 148"/>
                  <a:gd name="T84" fmla="*/ 100 w 148"/>
                  <a:gd name="T85" fmla="*/ 114 h 148"/>
                  <a:gd name="T86" fmla="*/ 113 w 148"/>
                  <a:gd name="T87" fmla="*/ 101 h 148"/>
                  <a:gd name="T88" fmla="*/ 121 w 148"/>
                  <a:gd name="T89" fmla="*/ 83 h 148"/>
                  <a:gd name="T90" fmla="*/ 121 w 148"/>
                  <a:gd name="T91" fmla="*/ 65 h 148"/>
                  <a:gd name="T92" fmla="*/ 113 w 148"/>
                  <a:gd name="T93" fmla="*/ 48 h 148"/>
                  <a:gd name="T94" fmla="*/ 100 w 148"/>
                  <a:gd name="T95" fmla="*/ 35 h 148"/>
                  <a:gd name="T96" fmla="*/ 83 w 148"/>
                  <a:gd name="T97" fmla="*/ 2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48">
                    <a:moveTo>
                      <a:pt x="74" y="148"/>
                    </a:moveTo>
                    <a:lnTo>
                      <a:pt x="67" y="148"/>
                    </a:lnTo>
                    <a:lnTo>
                      <a:pt x="59" y="147"/>
                    </a:lnTo>
                    <a:lnTo>
                      <a:pt x="52" y="145"/>
                    </a:lnTo>
                    <a:lnTo>
                      <a:pt x="45" y="143"/>
                    </a:lnTo>
                    <a:lnTo>
                      <a:pt x="39" y="140"/>
                    </a:lnTo>
                    <a:lnTo>
                      <a:pt x="32" y="136"/>
                    </a:lnTo>
                    <a:lnTo>
                      <a:pt x="27" y="132"/>
                    </a:lnTo>
                    <a:lnTo>
                      <a:pt x="21" y="127"/>
                    </a:lnTo>
                    <a:lnTo>
                      <a:pt x="17" y="121"/>
                    </a:lnTo>
                    <a:lnTo>
                      <a:pt x="13" y="116"/>
                    </a:lnTo>
                    <a:lnTo>
                      <a:pt x="8" y="109"/>
                    </a:lnTo>
                    <a:lnTo>
                      <a:pt x="5" y="103"/>
                    </a:lnTo>
                    <a:lnTo>
                      <a:pt x="3" y="96"/>
                    </a:lnTo>
                    <a:lnTo>
                      <a:pt x="1" y="89"/>
                    </a:lnTo>
                    <a:lnTo>
                      <a:pt x="0" y="82"/>
                    </a:lnTo>
                    <a:lnTo>
                      <a:pt x="0" y="75"/>
                    </a:lnTo>
                    <a:lnTo>
                      <a:pt x="0" y="67"/>
                    </a:lnTo>
                    <a:lnTo>
                      <a:pt x="1" y="60"/>
                    </a:lnTo>
                    <a:lnTo>
                      <a:pt x="3" y="52"/>
                    </a:lnTo>
                    <a:lnTo>
                      <a:pt x="5" y="46"/>
                    </a:lnTo>
                    <a:lnTo>
                      <a:pt x="8" y="39"/>
                    </a:lnTo>
                    <a:lnTo>
                      <a:pt x="13" y="33"/>
                    </a:lnTo>
                    <a:lnTo>
                      <a:pt x="17" y="27"/>
                    </a:lnTo>
                    <a:lnTo>
                      <a:pt x="21" y="22"/>
                    </a:lnTo>
                    <a:lnTo>
                      <a:pt x="27" y="18"/>
                    </a:lnTo>
                    <a:lnTo>
                      <a:pt x="32" y="13"/>
                    </a:lnTo>
                    <a:lnTo>
                      <a:pt x="39" y="9"/>
                    </a:lnTo>
                    <a:lnTo>
                      <a:pt x="45" y="6"/>
                    </a:lnTo>
                    <a:lnTo>
                      <a:pt x="52" y="4"/>
                    </a:lnTo>
                    <a:lnTo>
                      <a:pt x="59" y="1"/>
                    </a:lnTo>
                    <a:lnTo>
                      <a:pt x="67" y="0"/>
                    </a:lnTo>
                    <a:lnTo>
                      <a:pt x="74" y="0"/>
                    </a:lnTo>
                    <a:lnTo>
                      <a:pt x="82" y="0"/>
                    </a:lnTo>
                    <a:lnTo>
                      <a:pt x="88" y="1"/>
                    </a:lnTo>
                    <a:lnTo>
                      <a:pt x="96" y="4"/>
                    </a:lnTo>
                    <a:lnTo>
                      <a:pt x="102" y="6"/>
                    </a:lnTo>
                    <a:lnTo>
                      <a:pt x="109" y="9"/>
                    </a:lnTo>
                    <a:lnTo>
                      <a:pt x="115" y="13"/>
                    </a:lnTo>
                    <a:lnTo>
                      <a:pt x="121" y="18"/>
                    </a:lnTo>
                    <a:lnTo>
                      <a:pt x="126" y="22"/>
                    </a:lnTo>
                    <a:lnTo>
                      <a:pt x="132" y="27"/>
                    </a:lnTo>
                    <a:lnTo>
                      <a:pt x="136" y="33"/>
                    </a:lnTo>
                    <a:lnTo>
                      <a:pt x="139" y="39"/>
                    </a:lnTo>
                    <a:lnTo>
                      <a:pt x="142" y="46"/>
                    </a:lnTo>
                    <a:lnTo>
                      <a:pt x="145" y="52"/>
                    </a:lnTo>
                    <a:lnTo>
                      <a:pt x="147" y="60"/>
                    </a:lnTo>
                    <a:lnTo>
                      <a:pt x="148" y="67"/>
                    </a:lnTo>
                    <a:lnTo>
                      <a:pt x="148" y="75"/>
                    </a:lnTo>
                    <a:lnTo>
                      <a:pt x="148" y="82"/>
                    </a:lnTo>
                    <a:lnTo>
                      <a:pt x="147" y="89"/>
                    </a:lnTo>
                    <a:lnTo>
                      <a:pt x="145" y="96"/>
                    </a:lnTo>
                    <a:lnTo>
                      <a:pt x="142" y="103"/>
                    </a:lnTo>
                    <a:lnTo>
                      <a:pt x="139" y="109"/>
                    </a:lnTo>
                    <a:lnTo>
                      <a:pt x="136" y="116"/>
                    </a:lnTo>
                    <a:lnTo>
                      <a:pt x="132" y="121"/>
                    </a:lnTo>
                    <a:lnTo>
                      <a:pt x="126" y="127"/>
                    </a:lnTo>
                    <a:lnTo>
                      <a:pt x="121" y="132"/>
                    </a:lnTo>
                    <a:lnTo>
                      <a:pt x="115" y="136"/>
                    </a:lnTo>
                    <a:lnTo>
                      <a:pt x="109" y="140"/>
                    </a:lnTo>
                    <a:lnTo>
                      <a:pt x="102" y="143"/>
                    </a:lnTo>
                    <a:lnTo>
                      <a:pt x="96" y="145"/>
                    </a:lnTo>
                    <a:lnTo>
                      <a:pt x="88" y="147"/>
                    </a:lnTo>
                    <a:lnTo>
                      <a:pt x="82" y="148"/>
                    </a:lnTo>
                    <a:lnTo>
                      <a:pt x="74" y="148"/>
                    </a:lnTo>
                    <a:close/>
                    <a:moveTo>
                      <a:pt x="74" y="27"/>
                    </a:moveTo>
                    <a:lnTo>
                      <a:pt x="74" y="27"/>
                    </a:lnTo>
                    <a:lnTo>
                      <a:pt x="65" y="28"/>
                    </a:lnTo>
                    <a:lnTo>
                      <a:pt x="56" y="31"/>
                    </a:lnTo>
                    <a:lnTo>
                      <a:pt x="47" y="35"/>
                    </a:lnTo>
                    <a:lnTo>
                      <a:pt x="41" y="41"/>
                    </a:lnTo>
                    <a:lnTo>
                      <a:pt x="34" y="48"/>
                    </a:lnTo>
                    <a:lnTo>
                      <a:pt x="30" y="56"/>
                    </a:lnTo>
                    <a:lnTo>
                      <a:pt x="28" y="65"/>
                    </a:lnTo>
                    <a:lnTo>
                      <a:pt x="27" y="75"/>
                    </a:lnTo>
                    <a:lnTo>
                      <a:pt x="28" y="83"/>
                    </a:lnTo>
                    <a:lnTo>
                      <a:pt x="30" y="93"/>
                    </a:lnTo>
                    <a:lnTo>
                      <a:pt x="34" y="101"/>
                    </a:lnTo>
                    <a:lnTo>
                      <a:pt x="41" y="108"/>
                    </a:lnTo>
                    <a:lnTo>
                      <a:pt x="47" y="114"/>
                    </a:lnTo>
                    <a:lnTo>
                      <a:pt x="56" y="118"/>
                    </a:lnTo>
                    <a:lnTo>
                      <a:pt x="65" y="121"/>
                    </a:lnTo>
                    <a:lnTo>
                      <a:pt x="74" y="121"/>
                    </a:lnTo>
                    <a:lnTo>
                      <a:pt x="83" y="121"/>
                    </a:lnTo>
                    <a:lnTo>
                      <a:pt x="93" y="118"/>
                    </a:lnTo>
                    <a:lnTo>
                      <a:pt x="100" y="114"/>
                    </a:lnTo>
                    <a:lnTo>
                      <a:pt x="108" y="108"/>
                    </a:lnTo>
                    <a:lnTo>
                      <a:pt x="113" y="101"/>
                    </a:lnTo>
                    <a:lnTo>
                      <a:pt x="118" y="93"/>
                    </a:lnTo>
                    <a:lnTo>
                      <a:pt x="121" y="83"/>
                    </a:lnTo>
                    <a:lnTo>
                      <a:pt x="121" y="75"/>
                    </a:lnTo>
                    <a:lnTo>
                      <a:pt x="121" y="65"/>
                    </a:lnTo>
                    <a:lnTo>
                      <a:pt x="118" y="56"/>
                    </a:lnTo>
                    <a:lnTo>
                      <a:pt x="113" y="48"/>
                    </a:lnTo>
                    <a:lnTo>
                      <a:pt x="108" y="41"/>
                    </a:lnTo>
                    <a:lnTo>
                      <a:pt x="100" y="35"/>
                    </a:lnTo>
                    <a:lnTo>
                      <a:pt x="93" y="31"/>
                    </a:lnTo>
                    <a:lnTo>
                      <a:pt x="83" y="28"/>
                    </a:lnTo>
                    <a:lnTo>
                      <a:pt x="7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88"/>
              <p:cNvSpPr>
                <a:spLocks noEditPoints="1"/>
              </p:cNvSpPr>
              <p:nvPr userDrawn="1"/>
            </p:nvSpPr>
            <p:spPr bwMode="auto">
              <a:xfrm>
                <a:off x="2310" y="1956"/>
                <a:ext cx="42" cy="41"/>
              </a:xfrm>
              <a:custGeom>
                <a:avLst/>
                <a:gdLst>
                  <a:gd name="T0" fmla="*/ 56 w 124"/>
                  <a:gd name="T1" fmla="*/ 123 h 123"/>
                  <a:gd name="T2" fmla="*/ 45 w 124"/>
                  <a:gd name="T3" fmla="*/ 121 h 123"/>
                  <a:gd name="T4" fmla="*/ 33 w 124"/>
                  <a:gd name="T5" fmla="*/ 115 h 123"/>
                  <a:gd name="T6" fmla="*/ 23 w 124"/>
                  <a:gd name="T7" fmla="*/ 109 h 123"/>
                  <a:gd name="T8" fmla="*/ 14 w 124"/>
                  <a:gd name="T9" fmla="*/ 100 h 123"/>
                  <a:gd name="T10" fmla="*/ 8 w 124"/>
                  <a:gd name="T11" fmla="*/ 91 h 123"/>
                  <a:gd name="T12" fmla="*/ 4 w 124"/>
                  <a:gd name="T13" fmla="*/ 80 h 123"/>
                  <a:gd name="T14" fmla="*/ 1 w 124"/>
                  <a:gd name="T15" fmla="*/ 68 h 123"/>
                  <a:gd name="T16" fmla="*/ 1 w 124"/>
                  <a:gd name="T17" fmla="*/ 55 h 123"/>
                  <a:gd name="T18" fmla="*/ 4 w 124"/>
                  <a:gd name="T19" fmla="*/ 43 h 123"/>
                  <a:gd name="T20" fmla="*/ 8 w 124"/>
                  <a:gd name="T21" fmla="*/ 32 h 123"/>
                  <a:gd name="T22" fmla="*/ 14 w 124"/>
                  <a:gd name="T23" fmla="*/ 21 h 123"/>
                  <a:gd name="T24" fmla="*/ 23 w 124"/>
                  <a:gd name="T25" fmla="*/ 14 h 123"/>
                  <a:gd name="T26" fmla="*/ 33 w 124"/>
                  <a:gd name="T27" fmla="*/ 6 h 123"/>
                  <a:gd name="T28" fmla="*/ 45 w 124"/>
                  <a:gd name="T29" fmla="*/ 2 h 123"/>
                  <a:gd name="T30" fmla="*/ 56 w 124"/>
                  <a:gd name="T31" fmla="*/ 0 h 123"/>
                  <a:gd name="T32" fmla="*/ 69 w 124"/>
                  <a:gd name="T33" fmla="*/ 0 h 123"/>
                  <a:gd name="T34" fmla="*/ 81 w 124"/>
                  <a:gd name="T35" fmla="*/ 2 h 123"/>
                  <a:gd name="T36" fmla="*/ 92 w 124"/>
                  <a:gd name="T37" fmla="*/ 6 h 123"/>
                  <a:gd name="T38" fmla="*/ 102 w 124"/>
                  <a:gd name="T39" fmla="*/ 14 h 123"/>
                  <a:gd name="T40" fmla="*/ 110 w 124"/>
                  <a:gd name="T41" fmla="*/ 21 h 123"/>
                  <a:gd name="T42" fmla="*/ 117 w 124"/>
                  <a:gd name="T43" fmla="*/ 32 h 123"/>
                  <a:gd name="T44" fmla="*/ 121 w 124"/>
                  <a:gd name="T45" fmla="*/ 43 h 123"/>
                  <a:gd name="T46" fmla="*/ 124 w 124"/>
                  <a:gd name="T47" fmla="*/ 55 h 123"/>
                  <a:gd name="T48" fmla="*/ 124 w 124"/>
                  <a:gd name="T49" fmla="*/ 68 h 123"/>
                  <a:gd name="T50" fmla="*/ 121 w 124"/>
                  <a:gd name="T51" fmla="*/ 80 h 123"/>
                  <a:gd name="T52" fmla="*/ 117 w 124"/>
                  <a:gd name="T53" fmla="*/ 91 h 123"/>
                  <a:gd name="T54" fmla="*/ 110 w 124"/>
                  <a:gd name="T55" fmla="*/ 100 h 123"/>
                  <a:gd name="T56" fmla="*/ 102 w 124"/>
                  <a:gd name="T57" fmla="*/ 109 h 123"/>
                  <a:gd name="T58" fmla="*/ 92 w 124"/>
                  <a:gd name="T59" fmla="*/ 115 h 123"/>
                  <a:gd name="T60" fmla="*/ 81 w 124"/>
                  <a:gd name="T61" fmla="*/ 121 h 123"/>
                  <a:gd name="T62" fmla="*/ 69 w 124"/>
                  <a:gd name="T63" fmla="*/ 123 h 123"/>
                  <a:gd name="T64" fmla="*/ 63 w 124"/>
                  <a:gd name="T65" fmla="*/ 27 h 123"/>
                  <a:gd name="T66" fmla="*/ 55 w 124"/>
                  <a:gd name="T67" fmla="*/ 27 h 123"/>
                  <a:gd name="T68" fmla="*/ 44 w 124"/>
                  <a:gd name="T69" fmla="*/ 32 h 123"/>
                  <a:gd name="T70" fmla="*/ 34 w 124"/>
                  <a:gd name="T71" fmla="*/ 42 h 123"/>
                  <a:gd name="T72" fmla="*/ 28 w 124"/>
                  <a:gd name="T73" fmla="*/ 54 h 123"/>
                  <a:gd name="T74" fmla="*/ 28 w 124"/>
                  <a:gd name="T75" fmla="*/ 68 h 123"/>
                  <a:gd name="T76" fmla="*/ 34 w 124"/>
                  <a:gd name="T77" fmla="*/ 81 h 123"/>
                  <a:gd name="T78" fmla="*/ 44 w 124"/>
                  <a:gd name="T79" fmla="*/ 91 h 123"/>
                  <a:gd name="T80" fmla="*/ 55 w 124"/>
                  <a:gd name="T81" fmla="*/ 96 h 123"/>
                  <a:gd name="T82" fmla="*/ 69 w 124"/>
                  <a:gd name="T83" fmla="*/ 96 h 123"/>
                  <a:gd name="T84" fmla="*/ 82 w 124"/>
                  <a:gd name="T85" fmla="*/ 91 h 123"/>
                  <a:gd name="T86" fmla="*/ 92 w 124"/>
                  <a:gd name="T87" fmla="*/ 81 h 123"/>
                  <a:gd name="T88" fmla="*/ 96 w 124"/>
                  <a:gd name="T89" fmla="*/ 68 h 123"/>
                  <a:gd name="T90" fmla="*/ 96 w 124"/>
                  <a:gd name="T91" fmla="*/ 54 h 123"/>
                  <a:gd name="T92" fmla="*/ 92 w 124"/>
                  <a:gd name="T93" fmla="*/ 42 h 123"/>
                  <a:gd name="T94" fmla="*/ 82 w 124"/>
                  <a:gd name="T95" fmla="*/ 32 h 123"/>
                  <a:gd name="T96" fmla="*/ 69 w 124"/>
                  <a:gd name="T97"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3">
                    <a:moveTo>
                      <a:pt x="63" y="123"/>
                    </a:moveTo>
                    <a:lnTo>
                      <a:pt x="56" y="123"/>
                    </a:lnTo>
                    <a:lnTo>
                      <a:pt x="50" y="122"/>
                    </a:lnTo>
                    <a:lnTo>
                      <a:pt x="45" y="121"/>
                    </a:lnTo>
                    <a:lnTo>
                      <a:pt x="38" y="119"/>
                    </a:lnTo>
                    <a:lnTo>
                      <a:pt x="33" y="115"/>
                    </a:lnTo>
                    <a:lnTo>
                      <a:pt x="28" y="112"/>
                    </a:lnTo>
                    <a:lnTo>
                      <a:pt x="23" y="109"/>
                    </a:lnTo>
                    <a:lnTo>
                      <a:pt x="19" y="105"/>
                    </a:lnTo>
                    <a:lnTo>
                      <a:pt x="14" y="100"/>
                    </a:lnTo>
                    <a:lnTo>
                      <a:pt x="11" y="96"/>
                    </a:lnTo>
                    <a:lnTo>
                      <a:pt x="8" y="91"/>
                    </a:lnTo>
                    <a:lnTo>
                      <a:pt x="6" y="85"/>
                    </a:lnTo>
                    <a:lnTo>
                      <a:pt x="4" y="80"/>
                    </a:lnTo>
                    <a:lnTo>
                      <a:pt x="2" y="73"/>
                    </a:lnTo>
                    <a:lnTo>
                      <a:pt x="1" y="68"/>
                    </a:lnTo>
                    <a:lnTo>
                      <a:pt x="0" y="61"/>
                    </a:lnTo>
                    <a:lnTo>
                      <a:pt x="1" y="55"/>
                    </a:lnTo>
                    <a:lnTo>
                      <a:pt x="2" y="48"/>
                    </a:lnTo>
                    <a:lnTo>
                      <a:pt x="4" y="43"/>
                    </a:lnTo>
                    <a:lnTo>
                      <a:pt x="6" y="38"/>
                    </a:lnTo>
                    <a:lnTo>
                      <a:pt x="8" y="32"/>
                    </a:lnTo>
                    <a:lnTo>
                      <a:pt x="11" y="27"/>
                    </a:lnTo>
                    <a:lnTo>
                      <a:pt x="14" y="21"/>
                    </a:lnTo>
                    <a:lnTo>
                      <a:pt x="19" y="17"/>
                    </a:lnTo>
                    <a:lnTo>
                      <a:pt x="23" y="14"/>
                    </a:lnTo>
                    <a:lnTo>
                      <a:pt x="28" y="10"/>
                    </a:lnTo>
                    <a:lnTo>
                      <a:pt x="33" y="6"/>
                    </a:lnTo>
                    <a:lnTo>
                      <a:pt x="38" y="4"/>
                    </a:lnTo>
                    <a:lnTo>
                      <a:pt x="45" y="2"/>
                    </a:lnTo>
                    <a:lnTo>
                      <a:pt x="50" y="1"/>
                    </a:lnTo>
                    <a:lnTo>
                      <a:pt x="56" y="0"/>
                    </a:lnTo>
                    <a:lnTo>
                      <a:pt x="63" y="0"/>
                    </a:lnTo>
                    <a:lnTo>
                      <a:pt x="69" y="0"/>
                    </a:lnTo>
                    <a:lnTo>
                      <a:pt x="75" y="1"/>
                    </a:lnTo>
                    <a:lnTo>
                      <a:pt x="81" y="2"/>
                    </a:lnTo>
                    <a:lnTo>
                      <a:pt x="87" y="4"/>
                    </a:lnTo>
                    <a:lnTo>
                      <a:pt x="92" y="6"/>
                    </a:lnTo>
                    <a:lnTo>
                      <a:pt x="97" y="10"/>
                    </a:lnTo>
                    <a:lnTo>
                      <a:pt x="102" y="14"/>
                    </a:lnTo>
                    <a:lnTo>
                      <a:pt x="106" y="17"/>
                    </a:lnTo>
                    <a:lnTo>
                      <a:pt x="110" y="21"/>
                    </a:lnTo>
                    <a:lnTo>
                      <a:pt x="114" y="27"/>
                    </a:lnTo>
                    <a:lnTo>
                      <a:pt x="117" y="32"/>
                    </a:lnTo>
                    <a:lnTo>
                      <a:pt x="120" y="38"/>
                    </a:lnTo>
                    <a:lnTo>
                      <a:pt x="121" y="43"/>
                    </a:lnTo>
                    <a:lnTo>
                      <a:pt x="123" y="48"/>
                    </a:lnTo>
                    <a:lnTo>
                      <a:pt x="124" y="55"/>
                    </a:lnTo>
                    <a:lnTo>
                      <a:pt x="124" y="61"/>
                    </a:lnTo>
                    <a:lnTo>
                      <a:pt x="124" y="68"/>
                    </a:lnTo>
                    <a:lnTo>
                      <a:pt x="123" y="73"/>
                    </a:lnTo>
                    <a:lnTo>
                      <a:pt x="121" y="80"/>
                    </a:lnTo>
                    <a:lnTo>
                      <a:pt x="120" y="85"/>
                    </a:lnTo>
                    <a:lnTo>
                      <a:pt x="117" y="91"/>
                    </a:lnTo>
                    <a:lnTo>
                      <a:pt x="114" y="96"/>
                    </a:lnTo>
                    <a:lnTo>
                      <a:pt x="110" y="100"/>
                    </a:lnTo>
                    <a:lnTo>
                      <a:pt x="106" y="105"/>
                    </a:lnTo>
                    <a:lnTo>
                      <a:pt x="102" y="109"/>
                    </a:lnTo>
                    <a:lnTo>
                      <a:pt x="97" y="112"/>
                    </a:lnTo>
                    <a:lnTo>
                      <a:pt x="92" y="115"/>
                    </a:lnTo>
                    <a:lnTo>
                      <a:pt x="87" y="119"/>
                    </a:lnTo>
                    <a:lnTo>
                      <a:pt x="81" y="121"/>
                    </a:lnTo>
                    <a:lnTo>
                      <a:pt x="75" y="122"/>
                    </a:lnTo>
                    <a:lnTo>
                      <a:pt x="69" y="123"/>
                    </a:lnTo>
                    <a:lnTo>
                      <a:pt x="63" y="123"/>
                    </a:lnTo>
                    <a:close/>
                    <a:moveTo>
                      <a:pt x="63" y="27"/>
                    </a:moveTo>
                    <a:lnTo>
                      <a:pt x="63" y="27"/>
                    </a:lnTo>
                    <a:lnTo>
                      <a:pt x="55" y="27"/>
                    </a:lnTo>
                    <a:lnTo>
                      <a:pt x="49" y="29"/>
                    </a:lnTo>
                    <a:lnTo>
                      <a:pt x="44" y="32"/>
                    </a:lnTo>
                    <a:lnTo>
                      <a:pt x="38" y="37"/>
                    </a:lnTo>
                    <a:lnTo>
                      <a:pt x="34" y="42"/>
                    </a:lnTo>
                    <a:lnTo>
                      <a:pt x="31" y="47"/>
                    </a:lnTo>
                    <a:lnTo>
                      <a:pt x="28" y="54"/>
                    </a:lnTo>
                    <a:lnTo>
                      <a:pt x="27" y="61"/>
                    </a:lnTo>
                    <a:lnTo>
                      <a:pt x="28" y="68"/>
                    </a:lnTo>
                    <a:lnTo>
                      <a:pt x="31" y="74"/>
                    </a:lnTo>
                    <a:lnTo>
                      <a:pt x="34" y="81"/>
                    </a:lnTo>
                    <a:lnTo>
                      <a:pt x="38" y="86"/>
                    </a:lnTo>
                    <a:lnTo>
                      <a:pt x="44" y="91"/>
                    </a:lnTo>
                    <a:lnTo>
                      <a:pt x="49" y="94"/>
                    </a:lnTo>
                    <a:lnTo>
                      <a:pt x="55" y="96"/>
                    </a:lnTo>
                    <a:lnTo>
                      <a:pt x="63" y="96"/>
                    </a:lnTo>
                    <a:lnTo>
                      <a:pt x="69" y="96"/>
                    </a:lnTo>
                    <a:lnTo>
                      <a:pt x="76" y="94"/>
                    </a:lnTo>
                    <a:lnTo>
                      <a:pt x="82" y="91"/>
                    </a:lnTo>
                    <a:lnTo>
                      <a:pt x="88" y="86"/>
                    </a:lnTo>
                    <a:lnTo>
                      <a:pt x="92" y="81"/>
                    </a:lnTo>
                    <a:lnTo>
                      <a:pt x="95" y="74"/>
                    </a:lnTo>
                    <a:lnTo>
                      <a:pt x="96" y="68"/>
                    </a:lnTo>
                    <a:lnTo>
                      <a:pt x="97" y="61"/>
                    </a:lnTo>
                    <a:lnTo>
                      <a:pt x="96" y="54"/>
                    </a:lnTo>
                    <a:lnTo>
                      <a:pt x="95" y="47"/>
                    </a:lnTo>
                    <a:lnTo>
                      <a:pt x="92" y="42"/>
                    </a:lnTo>
                    <a:lnTo>
                      <a:pt x="88" y="37"/>
                    </a:lnTo>
                    <a:lnTo>
                      <a:pt x="82" y="32"/>
                    </a:lnTo>
                    <a:lnTo>
                      <a:pt x="76" y="29"/>
                    </a:lnTo>
                    <a:lnTo>
                      <a:pt x="69" y="27"/>
                    </a:lnTo>
                    <a:lnTo>
                      <a:pt x="6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89"/>
              <p:cNvSpPr>
                <a:spLocks noEditPoints="1"/>
              </p:cNvSpPr>
              <p:nvPr userDrawn="1"/>
            </p:nvSpPr>
            <p:spPr bwMode="auto">
              <a:xfrm>
                <a:off x="1786" y="2171"/>
                <a:ext cx="41" cy="42"/>
              </a:xfrm>
              <a:custGeom>
                <a:avLst/>
                <a:gdLst>
                  <a:gd name="T0" fmla="*/ 56 w 124"/>
                  <a:gd name="T1" fmla="*/ 123 h 125"/>
                  <a:gd name="T2" fmla="*/ 44 w 124"/>
                  <a:gd name="T3" fmla="*/ 121 h 125"/>
                  <a:gd name="T4" fmla="*/ 32 w 124"/>
                  <a:gd name="T5" fmla="*/ 117 h 125"/>
                  <a:gd name="T6" fmla="*/ 23 w 124"/>
                  <a:gd name="T7" fmla="*/ 111 h 125"/>
                  <a:gd name="T8" fmla="*/ 15 w 124"/>
                  <a:gd name="T9" fmla="*/ 102 h 125"/>
                  <a:gd name="T10" fmla="*/ 8 w 124"/>
                  <a:gd name="T11" fmla="*/ 92 h 125"/>
                  <a:gd name="T12" fmla="*/ 3 w 124"/>
                  <a:gd name="T13" fmla="*/ 80 h 125"/>
                  <a:gd name="T14" fmla="*/ 1 w 124"/>
                  <a:gd name="T15" fmla="*/ 68 h 125"/>
                  <a:gd name="T16" fmla="*/ 1 w 124"/>
                  <a:gd name="T17" fmla="*/ 55 h 125"/>
                  <a:gd name="T18" fmla="*/ 3 w 124"/>
                  <a:gd name="T19" fmla="*/ 44 h 125"/>
                  <a:gd name="T20" fmla="*/ 8 w 124"/>
                  <a:gd name="T21" fmla="*/ 33 h 125"/>
                  <a:gd name="T22" fmla="*/ 15 w 124"/>
                  <a:gd name="T23" fmla="*/ 23 h 125"/>
                  <a:gd name="T24" fmla="*/ 23 w 124"/>
                  <a:gd name="T25" fmla="*/ 14 h 125"/>
                  <a:gd name="T26" fmla="*/ 32 w 124"/>
                  <a:gd name="T27" fmla="*/ 8 h 125"/>
                  <a:gd name="T28" fmla="*/ 44 w 124"/>
                  <a:gd name="T29" fmla="*/ 4 h 125"/>
                  <a:gd name="T30" fmla="*/ 56 w 124"/>
                  <a:gd name="T31" fmla="*/ 0 h 125"/>
                  <a:gd name="T32" fmla="*/ 69 w 124"/>
                  <a:gd name="T33" fmla="*/ 0 h 125"/>
                  <a:gd name="T34" fmla="*/ 81 w 124"/>
                  <a:gd name="T35" fmla="*/ 4 h 125"/>
                  <a:gd name="T36" fmla="*/ 92 w 124"/>
                  <a:gd name="T37" fmla="*/ 8 h 125"/>
                  <a:gd name="T38" fmla="*/ 102 w 124"/>
                  <a:gd name="T39" fmla="*/ 14 h 125"/>
                  <a:gd name="T40" fmla="*/ 110 w 124"/>
                  <a:gd name="T41" fmla="*/ 23 h 125"/>
                  <a:gd name="T42" fmla="*/ 117 w 124"/>
                  <a:gd name="T43" fmla="*/ 33 h 125"/>
                  <a:gd name="T44" fmla="*/ 122 w 124"/>
                  <a:gd name="T45" fmla="*/ 44 h 125"/>
                  <a:gd name="T46" fmla="*/ 124 w 124"/>
                  <a:gd name="T47" fmla="*/ 55 h 125"/>
                  <a:gd name="T48" fmla="*/ 124 w 124"/>
                  <a:gd name="T49" fmla="*/ 68 h 125"/>
                  <a:gd name="T50" fmla="*/ 122 w 124"/>
                  <a:gd name="T51" fmla="*/ 80 h 125"/>
                  <a:gd name="T52" fmla="*/ 117 w 124"/>
                  <a:gd name="T53" fmla="*/ 92 h 125"/>
                  <a:gd name="T54" fmla="*/ 110 w 124"/>
                  <a:gd name="T55" fmla="*/ 102 h 125"/>
                  <a:gd name="T56" fmla="*/ 102 w 124"/>
                  <a:gd name="T57" fmla="*/ 111 h 125"/>
                  <a:gd name="T58" fmla="*/ 92 w 124"/>
                  <a:gd name="T59" fmla="*/ 117 h 125"/>
                  <a:gd name="T60" fmla="*/ 81 w 124"/>
                  <a:gd name="T61" fmla="*/ 121 h 125"/>
                  <a:gd name="T62" fmla="*/ 69 w 124"/>
                  <a:gd name="T63" fmla="*/ 123 h 125"/>
                  <a:gd name="T64" fmla="*/ 63 w 124"/>
                  <a:gd name="T65" fmla="*/ 27 h 125"/>
                  <a:gd name="T66" fmla="*/ 55 w 124"/>
                  <a:gd name="T67" fmla="*/ 29 h 125"/>
                  <a:gd name="T68" fmla="*/ 43 w 124"/>
                  <a:gd name="T69" fmla="*/ 34 h 125"/>
                  <a:gd name="T70" fmla="*/ 34 w 124"/>
                  <a:gd name="T71" fmla="*/ 43 h 125"/>
                  <a:gd name="T72" fmla="*/ 28 w 124"/>
                  <a:gd name="T73" fmla="*/ 55 h 125"/>
                  <a:gd name="T74" fmla="*/ 28 w 124"/>
                  <a:gd name="T75" fmla="*/ 70 h 125"/>
                  <a:gd name="T76" fmla="*/ 34 w 124"/>
                  <a:gd name="T77" fmla="*/ 81 h 125"/>
                  <a:gd name="T78" fmla="*/ 43 w 124"/>
                  <a:gd name="T79" fmla="*/ 91 h 125"/>
                  <a:gd name="T80" fmla="*/ 55 w 124"/>
                  <a:gd name="T81" fmla="*/ 97 h 125"/>
                  <a:gd name="T82" fmla="*/ 69 w 124"/>
                  <a:gd name="T83" fmla="*/ 97 h 125"/>
                  <a:gd name="T84" fmla="*/ 82 w 124"/>
                  <a:gd name="T85" fmla="*/ 91 h 125"/>
                  <a:gd name="T86" fmla="*/ 92 w 124"/>
                  <a:gd name="T87" fmla="*/ 81 h 125"/>
                  <a:gd name="T88" fmla="*/ 96 w 124"/>
                  <a:gd name="T89" fmla="*/ 70 h 125"/>
                  <a:gd name="T90" fmla="*/ 96 w 124"/>
                  <a:gd name="T91" fmla="*/ 55 h 125"/>
                  <a:gd name="T92" fmla="*/ 92 w 124"/>
                  <a:gd name="T93" fmla="*/ 43 h 125"/>
                  <a:gd name="T94" fmla="*/ 82 w 124"/>
                  <a:gd name="T95" fmla="*/ 34 h 125"/>
                  <a:gd name="T96" fmla="*/ 69 w 124"/>
                  <a:gd name="T97" fmla="*/ 2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5">
                    <a:moveTo>
                      <a:pt x="63" y="125"/>
                    </a:moveTo>
                    <a:lnTo>
                      <a:pt x="56" y="123"/>
                    </a:lnTo>
                    <a:lnTo>
                      <a:pt x="50" y="122"/>
                    </a:lnTo>
                    <a:lnTo>
                      <a:pt x="44" y="121"/>
                    </a:lnTo>
                    <a:lnTo>
                      <a:pt x="38" y="119"/>
                    </a:lnTo>
                    <a:lnTo>
                      <a:pt x="32" y="117"/>
                    </a:lnTo>
                    <a:lnTo>
                      <a:pt x="28" y="114"/>
                    </a:lnTo>
                    <a:lnTo>
                      <a:pt x="23" y="111"/>
                    </a:lnTo>
                    <a:lnTo>
                      <a:pt x="18" y="106"/>
                    </a:lnTo>
                    <a:lnTo>
                      <a:pt x="15" y="102"/>
                    </a:lnTo>
                    <a:lnTo>
                      <a:pt x="11" y="97"/>
                    </a:lnTo>
                    <a:lnTo>
                      <a:pt x="8" y="92"/>
                    </a:lnTo>
                    <a:lnTo>
                      <a:pt x="5" y="87"/>
                    </a:lnTo>
                    <a:lnTo>
                      <a:pt x="3" y="80"/>
                    </a:lnTo>
                    <a:lnTo>
                      <a:pt x="2" y="75"/>
                    </a:lnTo>
                    <a:lnTo>
                      <a:pt x="1" y="68"/>
                    </a:lnTo>
                    <a:lnTo>
                      <a:pt x="0" y="62"/>
                    </a:lnTo>
                    <a:lnTo>
                      <a:pt x="1" y="55"/>
                    </a:lnTo>
                    <a:lnTo>
                      <a:pt x="2" y="50"/>
                    </a:lnTo>
                    <a:lnTo>
                      <a:pt x="3" y="44"/>
                    </a:lnTo>
                    <a:lnTo>
                      <a:pt x="5" y="38"/>
                    </a:lnTo>
                    <a:lnTo>
                      <a:pt x="8" y="33"/>
                    </a:lnTo>
                    <a:lnTo>
                      <a:pt x="11" y="27"/>
                    </a:lnTo>
                    <a:lnTo>
                      <a:pt x="15" y="23"/>
                    </a:lnTo>
                    <a:lnTo>
                      <a:pt x="18" y="19"/>
                    </a:lnTo>
                    <a:lnTo>
                      <a:pt x="23" y="14"/>
                    </a:lnTo>
                    <a:lnTo>
                      <a:pt x="28" y="11"/>
                    </a:lnTo>
                    <a:lnTo>
                      <a:pt x="32" y="8"/>
                    </a:lnTo>
                    <a:lnTo>
                      <a:pt x="38" y="5"/>
                    </a:lnTo>
                    <a:lnTo>
                      <a:pt x="44" y="4"/>
                    </a:lnTo>
                    <a:lnTo>
                      <a:pt x="50" y="2"/>
                    </a:lnTo>
                    <a:lnTo>
                      <a:pt x="56" y="0"/>
                    </a:lnTo>
                    <a:lnTo>
                      <a:pt x="63" y="0"/>
                    </a:lnTo>
                    <a:lnTo>
                      <a:pt x="69" y="0"/>
                    </a:lnTo>
                    <a:lnTo>
                      <a:pt x="75" y="2"/>
                    </a:lnTo>
                    <a:lnTo>
                      <a:pt x="81" y="4"/>
                    </a:lnTo>
                    <a:lnTo>
                      <a:pt x="86" y="5"/>
                    </a:lnTo>
                    <a:lnTo>
                      <a:pt x="92" y="8"/>
                    </a:lnTo>
                    <a:lnTo>
                      <a:pt x="97" y="11"/>
                    </a:lnTo>
                    <a:lnTo>
                      <a:pt x="102" y="14"/>
                    </a:lnTo>
                    <a:lnTo>
                      <a:pt x="106" y="19"/>
                    </a:lnTo>
                    <a:lnTo>
                      <a:pt x="110" y="23"/>
                    </a:lnTo>
                    <a:lnTo>
                      <a:pt x="113" y="27"/>
                    </a:lnTo>
                    <a:lnTo>
                      <a:pt x="117" y="33"/>
                    </a:lnTo>
                    <a:lnTo>
                      <a:pt x="120" y="38"/>
                    </a:lnTo>
                    <a:lnTo>
                      <a:pt x="122" y="44"/>
                    </a:lnTo>
                    <a:lnTo>
                      <a:pt x="123" y="50"/>
                    </a:lnTo>
                    <a:lnTo>
                      <a:pt x="124" y="55"/>
                    </a:lnTo>
                    <a:lnTo>
                      <a:pt x="124" y="62"/>
                    </a:lnTo>
                    <a:lnTo>
                      <a:pt x="124" y="68"/>
                    </a:lnTo>
                    <a:lnTo>
                      <a:pt x="123" y="75"/>
                    </a:lnTo>
                    <a:lnTo>
                      <a:pt x="122" y="80"/>
                    </a:lnTo>
                    <a:lnTo>
                      <a:pt x="120" y="87"/>
                    </a:lnTo>
                    <a:lnTo>
                      <a:pt x="117" y="92"/>
                    </a:lnTo>
                    <a:lnTo>
                      <a:pt x="113" y="97"/>
                    </a:lnTo>
                    <a:lnTo>
                      <a:pt x="110" y="102"/>
                    </a:lnTo>
                    <a:lnTo>
                      <a:pt x="106" y="106"/>
                    </a:lnTo>
                    <a:lnTo>
                      <a:pt x="102" y="111"/>
                    </a:lnTo>
                    <a:lnTo>
                      <a:pt x="97" y="114"/>
                    </a:lnTo>
                    <a:lnTo>
                      <a:pt x="92" y="117"/>
                    </a:lnTo>
                    <a:lnTo>
                      <a:pt x="86" y="119"/>
                    </a:lnTo>
                    <a:lnTo>
                      <a:pt x="81" y="121"/>
                    </a:lnTo>
                    <a:lnTo>
                      <a:pt x="75" y="122"/>
                    </a:lnTo>
                    <a:lnTo>
                      <a:pt x="69" y="123"/>
                    </a:lnTo>
                    <a:lnTo>
                      <a:pt x="63" y="125"/>
                    </a:lnTo>
                    <a:close/>
                    <a:moveTo>
                      <a:pt x="63" y="27"/>
                    </a:moveTo>
                    <a:lnTo>
                      <a:pt x="63" y="27"/>
                    </a:lnTo>
                    <a:lnTo>
                      <a:pt x="55" y="29"/>
                    </a:lnTo>
                    <a:lnTo>
                      <a:pt x="49" y="31"/>
                    </a:lnTo>
                    <a:lnTo>
                      <a:pt x="43" y="34"/>
                    </a:lnTo>
                    <a:lnTo>
                      <a:pt x="38" y="37"/>
                    </a:lnTo>
                    <a:lnTo>
                      <a:pt x="34" y="43"/>
                    </a:lnTo>
                    <a:lnTo>
                      <a:pt x="30" y="49"/>
                    </a:lnTo>
                    <a:lnTo>
                      <a:pt x="28" y="55"/>
                    </a:lnTo>
                    <a:lnTo>
                      <a:pt x="27" y="62"/>
                    </a:lnTo>
                    <a:lnTo>
                      <a:pt x="28" y="70"/>
                    </a:lnTo>
                    <a:lnTo>
                      <a:pt x="30" y="76"/>
                    </a:lnTo>
                    <a:lnTo>
                      <a:pt x="34" y="81"/>
                    </a:lnTo>
                    <a:lnTo>
                      <a:pt x="38" y="87"/>
                    </a:lnTo>
                    <a:lnTo>
                      <a:pt x="43" y="91"/>
                    </a:lnTo>
                    <a:lnTo>
                      <a:pt x="49" y="94"/>
                    </a:lnTo>
                    <a:lnTo>
                      <a:pt x="55" y="97"/>
                    </a:lnTo>
                    <a:lnTo>
                      <a:pt x="63" y="98"/>
                    </a:lnTo>
                    <a:lnTo>
                      <a:pt x="69" y="97"/>
                    </a:lnTo>
                    <a:lnTo>
                      <a:pt x="76" y="94"/>
                    </a:lnTo>
                    <a:lnTo>
                      <a:pt x="82" y="91"/>
                    </a:lnTo>
                    <a:lnTo>
                      <a:pt x="87" y="87"/>
                    </a:lnTo>
                    <a:lnTo>
                      <a:pt x="92" y="81"/>
                    </a:lnTo>
                    <a:lnTo>
                      <a:pt x="95" y="76"/>
                    </a:lnTo>
                    <a:lnTo>
                      <a:pt x="96" y="70"/>
                    </a:lnTo>
                    <a:lnTo>
                      <a:pt x="97" y="62"/>
                    </a:lnTo>
                    <a:lnTo>
                      <a:pt x="96" y="55"/>
                    </a:lnTo>
                    <a:lnTo>
                      <a:pt x="95" y="49"/>
                    </a:lnTo>
                    <a:lnTo>
                      <a:pt x="92" y="43"/>
                    </a:lnTo>
                    <a:lnTo>
                      <a:pt x="87" y="37"/>
                    </a:lnTo>
                    <a:lnTo>
                      <a:pt x="82" y="34"/>
                    </a:lnTo>
                    <a:lnTo>
                      <a:pt x="76" y="31"/>
                    </a:lnTo>
                    <a:lnTo>
                      <a:pt x="69" y="29"/>
                    </a:lnTo>
                    <a:lnTo>
                      <a:pt x="63"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90"/>
              <p:cNvSpPr>
                <a:spLocks noEditPoints="1"/>
              </p:cNvSpPr>
              <p:nvPr userDrawn="1"/>
            </p:nvSpPr>
            <p:spPr bwMode="auto">
              <a:xfrm>
                <a:off x="1816" y="2075"/>
                <a:ext cx="41" cy="41"/>
              </a:xfrm>
              <a:custGeom>
                <a:avLst/>
                <a:gdLst>
                  <a:gd name="T0" fmla="*/ 56 w 124"/>
                  <a:gd name="T1" fmla="*/ 123 h 123"/>
                  <a:gd name="T2" fmla="*/ 44 w 124"/>
                  <a:gd name="T3" fmla="*/ 121 h 123"/>
                  <a:gd name="T4" fmla="*/ 32 w 124"/>
                  <a:gd name="T5" fmla="*/ 116 h 123"/>
                  <a:gd name="T6" fmla="*/ 22 w 124"/>
                  <a:gd name="T7" fmla="*/ 109 h 123"/>
                  <a:gd name="T8" fmla="*/ 14 w 124"/>
                  <a:gd name="T9" fmla="*/ 100 h 123"/>
                  <a:gd name="T10" fmla="*/ 7 w 124"/>
                  <a:gd name="T11" fmla="*/ 91 h 123"/>
                  <a:gd name="T12" fmla="*/ 3 w 124"/>
                  <a:gd name="T13" fmla="*/ 80 h 123"/>
                  <a:gd name="T14" fmla="*/ 1 w 124"/>
                  <a:gd name="T15" fmla="*/ 68 h 123"/>
                  <a:gd name="T16" fmla="*/ 1 w 124"/>
                  <a:gd name="T17" fmla="*/ 55 h 123"/>
                  <a:gd name="T18" fmla="*/ 3 w 124"/>
                  <a:gd name="T19" fmla="*/ 43 h 123"/>
                  <a:gd name="T20" fmla="*/ 7 w 124"/>
                  <a:gd name="T21" fmla="*/ 32 h 123"/>
                  <a:gd name="T22" fmla="*/ 14 w 124"/>
                  <a:gd name="T23" fmla="*/ 22 h 123"/>
                  <a:gd name="T24" fmla="*/ 22 w 124"/>
                  <a:gd name="T25" fmla="*/ 14 h 123"/>
                  <a:gd name="T26" fmla="*/ 32 w 124"/>
                  <a:gd name="T27" fmla="*/ 8 h 123"/>
                  <a:gd name="T28" fmla="*/ 44 w 124"/>
                  <a:gd name="T29" fmla="*/ 2 h 123"/>
                  <a:gd name="T30" fmla="*/ 56 w 124"/>
                  <a:gd name="T31" fmla="*/ 0 h 123"/>
                  <a:gd name="T32" fmla="*/ 68 w 124"/>
                  <a:gd name="T33" fmla="*/ 0 h 123"/>
                  <a:gd name="T34" fmla="*/ 81 w 124"/>
                  <a:gd name="T35" fmla="*/ 2 h 123"/>
                  <a:gd name="T36" fmla="*/ 91 w 124"/>
                  <a:gd name="T37" fmla="*/ 8 h 123"/>
                  <a:gd name="T38" fmla="*/ 101 w 124"/>
                  <a:gd name="T39" fmla="*/ 14 h 123"/>
                  <a:gd name="T40" fmla="*/ 110 w 124"/>
                  <a:gd name="T41" fmla="*/ 22 h 123"/>
                  <a:gd name="T42" fmla="*/ 116 w 124"/>
                  <a:gd name="T43" fmla="*/ 32 h 123"/>
                  <a:gd name="T44" fmla="*/ 121 w 124"/>
                  <a:gd name="T45" fmla="*/ 43 h 123"/>
                  <a:gd name="T46" fmla="*/ 124 w 124"/>
                  <a:gd name="T47" fmla="*/ 55 h 123"/>
                  <a:gd name="T48" fmla="*/ 124 w 124"/>
                  <a:gd name="T49" fmla="*/ 68 h 123"/>
                  <a:gd name="T50" fmla="*/ 121 w 124"/>
                  <a:gd name="T51" fmla="*/ 80 h 123"/>
                  <a:gd name="T52" fmla="*/ 116 w 124"/>
                  <a:gd name="T53" fmla="*/ 91 h 123"/>
                  <a:gd name="T54" fmla="*/ 110 w 124"/>
                  <a:gd name="T55" fmla="*/ 100 h 123"/>
                  <a:gd name="T56" fmla="*/ 101 w 124"/>
                  <a:gd name="T57" fmla="*/ 109 h 123"/>
                  <a:gd name="T58" fmla="*/ 91 w 124"/>
                  <a:gd name="T59" fmla="*/ 116 h 123"/>
                  <a:gd name="T60" fmla="*/ 81 w 124"/>
                  <a:gd name="T61" fmla="*/ 121 h 123"/>
                  <a:gd name="T62" fmla="*/ 68 w 124"/>
                  <a:gd name="T63" fmla="*/ 123 h 123"/>
                  <a:gd name="T64" fmla="*/ 62 w 124"/>
                  <a:gd name="T65" fmla="*/ 27 h 123"/>
                  <a:gd name="T66" fmla="*/ 55 w 124"/>
                  <a:gd name="T67" fmla="*/ 27 h 123"/>
                  <a:gd name="T68" fmla="*/ 42 w 124"/>
                  <a:gd name="T69" fmla="*/ 32 h 123"/>
                  <a:gd name="T70" fmla="*/ 33 w 124"/>
                  <a:gd name="T71" fmla="*/ 42 h 123"/>
                  <a:gd name="T72" fmla="*/ 28 w 124"/>
                  <a:gd name="T73" fmla="*/ 54 h 123"/>
                  <a:gd name="T74" fmla="*/ 28 w 124"/>
                  <a:gd name="T75" fmla="*/ 68 h 123"/>
                  <a:gd name="T76" fmla="*/ 33 w 124"/>
                  <a:gd name="T77" fmla="*/ 81 h 123"/>
                  <a:gd name="T78" fmla="*/ 42 w 124"/>
                  <a:gd name="T79" fmla="*/ 91 h 123"/>
                  <a:gd name="T80" fmla="*/ 55 w 124"/>
                  <a:gd name="T81" fmla="*/ 96 h 123"/>
                  <a:gd name="T82" fmla="*/ 69 w 124"/>
                  <a:gd name="T83" fmla="*/ 96 h 123"/>
                  <a:gd name="T84" fmla="*/ 82 w 124"/>
                  <a:gd name="T85" fmla="*/ 91 h 123"/>
                  <a:gd name="T86" fmla="*/ 90 w 124"/>
                  <a:gd name="T87" fmla="*/ 81 h 123"/>
                  <a:gd name="T88" fmla="*/ 96 w 124"/>
                  <a:gd name="T89" fmla="*/ 68 h 123"/>
                  <a:gd name="T90" fmla="*/ 96 w 124"/>
                  <a:gd name="T91" fmla="*/ 54 h 123"/>
                  <a:gd name="T92" fmla="*/ 90 w 124"/>
                  <a:gd name="T93" fmla="*/ 42 h 123"/>
                  <a:gd name="T94" fmla="*/ 82 w 124"/>
                  <a:gd name="T95" fmla="*/ 32 h 123"/>
                  <a:gd name="T96" fmla="*/ 69 w 124"/>
                  <a:gd name="T97"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3">
                    <a:moveTo>
                      <a:pt x="62" y="123"/>
                    </a:moveTo>
                    <a:lnTo>
                      <a:pt x="56" y="123"/>
                    </a:lnTo>
                    <a:lnTo>
                      <a:pt x="49" y="122"/>
                    </a:lnTo>
                    <a:lnTo>
                      <a:pt x="44" y="121"/>
                    </a:lnTo>
                    <a:lnTo>
                      <a:pt x="37" y="119"/>
                    </a:lnTo>
                    <a:lnTo>
                      <a:pt x="32" y="116"/>
                    </a:lnTo>
                    <a:lnTo>
                      <a:pt x="28" y="112"/>
                    </a:lnTo>
                    <a:lnTo>
                      <a:pt x="22" y="109"/>
                    </a:lnTo>
                    <a:lnTo>
                      <a:pt x="18" y="105"/>
                    </a:lnTo>
                    <a:lnTo>
                      <a:pt x="14" y="100"/>
                    </a:lnTo>
                    <a:lnTo>
                      <a:pt x="10" y="96"/>
                    </a:lnTo>
                    <a:lnTo>
                      <a:pt x="7" y="91"/>
                    </a:lnTo>
                    <a:lnTo>
                      <a:pt x="5" y="85"/>
                    </a:lnTo>
                    <a:lnTo>
                      <a:pt x="3" y="80"/>
                    </a:lnTo>
                    <a:lnTo>
                      <a:pt x="1" y="73"/>
                    </a:lnTo>
                    <a:lnTo>
                      <a:pt x="1" y="68"/>
                    </a:lnTo>
                    <a:lnTo>
                      <a:pt x="0" y="62"/>
                    </a:lnTo>
                    <a:lnTo>
                      <a:pt x="1" y="55"/>
                    </a:lnTo>
                    <a:lnTo>
                      <a:pt x="1" y="49"/>
                    </a:lnTo>
                    <a:lnTo>
                      <a:pt x="3" y="43"/>
                    </a:lnTo>
                    <a:lnTo>
                      <a:pt x="5" y="38"/>
                    </a:lnTo>
                    <a:lnTo>
                      <a:pt x="7" y="32"/>
                    </a:lnTo>
                    <a:lnTo>
                      <a:pt x="10" y="27"/>
                    </a:lnTo>
                    <a:lnTo>
                      <a:pt x="14" y="22"/>
                    </a:lnTo>
                    <a:lnTo>
                      <a:pt x="18" y="17"/>
                    </a:lnTo>
                    <a:lnTo>
                      <a:pt x="22" y="14"/>
                    </a:lnTo>
                    <a:lnTo>
                      <a:pt x="28" y="10"/>
                    </a:lnTo>
                    <a:lnTo>
                      <a:pt x="32" y="8"/>
                    </a:lnTo>
                    <a:lnTo>
                      <a:pt x="37" y="4"/>
                    </a:lnTo>
                    <a:lnTo>
                      <a:pt x="44" y="2"/>
                    </a:lnTo>
                    <a:lnTo>
                      <a:pt x="49" y="1"/>
                    </a:lnTo>
                    <a:lnTo>
                      <a:pt x="56" y="0"/>
                    </a:lnTo>
                    <a:lnTo>
                      <a:pt x="62" y="0"/>
                    </a:lnTo>
                    <a:lnTo>
                      <a:pt x="68" y="0"/>
                    </a:lnTo>
                    <a:lnTo>
                      <a:pt x="74" y="1"/>
                    </a:lnTo>
                    <a:lnTo>
                      <a:pt x="81" y="2"/>
                    </a:lnTo>
                    <a:lnTo>
                      <a:pt x="86" y="4"/>
                    </a:lnTo>
                    <a:lnTo>
                      <a:pt x="91" y="8"/>
                    </a:lnTo>
                    <a:lnTo>
                      <a:pt x="97" y="10"/>
                    </a:lnTo>
                    <a:lnTo>
                      <a:pt x="101" y="14"/>
                    </a:lnTo>
                    <a:lnTo>
                      <a:pt x="105" y="17"/>
                    </a:lnTo>
                    <a:lnTo>
                      <a:pt x="110" y="22"/>
                    </a:lnTo>
                    <a:lnTo>
                      <a:pt x="113" y="27"/>
                    </a:lnTo>
                    <a:lnTo>
                      <a:pt x="116" y="32"/>
                    </a:lnTo>
                    <a:lnTo>
                      <a:pt x="118" y="38"/>
                    </a:lnTo>
                    <a:lnTo>
                      <a:pt x="121" y="43"/>
                    </a:lnTo>
                    <a:lnTo>
                      <a:pt x="123" y="49"/>
                    </a:lnTo>
                    <a:lnTo>
                      <a:pt x="124" y="55"/>
                    </a:lnTo>
                    <a:lnTo>
                      <a:pt x="124" y="62"/>
                    </a:lnTo>
                    <a:lnTo>
                      <a:pt x="124" y="68"/>
                    </a:lnTo>
                    <a:lnTo>
                      <a:pt x="123" y="73"/>
                    </a:lnTo>
                    <a:lnTo>
                      <a:pt x="121" y="80"/>
                    </a:lnTo>
                    <a:lnTo>
                      <a:pt x="118" y="85"/>
                    </a:lnTo>
                    <a:lnTo>
                      <a:pt x="116" y="91"/>
                    </a:lnTo>
                    <a:lnTo>
                      <a:pt x="113" y="96"/>
                    </a:lnTo>
                    <a:lnTo>
                      <a:pt x="110" y="100"/>
                    </a:lnTo>
                    <a:lnTo>
                      <a:pt x="105" y="105"/>
                    </a:lnTo>
                    <a:lnTo>
                      <a:pt x="101" y="109"/>
                    </a:lnTo>
                    <a:lnTo>
                      <a:pt x="97" y="112"/>
                    </a:lnTo>
                    <a:lnTo>
                      <a:pt x="91" y="116"/>
                    </a:lnTo>
                    <a:lnTo>
                      <a:pt x="86" y="119"/>
                    </a:lnTo>
                    <a:lnTo>
                      <a:pt x="81" y="121"/>
                    </a:lnTo>
                    <a:lnTo>
                      <a:pt x="74" y="122"/>
                    </a:lnTo>
                    <a:lnTo>
                      <a:pt x="68" y="123"/>
                    </a:lnTo>
                    <a:lnTo>
                      <a:pt x="62" y="123"/>
                    </a:lnTo>
                    <a:close/>
                    <a:moveTo>
                      <a:pt x="62" y="27"/>
                    </a:moveTo>
                    <a:lnTo>
                      <a:pt x="62" y="27"/>
                    </a:lnTo>
                    <a:lnTo>
                      <a:pt x="55" y="27"/>
                    </a:lnTo>
                    <a:lnTo>
                      <a:pt x="48" y="29"/>
                    </a:lnTo>
                    <a:lnTo>
                      <a:pt x="42" y="32"/>
                    </a:lnTo>
                    <a:lnTo>
                      <a:pt x="37" y="37"/>
                    </a:lnTo>
                    <a:lnTo>
                      <a:pt x="33" y="42"/>
                    </a:lnTo>
                    <a:lnTo>
                      <a:pt x="30" y="48"/>
                    </a:lnTo>
                    <a:lnTo>
                      <a:pt x="28" y="54"/>
                    </a:lnTo>
                    <a:lnTo>
                      <a:pt x="27" y="62"/>
                    </a:lnTo>
                    <a:lnTo>
                      <a:pt x="28" y="68"/>
                    </a:lnTo>
                    <a:lnTo>
                      <a:pt x="30" y="76"/>
                    </a:lnTo>
                    <a:lnTo>
                      <a:pt x="33" y="81"/>
                    </a:lnTo>
                    <a:lnTo>
                      <a:pt x="37" y="86"/>
                    </a:lnTo>
                    <a:lnTo>
                      <a:pt x="42" y="91"/>
                    </a:lnTo>
                    <a:lnTo>
                      <a:pt x="48" y="94"/>
                    </a:lnTo>
                    <a:lnTo>
                      <a:pt x="55" y="96"/>
                    </a:lnTo>
                    <a:lnTo>
                      <a:pt x="62" y="96"/>
                    </a:lnTo>
                    <a:lnTo>
                      <a:pt x="69" y="96"/>
                    </a:lnTo>
                    <a:lnTo>
                      <a:pt x="75" y="94"/>
                    </a:lnTo>
                    <a:lnTo>
                      <a:pt x="82" y="91"/>
                    </a:lnTo>
                    <a:lnTo>
                      <a:pt x="86" y="86"/>
                    </a:lnTo>
                    <a:lnTo>
                      <a:pt x="90" y="81"/>
                    </a:lnTo>
                    <a:lnTo>
                      <a:pt x="94" y="76"/>
                    </a:lnTo>
                    <a:lnTo>
                      <a:pt x="96" y="68"/>
                    </a:lnTo>
                    <a:lnTo>
                      <a:pt x="97" y="62"/>
                    </a:lnTo>
                    <a:lnTo>
                      <a:pt x="96" y="54"/>
                    </a:lnTo>
                    <a:lnTo>
                      <a:pt x="94" y="48"/>
                    </a:lnTo>
                    <a:lnTo>
                      <a:pt x="90" y="42"/>
                    </a:lnTo>
                    <a:lnTo>
                      <a:pt x="86" y="37"/>
                    </a:lnTo>
                    <a:lnTo>
                      <a:pt x="82" y="32"/>
                    </a:lnTo>
                    <a:lnTo>
                      <a:pt x="75" y="29"/>
                    </a:lnTo>
                    <a:lnTo>
                      <a:pt x="69" y="27"/>
                    </a:lnTo>
                    <a:lnTo>
                      <a:pt x="6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91"/>
              <p:cNvSpPr>
                <a:spLocks noEditPoints="1"/>
              </p:cNvSpPr>
              <p:nvPr userDrawn="1"/>
            </p:nvSpPr>
            <p:spPr bwMode="auto">
              <a:xfrm>
                <a:off x="1784" y="2170"/>
                <a:ext cx="41" cy="41"/>
              </a:xfrm>
              <a:custGeom>
                <a:avLst/>
                <a:gdLst>
                  <a:gd name="T0" fmla="*/ 55 w 123"/>
                  <a:gd name="T1" fmla="*/ 123 h 124"/>
                  <a:gd name="T2" fmla="*/ 43 w 123"/>
                  <a:gd name="T3" fmla="*/ 121 h 124"/>
                  <a:gd name="T4" fmla="*/ 32 w 123"/>
                  <a:gd name="T5" fmla="*/ 117 h 124"/>
                  <a:gd name="T6" fmla="*/ 21 w 123"/>
                  <a:gd name="T7" fmla="*/ 109 h 124"/>
                  <a:gd name="T8" fmla="*/ 14 w 123"/>
                  <a:gd name="T9" fmla="*/ 102 h 124"/>
                  <a:gd name="T10" fmla="*/ 6 w 123"/>
                  <a:gd name="T11" fmla="*/ 92 h 124"/>
                  <a:gd name="T12" fmla="*/ 2 w 123"/>
                  <a:gd name="T13" fmla="*/ 80 h 124"/>
                  <a:gd name="T14" fmla="*/ 0 w 123"/>
                  <a:gd name="T15" fmla="*/ 68 h 124"/>
                  <a:gd name="T16" fmla="*/ 0 w 123"/>
                  <a:gd name="T17" fmla="*/ 55 h 124"/>
                  <a:gd name="T18" fmla="*/ 2 w 123"/>
                  <a:gd name="T19" fmla="*/ 43 h 124"/>
                  <a:gd name="T20" fmla="*/ 6 w 123"/>
                  <a:gd name="T21" fmla="*/ 32 h 124"/>
                  <a:gd name="T22" fmla="*/ 14 w 123"/>
                  <a:gd name="T23" fmla="*/ 23 h 124"/>
                  <a:gd name="T24" fmla="*/ 21 w 123"/>
                  <a:gd name="T25" fmla="*/ 14 h 124"/>
                  <a:gd name="T26" fmla="*/ 32 w 123"/>
                  <a:gd name="T27" fmla="*/ 8 h 124"/>
                  <a:gd name="T28" fmla="*/ 43 w 123"/>
                  <a:gd name="T29" fmla="*/ 2 h 124"/>
                  <a:gd name="T30" fmla="*/ 55 w 123"/>
                  <a:gd name="T31" fmla="*/ 0 h 124"/>
                  <a:gd name="T32" fmla="*/ 68 w 123"/>
                  <a:gd name="T33" fmla="*/ 0 h 124"/>
                  <a:gd name="T34" fmla="*/ 79 w 123"/>
                  <a:gd name="T35" fmla="*/ 2 h 124"/>
                  <a:gd name="T36" fmla="*/ 90 w 123"/>
                  <a:gd name="T37" fmla="*/ 8 h 124"/>
                  <a:gd name="T38" fmla="*/ 100 w 123"/>
                  <a:gd name="T39" fmla="*/ 14 h 124"/>
                  <a:gd name="T40" fmla="*/ 109 w 123"/>
                  <a:gd name="T41" fmla="*/ 23 h 124"/>
                  <a:gd name="T42" fmla="*/ 115 w 123"/>
                  <a:gd name="T43" fmla="*/ 32 h 124"/>
                  <a:gd name="T44" fmla="*/ 120 w 123"/>
                  <a:gd name="T45" fmla="*/ 43 h 124"/>
                  <a:gd name="T46" fmla="*/ 123 w 123"/>
                  <a:gd name="T47" fmla="*/ 55 h 124"/>
                  <a:gd name="T48" fmla="*/ 123 w 123"/>
                  <a:gd name="T49" fmla="*/ 68 h 124"/>
                  <a:gd name="T50" fmla="*/ 120 w 123"/>
                  <a:gd name="T51" fmla="*/ 80 h 124"/>
                  <a:gd name="T52" fmla="*/ 115 w 123"/>
                  <a:gd name="T53" fmla="*/ 92 h 124"/>
                  <a:gd name="T54" fmla="*/ 109 w 123"/>
                  <a:gd name="T55" fmla="*/ 102 h 124"/>
                  <a:gd name="T56" fmla="*/ 100 w 123"/>
                  <a:gd name="T57" fmla="*/ 109 h 124"/>
                  <a:gd name="T58" fmla="*/ 90 w 123"/>
                  <a:gd name="T59" fmla="*/ 117 h 124"/>
                  <a:gd name="T60" fmla="*/ 79 w 123"/>
                  <a:gd name="T61" fmla="*/ 121 h 124"/>
                  <a:gd name="T62" fmla="*/ 68 w 123"/>
                  <a:gd name="T63" fmla="*/ 123 h 124"/>
                  <a:gd name="T64" fmla="*/ 61 w 123"/>
                  <a:gd name="T65" fmla="*/ 27 h 124"/>
                  <a:gd name="T66" fmla="*/ 54 w 123"/>
                  <a:gd name="T67" fmla="*/ 28 h 124"/>
                  <a:gd name="T68" fmla="*/ 42 w 123"/>
                  <a:gd name="T69" fmla="*/ 32 h 124"/>
                  <a:gd name="T70" fmla="*/ 32 w 123"/>
                  <a:gd name="T71" fmla="*/ 42 h 124"/>
                  <a:gd name="T72" fmla="*/ 27 w 123"/>
                  <a:gd name="T73" fmla="*/ 55 h 124"/>
                  <a:gd name="T74" fmla="*/ 27 w 123"/>
                  <a:gd name="T75" fmla="*/ 69 h 124"/>
                  <a:gd name="T76" fmla="*/ 32 w 123"/>
                  <a:gd name="T77" fmla="*/ 81 h 124"/>
                  <a:gd name="T78" fmla="*/ 42 w 123"/>
                  <a:gd name="T79" fmla="*/ 91 h 124"/>
                  <a:gd name="T80" fmla="*/ 54 w 123"/>
                  <a:gd name="T81" fmla="*/ 96 h 124"/>
                  <a:gd name="T82" fmla="*/ 68 w 123"/>
                  <a:gd name="T83" fmla="*/ 96 h 124"/>
                  <a:gd name="T84" fmla="*/ 81 w 123"/>
                  <a:gd name="T85" fmla="*/ 91 h 124"/>
                  <a:gd name="T86" fmla="*/ 90 w 123"/>
                  <a:gd name="T87" fmla="*/ 81 h 124"/>
                  <a:gd name="T88" fmla="*/ 96 w 123"/>
                  <a:gd name="T89" fmla="*/ 69 h 124"/>
                  <a:gd name="T90" fmla="*/ 96 w 123"/>
                  <a:gd name="T91" fmla="*/ 55 h 124"/>
                  <a:gd name="T92" fmla="*/ 90 w 123"/>
                  <a:gd name="T93" fmla="*/ 42 h 124"/>
                  <a:gd name="T94" fmla="*/ 81 w 123"/>
                  <a:gd name="T95" fmla="*/ 32 h 124"/>
                  <a:gd name="T96" fmla="*/ 68 w 123"/>
                  <a:gd name="T97" fmla="*/ 2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3" h="124">
                    <a:moveTo>
                      <a:pt x="61" y="124"/>
                    </a:moveTo>
                    <a:lnTo>
                      <a:pt x="55" y="123"/>
                    </a:lnTo>
                    <a:lnTo>
                      <a:pt x="48" y="122"/>
                    </a:lnTo>
                    <a:lnTo>
                      <a:pt x="43" y="121"/>
                    </a:lnTo>
                    <a:lnTo>
                      <a:pt x="37" y="119"/>
                    </a:lnTo>
                    <a:lnTo>
                      <a:pt x="32" y="117"/>
                    </a:lnTo>
                    <a:lnTo>
                      <a:pt x="27" y="113"/>
                    </a:lnTo>
                    <a:lnTo>
                      <a:pt x="21" y="109"/>
                    </a:lnTo>
                    <a:lnTo>
                      <a:pt x="17" y="106"/>
                    </a:lnTo>
                    <a:lnTo>
                      <a:pt x="14" y="102"/>
                    </a:lnTo>
                    <a:lnTo>
                      <a:pt x="9" y="96"/>
                    </a:lnTo>
                    <a:lnTo>
                      <a:pt x="6" y="92"/>
                    </a:lnTo>
                    <a:lnTo>
                      <a:pt x="4" y="86"/>
                    </a:lnTo>
                    <a:lnTo>
                      <a:pt x="2" y="80"/>
                    </a:lnTo>
                    <a:lnTo>
                      <a:pt x="1" y="75"/>
                    </a:lnTo>
                    <a:lnTo>
                      <a:pt x="0" y="68"/>
                    </a:lnTo>
                    <a:lnTo>
                      <a:pt x="0" y="62"/>
                    </a:lnTo>
                    <a:lnTo>
                      <a:pt x="0" y="55"/>
                    </a:lnTo>
                    <a:lnTo>
                      <a:pt x="1" y="50"/>
                    </a:lnTo>
                    <a:lnTo>
                      <a:pt x="2" y="43"/>
                    </a:lnTo>
                    <a:lnTo>
                      <a:pt x="4" y="38"/>
                    </a:lnTo>
                    <a:lnTo>
                      <a:pt x="6" y="32"/>
                    </a:lnTo>
                    <a:lnTo>
                      <a:pt x="9" y="27"/>
                    </a:lnTo>
                    <a:lnTo>
                      <a:pt x="14" y="23"/>
                    </a:lnTo>
                    <a:lnTo>
                      <a:pt x="17" y="18"/>
                    </a:lnTo>
                    <a:lnTo>
                      <a:pt x="21" y="14"/>
                    </a:lnTo>
                    <a:lnTo>
                      <a:pt x="27" y="11"/>
                    </a:lnTo>
                    <a:lnTo>
                      <a:pt x="32" y="8"/>
                    </a:lnTo>
                    <a:lnTo>
                      <a:pt x="37" y="4"/>
                    </a:lnTo>
                    <a:lnTo>
                      <a:pt x="43" y="2"/>
                    </a:lnTo>
                    <a:lnTo>
                      <a:pt x="48" y="1"/>
                    </a:lnTo>
                    <a:lnTo>
                      <a:pt x="55" y="0"/>
                    </a:lnTo>
                    <a:lnTo>
                      <a:pt x="61" y="0"/>
                    </a:lnTo>
                    <a:lnTo>
                      <a:pt x="68" y="0"/>
                    </a:lnTo>
                    <a:lnTo>
                      <a:pt x="73" y="1"/>
                    </a:lnTo>
                    <a:lnTo>
                      <a:pt x="79" y="2"/>
                    </a:lnTo>
                    <a:lnTo>
                      <a:pt x="85" y="4"/>
                    </a:lnTo>
                    <a:lnTo>
                      <a:pt x="90" y="8"/>
                    </a:lnTo>
                    <a:lnTo>
                      <a:pt x="96" y="11"/>
                    </a:lnTo>
                    <a:lnTo>
                      <a:pt x="100" y="14"/>
                    </a:lnTo>
                    <a:lnTo>
                      <a:pt x="104" y="18"/>
                    </a:lnTo>
                    <a:lnTo>
                      <a:pt x="109" y="23"/>
                    </a:lnTo>
                    <a:lnTo>
                      <a:pt x="112" y="27"/>
                    </a:lnTo>
                    <a:lnTo>
                      <a:pt x="115" y="32"/>
                    </a:lnTo>
                    <a:lnTo>
                      <a:pt x="118" y="38"/>
                    </a:lnTo>
                    <a:lnTo>
                      <a:pt x="120" y="43"/>
                    </a:lnTo>
                    <a:lnTo>
                      <a:pt x="122" y="50"/>
                    </a:lnTo>
                    <a:lnTo>
                      <a:pt x="123" y="55"/>
                    </a:lnTo>
                    <a:lnTo>
                      <a:pt x="123" y="62"/>
                    </a:lnTo>
                    <a:lnTo>
                      <a:pt x="123" y="68"/>
                    </a:lnTo>
                    <a:lnTo>
                      <a:pt x="122" y="75"/>
                    </a:lnTo>
                    <a:lnTo>
                      <a:pt x="120" y="80"/>
                    </a:lnTo>
                    <a:lnTo>
                      <a:pt x="118" y="86"/>
                    </a:lnTo>
                    <a:lnTo>
                      <a:pt x="115" y="92"/>
                    </a:lnTo>
                    <a:lnTo>
                      <a:pt x="112" y="96"/>
                    </a:lnTo>
                    <a:lnTo>
                      <a:pt x="109" y="102"/>
                    </a:lnTo>
                    <a:lnTo>
                      <a:pt x="104" y="106"/>
                    </a:lnTo>
                    <a:lnTo>
                      <a:pt x="100" y="109"/>
                    </a:lnTo>
                    <a:lnTo>
                      <a:pt x="96" y="113"/>
                    </a:lnTo>
                    <a:lnTo>
                      <a:pt x="90" y="117"/>
                    </a:lnTo>
                    <a:lnTo>
                      <a:pt x="85" y="119"/>
                    </a:lnTo>
                    <a:lnTo>
                      <a:pt x="79" y="121"/>
                    </a:lnTo>
                    <a:lnTo>
                      <a:pt x="73" y="122"/>
                    </a:lnTo>
                    <a:lnTo>
                      <a:pt x="68" y="123"/>
                    </a:lnTo>
                    <a:lnTo>
                      <a:pt x="61" y="124"/>
                    </a:lnTo>
                    <a:close/>
                    <a:moveTo>
                      <a:pt x="61" y="27"/>
                    </a:moveTo>
                    <a:lnTo>
                      <a:pt x="61" y="27"/>
                    </a:lnTo>
                    <a:lnTo>
                      <a:pt x="54" y="28"/>
                    </a:lnTo>
                    <a:lnTo>
                      <a:pt x="47" y="29"/>
                    </a:lnTo>
                    <a:lnTo>
                      <a:pt x="42" y="32"/>
                    </a:lnTo>
                    <a:lnTo>
                      <a:pt x="36" y="37"/>
                    </a:lnTo>
                    <a:lnTo>
                      <a:pt x="32" y="42"/>
                    </a:lnTo>
                    <a:lnTo>
                      <a:pt x="29" y="49"/>
                    </a:lnTo>
                    <a:lnTo>
                      <a:pt x="27" y="55"/>
                    </a:lnTo>
                    <a:lnTo>
                      <a:pt x="27" y="62"/>
                    </a:lnTo>
                    <a:lnTo>
                      <a:pt x="27" y="69"/>
                    </a:lnTo>
                    <a:lnTo>
                      <a:pt x="29" y="76"/>
                    </a:lnTo>
                    <a:lnTo>
                      <a:pt x="32" y="81"/>
                    </a:lnTo>
                    <a:lnTo>
                      <a:pt x="36" y="86"/>
                    </a:lnTo>
                    <a:lnTo>
                      <a:pt x="42" y="91"/>
                    </a:lnTo>
                    <a:lnTo>
                      <a:pt x="47" y="94"/>
                    </a:lnTo>
                    <a:lnTo>
                      <a:pt x="54" y="96"/>
                    </a:lnTo>
                    <a:lnTo>
                      <a:pt x="61" y="97"/>
                    </a:lnTo>
                    <a:lnTo>
                      <a:pt x="68" y="96"/>
                    </a:lnTo>
                    <a:lnTo>
                      <a:pt x="74" y="94"/>
                    </a:lnTo>
                    <a:lnTo>
                      <a:pt x="81" y="91"/>
                    </a:lnTo>
                    <a:lnTo>
                      <a:pt x="86" y="86"/>
                    </a:lnTo>
                    <a:lnTo>
                      <a:pt x="90" y="81"/>
                    </a:lnTo>
                    <a:lnTo>
                      <a:pt x="93" y="76"/>
                    </a:lnTo>
                    <a:lnTo>
                      <a:pt x="96" y="69"/>
                    </a:lnTo>
                    <a:lnTo>
                      <a:pt x="96" y="62"/>
                    </a:lnTo>
                    <a:lnTo>
                      <a:pt x="96" y="55"/>
                    </a:lnTo>
                    <a:lnTo>
                      <a:pt x="93" y="49"/>
                    </a:lnTo>
                    <a:lnTo>
                      <a:pt x="90" y="42"/>
                    </a:lnTo>
                    <a:lnTo>
                      <a:pt x="86" y="37"/>
                    </a:lnTo>
                    <a:lnTo>
                      <a:pt x="81" y="32"/>
                    </a:lnTo>
                    <a:lnTo>
                      <a:pt x="74" y="29"/>
                    </a:lnTo>
                    <a:lnTo>
                      <a:pt x="68" y="28"/>
                    </a:lnTo>
                    <a:lnTo>
                      <a:pt x="6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92"/>
              <p:cNvSpPr>
                <a:spLocks noEditPoints="1"/>
              </p:cNvSpPr>
              <p:nvPr userDrawn="1"/>
            </p:nvSpPr>
            <p:spPr bwMode="auto">
              <a:xfrm>
                <a:off x="1816" y="2075"/>
                <a:ext cx="41" cy="41"/>
              </a:xfrm>
              <a:custGeom>
                <a:avLst/>
                <a:gdLst>
                  <a:gd name="T0" fmla="*/ 56 w 124"/>
                  <a:gd name="T1" fmla="*/ 123 h 123"/>
                  <a:gd name="T2" fmla="*/ 44 w 124"/>
                  <a:gd name="T3" fmla="*/ 121 h 123"/>
                  <a:gd name="T4" fmla="*/ 32 w 124"/>
                  <a:gd name="T5" fmla="*/ 116 h 123"/>
                  <a:gd name="T6" fmla="*/ 22 w 124"/>
                  <a:gd name="T7" fmla="*/ 109 h 123"/>
                  <a:gd name="T8" fmla="*/ 14 w 124"/>
                  <a:gd name="T9" fmla="*/ 100 h 123"/>
                  <a:gd name="T10" fmla="*/ 7 w 124"/>
                  <a:gd name="T11" fmla="*/ 91 h 123"/>
                  <a:gd name="T12" fmla="*/ 3 w 124"/>
                  <a:gd name="T13" fmla="*/ 80 h 123"/>
                  <a:gd name="T14" fmla="*/ 1 w 124"/>
                  <a:gd name="T15" fmla="*/ 68 h 123"/>
                  <a:gd name="T16" fmla="*/ 1 w 124"/>
                  <a:gd name="T17" fmla="*/ 55 h 123"/>
                  <a:gd name="T18" fmla="*/ 3 w 124"/>
                  <a:gd name="T19" fmla="*/ 43 h 123"/>
                  <a:gd name="T20" fmla="*/ 7 w 124"/>
                  <a:gd name="T21" fmla="*/ 32 h 123"/>
                  <a:gd name="T22" fmla="*/ 14 w 124"/>
                  <a:gd name="T23" fmla="*/ 22 h 123"/>
                  <a:gd name="T24" fmla="*/ 22 w 124"/>
                  <a:gd name="T25" fmla="*/ 14 h 123"/>
                  <a:gd name="T26" fmla="*/ 32 w 124"/>
                  <a:gd name="T27" fmla="*/ 8 h 123"/>
                  <a:gd name="T28" fmla="*/ 44 w 124"/>
                  <a:gd name="T29" fmla="*/ 2 h 123"/>
                  <a:gd name="T30" fmla="*/ 56 w 124"/>
                  <a:gd name="T31" fmla="*/ 0 h 123"/>
                  <a:gd name="T32" fmla="*/ 68 w 124"/>
                  <a:gd name="T33" fmla="*/ 0 h 123"/>
                  <a:gd name="T34" fmla="*/ 81 w 124"/>
                  <a:gd name="T35" fmla="*/ 2 h 123"/>
                  <a:gd name="T36" fmla="*/ 91 w 124"/>
                  <a:gd name="T37" fmla="*/ 8 h 123"/>
                  <a:gd name="T38" fmla="*/ 101 w 124"/>
                  <a:gd name="T39" fmla="*/ 14 h 123"/>
                  <a:gd name="T40" fmla="*/ 110 w 124"/>
                  <a:gd name="T41" fmla="*/ 22 h 123"/>
                  <a:gd name="T42" fmla="*/ 116 w 124"/>
                  <a:gd name="T43" fmla="*/ 32 h 123"/>
                  <a:gd name="T44" fmla="*/ 121 w 124"/>
                  <a:gd name="T45" fmla="*/ 43 h 123"/>
                  <a:gd name="T46" fmla="*/ 124 w 124"/>
                  <a:gd name="T47" fmla="*/ 55 h 123"/>
                  <a:gd name="T48" fmla="*/ 124 w 124"/>
                  <a:gd name="T49" fmla="*/ 68 h 123"/>
                  <a:gd name="T50" fmla="*/ 121 w 124"/>
                  <a:gd name="T51" fmla="*/ 80 h 123"/>
                  <a:gd name="T52" fmla="*/ 116 w 124"/>
                  <a:gd name="T53" fmla="*/ 91 h 123"/>
                  <a:gd name="T54" fmla="*/ 110 w 124"/>
                  <a:gd name="T55" fmla="*/ 100 h 123"/>
                  <a:gd name="T56" fmla="*/ 101 w 124"/>
                  <a:gd name="T57" fmla="*/ 109 h 123"/>
                  <a:gd name="T58" fmla="*/ 91 w 124"/>
                  <a:gd name="T59" fmla="*/ 116 h 123"/>
                  <a:gd name="T60" fmla="*/ 81 w 124"/>
                  <a:gd name="T61" fmla="*/ 121 h 123"/>
                  <a:gd name="T62" fmla="*/ 68 w 124"/>
                  <a:gd name="T63" fmla="*/ 123 h 123"/>
                  <a:gd name="T64" fmla="*/ 62 w 124"/>
                  <a:gd name="T65" fmla="*/ 27 h 123"/>
                  <a:gd name="T66" fmla="*/ 55 w 124"/>
                  <a:gd name="T67" fmla="*/ 27 h 123"/>
                  <a:gd name="T68" fmla="*/ 42 w 124"/>
                  <a:gd name="T69" fmla="*/ 32 h 123"/>
                  <a:gd name="T70" fmla="*/ 33 w 124"/>
                  <a:gd name="T71" fmla="*/ 42 h 123"/>
                  <a:gd name="T72" fmla="*/ 28 w 124"/>
                  <a:gd name="T73" fmla="*/ 54 h 123"/>
                  <a:gd name="T74" fmla="*/ 28 w 124"/>
                  <a:gd name="T75" fmla="*/ 68 h 123"/>
                  <a:gd name="T76" fmla="*/ 33 w 124"/>
                  <a:gd name="T77" fmla="*/ 81 h 123"/>
                  <a:gd name="T78" fmla="*/ 42 w 124"/>
                  <a:gd name="T79" fmla="*/ 91 h 123"/>
                  <a:gd name="T80" fmla="*/ 55 w 124"/>
                  <a:gd name="T81" fmla="*/ 96 h 123"/>
                  <a:gd name="T82" fmla="*/ 69 w 124"/>
                  <a:gd name="T83" fmla="*/ 96 h 123"/>
                  <a:gd name="T84" fmla="*/ 82 w 124"/>
                  <a:gd name="T85" fmla="*/ 91 h 123"/>
                  <a:gd name="T86" fmla="*/ 90 w 124"/>
                  <a:gd name="T87" fmla="*/ 81 h 123"/>
                  <a:gd name="T88" fmla="*/ 96 w 124"/>
                  <a:gd name="T89" fmla="*/ 68 h 123"/>
                  <a:gd name="T90" fmla="*/ 96 w 124"/>
                  <a:gd name="T91" fmla="*/ 54 h 123"/>
                  <a:gd name="T92" fmla="*/ 90 w 124"/>
                  <a:gd name="T93" fmla="*/ 42 h 123"/>
                  <a:gd name="T94" fmla="*/ 82 w 124"/>
                  <a:gd name="T95" fmla="*/ 32 h 123"/>
                  <a:gd name="T96" fmla="*/ 69 w 124"/>
                  <a:gd name="T97" fmla="*/ 2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23">
                    <a:moveTo>
                      <a:pt x="62" y="123"/>
                    </a:moveTo>
                    <a:lnTo>
                      <a:pt x="56" y="123"/>
                    </a:lnTo>
                    <a:lnTo>
                      <a:pt x="49" y="122"/>
                    </a:lnTo>
                    <a:lnTo>
                      <a:pt x="44" y="121"/>
                    </a:lnTo>
                    <a:lnTo>
                      <a:pt x="37" y="119"/>
                    </a:lnTo>
                    <a:lnTo>
                      <a:pt x="32" y="116"/>
                    </a:lnTo>
                    <a:lnTo>
                      <a:pt x="28" y="112"/>
                    </a:lnTo>
                    <a:lnTo>
                      <a:pt x="22" y="109"/>
                    </a:lnTo>
                    <a:lnTo>
                      <a:pt x="18" y="105"/>
                    </a:lnTo>
                    <a:lnTo>
                      <a:pt x="14" y="100"/>
                    </a:lnTo>
                    <a:lnTo>
                      <a:pt x="10" y="96"/>
                    </a:lnTo>
                    <a:lnTo>
                      <a:pt x="7" y="91"/>
                    </a:lnTo>
                    <a:lnTo>
                      <a:pt x="5" y="85"/>
                    </a:lnTo>
                    <a:lnTo>
                      <a:pt x="3" y="80"/>
                    </a:lnTo>
                    <a:lnTo>
                      <a:pt x="1" y="73"/>
                    </a:lnTo>
                    <a:lnTo>
                      <a:pt x="1" y="68"/>
                    </a:lnTo>
                    <a:lnTo>
                      <a:pt x="0" y="62"/>
                    </a:lnTo>
                    <a:lnTo>
                      <a:pt x="1" y="55"/>
                    </a:lnTo>
                    <a:lnTo>
                      <a:pt x="1" y="49"/>
                    </a:lnTo>
                    <a:lnTo>
                      <a:pt x="3" y="43"/>
                    </a:lnTo>
                    <a:lnTo>
                      <a:pt x="5" y="38"/>
                    </a:lnTo>
                    <a:lnTo>
                      <a:pt x="7" y="32"/>
                    </a:lnTo>
                    <a:lnTo>
                      <a:pt x="10" y="27"/>
                    </a:lnTo>
                    <a:lnTo>
                      <a:pt x="14" y="22"/>
                    </a:lnTo>
                    <a:lnTo>
                      <a:pt x="18" y="17"/>
                    </a:lnTo>
                    <a:lnTo>
                      <a:pt x="22" y="14"/>
                    </a:lnTo>
                    <a:lnTo>
                      <a:pt x="28" y="10"/>
                    </a:lnTo>
                    <a:lnTo>
                      <a:pt x="32" y="8"/>
                    </a:lnTo>
                    <a:lnTo>
                      <a:pt x="37" y="4"/>
                    </a:lnTo>
                    <a:lnTo>
                      <a:pt x="44" y="2"/>
                    </a:lnTo>
                    <a:lnTo>
                      <a:pt x="49" y="1"/>
                    </a:lnTo>
                    <a:lnTo>
                      <a:pt x="56" y="0"/>
                    </a:lnTo>
                    <a:lnTo>
                      <a:pt x="62" y="0"/>
                    </a:lnTo>
                    <a:lnTo>
                      <a:pt x="68" y="0"/>
                    </a:lnTo>
                    <a:lnTo>
                      <a:pt x="74" y="1"/>
                    </a:lnTo>
                    <a:lnTo>
                      <a:pt x="81" y="2"/>
                    </a:lnTo>
                    <a:lnTo>
                      <a:pt x="86" y="4"/>
                    </a:lnTo>
                    <a:lnTo>
                      <a:pt x="91" y="8"/>
                    </a:lnTo>
                    <a:lnTo>
                      <a:pt x="97" y="10"/>
                    </a:lnTo>
                    <a:lnTo>
                      <a:pt x="101" y="14"/>
                    </a:lnTo>
                    <a:lnTo>
                      <a:pt x="105" y="17"/>
                    </a:lnTo>
                    <a:lnTo>
                      <a:pt x="110" y="22"/>
                    </a:lnTo>
                    <a:lnTo>
                      <a:pt x="113" y="27"/>
                    </a:lnTo>
                    <a:lnTo>
                      <a:pt x="116" y="32"/>
                    </a:lnTo>
                    <a:lnTo>
                      <a:pt x="118" y="38"/>
                    </a:lnTo>
                    <a:lnTo>
                      <a:pt x="121" y="43"/>
                    </a:lnTo>
                    <a:lnTo>
                      <a:pt x="123" y="49"/>
                    </a:lnTo>
                    <a:lnTo>
                      <a:pt x="124" y="55"/>
                    </a:lnTo>
                    <a:lnTo>
                      <a:pt x="124" y="62"/>
                    </a:lnTo>
                    <a:lnTo>
                      <a:pt x="124" y="68"/>
                    </a:lnTo>
                    <a:lnTo>
                      <a:pt x="123" y="73"/>
                    </a:lnTo>
                    <a:lnTo>
                      <a:pt x="121" y="80"/>
                    </a:lnTo>
                    <a:lnTo>
                      <a:pt x="118" y="85"/>
                    </a:lnTo>
                    <a:lnTo>
                      <a:pt x="116" y="91"/>
                    </a:lnTo>
                    <a:lnTo>
                      <a:pt x="113" y="96"/>
                    </a:lnTo>
                    <a:lnTo>
                      <a:pt x="110" y="100"/>
                    </a:lnTo>
                    <a:lnTo>
                      <a:pt x="105" y="105"/>
                    </a:lnTo>
                    <a:lnTo>
                      <a:pt x="101" y="109"/>
                    </a:lnTo>
                    <a:lnTo>
                      <a:pt x="97" y="112"/>
                    </a:lnTo>
                    <a:lnTo>
                      <a:pt x="91" y="116"/>
                    </a:lnTo>
                    <a:lnTo>
                      <a:pt x="86" y="119"/>
                    </a:lnTo>
                    <a:lnTo>
                      <a:pt x="81" y="121"/>
                    </a:lnTo>
                    <a:lnTo>
                      <a:pt x="74" y="122"/>
                    </a:lnTo>
                    <a:lnTo>
                      <a:pt x="68" y="123"/>
                    </a:lnTo>
                    <a:lnTo>
                      <a:pt x="62" y="123"/>
                    </a:lnTo>
                    <a:close/>
                    <a:moveTo>
                      <a:pt x="62" y="27"/>
                    </a:moveTo>
                    <a:lnTo>
                      <a:pt x="62" y="27"/>
                    </a:lnTo>
                    <a:lnTo>
                      <a:pt x="55" y="27"/>
                    </a:lnTo>
                    <a:lnTo>
                      <a:pt x="48" y="29"/>
                    </a:lnTo>
                    <a:lnTo>
                      <a:pt x="42" y="32"/>
                    </a:lnTo>
                    <a:lnTo>
                      <a:pt x="37" y="37"/>
                    </a:lnTo>
                    <a:lnTo>
                      <a:pt x="33" y="42"/>
                    </a:lnTo>
                    <a:lnTo>
                      <a:pt x="30" y="48"/>
                    </a:lnTo>
                    <a:lnTo>
                      <a:pt x="28" y="54"/>
                    </a:lnTo>
                    <a:lnTo>
                      <a:pt x="27" y="62"/>
                    </a:lnTo>
                    <a:lnTo>
                      <a:pt x="28" y="68"/>
                    </a:lnTo>
                    <a:lnTo>
                      <a:pt x="30" y="76"/>
                    </a:lnTo>
                    <a:lnTo>
                      <a:pt x="33" y="81"/>
                    </a:lnTo>
                    <a:lnTo>
                      <a:pt x="37" y="86"/>
                    </a:lnTo>
                    <a:lnTo>
                      <a:pt x="42" y="91"/>
                    </a:lnTo>
                    <a:lnTo>
                      <a:pt x="48" y="94"/>
                    </a:lnTo>
                    <a:lnTo>
                      <a:pt x="55" y="96"/>
                    </a:lnTo>
                    <a:lnTo>
                      <a:pt x="62" y="96"/>
                    </a:lnTo>
                    <a:lnTo>
                      <a:pt x="69" y="96"/>
                    </a:lnTo>
                    <a:lnTo>
                      <a:pt x="75" y="94"/>
                    </a:lnTo>
                    <a:lnTo>
                      <a:pt x="82" y="91"/>
                    </a:lnTo>
                    <a:lnTo>
                      <a:pt x="86" y="86"/>
                    </a:lnTo>
                    <a:lnTo>
                      <a:pt x="90" y="81"/>
                    </a:lnTo>
                    <a:lnTo>
                      <a:pt x="94" y="76"/>
                    </a:lnTo>
                    <a:lnTo>
                      <a:pt x="96" y="68"/>
                    </a:lnTo>
                    <a:lnTo>
                      <a:pt x="97" y="62"/>
                    </a:lnTo>
                    <a:lnTo>
                      <a:pt x="96" y="54"/>
                    </a:lnTo>
                    <a:lnTo>
                      <a:pt x="94" y="48"/>
                    </a:lnTo>
                    <a:lnTo>
                      <a:pt x="90" y="42"/>
                    </a:lnTo>
                    <a:lnTo>
                      <a:pt x="86" y="37"/>
                    </a:lnTo>
                    <a:lnTo>
                      <a:pt x="82" y="32"/>
                    </a:lnTo>
                    <a:lnTo>
                      <a:pt x="75" y="29"/>
                    </a:lnTo>
                    <a:lnTo>
                      <a:pt x="69" y="27"/>
                    </a:lnTo>
                    <a:lnTo>
                      <a:pt x="6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93"/>
              <p:cNvSpPr>
                <a:spLocks/>
              </p:cNvSpPr>
              <p:nvPr userDrawn="1"/>
            </p:nvSpPr>
            <p:spPr bwMode="auto">
              <a:xfrm>
                <a:off x="270" y="2980"/>
                <a:ext cx="1155" cy="1340"/>
              </a:xfrm>
              <a:custGeom>
                <a:avLst/>
                <a:gdLst>
                  <a:gd name="T0" fmla="*/ 98 w 3465"/>
                  <a:gd name="T1" fmla="*/ 3820 h 4020"/>
                  <a:gd name="T2" fmla="*/ 273 w 3465"/>
                  <a:gd name="T3" fmla="*/ 3491 h 4020"/>
                  <a:gd name="T4" fmla="*/ 452 w 3465"/>
                  <a:gd name="T5" fmla="*/ 3189 h 4020"/>
                  <a:gd name="T6" fmla="*/ 561 w 3465"/>
                  <a:gd name="T7" fmla="*/ 3028 h 4020"/>
                  <a:gd name="T8" fmla="*/ 670 w 3465"/>
                  <a:gd name="T9" fmla="*/ 2888 h 4020"/>
                  <a:gd name="T10" fmla="*/ 779 w 3465"/>
                  <a:gd name="T11" fmla="*/ 2770 h 4020"/>
                  <a:gd name="T12" fmla="*/ 879 w 3465"/>
                  <a:gd name="T13" fmla="*/ 2651 h 4020"/>
                  <a:gd name="T14" fmla="*/ 959 w 3465"/>
                  <a:gd name="T15" fmla="*/ 2529 h 4020"/>
                  <a:gd name="T16" fmla="*/ 1022 w 3465"/>
                  <a:gd name="T17" fmla="*/ 2404 h 4020"/>
                  <a:gd name="T18" fmla="*/ 1072 w 3465"/>
                  <a:gd name="T19" fmla="*/ 2278 h 4020"/>
                  <a:gd name="T20" fmla="*/ 1119 w 3465"/>
                  <a:gd name="T21" fmla="*/ 2118 h 4020"/>
                  <a:gd name="T22" fmla="*/ 1171 w 3465"/>
                  <a:gd name="T23" fmla="*/ 1861 h 4020"/>
                  <a:gd name="T24" fmla="*/ 1197 w 3465"/>
                  <a:gd name="T25" fmla="*/ 1719 h 4020"/>
                  <a:gd name="T26" fmla="*/ 1217 w 3465"/>
                  <a:gd name="T27" fmla="*/ 1612 h 4020"/>
                  <a:gd name="T28" fmla="*/ 1256 w 3465"/>
                  <a:gd name="T29" fmla="*/ 1452 h 4020"/>
                  <a:gd name="T30" fmla="*/ 1314 w 3465"/>
                  <a:gd name="T31" fmla="*/ 1276 h 4020"/>
                  <a:gd name="T32" fmla="*/ 1388 w 3465"/>
                  <a:gd name="T33" fmla="*/ 1105 h 4020"/>
                  <a:gd name="T34" fmla="*/ 1479 w 3465"/>
                  <a:gd name="T35" fmla="*/ 940 h 4020"/>
                  <a:gd name="T36" fmla="*/ 1584 w 3465"/>
                  <a:gd name="T37" fmla="*/ 783 h 4020"/>
                  <a:gd name="T38" fmla="*/ 1703 w 3465"/>
                  <a:gd name="T39" fmla="*/ 634 h 4020"/>
                  <a:gd name="T40" fmla="*/ 1833 w 3465"/>
                  <a:gd name="T41" fmla="*/ 494 h 4020"/>
                  <a:gd name="T42" fmla="*/ 1977 w 3465"/>
                  <a:gd name="T43" fmla="*/ 367 h 4020"/>
                  <a:gd name="T44" fmla="*/ 2154 w 3465"/>
                  <a:gd name="T45" fmla="*/ 248 h 4020"/>
                  <a:gd name="T46" fmla="*/ 2370 w 3465"/>
                  <a:gd name="T47" fmla="*/ 155 h 4020"/>
                  <a:gd name="T48" fmla="*/ 2604 w 3465"/>
                  <a:gd name="T49" fmla="*/ 90 h 4020"/>
                  <a:gd name="T50" fmla="*/ 2841 w 3465"/>
                  <a:gd name="T51" fmla="*/ 45 h 4020"/>
                  <a:gd name="T52" fmla="*/ 3060 w 3465"/>
                  <a:gd name="T53" fmla="*/ 18 h 4020"/>
                  <a:gd name="T54" fmla="*/ 3354 w 3465"/>
                  <a:gd name="T55" fmla="*/ 1 h 4020"/>
                  <a:gd name="T56" fmla="*/ 3456 w 3465"/>
                  <a:gd name="T57" fmla="*/ 1 h 4020"/>
                  <a:gd name="T58" fmla="*/ 3464 w 3465"/>
                  <a:gd name="T59" fmla="*/ 18 h 4020"/>
                  <a:gd name="T60" fmla="*/ 3438 w 3465"/>
                  <a:gd name="T61" fmla="*/ 27 h 4020"/>
                  <a:gd name="T62" fmla="*/ 3206 w 3465"/>
                  <a:gd name="T63" fmla="*/ 35 h 4020"/>
                  <a:gd name="T64" fmla="*/ 2959 w 3465"/>
                  <a:gd name="T65" fmla="*/ 56 h 4020"/>
                  <a:gd name="T66" fmla="*/ 2731 w 3465"/>
                  <a:gd name="T67" fmla="*/ 91 h 4020"/>
                  <a:gd name="T68" fmla="*/ 2495 w 3465"/>
                  <a:gd name="T69" fmla="*/ 145 h 4020"/>
                  <a:gd name="T70" fmla="*/ 2271 w 3465"/>
                  <a:gd name="T71" fmla="*/ 222 h 4020"/>
                  <a:gd name="T72" fmla="*/ 2074 w 3465"/>
                  <a:gd name="T73" fmla="*/ 327 h 4020"/>
                  <a:gd name="T74" fmla="*/ 1922 w 3465"/>
                  <a:gd name="T75" fmla="*/ 450 h 4020"/>
                  <a:gd name="T76" fmla="*/ 1786 w 3465"/>
                  <a:gd name="T77" fmla="*/ 582 h 4020"/>
                  <a:gd name="T78" fmla="*/ 1663 w 3465"/>
                  <a:gd name="T79" fmla="*/ 724 h 4020"/>
                  <a:gd name="T80" fmla="*/ 1553 w 3465"/>
                  <a:gd name="T81" fmla="*/ 875 h 4020"/>
                  <a:gd name="T82" fmla="*/ 1455 w 3465"/>
                  <a:gd name="T83" fmla="*/ 1035 h 4020"/>
                  <a:gd name="T84" fmla="*/ 1374 w 3465"/>
                  <a:gd name="T85" fmla="*/ 1200 h 4020"/>
                  <a:gd name="T86" fmla="*/ 1309 w 3465"/>
                  <a:gd name="T87" fmla="*/ 1372 h 4020"/>
                  <a:gd name="T88" fmla="*/ 1259 w 3465"/>
                  <a:gd name="T89" fmla="*/ 1547 h 4020"/>
                  <a:gd name="T90" fmla="*/ 1233 w 3465"/>
                  <a:gd name="T91" fmla="*/ 1670 h 4020"/>
                  <a:gd name="T92" fmla="*/ 1214 w 3465"/>
                  <a:gd name="T93" fmla="*/ 1776 h 4020"/>
                  <a:gd name="T94" fmla="*/ 1174 w 3465"/>
                  <a:gd name="T95" fmla="*/ 1997 h 4020"/>
                  <a:gd name="T96" fmla="*/ 1117 w 3465"/>
                  <a:gd name="T97" fmla="*/ 2224 h 4020"/>
                  <a:gd name="T98" fmla="*/ 1073 w 3465"/>
                  <a:gd name="T99" fmla="*/ 2353 h 4020"/>
                  <a:gd name="T100" fmla="*/ 1016 w 3465"/>
                  <a:gd name="T101" fmla="*/ 2481 h 4020"/>
                  <a:gd name="T102" fmla="*/ 944 w 3465"/>
                  <a:gd name="T103" fmla="*/ 2606 h 4020"/>
                  <a:gd name="T104" fmla="*/ 852 w 3465"/>
                  <a:gd name="T105" fmla="*/ 2728 h 4020"/>
                  <a:gd name="T106" fmla="*/ 744 w 3465"/>
                  <a:gd name="T107" fmla="*/ 2844 h 4020"/>
                  <a:gd name="T108" fmla="*/ 638 w 3465"/>
                  <a:gd name="T109" fmla="*/ 2971 h 4020"/>
                  <a:gd name="T110" fmla="*/ 531 w 3465"/>
                  <a:gd name="T111" fmla="*/ 3119 h 4020"/>
                  <a:gd name="T112" fmla="*/ 400 w 3465"/>
                  <a:gd name="T113" fmla="*/ 3324 h 4020"/>
                  <a:gd name="T114" fmla="*/ 209 w 3465"/>
                  <a:gd name="T115" fmla="*/ 3664 h 4020"/>
                  <a:gd name="T116" fmla="*/ 58 w 3465"/>
                  <a:gd name="T117" fmla="*/ 3960 h 4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65" h="4020">
                    <a:moveTo>
                      <a:pt x="0" y="4020"/>
                    </a:moveTo>
                    <a:lnTo>
                      <a:pt x="28" y="3961"/>
                    </a:lnTo>
                    <a:lnTo>
                      <a:pt x="61" y="3894"/>
                    </a:lnTo>
                    <a:lnTo>
                      <a:pt x="98" y="3820"/>
                    </a:lnTo>
                    <a:lnTo>
                      <a:pt x="137" y="3744"/>
                    </a:lnTo>
                    <a:lnTo>
                      <a:pt x="180" y="3662"/>
                    </a:lnTo>
                    <a:lnTo>
                      <a:pt x="226" y="3577"/>
                    </a:lnTo>
                    <a:lnTo>
                      <a:pt x="273" y="3491"/>
                    </a:lnTo>
                    <a:lnTo>
                      <a:pt x="323" y="3404"/>
                    </a:lnTo>
                    <a:lnTo>
                      <a:pt x="373" y="3316"/>
                    </a:lnTo>
                    <a:lnTo>
                      <a:pt x="426" y="3231"/>
                    </a:lnTo>
                    <a:lnTo>
                      <a:pt x="452" y="3189"/>
                    </a:lnTo>
                    <a:lnTo>
                      <a:pt x="479" y="3148"/>
                    </a:lnTo>
                    <a:lnTo>
                      <a:pt x="506" y="3107"/>
                    </a:lnTo>
                    <a:lnTo>
                      <a:pt x="534" y="3067"/>
                    </a:lnTo>
                    <a:lnTo>
                      <a:pt x="561" y="3028"/>
                    </a:lnTo>
                    <a:lnTo>
                      <a:pt x="588" y="2991"/>
                    </a:lnTo>
                    <a:lnTo>
                      <a:pt x="615" y="2955"/>
                    </a:lnTo>
                    <a:lnTo>
                      <a:pt x="643" y="2920"/>
                    </a:lnTo>
                    <a:lnTo>
                      <a:pt x="670" y="2888"/>
                    </a:lnTo>
                    <a:lnTo>
                      <a:pt x="697" y="2856"/>
                    </a:lnTo>
                    <a:lnTo>
                      <a:pt x="724" y="2826"/>
                    </a:lnTo>
                    <a:lnTo>
                      <a:pt x="750" y="2799"/>
                    </a:lnTo>
                    <a:lnTo>
                      <a:pt x="779" y="2770"/>
                    </a:lnTo>
                    <a:lnTo>
                      <a:pt x="805" y="2741"/>
                    </a:lnTo>
                    <a:lnTo>
                      <a:pt x="831" y="2711"/>
                    </a:lnTo>
                    <a:lnTo>
                      <a:pt x="856" y="2681"/>
                    </a:lnTo>
                    <a:lnTo>
                      <a:pt x="879" y="2651"/>
                    </a:lnTo>
                    <a:lnTo>
                      <a:pt x="900" y="2621"/>
                    </a:lnTo>
                    <a:lnTo>
                      <a:pt x="921" y="2591"/>
                    </a:lnTo>
                    <a:lnTo>
                      <a:pt x="940" y="2559"/>
                    </a:lnTo>
                    <a:lnTo>
                      <a:pt x="959" y="2529"/>
                    </a:lnTo>
                    <a:lnTo>
                      <a:pt x="976" y="2498"/>
                    </a:lnTo>
                    <a:lnTo>
                      <a:pt x="992" y="2467"/>
                    </a:lnTo>
                    <a:lnTo>
                      <a:pt x="1007" y="2435"/>
                    </a:lnTo>
                    <a:lnTo>
                      <a:pt x="1022" y="2404"/>
                    </a:lnTo>
                    <a:lnTo>
                      <a:pt x="1035" y="2373"/>
                    </a:lnTo>
                    <a:lnTo>
                      <a:pt x="1048" y="2341"/>
                    </a:lnTo>
                    <a:lnTo>
                      <a:pt x="1060" y="2310"/>
                    </a:lnTo>
                    <a:lnTo>
                      <a:pt x="1072" y="2278"/>
                    </a:lnTo>
                    <a:lnTo>
                      <a:pt x="1082" y="2246"/>
                    </a:lnTo>
                    <a:lnTo>
                      <a:pt x="1093" y="2214"/>
                    </a:lnTo>
                    <a:lnTo>
                      <a:pt x="1101" y="2183"/>
                    </a:lnTo>
                    <a:lnTo>
                      <a:pt x="1119" y="2118"/>
                    </a:lnTo>
                    <a:lnTo>
                      <a:pt x="1134" y="2054"/>
                    </a:lnTo>
                    <a:lnTo>
                      <a:pt x="1148" y="1990"/>
                    </a:lnTo>
                    <a:lnTo>
                      <a:pt x="1160" y="1926"/>
                    </a:lnTo>
                    <a:lnTo>
                      <a:pt x="1171" y="1861"/>
                    </a:lnTo>
                    <a:lnTo>
                      <a:pt x="1182" y="1797"/>
                    </a:lnTo>
                    <a:lnTo>
                      <a:pt x="1188" y="1771"/>
                    </a:lnTo>
                    <a:lnTo>
                      <a:pt x="1192" y="1744"/>
                    </a:lnTo>
                    <a:lnTo>
                      <a:pt x="1197" y="1719"/>
                    </a:lnTo>
                    <a:lnTo>
                      <a:pt x="1202" y="1692"/>
                    </a:lnTo>
                    <a:lnTo>
                      <a:pt x="1207" y="1666"/>
                    </a:lnTo>
                    <a:lnTo>
                      <a:pt x="1211" y="1639"/>
                    </a:lnTo>
                    <a:lnTo>
                      <a:pt x="1217" y="1612"/>
                    </a:lnTo>
                    <a:lnTo>
                      <a:pt x="1222" y="1586"/>
                    </a:lnTo>
                    <a:lnTo>
                      <a:pt x="1232" y="1540"/>
                    </a:lnTo>
                    <a:lnTo>
                      <a:pt x="1243" y="1496"/>
                    </a:lnTo>
                    <a:lnTo>
                      <a:pt x="1256" y="1452"/>
                    </a:lnTo>
                    <a:lnTo>
                      <a:pt x="1269" y="1408"/>
                    </a:lnTo>
                    <a:lnTo>
                      <a:pt x="1283" y="1363"/>
                    </a:lnTo>
                    <a:lnTo>
                      <a:pt x="1298" y="1320"/>
                    </a:lnTo>
                    <a:lnTo>
                      <a:pt x="1314" y="1276"/>
                    </a:lnTo>
                    <a:lnTo>
                      <a:pt x="1331" y="1233"/>
                    </a:lnTo>
                    <a:lnTo>
                      <a:pt x="1350" y="1191"/>
                    </a:lnTo>
                    <a:lnTo>
                      <a:pt x="1369" y="1148"/>
                    </a:lnTo>
                    <a:lnTo>
                      <a:pt x="1388" y="1105"/>
                    </a:lnTo>
                    <a:lnTo>
                      <a:pt x="1410" y="1063"/>
                    </a:lnTo>
                    <a:lnTo>
                      <a:pt x="1432" y="1022"/>
                    </a:lnTo>
                    <a:lnTo>
                      <a:pt x="1455" y="981"/>
                    </a:lnTo>
                    <a:lnTo>
                      <a:pt x="1479" y="940"/>
                    </a:lnTo>
                    <a:lnTo>
                      <a:pt x="1504" y="900"/>
                    </a:lnTo>
                    <a:lnTo>
                      <a:pt x="1530" y="860"/>
                    </a:lnTo>
                    <a:lnTo>
                      <a:pt x="1557" y="822"/>
                    </a:lnTo>
                    <a:lnTo>
                      <a:pt x="1584" y="783"/>
                    </a:lnTo>
                    <a:lnTo>
                      <a:pt x="1612" y="745"/>
                    </a:lnTo>
                    <a:lnTo>
                      <a:pt x="1641" y="707"/>
                    </a:lnTo>
                    <a:lnTo>
                      <a:pt x="1671" y="670"/>
                    </a:lnTo>
                    <a:lnTo>
                      <a:pt x="1703" y="634"/>
                    </a:lnTo>
                    <a:lnTo>
                      <a:pt x="1734" y="598"/>
                    </a:lnTo>
                    <a:lnTo>
                      <a:pt x="1766" y="564"/>
                    </a:lnTo>
                    <a:lnTo>
                      <a:pt x="1800" y="529"/>
                    </a:lnTo>
                    <a:lnTo>
                      <a:pt x="1833" y="494"/>
                    </a:lnTo>
                    <a:lnTo>
                      <a:pt x="1869" y="462"/>
                    </a:lnTo>
                    <a:lnTo>
                      <a:pt x="1904" y="430"/>
                    </a:lnTo>
                    <a:lnTo>
                      <a:pt x="1940" y="398"/>
                    </a:lnTo>
                    <a:lnTo>
                      <a:pt x="1977" y="367"/>
                    </a:lnTo>
                    <a:lnTo>
                      <a:pt x="2015" y="337"/>
                    </a:lnTo>
                    <a:lnTo>
                      <a:pt x="2058" y="306"/>
                    </a:lnTo>
                    <a:lnTo>
                      <a:pt x="2104" y="275"/>
                    </a:lnTo>
                    <a:lnTo>
                      <a:pt x="2154" y="248"/>
                    </a:lnTo>
                    <a:lnTo>
                      <a:pt x="2205" y="222"/>
                    </a:lnTo>
                    <a:lnTo>
                      <a:pt x="2258" y="199"/>
                    </a:lnTo>
                    <a:lnTo>
                      <a:pt x="2313" y="176"/>
                    </a:lnTo>
                    <a:lnTo>
                      <a:pt x="2370" y="155"/>
                    </a:lnTo>
                    <a:lnTo>
                      <a:pt x="2427" y="137"/>
                    </a:lnTo>
                    <a:lnTo>
                      <a:pt x="2486" y="120"/>
                    </a:lnTo>
                    <a:lnTo>
                      <a:pt x="2545" y="104"/>
                    </a:lnTo>
                    <a:lnTo>
                      <a:pt x="2604" y="90"/>
                    </a:lnTo>
                    <a:lnTo>
                      <a:pt x="2664" y="77"/>
                    </a:lnTo>
                    <a:lnTo>
                      <a:pt x="2723" y="65"/>
                    </a:lnTo>
                    <a:lnTo>
                      <a:pt x="2783" y="55"/>
                    </a:lnTo>
                    <a:lnTo>
                      <a:pt x="2841" y="45"/>
                    </a:lnTo>
                    <a:lnTo>
                      <a:pt x="2898" y="37"/>
                    </a:lnTo>
                    <a:lnTo>
                      <a:pt x="2953" y="30"/>
                    </a:lnTo>
                    <a:lnTo>
                      <a:pt x="3008" y="24"/>
                    </a:lnTo>
                    <a:lnTo>
                      <a:pt x="3060" y="18"/>
                    </a:lnTo>
                    <a:lnTo>
                      <a:pt x="3111" y="14"/>
                    </a:lnTo>
                    <a:lnTo>
                      <a:pt x="3204" y="8"/>
                    </a:lnTo>
                    <a:lnTo>
                      <a:pt x="3286" y="3"/>
                    </a:lnTo>
                    <a:lnTo>
                      <a:pt x="3354" y="1"/>
                    </a:lnTo>
                    <a:lnTo>
                      <a:pt x="3406" y="0"/>
                    </a:lnTo>
                    <a:lnTo>
                      <a:pt x="3438" y="0"/>
                    </a:lnTo>
                    <a:lnTo>
                      <a:pt x="3451" y="0"/>
                    </a:lnTo>
                    <a:lnTo>
                      <a:pt x="3456" y="1"/>
                    </a:lnTo>
                    <a:lnTo>
                      <a:pt x="3461" y="4"/>
                    </a:lnTo>
                    <a:lnTo>
                      <a:pt x="3464" y="9"/>
                    </a:lnTo>
                    <a:lnTo>
                      <a:pt x="3465" y="13"/>
                    </a:lnTo>
                    <a:lnTo>
                      <a:pt x="3464" y="18"/>
                    </a:lnTo>
                    <a:lnTo>
                      <a:pt x="3461" y="23"/>
                    </a:lnTo>
                    <a:lnTo>
                      <a:pt x="3456" y="26"/>
                    </a:lnTo>
                    <a:lnTo>
                      <a:pt x="3451" y="27"/>
                    </a:lnTo>
                    <a:lnTo>
                      <a:pt x="3438" y="27"/>
                    </a:lnTo>
                    <a:lnTo>
                      <a:pt x="3406" y="27"/>
                    </a:lnTo>
                    <a:lnTo>
                      <a:pt x="3354" y="28"/>
                    </a:lnTo>
                    <a:lnTo>
                      <a:pt x="3287" y="30"/>
                    </a:lnTo>
                    <a:lnTo>
                      <a:pt x="3206" y="35"/>
                    </a:lnTo>
                    <a:lnTo>
                      <a:pt x="3114" y="41"/>
                    </a:lnTo>
                    <a:lnTo>
                      <a:pt x="3064" y="45"/>
                    </a:lnTo>
                    <a:lnTo>
                      <a:pt x="3013" y="51"/>
                    </a:lnTo>
                    <a:lnTo>
                      <a:pt x="2959" y="56"/>
                    </a:lnTo>
                    <a:lnTo>
                      <a:pt x="2903" y="64"/>
                    </a:lnTo>
                    <a:lnTo>
                      <a:pt x="2846" y="71"/>
                    </a:lnTo>
                    <a:lnTo>
                      <a:pt x="2789" y="81"/>
                    </a:lnTo>
                    <a:lnTo>
                      <a:pt x="2731" y="91"/>
                    </a:lnTo>
                    <a:lnTo>
                      <a:pt x="2672" y="103"/>
                    </a:lnTo>
                    <a:lnTo>
                      <a:pt x="2613" y="116"/>
                    </a:lnTo>
                    <a:lnTo>
                      <a:pt x="2555" y="130"/>
                    </a:lnTo>
                    <a:lnTo>
                      <a:pt x="2495" y="145"/>
                    </a:lnTo>
                    <a:lnTo>
                      <a:pt x="2438" y="162"/>
                    </a:lnTo>
                    <a:lnTo>
                      <a:pt x="2381" y="180"/>
                    </a:lnTo>
                    <a:lnTo>
                      <a:pt x="2326" y="200"/>
                    </a:lnTo>
                    <a:lnTo>
                      <a:pt x="2271" y="222"/>
                    </a:lnTo>
                    <a:lnTo>
                      <a:pt x="2219" y="245"/>
                    </a:lnTo>
                    <a:lnTo>
                      <a:pt x="2168" y="271"/>
                    </a:lnTo>
                    <a:lnTo>
                      <a:pt x="2120" y="298"/>
                    </a:lnTo>
                    <a:lnTo>
                      <a:pt x="2074" y="327"/>
                    </a:lnTo>
                    <a:lnTo>
                      <a:pt x="2031" y="358"/>
                    </a:lnTo>
                    <a:lnTo>
                      <a:pt x="1994" y="389"/>
                    </a:lnTo>
                    <a:lnTo>
                      <a:pt x="1958" y="419"/>
                    </a:lnTo>
                    <a:lnTo>
                      <a:pt x="1922" y="450"/>
                    </a:lnTo>
                    <a:lnTo>
                      <a:pt x="1887" y="481"/>
                    </a:lnTo>
                    <a:lnTo>
                      <a:pt x="1853" y="514"/>
                    </a:lnTo>
                    <a:lnTo>
                      <a:pt x="1819" y="547"/>
                    </a:lnTo>
                    <a:lnTo>
                      <a:pt x="1786" y="582"/>
                    </a:lnTo>
                    <a:lnTo>
                      <a:pt x="1755" y="616"/>
                    </a:lnTo>
                    <a:lnTo>
                      <a:pt x="1723" y="652"/>
                    </a:lnTo>
                    <a:lnTo>
                      <a:pt x="1693" y="688"/>
                    </a:lnTo>
                    <a:lnTo>
                      <a:pt x="1663" y="724"/>
                    </a:lnTo>
                    <a:lnTo>
                      <a:pt x="1634" y="761"/>
                    </a:lnTo>
                    <a:lnTo>
                      <a:pt x="1606" y="799"/>
                    </a:lnTo>
                    <a:lnTo>
                      <a:pt x="1579" y="837"/>
                    </a:lnTo>
                    <a:lnTo>
                      <a:pt x="1553" y="875"/>
                    </a:lnTo>
                    <a:lnTo>
                      <a:pt x="1527" y="914"/>
                    </a:lnTo>
                    <a:lnTo>
                      <a:pt x="1502" y="954"/>
                    </a:lnTo>
                    <a:lnTo>
                      <a:pt x="1479" y="994"/>
                    </a:lnTo>
                    <a:lnTo>
                      <a:pt x="1455" y="1035"/>
                    </a:lnTo>
                    <a:lnTo>
                      <a:pt x="1434" y="1076"/>
                    </a:lnTo>
                    <a:lnTo>
                      <a:pt x="1413" y="1117"/>
                    </a:lnTo>
                    <a:lnTo>
                      <a:pt x="1393" y="1158"/>
                    </a:lnTo>
                    <a:lnTo>
                      <a:pt x="1374" y="1200"/>
                    </a:lnTo>
                    <a:lnTo>
                      <a:pt x="1356" y="1244"/>
                    </a:lnTo>
                    <a:lnTo>
                      <a:pt x="1339" y="1286"/>
                    </a:lnTo>
                    <a:lnTo>
                      <a:pt x="1323" y="1329"/>
                    </a:lnTo>
                    <a:lnTo>
                      <a:pt x="1309" y="1372"/>
                    </a:lnTo>
                    <a:lnTo>
                      <a:pt x="1295" y="1415"/>
                    </a:lnTo>
                    <a:lnTo>
                      <a:pt x="1282" y="1459"/>
                    </a:lnTo>
                    <a:lnTo>
                      <a:pt x="1270" y="1503"/>
                    </a:lnTo>
                    <a:lnTo>
                      <a:pt x="1259" y="1547"/>
                    </a:lnTo>
                    <a:lnTo>
                      <a:pt x="1249" y="1591"/>
                    </a:lnTo>
                    <a:lnTo>
                      <a:pt x="1244" y="1617"/>
                    </a:lnTo>
                    <a:lnTo>
                      <a:pt x="1238" y="1644"/>
                    </a:lnTo>
                    <a:lnTo>
                      <a:pt x="1233" y="1670"/>
                    </a:lnTo>
                    <a:lnTo>
                      <a:pt x="1229" y="1697"/>
                    </a:lnTo>
                    <a:lnTo>
                      <a:pt x="1223" y="1723"/>
                    </a:lnTo>
                    <a:lnTo>
                      <a:pt x="1219" y="1750"/>
                    </a:lnTo>
                    <a:lnTo>
                      <a:pt x="1214" y="1776"/>
                    </a:lnTo>
                    <a:lnTo>
                      <a:pt x="1209" y="1802"/>
                    </a:lnTo>
                    <a:lnTo>
                      <a:pt x="1198" y="1866"/>
                    </a:lnTo>
                    <a:lnTo>
                      <a:pt x="1185" y="1931"/>
                    </a:lnTo>
                    <a:lnTo>
                      <a:pt x="1174" y="1997"/>
                    </a:lnTo>
                    <a:lnTo>
                      <a:pt x="1160" y="2062"/>
                    </a:lnTo>
                    <a:lnTo>
                      <a:pt x="1144" y="2127"/>
                    </a:lnTo>
                    <a:lnTo>
                      <a:pt x="1127" y="2191"/>
                    </a:lnTo>
                    <a:lnTo>
                      <a:pt x="1117" y="2224"/>
                    </a:lnTo>
                    <a:lnTo>
                      <a:pt x="1108" y="2256"/>
                    </a:lnTo>
                    <a:lnTo>
                      <a:pt x="1097" y="2289"/>
                    </a:lnTo>
                    <a:lnTo>
                      <a:pt x="1085" y="2321"/>
                    </a:lnTo>
                    <a:lnTo>
                      <a:pt x="1073" y="2353"/>
                    </a:lnTo>
                    <a:lnTo>
                      <a:pt x="1060" y="2385"/>
                    </a:lnTo>
                    <a:lnTo>
                      <a:pt x="1046" y="2417"/>
                    </a:lnTo>
                    <a:lnTo>
                      <a:pt x="1032" y="2448"/>
                    </a:lnTo>
                    <a:lnTo>
                      <a:pt x="1016" y="2481"/>
                    </a:lnTo>
                    <a:lnTo>
                      <a:pt x="1000" y="2512"/>
                    </a:lnTo>
                    <a:lnTo>
                      <a:pt x="981" y="2543"/>
                    </a:lnTo>
                    <a:lnTo>
                      <a:pt x="963" y="2575"/>
                    </a:lnTo>
                    <a:lnTo>
                      <a:pt x="944" y="2606"/>
                    </a:lnTo>
                    <a:lnTo>
                      <a:pt x="922" y="2636"/>
                    </a:lnTo>
                    <a:lnTo>
                      <a:pt x="900" y="2667"/>
                    </a:lnTo>
                    <a:lnTo>
                      <a:pt x="877" y="2698"/>
                    </a:lnTo>
                    <a:lnTo>
                      <a:pt x="852" y="2728"/>
                    </a:lnTo>
                    <a:lnTo>
                      <a:pt x="826" y="2758"/>
                    </a:lnTo>
                    <a:lnTo>
                      <a:pt x="799" y="2788"/>
                    </a:lnTo>
                    <a:lnTo>
                      <a:pt x="770" y="2817"/>
                    </a:lnTo>
                    <a:lnTo>
                      <a:pt x="744" y="2844"/>
                    </a:lnTo>
                    <a:lnTo>
                      <a:pt x="717" y="2874"/>
                    </a:lnTo>
                    <a:lnTo>
                      <a:pt x="691" y="2904"/>
                    </a:lnTo>
                    <a:lnTo>
                      <a:pt x="664" y="2936"/>
                    </a:lnTo>
                    <a:lnTo>
                      <a:pt x="638" y="2971"/>
                    </a:lnTo>
                    <a:lnTo>
                      <a:pt x="611" y="3005"/>
                    </a:lnTo>
                    <a:lnTo>
                      <a:pt x="584" y="3042"/>
                    </a:lnTo>
                    <a:lnTo>
                      <a:pt x="558" y="3080"/>
                    </a:lnTo>
                    <a:lnTo>
                      <a:pt x="531" y="3119"/>
                    </a:lnTo>
                    <a:lnTo>
                      <a:pt x="504" y="3159"/>
                    </a:lnTo>
                    <a:lnTo>
                      <a:pt x="478" y="3199"/>
                    </a:lnTo>
                    <a:lnTo>
                      <a:pt x="452" y="3241"/>
                    </a:lnTo>
                    <a:lnTo>
                      <a:pt x="400" y="3324"/>
                    </a:lnTo>
                    <a:lnTo>
                      <a:pt x="350" y="3409"/>
                    </a:lnTo>
                    <a:lnTo>
                      <a:pt x="301" y="3495"/>
                    </a:lnTo>
                    <a:lnTo>
                      <a:pt x="255" y="3580"/>
                    </a:lnTo>
                    <a:lnTo>
                      <a:pt x="209" y="3664"/>
                    </a:lnTo>
                    <a:lnTo>
                      <a:pt x="167" y="3744"/>
                    </a:lnTo>
                    <a:lnTo>
                      <a:pt x="128" y="3820"/>
                    </a:lnTo>
                    <a:lnTo>
                      <a:pt x="92" y="3893"/>
                    </a:lnTo>
                    <a:lnTo>
                      <a:pt x="58" y="3960"/>
                    </a:lnTo>
                    <a:lnTo>
                      <a:pt x="29" y="4020"/>
                    </a:lnTo>
                    <a:lnTo>
                      <a:pt x="0" y="4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94"/>
              <p:cNvSpPr>
                <a:spLocks noEditPoints="1"/>
              </p:cNvSpPr>
              <p:nvPr userDrawn="1"/>
            </p:nvSpPr>
            <p:spPr bwMode="auto">
              <a:xfrm>
                <a:off x="2737" y="3461"/>
                <a:ext cx="26" cy="26"/>
              </a:xfrm>
              <a:custGeom>
                <a:avLst/>
                <a:gdLst>
                  <a:gd name="T0" fmla="*/ 38 w 77"/>
                  <a:gd name="T1" fmla="*/ 77 h 77"/>
                  <a:gd name="T2" fmla="*/ 30 w 77"/>
                  <a:gd name="T3" fmla="*/ 76 h 77"/>
                  <a:gd name="T4" fmla="*/ 24 w 77"/>
                  <a:gd name="T5" fmla="*/ 74 h 77"/>
                  <a:gd name="T6" fmla="*/ 17 w 77"/>
                  <a:gd name="T7" fmla="*/ 71 h 77"/>
                  <a:gd name="T8" fmla="*/ 11 w 77"/>
                  <a:gd name="T9" fmla="*/ 65 h 77"/>
                  <a:gd name="T10" fmla="*/ 6 w 77"/>
                  <a:gd name="T11" fmla="*/ 60 h 77"/>
                  <a:gd name="T12" fmla="*/ 3 w 77"/>
                  <a:gd name="T13" fmla="*/ 53 h 77"/>
                  <a:gd name="T14" fmla="*/ 1 w 77"/>
                  <a:gd name="T15" fmla="*/ 47 h 77"/>
                  <a:gd name="T16" fmla="*/ 0 w 77"/>
                  <a:gd name="T17" fmla="*/ 38 h 77"/>
                  <a:gd name="T18" fmla="*/ 1 w 77"/>
                  <a:gd name="T19" fmla="*/ 31 h 77"/>
                  <a:gd name="T20" fmla="*/ 3 w 77"/>
                  <a:gd name="T21" fmla="*/ 24 h 77"/>
                  <a:gd name="T22" fmla="*/ 6 w 77"/>
                  <a:gd name="T23" fmla="*/ 18 h 77"/>
                  <a:gd name="T24" fmla="*/ 11 w 77"/>
                  <a:gd name="T25" fmla="*/ 11 h 77"/>
                  <a:gd name="T26" fmla="*/ 17 w 77"/>
                  <a:gd name="T27" fmla="*/ 7 h 77"/>
                  <a:gd name="T28" fmla="*/ 24 w 77"/>
                  <a:gd name="T29" fmla="*/ 4 h 77"/>
                  <a:gd name="T30" fmla="*/ 30 w 77"/>
                  <a:gd name="T31" fmla="*/ 1 h 77"/>
                  <a:gd name="T32" fmla="*/ 38 w 77"/>
                  <a:gd name="T33" fmla="*/ 0 h 77"/>
                  <a:gd name="T34" fmla="*/ 45 w 77"/>
                  <a:gd name="T35" fmla="*/ 1 h 77"/>
                  <a:gd name="T36" fmla="*/ 53 w 77"/>
                  <a:gd name="T37" fmla="*/ 4 h 77"/>
                  <a:gd name="T38" fmla="*/ 59 w 77"/>
                  <a:gd name="T39" fmla="*/ 7 h 77"/>
                  <a:gd name="T40" fmla="*/ 65 w 77"/>
                  <a:gd name="T41" fmla="*/ 11 h 77"/>
                  <a:gd name="T42" fmla="*/ 70 w 77"/>
                  <a:gd name="T43" fmla="*/ 18 h 77"/>
                  <a:gd name="T44" fmla="*/ 73 w 77"/>
                  <a:gd name="T45" fmla="*/ 24 h 77"/>
                  <a:gd name="T46" fmla="*/ 75 w 77"/>
                  <a:gd name="T47" fmla="*/ 31 h 77"/>
                  <a:gd name="T48" fmla="*/ 77 w 77"/>
                  <a:gd name="T49" fmla="*/ 38 h 77"/>
                  <a:gd name="T50" fmla="*/ 75 w 77"/>
                  <a:gd name="T51" fmla="*/ 47 h 77"/>
                  <a:gd name="T52" fmla="*/ 73 w 77"/>
                  <a:gd name="T53" fmla="*/ 53 h 77"/>
                  <a:gd name="T54" fmla="*/ 70 w 77"/>
                  <a:gd name="T55" fmla="*/ 60 h 77"/>
                  <a:gd name="T56" fmla="*/ 65 w 77"/>
                  <a:gd name="T57" fmla="*/ 65 h 77"/>
                  <a:gd name="T58" fmla="*/ 59 w 77"/>
                  <a:gd name="T59" fmla="*/ 71 h 77"/>
                  <a:gd name="T60" fmla="*/ 53 w 77"/>
                  <a:gd name="T61" fmla="*/ 74 h 77"/>
                  <a:gd name="T62" fmla="*/ 45 w 77"/>
                  <a:gd name="T63" fmla="*/ 76 h 77"/>
                  <a:gd name="T64" fmla="*/ 38 w 77"/>
                  <a:gd name="T65" fmla="*/ 77 h 77"/>
                  <a:gd name="T66" fmla="*/ 38 w 77"/>
                  <a:gd name="T67" fmla="*/ 27 h 77"/>
                  <a:gd name="T68" fmla="*/ 38 w 77"/>
                  <a:gd name="T69" fmla="*/ 27 h 77"/>
                  <a:gd name="T70" fmla="*/ 33 w 77"/>
                  <a:gd name="T71" fmla="*/ 28 h 77"/>
                  <a:gd name="T72" fmla="*/ 30 w 77"/>
                  <a:gd name="T73" fmla="*/ 31 h 77"/>
                  <a:gd name="T74" fmla="*/ 28 w 77"/>
                  <a:gd name="T75" fmla="*/ 34 h 77"/>
                  <a:gd name="T76" fmla="*/ 27 w 77"/>
                  <a:gd name="T77" fmla="*/ 38 h 77"/>
                  <a:gd name="T78" fmla="*/ 28 w 77"/>
                  <a:gd name="T79" fmla="*/ 42 h 77"/>
                  <a:gd name="T80" fmla="*/ 30 w 77"/>
                  <a:gd name="T81" fmla="*/ 47 h 77"/>
                  <a:gd name="T82" fmla="*/ 33 w 77"/>
                  <a:gd name="T83" fmla="*/ 49 h 77"/>
                  <a:gd name="T84" fmla="*/ 38 w 77"/>
                  <a:gd name="T85" fmla="*/ 50 h 77"/>
                  <a:gd name="T86" fmla="*/ 42 w 77"/>
                  <a:gd name="T87" fmla="*/ 49 h 77"/>
                  <a:gd name="T88" fmla="*/ 46 w 77"/>
                  <a:gd name="T89" fmla="*/ 47 h 77"/>
                  <a:gd name="T90" fmla="*/ 48 w 77"/>
                  <a:gd name="T91" fmla="*/ 42 h 77"/>
                  <a:gd name="T92" fmla="*/ 50 w 77"/>
                  <a:gd name="T93" fmla="*/ 38 h 77"/>
                  <a:gd name="T94" fmla="*/ 48 w 77"/>
                  <a:gd name="T95" fmla="*/ 34 h 77"/>
                  <a:gd name="T96" fmla="*/ 46 w 77"/>
                  <a:gd name="T97" fmla="*/ 31 h 77"/>
                  <a:gd name="T98" fmla="*/ 42 w 77"/>
                  <a:gd name="T99" fmla="*/ 28 h 77"/>
                  <a:gd name="T100" fmla="*/ 38 w 77"/>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 h="77">
                    <a:moveTo>
                      <a:pt x="38" y="77"/>
                    </a:moveTo>
                    <a:lnTo>
                      <a:pt x="30" y="76"/>
                    </a:lnTo>
                    <a:lnTo>
                      <a:pt x="24" y="74"/>
                    </a:lnTo>
                    <a:lnTo>
                      <a:pt x="17" y="71"/>
                    </a:lnTo>
                    <a:lnTo>
                      <a:pt x="11" y="65"/>
                    </a:lnTo>
                    <a:lnTo>
                      <a:pt x="6" y="60"/>
                    </a:lnTo>
                    <a:lnTo>
                      <a:pt x="3" y="53"/>
                    </a:lnTo>
                    <a:lnTo>
                      <a:pt x="1" y="47"/>
                    </a:lnTo>
                    <a:lnTo>
                      <a:pt x="0" y="38"/>
                    </a:lnTo>
                    <a:lnTo>
                      <a:pt x="1" y="31"/>
                    </a:lnTo>
                    <a:lnTo>
                      <a:pt x="3" y="24"/>
                    </a:lnTo>
                    <a:lnTo>
                      <a:pt x="6" y="18"/>
                    </a:lnTo>
                    <a:lnTo>
                      <a:pt x="11" y="11"/>
                    </a:lnTo>
                    <a:lnTo>
                      <a:pt x="17" y="7"/>
                    </a:lnTo>
                    <a:lnTo>
                      <a:pt x="24" y="4"/>
                    </a:lnTo>
                    <a:lnTo>
                      <a:pt x="30" y="1"/>
                    </a:lnTo>
                    <a:lnTo>
                      <a:pt x="38" y="0"/>
                    </a:lnTo>
                    <a:lnTo>
                      <a:pt x="45" y="1"/>
                    </a:lnTo>
                    <a:lnTo>
                      <a:pt x="53" y="4"/>
                    </a:lnTo>
                    <a:lnTo>
                      <a:pt x="59" y="7"/>
                    </a:lnTo>
                    <a:lnTo>
                      <a:pt x="65" y="11"/>
                    </a:lnTo>
                    <a:lnTo>
                      <a:pt x="70" y="18"/>
                    </a:lnTo>
                    <a:lnTo>
                      <a:pt x="73" y="24"/>
                    </a:lnTo>
                    <a:lnTo>
                      <a:pt x="75" y="31"/>
                    </a:lnTo>
                    <a:lnTo>
                      <a:pt x="77" y="38"/>
                    </a:lnTo>
                    <a:lnTo>
                      <a:pt x="75" y="47"/>
                    </a:lnTo>
                    <a:lnTo>
                      <a:pt x="73" y="53"/>
                    </a:lnTo>
                    <a:lnTo>
                      <a:pt x="70" y="60"/>
                    </a:lnTo>
                    <a:lnTo>
                      <a:pt x="65" y="65"/>
                    </a:lnTo>
                    <a:lnTo>
                      <a:pt x="59" y="71"/>
                    </a:lnTo>
                    <a:lnTo>
                      <a:pt x="53" y="74"/>
                    </a:lnTo>
                    <a:lnTo>
                      <a:pt x="45" y="76"/>
                    </a:lnTo>
                    <a:lnTo>
                      <a:pt x="38" y="77"/>
                    </a:lnTo>
                    <a:close/>
                    <a:moveTo>
                      <a:pt x="38" y="27"/>
                    </a:moveTo>
                    <a:lnTo>
                      <a:pt x="38" y="27"/>
                    </a:lnTo>
                    <a:lnTo>
                      <a:pt x="33" y="28"/>
                    </a:lnTo>
                    <a:lnTo>
                      <a:pt x="30" y="31"/>
                    </a:lnTo>
                    <a:lnTo>
                      <a:pt x="28" y="34"/>
                    </a:lnTo>
                    <a:lnTo>
                      <a:pt x="27" y="38"/>
                    </a:lnTo>
                    <a:lnTo>
                      <a:pt x="28" y="42"/>
                    </a:lnTo>
                    <a:lnTo>
                      <a:pt x="30" y="47"/>
                    </a:lnTo>
                    <a:lnTo>
                      <a:pt x="33" y="49"/>
                    </a:lnTo>
                    <a:lnTo>
                      <a:pt x="38" y="50"/>
                    </a:lnTo>
                    <a:lnTo>
                      <a:pt x="42" y="49"/>
                    </a:lnTo>
                    <a:lnTo>
                      <a:pt x="46" y="47"/>
                    </a:lnTo>
                    <a:lnTo>
                      <a:pt x="48" y="42"/>
                    </a:lnTo>
                    <a:lnTo>
                      <a:pt x="50" y="38"/>
                    </a:lnTo>
                    <a:lnTo>
                      <a:pt x="48" y="34"/>
                    </a:lnTo>
                    <a:lnTo>
                      <a:pt x="46" y="31"/>
                    </a:lnTo>
                    <a:lnTo>
                      <a:pt x="42" y="28"/>
                    </a:lnTo>
                    <a:lnTo>
                      <a:pt x="3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95"/>
              <p:cNvSpPr>
                <a:spLocks noEditPoints="1"/>
              </p:cNvSpPr>
              <p:nvPr userDrawn="1"/>
            </p:nvSpPr>
            <p:spPr bwMode="auto">
              <a:xfrm>
                <a:off x="2672" y="3375"/>
                <a:ext cx="33" cy="33"/>
              </a:xfrm>
              <a:custGeom>
                <a:avLst/>
                <a:gdLst>
                  <a:gd name="T0" fmla="*/ 40 w 101"/>
                  <a:gd name="T1" fmla="*/ 100 h 101"/>
                  <a:gd name="T2" fmla="*/ 22 w 101"/>
                  <a:gd name="T3" fmla="*/ 92 h 101"/>
                  <a:gd name="T4" fmla="*/ 9 w 101"/>
                  <a:gd name="T5" fmla="*/ 78 h 101"/>
                  <a:gd name="T6" fmla="*/ 2 w 101"/>
                  <a:gd name="T7" fmla="*/ 61 h 101"/>
                  <a:gd name="T8" fmla="*/ 2 w 101"/>
                  <a:gd name="T9" fmla="*/ 40 h 101"/>
                  <a:gd name="T10" fmla="*/ 9 w 101"/>
                  <a:gd name="T11" fmla="*/ 22 h 101"/>
                  <a:gd name="T12" fmla="*/ 22 w 101"/>
                  <a:gd name="T13" fmla="*/ 9 h 101"/>
                  <a:gd name="T14" fmla="*/ 40 w 101"/>
                  <a:gd name="T15" fmla="*/ 1 h 101"/>
                  <a:gd name="T16" fmla="*/ 61 w 101"/>
                  <a:gd name="T17" fmla="*/ 1 h 101"/>
                  <a:gd name="T18" fmla="*/ 78 w 101"/>
                  <a:gd name="T19" fmla="*/ 9 h 101"/>
                  <a:gd name="T20" fmla="*/ 92 w 101"/>
                  <a:gd name="T21" fmla="*/ 22 h 101"/>
                  <a:gd name="T22" fmla="*/ 100 w 101"/>
                  <a:gd name="T23" fmla="*/ 40 h 101"/>
                  <a:gd name="T24" fmla="*/ 100 w 101"/>
                  <a:gd name="T25" fmla="*/ 61 h 101"/>
                  <a:gd name="T26" fmla="*/ 92 w 101"/>
                  <a:gd name="T27" fmla="*/ 78 h 101"/>
                  <a:gd name="T28" fmla="*/ 78 w 101"/>
                  <a:gd name="T29" fmla="*/ 92 h 101"/>
                  <a:gd name="T30" fmla="*/ 61 w 101"/>
                  <a:gd name="T31" fmla="*/ 100 h 101"/>
                  <a:gd name="T32" fmla="*/ 50 w 101"/>
                  <a:gd name="T33" fmla="*/ 27 h 101"/>
                  <a:gd name="T34" fmla="*/ 46 w 101"/>
                  <a:gd name="T35" fmla="*/ 27 h 101"/>
                  <a:gd name="T36" fmla="*/ 37 w 101"/>
                  <a:gd name="T37" fmla="*/ 32 h 101"/>
                  <a:gd name="T38" fmla="*/ 32 w 101"/>
                  <a:gd name="T39" fmla="*/ 37 h 101"/>
                  <a:gd name="T40" fmla="*/ 27 w 101"/>
                  <a:gd name="T41" fmla="*/ 46 h 101"/>
                  <a:gd name="T42" fmla="*/ 27 w 101"/>
                  <a:gd name="T43" fmla="*/ 55 h 101"/>
                  <a:gd name="T44" fmla="*/ 32 w 101"/>
                  <a:gd name="T45" fmla="*/ 63 h 101"/>
                  <a:gd name="T46" fmla="*/ 37 w 101"/>
                  <a:gd name="T47" fmla="*/ 69 h 101"/>
                  <a:gd name="T48" fmla="*/ 46 w 101"/>
                  <a:gd name="T49" fmla="*/ 73 h 101"/>
                  <a:gd name="T50" fmla="*/ 56 w 101"/>
                  <a:gd name="T51" fmla="*/ 73 h 101"/>
                  <a:gd name="T52" fmla="*/ 63 w 101"/>
                  <a:gd name="T53" fmla="*/ 69 h 101"/>
                  <a:gd name="T54" fmla="*/ 70 w 101"/>
                  <a:gd name="T55" fmla="*/ 63 h 101"/>
                  <a:gd name="T56" fmla="*/ 73 w 101"/>
                  <a:gd name="T57" fmla="*/ 55 h 101"/>
                  <a:gd name="T58" fmla="*/ 73 w 101"/>
                  <a:gd name="T59" fmla="*/ 46 h 101"/>
                  <a:gd name="T60" fmla="*/ 70 w 101"/>
                  <a:gd name="T61" fmla="*/ 37 h 101"/>
                  <a:gd name="T62" fmla="*/ 63 w 101"/>
                  <a:gd name="T63" fmla="*/ 32 h 101"/>
                  <a:gd name="T64" fmla="*/ 56 w 101"/>
                  <a:gd name="T65" fmla="*/ 2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50" y="101"/>
                    </a:moveTo>
                    <a:lnTo>
                      <a:pt x="40" y="100"/>
                    </a:lnTo>
                    <a:lnTo>
                      <a:pt x="31" y="96"/>
                    </a:lnTo>
                    <a:lnTo>
                      <a:pt x="22" y="92"/>
                    </a:lnTo>
                    <a:lnTo>
                      <a:pt x="14" y="85"/>
                    </a:lnTo>
                    <a:lnTo>
                      <a:pt x="9" y="78"/>
                    </a:lnTo>
                    <a:lnTo>
                      <a:pt x="5" y="69"/>
                    </a:lnTo>
                    <a:lnTo>
                      <a:pt x="2" y="61"/>
                    </a:lnTo>
                    <a:lnTo>
                      <a:pt x="0" y="50"/>
                    </a:lnTo>
                    <a:lnTo>
                      <a:pt x="2" y="40"/>
                    </a:lnTo>
                    <a:lnTo>
                      <a:pt x="5" y="30"/>
                    </a:lnTo>
                    <a:lnTo>
                      <a:pt x="9" y="22"/>
                    </a:lnTo>
                    <a:lnTo>
                      <a:pt x="14" y="14"/>
                    </a:lnTo>
                    <a:lnTo>
                      <a:pt x="22" y="9"/>
                    </a:lnTo>
                    <a:lnTo>
                      <a:pt x="31" y="3"/>
                    </a:lnTo>
                    <a:lnTo>
                      <a:pt x="40" y="1"/>
                    </a:lnTo>
                    <a:lnTo>
                      <a:pt x="50" y="0"/>
                    </a:lnTo>
                    <a:lnTo>
                      <a:pt x="61" y="1"/>
                    </a:lnTo>
                    <a:lnTo>
                      <a:pt x="70" y="3"/>
                    </a:lnTo>
                    <a:lnTo>
                      <a:pt x="78" y="9"/>
                    </a:lnTo>
                    <a:lnTo>
                      <a:pt x="86" y="14"/>
                    </a:lnTo>
                    <a:lnTo>
                      <a:pt x="92" y="22"/>
                    </a:lnTo>
                    <a:lnTo>
                      <a:pt x="97" y="30"/>
                    </a:lnTo>
                    <a:lnTo>
                      <a:pt x="100" y="40"/>
                    </a:lnTo>
                    <a:lnTo>
                      <a:pt x="101" y="50"/>
                    </a:lnTo>
                    <a:lnTo>
                      <a:pt x="100" y="61"/>
                    </a:lnTo>
                    <a:lnTo>
                      <a:pt x="97" y="69"/>
                    </a:lnTo>
                    <a:lnTo>
                      <a:pt x="92" y="78"/>
                    </a:lnTo>
                    <a:lnTo>
                      <a:pt x="86" y="85"/>
                    </a:lnTo>
                    <a:lnTo>
                      <a:pt x="78" y="92"/>
                    </a:lnTo>
                    <a:lnTo>
                      <a:pt x="70" y="96"/>
                    </a:lnTo>
                    <a:lnTo>
                      <a:pt x="61" y="100"/>
                    </a:lnTo>
                    <a:lnTo>
                      <a:pt x="50" y="101"/>
                    </a:lnTo>
                    <a:close/>
                    <a:moveTo>
                      <a:pt x="50" y="27"/>
                    </a:moveTo>
                    <a:lnTo>
                      <a:pt x="50" y="27"/>
                    </a:lnTo>
                    <a:lnTo>
                      <a:pt x="46" y="27"/>
                    </a:lnTo>
                    <a:lnTo>
                      <a:pt x="41" y="29"/>
                    </a:lnTo>
                    <a:lnTo>
                      <a:pt x="37" y="32"/>
                    </a:lnTo>
                    <a:lnTo>
                      <a:pt x="34" y="34"/>
                    </a:lnTo>
                    <a:lnTo>
                      <a:pt x="32" y="37"/>
                    </a:lnTo>
                    <a:lnTo>
                      <a:pt x="30" y="41"/>
                    </a:lnTo>
                    <a:lnTo>
                      <a:pt x="27" y="46"/>
                    </a:lnTo>
                    <a:lnTo>
                      <a:pt x="27" y="50"/>
                    </a:lnTo>
                    <a:lnTo>
                      <a:pt x="27" y="55"/>
                    </a:lnTo>
                    <a:lnTo>
                      <a:pt x="30" y="60"/>
                    </a:lnTo>
                    <a:lnTo>
                      <a:pt x="32" y="63"/>
                    </a:lnTo>
                    <a:lnTo>
                      <a:pt x="34" y="66"/>
                    </a:lnTo>
                    <a:lnTo>
                      <a:pt x="37" y="69"/>
                    </a:lnTo>
                    <a:lnTo>
                      <a:pt x="41" y="71"/>
                    </a:lnTo>
                    <a:lnTo>
                      <a:pt x="46" y="73"/>
                    </a:lnTo>
                    <a:lnTo>
                      <a:pt x="50" y="74"/>
                    </a:lnTo>
                    <a:lnTo>
                      <a:pt x="56" y="73"/>
                    </a:lnTo>
                    <a:lnTo>
                      <a:pt x="60" y="71"/>
                    </a:lnTo>
                    <a:lnTo>
                      <a:pt x="63" y="69"/>
                    </a:lnTo>
                    <a:lnTo>
                      <a:pt x="67" y="66"/>
                    </a:lnTo>
                    <a:lnTo>
                      <a:pt x="70" y="63"/>
                    </a:lnTo>
                    <a:lnTo>
                      <a:pt x="72" y="60"/>
                    </a:lnTo>
                    <a:lnTo>
                      <a:pt x="73" y="55"/>
                    </a:lnTo>
                    <a:lnTo>
                      <a:pt x="74" y="50"/>
                    </a:lnTo>
                    <a:lnTo>
                      <a:pt x="73" y="46"/>
                    </a:lnTo>
                    <a:lnTo>
                      <a:pt x="72" y="41"/>
                    </a:lnTo>
                    <a:lnTo>
                      <a:pt x="70" y="37"/>
                    </a:lnTo>
                    <a:lnTo>
                      <a:pt x="67" y="34"/>
                    </a:lnTo>
                    <a:lnTo>
                      <a:pt x="63" y="32"/>
                    </a:lnTo>
                    <a:lnTo>
                      <a:pt x="60" y="29"/>
                    </a:lnTo>
                    <a:lnTo>
                      <a:pt x="56" y="27"/>
                    </a:lnTo>
                    <a:lnTo>
                      <a:pt x="5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96"/>
              <p:cNvSpPr>
                <a:spLocks noEditPoints="1"/>
              </p:cNvSpPr>
              <p:nvPr userDrawn="1"/>
            </p:nvSpPr>
            <p:spPr bwMode="auto">
              <a:xfrm>
                <a:off x="2922" y="3864"/>
                <a:ext cx="49" cy="50"/>
              </a:xfrm>
              <a:custGeom>
                <a:avLst/>
                <a:gdLst>
                  <a:gd name="T0" fmla="*/ 67 w 148"/>
                  <a:gd name="T1" fmla="*/ 148 h 148"/>
                  <a:gd name="T2" fmla="*/ 52 w 148"/>
                  <a:gd name="T3" fmla="*/ 145 h 148"/>
                  <a:gd name="T4" fmla="*/ 39 w 148"/>
                  <a:gd name="T5" fmla="*/ 140 h 148"/>
                  <a:gd name="T6" fmla="*/ 27 w 148"/>
                  <a:gd name="T7" fmla="*/ 132 h 148"/>
                  <a:gd name="T8" fmla="*/ 16 w 148"/>
                  <a:gd name="T9" fmla="*/ 121 h 148"/>
                  <a:gd name="T10" fmla="*/ 8 w 148"/>
                  <a:gd name="T11" fmla="*/ 109 h 148"/>
                  <a:gd name="T12" fmla="*/ 3 w 148"/>
                  <a:gd name="T13" fmla="*/ 96 h 148"/>
                  <a:gd name="T14" fmla="*/ 0 w 148"/>
                  <a:gd name="T15" fmla="*/ 82 h 148"/>
                  <a:gd name="T16" fmla="*/ 0 w 148"/>
                  <a:gd name="T17" fmla="*/ 67 h 148"/>
                  <a:gd name="T18" fmla="*/ 3 w 148"/>
                  <a:gd name="T19" fmla="*/ 52 h 148"/>
                  <a:gd name="T20" fmla="*/ 8 w 148"/>
                  <a:gd name="T21" fmla="*/ 39 h 148"/>
                  <a:gd name="T22" fmla="*/ 16 w 148"/>
                  <a:gd name="T23" fmla="*/ 27 h 148"/>
                  <a:gd name="T24" fmla="*/ 27 w 148"/>
                  <a:gd name="T25" fmla="*/ 17 h 148"/>
                  <a:gd name="T26" fmla="*/ 39 w 148"/>
                  <a:gd name="T27" fmla="*/ 9 h 148"/>
                  <a:gd name="T28" fmla="*/ 52 w 148"/>
                  <a:gd name="T29" fmla="*/ 4 h 148"/>
                  <a:gd name="T30" fmla="*/ 67 w 148"/>
                  <a:gd name="T31" fmla="*/ 0 h 148"/>
                  <a:gd name="T32" fmla="*/ 82 w 148"/>
                  <a:gd name="T33" fmla="*/ 0 h 148"/>
                  <a:gd name="T34" fmla="*/ 96 w 148"/>
                  <a:gd name="T35" fmla="*/ 4 h 148"/>
                  <a:gd name="T36" fmla="*/ 109 w 148"/>
                  <a:gd name="T37" fmla="*/ 9 h 148"/>
                  <a:gd name="T38" fmla="*/ 121 w 148"/>
                  <a:gd name="T39" fmla="*/ 17 h 148"/>
                  <a:gd name="T40" fmla="*/ 132 w 148"/>
                  <a:gd name="T41" fmla="*/ 27 h 148"/>
                  <a:gd name="T42" fmla="*/ 139 w 148"/>
                  <a:gd name="T43" fmla="*/ 39 h 148"/>
                  <a:gd name="T44" fmla="*/ 145 w 148"/>
                  <a:gd name="T45" fmla="*/ 52 h 148"/>
                  <a:gd name="T46" fmla="*/ 148 w 148"/>
                  <a:gd name="T47" fmla="*/ 67 h 148"/>
                  <a:gd name="T48" fmla="*/ 148 w 148"/>
                  <a:gd name="T49" fmla="*/ 82 h 148"/>
                  <a:gd name="T50" fmla="*/ 145 w 148"/>
                  <a:gd name="T51" fmla="*/ 96 h 148"/>
                  <a:gd name="T52" fmla="*/ 139 w 148"/>
                  <a:gd name="T53" fmla="*/ 109 h 148"/>
                  <a:gd name="T54" fmla="*/ 132 w 148"/>
                  <a:gd name="T55" fmla="*/ 121 h 148"/>
                  <a:gd name="T56" fmla="*/ 121 w 148"/>
                  <a:gd name="T57" fmla="*/ 132 h 148"/>
                  <a:gd name="T58" fmla="*/ 109 w 148"/>
                  <a:gd name="T59" fmla="*/ 140 h 148"/>
                  <a:gd name="T60" fmla="*/ 96 w 148"/>
                  <a:gd name="T61" fmla="*/ 145 h 148"/>
                  <a:gd name="T62" fmla="*/ 82 w 148"/>
                  <a:gd name="T63" fmla="*/ 148 h 148"/>
                  <a:gd name="T64" fmla="*/ 74 w 148"/>
                  <a:gd name="T65" fmla="*/ 27 h 148"/>
                  <a:gd name="T66" fmla="*/ 65 w 148"/>
                  <a:gd name="T67" fmla="*/ 28 h 148"/>
                  <a:gd name="T68" fmla="*/ 47 w 148"/>
                  <a:gd name="T69" fmla="*/ 35 h 148"/>
                  <a:gd name="T70" fmla="*/ 34 w 148"/>
                  <a:gd name="T71" fmla="*/ 48 h 148"/>
                  <a:gd name="T72" fmla="*/ 28 w 148"/>
                  <a:gd name="T73" fmla="*/ 65 h 148"/>
                  <a:gd name="T74" fmla="*/ 28 w 148"/>
                  <a:gd name="T75" fmla="*/ 84 h 148"/>
                  <a:gd name="T76" fmla="*/ 34 w 148"/>
                  <a:gd name="T77" fmla="*/ 101 h 148"/>
                  <a:gd name="T78" fmla="*/ 47 w 148"/>
                  <a:gd name="T79" fmla="*/ 114 h 148"/>
                  <a:gd name="T80" fmla="*/ 65 w 148"/>
                  <a:gd name="T81" fmla="*/ 120 h 148"/>
                  <a:gd name="T82" fmla="*/ 83 w 148"/>
                  <a:gd name="T83" fmla="*/ 120 h 148"/>
                  <a:gd name="T84" fmla="*/ 100 w 148"/>
                  <a:gd name="T85" fmla="*/ 114 h 148"/>
                  <a:gd name="T86" fmla="*/ 113 w 148"/>
                  <a:gd name="T87" fmla="*/ 101 h 148"/>
                  <a:gd name="T88" fmla="*/ 120 w 148"/>
                  <a:gd name="T89" fmla="*/ 84 h 148"/>
                  <a:gd name="T90" fmla="*/ 120 w 148"/>
                  <a:gd name="T91" fmla="*/ 65 h 148"/>
                  <a:gd name="T92" fmla="*/ 113 w 148"/>
                  <a:gd name="T93" fmla="*/ 48 h 148"/>
                  <a:gd name="T94" fmla="*/ 100 w 148"/>
                  <a:gd name="T95" fmla="*/ 35 h 148"/>
                  <a:gd name="T96" fmla="*/ 83 w 148"/>
                  <a:gd name="T97" fmla="*/ 2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48">
                    <a:moveTo>
                      <a:pt x="74" y="148"/>
                    </a:moveTo>
                    <a:lnTo>
                      <a:pt x="67" y="148"/>
                    </a:lnTo>
                    <a:lnTo>
                      <a:pt x="59" y="147"/>
                    </a:lnTo>
                    <a:lnTo>
                      <a:pt x="52" y="145"/>
                    </a:lnTo>
                    <a:lnTo>
                      <a:pt x="45" y="143"/>
                    </a:lnTo>
                    <a:lnTo>
                      <a:pt x="39" y="140"/>
                    </a:lnTo>
                    <a:lnTo>
                      <a:pt x="32" y="136"/>
                    </a:lnTo>
                    <a:lnTo>
                      <a:pt x="27" y="132"/>
                    </a:lnTo>
                    <a:lnTo>
                      <a:pt x="21" y="127"/>
                    </a:lnTo>
                    <a:lnTo>
                      <a:pt x="16" y="121"/>
                    </a:lnTo>
                    <a:lnTo>
                      <a:pt x="12" y="116"/>
                    </a:lnTo>
                    <a:lnTo>
                      <a:pt x="8" y="109"/>
                    </a:lnTo>
                    <a:lnTo>
                      <a:pt x="5" y="103"/>
                    </a:lnTo>
                    <a:lnTo>
                      <a:pt x="3" y="96"/>
                    </a:lnTo>
                    <a:lnTo>
                      <a:pt x="1" y="89"/>
                    </a:lnTo>
                    <a:lnTo>
                      <a:pt x="0" y="82"/>
                    </a:lnTo>
                    <a:lnTo>
                      <a:pt x="0" y="75"/>
                    </a:lnTo>
                    <a:lnTo>
                      <a:pt x="0" y="67"/>
                    </a:lnTo>
                    <a:lnTo>
                      <a:pt x="1" y="60"/>
                    </a:lnTo>
                    <a:lnTo>
                      <a:pt x="3" y="52"/>
                    </a:lnTo>
                    <a:lnTo>
                      <a:pt x="5" y="46"/>
                    </a:lnTo>
                    <a:lnTo>
                      <a:pt x="8" y="39"/>
                    </a:lnTo>
                    <a:lnTo>
                      <a:pt x="12" y="33"/>
                    </a:lnTo>
                    <a:lnTo>
                      <a:pt x="16" y="27"/>
                    </a:lnTo>
                    <a:lnTo>
                      <a:pt x="21" y="22"/>
                    </a:lnTo>
                    <a:lnTo>
                      <a:pt x="27" y="17"/>
                    </a:lnTo>
                    <a:lnTo>
                      <a:pt x="32" y="12"/>
                    </a:lnTo>
                    <a:lnTo>
                      <a:pt x="39" y="9"/>
                    </a:lnTo>
                    <a:lnTo>
                      <a:pt x="45" y="6"/>
                    </a:lnTo>
                    <a:lnTo>
                      <a:pt x="52" y="4"/>
                    </a:lnTo>
                    <a:lnTo>
                      <a:pt x="59" y="1"/>
                    </a:lnTo>
                    <a:lnTo>
                      <a:pt x="67" y="0"/>
                    </a:lnTo>
                    <a:lnTo>
                      <a:pt x="74" y="0"/>
                    </a:lnTo>
                    <a:lnTo>
                      <a:pt x="82" y="0"/>
                    </a:lnTo>
                    <a:lnTo>
                      <a:pt x="88" y="1"/>
                    </a:lnTo>
                    <a:lnTo>
                      <a:pt x="96" y="4"/>
                    </a:lnTo>
                    <a:lnTo>
                      <a:pt x="102" y="6"/>
                    </a:lnTo>
                    <a:lnTo>
                      <a:pt x="109" y="9"/>
                    </a:lnTo>
                    <a:lnTo>
                      <a:pt x="115" y="12"/>
                    </a:lnTo>
                    <a:lnTo>
                      <a:pt x="121" y="17"/>
                    </a:lnTo>
                    <a:lnTo>
                      <a:pt x="126" y="22"/>
                    </a:lnTo>
                    <a:lnTo>
                      <a:pt x="132" y="27"/>
                    </a:lnTo>
                    <a:lnTo>
                      <a:pt x="136" y="33"/>
                    </a:lnTo>
                    <a:lnTo>
                      <a:pt x="139" y="39"/>
                    </a:lnTo>
                    <a:lnTo>
                      <a:pt x="142" y="46"/>
                    </a:lnTo>
                    <a:lnTo>
                      <a:pt x="145" y="52"/>
                    </a:lnTo>
                    <a:lnTo>
                      <a:pt x="147" y="60"/>
                    </a:lnTo>
                    <a:lnTo>
                      <a:pt x="148" y="67"/>
                    </a:lnTo>
                    <a:lnTo>
                      <a:pt x="148" y="75"/>
                    </a:lnTo>
                    <a:lnTo>
                      <a:pt x="148" y="82"/>
                    </a:lnTo>
                    <a:lnTo>
                      <a:pt x="147" y="89"/>
                    </a:lnTo>
                    <a:lnTo>
                      <a:pt x="145" y="96"/>
                    </a:lnTo>
                    <a:lnTo>
                      <a:pt x="142" y="103"/>
                    </a:lnTo>
                    <a:lnTo>
                      <a:pt x="139" y="109"/>
                    </a:lnTo>
                    <a:lnTo>
                      <a:pt x="136" y="116"/>
                    </a:lnTo>
                    <a:lnTo>
                      <a:pt x="132" y="121"/>
                    </a:lnTo>
                    <a:lnTo>
                      <a:pt x="126" y="127"/>
                    </a:lnTo>
                    <a:lnTo>
                      <a:pt x="121" y="132"/>
                    </a:lnTo>
                    <a:lnTo>
                      <a:pt x="115" y="136"/>
                    </a:lnTo>
                    <a:lnTo>
                      <a:pt x="109" y="140"/>
                    </a:lnTo>
                    <a:lnTo>
                      <a:pt x="102" y="143"/>
                    </a:lnTo>
                    <a:lnTo>
                      <a:pt x="96" y="145"/>
                    </a:lnTo>
                    <a:lnTo>
                      <a:pt x="88" y="147"/>
                    </a:lnTo>
                    <a:lnTo>
                      <a:pt x="82" y="148"/>
                    </a:lnTo>
                    <a:lnTo>
                      <a:pt x="74" y="148"/>
                    </a:lnTo>
                    <a:close/>
                    <a:moveTo>
                      <a:pt x="74" y="27"/>
                    </a:moveTo>
                    <a:lnTo>
                      <a:pt x="74" y="27"/>
                    </a:lnTo>
                    <a:lnTo>
                      <a:pt x="65" y="28"/>
                    </a:lnTo>
                    <a:lnTo>
                      <a:pt x="56" y="31"/>
                    </a:lnTo>
                    <a:lnTo>
                      <a:pt x="47" y="35"/>
                    </a:lnTo>
                    <a:lnTo>
                      <a:pt x="41" y="41"/>
                    </a:lnTo>
                    <a:lnTo>
                      <a:pt x="34" y="48"/>
                    </a:lnTo>
                    <a:lnTo>
                      <a:pt x="30" y="57"/>
                    </a:lnTo>
                    <a:lnTo>
                      <a:pt x="28" y="65"/>
                    </a:lnTo>
                    <a:lnTo>
                      <a:pt x="27" y="75"/>
                    </a:lnTo>
                    <a:lnTo>
                      <a:pt x="28" y="84"/>
                    </a:lnTo>
                    <a:lnTo>
                      <a:pt x="30" y="93"/>
                    </a:lnTo>
                    <a:lnTo>
                      <a:pt x="34" y="101"/>
                    </a:lnTo>
                    <a:lnTo>
                      <a:pt x="41" y="108"/>
                    </a:lnTo>
                    <a:lnTo>
                      <a:pt x="47" y="114"/>
                    </a:lnTo>
                    <a:lnTo>
                      <a:pt x="56" y="118"/>
                    </a:lnTo>
                    <a:lnTo>
                      <a:pt x="65" y="120"/>
                    </a:lnTo>
                    <a:lnTo>
                      <a:pt x="74" y="121"/>
                    </a:lnTo>
                    <a:lnTo>
                      <a:pt x="83" y="120"/>
                    </a:lnTo>
                    <a:lnTo>
                      <a:pt x="93" y="118"/>
                    </a:lnTo>
                    <a:lnTo>
                      <a:pt x="100" y="114"/>
                    </a:lnTo>
                    <a:lnTo>
                      <a:pt x="107" y="108"/>
                    </a:lnTo>
                    <a:lnTo>
                      <a:pt x="113" y="101"/>
                    </a:lnTo>
                    <a:lnTo>
                      <a:pt x="118" y="93"/>
                    </a:lnTo>
                    <a:lnTo>
                      <a:pt x="120" y="84"/>
                    </a:lnTo>
                    <a:lnTo>
                      <a:pt x="121" y="75"/>
                    </a:lnTo>
                    <a:lnTo>
                      <a:pt x="120" y="65"/>
                    </a:lnTo>
                    <a:lnTo>
                      <a:pt x="118" y="57"/>
                    </a:lnTo>
                    <a:lnTo>
                      <a:pt x="113" y="48"/>
                    </a:lnTo>
                    <a:lnTo>
                      <a:pt x="107" y="41"/>
                    </a:lnTo>
                    <a:lnTo>
                      <a:pt x="100" y="35"/>
                    </a:lnTo>
                    <a:lnTo>
                      <a:pt x="93" y="31"/>
                    </a:lnTo>
                    <a:lnTo>
                      <a:pt x="83" y="28"/>
                    </a:lnTo>
                    <a:lnTo>
                      <a:pt x="7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97"/>
              <p:cNvSpPr>
                <a:spLocks/>
              </p:cNvSpPr>
              <p:nvPr userDrawn="1"/>
            </p:nvSpPr>
            <p:spPr bwMode="auto">
              <a:xfrm>
                <a:off x="216" y="2953"/>
                <a:ext cx="1173" cy="1367"/>
              </a:xfrm>
              <a:custGeom>
                <a:avLst/>
                <a:gdLst>
                  <a:gd name="T0" fmla="*/ 121 w 3520"/>
                  <a:gd name="T1" fmla="*/ 3867 h 4101"/>
                  <a:gd name="T2" fmla="*/ 318 w 3520"/>
                  <a:gd name="T3" fmla="*/ 3504 h 4101"/>
                  <a:gd name="T4" fmla="*/ 511 w 3520"/>
                  <a:gd name="T5" fmla="*/ 3187 h 4101"/>
                  <a:gd name="T6" fmla="*/ 621 w 3520"/>
                  <a:gd name="T7" fmla="*/ 3024 h 4101"/>
                  <a:gd name="T8" fmla="*/ 729 w 3520"/>
                  <a:gd name="T9" fmla="*/ 2883 h 4101"/>
                  <a:gd name="T10" fmla="*/ 833 w 3520"/>
                  <a:gd name="T11" fmla="*/ 2770 h 4101"/>
                  <a:gd name="T12" fmla="*/ 934 w 3520"/>
                  <a:gd name="T13" fmla="*/ 2651 h 4101"/>
                  <a:gd name="T14" fmla="*/ 1014 w 3520"/>
                  <a:gd name="T15" fmla="*/ 2529 h 4101"/>
                  <a:gd name="T16" fmla="*/ 1077 w 3520"/>
                  <a:gd name="T17" fmla="*/ 2404 h 4101"/>
                  <a:gd name="T18" fmla="*/ 1126 w 3520"/>
                  <a:gd name="T19" fmla="*/ 2278 h 4101"/>
                  <a:gd name="T20" fmla="*/ 1174 w 3520"/>
                  <a:gd name="T21" fmla="*/ 2118 h 4101"/>
                  <a:gd name="T22" fmla="*/ 1226 w 3520"/>
                  <a:gd name="T23" fmla="*/ 1861 h 4101"/>
                  <a:gd name="T24" fmla="*/ 1251 w 3520"/>
                  <a:gd name="T25" fmla="*/ 1719 h 4101"/>
                  <a:gd name="T26" fmla="*/ 1272 w 3520"/>
                  <a:gd name="T27" fmla="*/ 1612 h 4101"/>
                  <a:gd name="T28" fmla="*/ 1310 w 3520"/>
                  <a:gd name="T29" fmla="*/ 1452 h 4101"/>
                  <a:gd name="T30" fmla="*/ 1369 w 3520"/>
                  <a:gd name="T31" fmla="*/ 1276 h 4101"/>
                  <a:gd name="T32" fmla="*/ 1444 w 3520"/>
                  <a:gd name="T33" fmla="*/ 1105 h 4101"/>
                  <a:gd name="T34" fmla="*/ 1534 w 3520"/>
                  <a:gd name="T35" fmla="*/ 940 h 4101"/>
                  <a:gd name="T36" fmla="*/ 1639 w 3520"/>
                  <a:gd name="T37" fmla="*/ 783 h 4101"/>
                  <a:gd name="T38" fmla="*/ 1758 w 3520"/>
                  <a:gd name="T39" fmla="*/ 634 h 4101"/>
                  <a:gd name="T40" fmla="*/ 1888 w 3520"/>
                  <a:gd name="T41" fmla="*/ 494 h 4101"/>
                  <a:gd name="T42" fmla="*/ 2032 w 3520"/>
                  <a:gd name="T43" fmla="*/ 367 h 4101"/>
                  <a:gd name="T44" fmla="*/ 2209 w 3520"/>
                  <a:gd name="T45" fmla="*/ 248 h 4101"/>
                  <a:gd name="T46" fmla="*/ 2424 w 3520"/>
                  <a:gd name="T47" fmla="*/ 156 h 4101"/>
                  <a:gd name="T48" fmla="*/ 2659 w 3520"/>
                  <a:gd name="T49" fmla="*/ 90 h 4101"/>
                  <a:gd name="T50" fmla="*/ 2896 w 3520"/>
                  <a:gd name="T51" fmla="*/ 45 h 4101"/>
                  <a:gd name="T52" fmla="*/ 3115 w 3520"/>
                  <a:gd name="T53" fmla="*/ 18 h 4101"/>
                  <a:gd name="T54" fmla="*/ 3409 w 3520"/>
                  <a:gd name="T55" fmla="*/ 1 h 4101"/>
                  <a:gd name="T56" fmla="*/ 3511 w 3520"/>
                  <a:gd name="T57" fmla="*/ 1 h 4101"/>
                  <a:gd name="T58" fmla="*/ 3519 w 3520"/>
                  <a:gd name="T59" fmla="*/ 18 h 4101"/>
                  <a:gd name="T60" fmla="*/ 3493 w 3520"/>
                  <a:gd name="T61" fmla="*/ 27 h 4101"/>
                  <a:gd name="T62" fmla="*/ 3261 w 3520"/>
                  <a:gd name="T63" fmla="*/ 35 h 4101"/>
                  <a:gd name="T64" fmla="*/ 3014 w 3520"/>
                  <a:gd name="T65" fmla="*/ 56 h 4101"/>
                  <a:gd name="T66" fmla="*/ 2786 w 3520"/>
                  <a:gd name="T67" fmla="*/ 91 h 4101"/>
                  <a:gd name="T68" fmla="*/ 2550 w 3520"/>
                  <a:gd name="T69" fmla="*/ 145 h 4101"/>
                  <a:gd name="T70" fmla="*/ 2326 w 3520"/>
                  <a:gd name="T71" fmla="*/ 222 h 4101"/>
                  <a:gd name="T72" fmla="*/ 2129 w 3520"/>
                  <a:gd name="T73" fmla="*/ 327 h 4101"/>
                  <a:gd name="T74" fmla="*/ 1977 w 3520"/>
                  <a:gd name="T75" fmla="*/ 450 h 4101"/>
                  <a:gd name="T76" fmla="*/ 1841 w 3520"/>
                  <a:gd name="T77" fmla="*/ 582 h 4101"/>
                  <a:gd name="T78" fmla="*/ 1718 w 3520"/>
                  <a:gd name="T79" fmla="*/ 724 h 4101"/>
                  <a:gd name="T80" fmla="*/ 1608 w 3520"/>
                  <a:gd name="T81" fmla="*/ 876 h 4101"/>
                  <a:gd name="T82" fmla="*/ 1510 w 3520"/>
                  <a:gd name="T83" fmla="*/ 1035 h 4101"/>
                  <a:gd name="T84" fmla="*/ 1429 w 3520"/>
                  <a:gd name="T85" fmla="*/ 1200 h 4101"/>
                  <a:gd name="T86" fmla="*/ 1363 w 3520"/>
                  <a:gd name="T87" fmla="*/ 1372 h 4101"/>
                  <a:gd name="T88" fmla="*/ 1314 w 3520"/>
                  <a:gd name="T89" fmla="*/ 1547 h 4101"/>
                  <a:gd name="T90" fmla="*/ 1288 w 3520"/>
                  <a:gd name="T91" fmla="*/ 1670 h 4101"/>
                  <a:gd name="T92" fmla="*/ 1269 w 3520"/>
                  <a:gd name="T93" fmla="*/ 1776 h 4101"/>
                  <a:gd name="T94" fmla="*/ 1229 w 3520"/>
                  <a:gd name="T95" fmla="*/ 1997 h 4101"/>
                  <a:gd name="T96" fmla="*/ 1172 w 3520"/>
                  <a:gd name="T97" fmla="*/ 2224 h 4101"/>
                  <a:gd name="T98" fmla="*/ 1128 w 3520"/>
                  <a:gd name="T99" fmla="*/ 2353 h 4101"/>
                  <a:gd name="T100" fmla="*/ 1071 w 3520"/>
                  <a:gd name="T101" fmla="*/ 2481 h 4101"/>
                  <a:gd name="T102" fmla="*/ 999 w 3520"/>
                  <a:gd name="T103" fmla="*/ 2606 h 4101"/>
                  <a:gd name="T104" fmla="*/ 907 w 3520"/>
                  <a:gd name="T105" fmla="*/ 2728 h 4101"/>
                  <a:gd name="T106" fmla="*/ 800 w 3520"/>
                  <a:gd name="T107" fmla="*/ 2843 h 4101"/>
                  <a:gd name="T108" fmla="*/ 697 w 3520"/>
                  <a:gd name="T109" fmla="*/ 2966 h 4101"/>
                  <a:gd name="T110" fmla="*/ 589 w 3520"/>
                  <a:gd name="T111" fmla="*/ 3115 h 4101"/>
                  <a:gd name="T112" fmla="*/ 453 w 3520"/>
                  <a:gd name="T113" fmla="*/ 3328 h 4101"/>
                  <a:gd name="T114" fmla="*/ 245 w 3520"/>
                  <a:gd name="T115" fmla="*/ 3692 h 4101"/>
                  <a:gd name="T116" fmla="*/ 67 w 3520"/>
                  <a:gd name="T117" fmla="*/ 4029 h 4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20" h="4101">
                    <a:moveTo>
                      <a:pt x="0" y="4101"/>
                    </a:moveTo>
                    <a:lnTo>
                      <a:pt x="37" y="4029"/>
                    </a:lnTo>
                    <a:lnTo>
                      <a:pt x="78" y="3950"/>
                    </a:lnTo>
                    <a:lnTo>
                      <a:pt x="121" y="3867"/>
                    </a:lnTo>
                    <a:lnTo>
                      <a:pt x="167" y="3779"/>
                    </a:lnTo>
                    <a:lnTo>
                      <a:pt x="216" y="3689"/>
                    </a:lnTo>
                    <a:lnTo>
                      <a:pt x="267" y="3597"/>
                    </a:lnTo>
                    <a:lnTo>
                      <a:pt x="318" y="3504"/>
                    </a:lnTo>
                    <a:lnTo>
                      <a:pt x="372" y="3411"/>
                    </a:lnTo>
                    <a:lnTo>
                      <a:pt x="427" y="3319"/>
                    </a:lnTo>
                    <a:lnTo>
                      <a:pt x="482" y="3230"/>
                    </a:lnTo>
                    <a:lnTo>
                      <a:pt x="511" y="3187"/>
                    </a:lnTo>
                    <a:lnTo>
                      <a:pt x="539" y="3144"/>
                    </a:lnTo>
                    <a:lnTo>
                      <a:pt x="566" y="3102"/>
                    </a:lnTo>
                    <a:lnTo>
                      <a:pt x="594" y="3063"/>
                    </a:lnTo>
                    <a:lnTo>
                      <a:pt x="621" y="3024"/>
                    </a:lnTo>
                    <a:lnTo>
                      <a:pt x="649" y="2986"/>
                    </a:lnTo>
                    <a:lnTo>
                      <a:pt x="676" y="2950"/>
                    </a:lnTo>
                    <a:lnTo>
                      <a:pt x="703" y="2916"/>
                    </a:lnTo>
                    <a:lnTo>
                      <a:pt x="729" y="2883"/>
                    </a:lnTo>
                    <a:lnTo>
                      <a:pt x="755" y="2853"/>
                    </a:lnTo>
                    <a:lnTo>
                      <a:pt x="781" y="2825"/>
                    </a:lnTo>
                    <a:lnTo>
                      <a:pt x="805" y="2799"/>
                    </a:lnTo>
                    <a:lnTo>
                      <a:pt x="833" y="2770"/>
                    </a:lnTo>
                    <a:lnTo>
                      <a:pt x="860" y="2740"/>
                    </a:lnTo>
                    <a:lnTo>
                      <a:pt x="886" y="2711"/>
                    </a:lnTo>
                    <a:lnTo>
                      <a:pt x="911" y="2680"/>
                    </a:lnTo>
                    <a:lnTo>
                      <a:pt x="934" y="2651"/>
                    </a:lnTo>
                    <a:lnTo>
                      <a:pt x="955" y="2621"/>
                    </a:lnTo>
                    <a:lnTo>
                      <a:pt x="976" y="2590"/>
                    </a:lnTo>
                    <a:lnTo>
                      <a:pt x="995" y="2560"/>
                    </a:lnTo>
                    <a:lnTo>
                      <a:pt x="1014" y="2529"/>
                    </a:lnTo>
                    <a:lnTo>
                      <a:pt x="1031" y="2498"/>
                    </a:lnTo>
                    <a:lnTo>
                      <a:pt x="1047" y="2467"/>
                    </a:lnTo>
                    <a:lnTo>
                      <a:pt x="1062" y="2435"/>
                    </a:lnTo>
                    <a:lnTo>
                      <a:pt x="1077" y="2404"/>
                    </a:lnTo>
                    <a:lnTo>
                      <a:pt x="1090" y="2373"/>
                    </a:lnTo>
                    <a:lnTo>
                      <a:pt x="1103" y="2341"/>
                    </a:lnTo>
                    <a:lnTo>
                      <a:pt x="1115" y="2310"/>
                    </a:lnTo>
                    <a:lnTo>
                      <a:pt x="1126" y="2278"/>
                    </a:lnTo>
                    <a:lnTo>
                      <a:pt x="1137" y="2246"/>
                    </a:lnTo>
                    <a:lnTo>
                      <a:pt x="1147" y="2214"/>
                    </a:lnTo>
                    <a:lnTo>
                      <a:pt x="1156" y="2182"/>
                    </a:lnTo>
                    <a:lnTo>
                      <a:pt x="1174" y="2118"/>
                    </a:lnTo>
                    <a:lnTo>
                      <a:pt x="1189" y="2054"/>
                    </a:lnTo>
                    <a:lnTo>
                      <a:pt x="1202" y="1990"/>
                    </a:lnTo>
                    <a:lnTo>
                      <a:pt x="1215" y="1926"/>
                    </a:lnTo>
                    <a:lnTo>
                      <a:pt x="1226" y="1861"/>
                    </a:lnTo>
                    <a:lnTo>
                      <a:pt x="1237" y="1797"/>
                    </a:lnTo>
                    <a:lnTo>
                      <a:pt x="1243" y="1771"/>
                    </a:lnTo>
                    <a:lnTo>
                      <a:pt x="1247" y="1744"/>
                    </a:lnTo>
                    <a:lnTo>
                      <a:pt x="1251" y="1719"/>
                    </a:lnTo>
                    <a:lnTo>
                      <a:pt x="1257" y="1692"/>
                    </a:lnTo>
                    <a:lnTo>
                      <a:pt x="1262" y="1666"/>
                    </a:lnTo>
                    <a:lnTo>
                      <a:pt x="1266" y="1639"/>
                    </a:lnTo>
                    <a:lnTo>
                      <a:pt x="1272" y="1612"/>
                    </a:lnTo>
                    <a:lnTo>
                      <a:pt x="1277" y="1586"/>
                    </a:lnTo>
                    <a:lnTo>
                      <a:pt x="1287" y="1540"/>
                    </a:lnTo>
                    <a:lnTo>
                      <a:pt x="1298" y="1496"/>
                    </a:lnTo>
                    <a:lnTo>
                      <a:pt x="1310" y="1452"/>
                    </a:lnTo>
                    <a:lnTo>
                      <a:pt x="1324" y="1408"/>
                    </a:lnTo>
                    <a:lnTo>
                      <a:pt x="1338" y="1363"/>
                    </a:lnTo>
                    <a:lnTo>
                      <a:pt x="1353" y="1320"/>
                    </a:lnTo>
                    <a:lnTo>
                      <a:pt x="1369" y="1276"/>
                    </a:lnTo>
                    <a:lnTo>
                      <a:pt x="1386" y="1233"/>
                    </a:lnTo>
                    <a:lnTo>
                      <a:pt x="1405" y="1191"/>
                    </a:lnTo>
                    <a:lnTo>
                      <a:pt x="1423" y="1148"/>
                    </a:lnTo>
                    <a:lnTo>
                      <a:pt x="1444" y="1105"/>
                    </a:lnTo>
                    <a:lnTo>
                      <a:pt x="1465" y="1063"/>
                    </a:lnTo>
                    <a:lnTo>
                      <a:pt x="1487" y="1022"/>
                    </a:lnTo>
                    <a:lnTo>
                      <a:pt x="1510" y="981"/>
                    </a:lnTo>
                    <a:lnTo>
                      <a:pt x="1534" y="940"/>
                    </a:lnTo>
                    <a:lnTo>
                      <a:pt x="1559" y="900"/>
                    </a:lnTo>
                    <a:lnTo>
                      <a:pt x="1585" y="860"/>
                    </a:lnTo>
                    <a:lnTo>
                      <a:pt x="1611" y="822"/>
                    </a:lnTo>
                    <a:lnTo>
                      <a:pt x="1639" y="783"/>
                    </a:lnTo>
                    <a:lnTo>
                      <a:pt x="1667" y="745"/>
                    </a:lnTo>
                    <a:lnTo>
                      <a:pt x="1696" y="707"/>
                    </a:lnTo>
                    <a:lnTo>
                      <a:pt x="1726" y="670"/>
                    </a:lnTo>
                    <a:lnTo>
                      <a:pt x="1758" y="634"/>
                    </a:lnTo>
                    <a:lnTo>
                      <a:pt x="1789" y="598"/>
                    </a:lnTo>
                    <a:lnTo>
                      <a:pt x="1821" y="562"/>
                    </a:lnTo>
                    <a:lnTo>
                      <a:pt x="1855" y="529"/>
                    </a:lnTo>
                    <a:lnTo>
                      <a:pt x="1888" y="494"/>
                    </a:lnTo>
                    <a:lnTo>
                      <a:pt x="1924" y="462"/>
                    </a:lnTo>
                    <a:lnTo>
                      <a:pt x="1959" y="430"/>
                    </a:lnTo>
                    <a:lnTo>
                      <a:pt x="1995" y="398"/>
                    </a:lnTo>
                    <a:lnTo>
                      <a:pt x="2032" y="367"/>
                    </a:lnTo>
                    <a:lnTo>
                      <a:pt x="2070" y="337"/>
                    </a:lnTo>
                    <a:lnTo>
                      <a:pt x="2113" y="306"/>
                    </a:lnTo>
                    <a:lnTo>
                      <a:pt x="2159" y="275"/>
                    </a:lnTo>
                    <a:lnTo>
                      <a:pt x="2209" y="248"/>
                    </a:lnTo>
                    <a:lnTo>
                      <a:pt x="2260" y="222"/>
                    </a:lnTo>
                    <a:lnTo>
                      <a:pt x="2313" y="199"/>
                    </a:lnTo>
                    <a:lnTo>
                      <a:pt x="2368" y="176"/>
                    </a:lnTo>
                    <a:lnTo>
                      <a:pt x="2424" y="156"/>
                    </a:lnTo>
                    <a:lnTo>
                      <a:pt x="2482" y="137"/>
                    </a:lnTo>
                    <a:lnTo>
                      <a:pt x="2541" y="120"/>
                    </a:lnTo>
                    <a:lnTo>
                      <a:pt x="2600" y="104"/>
                    </a:lnTo>
                    <a:lnTo>
                      <a:pt x="2659" y="90"/>
                    </a:lnTo>
                    <a:lnTo>
                      <a:pt x="2719" y="77"/>
                    </a:lnTo>
                    <a:lnTo>
                      <a:pt x="2778" y="65"/>
                    </a:lnTo>
                    <a:lnTo>
                      <a:pt x="2838" y="55"/>
                    </a:lnTo>
                    <a:lnTo>
                      <a:pt x="2896" y="45"/>
                    </a:lnTo>
                    <a:lnTo>
                      <a:pt x="2953" y="37"/>
                    </a:lnTo>
                    <a:lnTo>
                      <a:pt x="3008" y="30"/>
                    </a:lnTo>
                    <a:lnTo>
                      <a:pt x="3063" y="24"/>
                    </a:lnTo>
                    <a:lnTo>
                      <a:pt x="3115" y="18"/>
                    </a:lnTo>
                    <a:lnTo>
                      <a:pt x="3166" y="14"/>
                    </a:lnTo>
                    <a:lnTo>
                      <a:pt x="3259" y="8"/>
                    </a:lnTo>
                    <a:lnTo>
                      <a:pt x="3341" y="3"/>
                    </a:lnTo>
                    <a:lnTo>
                      <a:pt x="3409" y="1"/>
                    </a:lnTo>
                    <a:lnTo>
                      <a:pt x="3460" y="0"/>
                    </a:lnTo>
                    <a:lnTo>
                      <a:pt x="3493" y="0"/>
                    </a:lnTo>
                    <a:lnTo>
                      <a:pt x="3506" y="0"/>
                    </a:lnTo>
                    <a:lnTo>
                      <a:pt x="3511" y="1"/>
                    </a:lnTo>
                    <a:lnTo>
                      <a:pt x="3516" y="3"/>
                    </a:lnTo>
                    <a:lnTo>
                      <a:pt x="3519" y="8"/>
                    </a:lnTo>
                    <a:lnTo>
                      <a:pt x="3520" y="13"/>
                    </a:lnTo>
                    <a:lnTo>
                      <a:pt x="3519" y="18"/>
                    </a:lnTo>
                    <a:lnTo>
                      <a:pt x="3516" y="23"/>
                    </a:lnTo>
                    <a:lnTo>
                      <a:pt x="3511" y="26"/>
                    </a:lnTo>
                    <a:lnTo>
                      <a:pt x="3506" y="27"/>
                    </a:lnTo>
                    <a:lnTo>
                      <a:pt x="3493" y="27"/>
                    </a:lnTo>
                    <a:lnTo>
                      <a:pt x="3460" y="27"/>
                    </a:lnTo>
                    <a:lnTo>
                      <a:pt x="3409" y="28"/>
                    </a:lnTo>
                    <a:lnTo>
                      <a:pt x="3342" y="30"/>
                    </a:lnTo>
                    <a:lnTo>
                      <a:pt x="3261" y="35"/>
                    </a:lnTo>
                    <a:lnTo>
                      <a:pt x="3169" y="41"/>
                    </a:lnTo>
                    <a:lnTo>
                      <a:pt x="3118" y="45"/>
                    </a:lnTo>
                    <a:lnTo>
                      <a:pt x="3066" y="51"/>
                    </a:lnTo>
                    <a:lnTo>
                      <a:pt x="3014" y="56"/>
                    </a:lnTo>
                    <a:lnTo>
                      <a:pt x="2957" y="64"/>
                    </a:lnTo>
                    <a:lnTo>
                      <a:pt x="2901" y="71"/>
                    </a:lnTo>
                    <a:lnTo>
                      <a:pt x="2844" y="81"/>
                    </a:lnTo>
                    <a:lnTo>
                      <a:pt x="2786" y="91"/>
                    </a:lnTo>
                    <a:lnTo>
                      <a:pt x="2726" y="103"/>
                    </a:lnTo>
                    <a:lnTo>
                      <a:pt x="2668" y="114"/>
                    </a:lnTo>
                    <a:lnTo>
                      <a:pt x="2609" y="129"/>
                    </a:lnTo>
                    <a:lnTo>
                      <a:pt x="2550" y="145"/>
                    </a:lnTo>
                    <a:lnTo>
                      <a:pt x="2493" y="162"/>
                    </a:lnTo>
                    <a:lnTo>
                      <a:pt x="2436" y="180"/>
                    </a:lnTo>
                    <a:lnTo>
                      <a:pt x="2381" y="200"/>
                    </a:lnTo>
                    <a:lnTo>
                      <a:pt x="2326" y="222"/>
                    </a:lnTo>
                    <a:lnTo>
                      <a:pt x="2274" y="245"/>
                    </a:lnTo>
                    <a:lnTo>
                      <a:pt x="2223" y="271"/>
                    </a:lnTo>
                    <a:lnTo>
                      <a:pt x="2175" y="298"/>
                    </a:lnTo>
                    <a:lnTo>
                      <a:pt x="2129" y="327"/>
                    </a:lnTo>
                    <a:lnTo>
                      <a:pt x="2086" y="358"/>
                    </a:lnTo>
                    <a:lnTo>
                      <a:pt x="2049" y="389"/>
                    </a:lnTo>
                    <a:lnTo>
                      <a:pt x="2013" y="419"/>
                    </a:lnTo>
                    <a:lnTo>
                      <a:pt x="1977" y="450"/>
                    </a:lnTo>
                    <a:lnTo>
                      <a:pt x="1942" y="482"/>
                    </a:lnTo>
                    <a:lnTo>
                      <a:pt x="1908" y="514"/>
                    </a:lnTo>
                    <a:lnTo>
                      <a:pt x="1874" y="547"/>
                    </a:lnTo>
                    <a:lnTo>
                      <a:pt x="1841" y="582"/>
                    </a:lnTo>
                    <a:lnTo>
                      <a:pt x="1810" y="616"/>
                    </a:lnTo>
                    <a:lnTo>
                      <a:pt x="1778" y="651"/>
                    </a:lnTo>
                    <a:lnTo>
                      <a:pt x="1747" y="688"/>
                    </a:lnTo>
                    <a:lnTo>
                      <a:pt x="1718" y="724"/>
                    </a:lnTo>
                    <a:lnTo>
                      <a:pt x="1689" y="761"/>
                    </a:lnTo>
                    <a:lnTo>
                      <a:pt x="1661" y="799"/>
                    </a:lnTo>
                    <a:lnTo>
                      <a:pt x="1634" y="837"/>
                    </a:lnTo>
                    <a:lnTo>
                      <a:pt x="1608" y="876"/>
                    </a:lnTo>
                    <a:lnTo>
                      <a:pt x="1582" y="914"/>
                    </a:lnTo>
                    <a:lnTo>
                      <a:pt x="1557" y="954"/>
                    </a:lnTo>
                    <a:lnTo>
                      <a:pt x="1533" y="994"/>
                    </a:lnTo>
                    <a:lnTo>
                      <a:pt x="1510" y="1035"/>
                    </a:lnTo>
                    <a:lnTo>
                      <a:pt x="1489" y="1076"/>
                    </a:lnTo>
                    <a:lnTo>
                      <a:pt x="1468" y="1117"/>
                    </a:lnTo>
                    <a:lnTo>
                      <a:pt x="1448" y="1158"/>
                    </a:lnTo>
                    <a:lnTo>
                      <a:pt x="1429" y="1200"/>
                    </a:lnTo>
                    <a:lnTo>
                      <a:pt x="1411" y="1244"/>
                    </a:lnTo>
                    <a:lnTo>
                      <a:pt x="1394" y="1286"/>
                    </a:lnTo>
                    <a:lnTo>
                      <a:pt x="1378" y="1329"/>
                    </a:lnTo>
                    <a:lnTo>
                      <a:pt x="1363" y="1372"/>
                    </a:lnTo>
                    <a:lnTo>
                      <a:pt x="1350" y="1415"/>
                    </a:lnTo>
                    <a:lnTo>
                      <a:pt x="1337" y="1458"/>
                    </a:lnTo>
                    <a:lnTo>
                      <a:pt x="1325" y="1503"/>
                    </a:lnTo>
                    <a:lnTo>
                      <a:pt x="1314" y="1547"/>
                    </a:lnTo>
                    <a:lnTo>
                      <a:pt x="1304" y="1591"/>
                    </a:lnTo>
                    <a:lnTo>
                      <a:pt x="1299" y="1617"/>
                    </a:lnTo>
                    <a:lnTo>
                      <a:pt x="1293" y="1644"/>
                    </a:lnTo>
                    <a:lnTo>
                      <a:pt x="1288" y="1670"/>
                    </a:lnTo>
                    <a:lnTo>
                      <a:pt x="1284" y="1697"/>
                    </a:lnTo>
                    <a:lnTo>
                      <a:pt x="1278" y="1723"/>
                    </a:lnTo>
                    <a:lnTo>
                      <a:pt x="1274" y="1750"/>
                    </a:lnTo>
                    <a:lnTo>
                      <a:pt x="1269" y="1776"/>
                    </a:lnTo>
                    <a:lnTo>
                      <a:pt x="1264" y="1802"/>
                    </a:lnTo>
                    <a:lnTo>
                      <a:pt x="1252" y="1866"/>
                    </a:lnTo>
                    <a:lnTo>
                      <a:pt x="1241" y="1931"/>
                    </a:lnTo>
                    <a:lnTo>
                      <a:pt x="1229" y="1997"/>
                    </a:lnTo>
                    <a:lnTo>
                      <a:pt x="1215" y="2062"/>
                    </a:lnTo>
                    <a:lnTo>
                      <a:pt x="1199" y="2127"/>
                    </a:lnTo>
                    <a:lnTo>
                      <a:pt x="1182" y="2191"/>
                    </a:lnTo>
                    <a:lnTo>
                      <a:pt x="1172" y="2224"/>
                    </a:lnTo>
                    <a:lnTo>
                      <a:pt x="1163" y="2256"/>
                    </a:lnTo>
                    <a:lnTo>
                      <a:pt x="1152" y="2289"/>
                    </a:lnTo>
                    <a:lnTo>
                      <a:pt x="1140" y="2321"/>
                    </a:lnTo>
                    <a:lnTo>
                      <a:pt x="1128" y="2353"/>
                    </a:lnTo>
                    <a:lnTo>
                      <a:pt x="1115" y="2385"/>
                    </a:lnTo>
                    <a:lnTo>
                      <a:pt x="1101" y="2417"/>
                    </a:lnTo>
                    <a:lnTo>
                      <a:pt x="1086" y="2448"/>
                    </a:lnTo>
                    <a:lnTo>
                      <a:pt x="1071" y="2481"/>
                    </a:lnTo>
                    <a:lnTo>
                      <a:pt x="1055" y="2512"/>
                    </a:lnTo>
                    <a:lnTo>
                      <a:pt x="1036" y="2543"/>
                    </a:lnTo>
                    <a:lnTo>
                      <a:pt x="1018" y="2575"/>
                    </a:lnTo>
                    <a:lnTo>
                      <a:pt x="999" y="2606"/>
                    </a:lnTo>
                    <a:lnTo>
                      <a:pt x="977" y="2636"/>
                    </a:lnTo>
                    <a:lnTo>
                      <a:pt x="955" y="2667"/>
                    </a:lnTo>
                    <a:lnTo>
                      <a:pt x="932" y="2698"/>
                    </a:lnTo>
                    <a:lnTo>
                      <a:pt x="907" y="2728"/>
                    </a:lnTo>
                    <a:lnTo>
                      <a:pt x="881" y="2758"/>
                    </a:lnTo>
                    <a:lnTo>
                      <a:pt x="854" y="2788"/>
                    </a:lnTo>
                    <a:lnTo>
                      <a:pt x="825" y="2818"/>
                    </a:lnTo>
                    <a:lnTo>
                      <a:pt x="800" y="2843"/>
                    </a:lnTo>
                    <a:lnTo>
                      <a:pt x="775" y="2871"/>
                    </a:lnTo>
                    <a:lnTo>
                      <a:pt x="749" y="2901"/>
                    </a:lnTo>
                    <a:lnTo>
                      <a:pt x="723" y="2933"/>
                    </a:lnTo>
                    <a:lnTo>
                      <a:pt x="697" y="2966"/>
                    </a:lnTo>
                    <a:lnTo>
                      <a:pt x="670" y="3001"/>
                    </a:lnTo>
                    <a:lnTo>
                      <a:pt x="643" y="3038"/>
                    </a:lnTo>
                    <a:lnTo>
                      <a:pt x="616" y="3075"/>
                    </a:lnTo>
                    <a:lnTo>
                      <a:pt x="589" y="3115"/>
                    </a:lnTo>
                    <a:lnTo>
                      <a:pt x="562" y="3156"/>
                    </a:lnTo>
                    <a:lnTo>
                      <a:pt x="535" y="3197"/>
                    </a:lnTo>
                    <a:lnTo>
                      <a:pt x="508" y="3241"/>
                    </a:lnTo>
                    <a:lnTo>
                      <a:pt x="453" y="3328"/>
                    </a:lnTo>
                    <a:lnTo>
                      <a:pt x="399" y="3418"/>
                    </a:lnTo>
                    <a:lnTo>
                      <a:pt x="346" y="3509"/>
                    </a:lnTo>
                    <a:lnTo>
                      <a:pt x="295" y="3601"/>
                    </a:lnTo>
                    <a:lnTo>
                      <a:pt x="245" y="3692"/>
                    </a:lnTo>
                    <a:lnTo>
                      <a:pt x="196" y="3781"/>
                    </a:lnTo>
                    <a:lnTo>
                      <a:pt x="150" y="3868"/>
                    </a:lnTo>
                    <a:lnTo>
                      <a:pt x="107" y="3950"/>
                    </a:lnTo>
                    <a:lnTo>
                      <a:pt x="67" y="4029"/>
                    </a:lnTo>
                    <a:lnTo>
                      <a:pt x="30" y="4101"/>
                    </a:lnTo>
                    <a:lnTo>
                      <a:pt x="0" y="4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98"/>
              <p:cNvSpPr>
                <a:spLocks noEditPoints="1"/>
              </p:cNvSpPr>
              <p:nvPr userDrawn="1"/>
            </p:nvSpPr>
            <p:spPr bwMode="auto">
              <a:xfrm>
                <a:off x="2718" y="3461"/>
                <a:ext cx="25" cy="26"/>
              </a:xfrm>
              <a:custGeom>
                <a:avLst/>
                <a:gdLst>
                  <a:gd name="T0" fmla="*/ 39 w 76"/>
                  <a:gd name="T1" fmla="*/ 77 h 77"/>
                  <a:gd name="T2" fmla="*/ 31 w 76"/>
                  <a:gd name="T3" fmla="*/ 76 h 77"/>
                  <a:gd name="T4" fmla="*/ 23 w 76"/>
                  <a:gd name="T5" fmla="*/ 74 h 77"/>
                  <a:gd name="T6" fmla="*/ 17 w 76"/>
                  <a:gd name="T7" fmla="*/ 71 h 77"/>
                  <a:gd name="T8" fmla="*/ 12 w 76"/>
                  <a:gd name="T9" fmla="*/ 65 h 77"/>
                  <a:gd name="T10" fmla="*/ 6 w 76"/>
                  <a:gd name="T11" fmla="*/ 60 h 77"/>
                  <a:gd name="T12" fmla="*/ 3 w 76"/>
                  <a:gd name="T13" fmla="*/ 53 h 77"/>
                  <a:gd name="T14" fmla="*/ 1 w 76"/>
                  <a:gd name="T15" fmla="*/ 47 h 77"/>
                  <a:gd name="T16" fmla="*/ 0 w 76"/>
                  <a:gd name="T17" fmla="*/ 38 h 77"/>
                  <a:gd name="T18" fmla="*/ 1 w 76"/>
                  <a:gd name="T19" fmla="*/ 31 h 77"/>
                  <a:gd name="T20" fmla="*/ 3 w 76"/>
                  <a:gd name="T21" fmla="*/ 24 h 77"/>
                  <a:gd name="T22" fmla="*/ 6 w 76"/>
                  <a:gd name="T23" fmla="*/ 18 h 77"/>
                  <a:gd name="T24" fmla="*/ 12 w 76"/>
                  <a:gd name="T25" fmla="*/ 11 h 77"/>
                  <a:gd name="T26" fmla="*/ 17 w 76"/>
                  <a:gd name="T27" fmla="*/ 7 h 77"/>
                  <a:gd name="T28" fmla="*/ 23 w 76"/>
                  <a:gd name="T29" fmla="*/ 4 h 77"/>
                  <a:gd name="T30" fmla="*/ 31 w 76"/>
                  <a:gd name="T31" fmla="*/ 1 h 77"/>
                  <a:gd name="T32" fmla="*/ 39 w 76"/>
                  <a:gd name="T33" fmla="*/ 0 h 77"/>
                  <a:gd name="T34" fmla="*/ 46 w 76"/>
                  <a:gd name="T35" fmla="*/ 1 h 77"/>
                  <a:gd name="T36" fmla="*/ 53 w 76"/>
                  <a:gd name="T37" fmla="*/ 4 h 77"/>
                  <a:gd name="T38" fmla="*/ 59 w 76"/>
                  <a:gd name="T39" fmla="*/ 7 h 77"/>
                  <a:gd name="T40" fmla="*/ 66 w 76"/>
                  <a:gd name="T41" fmla="*/ 11 h 77"/>
                  <a:gd name="T42" fmla="*/ 70 w 76"/>
                  <a:gd name="T43" fmla="*/ 18 h 77"/>
                  <a:gd name="T44" fmla="*/ 73 w 76"/>
                  <a:gd name="T45" fmla="*/ 24 h 77"/>
                  <a:gd name="T46" fmla="*/ 75 w 76"/>
                  <a:gd name="T47" fmla="*/ 31 h 77"/>
                  <a:gd name="T48" fmla="*/ 76 w 76"/>
                  <a:gd name="T49" fmla="*/ 38 h 77"/>
                  <a:gd name="T50" fmla="*/ 75 w 76"/>
                  <a:gd name="T51" fmla="*/ 47 h 77"/>
                  <a:gd name="T52" fmla="*/ 73 w 76"/>
                  <a:gd name="T53" fmla="*/ 53 h 77"/>
                  <a:gd name="T54" fmla="*/ 70 w 76"/>
                  <a:gd name="T55" fmla="*/ 60 h 77"/>
                  <a:gd name="T56" fmla="*/ 66 w 76"/>
                  <a:gd name="T57" fmla="*/ 65 h 77"/>
                  <a:gd name="T58" fmla="*/ 59 w 76"/>
                  <a:gd name="T59" fmla="*/ 71 h 77"/>
                  <a:gd name="T60" fmla="*/ 53 w 76"/>
                  <a:gd name="T61" fmla="*/ 74 h 77"/>
                  <a:gd name="T62" fmla="*/ 46 w 76"/>
                  <a:gd name="T63" fmla="*/ 76 h 77"/>
                  <a:gd name="T64" fmla="*/ 39 w 76"/>
                  <a:gd name="T65" fmla="*/ 77 h 77"/>
                  <a:gd name="T66" fmla="*/ 39 w 76"/>
                  <a:gd name="T67" fmla="*/ 27 h 77"/>
                  <a:gd name="T68" fmla="*/ 39 w 76"/>
                  <a:gd name="T69" fmla="*/ 27 h 77"/>
                  <a:gd name="T70" fmla="*/ 34 w 76"/>
                  <a:gd name="T71" fmla="*/ 28 h 77"/>
                  <a:gd name="T72" fmla="*/ 30 w 76"/>
                  <a:gd name="T73" fmla="*/ 31 h 77"/>
                  <a:gd name="T74" fmla="*/ 28 w 76"/>
                  <a:gd name="T75" fmla="*/ 34 h 77"/>
                  <a:gd name="T76" fmla="*/ 27 w 76"/>
                  <a:gd name="T77" fmla="*/ 38 h 77"/>
                  <a:gd name="T78" fmla="*/ 28 w 76"/>
                  <a:gd name="T79" fmla="*/ 42 h 77"/>
                  <a:gd name="T80" fmla="*/ 30 w 76"/>
                  <a:gd name="T81" fmla="*/ 47 h 77"/>
                  <a:gd name="T82" fmla="*/ 34 w 76"/>
                  <a:gd name="T83" fmla="*/ 49 h 77"/>
                  <a:gd name="T84" fmla="*/ 39 w 76"/>
                  <a:gd name="T85" fmla="*/ 50 h 77"/>
                  <a:gd name="T86" fmla="*/ 43 w 76"/>
                  <a:gd name="T87" fmla="*/ 49 h 77"/>
                  <a:gd name="T88" fmla="*/ 46 w 76"/>
                  <a:gd name="T89" fmla="*/ 47 h 77"/>
                  <a:gd name="T90" fmla="*/ 48 w 76"/>
                  <a:gd name="T91" fmla="*/ 42 h 77"/>
                  <a:gd name="T92" fmla="*/ 49 w 76"/>
                  <a:gd name="T93" fmla="*/ 38 h 77"/>
                  <a:gd name="T94" fmla="*/ 48 w 76"/>
                  <a:gd name="T95" fmla="*/ 34 h 77"/>
                  <a:gd name="T96" fmla="*/ 46 w 76"/>
                  <a:gd name="T97" fmla="*/ 31 h 77"/>
                  <a:gd name="T98" fmla="*/ 43 w 76"/>
                  <a:gd name="T99" fmla="*/ 28 h 77"/>
                  <a:gd name="T100" fmla="*/ 39 w 76"/>
                  <a:gd name="T10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 h="77">
                    <a:moveTo>
                      <a:pt x="39" y="77"/>
                    </a:moveTo>
                    <a:lnTo>
                      <a:pt x="31" y="76"/>
                    </a:lnTo>
                    <a:lnTo>
                      <a:pt x="23" y="74"/>
                    </a:lnTo>
                    <a:lnTo>
                      <a:pt x="17" y="71"/>
                    </a:lnTo>
                    <a:lnTo>
                      <a:pt x="12" y="65"/>
                    </a:lnTo>
                    <a:lnTo>
                      <a:pt x="6" y="60"/>
                    </a:lnTo>
                    <a:lnTo>
                      <a:pt x="3" y="53"/>
                    </a:lnTo>
                    <a:lnTo>
                      <a:pt x="1" y="47"/>
                    </a:lnTo>
                    <a:lnTo>
                      <a:pt x="0" y="38"/>
                    </a:lnTo>
                    <a:lnTo>
                      <a:pt x="1" y="31"/>
                    </a:lnTo>
                    <a:lnTo>
                      <a:pt x="3" y="24"/>
                    </a:lnTo>
                    <a:lnTo>
                      <a:pt x="6" y="18"/>
                    </a:lnTo>
                    <a:lnTo>
                      <a:pt x="12" y="11"/>
                    </a:lnTo>
                    <a:lnTo>
                      <a:pt x="17" y="7"/>
                    </a:lnTo>
                    <a:lnTo>
                      <a:pt x="23" y="4"/>
                    </a:lnTo>
                    <a:lnTo>
                      <a:pt x="31" y="1"/>
                    </a:lnTo>
                    <a:lnTo>
                      <a:pt x="39" y="0"/>
                    </a:lnTo>
                    <a:lnTo>
                      <a:pt x="46" y="1"/>
                    </a:lnTo>
                    <a:lnTo>
                      <a:pt x="53" y="4"/>
                    </a:lnTo>
                    <a:lnTo>
                      <a:pt x="59" y="7"/>
                    </a:lnTo>
                    <a:lnTo>
                      <a:pt x="66" y="11"/>
                    </a:lnTo>
                    <a:lnTo>
                      <a:pt x="70" y="18"/>
                    </a:lnTo>
                    <a:lnTo>
                      <a:pt x="73" y="24"/>
                    </a:lnTo>
                    <a:lnTo>
                      <a:pt x="75" y="31"/>
                    </a:lnTo>
                    <a:lnTo>
                      <a:pt x="76" y="38"/>
                    </a:lnTo>
                    <a:lnTo>
                      <a:pt x="75" y="47"/>
                    </a:lnTo>
                    <a:lnTo>
                      <a:pt x="73" y="53"/>
                    </a:lnTo>
                    <a:lnTo>
                      <a:pt x="70" y="60"/>
                    </a:lnTo>
                    <a:lnTo>
                      <a:pt x="66" y="65"/>
                    </a:lnTo>
                    <a:lnTo>
                      <a:pt x="59" y="71"/>
                    </a:lnTo>
                    <a:lnTo>
                      <a:pt x="53" y="74"/>
                    </a:lnTo>
                    <a:lnTo>
                      <a:pt x="46" y="76"/>
                    </a:lnTo>
                    <a:lnTo>
                      <a:pt x="39" y="77"/>
                    </a:lnTo>
                    <a:close/>
                    <a:moveTo>
                      <a:pt x="39" y="27"/>
                    </a:moveTo>
                    <a:lnTo>
                      <a:pt x="39" y="27"/>
                    </a:lnTo>
                    <a:lnTo>
                      <a:pt x="34" y="28"/>
                    </a:lnTo>
                    <a:lnTo>
                      <a:pt x="30" y="31"/>
                    </a:lnTo>
                    <a:lnTo>
                      <a:pt x="28" y="34"/>
                    </a:lnTo>
                    <a:lnTo>
                      <a:pt x="27" y="38"/>
                    </a:lnTo>
                    <a:lnTo>
                      <a:pt x="28" y="42"/>
                    </a:lnTo>
                    <a:lnTo>
                      <a:pt x="30" y="47"/>
                    </a:lnTo>
                    <a:lnTo>
                      <a:pt x="34" y="49"/>
                    </a:lnTo>
                    <a:lnTo>
                      <a:pt x="39" y="50"/>
                    </a:lnTo>
                    <a:lnTo>
                      <a:pt x="43" y="49"/>
                    </a:lnTo>
                    <a:lnTo>
                      <a:pt x="46" y="47"/>
                    </a:lnTo>
                    <a:lnTo>
                      <a:pt x="48" y="42"/>
                    </a:lnTo>
                    <a:lnTo>
                      <a:pt x="49" y="38"/>
                    </a:lnTo>
                    <a:lnTo>
                      <a:pt x="48" y="34"/>
                    </a:lnTo>
                    <a:lnTo>
                      <a:pt x="46" y="31"/>
                    </a:lnTo>
                    <a:lnTo>
                      <a:pt x="43" y="28"/>
                    </a:lnTo>
                    <a:lnTo>
                      <a:pt x="39"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99"/>
              <p:cNvSpPr>
                <a:spLocks noEditPoints="1"/>
              </p:cNvSpPr>
              <p:nvPr userDrawn="1"/>
            </p:nvSpPr>
            <p:spPr bwMode="auto">
              <a:xfrm>
                <a:off x="2653" y="3375"/>
                <a:ext cx="33" cy="33"/>
              </a:xfrm>
              <a:custGeom>
                <a:avLst/>
                <a:gdLst>
                  <a:gd name="T0" fmla="*/ 40 w 101"/>
                  <a:gd name="T1" fmla="*/ 100 h 101"/>
                  <a:gd name="T2" fmla="*/ 23 w 101"/>
                  <a:gd name="T3" fmla="*/ 92 h 101"/>
                  <a:gd name="T4" fmla="*/ 9 w 101"/>
                  <a:gd name="T5" fmla="*/ 78 h 101"/>
                  <a:gd name="T6" fmla="*/ 1 w 101"/>
                  <a:gd name="T7" fmla="*/ 61 h 101"/>
                  <a:gd name="T8" fmla="*/ 1 w 101"/>
                  <a:gd name="T9" fmla="*/ 40 h 101"/>
                  <a:gd name="T10" fmla="*/ 9 w 101"/>
                  <a:gd name="T11" fmla="*/ 22 h 101"/>
                  <a:gd name="T12" fmla="*/ 23 w 101"/>
                  <a:gd name="T13" fmla="*/ 9 h 101"/>
                  <a:gd name="T14" fmla="*/ 40 w 101"/>
                  <a:gd name="T15" fmla="*/ 1 h 101"/>
                  <a:gd name="T16" fmla="*/ 61 w 101"/>
                  <a:gd name="T17" fmla="*/ 1 h 101"/>
                  <a:gd name="T18" fmla="*/ 79 w 101"/>
                  <a:gd name="T19" fmla="*/ 9 h 101"/>
                  <a:gd name="T20" fmla="*/ 92 w 101"/>
                  <a:gd name="T21" fmla="*/ 22 h 101"/>
                  <a:gd name="T22" fmla="*/ 100 w 101"/>
                  <a:gd name="T23" fmla="*/ 40 h 101"/>
                  <a:gd name="T24" fmla="*/ 100 w 101"/>
                  <a:gd name="T25" fmla="*/ 61 h 101"/>
                  <a:gd name="T26" fmla="*/ 92 w 101"/>
                  <a:gd name="T27" fmla="*/ 78 h 101"/>
                  <a:gd name="T28" fmla="*/ 79 w 101"/>
                  <a:gd name="T29" fmla="*/ 92 h 101"/>
                  <a:gd name="T30" fmla="*/ 61 w 101"/>
                  <a:gd name="T31" fmla="*/ 100 h 101"/>
                  <a:gd name="T32" fmla="*/ 51 w 101"/>
                  <a:gd name="T33" fmla="*/ 27 h 101"/>
                  <a:gd name="T34" fmla="*/ 46 w 101"/>
                  <a:gd name="T35" fmla="*/ 27 h 101"/>
                  <a:gd name="T36" fmla="*/ 38 w 101"/>
                  <a:gd name="T37" fmla="*/ 32 h 101"/>
                  <a:gd name="T38" fmla="*/ 32 w 101"/>
                  <a:gd name="T39" fmla="*/ 37 h 101"/>
                  <a:gd name="T40" fmla="*/ 28 w 101"/>
                  <a:gd name="T41" fmla="*/ 46 h 101"/>
                  <a:gd name="T42" fmla="*/ 28 w 101"/>
                  <a:gd name="T43" fmla="*/ 55 h 101"/>
                  <a:gd name="T44" fmla="*/ 32 w 101"/>
                  <a:gd name="T45" fmla="*/ 63 h 101"/>
                  <a:gd name="T46" fmla="*/ 38 w 101"/>
                  <a:gd name="T47" fmla="*/ 69 h 101"/>
                  <a:gd name="T48" fmla="*/ 46 w 101"/>
                  <a:gd name="T49" fmla="*/ 73 h 101"/>
                  <a:gd name="T50" fmla="*/ 55 w 101"/>
                  <a:gd name="T51" fmla="*/ 73 h 101"/>
                  <a:gd name="T52" fmla="*/ 64 w 101"/>
                  <a:gd name="T53" fmla="*/ 69 h 101"/>
                  <a:gd name="T54" fmla="*/ 70 w 101"/>
                  <a:gd name="T55" fmla="*/ 63 h 101"/>
                  <a:gd name="T56" fmla="*/ 74 w 101"/>
                  <a:gd name="T57" fmla="*/ 55 h 101"/>
                  <a:gd name="T58" fmla="*/ 74 w 101"/>
                  <a:gd name="T59" fmla="*/ 46 h 101"/>
                  <a:gd name="T60" fmla="*/ 70 w 101"/>
                  <a:gd name="T61" fmla="*/ 37 h 101"/>
                  <a:gd name="T62" fmla="*/ 64 w 101"/>
                  <a:gd name="T63" fmla="*/ 32 h 101"/>
                  <a:gd name="T64" fmla="*/ 55 w 101"/>
                  <a:gd name="T65" fmla="*/ 2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1">
                    <a:moveTo>
                      <a:pt x="51" y="101"/>
                    </a:moveTo>
                    <a:lnTo>
                      <a:pt x="40" y="100"/>
                    </a:lnTo>
                    <a:lnTo>
                      <a:pt x="32" y="96"/>
                    </a:lnTo>
                    <a:lnTo>
                      <a:pt x="23" y="92"/>
                    </a:lnTo>
                    <a:lnTo>
                      <a:pt x="15" y="85"/>
                    </a:lnTo>
                    <a:lnTo>
                      <a:pt x="9" y="78"/>
                    </a:lnTo>
                    <a:lnTo>
                      <a:pt x="5" y="69"/>
                    </a:lnTo>
                    <a:lnTo>
                      <a:pt x="1" y="61"/>
                    </a:lnTo>
                    <a:lnTo>
                      <a:pt x="0" y="50"/>
                    </a:lnTo>
                    <a:lnTo>
                      <a:pt x="1" y="40"/>
                    </a:lnTo>
                    <a:lnTo>
                      <a:pt x="5" y="30"/>
                    </a:lnTo>
                    <a:lnTo>
                      <a:pt x="9" y="22"/>
                    </a:lnTo>
                    <a:lnTo>
                      <a:pt x="15" y="14"/>
                    </a:lnTo>
                    <a:lnTo>
                      <a:pt x="23" y="9"/>
                    </a:lnTo>
                    <a:lnTo>
                      <a:pt x="32" y="3"/>
                    </a:lnTo>
                    <a:lnTo>
                      <a:pt x="40" y="1"/>
                    </a:lnTo>
                    <a:lnTo>
                      <a:pt x="51" y="0"/>
                    </a:lnTo>
                    <a:lnTo>
                      <a:pt x="61" y="1"/>
                    </a:lnTo>
                    <a:lnTo>
                      <a:pt x="70" y="3"/>
                    </a:lnTo>
                    <a:lnTo>
                      <a:pt x="79" y="9"/>
                    </a:lnTo>
                    <a:lnTo>
                      <a:pt x="87" y="14"/>
                    </a:lnTo>
                    <a:lnTo>
                      <a:pt x="92" y="22"/>
                    </a:lnTo>
                    <a:lnTo>
                      <a:pt x="97" y="30"/>
                    </a:lnTo>
                    <a:lnTo>
                      <a:pt x="100" y="40"/>
                    </a:lnTo>
                    <a:lnTo>
                      <a:pt x="101" y="50"/>
                    </a:lnTo>
                    <a:lnTo>
                      <a:pt x="100" y="61"/>
                    </a:lnTo>
                    <a:lnTo>
                      <a:pt x="97" y="69"/>
                    </a:lnTo>
                    <a:lnTo>
                      <a:pt x="92" y="78"/>
                    </a:lnTo>
                    <a:lnTo>
                      <a:pt x="87" y="85"/>
                    </a:lnTo>
                    <a:lnTo>
                      <a:pt x="79" y="92"/>
                    </a:lnTo>
                    <a:lnTo>
                      <a:pt x="70" y="96"/>
                    </a:lnTo>
                    <a:lnTo>
                      <a:pt x="61" y="100"/>
                    </a:lnTo>
                    <a:lnTo>
                      <a:pt x="51" y="101"/>
                    </a:lnTo>
                    <a:close/>
                    <a:moveTo>
                      <a:pt x="51" y="27"/>
                    </a:moveTo>
                    <a:lnTo>
                      <a:pt x="51" y="27"/>
                    </a:lnTo>
                    <a:lnTo>
                      <a:pt x="46" y="27"/>
                    </a:lnTo>
                    <a:lnTo>
                      <a:pt x="41" y="29"/>
                    </a:lnTo>
                    <a:lnTo>
                      <a:pt x="38" y="32"/>
                    </a:lnTo>
                    <a:lnTo>
                      <a:pt x="35" y="34"/>
                    </a:lnTo>
                    <a:lnTo>
                      <a:pt x="32" y="37"/>
                    </a:lnTo>
                    <a:lnTo>
                      <a:pt x="29" y="41"/>
                    </a:lnTo>
                    <a:lnTo>
                      <a:pt x="28" y="46"/>
                    </a:lnTo>
                    <a:lnTo>
                      <a:pt x="27" y="50"/>
                    </a:lnTo>
                    <a:lnTo>
                      <a:pt x="28" y="55"/>
                    </a:lnTo>
                    <a:lnTo>
                      <a:pt x="29" y="60"/>
                    </a:lnTo>
                    <a:lnTo>
                      <a:pt x="32" y="63"/>
                    </a:lnTo>
                    <a:lnTo>
                      <a:pt x="35" y="66"/>
                    </a:lnTo>
                    <a:lnTo>
                      <a:pt x="38" y="69"/>
                    </a:lnTo>
                    <a:lnTo>
                      <a:pt x="41" y="71"/>
                    </a:lnTo>
                    <a:lnTo>
                      <a:pt x="46" y="73"/>
                    </a:lnTo>
                    <a:lnTo>
                      <a:pt x="51" y="74"/>
                    </a:lnTo>
                    <a:lnTo>
                      <a:pt x="55" y="73"/>
                    </a:lnTo>
                    <a:lnTo>
                      <a:pt x="60" y="71"/>
                    </a:lnTo>
                    <a:lnTo>
                      <a:pt x="64" y="69"/>
                    </a:lnTo>
                    <a:lnTo>
                      <a:pt x="67" y="66"/>
                    </a:lnTo>
                    <a:lnTo>
                      <a:pt x="70" y="63"/>
                    </a:lnTo>
                    <a:lnTo>
                      <a:pt x="73" y="60"/>
                    </a:lnTo>
                    <a:lnTo>
                      <a:pt x="74" y="55"/>
                    </a:lnTo>
                    <a:lnTo>
                      <a:pt x="74" y="50"/>
                    </a:lnTo>
                    <a:lnTo>
                      <a:pt x="74" y="46"/>
                    </a:lnTo>
                    <a:lnTo>
                      <a:pt x="73" y="41"/>
                    </a:lnTo>
                    <a:lnTo>
                      <a:pt x="70" y="37"/>
                    </a:lnTo>
                    <a:lnTo>
                      <a:pt x="67" y="34"/>
                    </a:lnTo>
                    <a:lnTo>
                      <a:pt x="64" y="32"/>
                    </a:lnTo>
                    <a:lnTo>
                      <a:pt x="60" y="29"/>
                    </a:lnTo>
                    <a:lnTo>
                      <a:pt x="55" y="27"/>
                    </a:lnTo>
                    <a:lnTo>
                      <a:pt x="5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00"/>
              <p:cNvSpPr>
                <a:spLocks noEditPoints="1"/>
              </p:cNvSpPr>
              <p:nvPr userDrawn="1"/>
            </p:nvSpPr>
            <p:spPr bwMode="auto">
              <a:xfrm>
                <a:off x="2903" y="3864"/>
                <a:ext cx="49" cy="50"/>
              </a:xfrm>
              <a:custGeom>
                <a:avLst/>
                <a:gdLst>
                  <a:gd name="T0" fmla="*/ 67 w 149"/>
                  <a:gd name="T1" fmla="*/ 148 h 148"/>
                  <a:gd name="T2" fmla="*/ 53 w 149"/>
                  <a:gd name="T3" fmla="*/ 145 h 148"/>
                  <a:gd name="T4" fmla="*/ 38 w 149"/>
                  <a:gd name="T5" fmla="*/ 140 h 148"/>
                  <a:gd name="T6" fmla="*/ 27 w 149"/>
                  <a:gd name="T7" fmla="*/ 132 h 148"/>
                  <a:gd name="T8" fmla="*/ 17 w 149"/>
                  <a:gd name="T9" fmla="*/ 121 h 148"/>
                  <a:gd name="T10" fmla="*/ 8 w 149"/>
                  <a:gd name="T11" fmla="*/ 109 h 148"/>
                  <a:gd name="T12" fmla="*/ 3 w 149"/>
                  <a:gd name="T13" fmla="*/ 96 h 148"/>
                  <a:gd name="T14" fmla="*/ 0 w 149"/>
                  <a:gd name="T15" fmla="*/ 82 h 148"/>
                  <a:gd name="T16" fmla="*/ 0 w 149"/>
                  <a:gd name="T17" fmla="*/ 67 h 148"/>
                  <a:gd name="T18" fmla="*/ 3 w 149"/>
                  <a:gd name="T19" fmla="*/ 52 h 148"/>
                  <a:gd name="T20" fmla="*/ 8 w 149"/>
                  <a:gd name="T21" fmla="*/ 39 h 148"/>
                  <a:gd name="T22" fmla="*/ 17 w 149"/>
                  <a:gd name="T23" fmla="*/ 27 h 148"/>
                  <a:gd name="T24" fmla="*/ 27 w 149"/>
                  <a:gd name="T25" fmla="*/ 17 h 148"/>
                  <a:gd name="T26" fmla="*/ 38 w 149"/>
                  <a:gd name="T27" fmla="*/ 9 h 148"/>
                  <a:gd name="T28" fmla="*/ 53 w 149"/>
                  <a:gd name="T29" fmla="*/ 4 h 148"/>
                  <a:gd name="T30" fmla="*/ 67 w 149"/>
                  <a:gd name="T31" fmla="*/ 0 h 148"/>
                  <a:gd name="T32" fmla="*/ 82 w 149"/>
                  <a:gd name="T33" fmla="*/ 0 h 148"/>
                  <a:gd name="T34" fmla="*/ 96 w 149"/>
                  <a:gd name="T35" fmla="*/ 4 h 148"/>
                  <a:gd name="T36" fmla="*/ 110 w 149"/>
                  <a:gd name="T37" fmla="*/ 9 h 148"/>
                  <a:gd name="T38" fmla="*/ 122 w 149"/>
                  <a:gd name="T39" fmla="*/ 17 h 148"/>
                  <a:gd name="T40" fmla="*/ 131 w 149"/>
                  <a:gd name="T41" fmla="*/ 27 h 148"/>
                  <a:gd name="T42" fmla="*/ 139 w 149"/>
                  <a:gd name="T43" fmla="*/ 39 h 148"/>
                  <a:gd name="T44" fmla="*/ 145 w 149"/>
                  <a:gd name="T45" fmla="*/ 52 h 148"/>
                  <a:gd name="T46" fmla="*/ 148 w 149"/>
                  <a:gd name="T47" fmla="*/ 67 h 148"/>
                  <a:gd name="T48" fmla="*/ 148 w 149"/>
                  <a:gd name="T49" fmla="*/ 82 h 148"/>
                  <a:gd name="T50" fmla="*/ 145 w 149"/>
                  <a:gd name="T51" fmla="*/ 96 h 148"/>
                  <a:gd name="T52" fmla="*/ 139 w 149"/>
                  <a:gd name="T53" fmla="*/ 109 h 148"/>
                  <a:gd name="T54" fmla="*/ 131 w 149"/>
                  <a:gd name="T55" fmla="*/ 121 h 148"/>
                  <a:gd name="T56" fmla="*/ 122 w 149"/>
                  <a:gd name="T57" fmla="*/ 132 h 148"/>
                  <a:gd name="T58" fmla="*/ 110 w 149"/>
                  <a:gd name="T59" fmla="*/ 140 h 148"/>
                  <a:gd name="T60" fmla="*/ 96 w 149"/>
                  <a:gd name="T61" fmla="*/ 145 h 148"/>
                  <a:gd name="T62" fmla="*/ 82 w 149"/>
                  <a:gd name="T63" fmla="*/ 148 h 148"/>
                  <a:gd name="T64" fmla="*/ 74 w 149"/>
                  <a:gd name="T65" fmla="*/ 27 h 148"/>
                  <a:gd name="T66" fmla="*/ 64 w 149"/>
                  <a:gd name="T67" fmla="*/ 28 h 148"/>
                  <a:gd name="T68" fmla="*/ 47 w 149"/>
                  <a:gd name="T69" fmla="*/ 35 h 148"/>
                  <a:gd name="T70" fmla="*/ 35 w 149"/>
                  <a:gd name="T71" fmla="*/ 48 h 148"/>
                  <a:gd name="T72" fmla="*/ 28 w 149"/>
                  <a:gd name="T73" fmla="*/ 65 h 148"/>
                  <a:gd name="T74" fmla="*/ 28 w 149"/>
                  <a:gd name="T75" fmla="*/ 84 h 148"/>
                  <a:gd name="T76" fmla="*/ 35 w 149"/>
                  <a:gd name="T77" fmla="*/ 101 h 148"/>
                  <a:gd name="T78" fmla="*/ 47 w 149"/>
                  <a:gd name="T79" fmla="*/ 114 h 148"/>
                  <a:gd name="T80" fmla="*/ 64 w 149"/>
                  <a:gd name="T81" fmla="*/ 120 h 148"/>
                  <a:gd name="T82" fmla="*/ 84 w 149"/>
                  <a:gd name="T83" fmla="*/ 120 h 148"/>
                  <a:gd name="T84" fmla="*/ 100 w 149"/>
                  <a:gd name="T85" fmla="*/ 114 h 148"/>
                  <a:gd name="T86" fmla="*/ 113 w 149"/>
                  <a:gd name="T87" fmla="*/ 101 h 148"/>
                  <a:gd name="T88" fmla="*/ 121 w 149"/>
                  <a:gd name="T89" fmla="*/ 84 h 148"/>
                  <a:gd name="T90" fmla="*/ 121 w 149"/>
                  <a:gd name="T91" fmla="*/ 65 h 148"/>
                  <a:gd name="T92" fmla="*/ 113 w 149"/>
                  <a:gd name="T93" fmla="*/ 48 h 148"/>
                  <a:gd name="T94" fmla="*/ 100 w 149"/>
                  <a:gd name="T95" fmla="*/ 35 h 148"/>
                  <a:gd name="T96" fmla="*/ 84 w 149"/>
                  <a:gd name="T97" fmla="*/ 2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9" h="148">
                    <a:moveTo>
                      <a:pt x="74" y="148"/>
                    </a:moveTo>
                    <a:lnTo>
                      <a:pt x="67" y="148"/>
                    </a:lnTo>
                    <a:lnTo>
                      <a:pt x="59" y="147"/>
                    </a:lnTo>
                    <a:lnTo>
                      <a:pt x="53" y="145"/>
                    </a:lnTo>
                    <a:lnTo>
                      <a:pt x="45" y="143"/>
                    </a:lnTo>
                    <a:lnTo>
                      <a:pt x="38" y="140"/>
                    </a:lnTo>
                    <a:lnTo>
                      <a:pt x="33" y="136"/>
                    </a:lnTo>
                    <a:lnTo>
                      <a:pt x="27" y="132"/>
                    </a:lnTo>
                    <a:lnTo>
                      <a:pt x="21" y="127"/>
                    </a:lnTo>
                    <a:lnTo>
                      <a:pt x="17" y="121"/>
                    </a:lnTo>
                    <a:lnTo>
                      <a:pt x="13" y="116"/>
                    </a:lnTo>
                    <a:lnTo>
                      <a:pt x="8" y="109"/>
                    </a:lnTo>
                    <a:lnTo>
                      <a:pt x="6" y="103"/>
                    </a:lnTo>
                    <a:lnTo>
                      <a:pt x="3" y="96"/>
                    </a:lnTo>
                    <a:lnTo>
                      <a:pt x="2" y="89"/>
                    </a:lnTo>
                    <a:lnTo>
                      <a:pt x="0" y="82"/>
                    </a:lnTo>
                    <a:lnTo>
                      <a:pt x="0" y="75"/>
                    </a:lnTo>
                    <a:lnTo>
                      <a:pt x="0" y="67"/>
                    </a:lnTo>
                    <a:lnTo>
                      <a:pt x="2" y="60"/>
                    </a:lnTo>
                    <a:lnTo>
                      <a:pt x="3" y="52"/>
                    </a:lnTo>
                    <a:lnTo>
                      <a:pt x="6" y="46"/>
                    </a:lnTo>
                    <a:lnTo>
                      <a:pt x="8" y="39"/>
                    </a:lnTo>
                    <a:lnTo>
                      <a:pt x="13" y="33"/>
                    </a:lnTo>
                    <a:lnTo>
                      <a:pt x="17" y="27"/>
                    </a:lnTo>
                    <a:lnTo>
                      <a:pt x="21" y="22"/>
                    </a:lnTo>
                    <a:lnTo>
                      <a:pt x="27" y="17"/>
                    </a:lnTo>
                    <a:lnTo>
                      <a:pt x="33" y="12"/>
                    </a:lnTo>
                    <a:lnTo>
                      <a:pt x="38" y="9"/>
                    </a:lnTo>
                    <a:lnTo>
                      <a:pt x="45" y="6"/>
                    </a:lnTo>
                    <a:lnTo>
                      <a:pt x="53" y="4"/>
                    </a:lnTo>
                    <a:lnTo>
                      <a:pt x="59" y="1"/>
                    </a:lnTo>
                    <a:lnTo>
                      <a:pt x="67" y="0"/>
                    </a:lnTo>
                    <a:lnTo>
                      <a:pt x="74" y="0"/>
                    </a:lnTo>
                    <a:lnTo>
                      <a:pt x="82" y="0"/>
                    </a:lnTo>
                    <a:lnTo>
                      <a:pt x="89" y="1"/>
                    </a:lnTo>
                    <a:lnTo>
                      <a:pt x="96" y="4"/>
                    </a:lnTo>
                    <a:lnTo>
                      <a:pt x="103" y="6"/>
                    </a:lnTo>
                    <a:lnTo>
                      <a:pt x="110" y="9"/>
                    </a:lnTo>
                    <a:lnTo>
                      <a:pt x="115" y="12"/>
                    </a:lnTo>
                    <a:lnTo>
                      <a:pt x="122" y="17"/>
                    </a:lnTo>
                    <a:lnTo>
                      <a:pt x="127" y="22"/>
                    </a:lnTo>
                    <a:lnTo>
                      <a:pt x="131" y="27"/>
                    </a:lnTo>
                    <a:lnTo>
                      <a:pt x="136" y="33"/>
                    </a:lnTo>
                    <a:lnTo>
                      <a:pt x="139" y="39"/>
                    </a:lnTo>
                    <a:lnTo>
                      <a:pt x="142" y="46"/>
                    </a:lnTo>
                    <a:lnTo>
                      <a:pt x="145" y="52"/>
                    </a:lnTo>
                    <a:lnTo>
                      <a:pt x="146" y="60"/>
                    </a:lnTo>
                    <a:lnTo>
                      <a:pt x="148" y="67"/>
                    </a:lnTo>
                    <a:lnTo>
                      <a:pt x="149" y="75"/>
                    </a:lnTo>
                    <a:lnTo>
                      <a:pt x="148" y="82"/>
                    </a:lnTo>
                    <a:lnTo>
                      <a:pt x="146" y="89"/>
                    </a:lnTo>
                    <a:lnTo>
                      <a:pt x="145" y="96"/>
                    </a:lnTo>
                    <a:lnTo>
                      <a:pt x="142" y="103"/>
                    </a:lnTo>
                    <a:lnTo>
                      <a:pt x="139" y="109"/>
                    </a:lnTo>
                    <a:lnTo>
                      <a:pt x="136" y="116"/>
                    </a:lnTo>
                    <a:lnTo>
                      <a:pt x="131" y="121"/>
                    </a:lnTo>
                    <a:lnTo>
                      <a:pt x="127" y="127"/>
                    </a:lnTo>
                    <a:lnTo>
                      <a:pt x="122" y="132"/>
                    </a:lnTo>
                    <a:lnTo>
                      <a:pt x="115" y="136"/>
                    </a:lnTo>
                    <a:lnTo>
                      <a:pt x="110" y="140"/>
                    </a:lnTo>
                    <a:lnTo>
                      <a:pt x="103" y="143"/>
                    </a:lnTo>
                    <a:lnTo>
                      <a:pt x="96" y="145"/>
                    </a:lnTo>
                    <a:lnTo>
                      <a:pt x="89" y="147"/>
                    </a:lnTo>
                    <a:lnTo>
                      <a:pt x="82" y="148"/>
                    </a:lnTo>
                    <a:lnTo>
                      <a:pt x="74" y="148"/>
                    </a:lnTo>
                    <a:close/>
                    <a:moveTo>
                      <a:pt x="74" y="27"/>
                    </a:moveTo>
                    <a:lnTo>
                      <a:pt x="74" y="27"/>
                    </a:lnTo>
                    <a:lnTo>
                      <a:pt x="64" y="28"/>
                    </a:lnTo>
                    <a:lnTo>
                      <a:pt x="56" y="31"/>
                    </a:lnTo>
                    <a:lnTo>
                      <a:pt x="47" y="35"/>
                    </a:lnTo>
                    <a:lnTo>
                      <a:pt x="41" y="41"/>
                    </a:lnTo>
                    <a:lnTo>
                      <a:pt x="35" y="48"/>
                    </a:lnTo>
                    <a:lnTo>
                      <a:pt x="31" y="57"/>
                    </a:lnTo>
                    <a:lnTo>
                      <a:pt x="28" y="65"/>
                    </a:lnTo>
                    <a:lnTo>
                      <a:pt x="27" y="75"/>
                    </a:lnTo>
                    <a:lnTo>
                      <a:pt x="28" y="84"/>
                    </a:lnTo>
                    <a:lnTo>
                      <a:pt x="31" y="93"/>
                    </a:lnTo>
                    <a:lnTo>
                      <a:pt x="35" y="101"/>
                    </a:lnTo>
                    <a:lnTo>
                      <a:pt x="41" y="108"/>
                    </a:lnTo>
                    <a:lnTo>
                      <a:pt x="47" y="114"/>
                    </a:lnTo>
                    <a:lnTo>
                      <a:pt x="56" y="118"/>
                    </a:lnTo>
                    <a:lnTo>
                      <a:pt x="64" y="120"/>
                    </a:lnTo>
                    <a:lnTo>
                      <a:pt x="74" y="121"/>
                    </a:lnTo>
                    <a:lnTo>
                      <a:pt x="84" y="120"/>
                    </a:lnTo>
                    <a:lnTo>
                      <a:pt x="92" y="118"/>
                    </a:lnTo>
                    <a:lnTo>
                      <a:pt x="100" y="114"/>
                    </a:lnTo>
                    <a:lnTo>
                      <a:pt x="108" y="108"/>
                    </a:lnTo>
                    <a:lnTo>
                      <a:pt x="113" y="101"/>
                    </a:lnTo>
                    <a:lnTo>
                      <a:pt x="117" y="93"/>
                    </a:lnTo>
                    <a:lnTo>
                      <a:pt x="121" y="84"/>
                    </a:lnTo>
                    <a:lnTo>
                      <a:pt x="122" y="75"/>
                    </a:lnTo>
                    <a:lnTo>
                      <a:pt x="121" y="65"/>
                    </a:lnTo>
                    <a:lnTo>
                      <a:pt x="117" y="57"/>
                    </a:lnTo>
                    <a:lnTo>
                      <a:pt x="113" y="48"/>
                    </a:lnTo>
                    <a:lnTo>
                      <a:pt x="108" y="41"/>
                    </a:lnTo>
                    <a:lnTo>
                      <a:pt x="100" y="35"/>
                    </a:lnTo>
                    <a:lnTo>
                      <a:pt x="92" y="31"/>
                    </a:lnTo>
                    <a:lnTo>
                      <a:pt x="84" y="28"/>
                    </a:lnTo>
                    <a:lnTo>
                      <a:pt x="7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01"/>
              <p:cNvSpPr>
                <a:spLocks/>
              </p:cNvSpPr>
              <p:nvPr userDrawn="1"/>
            </p:nvSpPr>
            <p:spPr bwMode="auto">
              <a:xfrm>
                <a:off x="202" y="2953"/>
                <a:ext cx="1168" cy="1367"/>
              </a:xfrm>
              <a:custGeom>
                <a:avLst/>
                <a:gdLst>
                  <a:gd name="T0" fmla="*/ 88 w 3504"/>
                  <a:gd name="T1" fmla="*/ 3917 h 4101"/>
                  <a:gd name="T2" fmla="*/ 268 w 3504"/>
                  <a:gd name="T3" fmla="*/ 3571 h 4101"/>
                  <a:gd name="T4" fmla="*/ 462 w 3504"/>
                  <a:gd name="T5" fmla="*/ 3236 h 4101"/>
                  <a:gd name="T6" fmla="*/ 581 w 3504"/>
                  <a:gd name="T7" fmla="*/ 3056 h 4101"/>
                  <a:gd name="T8" fmla="*/ 701 w 3504"/>
                  <a:gd name="T9" fmla="*/ 2897 h 4101"/>
                  <a:gd name="T10" fmla="*/ 818 w 3504"/>
                  <a:gd name="T11" fmla="*/ 2770 h 4101"/>
                  <a:gd name="T12" fmla="*/ 918 w 3504"/>
                  <a:gd name="T13" fmla="*/ 2651 h 4101"/>
                  <a:gd name="T14" fmla="*/ 998 w 3504"/>
                  <a:gd name="T15" fmla="*/ 2529 h 4101"/>
                  <a:gd name="T16" fmla="*/ 1061 w 3504"/>
                  <a:gd name="T17" fmla="*/ 2404 h 4101"/>
                  <a:gd name="T18" fmla="*/ 1111 w 3504"/>
                  <a:gd name="T19" fmla="*/ 2278 h 4101"/>
                  <a:gd name="T20" fmla="*/ 1157 w 3504"/>
                  <a:gd name="T21" fmla="*/ 2118 h 4101"/>
                  <a:gd name="T22" fmla="*/ 1210 w 3504"/>
                  <a:gd name="T23" fmla="*/ 1861 h 4101"/>
                  <a:gd name="T24" fmla="*/ 1236 w 3504"/>
                  <a:gd name="T25" fmla="*/ 1719 h 4101"/>
                  <a:gd name="T26" fmla="*/ 1257 w 3504"/>
                  <a:gd name="T27" fmla="*/ 1612 h 4101"/>
                  <a:gd name="T28" fmla="*/ 1294 w 3504"/>
                  <a:gd name="T29" fmla="*/ 1452 h 4101"/>
                  <a:gd name="T30" fmla="*/ 1353 w 3504"/>
                  <a:gd name="T31" fmla="*/ 1276 h 4101"/>
                  <a:gd name="T32" fmla="*/ 1428 w 3504"/>
                  <a:gd name="T33" fmla="*/ 1105 h 4101"/>
                  <a:gd name="T34" fmla="*/ 1518 w 3504"/>
                  <a:gd name="T35" fmla="*/ 940 h 4101"/>
                  <a:gd name="T36" fmla="*/ 1623 w 3504"/>
                  <a:gd name="T37" fmla="*/ 783 h 4101"/>
                  <a:gd name="T38" fmla="*/ 1742 w 3504"/>
                  <a:gd name="T39" fmla="*/ 634 h 4101"/>
                  <a:gd name="T40" fmla="*/ 1873 w 3504"/>
                  <a:gd name="T41" fmla="*/ 494 h 4101"/>
                  <a:gd name="T42" fmla="*/ 2016 w 3504"/>
                  <a:gd name="T43" fmla="*/ 367 h 4101"/>
                  <a:gd name="T44" fmla="*/ 2193 w 3504"/>
                  <a:gd name="T45" fmla="*/ 248 h 4101"/>
                  <a:gd name="T46" fmla="*/ 2409 w 3504"/>
                  <a:gd name="T47" fmla="*/ 156 h 4101"/>
                  <a:gd name="T48" fmla="*/ 2643 w 3504"/>
                  <a:gd name="T49" fmla="*/ 90 h 4101"/>
                  <a:gd name="T50" fmla="*/ 2880 w 3504"/>
                  <a:gd name="T51" fmla="*/ 45 h 4101"/>
                  <a:gd name="T52" fmla="*/ 3100 w 3504"/>
                  <a:gd name="T53" fmla="*/ 18 h 4101"/>
                  <a:gd name="T54" fmla="*/ 3393 w 3504"/>
                  <a:gd name="T55" fmla="*/ 1 h 4101"/>
                  <a:gd name="T56" fmla="*/ 3496 w 3504"/>
                  <a:gd name="T57" fmla="*/ 1 h 4101"/>
                  <a:gd name="T58" fmla="*/ 3503 w 3504"/>
                  <a:gd name="T59" fmla="*/ 18 h 4101"/>
                  <a:gd name="T60" fmla="*/ 3477 w 3504"/>
                  <a:gd name="T61" fmla="*/ 27 h 4101"/>
                  <a:gd name="T62" fmla="*/ 3246 w 3504"/>
                  <a:gd name="T63" fmla="*/ 35 h 4101"/>
                  <a:gd name="T64" fmla="*/ 2997 w 3504"/>
                  <a:gd name="T65" fmla="*/ 56 h 4101"/>
                  <a:gd name="T66" fmla="*/ 2769 w 3504"/>
                  <a:gd name="T67" fmla="*/ 91 h 4101"/>
                  <a:gd name="T68" fmla="*/ 2535 w 3504"/>
                  <a:gd name="T69" fmla="*/ 145 h 4101"/>
                  <a:gd name="T70" fmla="*/ 2311 w 3504"/>
                  <a:gd name="T71" fmla="*/ 222 h 4101"/>
                  <a:gd name="T72" fmla="*/ 2113 w 3504"/>
                  <a:gd name="T73" fmla="*/ 327 h 4101"/>
                  <a:gd name="T74" fmla="*/ 1961 w 3504"/>
                  <a:gd name="T75" fmla="*/ 450 h 4101"/>
                  <a:gd name="T76" fmla="*/ 1826 w 3504"/>
                  <a:gd name="T77" fmla="*/ 582 h 4101"/>
                  <a:gd name="T78" fmla="*/ 1702 w 3504"/>
                  <a:gd name="T79" fmla="*/ 724 h 4101"/>
                  <a:gd name="T80" fmla="*/ 1591 w 3504"/>
                  <a:gd name="T81" fmla="*/ 876 h 4101"/>
                  <a:gd name="T82" fmla="*/ 1495 w 3504"/>
                  <a:gd name="T83" fmla="*/ 1035 h 4101"/>
                  <a:gd name="T84" fmla="*/ 1413 w 3504"/>
                  <a:gd name="T85" fmla="*/ 1200 h 4101"/>
                  <a:gd name="T86" fmla="*/ 1347 w 3504"/>
                  <a:gd name="T87" fmla="*/ 1372 h 4101"/>
                  <a:gd name="T88" fmla="*/ 1298 w 3504"/>
                  <a:gd name="T89" fmla="*/ 1547 h 4101"/>
                  <a:gd name="T90" fmla="*/ 1273 w 3504"/>
                  <a:gd name="T91" fmla="*/ 1670 h 4101"/>
                  <a:gd name="T92" fmla="*/ 1253 w 3504"/>
                  <a:gd name="T93" fmla="*/ 1776 h 4101"/>
                  <a:gd name="T94" fmla="*/ 1212 w 3504"/>
                  <a:gd name="T95" fmla="*/ 1997 h 4101"/>
                  <a:gd name="T96" fmla="*/ 1156 w 3504"/>
                  <a:gd name="T97" fmla="*/ 2224 h 4101"/>
                  <a:gd name="T98" fmla="*/ 1112 w 3504"/>
                  <a:gd name="T99" fmla="*/ 2353 h 4101"/>
                  <a:gd name="T100" fmla="*/ 1055 w 3504"/>
                  <a:gd name="T101" fmla="*/ 2481 h 4101"/>
                  <a:gd name="T102" fmla="*/ 982 w 3504"/>
                  <a:gd name="T103" fmla="*/ 2606 h 4101"/>
                  <a:gd name="T104" fmla="*/ 892 w 3504"/>
                  <a:gd name="T105" fmla="*/ 2728 h 4101"/>
                  <a:gd name="T106" fmla="*/ 780 w 3504"/>
                  <a:gd name="T107" fmla="*/ 2848 h 4101"/>
                  <a:gd name="T108" fmla="*/ 664 w 3504"/>
                  <a:gd name="T109" fmla="*/ 2988 h 4101"/>
                  <a:gd name="T110" fmla="*/ 546 w 3504"/>
                  <a:gd name="T111" fmla="*/ 3155 h 4101"/>
                  <a:gd name="T112" fmla="*/ 404 w 3504"/>
                  <a:gd name="T113" fmla="*/ 3384 h 4101"/>
                  <a:gd name="T114" fmla="*/ 202 w 3504"/>
                  <a:gd name="T115" fmla="*/ 3752 h 4101"/>
                  <a:gd name="T116" fmla="*/ 55 w 3504"/>
                  <a:gd name="T117" fmla="*/ 4048 h 4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04" h="4101">
                    <a:moveTo>
                      <a:pt x="0" y="4101"/>
                    </a:moveTo>
                    <a:lnTo>
                      <a:pt x="25" y="4050"/>
                    </a:lnTo>
                    <a:lnTo>
                      <a:pt x="54" y="3989"/>
                    </a:lnTo>
                    <a:lnTo>
                      <a:pt x="88" y="3917"/>
                    </a:lnTo>
                    <a:lnTo>
                      <a:pt x="127" y="3839"/>
                    </a:lnTo>
                    <a:lnTo>
                      <a:pt x="170" y="3754"/>
                    </a:lnTo>
                    <a:lnTo>
                      <a:pt x="218" y="3665"/>
                    </a:lnTo>
                    <a:lnTo>
                      <a:pt x="268" y="3571"/>
                    </a:lnTo>
                    <a:lnTo>
                      <a:pt x="320" y="3476"/>
                    </a:lnTo>
                    <a:lnTo>
                      <a:pt x="376" y="3380"/>
                    </a:lnTo>
                    <a:lnTo>
                      <a:pt x="433" y="3284"/>
                    </a:lnTo>
                    <a:lnTo>
                      <a:pt x="462" y="3236"/>
                    </a:lnTo>
                    <a:lnTo>
                      <a:pt x="491" y="3190"/>
                    </a:lnTo>
                    <a:lnTo>
                      <a:pt x="520" y="3145"/>
                    </a:lnTo>
                    <a:lnTo>
                      <a:pt x="550" y="3100"/>
                    </a:lnTo>
                    <a:lnTo>
                      <a:pt x="581" y="3056"/>
                    </a:lnTo>
                    <a:lnTo>
                      <a:pt x="611" y="3014"/>
                    </a:lnTo>
                    <a:lnTo>
                      <a:pt x="641" y="2973"/>
                    </a:lnTo>
                    <a:lnTo>
                      <a:pt x="670" y="2934"/>
                    </a:lnTo>
                    <a:lnTo>
                      <a:pt x="701" y="2897"/>
                    </a:lnTo>
                    <a:lnTo>
                      <a:pt x="731" y="2862"/>
                    </a:lnTo>
                    <a:lnTo>
                      <a:pt x="760" y="2829"/>
                    </a:lnTo>
                    <a:lnTo>
                      <a:pt x="790" y="2799"/>
                    </a:lnTo>
                    <a:lnTo>
                      <a:pt x="818" y="2770"/>
                    </a:lnTo>
                    <a:lnTo>
                      <a:pt x="845" y="2740"/>
                    </a:lnTo>
                    <a:lnTo>
                      <a:pt x="871" y="2711"/>
                    </a:lnTo>
                    <a:lnTo>
                      <a:pt x="895" y="2680"/>
                    </a:lnTo>
                    <a:lnTo>
                      <a:pt x="918" y="2651"/>
                    </a:lnTo>
                    <a:lnTo>
                      <a:pt x="939" y="2621"/>
                    </a:lnTo>
                    <a:lnTo>
                      <a:pt x="960" y="2590"/>
                    </a:lnTo>
                    <a:lnTo>
                      <a:pt x="979" y="2560"/>
                    </a:lnTo>
                    <a:lnTo>
                      <a:pt x="998" y="2529"/>
                    </a:lnTo>
                    <a:lnTo>
                      <a:pt x="1015" y="2498"/>
                    </a:lnTo>
                    <a:lnTo>
                      <a:pt x="1032" y="2467"/>
                    </a:lnTo>
                    <a:lnTo>
                      <a:pt x="1047" y="2435"/>
                    </a:lnTo>
                    <a:lnTo>
                      <a:pt x="1061" y="2404"/>
                    </a:lnTo>
                    <a:lnTo>
                      <a:pt x="1075" y="2373"/>
                    </a:lnTo>
                    <a:lnTo>
                      <a:pt x="1087" y="2341"/>
                    </a:lnTo>
                    <a:lnTo>
                      <a:pt x="1100" y="2310"/>
                    </a:lnTo>
                    <a:lnTo>
                      <a:pt x="1111" y="2278"/>
                    </a:lnTo>
                    <a:lnTo>
                      <a:pt x="1122" y="2246"/>
                    </a:lnTo>
                    <a:lnTo>
                      <a:pt x="1131" y="2214"/>
                    </a:lnTo>
                    <a:lnTo>
                      <a:pt x="1140" y="2182"/>
                    </a:lnTo>
                    <a:lnTo>
                      <a:pt x="1157" y="2118"/>
                    </a:lnTo>
                    <a:lnTo>
                      <a:pt x="1172" y="2054"/>
                    </a:lnTo>
                    <a:lnTo>
                      <a:pt x="1186" y="1990"/>
                    </a:lnTo>
                    <a:lnTo>
                      <a:pt x="1198" y="1926"/>
                    </a:lnTo>
                    <a:lnTo>
                      <a:pt x="1210" y="1861"/>
                    </a:lnTo>
                    <a:lnTo>
                      <a:pt x="1222" y="1797"/>
                    </a:lnTo>
                    <a:lnTo>
                      <a:pt x="1226" y="1771"/>
                    </a:lnTo>
                    <a:lnTo>
                      <a:pt x="1231" y="1744"/>
                    </a:lnTo>
                    <a:lnTo>
                      <a:pt x="1236" y="1719"/>
                    </a:lnTo>
                    <a:lnTo>
                      <a:pt x="1240" y="1692"/>
                    </a:lnTo>
                    <a:lnTo>
                      <a:pt x="1246" y="1666"/>
                    </a:lnTo>
                    <a:lnTo>
                      <a:pt x="1251" y="1639"/>
                    </a:lnTo>
                    <a:lnTo>
                      <a:pt x="1257" y="1612"/>
                    </a:lnTo>
                    <a:lnTo>
                      <a:pt x="1261" y="1586"/>
                    </a:lnTo>
                    <a:lnTo>
                      <a:pt x="1272" y="1540"/>
                    </a:lnTo>
                    <a:lnTo>
                      <a:pt x="1283" y="1496"/>
                    </a:lnTo>
                    <a:lnTo>
                      <a:pt x="1294" y="1452"/>
                    </a:lnTo>
                    <a:lnTo>
                      <a:pt x="1307" y="1408"/>
                    </a:lnTo>
                    <a:lnTo>
                      <a:pt x="1321" y="1363"/>
                    </a:lnTo>
                    <a:lnTo>
                      <a:pt x="1337" y="1320"/>
                    </a:lnTo>
                    <a:lnTo>
                      <a:pt x="1353" y="1276"/>
                    </a:lnTo>
                    <a:lnTo>
                      <a:pt x="1370" y="1233"/>
                    </a:lnTo>
                    <a:lnTo>
                      <a:pt x="1388" y="1191"/>
                    </a:lnTo>
                    <a:lnTo>
                      <a:pt x="1408" y="1148"/>
                    </a:lnTo>
                    <a:lnTo>
                      <a:pt x="1428" y="1105"/>
                    </a:lnTo>
                    <a:lnTo>
                      <a:pt x="1449" y="1063"/>
                    </a:lnTo>
                    <a:lnTo>
                      <a:pt x="1472" y="1022"/>
                    </a:lnTo>
                    <a:lnTo>
                      <a:pt x="1494" y="981"/>
                    </a:lnTo>
                    <a:lnTo>
                      <a:pt x="1518" y="940"/>
                    </a:lnTo>
                    <a:lnTo>
                      <a:pt x="1543" y="900"/>
                    </a:lnTo>
                    <a:lnTo>
                      <a:pt x="1569" y="860"/>
                    </a:lnTo>
                    <a:lnTo>
                      <a:pt x="1596" y="822"/>
                    </a:lnTo>
                    <a:lnTo>
                      <a:pt x="1623" y="783"/>
                    </a:lnTo>
                    <a:lnTo>
                      <a:pt x="1652" y="745"/>
                    </a:lnTo>
                    <a:lnTo>
                      <a:pt x="1681" y="707"/>
                    </a:lnTo>
                    <a:lnTo>
                      <a:pt x="1711" y="670"/>
                    </a:lnTo>
                    <a:lnTo>
                      <a:pt x="1742" y="634"/>
                    </a:lnTo>
                    <a:lnTo>
                      <a:pt x="1773" y="598"/>
                    </a:lnTo>
                    <a:lnTo>
                      <a:pt x="1806" y="562"/>
                    </a:lnTo>
                    <a:lnTo>
                      <a:pt x="1839" y="529"/>
                    </a:lnTo>
                    <a:lnTo>
                      <a:pt x="1873" y="494"/>
                    </a:lnTo>
                    <a:lnTo>
                      <a:pt x="1908" y="462"/>
                    </a:lnTo>
                    <a:lnTo>
                      <a:pt x="1943" y="430"/>
                    </a:lnTo>
                    <a:lnTo>
                      <a:pt x="1979" y="398"/>
                    </a:lnTo>
                    <a:lnTo>
                      <a:pt x="2016" y="367"/>
                    </a:lnTo>
                    <a:lnTo>
                      <a:pt x="2054" y="337"/>
                    </a:lnTo>
                    <a:lnTo>
                      <a:pt x="2098" y="306"/>
                    </a:lnTo>
                    <a:lnTo>
                      <a:pt x="2144" y="275"/>
                    </a:lnTo>
                    <a:lnTo>
                      <a:pt x="2193" y="248"/>
                    </a:lnTo>
                    <a:lnTo>
                      <a:pt x="2244" y="222"/>
                    </a:lnTo>
                    <a:lnTo>
                      <a:pt x="2298" y="199"/>
                    </a:lnTo>
                    <a:lnTo>
                      <a:pt x="2353" y="176"/>
                    </a:lnTo>
                    <a:lnTo>
                      <a:pt x="2409" y="156"/>
                    </a:lnTo>
                    <a:lnTo>
                      <a:pt x="2466" y="137"/>
                    </a:lnTo>
                    <a:lnTo>
                      <a:pt x="2524" y="120"/>
                    </a:lnTo>
                    <a:lnTo>
                      <a:pt x="2584" y="104"/>
                    </a:lnTo>
                    <a:lnTo>
                      <a:pt x="2643" y="90"/>
                    </a:lnTo>
                    <a:lnTo>
                      <a:pt x="2704" y="77"/>
                    </a:lnTo>
                    <a:lnTo>
                      <a:pt x="2763" y="65"/>
                    </a:lnTo>
                    <a:lnTo>
                      <a:pt x="2821" y="55"/>
                    </a:lnTo>
                    <a:lnTo>
                      <a:pt x="2880" y="45"/>
                    </a:lnTo>
                    <a:lnTo>
                      <a:pt x="2937" y="37"/>
                    </a:lnTo>
                    <a:lnTo>
                      <a:pt x="2993" y="30"/>
                    </a:lnTo>
                    <a:lnTo>
                      <a:pt x="3047" y="24"/>
                    </a:lnTo>
                    <a:lnTo>
                      <a:pt x="3100" y="18"/>
                    </a:lnTo>
                    <a:lnTo>
                      <a:pt x="3150" y="14"/>
                    </a:lnTo>
                    <a:lnTo>
                      <a:pt x="3244" y="8"/>
                    </a:lnTo>
                    <a:lnTo>
                      <a:pt x="3325" y="3"/>
                    </a:lnTo>
                    <a:lnTo>
                      <a:pt x="3393" y="1"/>
                    </a:lnTo>
                    <a:lnTo>
                      <a:pt x="3444" y="0"/>
                    </a:lnTo>
                    <a:lnTo>
                      <a:pt x="3478" y="0"/>
                    </a:lnTo>
                    <a:lnTo>
                      <a:pt x="3491" y="0"/>
                    </a:lnTo>
                    <a:lnTo>
                      <a:pt x="3496" y="1"/>
                    </a:lnTo>
                    <a:lnTo>
                      <a:pt x="3499" y="3"/>
                    </a:lnTo>
                    <a:lnTo>
                      <a:pt x="3503" y="8"/>
                    </a:lnTo>
                    <a:lnTo>
                      <a:pt x="3504" y="13"/>
                    </a:lnTo>
                    <a:lnTo>
                      <a:pt x="3503" y="18"/>
                    </a:lnTo>
                    <a:lnTo>
                      <a:pt x="3499" y="23"/>
                    </a:lnTo>
                    <a:lnTo>
                      <a:pt x="3495" y="26"/>
                    </a:lnTo>
                    <a:lnTo>
                      <a:pt x="3490" y="27"/>
                    </a:lnTo>
                    <a:lnTo>
                      <a:pt x="3477" y="27"/>
                    </a:lnTo>
                    <a:lnTo>
                      <a:pt x="3444" y="27"/>
                    </a:lnTo>
                    <a:lnTo>
                      <a:pt x="3394" y="28"/>
                    </a:lnTo>
                    <a:lnTo>
                      <a:pt x="3327" y="30"/>
                    </a:lnTo>
                    <a:lnTo>
                      <a:pt x="3246" y="35"/>
                    </a:lnTo>
                    <a:lnTo>
                      <a:pt x="3153" y="41"/>
                    </a:lnTo>
                    <a:lnTo>
                      <a:pt x="3103" y="45"/>
                    </a:lnTo>
                    <a:lnTo>
                      <a:pt x="3051" y="51"/>
                    </a:lnTo>
                    <a:lnTo>
                      <a:pt x="2997" y="56"/>
                    </a:lnTo>
                    <a:lnTo>
                      <a:pt x="2942" y="64"/>
                    </a:lnTo>
                    <a:lnTo>
                      <a:pt x="2886" y="71"/>
                    </a:lnTo>
                    <a:lnTo>
                      <a:pt x="2828" y="81"/>
                    </a:lnTo>
                    <a:lnTo>
                      <a:pt x="2769" y="91"/>
                    </a:lnTo>
                    <a:lnTo>
                      <a:pt x="2711" y="103"/>
                    </a:lnTo>
                    <a:lnTo>
                      <a:pt x="2652" y="114"/>
                    </a:lnTo>
                    <a:lnTo>
                      <a:pt x="2593" y="129"/>
                    </a:lnTo>
                    <a:lnTo>
                      <a:pt x="2535" y="145"/>
                    </a:lnTo>
                    <a:lnTo>
                      <a:pt x="2477" y="162"/>
                    </a:lnTo>
                    <a:lnTo>
                      <a:pt x="2421" y="180"/>
                    </a:lnTo>
                    <a:lnTo>
                      <a:pt x="2365" y="200"/>
                    </a:lnTo>
                    <a:lnTo>
                      <a:pt x="2311" y="222"/>
                    </a:lnTo>
                    <a:lnTo>
                      <a:pt x="2258" y="245"/>
                    </a:lnTo>
                    <a:lnTo>
                      <a:pt x="2207" y="271"/>
                    </a:lnTo>
                    <a:lnTo>
                      <a:pt x="2159" y="298"/>
                    </a:lnTo>
                    <a:lnTo>
                      <a:pt x="2113" y="327"/>
                    </a:lnTo>
                    <a:lnTo>
                      <a:pt x="2071" y="358"/>
                    </a:lnTo>
                    <a:lnTo>
                      <a:pt x="2033" y="389"/>
                    </a:lnTo>
                    <a:lnTo>
                      <a:pt x="1997" y="419"/>
                    </a:lnTo>
                    <a:lnTo>
                      <a:pt x="1961" y="450"/>
                    </a:lnTo>
                    <a:lnTo>
                      <a:pt x="1926" y="482"/>
                    </a:lnTo>
                    <a:lnTo>
                      <a:pt x="1892" y="514"/>
                    </a:lnTo>
                    <a:lnTo>
                      <a:pt x="1858" y="547"/>
                    </a:lnTo>
                    <a:lnTo>
                      <a:pt x="1826" y="582"/>
                    </a:lnTo>
                    <a:lnTo>
                      <a:pt x="1793" y="616"/>
                    </a:lnTo>
                    <a:lnTo>
                      <a:pt x="1762" y="651"/>
                    </a:lnTo>
                    <a:lnTo>
                      <a:pt x="1732" y="688"/>
                    </a:lnTo>
                    <a:lnTo>
                      <a:pt x="1702" y="724"/>
                    </a:lnTo>
                    <a:lnTo>
                      <a:pt x="1673" y="761"/>
                    </a:lnTo>
                    <a:lnTo>
                      <a:pt x="1645" y="799"/>
                    </a:lnTo>
                    <a:lnTo>
                      <a:pt x="1618" y="837"/>
                    </a:lnTo>
                    <a:lnTo>
                      <a:pt x="1591" y="876"/>
                    </a:lnTo>
                    <a:lnTo>
                      <a:pt x="1567" y="914"/>
                    </a:lnTo>
                    <a:lnTo>
                      <a:pt x="1542" y="954"/>
                    </a:lnTo>
                    <a:lnTo>
                      <a:pt x="1518" y="994"/>
                    </a:lnTo>
                    <a:lnTo>
                      <a:pt x="1495" y="1035"/>
                    </a:lnTo>
                    <a:lnTo>
                      <a:pt x="1474" y="1076"/>
                    </a:lnTo>
                    <a:lnTo>
                      <a:pt x="1452" y="1117"/>
                    </a:lnTo>
                    <a:lnTo>
                      <a:pt x="1433" y="1158"/>
                    </a:lnTo>
                    <a:lnTo>
                      <a:pt x="1413" y="1200"/>
                    </a:lnTo>
                    <a:lnTo>
                      <a:pt x="1395" y="1244"/>
                    </a:lnTo>
                    <a:lnTo>
                      <a:pt x="1379" y="1286"/>
                    </a:lnTo>
                    <a:lnTo>
                      <a:pt x="1362" y="1329"/>
                    </a:lnTo>
                    <a:lnTo>
                      <a:pt x="1347" y="1372"/>
                    </a:lnTo>
                    <a:lnTo>
                      <a:pt x="1333" y="1415"/>
                    </a:lnTo>
                    <a:lnTo>
                      <a:pt x="1320" y="1458"/>
                    </a:lnTo>
                    <a:lnTo>
                      <a:pt x="1309" y="1503"/>
                    </a:lnTo>
                    <a:lnTo>
                      <a:pt x="1298" y="1547"/>
                    </a:lnTo>
                    <a:lnTo>
                      <a:pt x="1288" y="1591"/>
                    </a:lnTo>
                    <a:lnTo>
                      <a:pt x="1283" y="1617"/>
                    </a:lnTo>
                    <a:lnTo>
                      <a:pt x="1277" y="1644"/>
                    </a:lnTo>
                    <a:lnTo>
                      <a:pt x="1273" y="1670"/>
                    </a:lnTo>
                    <a:lnTo>
                      <a:pt x="1267" y="1697"/>
                    </a:lnTo>
                    <a:lnTo>
                      <a:pt x="1262" y="1723"/>
                    </a:lnTo>
                    <a:lnTo>
                      <a:pt x="1258" y="1750"/>
                    </a:lnTo>
                    <a:lnTo>
                      <a:pt x="1253" y="1776"/>
                    </a:lnTo>
                    <a:lnTo>
                      <a:pt x="1248" y="1802"/>
                    </a:lnTo>
                    <a:lnTo>
                      <a:pt x="1237" y="1866"/>
                    </a:lnTo>
                    <a:lnTo>
                      <a:pt x="1225" y="1931"/>
                    </a:lnTo>
                    <a:lnTo>
                      <a:pt x="1212" y="1997"/>
                    </a:lnTo>
                    <a:lnTo>
                      <a:pt x="1198" y="2062"/>
                    </a:lnTo>
                    <a:lnTo>
                      <a:pt x="1183" y="2127"/>
                    </a:lnTo>
                    <a:lnTo>
                      <a:pt x="1166" y="2191"/>
                    </a:lnTo>
                    <a:lnTo>
                      <a:pt x="1156" y="2224"/>
                    </a:lnTo>
                    <a:lnTo>
                      <a:pt x="1147" y="2256"/>
                    </a:lnTo>
                    <a:lnTo>
                      <a:pt x="1136" y="2289"/>
                    </a:lnTo>
                    <a:lnTo>
                      <a:pt x="1125" y="2321"/>
                    </a:lnTo>
                    <a:lnTo>
                      <a:pt x="1112" y="2353"/>
                    </a:lnTo>
                    <a:lnTo>
                      <a:pt x="1099" y="2385"/>
                    </a:lnTo>
                    <a:lnTo>
                      <a:pt x="1086" y="2417"/>
                    </a:lnTo>
                    <a:lnTo>
                      <a:pt x="1071" y="2448"/>
                    </a:lnTo>
                    <a:lnTo>
                      <a:pt x="1055" y="2481"/>
                    </a:lnTo>
                    <a:lnTo>
                      <a:pt x="1039" y="2512"/>
                    </a:lnTo>
                    <a:lnTo>
                      <a:pt x="1021" y="2543"/>
                    </a:lnTo>
                    <a:lnTo>
                      <a:pt x="1002" y="2575"/>
                    </a:lnTo>
                    <a:lnTo>
                      <a:pt x="982" y="2606"/>
                    </a:lnTo>
                    <a:lnTo>
                      <a:pt x="962" y="2636"/>
                    </a:lnTo>
                    <a:lnTo>
                      <a:pt x="939" y="2667"/>
                    </a:lnTo>
                    <a:lnTo>
                      <a:pt x="917" y="2698"/>
                    </a:lnTo>
                    <a:lnTo>
                      <a:pt x="892" y="2728"/>
                    </a:lnTo>
                    <a:lnTo>
                      <a:pt x="866" y="2758"/>
                    </a:lnTo>
                    <a:lnTo>
                      <a:pt x="838" y="2788"/>
                    </a:lnTo>
                    <a:lnTo>
                      <a:pt x="809" y="2818"/>
                    </a:lnTo>
                    <a:lnTo>
                      <a:pt x="780" y="2848"/>
                    </a:lnTo>
                    <a:lnTo>
                      <a:pt x="751" y="2880"/>
                    </a:lnTo>
                    <a:lnTo>
                      <a:pt x="722" y="2914"/>
                    </a:lnTo>
                    <a:lnTo>
                      <a:pt x="693" y="2950"/>
                    </a:lnTo>
                    <a:lnTo>
                      <a:pt x="664" y="2988"/>
                    </a:lnTo>
                    <a:lnTo>
                      <a:pt x="634" y="3028"/>
                    </a:lnTo>
                    <a:lnTo>
                      <a:pt x="604" y="3069"/>
                    </a:lnTo>
                    <a:lnTo>
                      <a:pt x="575" y="3111"/>
                    </a:lnTo>
                    <a:lnTo>
                      <a:pt x="546" y="3155"/>
                    </a:lnTo>
                    <a:lnTo>
                      <a:pt x="517" y="3200"/>
                    </a:lnTo>
                    <a:lnTo>
                      <a:pt x="488" y="3245"/>
                    </a:lnTo>
                    <a:lnTo>
                      <a:pt x="460" y="3291"/>
                    </a:lnTo>
                    <a:lnTo>
                      <a:pt x="404" y="3384"/>
                    </a:lnTo>
                    <a:lnTo>
                      <a:pt x="350" y="3479"/>
                    </a:lnTo>
                    <a:lnTo>
                      <a:pt x="298" y="3572"/>
                    </a:lnTo>
                    <a:lnTo>
                      <a:pt x="248" y="3664"/>
                    </a:lnTo>
                    <a:lnTo>
                      <a:pt x="202" y="3752"/>
                    </a:lnTo>
                    <a:lnTo>
                      <a:pt x="159" y="3837"/>
                    </a:lnTo>
                    <a:lnTo>
                      <a:pt x="120" y="3915"/>
                    </a:lnTo>
                    <a:lnTo>
                      <a:pt x="85" y="3985"/>
                    </a:lnTo>
                    <a:lnTo>
                      <a:pt x="55" y="4048"/>
                    </a:lnTo>
                    <a:lnTo>
                      <a:pt x="30" y="4101"/>
                    </a:lnTo>
                    <a:lnTo>
                      <a:pt x="0" y="4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02"/>
              <p:cNvSpPr>
                <a:spLocks/>
              </p:cNvSpPr>
              <p:nvPr userDrawn="1"/>
            </p:nvSpPr>
            <p:spPr bwMode="auto">
              <a:xfrm>
                <a:off x="1219" y="2957"/>
                <a:ext cx="1272" cy="218"/>
              </a:xfrm>
              <a:custGeom>
                <a:avLst/>
                <a:gdLst>
                  <a:gd name="T0" fmla="*/ 3795 w 3817"/>
                  <a:gd name="T1" fmla="*/ 652 h 655"/>
                  <a:gd name="T2" fmla="*/ 3790 w 3817"/>
                  <a:gd name="T3" fmla="*/ 635 h 655"/>
                  <a:gd name="T4" fmla="*/ 3787 w 3817"/>
                  <a:gd name="T5" fmla="*/ 589 h 655"/>
                  <a:gd name="T6" fmla="*/ 3771 w 3817"/>
                  <a:gd name="T7" fmla="*/ 548 h 655"/>
                  <a:gd name="T8" fmla="*/ 3736 w 3817"/>
                  <a:gd name="T9" fmla="*/ 503 h 655"/>
                  <a:gd name="T10" fmla="*/ 3685 w 3817"/>
                  <a:gd name="T11" fmla="*/ 461 h 655"/>
                  <a:gd name="T12" fmla="*/ 3610 w 3817"/>
                  <a:gd name="T13" fmla="*/ 422 h 655"/>
                  <a:gd name="T14" fmla="*/ 3510 w 3817"/>
                  <a:gd name="T15" fmla="*/ 387 h 655"/>
                  <a:gd name="T16" fmla="*/ 3379 w 3817"/>
                  <a:gd name="T17" fmla="*/ 361 h 655"/>
                  <a:gd name="T18" fmla="*/ 3214 w 3817"/>
                  <a:gd name="T19" fmla="*/ 344 h 655"/>
                  <a:gd name="T20" fmla="*/ 3010 w 3817"/>
                  <a:gd name="T21" fmla="*/ 339 h 655"/>
                  <a:gd name="T22" fmla="*/ 2763 w 3817"/>
                  <a:gd name="T23" fmla="*/ 349 h 655"/>
                  <a:gd name="T24" fmla="*/ 2465 w 3817"/>
                  <a:gd name="T25" fmla="*/ 373 h 655"/>
                  <a:gd name="T26" fmla="*/ 2157 w 3817"/>
                  <a:gd name="T27" fmla="*/ 391 h 655"/>
                  <a:gd name="T28" fmla="*/ 1881 w 3817"/>
                  <a:gd name="T29" fmla="*/ 388 h 655"/>
                  <a:gd name="T30" fmla="*/ 1637 w 3817"/>
                  <a:gd name="T31" fmla="*/ 369 h 655"/>
                  <a:gd name="T32" fmla="*/ 1420 w 3817"/>
                  <a:gd name="T33" fmla="*/ 336 h 655"/>
                  <a:gd name="T34" fmla="*/ 1226 w 3817"/>
                  <a:gd name="T35" fmla="*/ 293 h 655"/>
                  <a:gd name="T36" fmla="*/ 1010 w 3817"/>
                  <a:gd name="T37" fmla="*/ 233 h 655"/>
                  <a:gd name="T38" fmla="*/ 728 w 3817"/>
                  <a:gd name="T39" fmla="*/ 138 h 655"/>
                  <a:gd name="T40" fmla="*/ 535 w 3817"/>
                  <a:gd name="T41" fmla="*/ 76 h 655"/>
                  <a:gd name="T42" fmla="*/ 350 w 3817"/>
                  <a:gd name="T43" fmla="*/ 35 h 655"/>
                  <a:gd name="T44" fmla="*/ 235 w 3817"/>
                  <a:gd name="T45" fmla="*/ 27 h 655"/>
                  <a:gd name="T46" fmla="*/ 140 w 3817"/>
                  <a:gd name="T47" fmla="*/ 31 h 655"/>
                  <a:gd name="T48" fmla="*/ 41 w 3817"/>
                  <a:gd name="T49" fmla="*/ 46 h 655"/>
                  <a:gd name="T50" fmla="*/ 2 w 3817"/>
                  <a:gd name="T51" fmla="*/ 47 h 655"/>
                  <a:gd name="T52" fmla="*/ 6 w 3817"/>
                  <a:gd name="T53" fmla="*/ 29 h 655"/>
                  <a:gd name="T54" fmla="*/ 87 w 3817"/>
                  <a:gd name="T55" fmla="*/ 11 h 655"/>
                  <a:gd name="T56" fmla="*/ 186 w 3817"/>
                  <a:gd name="T57" fmla="*/ 1 h 655"/>
                  <a:gd name="T58" fmla="*/ 281 w 3817"/>
                  <a:gd name="T59" fmla="*/ 1 h 655"/>
                  <a:gd name="T60" fmla="*/ 445 w 3817"/>
                  <a:gd name="T61" fmla="*/ 26 h 655"/>
                  <a:gd name="T62" fmla="*/ 636 w 3817"/>
                  <a:gd name="T63" fmla="*/ 79 h 655"/>
                  <a:gd name="T64" fmla="*/ 862 w 3817"/>
                  <a:gd name="T65" fmla="*/ 155 h 655"/>
                  <a:gd name="T66" fmla="*/ 1143 w 3817"/>
                  <a:gd name="T67" fmla="*/ 244 h 655"/>
                  <a:gd name="T68" fmla="*/ 1325 w 3817"/>
                  <a:gd name="T69" fmla="*/ 289 h 655"/>
                  <a:gd name="T70" fmla="*/ 1529 w 3817"/>
                  <a:gd name="T71" fmla="*/ 327 h 655"/>
                  <a:gd name="T72" fmla="*/ 1758 w 3817"/>
                  <a:gd name="T73" fmla="*/ 353 h 655"/>
                  <a:gd name="T74" fmla="*/ 2015 w 3817"/>
                  <a:gd name="T75" fmla="*/ 365 h 655"/>
                  <a:gd name="T76" fmla="*/ 2306 w 3817"/>
                  <a:gd name="T77" fmla="*/ 358 h 655"/>
                  <a:gd name="T78" fmla="*/ 2622 w 3817"/>
                  <a:gd name="T79" fmla="*/ 332 h 655"/>
                  <a:gd name="T80" fmla="*/ 2895 w 3817"/>
                  <a:gd name="T81" fmla="*/ 315 h 655"/>
                  <a:gd name="T82" fmla="*/ 3123 w 3817"/>
                  <a:gd name="T83" fmla="*/ 313 h 655"/>
                  <a:gd name="T84" fmla="*/ 3311 w 3817"/>
                  <a:gd name="T85" fmla="*/ 326 h 655"/>
                  <a:gd name="T86" fmla="*/ 3462 w 3817"/>
                  <a:gd name="T87" fmla="*/ 350 h 655"/>
                  <a:gd name="T88" fmla="*/ 3580 w 3817"/>
                  <a:gd name="T89" fmla="*/ 382 h 655"/>
                  <a:gd name="T90" fmla="*/ 3669 w 3817"/>
                  <a:gd name="T91" fmla="*/ 421 h 655"/>
                  <a:gd name="T92" fmla="*/ 3733 w 3817"/>
                  <a:gd name="T93" fmla="*/ 463 h 655"/>
                  <a:gd name="T94" fmla="*/ 3779 w 3817"/>
                  <a:gd name="T95" fmla="*/ 510 h 655"/>
                  <a:gd name="T96" fmla="*/ 3808 w 3817"/>
                  <a:gd name="T97" fmla="*/ 563 h 655"/>
                  <a:gd name="T98" fmla="*/ 3817 w 3817"/>
                  <a:gd name="T99" fmla="*/ 616 h 655"/>
                  <a:gd name="T100" fmla="*/ 3813 w 3817"/>
                  <a:gd name="T101" fmla="*/ 64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17" h="655">
                    <a:moveTo>
                      <a:pt x="3802" y="655"/>
                    </a:moveTo>
                    <a:lnTo>
                      <a:pt x="3801" y="655"/>
                    </a:lnTo>
                    <a:lnTo>
                      <a:pt x="3799" y="654"/>
                    </a:lnTo>
                    <a:lnTo>
                      <a:pt x="3795" y="652"/>
                    </a:lnTo>
                    <a:lnTo>
                      <a:pt x="3790" y="649"/>
                    </a:lnTo>
                    <a:lnTo>
                      <a:pt x="3789" y="643"/>
                    </a:lnTo>
                    <a:lnTo>
                      <a:pt x="3789" y="638"/>
                    </a:lnTo>
                    <a:lnTo>
                      <a:pt x="3790" y="635"/>
                    </a:lnTo>
                    <a:lnTo>
                      <a:pt x="3790" y="626"/>
                    </a:lnTo>
                    <a:lnTo>
                      <a:pt x="3790" y="614"/>
                    </a:lnTo>
                    <a:lnTo>
                      <a:pt x="3789" y="599"/>
                    </a:lnTo>
                    <a:lnTo>
                      <a:pt x="3787" y="589"/>
                    </a:lnTo>
                    <a:lnTo>
                      <a:pt x="3785" y="581"/>
                    </a:lnTo>
                    <a:lnTo>
                      <a:pt x="3781" y="570"/>
                    </a:lnTo>
                    <a:lnTo>
                      <a:pt x="3776" y="559"/>
                    </a:lnTo>
                    <a:lnTo>
                      <a:pt x="3771" y="548"/>
                    </a:lnTo>
                    <a:lnTo>
                      <a:pt x="3763" y="536"/>
                    </a:lnTo>
                    <a:lnTo>
                      <a:pt x="3756" y="526"/>
                    </a:lnTo>
                    <a:lnTo>
                      <a:pt x="3746" y="513"/>
                    </a:lnTo>
                    <a:lnTo>
                      <a:pt x="3736" y="503"/>
                    </a:lnTo>
                    <a:lnTo>
                      <a:pt x="3725" y="492"/>
                    </a:lnTo>
                    <a:lnTo>
                      <a:pt x="3713" y="481"/>
                    </a:lnTo>
                    <a:lnTo>
                      <a:pt x="3700" y="472"/>
                    </a:lnTo>
                    <a:lnTo>
                      <a:pt x="3685" y="461"/>
                    </a:lnTo>
                    <a:lnTo>
                      <a:pt x="3668" y="451"/>
                    </a:lnTo>
                    <a:lnTo>
                      <a:pt x="3650" y="441"/>
                    </a:lnTo>
                    <a:lnTo>
                      <a:pt x="3632" y="432"/>
                    </a:lnTo>
                    <a:lnTo>
                      <a:pt x="3610" y="422"/>
                    </a:lnTo>
                    <a:lnTo>
                      <a:pt x="3587" y="413"/>
                    </a:lnTo>
                    <a:lnTo>
                      <a:pt x="3564" y="404"/>
                    </a:lnTo>
                    <a:lnTo>
                      <a:pt x="3538" y="396"/>
                    </a:lnTo>
                    <a:lnTo>
                      <a:pt x="3510" y="387"/>
                    </a:lnTo>
                    <a:lnTo>
                      <a:pt x="3480" y="380"/>
                    </a:lnTo>
                    <a:lnTo>
                      <a:pt x="3448" y="373"/>
                    </a:lnTo>
                    <a:lnTo>
                      <a:pt x="3415" y="367"/>
                    </a:lnTo>
                    <a:lnTo>
                      <a:pt x="3379" y="361"/>
                    </a:lnTo>
                    <a:lnTo>
                      <a:pt x="3341" y="356"/>
                    </a:lnTo>
                    <a:lnTo>
                      <a:pt x="3300" y="351"/>
                    </a:lnTo>
                    <a:lnTo>
                      <a:pt x="3258" y="347"/>
                    </a:lnTo>
                    <a:lnTo>
                      <a:pt x="3214" y="344"/>
                    </a:lnTo>
                    <a:lnTo>
                      <a:pt x="3166" y="341"/>
                    </a:lnTo>
                    <a:lnTo>
                      <a:pt x="3117" y="340"/>
                    </a:lnTo>
                    <a:lnTo>
                      <a:pt x="3065" y="339"/>
                    </a:lnTo>
                    <a:lnTo>
                      <a:pt x="3010" y="339"/>
                    </a:lnTo>
                    <a:lnTo>
                      <a:pt x="2952" y="340"/>
                    </a:lnTo>
                    <a:lnTo>
                      <a:pt x="2892" y="342"/>
                    </a:lnTo>
                    <a:lnTo>
                      <a:pt x="2829" y="344"/>
                    </a:lnTo>
                    <a:lnTo>
                      <a:pt x="2763" y="349"/>
                    </a:lnTo>
                    <a:lnTo>
                      <a:pt x="2695" y="353"/>
                    </a:lnTo>
                    <a:lnTo>
                      <a:pt x="2623" y="359"/>
                    </a:lnTo>
                    <a:lnTo>
                      <a:pt x="2549" y="366"/>
                    </a:lnTo>
                    <a:lnTo>
                      <a:pt x="2465" y="373"/>
                    </a:lnTo>
                    <a:lnTo>
                      <a:pt x="2386" y="380"/>
                    </a:lnTo>
                    <a:lnTo>
                      <a:pt x="2307" y="385"/>
                    </a:lnTo>
                    <a:lnTo>
                      <a:pt x="2230" y="388"/>
                    </a:lnTo>
                    <a:lnTo>
                      <a:pt x="2157" y="391"/>
                    </a:lnTo>
                    <a:lnTo>
                      <a:pt x="2084" y="392"/>
                    </a:lnTo>
                    <a:lnTo>
                      <a:pt x="2015" y="392"/>
                    </a:lnTo>
                    <a:lnTo>
                      <a:pt x="1947" y="391"/>
                    </a:lnTo>
                    <a:lnTo>
                      <a:pt x="1881" y="388"/>
                    </a:lnTo>
                    <a:lnTo>
                      <a:pt x="1818" y="384"/>
                    </a:lnTo>
                    <a:lnTo>
                      <a:pt x="1756" y="380"/>
                    </a:lnTo>
                    <a:lnTo>
                      <a:pt x="1696" y="374"/>
                    </a:lnTo>
                    <a:lnTo>
                      <a:pt x="1637" y="369"/>
                    </a:lnTo>
                    <a:lnTo>
                      <a:pt x="1580" y="361"/>
                    </a:lnTo>
                    <a:lnTo>
                      <a:pt x="1525" y="354"/>
                    </a:lnTo>
                    <a:lnTo>
                      <a:pt x="1472" y="345"/>
                    </a:lnTo>
                    <a:lnTo>
                      <a:pt x="1420" y="336"/>
                    </a:lnTo>
                    <a:lnTo>
                      <a:pt x="1369" y="326"/>
                    </a:lnTo>
                    <a:lnTo>
                      <a:pt x="1320" y="316"/>
                    </a:lnTo>
                    <a:lnTo>
                      <a:pt x="1272" y="305"/>
                    </a:lnTo>
                    <a:lnTo>
                      <a:pt x="1226" y="293"/>
                    </a:lnTo>
                    <a:lnTo>
                      <a:pt x="1180" y="283"/>
                    </a:lnTo>
                    <a:lnTo>
                      <a:pt x="1136" y="270"/>
                    </a:lnTo>
                    <a:lnTo>
                      <a:pt x="1093" y="258"/>
                    </a:lnTo>
                    <a:lnTo>
                      <a:pt x="1010" y="233"/>
                    </a:lnTo>
                    <a:lnTo>
                      <a:pt x="930" y="207"/>
                    </a:lnTo>
                    <a:lnTo>
                      <a:pt x="853" y="181"/>
                    </a:lnTo>
                    <a:lnTo>
                      <a:pt x="780" y="155"/>
                    </a:lnTo>
                    <a:lnTo>
                      <a:pt x="728" y="138"/>
                    </a:lnTo>
                    <a:lnTo>
                      <a:pt x="678" y="121"/>
                    </a:lnTo>
                    <a:lnTo>
                      <a:pt x="630" y="105"/>
                    </a:lnTo>
                    <a:lnTo>
                      <a:pt x="582" y="89"/>
                    </a:lnTo>
                    <a:lnTo>
                      <a:pt x="535" y="76"/>
                    </a:lnTo>
                    <a:lnTo>
                      <a:pt x="488" y="64"/>
                    </a:lnTo>
                    <a:lnTo>
                      <a:pt x="442" y="53"/>
                    </a:lnTo>
                    <a:lnTo>
                      <a:pt x="397" y="43"/>
                    </a:lnTo>
                    <a:lnTo>
                      <a:pt x="350" y="35"/>
                    </a:lnTo>
                    <a:lnTo>
                      <a:pt x="305" y="30"/>
                    </a:lnTo>
                    <a:lnTo>
                      <a:pt x="281" y="29"/>
                    </a:lnTo>
                    <a:lnTo>
                      <a:pt x="258" y="28"/>
                    </a:lnTo>
                    <a:lnTo>
                      <a:pt x="235" y="27"/>
                    </a:lnTo>
                    <a:lnTo>
                      <a:pt x="211" y="27"/>
                    </a:lnTo>
                    <a:lnTo>
                      <a:pt x="188" y="28"/>
                    </a:lnTo>
                    <a:lnTo>
                      <a:pt x="163" y="29"/>
                    </a:lnTo>
                    <a:lnTo>
                      <a:pt x="140" y="31"/>
                    </a:lnTo>
                    <a:lnTo>
                      <a:pt x="116" y="33"/>
                    </a:lnTo>
                    <a:lnTo>
                      <a:pt x="91" y="38"/>
                    </a:lnTo>
                    <a:lnTo>
                      <a:pt x="67" y="42"/>
                    </a:lnTo>
                    <a:lnTo>
                      <a:pt x="41" y="46"/>
                    </a:lnTo>
                    <a:lnTo>
                      <a:pt x="16" y="53"/>
                    </a:lnTo>
                    <a:lnTo>
                      <a:pt x="11" y="53"/>
                    </a:lnTo>
                    <a:lnTo>
                      <a:pt x="7" y="51"/>
                    </a:lnTo>
                    <a:lnTo>
                      <a:pt x="2" y="47"/>
                    </a:lnTo>
                    <a:lnTo>
                      <a:pt x="0" y="43"/>
                    </a:lnTo>
                    <a:lnTo>
                      <a:pt x="0" y="38"/>
                    </a:lnTo>
                    <a:lnTo>
                      <a:pt x="1" y="32"/>
                    </a:lnTo>
                    <a:lnTo>
                      <a:pt x="6" y="29"/>
                    </a:lnTo>
                    <a:lnTo>
                      <a:pt x="10" y="26"/>
                    </a:lnTo>
                    <a:lnTo>
                      <a:pt x="36" y="20"/>
                    </a:lnTo>
                    <a:lnTo>
                      <a:pt x="62" y="15"/>
                    </a:lnTo>
                    <a:lnTo>
                      <a:pt x="87" y="11"/>
                    </a:lnTo>
                    <a:lnTo>
                      <a:pt x="111" y="6"/>
                    </a:lnTo>
                    <a:lnTo>
                      <a:pt x="136" y="4"/>
                    </a:lnTo>
                    <a:lnTo>
                      <a:pt x="161" y="2"/>
                    </a:lnTo>
                    <a:lnTo>
                      <a:pt x="186" y="1"/>
                    </a:lnTo>
                    <a:lnTo>
                      <a:pt x="210" y="0"/>
                    </a:lnTo>
                    <a:lnTo>
                      <a:pt x="233" y="0"/>
                    </a:lnTo>
                    <a:lnTo>
                      <a:pt x="257" y="0"/>
                    </a:lnTo>
                    <a:lnTo>
                      <a:pt x="281" y="1"/>
                    </a:lnTo>
                    <a:lnTo>
                      <a:pt x="305" y="3"/>
                    </a:lnTo>
                    <a:lnTo>
                      <a:pt x="352" y="8"/>
                    </a:lnTo>
                    <a:lnTo>
                      <a:pt x="399" y="16"/>
                    </a:lnTo>
                    <a:lnTo>
                      <a:pt x="445" y="26"/>
                    </a:lnTo>
                    <a:lnTo>
                      <a:pt x="493" y="37"/>
                    </a:lnTo>
                    <a:lnTo>
                      <a:pt x="540" y="50"/>
                    </a:lnTo>
                    <a:lnTo>
                      <a:pt x="588" y="64"/>
                    </a:lnTo>
                    <a:lnTo>
                      <a:pt x="636" y="79"/>
                    </a:lnTo>
                    <a:lnTo>
                      <a:pt x="686" y="95"/>
                    </a:lnTo>
                    <a:lnTo>
                      <a:pt x="737" y="112"/>
                    </a:lnTo>
                    <a:lnTo>
                      <a:pt x="789" y="130"/>
                    </a:lnTo>
                    <a:lnTo>
                      <a:pt x="862" y="155"/>
                    </a:lnTo>
                    <a:lnTo>
                      <a:pt x="938" y="181"/>
                    </a:lnTo>
                    <a:lnTo>
                      <a:pt x="1016" y="207"/>
                    </a:lnTo>
                    <a:lnTo>
                      <a:pt x="1099" y="232"/>
                    </a:lnTo>
                    <a:lnTo>
                      <a:pt x="1143" y="244"/>
                    </a:lnTo>
                    <a:lnTo>
                      <a:pt x="1186" y="256"/>
                    </a:lnTo>
                    <a:lnTo>
                      <a:pt x="1231" y="268"/>
                    </a:lnTo>
                    <a:lnTo>
                      <a:pt x="1278" y="278"/>
                    </a:lnTo>
                    <a:lnTo>
                      <a:pt x="1325" y="289"/>
                    </a:lnTo>
                    <a:lnTo>
                      <a:pt x="1374" y="300"/>
                    </a:lnTo>
                    <a:lnTo>
                      <a:pt x="1425" y="310"/>
                    </a:lnTo>
                    <a:lnTo>
                      <a:pt x="1476" y="318"/>
                    </a:lnTo>
                    <a:lnTo>
                      <a:pt x="1529" y="327"/>
                    </a:lnTo>
                    <a:lnTo>
                      <a:pt x="1584" y="334"/>
                    </a:lnTo>
                    <a:lnTo>
                      <a:pt x="1640" y="342"/>
                    </a:lnTo>
                    <a:lnTo>
                      <a:pt x="1699" y="347"/>
                    </a:lnTo>
                    <a:lnTo>
                      <a:pt x="1758" y="353"/>
                    </a:lnTo>
                    <a:lnTo>
                      <a:pt x="1820" y="357"/>
                    </a:lnTo>
                    <a:lnTo>
                      <a:pt x="1883" y="361"/>
                    </a:lnTo>
                    <a:lnTo>
                      <a:pt x="1948" y="364"/>
                    </a:lnTo>
                    <a:lnTo>
                      <a:pt x="2015" y="365"/>
                    </a:lnTo>
                    <a:lnTo>
                      <a:pt x="2085" y="365"/>
                    </a:lnTo>
                    <a:lnTo>
                      <a:pt x="2157" y="364"/>
                    </a:lnTo>
                    <a:lnTo>
                      <a:pt x="2230" y="361"/>
                    </a:lnTo>
                    <a:lnTo>
                      <a:pt x="2306" y="358"/>
                    </a:lnTo>
                    <a:lnTo>
                      <a:pt x="2383" y="353"/>
                    </a:lnTo>
                    <a:lnTo>
                      <a:pt x="2463" y="347"/>
                    </a:lnTo>
                    <a:lnTo>
                      <a:pt x="2546" y="339"/>
                    </a:lnTo>
                    <a:lnTo>
                      <a:pt x="2622" y="332"/>
                    </a:lnTo>
                    <a:lnTo>
                      <a:pt x="2694" y="326"/>
                    </a:lnTo>
                    <a:lnTo>
                      <a:pt x="2765" y="322"/>
                    </a:lnTo>
                    <a:lnTo>
                      <a:pt x="2832" y="317"/>
                    </a:lnTo>
                    <a:lnTo>
                      <a:pt x="2895" y="315"/>
                    </a:lnTo>
                    <a:lnTo>
                      <a:pt x="2957" y="313"/>
                    </a:lnTo>
                    <a:lnTo>
                      <a:pt x="3015" y="312"/>
                    </a:lnTo>
                    <a:lnTo>
                      <a:pt x="3070" y="312"/>
                    </a:lnTo>
                    <a:lnTo>
                      <a:pt x="3123" y="313"/>
                    </a:lnTo>
                    <a:lnTo>
                      <a:pt x="3174" y="315"/>
                    </a:lnTo>
                    <a:lnTo>
                      <a:pt x="3222" y="318"/>
                    </a:lnTo>
                    <a:lnTo>
                      <a:pt x="3268" y="322"/>
                    </a:lnTo>
                    <a:lnTo>
                      <a:pt x="3311" y="326"/>
                    </a:lnTo>
                    <a:lnTo>
                      <a:pt x="3352" y="330"/>
                    </a:lnTo>
                    <a:lnTo>
                      <a:pt x="3391" y="337"/>
                    </a:lnTo>
                    <a:lnTo>
                      <a:pt x="3428" y="342"/>
                    </a:lnTo>
                    <a:lnTo>
                      <a:pt x="3462" y="350"/>
                    </a:lnTo>
                    <a:lnTo>
                      <a:pt x="3495" y="357"/>
                    </a:lnTo>
                    <a:lnTo>
                      <a:pt x="3525" y="365"/>
                    </a:lnTo>
                    <a:lnTo>
                      <a:pt x="3553" y="373"/>
                    </a:lnTo>
                    <a:lnTo>
                      <a:pt x="3580" y="382"/>
                    </a:lnTo>
                    <a:lnTo>
                      <a:pt x="3605" y="391"/>
                    </a:lnTo>
                    <a:lnTo>
                      <a:pt x="3627" y="400"/>
                    </a:lnTo>
                    <a:lnTo>
                      <a:pt x="3649" y="410"/>
                    </a:lnTo>
                    <a:lnTo>
                      <a:pt x="3669" y="421"/>
                    </a:lnTo>
                    <a:lnTo>
                      <a:pt x="3687" y="431"/>
                    </a:lnTo>
                    <a:lnTo>
                      <a:pt x="3704" y="441"/>
                    </a:lnTo>
                    <a:lnTo>
                      <a:pt x="3719" y="452"/>
                    </a:lnTo>
                    <a:lnTo>
                      <a:pt x="3733" y="463"/>
                    </a:lnTo>
                    <a:lnTo>
                      <a:pt x="3746" y="475"/>
                    </a:lnTo>
                    <a:lnTo>
                      <a:pt x="3757" y="486"/>
                    </a:lnTo>
                    <a:lnTo>
                      <a:pt x="3767" y="496"/>
                    </a:lnTo>
                    <a:lnTo>
                      <a:pt x="3779" y="510"/>
                    </a:lnTo>
                    <a:lnTo>
                      <a:pt x="3788" y="524"/>
                    </a:lnTo>
                    <a:lnTo>
                      <a:pt x="3796" y="537"/>
                    </a:lnTo>
                    <a:lnTo>
                      <a:pt x="3802" y="551"/>
                    </a:lnTo>
                    <a:lnTo>
                      <a:pt x="3808" y="563"/>
                    </a:lnTo>
                    <a:lnTo>
                      <a:pt x="3811" y="575"/>
                    </a:lnTo>
                    <a:lnTo>
                      <a:pt x="3814" y="587"/>
                    </a:lnTo>
                    <a:lnTo>
                      <a:pt x="3816" y="598"/>
                    </a:lnTo>
                    <a:lnTo>
                      <a:pt x="3817" y="616"/>
                    </a:lnTo>
                    <a:lnTo>
                      <a:pt x="3817" y="631"/>
                    </a:lnTo>
                    <a:lnTo>
                      <a:pt x="3816" y="640"/>
                    </a:lnTo>
                    <a:lnTo>
                      <a:pt x="3815" y="644"/>
                    </a:lnTo>
                    <a:lnTo>
                      <a:pt x="3813" y="649"/>
                    </a:lnTo>
                    <a:lnTo>
                      <a:pt x="3811" y="652"/>
                    </a:lnTo>
                    <a:lnTo>
                      <a:pt x="3807" y="654"/>
                    </a:lnTo>
                    <a:lnTo>
                      <a:pt x="3802" y="6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03"/>
              <p:cNvSpPr>
                <a:spLocks/>
              </p:cNvSpPr>
              <p:nvPr userDrawn="1"/>
            </p:nvSpPr>
            <p:spPr bwMode="auto">
              <a:xfrm>
                <a:off x="1677" y="1474"/>
                <a:ext cx="373" cy="431"/>
              </a:xfrm>
              <a:custGeom>
                <a:avLst/>
                <a:gdLst>
                  <a:gd name="T0" fmla="*/ 14 w 1119"/>
                  <a:gd name="T1" fmla="*/ 1292 h 1292"/>
                  <a:gd name="T2" fmla="*/ 9 w 1119"/>
                  <a:gd name="T3" fmla="*/ 1290 h 1292"/>
                  <a:gd name="T4" fmla="*/ 5 w 1119"/>
                  <a:gd name="T5" fmla="*/ 1288 h 1292"/>
                  <a:gd name="T6" fmla="*/ 1 w 1119"/>
                  <a:gd name="T7" fmla="*/ 1284 h 1292"/>
                  <a:gd name="T8" fmla="*/ 0 w 1119"/>
                  <a:gd name="T9" fmla="*/ 1280 h 1292"/>
                  <a:gd name="T10" fmla="*/ 1 w 1119"/>
                  <a:gd name="T11" fmla="*/ 1274 h 1292"/>
                  <a:gd name="T12" fmla="*/ 3 w 1119"/>
                  <a:gd name="T13" fmla="*/ 1270 h 1292"/>
                  <a:gd name="T14" fmla="*/ 1096 w 1119"/>
                  <a:gd name="T15" fmla="*/ 5 h 1292"/>
                  <a:gd name="T16" fmla="*/ 1099 w 1119"/>
                  <a:gd name="T17" fmla="*/ 2 h 1292"/>
                  <a:gd name="T18" fmla="*/ 1105 w 1119"/>
                  <a:gd name="T19" fmla="*/ 0 h 1292"/>
                  <a:gd name="T20" fmla="*/ 1110 w 1119"/>
                  <a:gd name="T21" fmla="*/ 0 h 1292"/>
                  <a:gd name="T22" fmla="*/ 1114 w 1119"/>
                  <a:gd name="T23" fmla="*/ 4 h 1292"/>
                  <a:gd name="T24" fmla="*/ 1118 w 1119"/>
                  <a:gd name="T25" fmla="*/ 7 h 1292"/>
                  <a:gd name="T26" fmla="*/ 1119 w 1119"/>
                  <a:gd name="T27" fmla="*/ 12 h 1292"/>
                  <a:gd name="T28" fmla="*/ 1119 w 1119"/>
                  <a:gd name="T29" fmla="*/ 18 h 1292"/>
                  <a:gd name="T30" fmla="*/ 1115 w 1119"/>
                  <a:gd name="T31" fmla="*/ 22 h 1292"/>
                  <a:gd name="T32" fmla="*/ 24 w 1119"/>
                  <a:gd name="T33" fmla="*/ 1287 h 1292"/>
                  <a:gd name="T34" fmla="*/ 22 w 1119"/>
                  <a:gd name="T35" fmla="*/ 1289 h 1292"/>
                  <a:gd name="T36" fmla="*/ 19 w 1119"/>
                  <a:gd name="T37" fmla="*/ 1290 h 1292"/>
                  <a:gd name="T38" fmla="*/ 16 w 1119"/>
                  <a:gd name="T39" fmla="*/ 1292 h 1292"/>
                  <a:gd name="T40" fmla="*/ 14 w 1119"/>
                  <a:gd name="T41" fmla="*/ 1292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9" h="1292">
                    <a:moveTo>
                      <a:pt x="14" y="1292"/>
                    </a:moveTo>
                    <a:lnTo>
                      <a:pt x="9" y="1290"/>
                    </a:lnTo>
                    <a:lnTo>
                      <a:pt x="5" y="1288"/>
                    </a:lnTo>
                    <a:lnTo>
                      <a:pt x="1" y="1284"/>
                    </a:lnTo>
                    <a:lnTo>
                      <a:pt x="0" y="1280"/>
                    </a:lnTo>
                    <a:lnTo>
                      <a:pt x="1" y="1274"/>
                    </a:lnTo>
                    <a:lnTo>
                      <a:pt x="3" y="1270"/>
                    </a:lnTo>
                    <a:lnTo>
                      <a:pt x="1096" y="5"/>
                    </a:lnTo>
                    <a:lnTo>
                      <a:pt x="1099" y="2"/>
                    </a:lnTo>
                    <a:lnTo>
                      <a:pt x="1105" y="0"/>
                    </a:lnTo>
                    <a:lnTo>
                      <a:pt x="1110" y="0"/>
                    </a:lnTo>
                    <a:lnTo>
                      <a:pt x="1114" y="4"/>
                    </a:lnTo>
                    <a:lnTo>
                      <a:pt x="1118" y="7"/>
                    </a:lnTo>
                    <a:lnTo>
                      <a:pt x="1119" y="12"/>
                    </a:lnTo>
                    <a:lnTo>
                      <a:pt x="1119" y="18"/>
                    </a:lnTo>
                    <a:lnTo>
                      <a:pt x="1115" y="22"/>
                    </a:lnTo>
                    <a:lnTo>
                      <a:pt x="24" y="1287"/>
                    </a:lnTo>
                    <a:lnTo>
                      <a:pt x="22" y="1289"/>
                    </a:lnTo>
                    <a:lnTo>
                      <a:pt x="19" y="1290"/>
                    </a:lnTo>
                    <a:lnTo>
                      <a:pt x="16" y="1292"/>
                    </a:lnTo>
                    <a:lnTo>
                      <a:pt x="14" y="1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04"/>
              <p:cNvSpPr>
                <a:spLocks noEditPoints="1"/>
              </p:cNvSpPr>
              <p:nvPr userDrawn="1"/>
            </p:nvSpPr>
            <p:spPr bwMode="auto">
              <a:xfrm>
                <a:off x="2315" y="1172"/>
                <a:ext cx="250" cy="241"/>
              </a:xfrm>
              <a:custGeom>
                <a:avLst/>
                <a:gdLst>
                  <a:gd name="T0" fmla="*/ 13 w 750"/>
                  <a:gd name="T1" fmla="*/ 723 h 723"/>
                  <a:gd name="T2" fmla="*/ 9 w 750"/>
                  <a:gd name="T3" fmla="*/ 723 h 723"/>
                  <a:gd name="T4" fmla="*/ 5 w 750"/>
                  <a:gd name="T5" fmla="*/ 720 h 723"/>
                  <a:gd name="T6" fmla="*/ 1 w 750"/>
                  <a:gd name="T7" fmla="*/ 716 h 723"/>
                  <a:gd name="T8" fmla="*/ 0 w 750"/>
                  <a:gd name="T9" fmla="*/ 711 h 723"/>
                  <a:gd name="T10" fmla="*/ 0 w 750"/>
                  <a:gd name="T11" fmla="*/ 707 h 723"/>
                  <a:gd name="T12" fmla="*/ 3 w 750"/>
                  <a:gd name="T13" fmla="*/ 702 h 723"/>
                  <a:gd name="T14" fmla="*/ 470 w 750"/>
                  <a:gd name="T15" fmla="*/ 6 h 723"/>
                  <a:gd name="T16" fmla="*/ 473 w 750"/>
                  <a:gd name="T17" fmla="*/ 3 h 723"/>
                  <a:gd name="T18" fmla="*/ 477 w 750"/>
                  <a:gd name="T19" fmla="*/ 1 h 723"/>
                  <a:gd name="T20" fmla="*/ 480 w 750"/>
                  <a:gd name="T21" fmla="*/ 0 h 723"/>
                  <a:gd name="T22" fmla="*/ 484 w 750"/>
                  <a:gd name="T23" fmla="*/ 0 h 723"/>
                  <a:gd name="T24" fmla="*/ 738 w 750"/>
                  <a:gd name="T25" fmla="*/ 40 h 723"/>
                  <a:gd name="T26" fmla="*/ 742 w 750"/>
                  <a:gd name="T27" fmla="*/ 41 h 723"/>
                  <a:gd name="T28" fmla="*/ 744 w 750"/>
                  <a:gd name="T29" fmla="*/ 43 h 723"/>
                  <a:gd name="T30" fmla="*/ 748 w 750"/>
                  <a:gd name="T31" fmla="*/ 46 h 723"/>
                  <a:gd name="T32" fmla="*/ 749 w 750"/>
                  <a:gd name="T33" fmla="*/ 49 h 723"/>
                  <a:gd name="T34" fmla="*/ 750 w 750"/>
                  <a:gd name="T35" fmla="*/ 53 h 723"/>
                  <a:gd name="T36" fmla="*/ 749 w 750"/>
                  <a:gd name="T37" fmla="*/ 57 h 723"/>
                  <a:gd name="T38" fmla="*/ 748 w 750"/>
                  <a:gd name="T39" fmla="*/ 60 h 723"/>
                  <a:gd name="T40" fmla="*/ 745 w 750"/>
                  <a:gd name="T41" fmla="*/ 63 h 723"/>
                  <a:gd name="T42" fmla="*/ 23 w 750"/>
                  <a:gd name="T43" fmla="*/ 720 h 723"/>
                  <a:gd name="T44" fmla="*/ 19 w 750"/>
                  <a:gd name="T45" fmla="*/ 723 h 723"/>
                  <a:gd name="T46" fmla="*/ 13 w 750"/>
                  <a:gd name="T47" fmla="*/ 723 h 723"/>
                  <a:gd name="T48" fmla="*/ 488 w 750"/>
                  <a:gd name="T49" fmla="*/ 28 h 723"/>
                  <a:gd name="T50" fmla="*/ 488 w 750"/>
                  <a:gd name="T51" fmla="*/ 28 h 723"/>
                  <a:gd name="T52" fmla="*/ 87 w 750"/>
                  <a:gd name="T53" fmla="*/ 625 h 723"/>
                  <a:gd name="T54" fmla="*/ 705 w 750"/>
                  <a:gd name="T55" fmla="*/ 62 h 723"/>
                  <a:gd name="T56" fmla="*/ 488 w 750"/>
                  <a:gd name="T57" fmla="*/ 28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0" h="723">
                    <a:moveTo>
                      <a:pt x="13" y="723"/>
                    </a:moveTo>
                    <a:lnTo>
                      <a:pt x="9" y="723"/>
                    </a:lnTo>
                    <a:lnTo>
                      <a:pt x="5" y="720"/>
                    </a:lnTo>
                    <a:lnTo>
                      <a:pt x="1" y="716"/>
                    </a:lnTo>
                    <a:lnTo>
                      <a:pt x="0" y="711"/>
                    </a:lnTo>
                    <a:lnTo>
                      <a:pt x="0" y="707"/>
                    </a:lnTo>
                    <a:lnTo>
                      <a:pt x="3" y="702"/>
                    </a:lnTo>
                    <a:lnTo>
                      <a:pt x="470" y="6"/>
                    </a:lnTo>
                    <a:lnTo>
                      <a:pt x="473" y="3"/>
                    </a:lnTo>
                    <a:lnTo>
                      <a:pt x="477" y="1"/>
                    </a:lnTo>
                    <a:lnTo>
                      <a:pt x="480" y="0"/>
                    </a:lnTo>
                    <a:lnTo>
                      <a:pt x="484" y="0"/>
                    </a:lnTo>
                    <a:lnTo>
                      <a:pt x="738" y="40"/>
                    </a:lnTo>
                    <a:lnTo>
                      <a:pt x="742" y="41"/>
                    </a:lnTo>
                    <a:lnTo>
                      <a:pt x="744" y="43"/>
                    </a:lnTo>
                    <a:lnTo>
                      <a:pt x="748" y="46"/>
                    </a:lnTo>
                    <a:lnTo>
                      <a:pt x="749" y="49"/>
                    </a:lnTo>
                    <a:lnTo>
                      <a:pt x="750" y="53"/>
                    </a:lnTo>
                    <a:lnTo>
                      <a:pt x="749" y="57"/>
                    </a:lnTo>
                    <a:lnTo>
                      <a:pt x="748" y="60"/>
                    </a:lnTo>
                    <a:lnTo>
                      <a:pt x="745" y="63"/>
                    </a:lnTo>
                    <a:lnTo>
                      <a:pt x="23" y="720"/>
                    </a:lnTo>
                    <a:lnTo>
                      <a:pt x="19" y="723"/>
                    </a:lnTo>
                    <a:lnTo>
                      <a:pt x="13" y="723"/>
                    </a:lnTo>
                    <a:close/>
                    <a:moveTo>
                      <a:pt x="488" y="28"/>
                    </a:moveTo>
                    <a:lnTo>
                      <a:pt x="488" y="28"/>
                    </a:lnTo>
                    <a:lnTo>
                      <a:pt x="87" y="625"/>
                    </a:lnTo>
                    <a:lnTo>
                      <a:pt x="705" y="62"/>
                    </a:lnTo>
                    <a:lnTo>
                      <a:pt x="48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206"/>
            <p:cNvSpPr>
              <a:spLocks noEditPoints="1"/>
            </p:cNvSpPr>
            <p:nvPr userDrawn="1"/>
          </p:nvSpPr>
          <p:spPr bwMode="auto">
            <a:xfrm>
              <a:off x="3527425" y="1846263"/>
              <a:ext cx="179388" cy="371475"/>
            </a:xfrm>
            <a:custGeom>
              <a:avLst/>
              <a:gdLst>
                <a:gd name="T0" fmla="*/ 14 w 338"/>
                <a:gd name="T1" fmla="*/ 704 h 704"/>
                <a:gd name="T2" fmla="*/ 9 w 338"/>
                <a:gd name="T3" fmla="*/ 703 h 704"/>
                <a:gd name="T4" fmla="*/ 6 w 338"/>
                <a:gd name="T5" fmla="*/ 702 h 704"/>
                <a:gd name="T6" fmla="*/ 3 w 338"/>
                <a:gd name="T7" fmla="*/ 699 h 704"/>
                <a:gd name="T8" fmla="*/ 1 w 338"/>
                <a:gd name="T9" fmla="*/ 695 h 704"/>
                <a:gd name="T10" fmla="*/ 0 w 338"/>
                <a:gd name="T11" fmla="*/ 690 h 704"/>
                <a:gd name="T12" fmla="*/ 1 w 338"/>
                <a:gd name="T13" fmla="*/ 686 h 704"/>
                <a:gd name="T14" fmla="*/ 271 w 338"/>
                <a:gd name="T15" fmla="*/ 7 h 704"/>
                <a:gd name="T16" fmla="*/ 273 w 338"/>
                <a:gd name="T17" fmla="*/ 4 h 704"/>
                <a:gd name="T18" fmla="*/ 276 w 338"/>
                <a:gd name="T19" fmla="*/ 1 h 704"/>
                <a:gd name="T20" fmla="*/ 280 w 338"/>
                <a:gd name="T21" fmla="*/ 0 h 704"/>
                <a:gd name="T22" fmla="*/ 285 w 338"/>
                <a:gd name="T23" fmla="*/ 0 h 704"/>
                <a:gd name="T24" fmla="*/ 289 w 338"/>
                <a:gd name="T25" fmla="*/ 1 h 704"/>
                <a:gd name="T26" fmla="*/ 293 w 338"/>
                <a:gd name="T27" fmla="*/ 3 h 704"/>
                <a:gd name="T28" fmla="*/ 296 w 338"/>
                <a:gd name="T29" fmla="*/ 7 h 704"/>
                <a:gd name="T30" fmla="*/ 297 w 338"/>
                <a:gd name="T31" fmla="*/ 11 h 704"/>
                <a:gd name="T32" fmla="*/ 338 w 338"/>
                <a:gd name="T33" fmla="*/ 390 h 704"/>
                <a:gd name="T34" fmla="*/ 338 w 338"/>
                <a:gd name="T35" fmla="*/ 394 h 704"/>
                <a:gd name="T36" fmla="*/ 337 w 338"/>
                <a:gd name="T37" fmla="*/ 397 h 704"/>
                <a:gd name="T38" fmla="*/ 336 w 338"/>
                <a:gd name="T39" fmla="*/ 399 h 704"/>
                <a:gd name="T40" fmla="*/ 333 w 338"/>
                <a:gd name="T41" fmla="*/ 401 h 704"/>
                <a:gd name="T42" fmla="*/ 23 w 338"/>
                <a:gd name="T43" fmla="*/ 700 h 704"/>
                <a:gd name="T44" fmla="*/ 19 w 338"/>
                <a:gd name="T45" fmla="*/ 703 h 704"/>
                <a:gd name="T46" fmla="*/ 14 w 338"/>
                <a:gd name="T47" fmla="*/ 704 h 704"/>
                <a:gd name="T48" fmla="*/ 276 w 338"/>
                <a:gd name="T49" fmla="*/ 69 h 704"/>
                <a:gd name="T50" fmla="*/ 276 w 338"/>
                <a:gd name="T51" fmla="*/ 69 h 704"/>
                <a:gd name="T52" fmla="*/ 49 w 338"/>
                <a:gd name="T53" fmla="*/ 638 h 704"/>
                <a:gd name="T54" fmla="*/ 310 w 338"/>
                <a:gd name="T55" fmla="*/ 387 h 704"/>
                <a:gd name="T56" fmla="*/ 276 w 338"/>
                <a:gd name="T57" fmla="*/ 69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704">
                  <a:moveTo>
                    <a:pt x="14" y="704"/>
                  </a:moveTo>
                  <a:lnTo>
                    <a:pt x="9" y="703"/>
                  </a:lnTo>
                  <a:lnTo>
                    <a:pt x="6" y="702"/>
                  </a:lnTo>
                  <a:lnTo>
                    <a:pt x="3" y="699"/>
                  </a:lnTo>
                  <a:lnTo>
                    <a:pt x="1" y="695"/>
                  </a:lnTo>
                  <a:lnTo>
                    <a:pt x="0" y="690"/>
                  </a:lnTo>
                  <a:lnTo>
                    <a:pt x="1" y="686"/>
                  </a:lnTo>
                  <a:lnTo>
                    <a:pt x="271" y="7"/>
                  </a:lnTo>
                  <a:lnTo>
                    <a:pt x="273" y="4"/>
                  </a:lnTo>
                  <a:lnTo>
                    <a:pt x="276" y="1"/>
                  </a:lnTo>
                  <a:lnTo>
                    <a:pt x="280" y="0"/>
                  </a:lnTo>
                  <a:lnTo>
                    <a:pt x="285" y="0"/>
                  </a:lnTo>
                  <a:lnTo>
                    <a:pt x="289" y="1"/>
                  </a:lnTo>
                  <a:lnTo>
                    <a:pt x="293" y="3"/>
                  </a:lnTo>
                  <a:lnTo>
                    <a:pt x="296" y="7"/>
                  </a:lnTo>
                  <a:lnTo>
                    <a:pt x="297" y="11"/>
                  </a:lnTo>
                  <a:lnTo>
                    <a:pt x="338" y="390"/>
                  </a:lnTo>
                  <a:lnTo>
                    <a:pt x="338" y="394"/>
                  </a:lnTo>
                  <a:lnTo>
                    <a:pt x="337" y="397"/>
                  </a:lnTo>
                  <a:lnTo>
                    <a:pt x="336" y="399"/>
                  </a:lnTo>
                  <a:lnTo>
                    <a:pt x="333" y="401"/>
                  </a:lnTo>
                  <a:lnTo>
                    <a:pt x="23" y="700"/>
                  </a:lnTo>
                  <a:lnTo>
                    <a:pt x="19" y="703"/>
                  </a:lnTo>
                  <a:lnTo>
                    <a:pt x="14" y="704"/>
                  </a:lnTo>
                  <a:close/>
                  <a:moveTo>
                    <a:pt x="276" y="69"/>
                  </a:moveTo>
                  <a:lnTo>
                    <a:pt x="276" y="69"/>
                  </a:lnTo>
                  <a:lnTo>
                    <a:pt x="49" y="638"/>
                  </a:lnTo>
                  <a:lnTo>
                    <a:pt x="310" y="387"/>
                  </a:lnTo>
                  <a:lnTo>
                    <a:pt x="276" y="6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207"/>
            <p:cNvSpPr>
              <a:spLocks noEditPoints="1"/>
            </p:cNvSpPr>
            <p:nvPr userDrawn="1"/>
          </p:nvSpPr>
          <p:spPr bwMode="auto">
            <a:xfrm>
              <a:off x="3375025" y="1846263"/>
              <a:ext cx="309563" cy="346075"/>
            </a:xfrm>
            <a:custGeom>
              <a:avLst/>
              <a:gdLst>
                <a:gd name="T0" fmla="*/ 13 w 586"/>
                <a:gd name="T1" fmla="*/ 656 h 656"/>
                <a:gd name="T2" fmla="*/ 11 w 586"/>
                <a:gd name="T3" fmla="*/ 656 h 656"/>
                <a:gd name="T4" fmla="*/ 10 w 586"/>
                <a:gd name="T5" fmla="*/ 655 h 656"/>
                <a:gd name="T6" fmla="*/ 8 w 586"/>
                <a:gd name="T7" fmla="*/ 654 h 656"/>
                <a:gd name="T8" fmla="*/ 5 w 586"/>
                <a:gd name="T9" fmla="*/ 653 h 656"/>
                <a:gd name="T10" fmla="*/ 4 w 586"/>
                <a:gd name="T11" fmla="*/ 651 h 656"/>
                <a:gd name="T12" fmla="*/ 1 w 586"/>
                <a:gd name="T13" fmla="*/ 647 h 656"/>
                <a:gd name="T14" fmla="*/ 0 w 586"/>
                <a:gd name="T15" fmla="*/ 645 h 656"/>
                <a:gd name="T16" fmla="*/ 0 w 586"/>
                <a:gd name="T17" fmla="*/ 642 h 656"/>
                <a:gd name="T18" fmla="*/ 0 w 586"/>
                <a:gd name="T19" fmla="*/ 639 h 656"/>
                <a:gd name="T20" fmla="*/ 1 w 586"/>
                <a:gd name="T21" fmla="*/ 636 h 656"/>
                <a:gd name="T22" fmla="*/ 14 w 586"/>
                <a:gd name="T23" fmla="*/ 608 h 656"/>
                <a:gd name="T24" fmla="*/ 48 w 586"/>
                <a:gd name="T25" fmla="*/ 538 h 656"/>
                <a:gd name="T26" fmla="*/ 94 w 586"/>
                <a:gd name="T27" fmla="*/ 440 h 656"/>
                <a:gd name="T28" fmla="*/ 146 w 586"/>
                <a:gd name="T29" fmla="*/ 328 h 656"/>
                <a:gd name="T30" fmla="*/ 199 w 586"/>
                <a:gd name="T31" fmla="*/ 214 h 656"/>
                <a:gd name="T32" fmla="*/ 245 w 586"/>
                <a:gd name="T33" fmla="*/ 116 h 656"/>
                <a:gd name="T34" fmla="*/ 278 w 586"/>
                <a:gd name="T35" fmla="*/ 47 h 656"/>
                <a:gd name="T36" fmla="*/ 291 w 586"/>
                <a:gd name="T37" fmla="*/ 21 h 656"/>
                <a:gd name="T38" fmla="*/ 292 w 586"/>
                <a:gd name="T39" fmla="*/ 18 h 656"/>
                <a:gd name="T40" fmla="*/ 295 w 586"/>
                <a:gd name="T41" fmla="*/ 16 h 656"/>
                <a:gd name="T42" fmla="*/ 298 w 586"/>
                <a:gd name="T43" fmla="*/ 14 h 656"/>
                <a:gd name="T44" fmla="*/ 302 w 586"/>
                <a:gd name="T45" fmla="*/ 13 h 656"/>
                <a:gd name="T46" fmla="*/ 572 w 586"/>
                <a:gd name="T47" fmla="*/ 0 h 656"/>
                <a:gd name="T48" fmla="*/ 576 w 586"/>
                <a:gd name="T49" fmla="*/ 0 h 656"/>
                <a:gd name="T50" fmla="*/ 579 w 586"/>
                <a:gd name="T51" fmla="*/ 1 h 656"/>
                <a:gd name="T52" fmla="*/ 582 w 586"/>
                <a:gd name="T53" fmla="*/ 4 h 656"/>
                <a:gd name="T54" fmla="*/ 585 w 586"/>
                <a:gd name="T55" fmla="*/ 7 h 656"/>
                <a:gd name="T56" fmla="*/ 586 w 586"/>
                <a:gd name="T57" fmla="*/ 10 h 656"/>
                <a:gd name="T58" fmla="*/ 586 w 586"/>
                <a:gd name="T59" fmla="*/ 15 h 656"/>
                <a:gd name="T60" fmla="*/ 585 w 586"/>
                <a:gd name="T61" fmla="*/ 18 h 656"/>
                <a:gd name="T62" fmla="*/ 582 w 586"/>
                <a:gd name="T63" fmla="*/ 21 h 656"/>
                <a:gd name="T64" fmla="*/ 112 w 586"/>
                <a:gd name="T65" fmla="*/ 552 h 656"/>
                <a:gd name="T66" fmla="*/ 79 w 586"/>
                <a:gd name="T67" fmla="*/ 589 h 656"/>
                <a:gd name="T68" fmla="*/ 55 w 586"/>
                <a:gd name="T69" fmla="*/ 616 h 656"/>
                <a:gd name="T70" fmla="*/ 38 w 586"/>
                <a:gd name="T71" fmla="*/ 634 h 656"/>
                <a:gd name="T72" fmla="*/ 27 w 586"/>
                <a:gd name="T73" fmla="*/ 646 h 656"/>
                <a:gd name="T74" fmla="*/ 26 w 586"/>
                <a:gd name="T75" fmla="*/ 648 h 656"/>
                <a:gd name="T76" fmla="*/ 25 w 586"/>
                <a:gd name="T77" fmla="*/ 648 h 656"/>
                <a:gd name="T78" fmla="*/ 25 w 586"/>
                <a:gd name="T79" fmla="*/ 648 h 656"/>
                <a:gd name="T80" fmla="*/ 21 w 586"/>
                <a:gd name="T81" fmla="*/ 652 h 656"/>
                <a:gd name="T82" fmla="*/ 18 w 586"/>
                <a:gd name="T83" fmla="*/ 654 h 656"/>
                <a:gd name="T84" fmla="*/ 15 w 586"/>
                <a:gd name="T85" fmla="*/ 655 h 656"/>
                <a:gd name="T86" fmla="*/ 13 w 586"/>
                <a:gd name="T87" fmla="*/ 656 h 656"/>
                <a:gd name="T88" fmla="*/ 311 w 586"/>
                <a:gd name="T89" fmla="*/ 40 h 656"/>
                <a:gd name="T90" fmla="*/ 311 w 586"/>
                <a:gd name="T91" fmla="*/ 40 h 656"/>
                <a:gd name="T92" fmla="*/ 263 w 586"/>
                <a:gd name="T93" fmla="*/ 143 h 656"/>
                <a:gd name="T94" fmla="*/ 221 w 586"/>
                <a:gd name="T95" fmla="*/ 234 h 656"/>
                <a:gd name="T96" fmla="*/ 183 w 586"/>
                <a:gd name="T97" fmla="*/ 313 h 656"/>
                <a:gd name="T98" fmla="*/ 152 w 586"/>
                <a:gd name="T99" fmla="*/ 382 h 656"/>
                <a:gd name="T100" fmla="*/ 123 w 586"/>
                <a:gd name="T101" fmla="*/ 440 h 656"/>
                <a:gd name="T102" fmla="*/ 101 w 586"/>
                <a:gd name="T103" fmla="*/ 490 h 656"/>
                <a:gd name="T104" fmla="*/ 81 w 586"/>
                <a:gd name="T105" fmla="*/ 530 h 656"/>
                <a:gd name="T106" fmla="*/ 66 w 586"/>
                <a:gd name="T107" fmla="*/ 563 h 656"/>
                <a:gd name="T108" fmla="*/ 119 w 586"/>
                <a:gd name="T109" fmla="*/ 504 h 656"/>
                <a:gd name="T110" fmla="*/ 182 w 586"/>
                <a:gd name="T111" fmla="*/ 434 h 656"/>
                <a:gd name="T112" fmla="*/ 250 w 586"/>
                <a:gd name="T113" fmla="*/ 356 h 656"/>
                <a:gd name="T114" fmla="*/ 320 w 586"/>
                <a:gd name="T115" fmla="*/ 276 h 656"/>
                <a:gd name="T116" fmla="*/ 389 w 586"/>
                <a:gd name="T117" fmla="*/ 199 h 656"/>
                <a:gd name="T118" fmla="*/ 451 w 586"/>
                <a:gd name="T119" fmla="*/ 129 h 656"/>
                <a:gd name="T120" fmla="*/ 504 w 586"/>
                <a:gd name="T121" fmla="*/ 71 h 656"/>
                <a:gd name="T122" fmla="*/ 541 w 586"/>
                <a:gd name="T123" fmla="*/ 28 h 656"/>
                <a:gd name="T124" fmla="*/ 311 w 586"/>
                <a:gd name="T125" fmla="*/ 4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6" h="656">
                  <a:moveTo>
                    <a:pt x="13" y="656"/>
                  </a:moveTo>
                  <a:lnTo>
                    <a:pt x="11" y="656"/>
                  </a:lnTo>
                  <a:lnTo>
                    <a:pt x="10" y="655"/>
                  </a:lnTo>
                  <a:lnTo>
                    <a:pt x="8" y="654"/>
                  </a:lnTo>
                  <a:lnTo>
                    <a:pt x="5" y="653"/>
                  </a:lnTo>
                  <a:lnTo>
                    <a:pt x="4" y="651"/>
                  </a:lnTo>
                  <a:lnTo>
                    <a:pt x="1" y="647"/>
                  </a:lnTo>
                  <a:lnTo>
                    <a:pt x="0" y="645"/>
                  </a:lnTo>
                  <a:lnTo>
                    <a:pt x="0" y="642"/>
                  </a:lnTo>
                  <a:lnTo>
                    <a:pt x="0" y="639"/>
                  </a:lnTo>
                  <a:lnTo>
                    <a:pt x="1" y="636"/>
                  </a:lnTo>
                  <a:lnTo>
                    <a:pt x="14" y="608"/>
                  </a:lnTo>
                  <a:lnTo>
                    <a:pt x="48" y="538"/>
                  </a:lnTo>
                  <a:lnTo>
                    <a:pt x="94" y="440"/>
                  </a:lnTo>
                  <a:lnTo>
                    <a:pt x="146" y="328"/>
                  </a:lnTo>
                  <a:lnTo>
                    <a:pt x="199" y="214"/>
                  </a:lnTo>
                  <a:lnTo>
                    <a:pt x="245" y="116"/>
                  </a:lnTo>
                  <a:lnTo>
                    <a:pt x="278" y="47"/>
                  </a:lnTo>
                  <a:lnTo>
                    <a:pt x="291" y="21"/>
                  </a:lnTo>
                  <a:lnTo>
                    <a:pt x="292" y="18"/>
                  </a:lnTo>
                  <a:lnTo>
                    <a:pt x="295" y="16"/>
                  </a:lnTo>
                  <a:lnTo>
                    <a:pt x="298" y="14"/>
                  </a:lnTo>
                  <a:lnTo>
                    <a:pt x="302" y="13"/>
                  </a:lnTo>
                  <a:lnTo>
                    <a:pt x="572" y="0"/>
                  </a:lnTo>
                  <a:lnTo>
                    <a:pt x="576" y="0"/>
                  </a:lnTo>
                  <a:lnTo>
                    <a:pt x="579" y="1"/>
                  </a:lnTo>
                  <a:lnTo>
                    <a:pt x="582" y="4"/>
                  </a:lnTo>
                  <a:lnTo>
                    <a:pt x="585" y="7"/>
                  </a:lnTo>
                  <a:lnTo>
                    <a:pt x="586" y="10"/>
                  </a:lnTo>
                  <a:lnTo>
                    <a:pt x="586" y="15"/>
                  </a:lnTo>
                  <a:lnTo>
                    <a:pt x="585" y="18"/>
                  </a:lnTo>
                  <a:lnTo>
                    <a:pt x="582" y="21"/>
                  </a:lnTo>
                  <a:lnTo>
                    <a:pt x="112" y="552"/>
                  </a:lnTo>
                  <a:lnTo>
                    <a:pt x="79" y="589"/>
                  </a:lnTo>
                  <a:lnTo>
                    <a:pt x="55" y="616"/>
                  </a:lnTo>
                  <a:lnTo>
                    <a:pt x="38" y="634"/>
                  </a:lnTo>
                  <a:lnTo>
                    <a:pt x="27" y="646"/>
                  </a:lnTo>
                  <a:lnTo>
                    <a:pt x="26" y="648"/>
                  </a:lnTo>
                  <a:lnTo>
                    <a:pt x="25" y="648"/>
                  </a:lnTo>
                  <a:lnTo>
                    <a:pt x="25" y="648"/>
                  </a:lnTo>
                  <a:lnTo>
                    <a:pt x="21" y="652"/>
                  </a:lnTo>
                  <a:lnTo>
                    <a:pt x="18" y="654"/>
                  </a:lnTo>
                  <a:lnTo>
                    <a:pt x="15" y="655"/>
                  </a:lnTo>
                  <a:lnTo>
                    <a:pt x="13" y="656"/>
                  </a:lnTo>
                  <a:close/>
                  <a:moveTo>
                    <a:pt x="311" y="40"/>
                  </a:moveTo>
                  <a:lnTo>
                    <a:pt x="311" y="40"/>
                  </a:lnTo>
                  <a:lnTo>
                    <a:pt x="263" y="143"/>
                  </a:lnTo>
                  <a:lnTo>
                    <a:pt x="221" y="234"/>
                  </a:lnTo>
                  <a:lnTo>
                    <a:pt x="183" y="313"/>
                  </a:lnTo>
                  <a:lnTo>
                    <a:pt x="152" y="382"/>
                  </a:lnTo>
                  <a:lnTo>
                    <a:pt x="123" y="440"/>
                  </a:lnTo>
                  <a:lnTo>
                    <a:pt x="101" y="490"/>
                  </a:lnTo>
                  <a:lnTo>
                    <a:pt x="81" y="530"/>
                  </a:lnTo>
                  <a:lnTo>
                    <a:pt x="66" y="563"/>
                  </a:lnTo>
                  <a:lnTo>
                    <a:pt x="119" y="504"/>
                  </a:lnTo>
                  <a:lnTo>
                    <a:pt x="182" y="434"/>
                  </a:lnTo>
                  <a:lnTo>
                    <a:pt x="250" y="356"/>
                  </a:lnTo>
                  <a:lnTo>
                    <a:pt x="320" y="276"/>
                  </a:lnTo>
                  <a:lnTo>
                    <a:pt x="389" y="199"/>
                  </a:lnTo>
                  <a:lnTo>
                    <a:pt x="451" y="129"/>
                  </a:lnTo>
                  <a:lnTo>
                    <a:pt x="504" y="71"/>
                  </a:lnTo>
                  <a:lnTo>
                    <a:pt x="541" y="28"/>
                  </a:lnTo>
                  <a:lnTo>
                    <a:pt x="311" y="4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208"/>
            <p:cNvSpPr>
              <a:spLocks noEditPoints="1"/>
            </p:cNvSpPr>
            <p:nvPr userDrawn="1"/>
          </p:nvSpPr>
          <p:spPr bwMode="auto">
            <a:xfrm>
              <a:off x="3238500" y="1865313"/>
              <a:ext cx="185738" cy="301625"/>
            </a:xfrm>
            <a:custGeom>
              <a:avLst/>
              <a:gdLst>
                <a:gd name="T0" fmla="*/ 62 w 352"/>
                <a:gd name="T1" fmla="*/ 570 h 570"/>
                <a:gd name="T2" fmla="*/ 61 w 352"/>
                <a:gd name="T3" fmla="*/ 570 h 570"/>
                <a:gd name="T4" fmla="*/ 60 w 352"/>
                <a:gd name="T5" fmla="*/ 570 h 570"/>
                <a:gd name="T6" fmla="*/ 57 w 352"/>
                <a:gd name="T7" fmla="*/ 569 h 570"/>
                <a:gd name="T8" fmla="*/ 52 w 352"/>
                <a:gd name="T9" fmla="*/ 567 h 570"/>
                <a:gd name="T10" fmla="*/ 50 w 352"/>
                <a:gd name="T11" fmla="*/ 564 h 570"/>
                <a:gd name="T12" fmla="*/ 49 w 352"/>
                <a:gd name="T13" fmla="*/ 561 h 570"/>
                <a:gd name="T14" fmla="*/ 1 w 352"/>
                <a:gd name="T15" fmla="*/ 376 h 570"/>
                <a:gd name="T16" fmla="*/ 0 w 352"/>
                <a:gd name="T17" fmla="*/ 373 h 570"/>
                <a:gd name="T18" fmla="*/ 1 w 352"/>
                <a:gd name="T19" fmla="*/ 370 h 570"/>
                <a:gd name="T20" fmla="*/ 3 w 352"/>
                <a:gd name="T21" fmla="*/ 366 h 570"/>
                <a:gd name="T22" fmla="*/ 5 w 352"/>
                <a:gd name="T23" fmla="*/ 364 h 570"/>
                <a:gd name="T24" fmla="*/ 329 w 352"/>
                <a:gd name="T25" fmla="*/ 5 h 570"/>
                <a:gd name="T26" fmla="*/ 332 w 352"/>
                <a:gd name="T27" fmla="*/ 1 h 570"/>
                <a:gd name="T28" fmla="*/ 337 w 352"/>
                <a:gd name="T29" fmla="*/ 0 h 570"/>
                <a:gd name="T30" fmla="*/ 342 w 352"/>
                <a:gd name="T31" fmla="*/ 0 h 570"/>
                <a:gd name="T32" fmla="*/ 346 w 352"/>
                <a:gd name="T33" fmla="*/ 3 h 570"/>
                <a:gd name="T34" fmla="*/ 349 w 352"/>
                <a:gd name="T35" fmla="*/ 6 h 570"/>
                <a:gd name="T36" fmla="*/ 351 w 352"/>
                <a:gd name="T37" fmla="*/ 10 h 570"/>
                <a:gd name="T38" fmla="*/ 352 w 352"/>
                <a:gd name="T39" fmla="*/ 15 h 570"/>
                <a:gd name="T40" fmla="*/ 350 w 352"/>
                <a:gd name="T41" fmla="*/ 20 h 570"/>
                <a:gd name="T42" fmla="*/ 74 w 352"/>
                <a:gd name="T43" fmla="*/ 563 h 570"/>
                <a:gd name="T44" fmla="*/ 72 w 352"/>
                <a:gd name="T45" fmla="*/ 566 h 570"/>
                <a:gd name="T46" fmla="*/ 68 w 352"/>
                <a:gd name="T47" fmla="*/ 568 h 570"/>
                <a:gd name="T48" fmla="*/ 65 w 352"/>
                <a:gd name="T49" fmla="*/ 570 h 570"/>
                <a:gd name="T50" fmla="*/ 62 w 352"/>
                <a:gd name="T51" fmla="*/ 570 h 570"/>
                <a:gd name="T52" fmla="*/ 30 w 352"/>
                <a:gd name="T53" fmla="*/ 376 h 570"/>
                <a:gd name="T54" fmla="*/ 30 w 352"/>
                <a:gd name="T55" fmla="*/ 376 h 570"/>
                <a:gd name="T56" fmla="*/ 66 w 352"/>
                <a:gd name="T57" fmla="*/ 520 h 570"/>
                <a:gd name="T58" fmla="*/ 280 w 352"/>
                <a:gd name="T59" fmla="*/ 99 h 570"/>
                <a:gd name="T60" fmla="*/ 30 w 352"/>
                <a:gd name="T61" fmla="*/ 37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2" h="570">
                  <a:moveTo>
                    <a:pt x="62" y="570"/>
                  </a:moveTo>
                  <a:lnTo>
                    <a:pt x="61" y="570"/>
                  </a:lnTo>
                  <a:lnTo>
                    <a:pt x="60" y="570"/>
                  </a:lnTo>
                  <a:lnTo>
                    <a:pt x="57" y="569"/>
                  </a:lnTo>
                  <a:lnTo>
                    <a:pt x="52" y="567"/>
                  </a:lnTo>
                  <a:lnTo>
                    <a:pt x="50" y="564"/>
                  </a:lnTo>
                  <a:lnTo>
                    <a:pt x="49" y="561"/>
                  </a:lnTo>
                  <a:lnTo>
                    <a:pt x="1" y="376"/>
                  </a:lnTo>
                  <a:lnTo>
                    <a:pt x="0" y="373"/>
                  </a:lnTo>
                  <a:lnTo>
                    <a:pt x="1" y="370"/>
                  </a:lnTo>
                  <a:lnTo>
                    <a:pt x="3" y="366"/>
                  </a:lnTo>
                  <a:lnTo>
                    <a:pt x="5" y="364"/>
                  </a:lnTo>
                  <a:lnTo>
                    <a:pt x="329" y="5"/>
                  </a:lnTo>
                  <a:lnTo>
                    <a:pt x="332" y="1"/>
                  </a:lnTo>
                  <a:lnTo>
                    <a:pt x="337" y="0"/>
                  </a:lnTo>
                  <a:lnTo>
                    <a:pt x="342" y="0"/>
                  </a:lnTo>
                  <a:lnTo>
                    <a:pt x="346" y="3"/>
                  </a:lnTo>
                  <a:lnTo>
                    <a:pt x="349" y="6"/>
                  </a:lnTo>
                  <a:lnTo>
                    <a:pt x="351" y="10"/>
                  </a:lnTo>
                  <a:lnTo>
                    <a:pt x="352" y="15"/>
                  </a:lnTo>
                  <a:lnTo>
                    <a:pt x="350" y="20"/>
                  </a:lnTo>
                  <a:lnTo>
                    <a:pt x="74" y="563"/>
                  </a:lnTo>
                  <a:lnTo>
                    <a:pt x="72" y="566"/>
                  </a:lnTo>
                  <a:lnTo>
                    <a:pt x="68" y="568"/>
                  </a:lnTo>
                  <a:lnTo>
                    <a:pt x="65" y="570"/>
                  </a:lnTo>
                  <a:lnTo>
                    <a:pt x="62" y="570"/>
                  </a:lnTo>
                  <a:close/>
                  <a:moveTo>
                    <a:pt x="30" y="376"/>
                  </a:moveTo>
                  <a:lnTo>
                    <a:pt x="30" y="376"/>
                  </a:lnTo>
                  <a:lnTo>
                    <a:pt x="66" y="520"/>
                  </a:lnTo>
                  <a:lnTo>
                    <a:pt x="280" y="99"/>
                  </a:lnTo>
                  <a:lnTo>
                    <a:pt x="30" y="376"/>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209"/>
            <p:cNvSpPr>
              <a:spLocks noEditPoints="1"/>
            </p:cNvSpPr>
            <p:nvPr userDrawn="1"/>
          </p:nvSpPr>
          <p:spPr bwMode="auto">
            <a:xfrm>
              <a:off x="3302000" y="2001838"/>
              <a:ext cx="257175" cy="387350"/>
            </a:xfrm>
            <a:custGeom>
              <a:avLst/>
              <a:gdLst>
                <a:gd name="T0" fmla="*/ 130 w 487"/>
                <a:gd name="T1" fmla="*/ 731 h 731"/>
                <a:gd name="T2" fmla="*/ 125 w 487"/>
                <a:gd name="T3" fmla="*/ 731 h 731"/>
                <a:gd name="T4" fmla="*/ 122 w 487"/>
                <a:gd name="T5" fmla="*/ 729 h 731"/>
                <a:gd name="T6" fmla="*/ 120 w 487"/>
                <a:gd name="T7" fmla="*/ 727 h 731"/>
                <a:gd name="T8" fmla="*/ 118 w 487"/>
                <a:gd name="T9" fmla="*/ 725 h 731"/>
                <a:gd name="T10" fmla="*/ 2 w 487"/>
                <a:gd name="T11" fmla="*/ 522 h 731"/>
                <a:gd name="T12" fmla="*/ 0 w 487"/>
                <a:gd name="T13" fmla="*/ 517 h 731"/>
                <a:gd name="T14" fmla="*/ 0 w 487"/>
                <a:gd name="T15" fmla="*/ 513 h 731"/>
                <a:gd name="T16" fmla="*/ 1 w 487"/>
                <a:gd name="T17" fmla="*/ 510 h 731"/>
                <a:gd name="T18" fmla="*/ 3 w 487"/>
                <a:gd name="T19" fmla="*/ 506 h 731"/>
                <a:gd name="T20" fmla="*/ 463 w 487"/>
                <a:gd name="T21" fmla="*/ 5 h 731"/>
                <a:gd name="T22" fmla="*/ 468 w 487"/>
                <a:gd name="T23" fmla="*/ 1 h 731"/>
                <a:gd name="T24" fmla="*/ 472 w 487"/>
                <a:gd name="T25" fmla="*/ 0 h 731"/>
                <a:gd name="T26" fmla="*/ 476 w 487"/>
                <a:gd name="T27" fmla="*/ 0 h 731"/>
                <a:gd name="T28" fmla="*/ 481 w 487"/>
                <a:gd name="T29" fmla="*/ 3 h 731"/>
                <a:gd name="T30" fmla="*/ 484 w 487"/>
                <a:gd name="T31" fmla="*/ 6 h 731"/>
                <a:gd name="T32" fmla="*/ 486 w 487"/>
                <a:gd name="T33" fmla="*/ 10 h 731"/>
                <a:gd name="T34" fmla="*/ 487 w 487"/>
                <a:gd name="T35" fmla="*/ 14 h 731"/>
                <a:gd name="T36" fmla="*/ 485 w 487"/>
                <a:gd name="T37" fmla="*/ 19 h 731"/>
                <a:gd name="T38" fmla="*/ 142 w 487"/>
                <a:gd name="T39" fmla="*/ 724 h 731"/>
                <a:gd name="T40" fmla="*/ 140 w 487"/>
                <a:gd name="T41" fmla="*/ 727 h 731"/>
                <a:gd name="T42" fmla="*/ 136 w 487"/>
                <a:gd name="T43" fmla="*/ 729 h 731"/>
                <a:gd name="T44" fmla="*/ 133 w 487"/>
                <a:gd name="T45" fmla="*/ 730 h 731"/>
                <a:gd name="T46" fmla="*/ 130 w 487"/>
                <a:gd name="T47" fmla="*/ 731 h 731"/>
                <a:gd name="T48" fmla="*/ 130 w 487"/>
                <a:gd name="T49" fmla="*/ 731 h 731"/>
                <a:gd name="T50" fmla="*/ 130 w 487"/>
                <a:gd name="T51" fmla="*/ 731 h 731"/>
                <a:gd name="T52" fmla="*/ 30 w 487"/>
                <a:gd name="T53" fmla="*/ 517 h 731"/>
                <a:gd name="T54" fmla="*/ 30 w 487"/>
                <a:gd name="T55" fmla="*/ 517 h 731"/>
                <a:gd name="T56" fmla="*/ 129 w 487"/>
                <a:gd name="T57" fmla="*/ 689 h 731"/>
                <a:gd name="T58" fmla="*/ 420 w 487"/>
                <a:gd name="T59" fmla="*/ 91 h 731"/>
                <a:gd name="T60" fmla="*/ 30 w 487"/>
                <a:gd name="T61" fmla="*/ 517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7" h="731">
                  <a:moveTo>
                    <a:pt x="130" y="731"/>
                  </a:moveTo>
                  <a:lnTo>
                    <a:pt x="125" y="731"/>
                  </a:lnTo>
                  <a:lnTo>
                    <a:pt x="122" y="729"/>
                  </a:lnTo>
                  <a:lnTo>
                    <a:pt x="120" y="727"/>
                  </a:lnTo>
                  <a:lnTo>
                    <a:pt x="118" y="725"/>
                  </a:lnTo>
                  <a:lnTo>
                    <a:pt x="2" y="522"/>
                  </a:lnTo>
                  <a:lnTo>
                    <a:pt x="0" y="517"/>
                  </a:lnTo>
                  <a:lnTo>
                    <a:pt x="0" y="513"/>
                  </a:lnTo>
                  <a:lnTo>
                    <a:pt x="1" y="510"/>
                  </a:lnTo>
                  <a:lnTo>
                    <a:pt x="3" y="506"/>
                  </a:lnTo>
                  <a:lnTo>
                    <a:pt x="463" y="5"/>
                  </a:lnTo>
                  <a:lnTo>
                    <a:pt x="468" y="1"/>
                  </a:lnTo>
                  <a:lnTo>
                    <a:pt x="472" y="0"/>
                  </a:lnTo>
                  <a:lnTo>
                    <a:pt x="476" y="0"/>
                  </a:lnTo>
                  <a:lnTo>
                    <a:pt x="481" y="3"/>
                  </a:lnTo>
                  <a:lnTo>
                    <a:pt x="484" y="6"/>
                  </a:lnTo>
                  <a:lnTo>
                    <a:pt x="486" y="10"/>
                  </a:lnTo>
                  <a:lnTo>
                    <a:pt x="487" y="14"/>
                  </a:lnTo>
                  <a:lnTo>
                    <a:pt x="485" y="19"/>
                  </a:lnTo>
                  <a:lnTo>
                    <a:pt x="142" y="724"/>
                  </a:lnTo>
                  <a:lnTo>
                    <a:pt x="140" y="727"/>
                  </a:lnTo>
                  <a:lnTo>
                    <a:pt x="136" y="729"/>
                  </a:lnTo>
                  <a:lnTo>
                    <a:pt x="133" y="730"/>
                  </a:lnTo>
                  <a:lnTo>
                    <a:pt x="130" y="731"/>
                  </a:lnTo>
                  <a:lnTo>
                    <a:pt x="130" y="731"/>
                  </a:lnTo>
                  <a:lnTo>
                    <a:pt x="130" y="731"/>
                  </a:lnTo>
                  <a:close/>
                  <a:moveTo>
                    <a:pt x="30" y="517"/>
                  </a:moveTo>
                  <a:lnTo>
                    <a:pt x="30" y="517"/>
                  </a:lnTo>
                  <a:lnTo>
                    <a:pt x="129" y="689"/>
                  </a:lnTo>
                  <a:lnTo>
                    <a:pt x="420" y="91"/>
                  </a:lnTo>
                  <a:lnTo>
                    <a:pt x="30" y="51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210"/>
            <p:cNvSpPr>
              <a:spLocks noEditPoints="1"/>
            </p:cNvSpPr>
            <p:nvPr userDrawn="1"/>
          </p:nvSpPr>
          <p:spPr bwMode="auto">
            <a:xfrm>
              <a:off x="3403600" y="2046288"/>
              <a:ext cx="303213" cy="447675"/>
            </a:xfrm>
            <a:custGeom>
              <a:avLst/>
              <a:gdLst>
                <a:gd name="T0" fmla="*/ 152 w 573"/>
                <a:gd name="T1" fmla="*/ 848 h 848"/>
                <a:gd name="T2" fmla="*/ 147 w 573"/>
                <a:gd name="T3" fmla="*/ 847 h 848"/>
                <a:gd name="T4" fmla="*/ 143 w 573"/>
                <a:gd name="T5" fmla="*/ 845 h 848"/>
                <a:gd name="T6" fmla="*/ 5 w 573"/>
                <a:gd name="T7" fmla="*/ 727 h 848"/>
                <a:gd name="T8" fmla="*/ 1 w 573"/>
                <a:gd name="T9" fmla="*/ 723 h 848"/>
                <a:gd name="T10" fmla="*/ 0 w 573"/>
                <a:gd name="T11" fmla="*/ 719 h 848"/>
                <a:gd name="T12" fmla="*/ 0 w 573"/>
                <a:gd name="T13" fmla="*/ 715 h 848"/>
                <a:gd name="T14" fmla="*/ 1 w 573"/>
                <a:gd name="T15" fmla="*/ 711 h 848"/>
                <a:gd name="T16" fmla="*/ 11 w 573"/>
                <a:gd name="T17" fmla="*/ 695 h 848"/>
                <a:gd name="T18" fmla="*/ 31 w 573"/>
                <a:gd name="T19" fmla="*/ 668 h 848"/>
                <a:gd name="T20" fmla="*/ 59 w 573"/>
                <a:gd name="T21" fmla="*/ 630 h 848"/>
                <a:gd name="T22" fmla="*/ 93 w 573"/>
                <a:gd name="T23" fmla="*/ 583 h 848"/>
                <a:gd name="T24" fmla="*/ 179 w 573"/>
                <a:gd name="T25" fmla="*/ 473 h 848"/>
                <a:gd name="T26" fmla="*/ 276 w 573"/>
                <a:gd name="T27" fmla="*/ 349 h 848"/>
                <a:gd name="T28" fmla="*/ 372 w 573"/>
                <a:gd name="T29" fmla="*/ 227 h 848"/>
                <a:gd name="T30" fmla="*/ 457 w 573"/>
                <a:gd name="T31" fmla="*/ 120 h 848"/>
                <a:gd name="T32" fmla="*/ 520 w 573"/>
                <a:gd name="T33" fmla="*/ 41 h 848"/>
                <a:gd name="T34" fmla="*/ 548 w 573"/>
                <a:gd name="T35" fmla="*/ 5 h 848"/>
                <a:gd name="T36" fmla="*/ 552 w 573"/>
                <a:gd name="T37" fmla="*/ 2 h 848"/>
                <a:gd name="T38" fmla="*/ 556 w 573"/>
                <a:gd name="T39" fmla="*/ 0 h 848"/>
                <a:gd name="T40" fmla="*/ 562 w 573"/>
                <a:gd name="T41" fmla="*/ 0 h 848"/>
                <a:gd name="T42" fmla="*/ 566 w 573"/>
                <a:gd name="T43" fmla="*/ 3 h 848"/>
                <a:gd name="T44" fmla="*/ 569 w 573"/>
                <a:gd name="T45" fmla="*/ 6 h 848"/>
                <a:gd name="T46" fmla="*/ 572 w 573"/>
                <a:gd name="T47" fmla="*/ 10 h 848"/>
                <a:gd name="T48" fmla="*/ 573 w 573"/>
                <a:gd name="T49" fmla="*/ 15 h 848"/>
                <a:gd name="T50" fmla="*/ 571 w 573"/>
                <a:gd name="T51" fmla="*/ 20 h 848"/>
                <a:gd name="T52" fmla="*/ 163 w 573"/>
                <a:gd name="T53" fmla="*/ 840 h 848"/>
                <a:gd name="T54" fmla="*/ 162 w 573"/>
                <a:gd name="T55" fmla="*/ 842 h 848"/>
                <a:gd name="T56" fmla="*/ 160 w 573"/>
                <a:gd name="T57" fmla="*/ 845 h 848"/>
                <a:gd name="T58" fmla="*/ 157 w 573"/>
                <a:gd name="T59" fmla="*/ 846 h 848"/>
                <a:gd name="T60" fmla="*/ 154 w 573"/>
                <a:gd name="T61" fmla="*/ 847 h 848"/>
                <a:gd name="T62" fmla="*/ 153 w 573"/>
                <a:gd name="T63" fmla="*/ 848 h 848"/>
                <a:gd name="T64" fmla="*/ 152 w 573"/>
                <a:gd name="T65" fmla="*/ 848 h 848"/>
                <a:gd name="T66" fmla="*/ 31 w 573"/>
                <a:gd name="T67" fmla="*/ 713 h 848"/>
                <a:gd name="T68" fmla="*/ 31 w 573"/>
                <a:gd name="T69" fmla="*/ 713 h 848"/>
                <a:gd name="T70" fmla="*/ 147 w 573"/>
                <a:gd name="T71" fmla="*/ 812 h 848"/>
                <a:gd name="T72" fmla="*/ 491 w 573"/>
                <a:gd name="T73" fmla="*/ 121 h 848"/>
                <a:gd name="T74" fmla="*/ 426 w 573"/>
                <a:gd name="T75" fmla="*/ 202 h 848"/>
                <a:gd name="T76" fmla="*/ 356 w 573"/>
                <a:gd name="T77" fmla="*/ 291 h 848"/>
                <a:gd name="T78" fmla="*/ 284 w 573"/>
                <a:gd name="T79" fmla="*/ 382 h 848"/>
                <a:gd name="T80" fmla="*/ 215 w 573"/>
                <a:gd name="T81" fmla="*/ 470 h 848"/>
                <a:gd name="T82" fmla="*/ 152 w 573"/>
                <a:gd name="T83" fmla="*/ 552 h 848"/>
                <a:gd name="T84" fmla="*/ 98 w 573"/>
                <a:gd name="T85" fmla="*/ 622 h 848"/>
                <a:gd name="T86" fmla="*/ 55 w 573"/>
                <a:gd name="T87" fmla="*/ 678 h 848"/>
                <a:gd name="T88" fmla="*/ 31 w 573"/>
                <a:gd name="T89" fmla="*/ 71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3" h="848">
                  <a:moveTo>
                    <a:pt x="152" y="848"/>
                  </a:moveTo>
                  <a:lnTo>
                    <a:pt x="147" y="847"/>
                  </a:lnTo>
                  <a:lnTo>
                    <a:pt x="143" y="845"/>
                  </a:lnTo>
                  <a:lnTo>
                    <a:pt x="5" y="727"/>
                  </a:lnTo>
                  <a:lnTo>
                    <a:pt x="1" y="723"/>
                  </a:lnTo>
                  <a:lnTo>
                    <a:pt x="0" y="719"/>
                  </a:lnTo>
                  <a:lnTo>
                    <a:pt x="0" y="715"/>
                  </a:lnTo>
                  <a:lnTo>
                    <a:pt x="1" y="711"/>
                  </a:lnTo>
                  <a:lnTo>
                    <a:pt x="11" y="695"/>
                  </a:lnTo>
                  <a:lnTo>
                    <a:pt x="31" y="668"/>
                  </a:lnTo>
                  <a:lnTo>
                    <a:pt x="59" y="630"/>
                  </a:lnTo>
                  <a:lnTo>
                    <a:pt x="93" y="583"/>
                  </a:lnTo>
                  <a:lnTo>
                    <a:pt x="179" y="473"/>
                  </a:lnTo>
                  <a:lnTo>
                    <a:pt x="276" y="349"/>
                  </a:lnTo>
                  <a:lnTo>
                    <a:pt x="372" y="227"/>
                  </a:lnTo>
                  <a:lnTo>
                    <a:pt x="457" y="120"/>
                  </a:lnTo>
                  <a:lnTo>
                    <a:pt x="520" y="41"/>
                  </a:lnTo>
                  <a:lnTo>
                    <a:pt x="548" y="5"/>
                  </a:lnTo>
                  <a:lnTo>
                    <a:pt x="552" y="2"/>
                  </a:lnTo>
                  <a:lnTo>
                    <a:pt x="556" y="0"/>
                  </a:lnTo>
                  <a:lnTo>
                    <a:pt x="562" y="0"/>
                  </a:lnTo>
                  <a:lnTo>
                    <a:pt x="566" y="3"/>
                  </a:lnTo>
                  <a:lnTo>
                    <a:pt x="569" y="6"/>
                  </a:lnTo>
                  <a:lnTo>
                    <a:pt x="572" y="10"/>
                  </a:lnTo>
                  <a:lnTo>
                    <a:pt x="573" y="15"/>
                  </a:lnTo>
                  <a:lnTo>
                    <a:pt x="571" y="20"/>
                  </a:lnTo>
                  <a:lnTo>
                    <a:pt x="163" y="840"/>
                  </a:lnTo>
                  <a:lnTo>
                    <a:pt x="162" y="842"/>
                  </a:lnTo>
                  <a:lnTo>
                    <a:pt x="160" y="845"/>
                  </a:lnTo>
                  <a:lnTo>
                    <a:pt x="157" y="846"/>
                  </a:lnTo>
                  <a:lnTo>
                    <a:pt x="154" y="847"/>
                  </a:lnTo>
                  <a:lnTo>
                    <a:pt x="153" y="848"/>
                  </a:lnTo>
                  <a:lnTo>
                    <a:pt x="152" y="848"/>
                  </a:lnTo>
                  <a:close/>
                  <a:moveTo>
                    <a:pt x="31" y="713"/>
                  </a:moveTo>
                  <a:lnTo>
                    <a:pt x="31" y="713"/>
                  </a:lnTo>
                  <a:lnTo>
                    <a:pt x="147" y="812"/>
                  </a:lnTo>
                  <a:lnTo>
                    <a:pt x="491" y="121"/>
                  </a:lnTo>
                  <a:lnTo>
                    <a:pt x="426" y="202"/>
                  </a:lnTo>
                  <a:lnTo>
                    <a:pt x="356" y="291"/>
                  </a:lnTo>
                  <a:lnTo>
                    <a:pt x="284" y="382"/>
                  </a:lnTo>
                  <a:lnTo>
                    <a:pt x="215" y="470"/>
                  </a:lnTo>
                  <a:lnTo>
                    <a:pt x="152" y="552"/>
                  </a:lnTo>
                  <a:lnTo>
                    <a:pt x="98" y="622"/>
                  </a:lnTo>
                  <a:lnTo>
                    <a:pt x="55" y="678"/>
                  </a:lnTo>
                  <a:lnTo>
                    <a:pt x="31" y="71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211"/>
            <p:cNvSpPr>
              <a:spLocks noEditPoints="1"/>
            </p:cNvSpPr>
            <p:nvPr userDrawn="1"/>
          </p:nvSpPr>
          <p:spPr bwMode="auto">
            <a:xfrm>
              <a:off x="3848100" y="1944688"/>
              <a:ext cx="306388" cy="404813"/>
            </a:xfrm>
            <a:custGeom>
              <a:avLst/>
              <a:gdLst>
                <a:gd name="T0" fmla="*/ 14 w 579"/>
                <a:gd name="T1" fmla="*/ 765 h 765"/>
                <a:gd name="T2" fmla="*/ 14 w 579"/>
                <a:gd name="T3" fmla="*/ 765 h 765"/>
                <a:gd name="T4" fmla="*/ 14 w 579"/>
                <a:gd name="T5" fmla="*/ 765 h 765"/>
                <a:gd name="T6" fmla="*/ 9 w 579"/>
                <a:gd name="T7" fmla="*/ 764 h 765"/>
                <a:gd name="T8" fmla="*/ 6 w 579"/>
                <a:gd name="T9" fmla="*/ 763 h 765"/>
                <a:gd name="T10" fmla="*/ 3 w 579"/>
                <a:gd name="T11" fmla="*/ 760 h 765"/>
                <a:gd name="T12" fmla="*/ 1 w 579"/>
                <a:gd name="T13" fmla="*/ 757 h 765"/>
                <a:gd name="T14" fmla="*/ 0 w 579"/>
                <a:gd name="T15" fmla="*/ 752 h 765"/>
                <a:gd name="T16" fmla="*/ 2 w 579"/>
                <a:gd name="T17" fmla="*/ 746 h 765"/>
                <a:gd name="T18" fmla="*/ 2 w 579"/>
                <a:gd name="T19" fmla="*/ 746 h 765"/>
                <a:gd name="T20" fmla="*/ 2 w 579"/>
                <a:gd name="T21" fmla="*/ 744 h 765"/>
                <a:gd name="T22" fmla="*/ 3 w 579"/>
                <a:gd name="T23" fmla="*/ 744 h 765"/>
                <a:gd name="T24" fmla="*/ 3 w 579"/>
                <a:gd name="T25" fmla="*/ 744 h 765"/>
                <a:gd name="T26" fmla="*/ 214 w 579"/>
                <a:gd name="T27" fmla="*/ 333 h 765"/>
                <a:gd name="T28" fmla="*/ 215 w 579"/>
                <a:gd name="T29" fmla="*/ 332 h 765"/>
                <a:gd name="T30" fmla="*/ 217 w 579"/>
                <a:gd name="T31" fmla="*/ 330 h 765"/>
                <a:gd name="T32" fmla="*/ 557 w 579"/>
                <a:gd name="T33" fmla="*/ 5 h 765"/>
                <a:gd name="T34" fmla="*/ 561 w 579"/>
                <a:gd name="T35" fmla="*/ 2 h 765"/>
                <a:gd name="T36" fmla="*/ 566 w 579"/>
                <a:gd name="T37" fmla="*/ 0 h 765"/>
                <a:gd name="T38" fmla="*/ 571 w 579"/>
                <a:gd name="T39" fmla="*/ 2 h 765"/>
                <a:gd name="T40" fmla="*/ 575 w 579"/>
                <a:gd name="T41" fmla="*/ 4 h 765"/>
                <a:gd name="T42" fmla="*/ 578 w 579"/>
                <a:gd name="T43" fmla="*/ 8 h 765"/>
                <a:gd name="T44" fmla="*/ 579 w 579"/>
                <a:gd name="T45" fmla="*/ 12 h 765"/>
                <a:gd name="T46" fmla="*/ 579 w 579"/>
                <a:gd name="T47" fmla="*/ 18 h 765"/>
                <a:gd name="T48" fmla="*/ 577 w 579"/>
                <a:gd name="T49" fmla="*/ 22 h 765"/>
                <a:gd name="T50" fmla="*/ 553 w 579"/>
                <a:gd name="T51" fmla="*/ 54 h 765"/>
                <a:gd name="T52" fmla="*/ 493 w 579"/>
                <a:gd name="T53" fmla="*/ 134 h 765"/>
                <a:gd name="T54" fmla="*/ 408 w 579"/>
                <a:gd name="T55" fmla="*/ 247 h 765"/>
                <a:gd name="T56" fmla="*/ 309 w 579"/>
                <a:gd name="T57" fmla="*/ 376 h 765"/>
                <a:gd name="T58" fmla="*/ 211 w 579"/>
                <a:gd name="T59" fmla="*/ 508 h 765"/>
                <a:gd name="T60" fmla="*/ 123 w 579"/>
                <a:gd name="T61" fmla="*/ 626 h 765"/>
                <a:gd name="T62" fmla="*/ 57 w 579"/>
                <a:gd name="T63" fmla="*/ 713 h 765"/>
                <a:gd name="T64" fmla="*/ 25 w 579"/>
                <a:gd name="T65" fmla="*/ 757 h 765"/>
                <a:gd name="T66" fmla="*/ 23 w 579"/>
                <a:gd name="T67" fmla="*/ 760 h 765"/>
                <a:gd name="T68" fmla="*/ 21 w 579"/>
                <a:gd name="T69" fmla="*/ 763 h 765"/>
                <a:gd name="T70" fmla="*/ 17 w 579"/>
                <a:gd name="T71" fmla="*/ 764 h 765"/>
                <a:gd name="T72" fmla="*/ 14 w 579"/>
                <a:gd name="T73" fmla="*/ 765 h 765"/>
                <a:gd name="T74" fmla="*/ 237 w 579"/>
                <a:gd name="T75" fmla="*/ 348 h 765"/>
                <a:gd name="T76" fmla="*/ 237 w 579"/>
                <a:gd name="T77" fmla="*/ 348 h 765"/>
                <a:gd name="T78" fmla="*/ 105 w 579"/>
                <a:gd name="T79" fmla="*/ 603 h 765"/>
                <a:gd name="T80" fmla="*/ 145 w 579"/>
                <a:gd name="T81" fmla="*/ 550 h 765"/>
                <a:gd name="T82" fmla="*/ 187 w 579"/>
                <a:gd name="T83" fmla="*/ 493 h 765"/>
                <a:gd name="T84" fmla="*/ 233 w 579"/>
                <a:gd name="T85" fmla="*/ 433 h 765"/>
                <a:gd name="T86" fmla="*/ 279 w 579"/>
                <a:gd name="T87" fmla="*/ 371 h 765"/>
                <a:gd name="T88" fmla="*/ 326 w 579"/>
                <a:gd name="T89" fmla="*/ 309 h 765"/>
                <a:gd name="T90" fmla="*/ 371 w 579"/>
                <a:gd name="T91" fmla="*/ 250 h 765"/>
                <a:gd name="T92" fmla="*/ 414 w 579"/>
                <a:gd name="T93" fmla="*/ 193 h 765"/>
                <a:gd name="T94" fmla="*/ 453 w 579"/>
                <a:gd name="T95" fmla="*/ 141 h 765"/>
                <a:gd name="T96" fmla="*/ 237 w 579"/>
                <a:gd name="T97" fmla="*/ 348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9" h="765">
                  <a:moveTo>
                    <a:pt x="14" y="765"/>
                  </a:moveTo>
                  <a:lnTo>
                    <a:pt x="14" y="765"/>
                  </a:lnTo>
                  <a:lnTo>
                    <a:pt x="14" y="765"/>
                  </a:lnTo>
                  <a:lnTo>
                    <a:pt x="9" y="764"/>
                  </a:lnTo>
                  <a:lnTo>
                    <a:pt x="6" y="763"/>
                  </a:lnTo>
                  <a:lnTo>
                    <a:pt x="3" y="760"/>
                  </a:lnTo>
                  <a:lnTo>
                    <a:pt x="1" y="757"/>
                  </a:lnTo>
                  <a:lnTo>
                    <a:pt x="0" y="752"/>
                  </a:lnTo>
                  <a:lnTo>
                    <a:pt x="2" y="746"/>
                  </a:lnTo>
                  <a:lnTo>
                    <a:pt x="2" y="746"/>
                  </a:lnTo>
                  <a:lnTo>
                    <a:pt x="2" y="744"/>
                  </a:lnTo>
                  <a:lnTo>
                    <a:pt x="3" y="744"/>
                  </a:lnTo>
                  <a:lnTo>
                    <a:pt x="3" y="744"/>
                  </a:lnTo>
                  <a:lnTo>
                    <a:pt x="214" y="333"/>
                  </a:lnTo>
                  <a:lnTo>
                    <a:pt x="215" y="332"/>
                  </a:lnTo>
                  <a:lnTo>
                    <a:pt x="217" y="330"/>
                  </a:lnTo>
                  <a:lnTo>
                    <a:pt x="557" y="5"/>
                  </a:lnTo>
                  <a:lnTo>
                    <a:pt x="561" y="2"/>
                  </a:lnTo>
                  <a:lnTo>
                    <a:pt x="566" y="0"/>
                  </a:lnTo>
                  <a:lnTo>
                    <a:pt x="571" y="2"/>
                  </a:lnTo>
                  <a:lnTo>
                    <a:pt x="575" y="4"/>
                  </a:lnTo>
                  <a:lnTo>
                    <a:pt x="578" y="8"/>
                  </a:lnTo>
                  <a:lnTo>
                    <a:pt x="579" y="12"/>
                  </a:lnTo>
                  <a:lnTo>
                    <a:pt x="579" y="18"/>
                  </a:lnTo>
                  <a:lnTo>
                    <a:pt x="577" y="22"/>
                  </a:lnTo>
                  <a:lnTo>
                    <a:pt x="553" y="54"/>
                  </a:lnTo>
                  <a:lnTo>
                    <a:pt x="493" y="134"/>
                  </a:lnTo>
                  <a:lnTo>
                    <a:pt x="408" y="247"/>
                  </a:lnTo>
                  <a:lnTo>
                    <a:pt x="309" y="376"/>
                  </a:lnTo>
                  <a:lnTo>
                    <a:pt x="211" y="508"/>
                  </a:lnTo>
                  <a:lnTo>
                    <a:pt x="123" y="626"/>
                  </a:lnTo>
                  <a:lnTo>
                    <a:pt x="57" y="713"/>
                  </a:lnTo>
                  <a:lnTo>
                    <a:pt x="25" y="757"/>
                  </a:lnTo>
                  <a:lnTo>
                    <a:pt x="23" y="760"/>
                  </a:lnTo>
                  <a:lnTo>
                    <a:pt x="21" y="763"/>
                  </a:lnTo>
                  <a:lnTo>
                    <a:pt x="17" y="764"/>
                  </a:lnTo>
                  <a:lnTo>
                    <a:pt x="14" y="765"/>
                  </a:lnTo>
                  <a:close/>
                  <a:moveTo>
                    <a:pt x="237" y="348"/>
                  </a:moveTo>
                  <a:lnTo>
                    <a:pt x="237" y="348"/>
                  </a:lnTo>
                  <a:lnTo>
                    <a:pt x="105" y="603"/>
                  </a:lnTo>
                  <a:lnTo>
                    <a:pt x="145" y="550"/>
                  </a:lnTo>
                  <a:lnTo>
                    <a:pt x="187" y="493"/>
                  </a:lnTo>
                  <a:lnTo>
                    <a:pt x="233" y="433"/>
                  </a:lnTo>
                  <a:lnTo>
                    <a:pt x="279" y="371"/>
                  </a:lnTo>
                  <a:lnTo>
                    <a:pt x="326" y="309"/>
                  </a:lnTo>
                  <a:lnTo>
                    <a:pt x="371" y="250"/>
                  </a:lnTo>
                  <a:lnTo>
                    <a:pt x="414" y="193"/>
                  </a:lnTo>
                  <a:lnTo>
                    <a:pt x="453" y="141"/>
                  </a:lnTo>
                  <a:lnTo>
                    <a:pt x="237" y="348"/>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212"/>
            <p:cNvSpPr>
              <a:spLocks noEditPoints="1"/>
            </p:cNvSpPr>
            <p:nvPr userDrawn="1"/>
          </p:nvSpPr>
          <p:spPr bwMode="auto">
            <a:xfrm>
              <a:off x="3675063" y="2117725"/>
              <a:ext cx="300038" cy="398463"/>
            </a:xfrm>
            <a:custGeom>
              <a:avLst/>
              <a:gdLst>
                <a:gd name="T0" fmla="*/ 13 w 567"/>
                <a:gd name="T1" fmla="*/ 752 h 752"/>
                <a:gd name="T2" fmla="*/ 9 w 567"/>
                <a:gd name="T3" fmla="*/ 751 h 752"/>
                <a:gd name="T4" fmla="*/ 5 w 567"/>
                <a:gd name="T5" fmla="*/ 749 h 752"/>
                <a:gd name="T6" fmla="*/ 3 w 567"/>
                <a:gd name="T7" fmla="*/ 746 h 752"/>
                <a:gd name="T8" fmla="*/ 1 w 567"/>
                <a:gd name="T9" fmla="*/ 744 h 752"/>
                <a:gd name="T10" fmla="*/ 0 w 567"/>
                <a:gd name="T11" fmla="*/ 741 h 752"/>
                <a:gd name="T12" fmla="*/ 0 w 567"/>
                <a:gd name="T13" fmla="*/ 739 h 752"/>
                <a:gd name="T14" fmla="*/ 1 w 567"/>
                <a:gd name="T15" fmla="*/ 735 h 752"/>
                <a:gd name="T16" fmla="*/ 9 w 567"/>
                <a:gd name="T17" fmla="*/ 722 h 752"/>
                <a:gd name="T18" fmla="*/ 28 w 567"/>
                <a:gd name="T19" fmla="*/ 691 h 752"/>
                <a:gd name="T20" fmla="*/ 68 w 567"/>
                <a:gd name="T21" fmla="*/ 636 h 752"/>
                <a:gd name="T22" fmla="*/ 133 w 567"/>
                <a:gd name="T23" fmla="*/ 549 h 752"/>
                <a:gd name="T24" fmla="*/ 229 w 567"/>
                <a:gd name="T25" fmla="*/ 419 h 752"/>
                <a:gd name="T26" fmla="*/ 364 w 567"/>
                <a:gd name="T27" fmla="*/ 241 h 752"/>
                <a:gd name="T28" fmla="*/ 543 w 567"/>
                <a:gd name="T29" fmla="*/ 5 h 752"/>
                <a:gd name="T30" fmla="*/ 547 w 567"/>
                <a:gd name="T31" fmla="*/ 2 h 752"/>
                <a:gd name="T32" fmla="*/ 552 w 567"/>
                <a:gd name="T33" fmla="*/ 0 h 752"/>
                <a:gd name="T34" fmla="*/ 556 w 567"/>
                <a:gd name="T35" fmla="*/ 0 h 752"/>
                <a:gd name="T36" fmla="*/ 561 w 567"/>
                <a:gd name="T37" fmla="*/ 2 h 752"/>
                <a:gd name="T38" fmla="*/ 565 w 567"/>
                <a:gd name="T39" fmla="*/ 5 h 752"/>
                <a:gd name="T40" fmla="*/ 567 w 567"/>
                <a:gd name="T41" fmla="*/ 9 h 752"/>
                <a:gd name="T42" fmla="*/ 567 w 567"/>
                <a:gd name="T43" fmla="*/ 15 h 752"/>
                <a:gd name="T44" fmla="*/ 566 w 567"/>
                <a:gd name="T45" fmla="*/ 19 h 752"/>
                <a:gd name="T46" fmla="*/ 263 w 567"/>
                <a:gd name="T47" fmla="*/ 714 h 752"/>
                <a:gd name="T48" fmla="*/ 261 w 567"/>
                <a:gd name="T49" fmla="*/ 717 h 752"/>
                <a:gd name="T50" fmla="*/ 258 w 567"/>
                <a:gd name="T51" fmla="*/ 719 h 752"/>
                <a:gd name="T52" fmla="*/ 255 w 567"/>
                <a:gd name="T53" fmla="*/ 722 h 752"/>
                <a:gd name="T54" fmla="*/ 252 w 567"/>
                <a:gd name="T55" fmla="*/ 723 h 752"/>
                <a:gd name="T56" fmla="*/ 15 w 567"/>
                <a:gd name="T57" fmla="*/ 752 h 752"/>
                <a:gd name="T58" fmla="*/ 14 w 567"/>
                <a:gd name="T59" fmla="*/ 752 h 752"/>
                <a:gd name="T60" fmla="*/ 13 w 567"/>
                <a:gd name="T61" fmla="*/ 752 h 752"/>
                <a:gd name="T62" fmla="*/ 497 w 567"/>
                <a:gd name="T63" fmla="*/ 112 h 752"/>
                <a:gd name="T64" fmla="*/ 497 w 567"/>
                <a:gd name="T65" fmla="*/ 112 h 752"/>
                <a:gd name="T66" fmla="*/ 428 w 567"/>
                <a:gd name="T67" fmla="*/ 202 h 752"/>
                <a:gd name="T68" fmla="*/ 358 w 567"/>
                <a:gd name="T69" fmla="*/ 295 h 752"/>
                <a:gd name="T70" fmla="*/ 288 w 567"/>
                <a:gd name="T71" fmla="*/ 387 h 752"/>
                <a:gd name="T72" fmla="*/ 222 w 567"/>
                <a:gd name="T73" fmla="*/ 474 h 752"/>
                <a:gd name="T74" fmla="*/ 162 w 567"/>
                <a:gd name="T75" fmla="*/ 554 h 752"/>
                <a:gd name="T76" fmla="*/ 109 w 567"/>
                <a:gd name="T77" fmla="*/ 624 h 752"/>
                <a:gd name="T78" fmla="*/ 68 w 567"/>
                <a:gd name="T79" fmla="*/ 682 h 752"/>
                <a:gd name="T80" fmla="*/ 39 w 567"/>
                <a:gd name="T81" fmla="*/ 722 h 752"/>
                <a:gd name="T82" fmla="*/ 241 w 567"/>
                <a:gd name="T83" fmla="*/ 697 h 752"/>
                <a:gd name="T84" fmla="*/ 497 w 567"/>
                <a:gd name="T85" fmla="*/ 11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752">
                  <a:moveTo>
                    <a:pt x="13" y="752"/>
                  </a:moveTo>
                  <a:lnTo>
                    <a:pt x="9" y="751"/>
                  </a:lnTo>
                  <a:lnTo>
                    <a:pt x="5" y="749"/>
                  </a:lnTo>
                  <a:lnTo>
                    <a:pt x="3" y="746"/>
                  </a:lnTo>
                  <a:lnTo>
                    <a:pt x="1" y="744"/>
                  </a:lnTo>
                  <a:lnTo>
                    <a:pt x="0" y="741"/>
                  </a:lnTo>
                  <a:lnTo>
                    <a:pt x="0" y="739"/>
                  </a:lnTo>
                  <a:lnTo>
                    <a:pt x="1" y="735"/>
                  </a:lnTo>
                  <a:lnTo>
                    <a:pt x="9" y="722"/>
                  </a:lnTo>
                  <a:lnTo>
                    <a:pt x="28" y="691"/>
                  </a:lnTo>
                  <a:lnTo>
                    <a:pt x="68" y="636"/>
                  </a:lnTo>
                  <a:lnTo>
                    <a:pt x="133" y="549"/>
                  </a:lnTo>
                  <a:lnTo>
                    <a:pt x="229" y="419"/>
                  </a:lnTo>
                  <a:lnTo>
                    <a:pt x="364" y="241"/>
                  </a:lnTo>
                  <a:lnTo>
                    <a:pt x="543" y="5"/>
                  </a:lnTo>
                  <a:lnTo>
                    <a:pt x="547" y="2"/>
                  </a:lnTo>
                  <a:lnTo>
                    <a:pt x="552" y="0"/>
                  </a:lnTo>
                  <a:lnTo>
                    <a:pt x="556" y="0"/>
                  </a:lnTo>
                  <a:lnTo>
                    <a:pt x="561" y="2"/>
                  </a:lnTo>
                  <a:lnTo>
                    <a:pt x="565" y="5"/>
                  </a:lnTo>
                  <a:lnTo>
                    <a:pt x="567" y="9"/>
                  </a:lnTo>
                  <a:lnTo>
                    <a:pt x="567" y="15"/>
                  </a:lnTo>
                  <a:lnTo>
                    <a:pt x="566" y="19"/>
                  </a:lnTo>
                  <a:lnTo>
                    <a:pt x="263" y="714"/>
                  </a:lnTo>
                  <a:lnTo>
                    <a:pt x="261" y="717"/>
                  </a:lnTo>
                  <a:lnTo>
                    <a:pt x="258" y="719"/>
                  </a:lnTo>
                  <a:lnTo>
                    <a:pt x="255" y="722"/>
                  </a:lnTo>
                  <a:lnTo>
                    <a:pt x="252" y="723"/>
                  </a:lnTo>
                  <a:lnTo>
                    <a:pt x="15" y="752"/>
                  </a:lnTo>
                  <a:lnTo>
                    <a:pt x="14" y="752"/>
                  </a:lnTo>
                  <a:lnTo>
                    <a:pt x="13" y="752"/>
                  </a:lnTo>
                  <a:close/>
                  <a:moveTo>
                    <a:pt x="497" y="112"/>
                  </a:moveTo>
                  <a:lnTo>
                    <a:pt x="497" y="112"/>
                  </a:lnTo>
                  <a:lnTo>
                    <a:pt x="428" y="202"/>
                  </a:lnTo>
                  <a:lnTo>
                    <a:pt x="358" y="295"/>
                  </a:lnTo>
                  <a:lnTo>
                    <a:pt x="288" y="387"/>
                  </a:lnTo>
                  <a:lnTo>
                    <a:pt x="222" y="474"/>
                  </a:lnTo>
                  <a:lnTo>
                    <a:pt x="162" y="554"/>
                  </a:lnTo>
                  <a:lnTo>
                    <a:pt x="109" y="624"/>
                  </a:lnTo>
                  <a:lnTo>
                    <a:pt x="68" y="682"/>
                  </a:lnTo>
                  <a:lnTo>
                    <a:pt x="39" y="722"/>
                  </a:lnTo>
                  <a:lnTo>
                    <a:pt x="241" y="697"/>
                  </a:lnTo>
                  <a:lnTo>
                    <a:pt x="497" y="112"/>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213"/>
            <p:cNvSpPr>
              <a:spLocks noEditPoints="1"/>
            </p:cNvSpPr>
            <p:nvPr userDrawn="1"/>
          </p:nvSpPr>
          <p:spPr bwMode="auto">
            <a:xfrm>
              <a:off x="3516313" y="2173288"/>
              <a:ext cx="393700" cy="320675"/>
            </a:xfrm>
            <a:custGeom>
              <a:avLst/>
              <a:gdLst>
                <a:gd name="T0" fmla="*/ 13 w 744"/>
                <a:gd name="T1" fmla="*/ 607 h 607"/>
                <a:gd name="T2" fmla="*/ 10 w 744"/>
                <a:gd name="T3" fmla="*/ 606 h 607"/>
                <a:gd name="T4" fmla="*/ 7 w 744"/>
                <a:gd name="T5" fmla="*/ 605 h 607"/>
                <a:gd name="T6" fmla="*/ 3 w 744"/>
                <a:gd name="T7" fmla="*/ 603 h 607"/>
                <a:gd name="T8" fmla="*/ 1 w 744"/>
                <a:gd name="T9" fmla="*/ 600 h 607"/>
                <a:gd name="T10" fmla="*/ 0 w 744"/>
                <a:gd name="T11" fmla="*/ 595 h 607"/>
                <a:gd name="T12" fmla="*/ 0 w 744"/>
                <a:gd name="T13" fmla="*/ 591 h 607"/>
                <a:gd name="T14" fmla="*/ 1 w 744"/>
                <a:gd name="T15" fmla="*/ 586 h 607"/>
                <a:gd name="T16" fmla="*/ 4 w 744"/>
                <a:gd name="T17" fmla="*/ 582 h 607"/>
                <a:gd name="T18" fmla="*/ 723 w 744"/>
                <a:gd name="T19" fmla="*/ 3 h 607"/>
                <a:gd name="T20" fmla="*/ 727 w 744"/>
                <a:gd name="T21" fmla="*/ 1 h 607"/>
                <a:gd name="T22" fmla="*/ 731 w 744"/>
                <a:gd name="T23" fmla="*/ 0 h 607"/>
                <a:gd name="T24" fmla="*/ 737 w 744"/>
                <a:gd name="T25" fmla="*/ 1 h 607"/>
                <a:gd name="T26" fmla="*/ 741 w 744"/>
                <a:gd name="T27" fmla="*/ 3 h 607"/>
                <a:gd name="T28" fmla="*/ 743 w 744"/>
                <a:gd name="T29" fmla="*/ 8 h 607"/>
                <a:gd name="T30" fmla="*/ 744 w 744"/>
                <a:gd name="T31" fmla="*/ 12 h 607"/>
                <a:gd name="T32" fmla="*/ 744 w 744"/>
                <a:gd name="T33" fmla="*/ 17 h 607"/>
                <a:gd name="T34" fmla="*/ 742 w 744"/>
                <a:gd name="T35" fmla="*/ 22 h 607"/>
                <a:gd name="T36" fmla="*/ 475 w 744"/>
                <a:gd name="T37" fmla="*/ 402 h 607"/>
                <a:gd name="T38" fmla="*/ 473 w 744"/>
                <a:gd name="T39" fmla="*/ 404 h 607"/>
                <a:gd name="T40" fmla="*/ 470 w 744"/>
                <a:gd name="T41" fmla="*/ 406 h 607"/>
                <a:gd name="T42" fmla="*/ 19 w 744"/>
                <a:gd name="T43" fmla="*/ 606 h 607"/>
                <a:gd name="T44" fmla="*/ 15 w 744"/>
                <a:gd name="T45" fmla="*/ 606 h 607"/>
                <a:gd name="T46" fmla="*/ 13 w 744"/>
                <a:gd name="T47" fmla="*/ 607 h 607"/>
                <a:gd name="T48" fmla="*/ 665 w 744"/>
                <a:gd name="T49" fmla="*/ 84 h 607"/>
                <a:gd name="T50" fmla="*/ 665 w 744"/>
                <a:gd name="T51" fmla="*/ 84 h 607"/>
                <a:gd name="T52" fmla="*/ 101 w 744"/>
                <a:gd name="T53" fmla="*/ 540 h 607"/>
                <a:gd name="T54" fmla="*/ 456 w 744"/>
                <a:gd name="T55" fmla="*/ 383 h 607"/>
                <a:gd name="T56" fmla="*/ 665 w 744"/>
                <a:gd name="T57" fmla="*/ 8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4" h="607">
                  <a:moveTo>
                    <a:pt x="13" y="607"/>
                  </a:moveTo>
                  <a:lnTo>
                    <a:pt x="10" y="606"/>
                  </a:lnTo>
                  <a:lnTo>
                    <a:pt x="7" y="605"/>
                  </a:lnTo>
                  <a:lnTo>
                    <a:pt x="3" y="603"/>
                  </a:lnTo>
                  <a:lnTo>
                    <a:pt x="1" y="600"/>
                  </a:lnTo>
                  <a:lnTo>
                    <a:pt x="0" y="595"/>
                  </a:lnTo>
                  <a:lnTo>
                    <a:pt x="0" y="591"/>
                  </a:lnTo>
                  <a:lnTo>
                    <a:pt x="1" y="586"/>
                  </a:lnTo>
                  <a:lnTo>
                    <a:pt x="4" y="582"/>
                  </a:lnTo>
                  <a:lnTo>
                    <a:pt x="723" y="3"/>
                  </a:lnTo>
                  <a:lnTo>
                    <a:pt x="727" y="1"/>
                  </a:lnTo>
                  <a:lnTo>
                    <a:pt x="731" y="0"/>
                  </a:lnTo>
                  <a:lnTo>
                    <a:pt x="737" y="1"/>
                  </a:lnTo>
                  <a:lnTo>
                    <a:pt x="741" y="3"/>
                  </a:lnTo>
                  <a:lnTo>
                    <a:pt x="743" y="8"/>
                  </a:lnTo>
                  <a:lnTo>
                    <a:pt x="744" y="12"/>
                  </a:lnTo>
                  <a:lnTo>
                    <a:pt x="744" y="17"/>
                  </a:lnTo>
                  <a:lnTo>
                    <a:pt x="742" y="22"/>
                  </a:lnTo>
                  <a:lnTo>
                    <a:pt x="475" y="402"/>
                  </a:lnTo>
                  <a:lnTo>
                    <a:pt x="473" y="404"/>
                  </a:lnTo>
                  <a:lnTo>
                    <a:pt x="470" y="406"/>
                  </a:lnTo>
                  <a:lnTo>
                    <a:pt x="19" y="606"/>
                  </a:lnTo>
                  <a:lnTo>
                    <a:pt x="15" y="606"/>
                  </a:lnTo>
                  <a:lnTo>
                    <a:pt x="13" y="607"/>
                  </a:lnTo>
                  <a:close/>
                  <a:moveTo>
                    <a:pt x="665" y="84"/>
                  </a:moveTo>
                  <a:lnTo>
                    <a:pt x="665" y="84"/>
                  </a:lnTo>
                  <a:lnTo>
                    <a:pt x="101" y="540"/>
                  </a:lnTo>
                  <a:lnTo>
                    <a:pt x="456" y="383"/>
                  </a:lnTo>
                  <a:lnTo>
                    <a:pt x="665" y="8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7" name="Freeform 214"/>
            <p:cNvSpPr>
              <a:spLocks noEditPoints="1"/>
            </p:cNvSpPr>
            <p:nvPr userDrawn="1"/>
          </p:nvSpPr>
          <p:spPr bwMode="auto">
            <a:xfrm>
              <a:off x="3692525" y="1847850"/>
              <a:ext cx="152400" cy="212725"/>
            </a:xfrm>
            <a:custGeom>
              <a:avLst/>
              <a:gdLst>
                <a:gd name="T0" fmla="*/ 13 w 288"/>
                <a:gd name="T1" fmla="*/ 400 h 400"/>
                <a:gd name="T2" fmla="*/ 9 w 288"/>
                <a:gd name="T3" fmla="*/ 399 h 400"/>
                <a:gd name="T4" fmla="*/ 7 w 288"/>
                <a:gd name="T5" fmla="*/ 399 h 400"/>
                <a:gd name="T6" fmla="*/ 3 w 288"/>
                <a:gd name="T7" fmla="*/ 396 h 400"/>
                <a:gd name="T8" fmla="*/ 1 w 288"/>
                <a:gd name="T9" fmla="*/ 392 h 400"/>
                <a:gd name="T10" fmla="*/ 0 w 288"/>
                <a:gd name="T11" fmla="*/ 388 h 400"/>
                <a:gd name="T12" fmla="*/ 0 w 288"/>
                <a:gd name="T13" fmla="*/ 383 h 400"/>
                <a:gd name="T14" fmla="*/ 111 w 288"/>
                <a:gd name="T15" fmla="*/ 10 h 400"/>
                <a:gd name="T16" fmla="*/ 113 w 288"/>
                <a:gd name="T17" fmla="*/ 5 h 400"/>
                <a:gd name="T18" fmla="*/ 116 w 288"/>
                <a:gd name="T19" fmla="*/ 2 h 400"/>
                <a:gd name="T20" fmla="*/ 120 w 288"/>
                <a:gd name="T21" fmla="*/ 0 h 400"/>
                <a:gd name="T22" fmla="*/ 124 w 288"/>
                <a:gd name="T23" fmla="*/ 0 h 400"/>
                <a:gd name="T24" fmla="*/ 275 w 288"/>
                <a:gd name="T25" fmla="*/ 5 h 400"/>
                <a:gd name="T26" fmla="*/ 279 w 288"/>
                <a:gd name="T27" fmla="*/ 6 h 400"/>
                <a:gd name="T28" fmla="*/ 283 w 288"/>
                <a:gd name="T29" fmla="*/ 8 h 400"/>
                <a:gd name="T30" fmla="*/ 285 w 288"/>
                <a:gd name="T31" fmla="*/ 10 h 400"/>
                <a:gd name="T32" fmla="*/ 287 w 288"/>
                <a:gd name="T33" fmla="*/ 13 h 400"/>
                <a:gd name="T34" fmla="*/ 288 w 288"/>
                <a:gd name="T35" fmla="*/ 16 h 400"/>
                <a:gd name="T36" fmla="*/ 288 w 288"/>
                <a:gd name="T37" fmla="*/ 20 h 400"/>
                <a:gd name="T38" fmla="*/ 288 w 288"/>
                <a:gd name="T39" fmla="*/ 24 h 400"/>
                <a:gd name="T40" fmla="*/ 286 w 288"/>
                <a:gd name="T41" fmla="*/ 27 h 400"/>
                <a:gd name="T42" fmla="*/ 23 w 288"/>
                <a:gd name="T43" fmla="*/ 395 h 400"/>
                <a:gd name="T44" fmla="*/ 21 w 288"/>
                <a:gd name="T45" fmla="*/ 397 h 400"/>
                <a:gd name="T46" fmla="*/ 19 w 288"/>
                <a:gd name="T47" fmla="*/ 398 h 400"/>
                <a:gd name="T48" fmla="*/ 16 w 288"/>
                <a:gd name="T49" fmla="*/ 399 h 400"/>
                <a:gd name="T50" fmla="*/ 13 w 288"/>
                <a:gd name="T51" fmla="*/ 400 h 400"/>
                <a:gd name="T52" fmla="*/ 134 w 288"/>
                <a:gd name="T53" fmla="*/ 27 h 400"/>
                <a:gd name="T54" fmla="*/ 134 w 288"/>
                <a:gd name="T55" fmla="*/ 27 h 400"/>
                <a:gd name="T56" fmla="*/ 48 w 288"/>
                <a:gd name="T57" fmla="*/ 313 h 400"/>
                <a:gd name="T58" fmla="*/ 249 w 288"/>
                <a:gd name="T59" fmla="*/ 31 h 400"/>
                <a:gd name="T60" fmla="*/ 134 w 288"/>
                <a:gd name="T61" fmla="*/ 2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400">
                  <a:moveTo>
                    <a:pt x="13" y="400"/>
                  </a:moveTo>
                  <a:lnTo>
                    <a:pt x="9" y="399"/>
                  </a:lnTo>
                  <a:lnTo>
                    <a:pt x="7" y="399"/>
                  </a:lnTo>
                  <a:lnTo>
                    <a:pt x="3" y="396"/>
                  </a:lnTo>
                  <a:lnTo>
                    <a:pt x="1" y="392"/>
                  </a:lnTo>
                  <a:lnTo>
                    <a:pt x="0" y="388"/>
                  </a:lnTo>
                  <a:lnTo>
                    <a:pt x="0" y="383"/>
                  </a:lnTo>
                  <a:lnTo>
                    <a:pt x="111" y="10"/>
                  </a:lnTo>
                  <a:lnTo>
                    <a:pt x="113" y="5"/>
                  </a:lnTo>
                  <a:lnTo>
                    <a:pt x="116" y="2"/>
                  </a:lnTo>
                  <a:lnTo>
                    <a:pt x="120" y="0"/>
                  </a:lnTo>
                  <a:lnTo>
                    <a:pt x="124" y="0"/>
                  </a:lnTo>
                  <a:lnTo>
                    <a:pt x="275" y="5"/>
                  </a:lnTo>
                  <a:lnTo>
                    <a:pt x="279" y="6"/>
                  </a:lnTo>
                  <a:lnTo>
                    <a:pt x="283" y="8"/>
                  </a:lnTo>
                  <a:lnTo>
                    <a:pt x="285" y="10"/>
                  </a:lnTo>
                  <a:lnTo>
                    <a:pt x="287" y="13"/>
                  </a:lnTo>
                  <a:lnTo>
                    <a:pt x="288" y="16"/>
                  </a:lnTo>
                  <a:lnTo>
                    <a:pt x="288" y="20"/>
                  </a:lnTo>
                  <a:lnTo>
                    <a:pt x="288" y="24"/>
                  </a:lnTo>
                  <a:lnTo>
                    <a:pt x="286" y="27"/>
                  </a:lnTo>
                  <a:lnTo>
                    <a:pt x="23" y="395"/>
                  </a:lnTo>
                  <a:lnTo>
                    <a:pt x="21" y="397"/>
                  </a:lnTo>
                  <a:lnTo>
                    <a:pt x="19" y="398"/>
                  </a:lnTo>
                  <a:lnTo>
                    <a:pt x="16" y="399"/>
                  </a:lnTo>
                  <a:lnTo>
                    <a:pt x="13" y="400"/>
                  </a:lnTo>
                  <a:close/>
                  <a:moveTo>
                    <a:pt x="134" y="27"/>
                  </a:moveTo>
                  <a:lnTo>
                    <a:pt x="134" y="27"/>
                  </a:lnTo>
                  <a:lnTo>
                    <a:pt x="48" y="313"/>
                  </a:lnTo>
                  <a:lnTo>
                    <a:pt x="249" y="31"/>
                  </a:lnTo>
                  <a:lnTo>
                    <a:pt x="134" y="2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215"/>
            <p:cNvSpPr>
              <a:spLocks noEditPoints="1"/>
            </p:cNvSpPr>
            <p:nvPr userDrawn="1"/>
          </p:nvSpPr>
          <p:spPr bwMode="auto">
            <a:xfrm>
              <a:off x="3998913" y="1905000"/>
              <a:ext cx="277813" cy="344488"/>
            </a:xfrm>
            <a:custGeom>
              <a:avLst/>
              <a:gdLst>
                <a:gd name="T0" fmla="*/ 12 w 525"/>
                <a:gd name="T1" fmla="*/ 652 h 652"/>
                <a:gd name="T2" fmla="*/ 8 w 525"/>
                <a:gd name="T3" fmla="*/ 652 h 652"/>
                <a:gd name="T4" fmla="*/ 5 w 525"/>
                <a:gd name="T5" fmla="*/ 650 h 652"/>
                <a:gd name="T6" fmla="*/ 2 w 525"/>
                <a:gd name="T7" fmla="*/ 646 h 652"/>
                <a:gd name="T8" fmla="*/ 0 w 525"/>
                <a:gd name="T9" fmla="*/ 642 h 652"/>
                <a:gd name="T10" fmla="*/ 0 w 525"/>
                <a:gd name="T11" fmla="*/ 638 h 652"/>
                <a:gd name="T12" fmla="*/ 1 w 525"/>
                <a:gd name="T13" fmla="*/ 632 h 652"/>
                <a:gd name="T14" fmla="*/ 308 w 525"/>
                <a:gd name="T15" fmla="*/ 7 h 652"/>
                <a:gd name="T16" fmla="*/ 312 w 525"/>
                <a:gd name="T17" fmla="*/ 3 h 652"/>
                <a:gd name="T18" fmla="*/ 315 w 525"/>
                <a:gd name="T19" fmla="*/ 1 h 652"/>
                <a:gd name="T20" fmla="*/ 320 w 525"/>
                <a:gd name="T21" fmla="*/ 0 h 652"/>
                <a:gd name="T22" fmla="*/ 325 w 525"/>
                <a:gd name="T23" fmla="*/ 0 h 652"/>
                <a:gd name="T24" fmla="*/ 334 w 525"/>
                <a:gd name="T25" fmla="*/ 3 h 652"/>
                <a:gd name="T26" fmla="*/ 356 w 525"/>
                <a:gd name="T27" fmla="*/ 9 h 652"/>
                <a:gd name="T28" fmla="*/ 385 w 525"/>
                <a:gd name="T29" fmla="*/ 18 h 652"/>
                <a:gd name="T30" fmla="*/ 418 w 525"/>
                <a:gd name="T31" fmla="*/ 28 h 652"/>
                <a:gd name="T32" fmla="*/ 452 w 525"/>
                <a:gd name="T33" fmla="*/ 39 h 652"/>
                <a:gd name="T34" fmla="*/ 482 w 525"/>
                <a:gd name="T35" fmla="*/ 47 h 652"/>
                <a:gd name="T36" fmla="*/ 505 w 525"/>
                <a:gd name="T37" fmla="*/ 54 h 652"/>
                <a:gd name="T38" fmla="*/ 517 w 525"/>
                <a:gd name="T39" fmla="*/ 58 h 652"/>
                <a:gd name="T40" fmla="*/ 519 w 525"/>
                <a:gd name="T41" fmla="*/ 59 h 652"/>
                <a:gd name="T42" fmla="*/ 522 w 525"/>
                <a:gd name="T43" fmla="*/ 61 h 652"/>
                <a:gd name="T44" fmla="*/ 523 w 525"/>
                <a:gd name="T45" fmla="*/ 65 h 652"/>
                <a:gd name="T46" fmla="*/ 525 w 525"/>
                <a:gd name="T47" fmla="*/ 67 h 652"/>
                <a:gd name="T48" fmla="*/ 525 w 525"/>
                <a:gd name="T49" fmla="*/ 71 h 652"/>
                <a:gd name="T50" fmla="*/ 525 w 525"/>
                <a:gd name="T51" fmla="*/ 74 h 652"/>
                <a:gd name="T52" fmla="*/ 524 w 525"/>
                <a:gd name="T53" fmla="*/ 76 h 652"/>
                <a:gd name="T54" fmla="*/ 522 w 525"/>
                <a:gd name="T55" fmla="*/ 80 h 652"/>
                <a:gd name="T56" fmla="*/ 22 w 525"/>
                <a:gd name="T57" fmla="*/ 647 h 652"/>
                <a:gd name="T58" fmla="*/ 20 w 525"/>
                <a:gd name="T59" fmla="*/ 650 h 652"/>
                <a:gd name="T60" fmla="*/ 18 w 525"/>
                <a:gd name="T61" fmla="*/ 651 h 652"/>
                <a:gd name="T62" fmla="*/ 16 w 525"/>
                <a:gd name="T63" fmla="*/ 652 h 652"/>
                <a:gd name="T64" fmla="*/ 12 w 525"/>
                <a:gd name="T65" fmla="*/ 652 h 652"/>
                <a:gd name="T66" fmla="*/ 328 w 525"/>
                <a:gd name="T67" fmla="*/ 29 h 652"/>
                <a:gd name="T68" fmla="*/ 328 w 525"/>
                <a:gd name="T69" fmla="*/ 29 h 652"/>
                <a:gd name="T70" fmla="*/ 70 w 525"/>
                <a:gd name="T71" fmla="*/ 552 h 652"/>
                <a:gd name="T72" fmla="*/ 488 w 525"/>
                <a:gd name="T73" fmla="*/ 77 h 652"/>
                <a:gd name="T74" fmla="*/ 453 w 525"/>
                <a:gd name="T75" fmla="*/ 67 h 652"/>
                <a:gd name="T76" fmla="*/ 410 w 525"/>
                <a:gd name="T77" fmla="*/ 54 h 652"/>
                <a:gd name="T78" fmla="*/ 366 w 525"/>
                <a:gd name="T79" fmla="*/ 41 h 652"/>
                <a:gd name="T80" fmla="*/ 328 w 525"/>
                <a:gd name="T81" fmla="*/ 2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5" h="652">
                  <a:moveTo>
                    <a:pt x="12" y="652"/>
                  </a:moveTo>
                  <a:lnTo>
                    <a:pt x="8" y="652"/>
                  </a:lnTo>
                  <a:lnTo>
                    <a:pt x="5" y="650"/>
                  </a:lnTo>
                  <a:lnTo>
                    <a:pt x="2" y="646"/>
                  </a:lnTo>
                  <a:lnTo>
                    <a:pt x="0" y="642"/>
                  </a:lnTo>
                  <a:lnTo>
                    <a:pt x="0" y="638"/>
                  </a:lnTo>
                  <a:lnTo>
                    <a:pt x="1" y="632"/>
                  </a:lnTo>
                  <a:lnTo>
                    <a:pt x="308" y="7"/>
                  </a:lnTo>
                  <a:lnTo>
                    <a:pt x="312" y="3"/>
                  </a:lnTo>
                  <a:lnTo>
                    <a:pt x="315" y="1"/>
                  </a:lnTo>
                  <a:lnTo>
                    <a:pt x="320" y="0"/>
                  </a:lnTo>
                  <a:lnTo>
                    <a:pt x="325" y="0"/>
                  </a:lnTo>
                  <a:lnTo>
                    <a:pt x="334" y="3"/>
                  </a:lnTo>
                  <a:lnTo>
                    <a:pt x="356" y="9"/>
                  </a:lnTo>
                  <a:lnTo>
                    <a:pt x="385" y="18"/>
                  </a:lnTo>
                  <a:lnTo>
                    <a:pt x="418" y="28"/>
                  </a:lnTo>
                  <a:lnTo>
                    <a:pt x="452" y="39"/>
                  </a:lnTo>
                  <a:lnTo>
                    <a:pt x="482" y="47"/>
                  </a:lnTo>
                  <a:lnTo>
                    <a:pt x="505" y="54"/>
                  </a:lnTo>
                  <a:lnTo>
                    <a:pt x="517" y="58"/>
                  </a:lnTo>
                  <a:lnTo>
                    <a:pt x="519" y="59"/>
                  </a:lnTo>
                  <a:lnTo>
                    <a:pt x="522" y="61"/>
                  </a:lnTo>
                  <a:lnTo>
                    <a:pt x="523" y="65"/>
                  </a:lnTo>
                  <a:lnTo>
                    <a:pt x="525" y="67"/>
                  </a:lnTo>
                  <a:lnTo>
                    <a:pt x="525" y="71"/>
                  </a:lnTo>
                  <a:lnTo>
                    <a:pt x="525" y="74"/>
                  </a:lnTo>
                  <a:lnTo>
                    <a:pt x="524" y="76"/>
                  </a:lnTo>
                  <a:lnTo>
                    <a:pt x="522" y="80"/>
                  </a:lnTo>
                  <a:lnTo>
                    <a:pt x="22" y="647"/>
                  </a:lnTo>
                  <a:lnTo>
                    <a:pt x="20" y="650"/>
                  </a:lnTo>
                  <a:lnTo>
                    <a:pt x="18" y="651"/>
                  </a:lnTo>
                  <a:lnTo>
                    <a:pt x="16" y="652"/>
                  </a:lnTo>
                  <a:lnTo>
                    <a:pt x="12" y="652"/>
                  </a:lnTo>
                  <a:close/>
                  <a:moveTo>
                    <a:pt x="328" y="29"/>
                  </a:moveTo>
                  <a:lnTo>
                    <a:pt x="328" y="29"/>
                  </a:lnTo>
                  <a:lnTo>
                    <a:pt x="70" y="552"/>
                  </a:lnTo>
                  <a:lnTo>
                    <a:pt x="488" y="77"/>
                  </a:lnTo>
                  <a:lnTo>
                    <a:pt x="453" y="67"/>
                  </a:lnTo>
                  <a:lnTo>
                    <a:pt x="410" y="54"/>
                  </a:lnTo>
                  <a:lnTo>
                    <a:pt x="366" y="41"/>
                  </a:lnTo>
                  <a:lnTo>
                    <a:pt x="328" y="2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216"/>
            <p:cNvSpPr>
              <a:spLocks noEditPoints="1"/>
            </p:cNvSpPr>
            <p:nvPr userDrawn="1"/>
          </p:nvSpPr>
          <p:spPr bwMode="auto">
            <a:xfrm>
              <a:off x="4137025" y="1978025"/>
              <a:ext cx="241300" cy="515938"/>
            </a:xfrm>
            <a:custGeom>
              <a:avLst/>
              <a:gdLst>
                <a:gd name="T0" fmla="*/ 13 w 456"/>
                <a:gd name="T1" fmla="*/ 976 h 976"/>
                <a:gd name="T2" fmla="*/ 12 w 456"/>
                <a:gd name="T3" fmla="*/ 975 h 976"/>
                <a:gd name="T4" fmla="*/ 10 w 456"/>
                <a:gd name="T5" fmla="*/ 975 h 976"/>
                <a:gd name="T6" fmla="*/ 5 w 456"/>
                <a:gd name="T7" fmla="*/ 973 h 976"/>
                <a:gd name="T8" fmla="*/ 2 w 456"/>
                <a:gd name="T9" fmla="*/ 969 h 976"/>
                <a:gd name="T10" fmla="*/ 0 w 456"/>
                <a:gd name="T11" fmla="*/ 965 h 976"/>
                <a:gd name="T12" fmla="*/ 0 w 456"/>
                <a:gd name="T13" fmla="*/ 961 h 976"/>
                <a:gd name="T14" fmla="*/ 76 w 456"/>
                <a:gd name="T15" fmla="*/ 207 h 976"/>
                <a:gd name="T16" fmla="*/ 77 w 456"/>
                <a:gd name="T17" fmla="*/ 204 h 976"/>
                <a:gd name="T18" fmla="*/ 78 w 456"/>
                <a:gd name="T19" fmla="*/ 202 h 976"/>
                <a:gd name="T20" fmla="*/ 80 w 456"/>
                <a:gd name="T21" fmla="*/ 199 h 976"/>
                <a:gd name="T22" fmla="*/ 83 w 456"/>
                <a:gd name="T23" fmla="*/ 198 h 976"/>
                <a:gd name="T24" fmla="*/ 436 w 456"/>
                <a:gd name="T25" fmla="*/ 2 h 976"/>
                <a:gd name="T26" fmla="*/ 440 w 456"/>
                <a:gd name="T27" fmla="*/ 0 h 976"/>
                <a:gd name="T28" fmla="*/ 444 w 456"/>
                <a:gd name="T29" fmla="*/ 0 h 976"/>
                <a:gd name="T30" fmla="*/ 448 w 456"/>
                <a:gd name="T31" fmla="*/ 1 h 976"/>
                <a:gd name="T32" fmla="*/ 451 w 456"/>
                <a:gd name="T33" fmla="*/ 3 h 976"/>
                <a:gd name="T34" fmla="*/ 455 w 456"/>
                <a:gd name="T35" fmla="*/ 6 h 976"/>
                <a:gd name="T36" fmla="*/ 456 w 456"/>
                <a:gd name="T37" fmla="*/ 11 h 976"/>
                <a:gd name="T38" fmla="*/ 456 w 456"/>
                <a:gd name="T39" fmla="*/ 15 h 976"/>
                <a:gd name="T40" fmla="*/ 455 w 456"/>
                <a:gd name="T41" fmla="*/ 19 h 976"/>
                <a:gd name="T42" fmla="*/ 26 w 456"/>
                <a:gd name="T43" fmla="*/ 967 h 976"/>
                <a:gd name="T44" fmla="*/ 24 w 456"/>
                <a:gd name="T45" fmla="*/ 970 h 976"/>
                <a:gd name="T46" fmla="*/ 20 w 456"/>
                <a:gd name="T47" fmla="*/ 974 h 976"/>
                <a:gd name="T48" fmla="*/ 17 w 456"/>
                <a:gd name="T49" fmla="*/ 975 h 976"/>
                <a:gd name="T50" fmla="*/ 13 w 456"/>
                <a:gd name="T51" fmla="*/ 976 h 976"/>
                <a:gd name="T52" fmla="*/ 101 w 456"/>
                <a:gd name="T53" fmla="*/ 217 h 976"/>
                <a:gd name="T54" fmla="*/ 101 w 456"/>
                <a:gd name="T55" fmla="*/ 217 h 976"/>
                <a:gd name="T56" fmla="*/ 34 w 456"/>
                <a:gd name="T57" fmla="*/ 881 h 976"/>
                <a:gd name="T58" fmla="*/ 413 w 456"/>
                <a:gd name="T59" fmla="*/ 45 h 976"/>
                <a:gd name="T60" fmla="*/ 101 w 456"/>
                <a:gd name="T61" fmla="*/ 217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6" h="976">
                  <a:moveTo>
                    <a:pt x="13" y="976"/>
                  </a:moveTo>
                  <a:lnTo>
                    <a:pt x="12" y="975"/>
                  </a:lnTo>
                  <a:lnTo>
                    <a:pt x="10" y="975"/>
                  </a:lnTo>
                  <a:lnTo>
                    <a:pt x="5" y="973"/>
                  </a:lnTo>
                  <a:lnTo>
                    <a:pt x="2" y="969"/>
                  </a:lnTo>
                  <a:lnTo>
                    <a:pt x="0" y="965"/>
                  </a:lnTo>
                  <a:lnTo>
                    <a:pt x="0" y="961"/>
                  </a:lnTo>
                  <a:lnTo>
                    <a:pt x="76" y="207"/>
                  </a:lnTo>
                  <a:lnTo>
                    <a:pt x="77" y="204"/>
                  </a:lnTo>
                  <a:lnTo>
                    <a:pt x="78" y="202"/>
                  </a:lnTo>
                  <a:lnTo>
                    <a:pt x="80" y="199"/>
                  </a:lnTo>
                  <a:lnTo>
                    <a:pt x="83" y="198"/>
                  </a:lnTo>
                  <a:lnTo>
                    <a:pt x="436" y="2"/>
                  </a:lnTo>
                  <a:lnTo>
                    <a:pt x="440" y="0"/>
                  </a:lnTo>
                  <a:lnTo>
                    <a:pt x="444" y="0"/>
                  </a:lnTo>
                  <a:lnTo>
                    <a:pt x="448" y="1"/>
                  </a:lnTo>
                  <a:lnTo>
                    <a:pt x="451" y="3"/>
                  </a:lnTo>
                  <a:lnTo>
                    <a:pt x="455" y="6"/>
                  </a:lnTo>
                  <a:lnTo>
                    <a:pt x="456" y="11"/>
                  </a:lnTo>
                  <a:lnTo>
                    <a:pt x="456" y="15"/>
                  </a:lnTo>
                  <a:lnTo>
                    <a:pt x="455" y="19"/>
                  </a:lnTo>
                  <a:lnTo>
                    <a:pt x="26" y="967"/>
                  </a:lnTo>
                  <a:lnTo>
                    <a:pt x="24" y="970"/>
                  </a:lnTo>
                  <a:lnTo>
                    <a:pt x="20" y="974"/>
                  </a:lnTo>
                  <a:lnTo>
                    <a:pt x="17" y="975"/>
                  </a:lnTo>
                  <a:lnTo>
                    <a:pt x="13" y="976"/>
                  </a:lnTo>
                  <a:close/>
                  <a:moveTo>
                    <a:pt x="101" y="217"/>
                  </a:moveTo>
                  <a:lnTo>
                    <a:pt x="101" y="217"/>
                  </a:lnTo>
                  <a:lnTo>
                    <a:pt x="34" y="881"/>
                  </a:lnTo>
                  <a:lnTo>
                    <a:pt x="413" y="45"/>
                  </a:lnTo>
                  <a:lnTo>
                    <a:pt x="101" y="21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0" name="Freeform 217"/>
            <p:cNvSpPr>
              <a:spLocks noEditPoints="1"/>
            </p:cNvSpPr>
            <p:nvPr userDrawn="1"/>
          </p:nvSpPr>
          <p:spPr bwMode="auto">
            <a:xfrm>
              <a:off x="3938588" y="2081213"/>
              <a:ext cx="254000" cy="419100"/>
            </a:xfrm>
            <a:custGeom>
              <a:avLst/>
              <a:gdLst>
                <a:gd name="T0" fmla="*/ 14 w 480"/>
                <a:gd name="T1" fmla="*/ 792 h 792"/>
                <a:gd name="T2" fmla="*/ 11 w 480"/>
                <a:gd name="T3" fmla="*/ 791 h 792"/>
                <a:gd name="T4" fmla="*/ 8 w 480"/>
                <a:gd name="T5" fmla="*/ 790 h 792"/>
                <a:gd name="T6" fmla="*/ 4 w 480"/>
                <a:gd name="T7" fmla="*/ 787 h 792"/>
                <a:gd name="T8" fmla="*/ 2 w 480"/>
                <a:gd name="T9" fmla="*/ 785 h 792"/>
                <a:gd name="T10" fmla="*/ 1 w 480"/>
                <a:gd name="T11" fmla="*/ 782 h 792"/>
                <a:gd name="T12" fmla="*/ 0 w 480"/>
                <a:gd name="T13" fmla="*/ 778 h 792"/>
                <a:gd name="T14" fmla="*/ 1 w 480"/>
                <a:gd name="T15" fmla="*/ 774 h 792"/>
                <a:gd name="T16" fmla="*/ 2 w 480"/>
                <a:gd name="T17" fmla="*/ 771 h 792"/>
                <a:gd name="T18" fmla="*/ 455 w 480"/>
                <a:gd name="T19" fmla="*/ 7 h 792"/>
                <a:gd name="T20" fmla="*/ 458 w 480"/>
                <a:gd name="T21" fmla="*/ 4 h 792"/>
                <a:gd name="T22" fmla="*/ 462 w 480"/>
                <a:gd name="T23" fmla="*/ 1 h 792"/>
                <a:gd name="T24" fmla="*/ 468 w 480"/>
                <a:gd name="T25" fmla="*/ 0 h 792"/>
                <a:gd name="T26" fmla="*/ 472 w 480"/>
                <a:gd name="T27" fmla="*/ 1 h 792"/>
                <a:gd name="T28" fmla="*/ 476 w 480"/>
                <a:gd name="T29" fmla="*/ 5 h 792"/>
                <a:gd name="T30" fmla="*/ 478 w 480"/>
                <a:gd name="T31" fmla="*/ 9 h 792"/>
                <a:gd name="T32" fmla="*/ 480 w 480"/>
                <a:gd name="T33" fmla="*/ 13 h 792"/>
                <a:gd name="T34" fmla="*/ 478 w 480"/>
                <a:gd name="T35" fmla="*/ 19 h 792"/>
                <a:gd name="T36" fmla="*/ 178 w 480"/>
                <a:gd name="T37" fmla="*/ 779 h 792"/>
                <a:gd name="T38" fmla="*/ 177 w 480"/>
                <a:gd name="T39" fmla="*/ 782 h 792"/>
                <a:gd name="T40" fmla="*/ 174 w 480"/>
                <a:gd name="T41" fmla="*/ 784 h 792"/>
                <a:gd name="T42" fmla="*/ 171 w 480"/>
                <a:gd name="T43" fmla="*/ 786 h 792"/>
                <a:gd name="T44" fmla="*/ 166 w 480"/>
                <a:gd name="T45" fmla="*/ 787 h 792"/>
                <a:gd name="T46" fmla="*/ 14 w 480"/>
                <a:gd name="T47" fmla="*/ 792 h 792"/>
                <a:gd name="T48" fmla="*/ 14 w 480"/>
                <a:gd name="T49" fmla="*/ 792 h 792"/>
                <a:gd name="T50" fmla="*/ 14 w 480"/>
                <a:gd name="T51" fmla="*/ 792 h 792"/>
                <a:gd name="T52" fmla="*/ 391 w 480"/>
                <a:gd name="T53" fmla="*/ 168 h 792"/>
                <a:gd name="T54" fmla="*/ 391 w 480"/>
                <a:gd name="T55" fmla="*/ 168 h 792"/>
                <a:gd name="T56" fmla="*/ 38 w 480"/>
                <a:gd name="T57" fmla="*/ 764 h 792"/>
                <a:gd name="T58" fmla="*/ 157 w 480"/>
                <a:gd name="T59" fmla="*/ 760 h 792"/>
                <a:gd name="T60" fmla="*/ 391 w 480"/>
                <a:gd name="T61" fmla="*/ 16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0" h="792">
                  <a:moveTo>
                    <a:pt x="14" y="792"/>
                  </a:moveTo>
                  <a:lnTo>
                    <a:pt x="11" y="791"/>
                  </a:lnTo>
                  <a:lnTo>
                    <a:pt x="8" y="790"/>
                  </a:lnTo>
                  <a:lnTo>
                    <a:pt x="4" y="787"/>
                  </a:lnTo>
                  <a:lnTo>
                    <a:pt x="2" y="785"/>
                  </a:lnTo>
                  <a:lnTo>
                    <a:pt x="1" y="782"/>
                  </a:lnTo>
                  <a:lnTo>
                    <a:pt x="0" y="778"/>
                  </a:lnTo>
                  <a:lnTo>
                    <a:pt x="1" y="774"/>
                  </a:lnTo>
                  <a:lnTo>
                    <a:pt x="2" y="771"/>
                  </a:lnTo>
                  <a:lnTo>
                    <a:pt x="455" y="7"/>
                  </a:lnTo>
                  <a:lnTo>
                    <a:pt x="458" y="4"/>
                  </a:lnTo>
                  <a:lnTo>
                    <a:pt x="462" y="1"/>
                  </a:lnTo>
                  <a:lnTo>
                    <a:pt x="468" y="0"/>
                  </a:lnTo>
                  <a:lnTo>
                    <a:pt x="472" y="1"/>
                  </a:lnTo>
                  <a:lnTo>
                    <a:pt x="476" y="5"/>
                  </a:lnTo>
                  <a:lnTo>
                    <a:pt x="478" y="9"/>
                  </a:lnTo>
                  <a:lnTo>
                    <a:pt x="480" y="13"/>
                  </a:lnTo>
                  <a:lnTo>
                    <a:pt x="478" y="19"/>
                  </a:lnTo>
                  <a:lnTo>
                    <a:pt x="178" y="779"/>
                  </a:lnTo>
                  <a:lnTo>
                    <a:pt x="177" y="782"/>
                  </a:lnTo>
                  <a:lnTo>
                    <a:pt x="174" y="784"/>
                  </a:lnTo>
                  <a:lnTo>
                    <a:pt x="171" y="786"/>
                  </a:lnTo>
                  <a:lnTo>
                    <a:pt x="166" y="787"/>
                  </a:lnTo>
                  <a:lnTo>
                    <a:pt x="14" y="792"/>
                  </a:lnTo>
                  <a:lnTo>
                    <a:pt x="14" y="792"/>
                  </a:lnTo>
                  <a:lnTo>
                    <a:pt x="14" y="792"/>
                  </a:lnTo>
                  <a:close/>
                  <a:moveTo>
                    <a:pt x="391" y="168"/>
                  </a:moveTo>
                  <a:lnTo>
                    <a:pt x="391" y="168"/>
                  </a:lnTo>
                  <a:lnTo>
                    <a:pt x="38" y="764"/>
                  </a:lnTo>
                  <a:lnTo>
                    <a:pt x="157" y="760"/>
                  </a:lnTo>
                  <a:lnTo>
                    <a:pt x="391" y="168"/>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218"/>
            <p:cNvSpPr>
              <a:spLocks noEditPoints="1"/>
            </p:cNvSpPr>
            <p:nvPr userDrawn="1"/>
          </p:nvSpPr>
          <p:spPr bwMode="auto">
            <a:xfrm>
              <a:off x="4137025" y="1978025"/>
              <a:ext cx="319088" cy="515938"/>
            </a:xfrm>
            <a:custGeom>
              <a:avLst/>
              <a:gdLst>
                <a:gd name="T0" fmla="*/ 13 w 602"/>
                <a:gd name="T1" fmla="*/ 976 h 976"/>
                <a:gd name="T2" fmla="*/ 10 w 602"/>
                <a:gd name="T3" fmla="*/ 975 h 976"/>
                <a:gd name="T4" fmla="*/ 6 w 602"/>
                <a:gd name="T5" fmla="*/ 974 h 976"/>
                <a:gd name="T6" fmla="*/ 2 w 602"/>
                <a:gd name="T7" fmla="*/ 970 h 976"/>
                <a:gd name="T8" fmla="*/ 0 w 602"/>
                <a:gd name="T9" fmla="*/ 966 h 976"/>
                <a:gd name="T10" fmla="*/ 0 w 602"/>
                <a:gd name="T11" fmla="*/ 962 h 976"/>
                <a:gd name="T12" fmla="*/ 1 w 602"/>
                <a:gd name="T13" fmla="*/ 956 h 976"/>
                <a:gd name="T14" fmla="*/ 431 w 602"/>
                <a:gd name="T15" fmla="*/ 8 h 976"/>
                <a:gd name="T16" fmla="*/ 432 w 602"/>
                <a:gd name="T17" fmla="*/ 5 h 976"/>
                <a:gd name="T18" fmla="*/ 434 w 602"/>
                <a:gd name="T19" fmla="*/ 3 h 976"/>
                <a:gd name="T20" fmla="*/ 436 w 602"/>
                <a:gd name="T21" fmla="*/ 2 h 976"/>
                <a:gd name="T22" fmla="*/ 438 w 602"/>
                <a:gd name="T23" fmla="*/ 1 h 976"/>
                <a:gd name="T24" fmla="*/ 442 w 602"/>
                <a:gd name="T25" fmla="*/ 0 h 976"/>
                <a:gd name="T26" fmla="*/ 444 w 602"/>
                <a:gd name="T27" fmla="*/ 0 h 976"/>
                <a:gd name="T28" fmla="*/ 447 w 602"/>
                <a:gd name="T29" fmla="*/ 1 h 976"/>
                <a:gd name="T30" fmla="*/ 449 w 602"/>
                <a:gd name="T31" fmla="*/ 2 h 976"/>
                <a:gd name="T32" fmla="*/ 596 w 602"/>
                <a:gd name="T33" fmla="*/ 91 h 976"/>
                <a:gd name="T34" fmla="*/ 598 w 602"/>
                <a:gd name="T35" fmla="*/ 92 h 976"/>
                <a:gd name="T36" fmla="*/ 600 w 602"/>
                <a:gd name="T37" fmla="*/ 94 h 976"/>
                <a:gd name="T38" fmla="*/ 601 w 602"/>
                <a:gd name="T39" fmla="*/ 96 h 976"/>
                <a:gd name="T40" fmla="*/ 602 w 602"/>
                <a:gd name="T41" fmla="*/ 99 h 976"/>
                <a:gd name="T42" fmla="*/ 602 w 602"/>
                <a:gd name="T43" fmla="*/ 101 h 976"/>
                <a:gd name="T44" fmla="*/ 602 w 602"/>
                <a:gd name="T45" fmla="*/ 105 h 976"/>
                <a:gd name="T46" fmla="*/ 601 w 602"/>
                <a:gd name="T47" fmla="*/ 107 h 976"/>
                <a:gd name="T48" fmla="*/ 600 w 602"/>
                <a:gd name="T49" fmla="*/ 109 h 976"/>
                <a:gd name="T50" fmla="*/ 25 w 602"/>
                <a:gd name="T51" fmla="*/ 969 h 976"/>
                <a:gd name="T52" fmla="*/ 23 w 602"/>
                <a:gd name="T53" fmla="*/ 972 h 976"/>
                <a:gd name="T54" fmla="*/ 19 w 602"/>
                <a:gd name="T55" fmla="*/ 974 h 976"/>
                <a:gd name="T56" fmla="*/ 16 w 602"/>
                <a:gd name="T57" fmla="*/ 975 h 976"/>
                <a:gd name="T58" fmla="*/ 13 w 602"/>
                <a:gd name="T59" fmla="*/ 976 h 976"/>
                <a:gd name="T60" fmla="*/ 449 w 602"/>
                <a:gd name="T61" fmla="*/ 33 h 976"/>
                <a:gd name="T62" fmla="*/ 449 w 602"/>
                <a:gd name="T63" fmla="*/ 33 h 976"/>
                <a:gd name="T64" fmla="*/ 93 w 602"/>
                <a:gd name="T65" fmla="*/ 818 h 976"/>
                <a:gd name="T66" fmla="*/ 570 w 602"/>
                <a:gd name="T67" fmla="*/ 106 h 976"/>
                <a:gd name="T68" fmla="*/ 449 w 602"/>
                <a:gd name="T69" fmla="*/ 33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2" h="976">
                  <a:moveTo>
                    <a:pt x="13" y="976"/>
                  </a:moveTo>
                  <a:lnTo>
                    <a:pt x="10" y="975"/>
                  </a:lnTo>
                  <a:lnTo>
                    <a:pt x="6" y="974"/>
                  </a:lnTo>
                  <a:lnTo>
                    <a:pt x="2" y="970"/>
                  </a:lnTo>
                  <a:lnTo>
                    <a:pt x="0" y="966"/>
                  </a:lnTo>
                  <a:lnTo>
                    <a:pt x="0" y="962"/>
                  </a:lnTo>
                  <a:lnTo>
                    <a:pt x="1" y="956"/>
                  </a:lnTo>
                  <a:lnTo>
                    <a:pt x="431" y="8"/>
                  </a:lnTo>
                  <a:lnTo>
                    <a:pt x="432" y="5"/>
                  </a:lnTo>
                  <a:lnTo>
                    <a:pt x="434" y="3"/>
                  </a:lnTo>
                  <a:lnTo>
                    <a:pt x="436" y="2"/>
                  </a:lnTo>
                  <a:lnTo>
                    <a:pt x="438" y="1"/>
                  </a:lnTo>
                  <a:lnTo>
                    <a:pt x="442" y="0"/>
                  </a:lnTo>
                  <a:lnTo>
                    <a:pt x="444" y="0"/>
                  </a:lnTo>
                  <a:lnTo>
                    <a:pt x="447" y="1"/>
                  </a:lnTo>
                  <a:lnTo>
                    <a:pt x="449" y="2"/>
                  </a:lnTo>
                  <a:lnTo>
                    <a:pt x="596" y="91"/>
                  </a:lnTo>
                  <a:lnTo>
                    <a:pt x="598" y="92"/>
                  </a:lnTo>
                  <a:lnTo>
                    <a:pt x="600" y="94"/>
                  </a:lnTo>
                  <a:lnTo>
                    <a:pt x="601" y="96"/>
                  </a:lnTo>
                  <a:lnTo>
                    <a:pt x="602" y="99"/>
                  </a:lnTo>
                  <a:lnTo>
                    <a:pt x="602" y="101"/>
                  </a:lnTo>
                  <a:lnTo>
                    <a:pt x="602" y="105"/>
                  </a:lnTo>
                  <a:lnTo>
                    <a:pt x="601" y="107"/>
                  </a:lnTo>
                  <a:lnTo>
                    <a:pt x="600" y="109"/>
                  </a:lnTo>
                  <a:lnTo>
                    <a:pt x="25" y="969"/>
                  </a:lnTo>
                  <a:lnTo>
                    <a:pt x="23" y="972"/>
                  </a:lnTo>
                  <a:lnTo>
                    <a:pt x="19" y="974"/>
                  </a:lnTo>
                  <a:lnTo>
                    <a:pt x="16" y="975"/>
                  </a:lnTo>
                  <a:lnTo>
                    <a:pt x="13" y="976"/>
                  </a:lnTo>
                  <a:close/>
                  <a:moveTo>
                    <a:pt x="449" y="33"/>
                  </a:moveTo>
                  <a:lnTo>
                    <a:pt x="449" y="33"/>
                  </a:lnTo>
                  <a:lnTo>
                    <a:pt x="93" y="818"/>
                  </a:lnTo>
                  <a:lnTo>
                    <a:pt x="570" y="106"/>
                  </a:lnTo>
                  <a:lnTo>
                    <a:pt x="449" y="3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219"/>
            <p:cNvSpPr>
              <a:spLocks noEditPoints="1"/>
            </p:cNvSpPr>
            <p:nvPr userDrawn="1"/>
          </p:nvSpPr>
          <p:spPr bwMode="auto">
            <a:xfrm>
              <a:off x="4137025" y="2214563"/>
              <a:ext cx="192088" cy="301625"/>
            </a:xfrm>
            <a:custGeom>
              <a:avLst/>
              <a:gdLst>
                <a:gd name="T0" fmla="*/ 214 w 362"/>
                <a:gd name="T1" fmla="*/ 568 h 568"/>
                <a:gd name="T2" fmla="*/ 213 w 362"/>
                <a:gd name="T3" fmla="*/ 568 h 568"/>
                <a:gd name="T4" fmla="*/ 210 w 362"/>
                <a:gd name="T5" fmla="*/ 568 h 568"/>
                <a:gd name="T6" fmla="*/ 11 w 362"/>
                <a:gd name="T7" fmla="*/ 527 h 568"/>
                <a:gd name="T8" fmla="*/ 7 w 362"/>
                <a:gd name="T9" fmla="*/ 526 h 568"/>
                <a:gd name="T10" fmla="*/ 4 w 362"/>
                <a:gd name="T11" fmla="*/ 525 h 568"/>
                <a:gd name="T12" fmla="*/ 2 w 362"/>
                <a:gd name="T13" fmla="*/ 522 h 568"/>
                <a:gd name="T14" fmla="*/ 1 w 362"/>
                <a:gd name="T15" fmla="*/ 519 h 568"/>
                <a:gd name="T16" fmla="*/ 0 w 362"/>
                <a:gd name="T17" fmla="*/ 516 h 568"/>
                <a:gd name="T18" fmla="*/ 0 w 362"/>
                <a:gd name="T19" fmla="*/ 513 h 568"/>
                <a:gd name="T20" fmla="*/ 0 w 362"/>
                <a:gd name="T21" fmla="*/ 510 h 568"/>
                <a:gd name="T22" fmla="*/ 2 w 362"/>
                <a:gd name="T23" fmla="*/ 506 h 568"/>
                <a:gd name="T24" fmla="*/ 337 w 362"/>
                <a:gd name="T25" fmla="*/ 6 h 568"/>
                <a:gd name="T26" fmla="*/ 340 w 362"/>
                <a:gd name="T27" fmla="*/ 2 h 568"/>
                <a:gd name="T28" fmla="*/ 344 w 362"/>
                <a:gd name="T29" fmla="*/ 1 h 568"/>
                <a:gd name="T30" fmla="*/ 349 w 362"/>
                <a:gd name="T31" fmla="*/ 0 h 568"/>
                <a:gd name="T32" fmla="*/ 354 w 362"/>
                <a:gd name="T33" fmla="*/ 1 h 568"/>
                <a:gd name="T34" fmla="*/ 357 w 362"/>
                <a:gd name="T35" fmla="*/ 4 h 568"/>
                <a:gd name="T36" fmla="*/ 361 w 362"/>
                <a:gd name="T37" fmla="*/ 8 h 568"/>
                <a:gd name="T38" fmla="*/ 362 w 362"/>
                <a:gd name="T39" fmla="*/ 12 h 568"/>
                <a:gd name="T40" fmla="*/ 362 w 362"/>
                <a:gd name="T41" fmla="*/ 17 h 568"/>
                <a:gd name="T42" fmla="*/ 227 w 362"/>
                <a:gd name="T43" fmla="*/ 558 h 568"/>
                <a:gd name="T44" fmla="*/ 225 w 362"/>
                <a:gd name="T45" fmla="*/ 562 h 568"/>
                <a:gd name="T46" fmla="*/ 222 w 362"/>
                <a:gd name="T47" fmla="*/ 566 h 568"/>
                <a:gd name="T48" fmla="*/ 218 w 362"/>
                <a:gd name="T49" fmla="*/ 567 h 568"/>
                <a:gd name="T50" fmla="*/ 214 w 362"/>
                <a:gd name="T51" fmla="*/ 568 h 568"/>
                <a:gd name="T52" fmla="*/ 36 w 362"/>
                <a:gd name="T53" fmla="*/ 505 h 568"/>
                <a:gd name="T54" fmla="*/ 36 w 362"/>
                <a:gd name="T55" fmla="*/ 505 h 568"/>
                <a:gd name="T56" fmla="*/ 204 w 362"/>
                <a:gd name="T57" fmla="*/ 539 h 568"/>
                <a:gd name="T58" fmla="*/ 316 w 362"/>
                <a:gd name="T59" fmla="*/ 85 h 568"/>
                <a:gd name="T60" fmla="*/ 36 w 362"/>
                <a:gd name="T61" fmla="*/ 505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2" h="568">
                  <a:moveTo>
                    <a:pt x="214" y="568"/>
                  </a:moveTo>
                  <a:lnTo>
                    <a:pt x="213" y="568"/>
                  </a:lnTo>
                  <a:lnTo>
                    <a:pt x="210" y="568"/>
                  </a:lnTo>
                  <a:lnTo>
                    <a:pt x="11" y="527"/>
                  </a:lnTo>
                  <a:lnTo>
                    <a:pt x="7" y="526"/>
                  </a:lnTo>
                  <a:lnTo>
                    <a:pt x="4" y="525"/>
                  </a:lnTo>
                  <a:lnTo>
                    <a:pt x="2" y="522"/>
                  </a:lnTo>
                  <a:lnTo>
                    <a:pt x="1" y="519"/>
                  </a:lnTo>
                  <a:lnTo>
                    <a:pt x="0" y="516"/>
                  </a:lnTo>
                  <a:lnTo>
                    <a:pt x="0" y="513"/>
                  </a:lnTo>
                  <a:lnTo>
                    <a:pt x="0" y="510"/>
                  </a:lnTo>
                  <a:lnTo>
                    <a:pt x="2" y="506"/>
                  </a:lnTo>
                  <a:lnTo>
                    <a:pt x="337" y="6"/>
                  </a:lnTo>
                  <a:lnTo>
                    <a:pt x="340" y="2"/>
                  </a:lnTo>
                  <a:lnTo>
                    <a:pt x="344" y="1"/>
                  </a:lnTo>
                  <a:lnTo>
                    <a:pt x="349" y="0"/>
                  </a:lnTo>
                  <a:lnTo>
                    <a:pt x="354" y="1"/>
                  </a:lnTo>
                  <a:lnTo>
                    <a:pt x="357" y="4"/>
                  </a:lnTo>
                  <a:lnTo>
                    <a:pt x="361" y="8"/>
                  </a:lnTo>
                  <a:lnTo>
                    <a:pt x="362" y="12"/>
                  </a:lnTo>
                  <a:lnTo>
                    <a:pt x="362" y="17"/>
                  </a:lnTo>
                  <a:lnTo>
                    <a:pt x="227" y="558"/>
                  </a:lnTo>
                  <a:lnTo>
                    <a:pt x="225" y="562"/>
                  </a:lnTo>
                  <a:lnTo>
                    <a:pt x="222" y="566"/>
                  </a:lnTo>
                  <a:lnTo>
                    <a:pt x="218" y="567"/>
                  </a:lnTo>
                  <a:lnTo>
                    <a:pt x="214" y="568"/>
                  </a:lnTo>
                  <a:close/>
                  <a:moveTo>
                    <a:pt x="36" y="505"/>
                  </a:moveTo>
                  <a:lnTo>
                    <a:pt x="36" y="505"/>
                  </a:lnTo>
                  <a:lnTo>
                    <a:pt x="204" y="539"/>
                  </a:lnTo>
                  <a:lnTo>
                    <a:pt x="316" y="85"/>
                  </a:lnTo>
                  <a:lnTo>
                    <a:pt x="36" y="50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220"/>
            <p:cNvSpPr>
              <a:spLocks noEditPoints="1"/>
            </p:cNvSpPr>
            <p:nvPr userDrawn="1"/>
          </p:nvSpPr>
          <p:spPr bwMode="auto">
            <a:xfrm>
              <a:off x="4451350" y="2109788"/>
              <a:ext cx="134938" cy="269875"/>
            </a:xfrm>
            <a:custGeom>
              <a:avLst/>
              <a:gdLst>
                <a:gd name="T0" fmla="*/ 13 w 256"/>
                <a:gd name="T1" fmla="*/ 510 h 510"/>
                <a:gd name="T2" fmla="*/ 9 w 256"/>
                <a:gd name="T3" fmla="*/ 509 h 510"/>
                <a:gd name="T4" fmla="*/ 6 w 256"/>
                <a:gd name="T5" fmla="*/ 508 h 510"/>
                <a:gd name="T6" fmla="*/ 3 w 256"/>
                <a:gd name="T7" fmla="*/ 505 h 510"/>
                <a:gd name="T8" fmla="*/ 1 w 256"/>
                <a:gd name="T9" fmla="*/ 501 h 510"/>
                <a:gd name="T10" fmla="*/ 0 w 256"/>
                <a:gd name="T11" fmla="*/ 497 h 510"/>
                <a:gd name="T12" fmla="*/ 0 w 256"/>
                <a:gd name="T13" fmla="*/ 493 h 510"/>
                <a:gd name="T14" fmla="*/ 152 w 256"/>
                <a:gd name="T15" fmla="*/ 10 h 510"/>
                <a:gd name="T16" fmla="*/ 153 w 256"/>
                <a:gd name="T17" fmla="*/ 6 h 510"/>
                <a:gd name="T18" fmla="*/ 156 w 256"/>
                <a:gd name="T19" fmla="*/ 4 h 510"/>
                <a:gd name="T20" fmla="*/ 159 w 256"/>
                <a:gd name="T21" fmla="*/ 1 h 510"/>
                <a:gd name="T22" fmla="*/ 164 w 256"/>
                <a:gd name="T23" fmla="*/ 0 h 510"/>
                <a:gd name="T24" fmla="*/ 168 w 256"/>
                <a:gd name="T25" fmla="*/ 0 h 510"/>
                <a:gd name="T26" fmla="*/ 171 w 256"/>
                <a:gd name="T27" fmla="*/ 2 h 510"/>
                <a:gd name="T28" fmla="*/ 175 w 256"/>
                <a:gd name="T29" fmla="*/ 5 h 510"/>
                <a:gd name="T30" fmla="*/ 177 w 256"/>
                <a:gd name="T31" fmla="*/ 8 h 510"/>
                <a:gd name="T32" fmla="*/ 254 w 256"/>
                <a:gd name="T33" fmla="*/ 174 h 510"/>
                <a:gd name="T34" fmla="*/ 256 w 256"/>
                <a:gd name="T35" fmla="*/ 177 h 510"/>
                <a:gd name="T36" fmla="*/ 256 w 256"/>
                <a:gd name="T37" fmla="*/ 181 h 510"/>
                <a:gd name="T38" fmla="*/ 254 w 256"/>
                <a:gd name="T39" fmla="*/ 184 h 510"/>
                <a:gd name="T40" fmla="*/ 252 w 256"/>
                <a:gd name="T41" fmla="*/ 187 h 510"/>
                <a:gd name="T42" fmla="*/ 23 w 256"/>
                <a:gd name="T43" fmla="*/ 504 h 510"/>
                <a:gd name="T44" fmla="*/ 21 w 256"/>
                <a:gd name="T45" fmla="*/ 507 h 510"/>
                <a:gd name="T46" fmla="*/ 19 w 256"/>
                <a:gd name="T47" fmla="*/ 508 h 510"/>
                <a:gd name="T48" fmla="*/ 16 w 256"/>
                <a:gd name="T49" fmla="*/ 509 h 510"/>
                <a:gd name="T50" fmla="*/ 13 w 256"/>
                <a:gd name="T51" fmla="*/ 510 h 510"/>
                <a:gd name="T52" fmla="*/ 167 w 256"/>
                <a:gd name="T53" fmla="*/ 51 h 510"/>
                <a:gd name="T54" fmla="*/ 167 w 256"/>
                <a:gd name="T55" fmla="*/ 51 h 510"/>
                <a:gd name="T56" fmla="*/ 50 w 256"/>
                <a:gd name="T57" fmla="*/ 420 h 510"/>
                <a:gd name="T58" fmla="*/ 226 w 256"/>
                <a:gd name="T59" fmla="*/ 178 h 510"/>
                <a:gd name="T60" fmla="*/ 167 w 256"/>
                <a:gd name="T61" fmla="*/ 51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6" h="510">
                  <a:moveTo>
                    <a:pt x="13" y="510"/>
                  </a:moveTo>
                  <a:lnTo>
                    <a:pt x="9" y="509"/>
                  </a:lnTo>
                  <a:lnTo>
                    <a:pt x="6" y="508"/>
                  </a:lnTo>
                  <a:lnTo>
                    <a:pt x="3" y="505"/>
                  </a:lnTo>
                  <a:lnTo>
                    <a:pt x="1" y="501"/>
                  </a:lnTo>
                  <a:lnTo>
                    <a:pt x="0" y="497"/>
                  </a:lnTo>
                  <a:lnTo>
                    <a:pt x="0" y="493"/>
                  </a:lnTo>
                  <a:lnTo>
                    <a:pt x="152" y="10"/>
                  </a:lnTo>
                  <a:lnTo>
                    <a:pt x="153" y="6"/>
                  </a:lnTo>
                  <a:lnTo>
                    <a:pt x="156" y="4"/>
                  </a:lnTo>
                  <a:lnTo>
                    <a:pt x="159" y="1"/>
                  </a:lnTo>
                  <a:lnTo>
                    <a:pt x="164" y="0"/>
                  </a:lnTo>
                  <a:lnTo>
                    <a:pt x="168" y="0"/>
                  </a:lnTo>
                  <a:lnTo>
                    <a:pt x="171" y="2"/>
                  </a:lnTo>
                  <a:lnTo>
                    <a:pt x="175" y="5"/>
                  </a:lnTo>
                  <a:lnTo>
                    <a:pt x="177" y="8"/>
                  </a:lnTo>
                  <a:lnTo>
                    <a:pt x="254" y="174"/>
                  </a:lnTo>
                  <a:lnTo>
                    <a:pt x="256" y="177"/>
                  </a:lnTo>
                  <a:lnTo>
                    <a:pt x="256" y="181"/>
                  </a:lnTo>
                  <a:lnTo>
                    <a:pt x="254" y="184"/>
                  </a:lnTo>
                  <a:lnTo>
                    <a:pt x="252" y="187"/>
                  </a:lnTo>
                  <a:lnTo>
                    <a:pt x="23" y="504"/>
                  </a:lnTo>
                  <a:lnTo>
                    <a:pt x="21" y="507"/>
                  </a:lnTo>
                  <a:lnTo>
                    <a:pt x="19" y="508"/>
                  </a:lnTo>
                  <a:lnTo>
                    <a:pt x="16" y="509"/>
                  </a:lnTo>
                  <a:lnTo>
                    <a:pt x="13" y="510"/>
                  </a:lnTo>
                  <a:close/>
                  <a:moveTo>
                    <a:pt x="167" y="51"/>
                  </a:moveTo>
                  <a:lnTo>
                    <a:pt x="167" y="51"/>
                  </a:lnTo>
                  <a:lnTo>
                    <a:pt x="50" y="420"/>
                  </a:lnTo>
                  <a:lnTo>
                    <a:pt x="226" y="178"/>
                  </a:lnTo>
                  <a:lnTo>
                    <a:pt x="167" y="5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221"/>
            <p:cNvSpPr>
              <a:spLocks noEditPoints="1"/>
            </p:cNvSpPr>
            <p:nvPr userDrawn="1"/>
          </p:nvSpPr>
          <p:spPr bwMode="auto">
            <a:xfrm>
              <a:off x="4302125" y="2211388"/>
              <a:ext cx="212725" cy="363538"/>
            </a:xfrm>
            <a:custGeom>
              <a:avLst/>
              <a:gdLst>
                <a:gd name="T0" fmla="*/ 173 w 403"/>
                <a:gd name="T1" fmla="*/ 687 h 687"/>
                <a:gd name="T2" fmla="*/ 169 w 403"/>
                <a:gd name="T3" fmla="*/ 686 h 687"/>
                <a:gd name="T4" fmla="*/ 167 w 403"/>
                <a:gd name="T5" fmla="*/ 686 h 687"/>
                <a:gd name="T6" fmla="*/ 7 w 403"/>
                <a:gd name="T7" fmla="*/ 616 h 687"/>
                <a:gd name="T8" fmla="*/ 5 w 403"/>
                <a:gd name="T9" fmla="*/ 614 h 687"/>
                <a:gd name="T10" fmla="*/ 3 w 403"/>
                <a:gd name="T11" fmla="*/ 611 h 687"/>
                <a:gd name="T12" fmla="*/ 1 w 403"/>
                <a:gd name="T13" fmla="*/ 609 h 687"/>
                <a:gd name="T14" fmla="*/ 0 w 403"/>
                <a:gd name="T15" fmla="*/ 607 h 687"/>
                <a:gd name="T16" fmla="*/ 0 w 403"/>
                <a:gd name="T17" fmla="*/ 604 h 687"/>
                <a:gd name="T18" fmla="*/ 0 w 403"/>
                <a:gd name="T19" fmla="*/ 601 h 687"/>
                <a:gd name="T20" fmla="*/ 0 w 403"/>
                <a:gd name="T21" fmla="*/ 598 h 687"/>
                <a:gd name="T22" fmla="*/ 2 w 403"/>
                <a:gd name="T23" fmla="*/ 595 h 687"/>
                <a:gd name="T24" fmla="*/ 378 w 403"/>
                <a:gd name="T25" fmla="*/ 7 h 687"/>
                <a:gd name="T26" fmla="*/ 381 w 403"/>
                <a:gd name="T27" fmla="*/ 4 h 687"/>
                <a:gd name="T28" fmla="*/ 385 w 403"/>
                <a:gd name="T29" fmla="*/ 2 h 687"/>
                <a:gd name="T30" fmla="*/ 390 w 403"/>
                <a:gd name="T31" fmla="*/ 0 h 687"/>
                <a:gd name="T32" fmla="*/ 395 w 403"/>
                <a:gd name="T33" fmla="*/ 2 h 687"/>
                <a:gd name="T34" fmla="*/ 398 w 403"/>
                <a:gd name="T35" fmla="*/ 5 h 687"/>
                <a:gd name="T36" fmla="*/ 402 w 403"/>
                <a:gd name="T37" fmla="*/ 9 h 687"/>
                <a:gd name="T38" fmla="*/ 403 w 403"/>
                <a:gd name="T39" fmla="*/ 13 h 687"/>
                <a:gd name="T40" fmla="*/ 402 w 403"/>
                <a:gd name="T41" fmla="*/ 19 h 687"/>
                <a:gd name="T42" fmla="*/ 186 w 403"/>
                <a:gd name="T43" fmla="*/ 677 h 687"/>
                <a:gd name="T44" fmla="*/ 183 w 403"/>
                <a:gd name="T45" fmla="*/ 679 h 687"/>
                <a:gd name="T46" fmla="*/ 182 w 403"/>
                <a:gd name="T47" fmla="*/ 682 h 687"/>
                <a:gd name="T48" fmla="*/ 180 w 403"/>
                <a:gd name="T49" fmla="*/ 684 h 687"/>
                <a:gd name="T50" fmla="*/ 178 w 403"/>
                <a:gd name="T51" fmla="*/ 686 h 687"/>
                <a:gd name="T52" fmla="*/ 175 w 403"/>
                <a:gd name="T53" fmla="*/ 686 h 687"/>
                <a:gd name="T54" fmla="*/ 173 w 403"/>
                <a:gd name="T55" fmla="*/ 687 h 687"/>
                <a:gd name="T56" fmla="*/ 33 w 403"/>
                <a:gd name="T57" fmla="*/ 597 h 687"/>
                <a:gd name="T58" fmla="*/ 33 w 403"/>
                <a:gd name="T59" fmla="*/ 597 h 687"/>
                <a:gd name="T60" fmla="*/ 164 w 403"/>
                <a:gd name="T61" fmla="*/ 655 h 687"/>
                <a:gd name="T62" fmla="*/ 342 w 403"/>
                <a:gd name="T63" fmla="*/ 112 h 687"/>
                <a:gd name="T64" fmla="*/ 33 w 403"/>
                <a:gd name="T65" fmla="*/ 597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3" h="687">
                  <a:moveTo>
                    <a:pt x="173" y="687"/>
                  </a:moveTo>
                  <a:lnTo>
                    <a:pt x="169" y="686"/>
                  </a:lnTo>
                  <a:lnTo>
                    <a:pt x="167" y="686"/>
                  </a:lnTo>
                  <a:lnTo>
                    <a:pt x="7" y="616"/>
                  </a:lnTo>
                  <a:lnTo>
                    <a:pt x="5" y="614"/>
                  </a:lnTo>
                  <a:lnTo>
                    <a:pt x="3" y="611"/>
                  </a:lnTo>
                  <a:lnTo>
                    <a:pt x="1" y="609"/>
                  </a:lnTo>
                  <a:lnTo>
                    <a:pt x="0" y="607"/>
                  </a:lnTo>
                  <a:lnTo>
                    <a:pt x="0" y="604"/>
                  </a:lnTo>
                  <a:lnTo>
                    <a:pt x="0" y="601"/>
                  </a:lnTo>
                  <a:lnTo>
                    <a:pt x="0" y="598"/>
                  </a:lnTo>
                  <a:lnTo>
                    <a:pt x="2" y="595"/>
                  </a:lnTo>
                  <a:lnTo>
                    <a:pt x="378" y="7"/>
                  </a:lnTo>
                  <a:lnTo>
                    <a:pt x="381" y="4"/>
                  </a:lnTo>
                  <a:lnTo>
                    <a:pt x="385" y="2"/>
                  </a:lnTo>
                  <a:lnTo>
                    <a:pt x="390" y="0"/>
                  </a:lnTo>
                  <a:lnTo>
                    <a:pt x="395" y="2"/>
                  </a:lnTo>
                  <a:lnTo>
                    <a:pt x="398" y="5"/>
                  </a:lnTo>
                  <a:lnTo>
                    <a:pt x="402" y="9"/>
                  </a:lnTo>
                  <a:lnTo>
                    <a:pt x="403" y="13"/>
                  </a:lnTo>
                  <a:lnTo>
                    <a:pt x="402" y="19"/>
                  </a:lnTo>
                  <a:lnTo>
                    <a:pt x="186" y="677"/>
                  </a:lnTo>
                  <a:lnTo>
                    <a:pt x="183" y="679"/>
                  </a:lnTo>
                  <a:lnTo>
                    <a:pt x="182" y="682"/>
                  </a:lnTo>
                  <a:lnTo>
                    <a:pt x="180" y="684"/>
                  </a:lnTo>
                  <a:lnTo>
                    <a:pt x="178" y="686"/>
                  </a:lnTo>
                  <a:lnTo>
                    <a:pt x="175" y="686"/>
                  </a:lnTo>
                  <a:lnTo>
                    <a:pt x="173" y="687"/>
                  </a:lnTo>
                  <a:close/>
                  <a:moveTo>
                    <a:pt x="33" y="597"/>
                  </a:moveTo>
                  <a:lnTo>
                    <a:pt x="33" y="597"/>
                  </a:lnTo>
                  <a:lnTo>
                    <a:pt x="164" y="655"/>
                  </a:lnTo>
                  <a:lnTo>
                    <a:pt x="342" y="112"/>
                  </a:lnTo>
                  <a:lnTo>
                    <a:pt x="33" y="59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222"/>
            <p:cNvSpPr>
              <a:spLocks/>
            </p:cNvSpPr>
            <p:nvPr userDrawn="1"/>
          </p:nvSpPr>
          <p:spPr bwMode="auto">
            <a:xfrm>
              <a:off x="4473575" y="2336800"/>
              <a:ext cx="152400" cy="268288"/>
            </a:xfrm>
            <a:custGeom>
              <a:avLst/>
              <a:gdLst>
                <a:gd name="T0" fmla="*/ 13 w 290"/>
                <a:gd name="T1" fmla="*/ 509 h 509"/>
                <a:gd name="T2" fmla="*/ 9 w 290"/>
                <a:gd name="T3" fmla="*/ 509 h 509"/>
                <a:gd name="T4" fmla="*/ 6 w 290"/>
                <a:gd name="T5" fmla="*/ 508 h 509"/>
                <a:gd name="T6" fmla="*/ 3 w 290"/>
                <a:gd name="T7" fmla="*/ 504 h 509"/>
                <a:gd name="T8" fmla="*/ 0 w 290"/>
                <a:gd name="T9" fmla="*/ 500 h 509"/>
                <a:gd name="T10" fmla="*/ 0 w 290"/>
                <a:gd name="T11" fmla="*/ 494 h 509"/>
                <a:gd name="T12" fmla="*/ 1 w 290"/>
                <a:gd name="T13" fmla="*/ 490 h 509"/>
                <a:gd name="T14" fmla="*/ 264 w 290"/>
                <a:gd name="T15" fmla="*/ 6 h 509"/>
                <a:gd name="T16" fmla="*/ 269 w 290"/>
                <a:gd name="T17" fmla="*/ 3 h 509"/>
                <a:gd name="T18" fmla="*/ 273 w 290"/>
                <a:gd name="T19" fmla="*/ 0 h 509"/>
                <a:gd name="T20" fmla="*/ 278 w 290"/>
                <a:gd name="T21" fmla="*/ 0 h 509"/>
                <a:gd name="T22" fmla="*/ 283 w 290"/>
                <a:gd name="T23" fmla="*/ 1 h 509"/>
                <a:gd name="T24" fmla="*/ 287 w 290"/>
                <a:gd name="T25" fmla="*/ 5 h 509"/>
                <a:gd name="T26" fmla="*/ 289 w 290"/>
                <a:gd name="T27" fmla="*/ 10 h 509"/>
                <a:gd name="T28" fmla="*/ 290 w 290"/>
                <a:gd name="T29" fmla="*/ 15 h 509"/>
                <a:gd name="T30" fmla="*/ 288 w 290"/>
                <a:gd name="T31" fmla="*/ 19 h 509"/>
                <a:gd name="T32" fmla="*/ 25 w 290"/>
                <a:gd name="T33" fmla="*/ 503 h 509"/>
                <a:gd name="T34" fmla="*/ 22 w 290"/>
                <a:gd name="T35" fmla="*/ 505 h 509"/>
                <a:gd name="T36" fmla="*/ 20 w 290"/>
                <a:gd name="T37" fmla="*/ 507 h 509"/>
                <a:gd name="T38" fmla="*/ 17 w 290"/>
                <a:gd name="T39" fmla="*/ 509 h 509"/>
                <a:gd name="T40" fmla="*/ 13 w 290"/>
                <a:gd name="T41" fmla="*/ 50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0" h="509">
                  <a:moveTo>
                    <a:pt x="13" y="509"/>
                  </a:moveTo>
                  <a:lnTo>
                    <a:pt x="9" y="509"/>
                  </a:lnTo>
                  <a:lnTo>
                    <a:pt x="6" y="508"/>
                  </a:lnTo>
                  <a:lnTo>
                    <a:pt x="3" y="504"/>
                  </a:lnTo>
                  <a:lnTo>
                    <a:pt x="0" y="500"/>
                  </a:lnTo>
                  <a:lnTo>
                    <a:pt x="0" y="494"/>
                  </a:lnTo>
                  <a:lnTo>
                    <a:pt x="1" y="490"/>
                  </a:lnTo>
                  <a:lnTo>
                    <a:pt x="264" y="6"/>
                  </a:lnTo>
                  <a:lnTo>
                    <a:pt x="269" y="3"/>
                  </a:lnTo>
                  <a:lnTo>
                    <a:pt x="273" y="0"/>
                  </a:lnTo>
                  <a:lnTo>
                    <a:pt x="278" y="0"/>
                  </a:lnTo>
                  <a:lnTo>
                    <a:pt x="283" y="1"/>
                  </a:lnTo>
                  <a:lnTo>
                    <a:pt x="287" y="5"/>
                  </a:lnTo>
                  <a:lnTo>
                    <a:pt x="289" y="10"/>
                  </a:lnTo>
                  <a:lnTo>
                    <a:pt x="290" y="15"/>
                  </a:lnTo>
                  <a:lnTo>
                    <a:pt x="288" y="19"/>
                  </a:lnTo>
                  <a:lnTo>
                    <a:pt x="25" y="503"/>
                  </a:lnTo>
                  <a:lnTo>
                    <a:pt x="22" y="505"/>
                  </a:lnTo>
                  <a:lnTo>
                    <a:pt x="20" y="507"/>
                  </a:lnTo>
                  <a:lnTo>
                    <a:pt x="17" y="509"/>
                  </a:lnTo>
                  <a:lnTo>
                    <a:pt x="13" y="50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223"/>
            <p:cNvSpPr>
              <a:spLocks noEditPoints="1"/>
            </p:cNvSpPr>
            <p:nvPr userDrawn="1"/>
          </p:nvSpPr>
          <p:spPr bwMode="auto">
            <a:xfrm>
              <a:off x="3086100" y="2016125"/>
              <a:ext cx="115888" cy="392113"/>
            </a:xfrm>
            <a:custGeom>
              <a:avLst/>
              <a:gdLst>
                <a:gd name="T0" fmla="*/ 102 w 218"/>
                <a:gd name="T1" fmla="*/ 740 h 740"/>
                <a:gd name="T2" fmla="*/ 96 w 218"/>
                <a:gd name="T3" fmla="*/ 739 h 740"/>
                <a:gd name="T4" fmla="*/ 93 w 218"/>
                <a:gd name="T5" fmla="*/ 737 h 740"/>
                <a:gd name="T6" fmla="*/ 90 w 218"/>
                <a:gd name="T7" fmla="*/ 733 h 740"/>
                <a:gd name="T8" fmla="*/ 88 w 218"/>
                <a:gd name="T9" fmla="*/ 729 h 740"/>
                <a:gd name="T10" fmla="*/ 1 w 218"/>
                <a:gd name="T11" fmla="*/ 274 h 740"/>
                <a:gd name="T12" fmla="*/ 0 w 218"/>
                <a:gd name="T13" fmla="*/ 271 h 740"/>
                <a:gd name="T14" fmla="*/ 1 w 218"/>
                <a:gd name="T15" fmla="*/ 268 h 740"/>
                <a:gd name="T16" fmla="*/ 1 w 218"/>
                <a:gd name="T17" fmla="*/ 266 h 740"/>
                <a:gd name="T18" fmla="*/ 3 w 218"/>
                <a:gd name="T19" fmla="*/ 263 h 740"/>
                <a:gd name="T20" fmla="*/ 195 w 218"/>
                <a:gd name="T21" fmla="*/ 7 h 740"/>
                <a:gd name="T22" fmla="*/ 198 w 218"/>
                <a:gd name="T23" fmla="*/ 4 h 740"/>
                <a:gd name="T24" fmla="*/ 202 w 218"/>
                <a:gd name="T25" fmla="*/ 2 h 740"/>
                <a:gd name="T26" fmla="*/ 206 w 218"/>
                <a:gd name="T27" fmla="*/ 0 h 740"/>
                <a:gd name="T28" fmla="*/ 211 w 218"/>
                <a:gd name="T29" fmla="*/ 2 h 740"/>
                <a:gd name="T30" fmla="*/ 214 w 218"/>
                <a:gd name="T31" fmla="*/ 5 h 740"/>
                <a:gd name="T32" fmla="*/ 217 w 218"/>
                <a:gd name="T33" fmla="*/ 8 h 740"/>
                <a:gd name="T34" fmla="*/ 218 w 218"/>
                <a:gd name="T35" fmla="*/ 12 h 740"/>
                <a:gd name="T36" fmla="*/ 218 w 218"/>
                <a:gd name="T37" fmla="*/ 17 h 740"/>
                <a:gd name="T38" fmla="*/ 115 w 218"/>
                <a:gd name="T39" fmla="*/ 729 h 740"/>
                <a:gd name="T40" fmla="*/ 114 w 218"/>
                <a:gd name="T41" fmla="*/ 733 h 740"/>
                <a:gd name="T42" fmla="*/ 110 w 218"/>
                <a:gd name="T43" fmla="*/ 737 h 740"/>
                <a:gd name="T44" fmla="*/ 106 w 218"/>
                <a:gd name="T45" fmla="*/ 739 h 740"/>
                <a:gd name="T46" fmla="*/ 102 w 218"/>
                <a:gd name="T47" fmla="*/ 740 h 740"/>
                <a:gd name="T48" fmla="*/ 102 w 218"/>
                <a:gd name="T49" fmla="*/ 740 h 740"/>
                <a:gd name="T50" fmla="*/ 102 w 218"/>
                <a:gd name="T51" fmla="*/ 740 h 740"/>
                <a:gd name="T52" fmla="*/ 28 w 218"/>
                <a:gd name="T53" fmla="*/ 275 h 740"/>
                <a:gd name="T54" fmla="*/ 28 w 218"/>
                <a:gd name="T55" fmla="*/ 275 h 740"/>
                <a:gd name="T56" fmla="*/ 99 w 218"/>
                <a:gd name="T57" fmla="*/ 646 h 740"/>
                <a:gd name="T58" fmla="*/ 184 w 218"/>
                <a:gd name="T59" fmla="*/ 65 h 740"/>
                <a:gd name="T60" fmla="*/ 28 w 218"/>
                <a:gd name="T61" fmla="*/ 275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8" h="740">
                  <a:moveTo>
                    <a:pt x="102" y="740"/>
                  </a:moveTo>
                  <a:lnTo>
                    <a:pt x="96" y="739"/>
                  </a:lnTo>
                  <a:lnTo>
                    <a:pt x="93" y="737"/>
                  </a:lnTo>
                  <a:lnTo>
                    <a:pt x="90" y="733"/>
                  </a:lnTo>
                  <a:lnTo>
                    <a:pt x="88" y="729"/>
                  </a:lnTo>
                  <a:lnTo>
                    <a:pt x="1" y="274"/>
                  </a:lnTo>
                  <a:lnTo>
                    <a:pt x="0" y="271"/>
                  </a:lnTo>
                  <a:lnTo>
                    <a:pt x="1" y="268"/>
                  </a:lnTo>
                  <a:lnTo>
                    <a:pt x="1" y="266"/>
                  </a:lnTo>
                  <a:lnTo>
                    <a:pt x="3" y="263"/>
                  </a:lnTo>
                  <a:lnTo>
                    <a:pt x="195" y="7"/>
                  </a:lnTo>
                  <a:lnTo>
                    <a:pt x="198" y="4"/>
                  </a:lnTo>
                  <a:lnTo>
                    <a:pt x="202" y="2"/>
                  </a:lnTo>
                  <a:lnTo>
                    <a:pt x="206" y="0"/>
                  </a:lnTo>
                  <a:lnTo>
                    <a:pt x="211" y="2"/>
                  </a:lnTo>
                  <a:lnTo>
                    <a:pt x="214" y="5"/>
                  </a:lnTo>
                  <a:lnTo>
                    <a:pt x="217" y="8"/>
                  </a:lnTo>
                  <a:lnTo>
                    <a:pt x="218" y="12"/>
                  </a:lnTo>
                  <a:lnTo>
                    <a:pt x="218" y="17"/>
                  </a:lnTo>
                  <a:lnTo>
                    <a:pt x="115" y="729"/>
                  </a:lnTo>
                  <a:lnTo>
                    <a:pt x="114" y="733"/>
                  </a:lnTo>
                  <a:lnTo>
                    <a:pt x="110" y="737"/>
                  </a:lnTo>
                  <a:lnTo>
                    <a:pt x="106" y="739"/>
                  </a:lnTo>
                  <a:lnTo>
                    <a:pt x="102" y="740"/>
                  </a:lnTo>
                  <a:lnTo>
                    <a:pt x="102" y="740"/>
                  </a:lnTo>
                  <a:lnTo>
                    <a:pt x="102" y="740"/>
                  </a:lnTo>
                  <a:close/>
                  <a:moveTo>
                    <a:pt x="28" y="275"/>
                  </a:moveTo>
                  <a:lnTo>
                    <a:pt x="28" y="275"/>
                  </a:lnTo>
                  <a:lnTo>
                    <a:pt x="99" y="646"/>
                  </a:lnTo>
                  <a:lnTo>
                    <a:pt x="184" y="65"/>
                  </a:lnTo>
                  <a:lnTo>
                    <a:pt x="28" y="2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224"/>
            <p:cNvSpPr>
              <a:spLocks noEditPoints="1"/>
            </p:cNvSpPr>
            <p:nvPr userDrawn="1"/>
          </p:nvSpPr>
          <p:spPr bwMode="auto">
            <a:xfrm>
              <a:off x="2973388" y="2178050"/>
              <a:ext cx="88900" cy="407988"/>
            </a:xfrm>
            <a:custGeom>
              <a:avLst/>
              <a:gdLst>
                <a:gd name="T0" fmla="*/ 19 w 167"/>
                <a:gd name="T1" fmla="*/ 770 h 770"/>
                <a:gd name="T2" fmla="*/ 18 w 167"/>
                <a:gd name="T3" fmla="*/ 770 h 770"/>
                <a:gd name="T4" fmla="*/ 18 w 167"/>
                <a:gd name="T5" fmla="*/ 770 h 770"/>
                <a:gd name="T6" fmla="*/ 12 w 167"/>
                <a:gd name="T7" fmla="*/ 767 h 770"/>
                <a:gd name="T8" fmla="*/ 9 w 167"/>
                <a:gd name="T9" fmla="*/ 765 h 770"/>
                <a:gd name="T10" fmla="*/ 6 w 167"/>
                <a:gd name="T11" fmla="*/ 761 h 770"/>
                <a:gd name="T12" fmla="*/ 5 w 167"/>
                <a:gd name="T13" fmla="*/ 756 h 770"/>
                <a:gd name="T14" fmla="*/ 0 w 167"/>
                <a:gd name="T15" fmla="*/ 169 h 770"/>
                <a:gd name="T16" fmla="*/ 1 w 167"/>
                <a:gd name="T17" fmla="*/ 165 h 770"/>
                <a:gd name="T18" fmla="*/ 4 w 167"/>
                <a:gd name="T19" fmla="*/ 161 h 770"/>
                <a:gd name="T20" fmla="*/ 143 w 167"/>
                <a:gd name="T21" fmla="*/ 4 h 770"/>
                <a:gd name="T22" fmla="*/ 146 w 167"/>
                <a:gd name="T23" fmla="*/ 1 h 770"/>
                <a:gd name="T24" fmla="*/ 150 w 167"/>
                <a:gd name="T25" fmla="*/ 0 h 770"/>
                <a:gd name="T26" fmla="*/ 155 w 167"/>
                <a:gd name="T27" fmla="*/ 0 h 770"/>
                <a:gd name="T28" fmla="*/ 159 w 167"/>
                <a:gd name="T29" fmla="*/ 1 h 770"/>
                <a:gd name="T30" fmla="*/ 162 w 167"/>
                <a:gd name="T31" fmla="*/ 3 h 770"/>
                <a:gd name="T32" fmla="*/ 166 w 167"/>
                <a:gd name="T33" fmla="*/ 7 h 770"/>
                <a:gd name="T34" fmla="*/ 167 w 167"/>
                <a:gd name="T35" fmla="*/ 11 h 770"/>
                <a:gd name="T36" fmla="*/ 167 w 167"/>
                <a:gd name="T37" fmla="*/ 15 h 770"/>
                <a:gd name="T38" fmla="*/ 32 w 167"/>
                <a:gd name="T39" fmla="*/ 758 h 770"/>
                <a:gd name="T40" fmla="*/ 31 w 167"/>
                <a:gd name="T41" fmla="*/ 762 h 770"/>
                <a:gd name="T42" fmla="*/ 27 w 167"/>
                <a:gd name="T43" fmla="*/ 766 h 770"/>
                <a:gd name="T44" fmla="*/ 23 w 167"/>
                <a:gd name="T45" fmla="*/ 769 h 770"/>
                <a:gd name="T46" fmla="*/ 19 w 167"/>
                <a:gd name="T47" fmla="*/ 770 h 770"/>
                <a:gd name="T48" fmla="*/ 27 w 167"/>
                <a:gd name="T49" fmla="*/ 175 h 770"/>
                <a:gd name="T50" fmla="*/ 27 w 167"/>
                <a:gd name="T51" fmla="*/ 175 h 770"/>
                <a:gd name="T52" fmla="*/ 31 w 167"/>
                <a:gd name="T53" fmla="*/ 612 h 770"/>
                <a:gd name="T54" fmla="*/ 131 w 167"/>
                <a:gd name="T55" fmla="*/ 58 h 770"/>
                <a:gd name="T56" fmla="*/ 27 w 167"/>
                <a:gd name="T57" fmla="*/ 175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7" h="770">
                  <a:moveTo>
                    <a:pt x="19" y="770"/>
                  </a:moveTo>
                  <a:lnTo>
                    <a:pt x="18" y="770"/>
                  </a:lnTo>
                  <a:lnTo>
                    <a:pt x="18" y="770"/>
                  </a:lnTo>
                  <a:lnTo>
                    <a:pt x="12" y="767"/>
                  </a:lnTo>
                  <a:lnTo>
                    <a:pt x="9" y="765"/>
                  </a:lnTo>
                  <a:lnTo>
                    <a:pt x="6" y="761"/>
                  </a:lnTo>
                  <a:lnTo>
                    <a:pt x="5" y="756"/>
                  </a:lnTo>
                  <a:lnTo>
                    <a:pt x="0" y="169"/>
                  </a:lnTo>
                  <a:lnTo>
                    <a:pt x="1" y="165"/>
                  </a:lnTo>
                  <a:lnTo>
                    <a:pt x="4" y="161"/>
                  </a:lnTo>
                  <a:lnTo>
                    <a:pt x="143" y="4"/>
                  </a:lnTo>
                  <a:lnTo>
                    <a:pt x="146" y="1"/>
                  </a:lnTo>
                  <a:lnTo>
                    <a:pt x="150" y="0"/>
                  </a:lnTo>
                  <a:lnTo>
                    <a:pt x="155" y="0"/>
                  </a:lnTo>
                  <a:lnTo>
                    <a:pt x="159" y="1"/>
                  </a:lnTo>
                  <a:lnTo>
                    <a:pt x="162" y="3"/>
                  </a:lnTo>
                  <a:lnTo>
                    <a:pt x="166" y="7"/>
                  </a:lnTo>
                  <a:lnTo>
                    <a:pt x="167" y="11"/>
                  </a:lnTo>
                  <a:lnTo>
                    <a:pt x="167" y="15"/>
                  </a:lnTo>
                  <a:lnTo>
                    <a:pt x="32" y="758"/>
                  </a:lnTo>
                  <a:lnTo>
                    <a:pt x="31" y="762"/>
                  </a:lnTo>
                  <a:lnTo>
                    <a:pt x="27" y="766"/>
                  </a:lnTo>
                  <a:lnTo>
                    <a:pt x="23" y="769"/>
                  </a:lnTo>
                  <a:lnTo>
                    <a:pt x="19" y="770"/>
                  </a:lnTo>
                  <a:close/>
                  <a:moveTo>
                    <a:pt x="27" y="175"/>
                  </a:moveTo>
                  <a:lnTo>
                    <a:pt x="27" y="175"/>
                  </a:lnTo>
                  <a:lnTo>
                    <a:pt x="31" y="612"/>
                  </a:lnTo>
                  <a:lnTo>
                    <a:pt x="131" y="58"/>
                  </a:lnTo>
                  <a:lnTo>
                    <a:pt x="27" y="1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225"/>
            <p:cNvSpPr>
              <a:spLocks noEditPoints="1"/>
            </p:cNvSpPr>
            <p:nvPr userDrawn="1"/>
          </p:nvSpPr>
          <p:spPr bwMode="auto">
            <a:xfrm>
              <a:off x="2882900" y="2354263"/>
              <a:ext cx="111125" cy="349250"/>
            </a:xfrm>
            <a:custGeom>
              <a:avLst/>
              <a:gdLst>
                <a:gd name="T0" fmla="*/ 14 w 209"/>
                <a:gd name="T1" fmla="*/ 661 h 661"/>
                <a:gd name="T2" fmla="*/ 10 w 209"/>
                <a:gd name="T3" fmla="*/ 661 h 661"/>
                <a:gd name="T4" fmla="*/ 7 w 209"/>
                <a:gd name="T5" fmla="*/ 660 h 661"/>
                <a:gd name="T6" fmla="*/ 4 w 209"/>
                <a:gd name="T7" fmla="*/ 657 h 661"/>
                <a:gd name="T8" fmla="*/ 1 w 209"/>
                <a:gd name="T9" fmla="*/ 653 h 661"/>
                <a:gd name="T10" fmla="*/ 0 w 209"/>
                <a:gd name="T11" fmla="*/ 649 h 661"/>
                <a:gd name="T12" fmla="*/ 1 w 209"/>
                <a:gd name="T13" fmla="*/ 645 h 661"/>
                <a:gd name="T14" fmla="*/ 182 w 209"/>
                <a:gd name="T15" fmla="*/ 10 h 661"/>
                <a:gd name="T16" fmla="*/ 184 w 209"/>
                <a:gd name="T17" fmla="*/ 6 h 661"/>
                <a:gd name="T18" fmla="*/ 188 w 209"/>
                <a:gd name="T19" fmla="*/ 3 h 661"/>
                <a:gd name="T20" fmla="*/ 192 w 209"/>
                <a:gd name="T21" fmla="*/ 0 h 661"/>
                <a:gd name="T22" fmla="*/ 197 w 209"/>
                <a:gd name="T23" fmla="*/ 0 h 661"/>
                <a:gd name="T24" fmla="*/ 202 w 209"/>
                <a:gd name="T25" fmla="*/ 1 h 661"/>
                <a:gd name="T26" fmla="*/ 206 w 209"/>
                <a:gd name="T27" fmla="*/ 5 h 661"/>
                <a:gd name="T28" fmla="*/ 208 w 209"/>
                <a:gd name="T29" fmla="*/ 9 h 661"/>
                <a:gd name="T30" fmla="*/ 209 w 209"/>
                <a:gd name="T31" fmla="*/ 13 h 661"/>
                <a:gd name="T32" fmla="*/ 199 w 209"/>
                <a:gd name="T33" fmla="*/ 435 h 661"/>
                <a:gd name="T34" fmla="*/ 199 w 209"/>
                <a:gd name="T35" fmla="*/ 440 h 661"/>
                <a:gd name="T36" fmla="*/ 197 w 209"/>
                <a:gd name="T37" fmla="*/ 443 h 661"/>
                <a:gd name="T38" fmla="*/ 23 w 209"/>
                <a:gd name="T39" fmla="*/ 657 h 661"/>
                <a:gd name="T40" fmla="*/ 21 w 209"/>
                <a:gd name="T41" fmla="*/ 659 h 661"/>
                <a:gd name="T42" fmla="*/ 19 w 209"/>
                <a:gd name="T43" fmla="*/ 660 h 661"/>
                <a:gd name="T44" fmla="*/ 16 w 209"/>
                <a:gd name="T45" fmla="*/ 661 h 661"/>
                <a:gd name="T46" fmla="*/ 14 w 209"/>
                <a:gd name="T47" fmla="*/ 661 h 661"/>
                <a:gd name="T48" fmla="*/ 179 w 209"/>
                <a:gd name="T49" fmla="*/ 117 h 661"/>
                <a:gd name="T50" fmla="*/ 179 w 209"/>
                <a:gd name="T51" fmla="*/ 117 h 661"/>
                <a:gd name="T52" fmla="*/ 45 w 209"/>
                <a:gd name="T53" fmla="*/ 588 h 661"/>
                <a:gd name="T54" fmla="*/ 172 w 209"/>
                <a:gd name="T55" fmla="*/ 430 h 661"/>
                <a:gd name="T56" fmla="*/ 179 w 209"/>
                <a:gd name="T57" fmla="*/ 11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9" h="661">
                  <a:moveTo>
                    <a:pt x="14" y="661"/>
                  </a:moveTo>
                  <a:lnTo>
                    <a:pt x="10" y="661"/>
                  </a:lnTo>
                  <a:lnTo>
                    <a:pt x="7" y="660"/>
                  </a:lnTo>
                  <a:lnTo>
                    <a:pt x="4" y="657"/>
                  </a:lnTo>
                  <a:lnTo>
                    <a:pt x="1" y="653"/>
                  </a:lnTo>
                  <a:lnTo>
                    <a:pt x="0" y="649"/>
                  </a:lnTo>
                  <a:lnTo>
                    <a:pt x="1" y="645"/>
                  </a:lnTo>
                  <a:lnTo>
                    <a:pt x="182" y="10"/>
                  </a:lnTo>
                  <a:lnTo>
                    <a:pt x="184" y="6"/>
                  </a:lnTo>
                  <a:lnTo>
                    <a:pt x="188" y="3"/>
                  </a:lnTo>
                  <a:lnTo>
                    <a:pt x="192" y="0"/>
                  </a:lnTo>
                  <a:lnTo>
                    <a:pt x="197" y="0"/>
                  </a:lnTo>
                  <a:lnTo>
                    <a:pt x="202" y="1"/>
                  </a:lnTo>
                  <a:lnTo>
                    <a:pt x="206" y="5"/>
                  </a:lnTo>
                  <a:lnTo>
                    <a:pt x="208" y="9"/>
                  </a:lnTo>
                  <a:lnTo>
                    <a:pt x="209" y="13"/>
                  </a:lnTo>
                  <a:lnTo>
                    <a:pt x="199" y="435"/>
                  </a:lnTo>
                  <a:lnTo>
                    <a:pt x="199" y="440"/>
                  </a:lnTo>
                  <a:lnTo>
                    <a:pt x="197" y="443"/>
                  </a:lnTo>
                  <a:lnTo>
                    <a:pt x="23" y="657"/>
                  </a:lnTo>
                  <a:lnTo>
                    <a:pt x="21" y="659"/>
                  </a:lnTo>
                  <a:lnTo>
                    <a:pt x="19" y="660"/>
                  </a:lnTo>
                  <a:lnTo>
                    <a:pt x="16" y="661"/>
                  </a:lnTo>
                  <a:lnTo>
                    <a:pt x="14" y="661"/>
                  </a:lnTo>
                  <a:close/>
                  <a:moveTo>
                    <a:pt x="179" y="117"/>
                  </a:moveTo>
                  <a:lnTo>
                    <a:pt x="179" y="117"/>
                  </a:lnTo>
                  <a:lnTo>
                    <a:pt x="45" y="588"/>
                  </a:lnTo>
                  <a:lnTo>
                    <a:pt x="172" y="430"/>
                  </a:lnTo>
                  <a:lnTo>
                    <a:pt x="179" y="117"/>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226"/>
            <p:cNvSpPr>
              <a:spLocks noEditPoints="1"/>
            </p:cNvSpPr>
            <p:nvPr userDrawn="1"/>
          </p:nvSpPr>
          <p:spPr bwMode="auto">
            <a:xfrm>
              <a:off x="2768600" y="2425700"/>
              <a:ext cx="85725" cy="361950"/>
            </a:xfrm>
            <a:custGeom>
              <a:avLst/>
              <a:gdLst>
                <a:gd name="T0" fmla="*/ 81 w 162"/>
                <a:gd name="T1" fmla="*/ 684 h 684"/>
                <a:gd name="T2" fmla="*/ 76 w 162"/>
                <a:gd name="T3" fmla="*/ 683 h 684"/>
                <a:gd name="T4" fmla="*/ 72 w 162"/>
                <a:gd name="T5" fmla="*/ 680 h 684"/>
                <a:gd name="T6" fmla="*/ 69 w 162"/>
                <a:gd name="T7" fmla="*/ 677 h 684"/>
                <a:gd name="T8" fmla="*/ 68 w 162"/>
                <a:gd name="T9" fmla="*/ 672 h 684"/>
                <a:gd name="T10" fmla="*/ 0 w 162"/>
                <a:gd name="T11" fmla="*/ 177 h 684"/>
                <a:gd name="T12" fmla="*/ 0 w 162"/>
                <a:gd name="T13" fmla="*/ 174 h 684"/>
                <a:gd name="T14" fmla="*/ 1 w 162"/>
                <a:gd name="T15" fmla="*/ 172 h 684"/>
                <a:gd name="T16" fmla="*/ 2 w 162"/>
                <a:gd name="T17" fmla="*/ 169 h 684"/>
                <a:gd name="T18" fmla="*/ 3 w 162"/>
                <a:gd name="T19" fmla="*/ 167 h 684"/>
                <a:gd name="T20" fmla="*/ 138 w 162"/>
                <a:gd name="T21" fmla="*/ 5 h 684"/>
                <a:gd name="T22" fmla="*/ 141 w 162"/>
                <a:gd name="T23" fmla="*/ 3 h 684"/>
                <a:gd name="T24" fmla="*/ 145 w 162"/>
                <a:gd name="T25" fmla="*/ 0 h 684"/>
                <a:gd name="T26" fmla="*/ 150 w 162"/>
                <a:gd name="T27" fmla="*/ 0 h 684"/>
                <a:gd name="T28" fmla="*/ 154 w 162"/>
                <a:gd name="T29" fmla="*/ 1 h 684"/>
                <a:gd name="T30" fmla="*/ 157 w 162"/>
                <a:gd name="T31" fmla="*/ 4 h 684"/>
                <a:gd name="T32" fmla="*/ 161 w 162"/>
                <a:gd name="T33" fmla="*/ 7 h 684"/>
                <a:gd name="T34" fmla="*/ 162 w 162"/>
                <a:gd name="T35" fmla="*/ 11 h 684"/>
                <a:gd name="T36" fmla="*/ 162 w 162"/>
                <a:gd name="T37" fmla="*/ 16 h 684"/>
                <a:gd name="T38" fmla="*/ 95 w 162"/>
                <a:gd name="T39" fmla="*/ 672 h 684"/>
                <a:gd name="T40" fmla="*/ 93 w 162"/>
                <a:gd name="T41" fmla="*/ 676 h 684"/>
                <a:gd name="T42" fmla="*/ 90 w 162"/>
                <a:gd name="T43" fmla="*/ 680 h 684"/>
                <a:gd name="T44" fmla="*/ 86 w 162"/>
                <a:gd name="T45" fmla="*/ 683 h 684"/>
                <a:gd name="T46" fmla="*/ 82 w 162"/>
                <a:gd name="T47" fmla="*/ 684 h 684"/>
                <a:gd name="T48" fmla="*/ 81 w 162"/>
                <a:gd name="T49" fmla="*/ 684 h 684"/>
                <a:gd name="T50" fmla="*/ 81 w 162"/>
                <a:gd name="T51" fmla="*/ 684 h 684"/>
                <a:gd name="T52" fmla="*/ 28 w 162"/>
                <a:gd name="T53" fmla="*/ 180 h 684"/>
                <a:gd name="T54" fmla="*/ 28 w 162"/>
                <a:gd name="T55" fmla="*/ 180 h 684"/>
                <a:gd name="T56" fmla="*/ 80 w 162"/>
                <a:gd name="T57" fmla="*/ 556 h 684"/>
                <a:gd name="T58" fmla="*/ 130 w 162"/>
                <a:gd name="T59" fmla="*/ 57 h 684"/>
                <a:gd name="T60" fmla="*/ 28 w 162"/>
                <a:gd name="T61" fmla="*/ 18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2" h="684">
                  <a:moveTo>
                    <a:pt x="81" y="684"/>
                  </a:moveTo>
                  <a:lnTo>
                    <a:pt x="76" y="683"/>
                  </a:lnTo>
                  <a:lnTo>
                    <a:pt x="72" y="680"/>
                  </a:lnTo>
                  <a:lnTo>
                    <a:pt x="69" y="677"/>
                  </a:lnTo>
                  <a:lnTo>
                    <a:pt x="68" y="672"/>
                  </a:lnTo>
                  <a:lnTo>
                    <a:pt x="0" y="177"/>
                  </a:lnTo>
                  <a:lnTo>
                    <a:pt x="0" y="174"/>
                  </a:lnTo>
                  <a:lnTo>
                    <a:pt x="1" y="172"/>
                  </a:lnTo>
                  <a:lnTo>
                    <a:pt x="2" y="169"/>
                  </a:lnTo>
                  <a:lnTo>
                    <a:pt x="3" y="167"/>
                  </a:lnTo>
                  <a:lnTo>
                    <a:pt x="138" y="5"/>
                  </a:lnTo>
                  <a:lnTo>
                    <a:pt x="141" y="3"/>
                  </a:lnTo>
                  <a:lnTo>
                    <a:pt x="145" y="0"/>
                  </a:lnTo>
                  <a:lnTo>
                    <a:pt x="150" y="0"/>
                  </a:lnTo>
                  <a:lnTo>
                    <a:pt x="154" y="1"/>
                  </a:lnTo>
                  <a:lnTo>
                    <a:pt x="157" y="4"/>
                  </a:lnTo>
                  <a:lnTo>
                    <a:pt x="161" y="7"/>
                  </a:lnTo>
                  <a:lnTo>
                    <a:pt x="162" y="11"/>
                  </a:lnTo>
                  <a:lnTo>
                    <a:pt x="162" y="16"/>
                  </a:lnTo>
                  <a:lnTo>
                    <a:pt x="95" y="672"/>
                  </a:lnTo>
                  <a:lnTo>
                    <a:pt x="93" y="676"/>
                  </a:lnTo>
                  <a:lnTo>
                    <a:pt x="90" y="680"/>
                  </a:lnTo>
                  <a:lnTo>
                    <a:pt x="86" y="683"/>
                  </a:lnTo>
                  <a:lnTo>
                    <a:pt x="82" y="684"/>
                  </a:lnTo>
                  <a:lnTo>
                    <a:pt x="81" y="684"/>
                  </a:lnTo>
                  <a:lnTo>
                    <a:pt x="81" y="684"/>
                  </a:lnTo>
                  <a:close/>
                  <a:moveTo>
                    <a:pt x="28" y="180"/>
                  </a:moveTo>
                  <a:lnTo>
                    <a:pt x="28" y="180"/>
                  </a:lnTo>
                  <a:lnTo>
                    <a:pt x="80" y="556"/>
                  </a:lnTo>
                  <a:lnTo>
                    <a:pt x="130" y="57"/>
                  </a:lnTo>
                  <a:lnTo>
                    <a:pt x="28" y="18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227"/>
            <p:cNvSpPr>
              <a:spLocks noEditPoints="1"/>
            </p:cNvSpPr>
            <p:nvPr userDrawn="1"/>
          </p:nvSpPr>
          <p:spPr bwMode="auto">
            <a:xfrm>
              <a:off x="2701925" y="2595563"/>
              <a:ext cx="95250" cy="314325"/>
            </a:xfrm>
            <a:custGeom>
              <a:avLst/>
              <a:gdLst>
                <a:gd name="T0" fmla="*/ 13 w 181"/>
                <a:gd name="T1" fmla="*/ 595 h 595"/>
                <a:gd name="T2" fmla="*/ 9 w 181"/>
                <a:gd name="T3" fmla="*/ 594 h 595"/>
                <a:gd name="T4" fmla="*/ 5 w 181"/>
                <a:gd name="T5" fmla="*/ 591 h 595"/>
                <a:gd name="T6" fmla="*/ 1 w 181"/>
                <a:gd name="T7" fmla="*/ 587 h 595"/>
                <a:gd name="T8" fmla="*/ 0 w 181"/>
                <a:gd name="T9" fmla="*/ 583 h 595"/>
                <a:gd name="T10" fmla="*/ 0 w 181"/>
                <a:gd name="T11" fmla="*/ 578 h 595"/>
                <a:gd name="T12" fmla="*/ 3 w 181"/>
                <a:gd name="T13" fmla="*/ 574 h 595"/>
                <a:gd name="T14" fmla="*/ 8 w 181"/>
                <a:gd name="T15" fmla="*/ 551 h 595"/>
                <a:gd name="T16" fmla="*/ 17 w 181"/>
                <a:gd name="T17" fmla="*/ 505 h 595"/>
                <a:gd name="T18" fmla="*/ 30 w 181"/>
                <a:gd name="T19" fmla="*/ 441 h 595"/>
                <a:gd name="T20" fmla="*/ 44 w 181"/>
                <a:gd name="T21" fmla="*/ 363 h 595"/>
                <a:gd name="T22" fmla="*/ 59 w 181"/>
                <a:gd name="T23" fmla="*/ 276 h 595"/>
                <a:gd name="T24" fmla="*/ 75 w 181"/>
                <a:gd name="T25" fmla="*/ 186 h 595"/>
                <a:gd name="T26" fmla="*/ 90 w 181"/>
                <a:gd name="T27" fmla="*/ 95 h 595"/>
                <a:gd name="T28" fmla="*/ 105 w 181"/>
                <a:gd name="T29" fmla="*/ 11 h 595"/>
                <a:gd name="T30" fmla="*/ 106 w 181"/>
                <a:gd name="T31" fmla="*/ 6 h 595"/>
                <a:gd name="T32" fmla="*/ 109 w 181"/>
                <a:gd name="T33" fmla="*/ 2 h 595"/>
                <a:gd name="T34" fmla="*/ 114 w 181"/>
                <a:gd name="T35" fmla="*/ 0 h 595"/>
                <a:gd name="T36" fmla="*/ 118 w 181"/>
                <a:gd name="T37" fmla="*/ 0 h 595"/>
                <a:gd name="T38" fmla="*/ 123 w 181"/>
                <a:gd name="T39" fmla="*/ 0 h 595"/>
                <a:gd name="T40" fmla="*/ 127 w 181"/>
                <a:gd name="T41" fmla="*/ 3 h 595"/>
                <a:gd name="T42" fmla="*/ 130 w 181"/>
                <a:gd name="T43" fmla="*/ 6 h 595"/>
                <a:gd name="T44" fmla="*/ 131 w 181"/>
                <a:gd name="T45" fmla="*/ 11 h 595"/>
                <a:gd name="T46" fmla="*/ 181 w 181"/>
                <a:gd name="T47" fmla="*/ 397 h 595"/>
                <a:gd name="T48" fmla="*/ 181 w 181"/>
                <a:gd name="T49" fmla="*/ 399 h 595"/>
                <a:gd name="T50" fmla="*/ 181 w 181"/>
                <a:gd name="T51" fmla="*/ 402 h 595"/>
                <a:gd name="T52" fmla="*/ 180 w 181"/>
                <a:gd name="T53" fmla="*/ 405 h 595"/>
                <a:gd name="T54" fmla="*/ 179 w 181"/>
                <a:gd name="T55" fmla="*/ 408 h 595"/>
                <a:gd name="T56" fmla="*/ 24 w 181"/>
                <a:gd name="T57" fmla="*/ 589 h 595"/>
                <a:gd name="T58" fmla="*/ 24 w 181"/>
                <a:gd name="T59" fmla="*/ 589 h 595"/>
                <a:gd name="T60" fmla="*/ 24 w 181"/>
                <a:gd name="T61" fmla="*/ 589 h 595"/>
                <a:gd name="T62" fmla="*/ 22 w 181"/>
                <a:gd name="T63" fmla="*/ 591 h 595"/>
                <a:gd name="T64" fmla="*/ 20 w 181"/>
                <a:gd name="T65" fmla="*/ 594 h 595"/>
                <a:gd name="T66" fmla="*/ 17 w 181"/>
                <a:gd name="T67" fmla="*/ 595 h 595"/>
                <a:gd name="T68" fmla="*/ 13 w 181"/>
                <a:gd name="T69" fmla="*/ 595 h 595"/>
                <a:gd name="T70" fmla="*/ 116 w 181"/>
                <a:gd name="T71" fmla="*/ 105 h 595"/>
                <a:gd name="T72" fmla="*/ 116 w 181"/>
                <a:gd name="T73" fmla="*/ 105 h 595"/>
                <a:gd name="T74" fmla="*/ 102 w 181"/>
                <a:gd name="T75" fmla="*/ 191 h 595"/>
                <a:gd name="T76" fmla="*/ 88 w 181"/>
                <a:gd name="T77" fmla="*/ 265 h 595"/>
                <a:gd name="T78" fmla="*/ 77 w 181"/>
                <a:gd name="T79" fmla="*/ 330 h 595"/>
                <a:gd name="T80" fmla="*/ 67 w 181"/>
                <a:gd name="T81" fmla="*/ 386 h 595"/>
                <a:gd name="T82" fmla="*/ 59 w 181"/>
                <a:gd name="T83" fmla="*/ 433 h 595"/>
                <a:gd name="T84" fmla="*/ 51 w 181"/>
                <a:gd name="T85" fmla="*/ 473 h 595"/>
                <a:gd name="T86" fmla="*/ 45 w 181"/>
                <a:gd name="T87" fmla="*/ 504 h 595"/>
                <a:gd name="T88" fmla="*/ 39 w 181"/>
                <a:gd name="T89" fmla="*/ 530 h 595"/>
                <a:gd name="T90" fmla="*/ 154 w 181"/>
                <a:gd name="T91" fmla="*/ 395 h 595"/>
                <a:gd name="T92" fmla="*/ 116 w 181"/>
                <a:gd name="T93" fmla="*/ 105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1" h="595">
                  <a:moveTo>
                    <a:pt x="13" y="595"/>
                  </a:moveTo>
                  <a:lnTo>
                    <a:pt x="9" y="594"/>
                  </a:lnTo>
                  <a:lnTo>
                    <a:pt x="5" y="591"/>
                  </a:lnTo>
                  <a:lnTo>
                    <a:pt x="1" y="587"/>
                  </a:lnTo>
                  <a:lnTo>
                    <a:pt x="0" y="583"/>
                  </a:lnTo>
                  <a:lnTo>
                    <a:pt x="0" y="578"/>
                  </a:lnTo>
                  <a:lnTo>
                    <a:pt x="3" y="574"/>
                  </a:lnTo>
                  <a:lnTo>
                    <a:pt x="8" y="551"/>
                  </a:lnTo>
                  <a:lnTo>
                    <a:pt x="17" y="505"/>
                  </a:lnTo>
                  <a:lnTo>
                    <a:pt x="30" y="441"/>
                  </a:lnTo>
                  <a:lnTo>
                    <a:pt x="44" y="363"/>
                  </a:lnTo>
                  <a:lnTo>
                    <a:pt x="59" y="276"/>
                  </a:lnTo>
                  <a:lnTo>
                    <a:pt x="75" y="186"/>
                  </a:lnTo>
                  <a:lnTo>
                    <a:pt x="90" y="95"/>
                  </a:lnTo>
                  <a:lnTo>
                    <a:pt x="105" y="11"/>
                  </a:lnTo>
                  <a:lnTo>
                    <a:pt x="106" y="6"/>
                  </a:lnTo>
                  <a:lnTo>
                    <a:pt x="109" y="2"/>
                  </a:lnTo>
                  <a:lnTo>
                    <a:pt x="114" y="0"/>
                  </a:lnTo>
                  <a:lnTo>
                    <a:pt x="118" y="0"/>
                  </a:lnTo>
                  <a:lnTo>
                    <a:pt x="123" y="0"/>
                  </a:lnTo>
                  <a:lnTo>
                    <a:pt x="127" y="3"/>
                  </a:lnTo>
                  <a:lnTo>
                    <a:pt x="130" y="6"/>
                  </a:lnTo>
                  <a:lnTo>
                    <a:pt x="131" y="11"/>
                  </a:lnTo>
                  <a:lnTo>
                    <a:pt x="181" y="397"/>
                  </a:lnTo>
                  <a:lnTo>
                    <a:pt x="181" y="399"/>
                  </a:lnTo>
                  <a:lnTo>
                    <a:pt x="181" y="402"/>
                  </a:lnTo>
                  <a:lnTo>
                    <a:pt x="180" y="405"/>
                  </a:lnTo>
                  <a:lnTo>
                    <a:pt x="179" y="408"/>
                  </a:lnTo>
                  <a:lnTo>
                    <a:pt x="24" y="589"/>
                  </a:lnTo>
                  <a:lnTo>
                    <a:pt x="24" y="589"/>
                  </a:lnTo>
                  <a:lnTo>
                    <a:pt x="24" y="589"/>
                  </a:lnTo>
                  <a:lnTo>
                    <a:pt x="22" y="591"/>
                  </a:lnTo>
                  <a:lnTo>
                    <a:pt x="20" y="594"/>
                  </a:lnTo>
                  <a:lnTo>
                    <a:pt x="17" y="595"/>
                  </a:lnTo>
                  <a:lnTo>
                    <a:pt x="13" y="595"/>
                  </a:lnTo>
                  <a:close/>
                  <a:moveTo>
                    <a:pt x="116" y="105"/>
                  </a:moveTo>
                  <a:lnTo>
                    <a:pt x="116" y="105"/>
                  </a:lnTo>
                  <a:lnTo>
                    <a:pt x="102" y="191"/>
                  </a:lnTo>
                  <a:lnTo>
                    <a:pt x="88" y="265"/>
                  </a:lnTo>
                  <a:lnTo>
                    <a:pt x="77" y="330"/>
                  </a:lnTo>
                  <a:lnTo>
                    <a:pt x="67" y="386"/>
                  </a:lnTo>
                  <a:lnTo>
                    <a:pt x="59" y="433"/>
                  </a:lnTo>
                  <a:lnTo>
                    <a:pt x="51" y="473"/>
                  </a:lnTo>
                  <a:lnTo>
                    <a:pt x="45" y="504"/>
                  </a:lnTo>
                  <a:lnTo>
                    <a:pt x="39" y="530"/>
                  </a:lnTo>
                  <a:lnTo>
                    <a:pt x="154" y="395"/>
                  </a:lnTo>
                  <a:lnTo>
                    <a:pt x="116" y="10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228"/>
            <p:cNvSpPr>
              <a:spLocks/>
            </p:cNvSpPr>
            <p:nvPr userDrawn="1"/>
          </p:nvSpPr>
          <p:spPr bwMode="auto">
            <a:xfrm>
              <a:off x="4337050" y="5413375"/>
              <a:ext cx="687388" cy="95250"/>
            </a:xfrm>
            <a:custGeom>
              <a:avLst/>
              <a:gdLst>
                <a:gd name="T0" fmla="*/ 11 w 1299"/>
                <a:gd name="T1" fmla="*/ 181 h 181"/>
                <a:gd name="T2" fmla="*/ 4 w 1299"/>
                <a:gd name="T3" fmla="*/ 178 h 181"/>
                <a:gd name="T4" fmla="*/ 0 w 1299"/>
                <a:gd name="T5" fmla="*/ 171 h 181"/>
                <a:gd name="T6" fmla="*/ 2 w 1299"/>
                <a:gd name="T7" fmla="*/ 161 h 181"/>
                <a:gd name="T8" fmla="*/ 11 w 1299"/>
                <a:gd name="T9" fmla="*/ 153 h 181"/>
                <a:gd name="T10" fmla="*/ 52 w 1299"/>
                <a:gd name="T11" fmla="*/ 130 h 181"/>
                <a:gd name="T12" fmla="*/ 108 w 1299"/>
                <a:gd name="T13" fmla="*/ 104 h 181"/>
                <a:gd name="T14" fmla="*/ 159 w 1299"/>
                <a:gd name="T15" fmla="*/ 83 h 181"/>
                <a:gd name="T16" fmla="*/ 218 w 1299"/>
                <a:gd name="T17" fmla="*/ 63 h 181"/>
                <a:gd name="T18" fmla="*/ 288 w 1299"/>
                <a:gd name="T19" fmla="*/ 44 h 181"/>
                <a:gd name="T20" fmla="*/ 368 w 1299"/>
                <a:gd name="T21" fmla="*/ 27 h 181"/>
                <a:gd name="T22" fmla="*/ 458 w 1299"/>
                <a:gd name="T23" fmla="*/ 13 h 181"/>
                <a:gd name="T24" fmla="*/ 558 w 1299"/>
                <a:gd name="T25" fmla="*/ 4 h 181"/>
                <a:gd name="T26" fmla="*/ 668 w 1299"/>
                <a:gd name="T27" fmla="*/ 0 h 181"/>
                <a:gd name="T28" fmla="*/ 788 w 1299"/>
                <a:gd name="T29" fmla="*/ 4 h 181"/>
                <a:gd name="T30" fmla="*/ 919 w 1299"/>
                <a:gd name="T31" fmla="*/ 15 h 181"/>
                <a:gd name="T32" fmla="*/ 1059 w 1299"/>
                <a:gd name="T33" fmla="*/ 37 h 181"/>
                <a:gd name="T34" fmla="*/ 1209 w 1299"/>
                <a:gd name="T35" fmla="*/ 68 h 181"/>
                <a:gd name="T36" fmla="*/ 1293 w 1299"/>
                <a:gd name="T37" fmla="*/ 91 h 181"/>
                <a:gd name="T38" fmla="*/ 1299 w 1299"/>
                <a:gd name="T39" fmla="*/ 99 h 181"/>
                <a:gd name="T40" fmla="*/ 1296 w 1299"/>
                <a:gd name="T41" fmla="*/ 110 h 181"/>
                <a:gd name="T42" fmla="*/ 1287 w 1299"/>
                <a:gd name="T43" fmla="*/ 114 h 181"/>
                <a:gd name="T44" fmla="*/ 1204 w 1299"/>
                <a:gd name="T45" fmla="*/ 95 h 181"/>
                <a:gd name="T46" fmla="*/ 1056 w 1299"/>
                <a:gd name="T47" fmla="*/ 64 h 181"/>
                <a:gd name="T48" fmla="*/ 918 w 1299"/>
                <a:gd name="T49" fmla="*/ 42 h 181"/>
                <a:gd name="T50" fmla="*/ 789 w 1299"/>
                <a:gd name="T51" fmla="*/ 31 h 181"/>
                <a:gd name="T52" fmla="*/ 672 w 1299"/>
                <a:gd name="T53" fmla="*/ 27 h 181"/>
                <a:gd name="T54" fmla="*/ 564 w 1299"/>
                <a:gd name="T55" fmla="*/ 30 h 181"/>
                <a:gd name="T56" fmla="*/ 465 w 1299"/>
                <a:gd name="T57" fmla="*/ 39 h 181"/>
                <a:gd name="T58" fmla="*/ 377 w 1299"/>
                <a:gd name="T59" fmla="*/ 53 h 181"/>
                <a:gd name="T60" fmla="*/ 298 w 1299"/>
                <a:gd name="T61" fmla="*/ 69 h 181"/>
                <a:gd name="T62" fmla="*/ 230 w 1299"/>
                <a:gd name="T63" fmla="*/ 87 h 181"/>
                <a:gd name="T64" fmla="*/ 170 w 1299"/>
                <a:gd name="T65" fmla="*/ 107 h 181"/>
                <a:gd name="T66" fmla="*/ 122 w 1299"/>
                <a:gd name="T67" fmla="*/ 126 h 181"/>
                <a:gd name="T68" fmla="*/ 67 w 1299"/>
                <a:gd name="T69" fmla="*/ 152 h 181"/>
                <a:gd name="T70" fmla="*/ 27 w 1299"/>
                <a:gd name="T71" fmla="*/ 175 h 181"/>
                <a:gd name="T72" fmla="*/ 17 w 1299"/>
                <a:gd name="T73"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9" h="181">
                  <a:moveTo>
                    <a:pt x="13" y="181"/>
                  </a:moveTo>
                  <a:lnTo>
                    <a:pt x="11" y="181"/>
                  </a:lnTo>
                  <a:lnTo>
                    <a:pt x="7" y="180"/>
                  </a:lnTo>
                  <a:lnTo>
                    <a:pt x="4" y="178"/>
                  </a:lnTo>
                  <a:lnTo>
                    <a:pt x="2" y="176"/>
                  </a:lnTo>
                  <a:lnTo>
                    <a:pt x="0" y="171"/>
                  </a:lnTo>
                  <a:lnTo>
                    <a:pt x="0" y="166"/>
                  </a:lnTo>
                  <a:lnTo>
                    <a:pt x="2" y="161"/>
                  </a:lnTo>
                  <a:lnTo>
                    <a:pt x="5" y="158"/>
                  </a:lnTo>
                  <a:lnTo>
                    <a:pt x="11" y="153"/>
                  </a:lnTo>
                  <a:lnTo>
                    <a:pt x="27" y="144"/>
                  </a:lnTo>
                  <a:lnTo>
                    <a:pt x="52" y="130"/>
                  </a:lnTo>
                  <a:lnTo>
                    <a:pt x="87" y="112"/>
                  </a:lnTo>
                  <a:lnTo>
                    <a:pt x="108" y="104"/>
                  </a:lnTo>
                  <a:lnTo>
                    <a:pt x="132" y="93"/>
                  </a:lnTo>
                  <a:lnTo>
                    <a:pt x="159" y="83"/>
                  </a:lnTo>
                  <a:lnTo>
                    <a:pt x="187" y="73"/>
                  </a:lnTo>
                  <a:lnTo>
                    <a:pt x="218" y="63"/>
                  </a:lnTo>
                  <a:lnTo>
                    <a:pt x="251" y="53"/>
                  </a:lnTo>
                  <a:lnTo>
                    <a:pt x="288" y="44"/>
                  </a:lnTo>
                  <a:lnTo>
                    <a:pt x="327" y="35"/>
                  </a:lnTo>
                  <a:lnTo>
                    <a:pt x="368" y="27"/>
                  </a:lnTo>
                  <a:lnTo>
                    <a:pt x="411" y="19"/>
                  </a:lnTo>
                  <a:lnTo>
                    <a:pt x="458" y="13"/>
                  </a:lnTo>
                  <a:lnTo>
                    <a:pt x="506" y="8"/>
                  </a:lnTo>
                  <a:lnTo>
                    <a:pt x="558" y="4"/>
                  </a:lnTo>
                  <a:lnTo>
                    <a:pt x="612" y="1"/>
                  </a:lnTo>
                  <a:lnTo>
                    <a:pt x="668" y="0"/>
                  </a:lnTo>
                  <a:lnTo>
                    <a:pt x="727" y="1"/>
                  </a:lnTo>
                  <a:lnTo>
                    <a:pt x="788" y="4"/>
                  </a:lnTo>
                  <a:lnTo>
                    <a:pt x="852" y="9"/>
                  </a:lnTo>
                  <a:lnTo>
                    <a:pt x="919" y="15"/>
                  </a:lnTo>
                  <a:lnTo>
                    <a:pt x="987" y="25"/>
                  </a:lnTo>
                  <a:lnTo>
                    <a:pt x="1059" y="37"/>
                  </a:lnTo>
                  <a:lnTo>
                    <a:pt x="1133" y="51"/>
                  </a:lnTo>
                  <a:lnTo>
                    <a:pt x="1209" y="68"/>
                  </a:lnTo>
                  <a:lnTo>
                    <a:pt x="1288" y="89"/>
                  </a:lnTo>
                  <a:lnTo>
                    <a:pt x="1293" y="91"/>
                  </a:lnTo>
                  <a:lnTo>
                    <a:pt x="1297" y="95"/>
                  </a:lnTo>
                  <a:lnTo>
                    <a:pt x="1299" y="99"/>
                  </a:lnTo>
                  <a:lnTo>
                    <a:pt x="1298" y="105"/>
                  </a:lnTo>
                  <a:lnTo>
                    <a:pt x="1296" y="110"/>
                  </a:lnTo>
                  <a:lnTo>
                    <a:pt x="1291" y="113"/>
                  </a:lnTo>
                  <a:lnTo>
                    <a:pt x="1287" y="114"/>
                  </a:lnTo>
                  <a:lnTo>
                    <a:pt x="1282" y="114"/>
                  </a:lnTo>
                  <a:lnTo>
                    <a:pt x="1204" y="95"/>
                  </a:lnTo>
                  <a:lnTo>
                    <a:pt x="1128" y="78"/>
                  </a:lnTo>
                  <a:lnTo>
                    <a:pt x="1056" y="64"/>
                  </a:lnTo>
                  <a:lnTo>
                    <a:pt x="985" y="52"/>
                  </a:lnTo>
                  <a:lnTo>
                    <a:pt x="918" y="42"/>
                  </a:lnTo>
                  <a:lnTo>
                    <a:pt x="852" y="36"/>
                  </a:lnTo>
                  <a:lnTo>
                    <a:pt x="789" y="31"/>
                  </a:lnTo>
                  <a:lnTo>
                    <a:pt x="729" y="28"/>
                  </a:lnTo>
                  <a:lnTo>
                    <a:pt x="672" y="27"/>
                  </a:lnTo>
                  <a:lnTo>
                    <a:pt x="616" y="28"/>
                  </a:lnTo>
                  <a:lnTo>
                    <a:pt x="564" y="30"/>
                  </a:lnTo>
                  <a:lnTo>
                    <a:pt x="513" y="35"/>
                  </a:lnTo>
                  <a:lnTo>
                    <a:pt x="465" y="39"/>
                  </a:lnTo>
                  <a:lnTo>
                    <a:pt x="420" y="45"/>
                  </a:lnTo>
                  <a:lnTo>
                    <a:pt x="377" y="53"/>
                  </a:lnTo>
                  <a:lnTo>
                    <a:pt x="337" y="60"/>
                  </a:lnTo>
                  <a:lnTo>
                    <a:pt x="298" y="69"/>
                  </a:lnTo>
                  <a:lnTo>
                    <a:pt x="263" y="78"/>
                  </a:lnTo>
                  <a:lnTo>
                    <a:pt x="230" y="87"/>
                  </a:lnTo>
                  <a:lnTo>
                    <a:pt x="200" y="97"/>
                  </a:lnTo>
                  <a:lnTo>
                    <a:pt x="170" y="107"/>
                  </a:lnTo>
                  <a:lnTo>
                    <a:pt x="146" y="117"/>
                  </a:lnTo>
                  <a:lnTo>
                    <a:pt x="122" y="126"/>
                  </a:lnTo>
                  <a:lnTo>
                    <a:pt x="101" y="136"/>
                  </a:lnTo>
                  <a:lnTo>
                    <a:pt x="67" y="152"/>
                  </a:lnTo>
                  <a:lnTo>
                    <a:pt x="42" y="166"/>
                  </a:lnTo>
                  <a:lnTo>
                    <a:pt x="27" y="175"/>
                  </a:lnTo>
                  <a:lnTo>
                    <a:pt x="21" y="179"/>
                  </a:lnTo>
                  <a:lnTo>
                    <a:pt x="17" y="181"/>
                  </a:lnTo>
                  <a:lnTo>
                    <a:pt x="13" y="18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229"/>
            <p:cNvSpPr>
              <a:spLocks/>
            </p:cNvSpPr>
            <p:nvPr userDrawn="1"/>
          </p:nvSpPr>
          <p:spPr bwMode="auto">
            <a:xfrm>
              <a:off x="4265613" y="5286375"/>
              <a:ext cx="679450" cy="76200"/>
            </a:xfrm>
            <a:custGeom>
              <a:avLst/>
              <a:gdLst>
                <a:gd name="T0" fmla="*/ 1270 w 1285"/>
                <a:gd name="T1" fmla="*/ 144 h 144"/>
                <a:gd name="T2" fmla="*/ 1171 w 1285"/>
                <a:gd name="T3" fmla="*/ 122 h 144"/>
                <a:gd name="T4" fmla="*/ 994 w 1285"/>
                <a:gd name="T5" fmla="*/ 86 h 144"/>
                <a:gd name="T6" fmla="*/ 835 w 1285"/>
                <a:gd name="T7" fmla="*/ 60 h 144"/>
                <a:gd name="T8" fmla="*/ 694 w 1285"/>
                <a:gd name="T9" fmla="*/ 43 h 144"/>
                <a:gd name="T10" fmla="*/ 570 w 1285"/>
                <a:gd name="T11" fmla="*/ 32 h 144"/>
                <a:gd name="T12" fmla="*/ 462 w 1285"/>
                <a:gd name="T13" fmla="*/ 29 h 144"/>
                <a:gd name="T14" fmla="*/ 368 w 1285"/>
                <a:gd name="T15" fmla="*/ 31 h 144"/>
                <a:gd name="T16" fmla="*/ 287 w 1285"/>
                <a:gd name="T17" fmla="*/ 37 h 144"/>
                <a:gd name="T18" fmla="*/ 220 w 1285"/>
                <a:gd name="T19" fmla="*/ 47 h 144"/>
                <a:gd name="T20" fmla="*/ 165 w 1285"/>
                <a:gd name="T21" fmla="*/ 60 h 144"/>
                <a:gd name="T22" fmla="*/ 120 w 1285"/>
                <a:gd name="T23" fmla="*/ 74 h 144"/>
                <a:gd name="T24" fmla="*/ 85 w 1285"/>
                <a:gd name="T25" fmla="*/ 88 h 144"/>
                <a:gd name="T26" fmla="*/ 49 w 1285"/>
                <a:gd name="T27" fmla="*/ 107 h 144"/>
                <a:gd name="T28" fmla="*/ 27 w 1285"/>
                <a:gd name="T29" fmla="*/ 125 h 144"/>
                <a:gd name="T30" fmla="*/ 20 w 1285"/>
                <a:gd name="T31" fmla="*/ 131 h 144"/>
                <a:gd name="T32" fmla="*/ 9 w 1285"/>
                <a:gd name="T33" fmla="*/ 133 h 144"/>
                <a:gd name="T34" fmla="*/ 2 w 1285"/>
                <a:gd name="T35" fmla="*/ 127 h 144"/>
                <a:gd name="T36" fmla="*/ 0 w 1285"/>
                <a:gd name="T37" fmla="*/ 117 h 144"/>
                <a:gd name="T38" fmla="*/ 6 w 1285"/>
                <a:gd name="T39" fmla="*/ 107 h 144"/>
                <a:gd name="T40" fmla="*/ 21 w 1285"/>
                <a:gd name="T41" fmla="*/ 93 h 144"/>
                <a:gd name="T42" fmla="*/ 41 w 1285"/>
                <a:gd name="T43" fmla="*/ 80 h 144"/>
                <a:gd name="T44" fmla="*/ 68 w 1285"/>
                <a:gd name="T45" fmla="*/ 65 h 144"/>
                <a:gd name="T46" fmla="*/ 103 w 1285"/>
                <a:gd name="T47" fmla="*/ 50 h 144"/>
                <a:gd name="T48" fmla="*/ 149 w 1285"/>
                <a:gd name="T49" fmla="*/ 35 h 144"/>
                <a:gd name="T50" fmla="*/ 205 w 1285"/>
                <a:gd name="T51" fmla="*/ 21 h 144"/>
                <a:gd name="T52" fmla="*/ 274 w 1285"/>
                <a:gd name="T53" fmla="*/ 10 h 144"/>
                <a:gd name="T54" fmla="*/ 355 w 1285"/>
                <a:gd name="T55" fmla="*/ 4 h 144"/>
                <a:gd name="T56" fmla="*/ 451 w 1285"/>
                <a:gd name="T57" fmla="*/ 0 h 144"/>
                <a:gd name="T58" fmla="*/ 561 w 1285"/>
                <a:gd name="T59" fmla="*/ 4 h 144"/>
                <a:gd name="T60" fmla="*/ 689 w 1285"/>
                <a:gd name="T61" fmla="*/ 13 h 144"/>
                <a:gd name="T62" fmla="*/ 832 w 1285"/>
                <a:gd name="T63" fmla="*/ 32 h 144"/>
                <a:gd name="T64" fmla="*/ 994 w 1285"/>
                <a:gd name="T65" fmla="*/ 59 h 144"/>
                <a:gd name="T66" fmla="*/ 1176 w 1285"/>
                <a:gd name="T67" fmla="*/ 95 h 144"/>
                <a:gd name="T68" fmla="*/ 1279 w 1285"/>
                <a:gd name="T69" fmla="*/ 120 h 144"/>
                <a:gd name="T70" fmla="*/ 1285 w 1285"/>
                <a:gd name="T71" fmla="*/ 129 h 144"/>
                <a:gd name="T72" fmla="*/ 1283 w 1285"/>
                <a:gd name="T73" fmla="*/ 139 h 144"/>
                <a:gd name="T74" fmla="*/ 1275 w 1285"/>
                <a:gd name="T7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5" h="144">
                  <a:moveTo>
                    <a:pt x="1271" y="144"/>
                  </a:moveTo>
                  <a:lnTo>
                    <a:pt x="1270" y="144"/>
                  </a:lnTo>
                  <a:lnTo>
                    <a:pt x="1267" y="144"/>
                  </a:lnTo>
                  <a:lnTo>
                    <a:pt x="1171" y="122"/>
                  </a:lnTo>
                  <a:lnTo>
                    <a:pt x="1081" y="103"/>
                  </a:lnTo>
                  <a:lnTo>
                    <a:pt x="994" y="86"/>
                  </a:lnTo>
                  <a:lnTo>
                    <a:pt x="912" y="72"/>
                  </a:lnTo>
                  <a:lnTo>
                    <a:pt x="835" y="60"/>
                  </a:lnTo>
                  <a:lnTo>
                    <a:pt x="763" y="50"/>
                  </a:lnTo>
                  <a:lnTo>
                    <a:pt x="694" y="43"/>
                  </a:lnTo>
                  <a:lnTo>
                    <a:pt x="630" y="36"/>
                  </a:lnTo>
                  <a:lnTo>
                    <a:pt x="570" y="32"/>
                  </a:lnTo>
                  <a:lnTo>
                    <a:pt x="514" y="30"/>
                  </a:lnTo>
                  <a:lnTo>
                    <a:pt x="462" y="29"/>
                  </a:lnTo>
                  <a:lnTo>
                    <a:pt x="412" y="29"/>
                  </a:lnTo>
                  <a:lnTo>
                    <a:pt x="368" y="31"/>
                  </a:lnTo>
                  <a:lnTo>
                    <a:pt x="326" y="34"/>
                  </a:lnTo>
                  <a:lnTo>
                    <a:pt x="287" y="37"/>
                  </a:lnTo>
                  <a:lnTo>
                    <a:pt x="252" y="41"/>
                  </a:lnTo>
                  <a:lnTo>
                    <a:pt x="220" y="47"/>
                  </a:lnTo>
                  <a:lnTo>
                    <a:pt x="191" y="53"/>
                  </a:lnTo>
                  <a:lnTo>
                    <a:pt x="165" y="60"/>
                  </a:lnTo>
                  <a:lnTo>
                    <a:pt x="141" y="66"/>
                  </a:lnTo>
                  <a:lnTo>
                    <a:pt x="120" y="74"/>
                  </a:lnTo>
                  <a:lnTo>
                    <a:pt x="101" y="80"/>
                  </a:lnTo>
                  <a:lnTo>
                    <a:pt x="85" y="88"/>
                  </a:lnTo>
                  <a:lnTo>
                    <a:pt x="71" y="94"/>
                  </a:lnTo>
                  <a:lnTo>
                    <a:pt x="49" y="107"/>
                  </a:lnTo>
                  <a:lnTo>
                    <a:pt x="35" y="118"/>
                  </a:lnTo>
                  <a:lnTo>
                    <a:pt x="27" y="125"/>
                  </a:lnTo>
                  <a:lnTo>
                    <a:pt x="23" y="128"/>
                  </a:lnTo>
                  <a:lnTo>
                    <a:pt x="20" y="131"/>
                  </a:lnTo>
                  <a:lnTo>
                    <a:pt x="15" y="133"/>
                  </a:lnTo>
                  <a:lnTo>
                    <a:pt x="9" y="133"/>
                  </a:lnTo>
                  <a:lnTo>
                    <a:pt x="5" y="131"/>
                  </a:lnTo>
                  <a:lnTo>
                    <a:pt x="2" y="127"/>
                  </a:lnTo>
                  <a:lnTo>
                    <a:pt x="0" y="122"/>
                  </a:lnTo>
                  <a:lnTo>
                    <a:pt x="0" y="117"/>
                  </a:lnTo>
                  <a:lnTo>
                    <a:pt x="2" y="112"/>
                  </a:lnTo>
                  <a:lnTo>
                    <a:pt x="6" y="107"/>
                  </a:lnTo>
                  <a:lnTo>
                    <a:pt x="15" y="99"/>
                  </a:lnTo>
                  <a:lnTo>
                    <a:pt x="21" y="93"/>
                  </a:lnTo>
                  <a:lnTo>
                    <a:pt x="30" y="87"/>
                  </a:lnTo>
                  <a:lnTo>
                    <a:pt x="41" y="80"/>
                  </a:lnTo>
                  <a:lnTo>
                    <a:pt x="53" y="73"/>
                  </a:lnTo>
                  <a:lnTo>
                    <a:pt x="68" y="65"/>
                  </a:lnTo>
                  <a:lnTo>
                    <a:pt x="84" y="58"/>
                  </a:lnTo>
                  <a:lnTo>
                    <a:pt x="103" y="50"/>
                  </a:lnTo>
                  <a:lnTo>
                    <a:pt x="124" y="43"/>
                  </a:lnTo>
                  <a:lnTo>
                    <a:pt x="149" y="35"/>
                  </a:lnTo>
                  <a:lnTo>
                    <a:pt x="176" y="27"/>
                  </a:lnTo>
                  <a:lnTo>
                    <a:pt x="205" y="21"/>
                  </a:lnTo>
                  <a:lnTo>
                    <a:pt x="237" y="16"/>
                  </a:lnTo>
                  <a:lnTo>
                    <a:pt x="274" y="10"/>
                  </a:lnTo>
                  <a:lnTo>
                    <a:pt x="313" y="6"/>
                  </a:lnTo>
                  <a:lnTo>
                    <a:pt x="355" y="4"/>
                  </a:lnTo>
                  <a:lnTo>
                    <a:pt x="401" y="2"/>
                  </a:lnTo>
                  <a:lnTo>
                    <a:pt x="451" y="0"/>
                  </a:lnTo>
                  <a:lnTo>
                    <a:pt x="504" y="2"/>
                  </a:lnTo>
                  <a:lnTo>
                    <a:pt x="561" y="4"/>
                  </a:lnTo>
                  <a:lnTo>
                    <a:pt x="623" y="8"/>
                  </a:lnTo>
                  <a:lnTo>
                    <a:pt x="689" y="13"/>
                  </a:lnTo>
                  <a:lnTo>
                    <a:pt x="758" y="22"/>
                  </a:lnTo>
                  <a:lnTo>
                    <a:pt x="832" y="32"/>
                  </a:lnTo>
                  <a:lnTo>
                    <a:pt x="911" y="44"/>
                  </a:lnTo>
                  <a:lnTo>
                    <a:pt x="994" y="59"/>
                  </a:lnTo>
                  <a:lnTo>
                    <a:pt x="1083" y="76"/>
                  </a:lnTo>
                  <a:lnTo>
                    <a:pt x="1176" y="95"/>
                  </a:lnTo>
                  <a:lnTo>
                    <a:pt x="1274" y="118"/>
                  </a:lnTo>
                  <a:lnTo>
                    <a:pt x="1279" y="120"/>
                  </a:lnTo>
                  <a:lnTo>
                    <a:pt x="1283" y="123"/>
                  </a:lnTo>
                  <a:lnTo>
                    <a:pt x="1285" y="129"/>
                  </a:lnTo>
                  <a:lnTo>
                    <a:pt x="1284" y="134"/>
                  </a:lnTo>
                  <a:lnTo>
                    <a:pt x="1283" y="139"/>
                  </a:lnTo>
                  <a:lnTo>
                    <a:pt x="1279" y="142"/>
                  </a:lnTo>
                  <a:lnTo>
                    <a:pt x="1275" y="144"/>
                  </a:lnTo>
                  <a:lnTo>
                    <a:pt x="1271" y="14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230"/>
            <p:cNvSpPr>
              <a:spLocks/>
            </p:cNvSpPr>
            <p:nvPr userDrawn="1"/>
          </p:nvSpPr>
          <p:spPr bwMode="auto">
            <a:xfrm>
              <a:off x="4179888" y="5189538"/>
              <a:ext cx="679450" cy="76200"/>
            </a:xfrm>
            <a:custGeom>
              <a:avLst/>
              <a:gdLst>
                <a:gd name="T0" fmla="*/ 1270 w 1285"/>
                <a:gd name="T1" fmla="*/ 143 h 143"/>
                <a:gd name="T2" fmla="*/ 1173 w 1285"/>
                <a:gd name="T3" fmla="*/ 122 h 143"/>
                <a:gd name="T4" fmla="*/ 994 w 1285"/>
                <a:gd name="T5" fmla="*/ 85 h 143"/>
                <a:gd name="T6" fmla="*/ 836 w 1285"/>
                <a:gd name="T7" fmla="*/ 59 h 143"/>
                <a:gd name="T8" fmla="*/ 695 w 1285"/>
                <a:gd name="T9" fmla="*/ 42 h 143"/>
                <a:gd name="T10" fmla="*/ 570 w 1285"/>
                <a:gd name="T11" fmla="*/ 31 h 143"/>
                <a:gd name="T12" fmla="*/ 462 w 1285"/>
                <a:gd name="T13" fmla="*/ 28 h 143"/>
                <a:gd name="T14" fmla="*/ 368 w 1285"/>
                <a:gd name="T15" fmla="*/ 30 h 143"/>
                <a:gd name="T16" fmla="*/ 288 w 1285"/>
                <a:gd name="T17" fmla="*/ 37 h 143"/>
                <a:gd name="T18" fmla="*/ 220 w 1285"/>
                <a:gd name="T19" fmla="*/ 46 h 143"/>
                <a:gd name="T20" fmla="*/ 165 w 1285"/>
                <a:gd name="T21" fmla="*/ 59 h 143"/>
                <a:gd name="T22" fmla="*/ 121 w 1285"/>
                <a:gd name="T23" fmla="*/ 73 h 143"/>
                <a:gd name="T24" fmla="*/ 85 w 1285"/>
                <a:gd name="T25" fmla="*/ 87 h 143"/>
                <a:gd name="T26" fmla="*/ 49 w 1285"/>
                <a:gd name="T27" fmla="*/ 107 h 143"/>
                <a:gd name="T28" fmla="*/ 27 w 1285"/>
                <a:gd name="T29" fmla="*/ 124 h 143"/>
                <a:gd name="T30" fmla="*/ 20 w 1285"/>
                <a:gd name="T31" fmla="*/ 131 h 143"/>
                <a:gd name="T32" fmla="*/ 11 w 1285"/>
                <a:gd name="T33" fmla="*/ 133 h 143"/>
                <a:gd name="T34" fmla="*/ 2 w 1285"/>
                <a:gd name="T35" fmla="*/ 126 h 143"/>
                <a:gd name="T36" fmla="*/ 0 w 1285"/>
                <a:gd name="T37" fmla="*/ 117 h 143"/>
                <a:gd name="T38" fmla="*/ 6 w 1285"/>
                <a:gd name="T39" fmla="*/ 107 h 143"/>
                <a:gd name="T40" fmla="*/ 23 w 1285"/>
                <a:gd name="T41" fmla="*/ 93 h 143"/>
                <a:gd name="T42" fmla="*/ 41 w 1285"/>
                <a:gd name="T43" fmla="*/ 80 h 143"/>
                <a:gd name="T44" fmla="*/ 68 w 1285"/>
                <a:gd name="T45" fmla="*/ 65 h 143"/>
                <a:gd name="T46" fmla="*/ 103 w 1285"/>
                <a:gd name="T47" fmla="*/ 50 h 143"/>
                <a:gd name="T48" fmla="*/ 149 w 1285"/>
                <a:gd name="T49" fmla="*/ 34 h 143"/>
                <a:gd name="T50" fmla="*/ 205 w 1285"/>
                <a:gd name="T51" fmla="*/ 20 h 143"/>
                <a:gd name="T52" fmla="*/ 274 w 1285"/>
                <a:gd name="T53" fmla="*/ 10 h 143"/>
                <a:gd name="T54" fmla="*/ 355 w 1285"/>
                <a:gd name="T55" fmla="*/ 3 h 143"/>
                <a:gd name="T56" fmla="*/ 451 w 1285"/>
                <a:gd name="T57" fmla="*/ 0 h 143"/>
                <a:gd name="T58" fmla="*/ 561 w 1285"/>
                <a:gd name="T59" fmla="*/ 3 h 143"/>
                <a:gd name="T60" fmla="*/ 689 w 1285"/>
                <a:gd name="T61" fmla="*/ 13 h 143"/>
                <a:gd name="T62" fmla="*/ 832 w 1285"/>
                <a:gd name="T63" fmla="*/ 31 h 143"/>
                <a:gd name="T64" fmla="*/ 994 w 1285"/>
                <a:gd name="T65" fmla="*/ 58 h 143"/>
                <a:gd name="T66" fmla="*/ 1176 w 1285"/>
                <a:gd name="T67" fmla="*/ 95 h 143"/>
                <a:gd name="T68" fmla="*/ 1279 w 1285"/>
                <a:gd name="T69" fmla="*/ 120 h 143"/>
                <a:gd name="T70" fmla="*/ 1285 w 1285"/>
                <a:gd name="T71" fmla="*/ 128 h 143"/>
                <a:gd name="T72" fmla="*/ 1283 w 1285"/>
                <a:gd name="T73" fmla="*/ 138 h 143"/>
                <a:gd name="T74" fmla="*/ 1276 w 1285"/>
                <a:gd name="T75"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5" h="143">
                  <a:moveTo>
                    <a:pt x="1271" y="143"/>
                  </a:moveTo>
                  <a:lnTo>
                    <a:pt x="1270" y="143"/>
                  </a:lnTo>
                  <a:lnTo>
                    <a:pt x="1269" y="143"/>
                  </a:lnTo>
                  <a:lnTo>
                    <a:pt x="1173" y="122"/>
                  </a:lnTo>
                  <a:lnTo>
                    <a:pt x="1081" y="102"/>
                  </a:lnTo>
                  <a:lnTo>
                    <a:pt x="994" y="85"/>
                  </a:lnTo>
                  <a:lnTo>
                    <a:pt x="913" y="71"/>
                  </a:lnTo>
                  <a:lnTo>
                    <a:pt x="836" y="59"/>
                  </a:lnTo>
                  <a:lnTo>
                    <a:pt x="763" y="50"/>
                  </a:lnTo>
                  <a:lnTo>
                    <a:pt x="695" y="42"/>
                  </a:lnTo>
                  <a:lnTo>
                    <a:pt x="630" y="36"/>
                  </a:lnTo>
                  <a:lnTo>
                    <a:pt x="570" y="31"/>
                  </a:lnTo>
                  <a:lnTo>
                    <a:pt x="514" y="29"/>
                  </a:lnTo>
                  <a:lnTo>
                    <a:pt x="462" y="28"/>
                  </a:lnTo>
                  <a:lnTo>
                    <a:pt x="413" y="28"/>
                  </a:lnTo>
                  <a:lnTo>
                    <a:pt x="368" y="30"/>
                  </a:lnTo>
                  <a:lnTo>
                    <a:pt x="326" y="33"/>
                  </a:lnTo>
                  <a:lnTo>
                    <a:pt x="288" y="37"/>
                  </a:lnTo>
                  <a:lnTo>
                    <a:pt x="253" y="41"/>
                  </a:lnTo>
                  <a:lnTo>
                    <a:pt x="220" y="46"/>
                  </a:lnTo>
                  <a:lnTo>
                    <a:pt x="191" y="53"/>
                  </a:lnTo>
                  <a:lnTo>
                    <a:pt x="165" y="59"/>
                  </a:lnTo>
                  <a:lnTo>
                    <a:pt x="141" y="66"/>
                  </a:lnTo>
                  <a:lnTo>
                    <a:pt x="121" y="73"/>
                  </a:lnTo>
                  <a:lnTo>
                    <a:pt x="101" y="80"/>
                  </a:lnTo>
                  <a:lnTo>
                    <a:pt x="85" y="87"/>
                  </a:lnTo>
                  <a:lnTo>
                    <a:pt x="71" y="94"/>
                  </a:lnTo>
                  <a:lnTo>
                    <a:pt x="49" y="107"/>
                  </a:lnTo>
                  <a:lnTo>
                    <a:pt x="35" y="118"/>
                  </a:lnTo>
                  <a:lnTo>
                    <a:pt x="27" y="124"/>
                  </a:lnTo>
                  <a:lnTo>
                    <a:pt x="25" y="127"/>
                  </a:lnTo>
                  <a:lnTo>
                    <a:pt x="20" y="131"/>
                  </a:lnTo>
                  <a:lnTo>
                    <a:pt x="15" y="133"/>
                  </a:lnTo>
                  <a:lnTo>
                    <a:pt x="11" y="133"/>
                  </a:lnTo>
                  <a:lnTo>
                    <a:pt x="5" y="131"/>
                  </a:lnTo>
                  <a:lnTo>
                    <a:pt x="2" y="126"/>
                  </a:lnTo>
                  <a:lnTo>
                    <a:pt x="0" y="122"/>
                  </a:lnTo>
                  <a:lnTo>
                    <a:pt x="0" y="117"/>
                  </a:lnTo>
                  <a:lnTo>
                    <a:pt x="3" y="111"/>
                  </a:lnTo>
                  <a:lnTo>
                    <a:pt x="6" y="107"/>
                  </a:lnTo>
                  <a:lnTo>
                    <a:pt x="15" y="98"/>
                  </a:lnTo>
                  <a:lnTo>
                    <a:pt x="23" y="93"/>
                  </a:lnTo>
                  <a:lnTo>
                    <a:pt x="30" y="86"/>
                  </a:lnTo>
                  <a:lnTo>
                    <a:pt x="41" y="80"/>
                  </a:lnTo>
                  <a:lnTo>
                    <a:pt x="53" y="72"/>
                  </a:lnTo>
                  <a:lnTo>
                    <a:pt x="68" y="65"/>
                  </a:lnTo>
                  <a:lnTo>
                    <a:pt x="84" y="57"/>
                  </a:lnTo>
                  <a:lnTo>
                    <a:pt x="103" y="50"/>
                  </a:lnTo>
                  <a:lnTo>
                    <a:pt x="125" y="42"/>
                  </a:lnTo>
                  <a:lnTo>
                    <a:pt x="149" y="34"/>
                  </a:lnTo>
                  <a:lnTo>
                    <a:pt x="176" y="27"/>
                  </a:lnTo>
                  <a:lnTo>
                    <a:pt x="205" y="20"/>
                  </a:lnTo>
                  <a:lnTo>
                    <a:pt x="238" y="15"/>
                  </a:lnTo>
                  <a:lnTo>
                    <a:pt x="274" y="10"/>
                  </a:lnTo>
                  <a:lnTo>
                    <a:pt x="313" y="5"/>
                  </a:lnTo>
                  <a:lnTo>
                    <a:pt x="355" y="3"/>
                  </a:lnTo>
                  <a:lnTo>
                    <a:pt x="402" y="1"/>
                  </a:lnTo>
                  <a:lnTo>
                    <a:pt x="451" y="0"/>
                  </a:lnTo>
                  <a:lnTo>
                    <a:pt x="504" y="1"/>
                  </a:lnTo>
                  <a:lnTo>
                    <a:pt x="561" y="3"/>
                  </a:lnTo>
                  <a:lnTo>
                    <a:pt x="623" y="7"/>
                  </a:lnTo>
                  <a:lnTo>
                    <a:pt x="689" y="13"/>
                  </a:lnTo>
                  <a:lnTo>
                    <a:pt x="758" y="22"/>
                  </a:lnTo>
                  <a:lnTo>
                    <a:pt x="832" y="31"/>
                  </a:lnTo>
                  <a:lnTo>
                    <a:pt x="911" y="43"/>
                  </a:lnTo>
                  <a:lnTo>
                    <a:pt x="994" y="58"/>
                  </a:lnTo>
                  <a:lnTo>
                    <a:pt x="1083" y="75"/>
                  </a:lnTo>
                  <a:lnTo>
                    <a:pt x="1176" y="95"/>
                  </a:lnTo>
                  <a:lnTo>
                    <a:pt x="1274" y="118"/>
                  </a:lnTo>
                  <a:lnTo>
                    <a:pt x="1279" y="120"/>
                  </a:lnTo>
                  <a:lnTo>
                    <a:pt x="1283" y="123"/>
                  </a:lnTo>
                  <a:lnTo>
                    <a:pt x="1285" y="128"/>
                  </a:lnTo>
                  <a:lnTo>
                    <a:pt x="1285" y="134"/>
                  </a:lnTo>
                  <a:lnTo>
                    <a:pt x="1283" y="138"/>
                  </a:lnTo>
                  <a:lnTo>
                    <a:pt x="1279" y="141"/>
                  </a:lnTo>
                  <a:lnTo>
                    <a:pt x="1276" y="143"/>
                  </a:lnTo>
                  <a:lnTo>
                    <a:pt x="1271" y="14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231"/>
            <p:cNvSpPr>
              <a:spLocks/>
            </p:cNvSpPr>
            <p:nvPr userDrawn="1"/>
          </p:nvSpPr>
          <p:spPr bwMode="auto">
            <a:xfrm>
              <a:off x="4414838" y="5519738"/>
              <a:ext cx="747713" cy="138113"/>
            </a:xfrm>
            <a:custGeom>
              <a:avLst/>
              <a:gdLst>
                <a:gd name="T0" fmla="*/ 1399 w 1415"/>
                <a:gd name="T1" fmla="*/ 261 h 261"/>
                <a:gd name="T2" fmla="*/ 1390 w 1415"/>
                <a:gd name="T3" fmla="*/ 258 h 261"/>
                <a:gd name="T4" fmla="*/ 1351 w 1415"/>
                <a:gd name="T5" fmla="*/ 241 h 261"/>
                <a:gd name="T6" fmla="*/ 1280 w 1415"/>
                <a:gd name="T7" fmla="*/ 211 h 261"/>
                <a:gd name="T8" fmla="*/ 1181 w 1415"/>
                <a:gd name="T9" fmla="*/ 175 h 261"/>
                <a:gd name="T10" fmla="*/ 1059 w 1415"/>
                <a:gd name="T11" fmla="*/ 135 h 261"/>
                <a:gd name="T12" fmla="*/ 918 w 1415"/>
                <a:gd name="T13" fmla="*/ 96 h 261"/>
                <a:gd name="T14" fmla="*/ 805 w 1415"/>
                <a:gd name="T15" fmla="*/ 69 h 261"/>
                <a:gd name="T16" fmla="*/ 726 w 1415"/>
                <a:gd name="T17" fmla="*/ 54 h 261"/>
                <a:gd name="T18" fmla="*/ 645 w 1415"/>
                <a:gd name="T19" fmla="*/ 42 h 261"/>
                <a:gd name="T20" fmla="*/ 563 w 1415"/>
                <a:gd name="T21" fmla="*/ 32 h 261"/>
                <a:gd name="T22" fmla="*/ 494 w 1415"/>
                <a:gd name="T23" fmla="*/ 27 h 261"/>
                <a:gd name="T24" fmla="*/ 442 w 1415"/>
                <a:gd name="T25" fmla="*/ 27 h 261"/>
                <a:gd name="T26" fmla="*/ 392 w 1415"/>
                <a:gd name="T27" fmla="*/ 29 h 261"/>
                <a:gd name="T28" fmla="*/ 344 w 1415"/>
                <a:gd name="T29" fmla="*/ 33 h 261"/>
                <a:gd name="T30" fmla="*/ 277 w 1415"/>
                <a:gd name="T31" fmla="*/ 44 h 261"/>
                <a:gd name="T32" fmla="*/ 198 w 1415"/>
                <a:gd name="T33" fmla="*/ 62 h 261"/>
                <a:gd name="T34" fmla="*/ 131 w 1415"/>
                <a:gd name="T35" fmla="*/ 84 h 261"/>
                <a:gd name="T36" fmla="*/ 78 w 1415"/>
                <a:gd name="T37" fmla="*/ 105 h 261"/>
                <a:gd name="T38" fmla="*/ 30 w 1415"/>
                <a:gd name="T39" fmla="*/ 128 h 261"/>
                <a:gd name="T40" fmla="*/ 15 w 1415"/>
                <a:gd name="T41" fmla="*/ 136 h 261"/>
                <a:gd name="T42" fmla="*/ 5 w 1415"/>
                <a:gd name="T43" fmla="*/ 134 h 261"/>
                <a:gd name="T44" fmla="*/ 0 w 1415"/>
                <a:gd name="T45" fmla="*/ 124 h 261"/>
                <a:gd name="T46" fmla="*/ 2 w 1415"/>
                <a:gd name="T47" fmla="*/ 114 h 261"/>
                <a:gd name="T48" fmla="*/ 18 w 1415"/>
                <a:gd name="T49" fmla="*/ 103 h 261"/>
                <a:gd name="T50" fmla="*/ 70 w 1415"/>
                <a:gd name="T51" fmla="*/ 79 h 261"/>
                <a:gd name="T52" fmla="*/ 124 w 1415"/>
                <a:gd name="T53" fmla="*/ 57 h 261"/>
                <a:gd name="T54" fmla="*/ 192 w 1415"/>
                <a:gd name="T55" fmla="*/ 35 h 261"/>
                <a:gd name="T56" fmla="*/ 273 w 1415"/>
                <a:gd name="T57" fmla="*/ 17 h 261"/>
                <a:gd name="T58" fmla="*/ 342 w 1415"/>
                <a:gd name="T59" fmla="*/ 6 h 261"/>
                <a:gd name="T60" fmla="*/ 390 w 1415"/>
                <a:gd name="T61" fmla="*/ 2 h 261"/>
                <a:gd name="T62" fmla="*/ 442 w 1415"/>
                <a:gd name="T63" fmla="*/ 0 h 261"/>
                <a:gd name="T64" fmla="*/ 495 w 1415"/>
                <a:gd name="T65" fmla="*/ 0 h 261"/>
                <a:gd name="T66" fmla="*/ 565 w 1415"/>
                <a:gd name="T67" fmla="*/ 5 h 261"/>
                <a:gd name="T68" fmla="*/ 649 w 1415"/>
                <a:gd name="T69" fmla="*/ 15 h 261"/>
                <a:gd name="T70" fmla="*/ 731 w 1415"/>
                <a:gd name="T71" fmla="*/ 28 h 261"/>
                <a:gd name="T72" fmla="*/ 810 w 1415"/>
                <a:gd name="T73" fmla="*/ 43 h 261"/>
                <a:gd name="T74" fmla="*/ 925 w 1415"/>
                <a:gd name="T75" fmla="*/ 70 h 261"/>
                <a:gd name="T76" fmla="*/ 1066 w 1415"/>
                <a:gd name="T77" fmla="*/ 109 h 261"/>
                <a:gd name="T78" fmla="*/ 1191 w 1415"/>
                <a:gd name="T79" fmla="*/ 150 h 261"/>
                <a:gd name="T80" fmla="*/ 1290 w 1415"/>
                <a:gd name="T81" fmla="*/ 187 h 261"/>
                <a:gd name="T82" fmla="*/ 1362 w 1415"/>
                <a:gd name="T83" fmla="*/ 216 h 261"/>
                <a:gd name="T84" fmla="*/ 1401 w 1415"/>
                <a:gd name="T85" fmla="*/ 233 h 261"/>
                <a:gd name="T86" fmla="*/ 1412 w 1415"/>
                <a:gd name="T87" fmla="*/ 238 h 261"/>
                <a:gd name="T88" fmla="*/ 1415 w 1415"/>
                <a:gd name="T89" fmla="*/ 248 h 261"/>
                <a:gd name="T90" fmla="*/ 1412 w 1415"/>
                <a:gd name="T91" fmla="*/ 257 h 261"/>
                <a:gd name="T92" fmla="*/ 1405 w 1415"/>
                <a:gd name="T9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15" h="261">
                  <a:moveTo>
                    <a:pt x="1401" y="261"/>
                  </a:moveTo>
                  <a:lnTo>
                    <a:pt x="1399" y="261"/>
                  </a:lnTo>
                  <a:lnTo>
                    <a:pt x="1396" y="260"/>
                  </a:lnTo>
                  <a:lnTo>
                    <a:pt x="1390" y="258"/>
                  </a:lnTo>
                  <a:lnTo>
                    <a:pt x="1375" y="250"/>
                  </a:lnTo>
                  <a:lnTo>
                    <a:pt x="1351" y="241"/>
                  </a:lnTo>
                  <a:lnTo>
                    <a:pt x="1319" y="228"/>
                  </a:lnTo>
                  <a:lnTo>
                    <a:pt x="1280" y="211"/>
                  </a:lnTo>
                  <a:lnTo>
                    <a:pt x="1234" y="194"/>
                  </a:lnTo>
                  <a:lnTo>
                    <a:pt x="1181" y="175"/>
                  </a:lnTo>
                  <a:lnTo>
                    <a:pt x="1123" y="155"/>
                  </a:lnTo>
                  <a:lnTo>
                    <a:pt x="1059" y="135"/>
                  </a:lnTo>
                  <a:lnTo>
                    <a:pt x="991" y="115"/>
                  </a:lnTo>
                  <a:lnTo>
                    <a:pt x="918" y="96"/>
                  </a:lnTo>
                  <a:lnTo>
                    <a:pt x="844" y="78"/>
                  </a:lnTo>
                  <a:lnTo>
                    <a:pt x="805" y="69"/>
                  </a:lnTo>
                  <a:lnTo>
                    <a:pt x="765" y="61"/>
                  </a:lnTo>
                  <a:lnTo>
                    <a:pt x="726" y="54"/>
                  </a:lnTo>
                  <a:lnTo>
                    <a:pt x="685" y="47"/>
                  </a:lnTo>
                  <a:lnTo>
                    <a:pt x="645" y="42"/>
                  </a:lnTo>
                  <a:lnTo>
                    <a:pt x="604" y="37"/>
                  </a:lnTo>
                  <a:lnTo>
                    <a:pt x="563" y="32"/>
                  </a:lnTo>
                  <a:lnTo>
                    <a:pt x="521" y="29"/>
                  </a:lnTo>
                  <a:lnTo>
                    <a:pt x="494" y="27"/>
                  </a:lnTo>
                  <a:lnTo>
                    <a:pt x="468" y="27"/>
                  </a:lnTo>
                  <a:lnTo>
                    <a:pt x="442" y="27"/>
                  </a:lnTo>
                  <a:lnTo>
                    <a:pt x="416" y="27"/>
                  </a:lnTo>
                  <a:lnTo>
                    <a:pt x="392" y="29"/>
                  </a:lnTo>
                  <a:lnTo>
                    <a:pt x="368" y="31"/>
                  </a:lnTo>
                  <a:lnTo>
                    <a:pt x="344" y="33"/>
                  </a:lnTo>
                  <a:lnTo>
                    <a:pt x="321" y="37"/>
                  </a:lnTo>
                  <a:lnTo>
                    <a:pt x="277" y="44"/>
                  </a:lnTo>
                  <a:lnTo>
                    <a:pt x="236" y="53"/>
                  </a:lnTo>
                  <a:lnTo>
                    <a:pt x="198" y="62"/>
                  </a:lnTo>
                  <a:lnTo>
                    <a:pt x="163" y="73"/>
                  </a:lnTo>
                  <a:lnTo>
                    <a:pt x="131" y="84"/>
                  </a:lnTo>
                  <a:lnTo>
                    <a:pt x="103" y="95"/>
                  </a:lnTo>
                  <a:lnTo>
                    <a:pt x="78" y="105"/>
                  </a:lnTo>
                  <a:lnTo>
                    <a:pt x="58" y="114"/>
                  </a:lnTo>
                  <a:lnTo>
                    <a:pt x="30" y="128"/>
                  </a:lnTo>
                  <a:lnTo>
                    <a:pt x="20" y="134"/>
                  </a:lnTo>
                  <a:lnTo>
                    <a:pt x="15" y="136"/>
                  </a:lnTo>
                  <a:lnTo>
                    <a:pt x="9" y="136"/>
                  </a:lnTo>
                  <a:lnTo>
                    <a:pt x="5" y="134"/>
                  </a:lnTo>
                  <a:lnTo>
                    <a:pt x="2" y="129"/>
                  </a:lnTo>
                  <a:lnTo>
                    <a:pt x="0" y="124"/>
                  </a:lnTo>
                  <a:lnTo>
                    <a:pt x="0" y="120"/>
                  </a:lnTo>
                  <a:lnTo>
                    <a:pt x="2" y="114"/>
                  </a:lnTo>
                  <a:lnTo>
                    <a:pt x="6" y="111"/>
                  </a:lnTo>
                  <a:lnTo>
                    <a:pt x="18" y="103"/>
                  </a:lnTo>
                  <a:lnTo>
                    <a:pt x="48" y="88"/>
                  </a:lnTo>
                  <a:lnTo>
                    <a:pt x="70" y="79"/>
                  </a:lnTo>
                  <a:lnTo>
                    <a:pt x="95" y="69"/>
                  </a:lnTo>
                  <a:lnTo>
                    <a:pt x="124" y="57"/>
                  </a:lnTo>
                  <a:lnTo>
                    <a:pt x="156" y="46"/>
                  </a:lnTo>
                  <a:lnTo>
                    <a:pt x="192" y="35"/>
                  </a:lnTo>
                  <a:lnTo>
                    <a:pt x="231" y="26"/>
                  </a:lnTo>
                  <a:lnTo>
                    <a:pt x="273" y="17"/>
                  </a:lnTo>
                  <a:lnTo>
                    <a:pt x="318" y="10"/>
                  </a:lnTo>
                  <a:lnTo>
                    <a:pt x="342" y="6"/>
                  </a:lnTo>
                  <a:lnTo>
                    <a:pt x="366" y="3"/>
                  </a:lnTo>
                  <a:lnTo>
                    <a:pt x="390" y="2"/>
                  </a:lnTo>
                  <a:lnTo>
                    <a:pt x="415" y="0"/>
                  </a:lnTo>
                  <a:lnTo>
                    <a:pt x="442" y="0"/>
                  </a:lnTo>
                  <a:lnTo>
                    <a:pt x="468" y="0"/>
                  </a:lnTo>
                  <a:lnTo>
                    <a:pt x="495" y="0"/>
                  </a:lnTo>
                  <a:lnTo>
                    <a:pt x="523" y="2"/>
                  </a:lnTo>
                  <a:lnTo>
                    <a:pt x="565" y="5"/>
                  </a:lnTo>
                  <a:lnTo>
                    <a:pt x="606" y="10"/>
                  </a:lnTo>
                  <a:lnTo>
                    <a:pt x="649" y="15"/>
                  </a:lnTo>
                  <a:lnTo>
                    <a:pt x="690" y="20"/>
                  </a:lnTo>
                  <a:lnTo>
                    <a:pt x="731" y="28"/>
                  </a:lnTo>
                  <a:lnTo>
                    <a:pt x="771" y="34"/>
                  </a:lnTo>
                  <a:lnTo>
                    <a:pt x="810" y="43"/>
                  </a:lnTo>
                  <a:lnTo>
                    <a:pt x="849" y="52"/>
                  </a:lnTo>
                  <a:lnTo>
                    <a:pt x="925" y="70"/>
                  </a:lnTo>
                  <a:lnTo>
                    <a:pt x="998" y="89"/>
                  </a:lnTo>
                  <a:lnTo>
                    <a:pt x="1066" y="109"/>
                  </a:lnTo>
                  <a:lnTo>
                    <a:pt x="1131" y="129"/>
                  </a:lnTo>
                  <a:lnTo>
                    <a:pt x="1191" y="150"/>
                  </a:lnTo>
                  <a:lnTo>
                    <a:pt x="1243" y="169"/>
                  </a:lnTo>
                  <a:lnTo>
                    <a:pt x="1290" y="187"/>
                  </a:lnTo>
                  <a:lnTo>
                    <a:pt x="1330" y="203"/>
                  </a:lnTo>
                  <a:lnTo>
                    <a:pt x="1362" y="216"/>
                  </a:lnTo>
                  <a:lnTo>
                    <a:pt x="1386" y="227"/>
                  </a:lnTo>
                  <a:lnTo>
                    <a:pt x="1401" y="233"/>
                  </a:lnTo>
                  <a:lnTo>
                    <a:pt x="1408" y="235"/>
                  </a:lnTo>
                  <a:lnTo>
                    <a:pt x="1412" y="238"/>
                  </a:lnTo>
                  <a:lnTo>
                    <a:pt x="1414" y="243"/>
                  </a:lnTo>
                  <a:lnTo>
                    <a:pt x="1415" y="248"/>
                  </a:lnTo>
                  <a:lnTo>
                    <a:pt x="1414" y="254"/>
                  </a:lnTo>
                  <a:lnTo>
                    <a:pt x="1412" y="257"/>
                  </a:lnTo>
                  <a:lnTo>
                    <a:pt x="1409" y="259"/>
                  </a:lnTo>
                  <a:lnTo>
                    <a:pt x="1405" y="261"/>
                  </a:lnTo>
                  <a:lnTo>
                    <a:pt x="1401" y="26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232"/>
            <p:cNvSpPr>
              <a:spLocks/>
            </p:cNvSpPr>
            <p:nvPr userDrawn="1"/>
          </p:nvSpPr>
          <p:spPr bwMode="auto">
            <a:xfrm>
              <a:off x="4479925" y="5608638"/>
              <a:ext cx="733425" cy="163513"/>
            </a:xfrm>
            <a:custGeom>
              <a:avLst/>
              <a:gdLst>
                <a:gd name="T0" fmla="*/ 1371 w 1387"/>
                <a:gd name="T1" fmla="*/ 310 h 310"/>
                <a:gd name="T2" fmla="*/ 1336 w 1387"/>
                <a:gd name="T3" fmla="*/ 296 h 310"/>
                <a:gd name="T4" fmla="*/ 1264 w 1387"/>
                <a:gd name="T5" fmla="*/ 260 h 310"/>
                <a:gd name="T6" fmla="*/ 1146 w 1387"/>
                <a:gd name="T7" fmla="*/ 200 h 310"/>
                <a:gd name="T8" fmla="*/ 1021 w 1387"/>
                <a:gd name="T9" fmla="*/ 140 h 310"/>
                <a:gd name="T10" fmla="*/ 932 w 1387"/>
                <a:gd name="T11" fmla="*/ 104 h 310"/>
                <a:gd name="T12" fmla="*/ 838 w 1387"/>
                <a:gd name="T13" fmla="*/ 72 h 310"/>
                <a:gd name="T14" fmla="*/ 764 w 1387"/>
                <a:gd name="T15" fmla="*/ 52 h 310"/>
                <a:gd name="T16" fmla="*/ 714 w 1387"/>
                <a:gd name="T17" fmla="*/ 42 h 310"/>
                <a:gd name="T18" fmla="*/ 664 w 1387"/>
                <a:gd name="T19" fmla="*/ 35 h 310"/>
                <a:gd name="T20" fmla="*/ 613 w 1387"/>
                <a:gd name="T21" fmla="*/ 29 h 310"/>
                <a:gd name="T22" fmla="*/ 561 w 1387"/>
                <a:gd name="T23" fmla="*/ 28 h 310"/>
                <a:gd name="T24" fmla="*/ 509 w 1387"/>
                <a:gd name="T25" fmla="*/ 29 h 310"/>
                <a:gd name="T26" fmla="*/ 434 w 1387"/>
                <a:gd name="T27" fmla="*/ 37 h 310"/>
                <a:gd name="T28" fmla="*/ 340 w 1387"/>
                <a:gd name="T29" fmla="*/ 51 h 310"/>
                <a:gd name="T30" fmla="*/ 256 w 1387"/>
                <a:gd name="T31" fmla="*/ 67 h 310"/>
                <a:gd name="T32" fmla="*/ 182 w 1387"/>
                <a:gd name="T33" fmla="*/ 84 h 310"/>
                <a:gd name="T34" fmla="*/ 95 w 1387"/>
                <a:gd name="T35" fmla="*/ 108 h 310"/>
                <a:gd name="T36" fmla="*/ 28 w 1387"/>
                <a:gd name="T37" fmla="*/ 130 h 310"/>
                <a:gd name="T38" fmla="*/ 13 w 1387"/>
                <a:gd name="T39" fmla="*/ 134 h 310"/>
                <a:gd name="T40" fmla="*/ 4 w 1387"/>
                <a:gd name="T41" fmla="*/ 131 h 310"/>
                <a:gd name="T42" fmla="*/ 0 w 1387"/>
                <a:gd name="T43" fmla="*/ 121 h 310"/>
                <a:gd name="T44" fmla="*/ 4 w 1387"/>
                <a:gd name="T45" fmla="*/ 111 h 310"/>
                <a:gd name="T46" fmla="*/ 18 w 1387"/>
                <a:gd name="T47" fmla="*/ 105 h 310"/>
                <a:gd name="T48" fmla="*/ 86 w 1387"/>
                <a:gd name="T49" fmla="*/ 82 h 310"/>
                <a:gd name="T50" fmla="*/ 175 w 1387"/>
                <a:gd name="T51" fmla="*/ 58 h 310"/>
                <a:gd name="T52" fmla="*/ 249 w 1387"/>
                <a:gd name="T53" fmla="*/ 41 h 310"/>
                <a:gd name="T54" fmla="*/ 334 w 1387"/>
                <a:gd name="T55" fmla="*/ 25 h 310"/>
                <a:gd name="T56" fmla="*/ 429 w 1387"/>
                <a:gd name="T57" fmla="*/ 11 h 310"/>
                <a:gd name="T58" fmla="*/ 507 w 1387"/>
                <a:gd name="T59" fmla="*/ 2 h 310"/>
                <a:gd name="T60" fmla="*/ 561 w 1387"/>
                <a:gd name="T61" fmla="*/ 0 h 310"/>
                <a:gd name="T62" fmla="*/ 614 w 1387"/>
                <a:gd name="T63" fmla="*/ 2 h 310"/>
                <a:gd name="T64" fmla="*/ 666 w 1387"/>
                <a:gd name="T65" fmla="*/ 8 h 310"/>
                <a:gd name="T66" fmla="*/ 718 w 1387"/>
                <a:gd name="T67" fmla="*/ 15 h 310"/>
                <a:gd name="T68" fmla="*/ 768 w 1387"/>
                <a:gd name="T69" fmla="*/ 25 h 310"/>
                <a:gd name="T70" fmla="*/ 843 w 1387"/>
                <a:gd name="T71" fmla="*/ 45 h 310"/>
                <a:gd name="T72" fmla="*/ 939 w 1387"/>
                <a:gd name="T73" fmla="*/ 78 h 310"/>
                <a:gd name="T74" fmla="*/ 1031 w 1387"/>
                <a:gd name="T75" fmla="*/ 116 h 310"/>
                <a:gd name="T76" fmla="*/ 1157 w 1387"/>
                <a:gd name="T77" fmla="*/ 176 h 310"/>
                <a:gd name="T78" fmla="*/ 1276 w 1387"/>
                <a:gd name="T79" fmla="*/ 235 h 310"/>
                <a:gd name="T80" fmla="*/ 1347 w 1387"/>
                <a:gd name="T81" fmla="*/ 271 h 310"/>
                <a:gd name="T82" fmla="*/ 1384 w 1387"/>
                <a:gd name="T83" fmla="*/ 287 h 310"/>
                <a:gd name="T84" fmla="*/ 1387 w 1387"/>
                <a:gd name="T85" fmla="*/ 297 h 310"/>
                <a:gd name="T86" fmla="*/ 1384 w 1387"/>
                <a:gd name="T87" fmla="*/ 306 h 310"/>
                <a:gd name="T88" fmla="*/ 1377 w 1387"/>
                <a:gd name="T89"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87" h="310">
                  <a:moveTo>
                    <a:pt x="1374" y="310"/>
                  </a:moveTo>
                  <a:lnTo>
                    <a:pt x="1371" y="310"/>
                  </a:lnTo>
                  <a:lnTo>
                    <a:pt x="1369" y="310"/>
                  </a:lnTo>
                  <a:lnTo>
                    <a:pt x="1336" y="296"/>
                  </a:lnTo>
                  <a:lnTo>
                    <a:pt x="1302" y="279"/>
                  </a:lnTo>
                  <a:lnTo>
                    <a:pt x="1264" y="260"/>
                  </a:lnTo>
                  <a:lnTo>
                    <a:pt x="1223" y="239"/>
                  </a:lnTo>
                  <a:lnTo>
                    <a:pt x="1146" y="200"/>
                  </a:lnTo>
                  <a:lnTo>
                    <a:pt x="1064" y="161"/>
                  </a:lnTo>
                  <a:lnTo>
                    <a:pt x="1021" y="140"/>
                  </a:lnTo>
                  <a:lnTo>
                    <a:pt x="977" y="122"/>
                  </a:lnTo>
                  <a:lnTo>
                    <a:pt x="932" y="104"/>
                  </a:lnTo>
                  <a:lnTo>
                    <a:pt x="885" y="88"/>
                  </a:lnTo>
                  <a:lnTo>
                    <a:pt x="838" y="72"/>
                  </a:lnTo>
                  <a:lnTo>
                    <a:pt x="789" y="58"/>
                  </a:lnTo>
                  <a:lnTo>
                    <a:pt x="764" y="52"/>
                  </a:lnTo>
                  <a:lnTo>
                    <a:pt x="739" y="47"/>
                  </a:lnTo>
                  <a:lnTo>
                    <a:pt x="714" y="42"/>
                  </a:lnTo>
                  <a:lnTo>
                    <a:pt x="690" y="38"/>
                  </a:lnTo>
                  <a:lnTo>
                    <a:pt x="664" y="35"/>
                  </a:lnTo>
                  <a:lnTo>
                    <a:pt x="639" y="31"/>
                  </a:lnTo>
                  <a:lnTo>
                    <a:pt x="613" y="29"/>
                  </a:lnTo>
                  <a:lnTo>
                    <a:pt x="587" y="28"/>
                  </a:lnTo>
                  <a:lnTo>
                    <a:pt x="561" y="28"/>
                  </a:lnTo>
                  <a:lnTo>
                    <a:pt x="535" y="28"/>
                  </a:lnTo>
                  <a:lnTo>
                    <a:pt x="509" y="29"/>
                  </a:lnTo>
                  <a:lnTo>
                    <a:pt x="483" y="31"/>
                  </a:lnTo>
                  <a:lnTo>
                    <a:pt x="434" y="37"/>
                  </a:lnTo>
                  <a:lnTo>
                    <a:pt x="385" y="44"/>
                  </a:lnTo>
                  <a:lnTo>
                    <a:pt x="340" y="51"/>
                  </a:lnTo>
                  <a:lnTo>
                    <a:pt x="296" y="59"/>
                  </a:lnTo>
                  <a:lnTo>
                    <a:pt x="256" y="67"/>
                  </a:lnTo>
                  <a:lnTo>
                    <a:pt x="217" y="76"/>
                  </a:lnTo>
                  <a:lnTo>
                    <a:pt x="182" y="84"/>
                  </a:lnTo>
                  <a:lnTo>
                    <a:pt x="150" y="93"/>
                  </a:lnTo>
                  <a:lnTo>
                    <a:pt x="95" y="108"/>
                  </a:lnTo>
                  <a:lnTo>
                    <a:pt x="54" y="121"/>
                  </a:lnTo>
                  <a:lnTo>
                    <a:pt x="28" y="130"/>
                  </a:lnTo>
                  <a:lnTo>
                    <a:pt x="18" y="134"/>
                  </a:lnTo>
                  <a:lnTo>
                    <a:pt x="13" y="134"/>
                  </a:lnTo>
                  <a:lnTo>
                    <a:pt x="8" y="133"/>
                  </a:lnTo>
                  <a:lnTo>
                    <a:pt x="4" y="131"/>
                  </a:lnTo>
                  <a:lnTo>
                    <a:pt x="1" y="126"/>
                  </a:lnTo>
                  <a:lnTo>
                    <a:pt x="0" y="121"/>
                  </a:lnTo>
                  <a:lnTo>
                    <a:pt x="1" y="116"/>
                  </a:lnTo>
                  <a:lnTo>
                    <a:pt x="4" y="111"/>
                  </a:lnTo>
                  <a:lnTo>
                    <a:pt x="8" y="108"/>
                  </a:lnTo>
                  <a:lnTo>
                    <a:pt x="18" y="105"/>
                  </a:lnTo>
                  <a:lnTo>
                    <a:pt x="44" y="96"/>
                  </a:lnTo>
                  <a:lnTo>
                    <a:pt x="86" y="82"/>
                  </a:lnTo>
                  <a:lnTo>
                    <a:pt x="142" y="67"/>
                  </a:lnTo>
                  <a:lnTo>
                    <a:pt x="175" y="58"/>
                  </a:lnTo>
                  <a:lnTo>
                    <a:pt x="210" y="50"/>
                  </a:lnTo>
                  <a:lnTo>
                    <a:pt x="249" y="41"/>
                  </a:lnTo>
                  <a:lnTo>
                    <a:pt x="291" y="32"/>
                  </a:lnTo>
                  <a:lnTo>
                    <a:pt x="334" y="25"/>
                  </a:lnTo>
                  <a:lnTo>
                    <a:pt x="381" y="17"/>
                  </a:lnTo>
                  <a:lnTo>
                    <a:pt x="429" y="11"/>
                  </a:lnTo>
                  <a:lnTo>
                    <a:pt x="480" y="4"/>
                  </a:lnTo>
                  <a:lnTo>
                    <a:pt x="507" y="2"/>
                  </a:lnTo>
                  <a:lnTo>
                    <a:pt x="534" y="1"/>
                  </a:lnTo>
                  <a:lnTo>
                    <a:pt x="561" y="0"/>
                  </a:lnTo>
                  <a:lnTo>
                    <a:pt x="587" y="1"/>
                  </a:lnTo>
                  <a:lnTo>
                    <a:pt x="614" y="2"/>
                  </a:lnTo>
                  <a:lnTo>
                    <a:pt x="640" y="4"/>
                  </a:lnTo>
                  <a:lnTo>
                    <a:pt x="666" y="8"/>
                  </a:lnTo>
                  <a:lnTo>
                    <a:pt x="692" y="11"/>
                  </a:lnTo>
                  <a:lnTo>
                    <a:pt x="718" y="15"/>
                  </a:lnTo>
                  <a:lnTo>
                    <a:pt x="743" y="20"/>
                  </a:lnTo>
                  <a:lnTo>
                    <a:pt x="768" y="25"/>
                  </a:lnTo>
                  <a:lnTo>
                    <a:pt x="793" y="31"/>
                  </a:lnTo>
                  <a:lnTo>
                    <a:pt x="843" y="45"/>
                  </a:lnTo>
                  <a:lnTo>
                    <a:pt x="892" y="61"/>
                  </a:lnTo>
                  <a:lnTo>
                    <a:pt x="939" y="78"/>
                  </a:lnTo>
                  <a:lnTo>
                    <a:pt x="986" y="96"/>
                  </a:lnTo>
                  <a:lnTo>
                    <a:pt x="1031" y="116"/>
                  </a:lnTo>
                  <a:lnTo>
                    <a:pt x="1074" y="135"/>
                  </a:lnTo>
                  <a:lnTo>
                    <a:pt x="1157" y="176"/>
                  </a:lnTo>
                  <a:lnTo>
                    <a:pt x="1235" y="215"/>
                  </a:lnTo>
                  <a:lnTo>
                    <a:pt x="1276" y="235"/>
                  </a:lnTo>
                  <a:lnTo>
                    <a:pt x="1313" y="255"/>
                  </a:lnTo>
                  <a:lnTo>
                    <a:pt x="1347" y="271"/>
                  </a:lnTo>
                  <a:lnTo>
                    <a:pt x="1379" y="284"/>
                  </a:lnTo>
                  <a:lnTo>
                    <a:pt x="1384" y="287"/>
                  </a:lnTo>
                  <a:lnTo>
                    <a:pt x="1386" y="292"/>
                  </a:lnTo>
                  <a:lnTo>
                    <a:pt x="1387" y="297"/>
                  </a:lnTo>
                  <a:lnTo>
                    <a:pt x="1386" y="302"/>
                  </a:lnTo>
                  <a:lnTo>
                    <a:pt x="1384" y="306"/>
                  </a:lnTo>
                  <a:lnTo>
                    <a:pt x="1382" y="308"/>
                  </a:lnTo>
                  <a:lnTo>
                    <a:pt x="1377" y="310"/>
                  </a:lnTo>
                  <a:lnTo>
                    <a:pt x="1374" y="310"/>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233"/>
            <p:cNvSpPr>
              <a:spLocks/>
            </p:cNvSpPr>
            <p:nvPr userDrawn="1"/>
          </p:nvSpPr>
          <p:spPr bwMode="auto">
            <a:xfrm>
              <a:off x="4672013" y="6067425"/>
              <a:ext cx="654050" cy="349250"/>
            </a:xfrm>
            <a:custGeom>
              <a:avLst/>
              <a:gdLst>
                <a:gd name="T0" fmla="*/ 1219 w 1234"/>
                <a:gd name="T1" fmla="*/ 661 h 661"/>
                <a:gd name="T2" fmla="*/ 1213 w 1234"/>
                <a:gd name="T3" fmla="*/ 658 h 661"/>
                <a:gd name="T4" fmla="*/ 1190 w 1234"/>
                <a:gd name="T5" fmla="*/ 647 h 661"/>
                <a:gd name="T6" fmla="*/ 1133 w 1234"/>
                <a:gd name="T7" fmla="*/ 610 h 661"/>
                <a:gd name="T8" fmla="*/ 1037 w 1234"/>
                <a:gd name="T9" fmla="*/ 539 h 661"/>
                <a:gd name="T10" fmla="*/ 950 w 1234"/>
                <a:gd name="T11" fmla="*/ 469 h 661"/>
                <a:gd name="T12" fmla="*/ 900 w 1234"/>
                <a:gd name="T13" fmla="*/ 437 h 661"/>
                <a:gd name="T14" fmla="*/ 841 w 1234"/>
                <a:gd name="T15" fmla="*/ 403 h 661"/>
                <a:gd name="T16" fmla="*/ 773 w 1234"/>
                <a:gd name="T17" fmla="*/ 366 h 661"/>
                <a:gd name="T18" fmla="*/ 660 w 1234"/>
                <a:gd name="T19" fmla="*/ 309 h 661"/>
                <a:gd name="T20" fmla="*/ 499 w 1234"/>
                <a:gd name="T21" fmla="*/ 233 h 661"/>
                <a:gd name="T22" fmla="*/ 339 w 1234"/>
                <a:gd name="T23" fmla="*/ 163 h 661"/>
                <a:gd name="T24" fmla="*/ 194 w 1234"/>
                <a:gd name="T25" fmla="*/ 101 h 661"/>
                <a:gd name="T26" fmla="*/ 83 w 1234"/>
                <a:gd name="T27" fmla="*/ 56 h 661"/>
                <a:gd name="T28" fmla="*/ 18 w 1234"/>
                <a:gd name="T29" fmla="*/ 29 h 661"/>
                <a:gd name="T30" fmla="*/ 4 w 1234"/>
                <a:gd name="T31" fmla="*/ 23 h 661"/>
                <a:gd name="T32" fmla="*/ 0 w 1234"/>
                <a:gd name="T33" fmla="*/ 13 h 661"/>
                <a:gd name="T34" fmla="*/ 3 w 1234"/>
                <a:gd name="T35" fmla="*/ 3 h 661"/>
                <a:gd name="T36" fmla="*/ 13 w 1234"/>
                <a:gd name="T37" fmla="*/ 0 h 661"/>
                <a:gd name="T38" fmla="*/ 32 w 1234"/>
                <a:gd name="T39" fmla="*/ 6 h 661"/>
                <a:gd name="T40" fmla="*/ 101 w 1234"/>
                <a:gd name="T41" fmla="*/ 34 h 661"/>
                <a:gd name="T42" fmla="*/ 216 w 1234"/>
                <a:gd name="T43" fmla="*/ 81 h 661"/>
                <a:gd name="T44" fmla="*/ 360 w 1234"/>
                <a:gd name="T45" fmla="*/ 142 h 661"/>
                <a:gd name="T46" fmla="*/ 519 w 1234"/>
                <a:gd name="T47" fmla="*/ 213 h 661"/>
                <a:gd name="T48" fmla="*/ 679 w 1234"/>
                <a:gd name="T49" fmla="*/ 287 h 661"/>
                <a:gd name="T50" fmla="*/ 791 w 1234"/>
                <a:gd name="T51" fmla="*/ 344 h 661"/>
                <a:gd name="T52" fmla="*/ 858 w 1234"/>
                <a:gd name="T53" fmla="*/ 381 h 661"/>
                <a:gd name="T54" fmla="*/ 916 w 1234"/>
                <a:gd name="T55" fmla="*/ 416 h 661"/>
                <a:gd name="T56" fmla="*/ 966 w 1234"/>
                <a:gd name="T57" fmla="*/ 449 h 661"/>
                <a:gd name="T58" fmla="*/ 1051 w 1234"/>
                <a:gd name="T59" fmla="*/ 516 h 661"/>
                <a:gd name="T60" fmla="*/ 1145 w 1234"/>
                <a:gd name="T61" fmla="*/ 586 h 661"/>
                <a:gd name="T62" fmla="*/ 1199 w 1234"/>
                <a:gd name="T63" fmla="*/ 621 h 661"/>
                <a:gd name="T64" fmla="*/ 1221 w 1234"/>
                <a:gd name="T65" fmla="*/ 632 h 661"/>
                <a:gd name="T66" fmla="*/ 1228 w 1234"/>
                <a:gd name="T67" fmla="*/ 637 h 661"/>
                <a:gd name="T68" fmla="*/ 1234 w 1234"/>
                <a:gd name="T69" fmla="*/ 645 h 661"/>
                <a:gd name="T70" fmla="*/ 1232 w 1234"/>
                <a:gd name="T71" fmla="*/ 655 h 661"/>
                <a:gd name="T72" fmla="*/ 1225 w 1234"/>
                <a:gd name="T73" fmla="*/ 65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4" h="661">
                  <a:moveTo>
                    <a:pt x="1221" y="661"/>
                  </a:moveTo>
                  <a:lnTo>
                    <a:pt x="1219" y="661"/>
                  </a:lnTo>
                  <a:lnTo>
                    <a:pt x="1218" y="661"/>
                  </a:lnTo>
                  <a:lnTo>
                    <a:pt x="1213" y="658"/>
                  </a:lnTo>
                  <a:lnTo>
                    <a:pt x="1205" y="655"/>
                  </a:lnTo>
                  <a:lnTo>
                    <a:pt x="1190" y="647"/>
                  </a:lnTo>
                  <a:lnTo>
                    <a:pt x="1166" y="632"/>
                  </a:lnTo>
                  <a:lnTo>
                    <a:pt x="1133" y="610"/>
                  </a:lnTo>
                  <a:lnTo>
                    <a:pt x="1091" y="580"/>
                  </a:lnTo>
                  <a:lnTo>
                    <a:pt x="1037" y="539"/>
                  </a:lnTo>
                  <a:lnTo>
                    <a:pt x="969" y="486"/>
                  </a:lnTo>
                  <a:lnTo>
                    <a:pt x="950" y="469"/>
                  </a:lnTo>
                  <a:lnTo>
                    <a:pt x="926" y="454"/>
                  </a:lnTo>
                  <a:lnTo>
                    <a:pt x="900" y="437"/>
                  </a:lnTo>
                  <a:lnTo>
                    <a:pt x="872" y="420"/>
                  </a:lnTo>
                  <a:lnTo>
                    <a:pt x="841" y="403"/>
                  </a:lnTo>
                  <a:lnTo>
                    <a:pt x="808" y="384"/>
                  </a:lnTo>
                  <a:lnTo>
                    <a:pt x="773" y="366"/>
                  </a:lnTo>
                  <a:lnTo>
                    <a:pt x="737" y="346"/>
                  </a:lnTo>
                  <a:lnTo>
                    <a:pt x="660" y="309"/>
                  </a:lnTo>
                  <a:lnTo>
                    <a:pt x="581" y="271"/>
                  </a:lnTo>
                  <a:lnTo>
                    <a:pt x="499" y="233"/>
                  </a:lnTo>
                  <a:lnTo>
                    <a:pt x="418" y="197"/>
                  </a:lnTo>
                  <a:lnTo>
                    <a:pt x="339" y="163"/>
                  </a:lnTo>
                  <a:lnTo>
                    <a:pt x="263" y="131"/>
                  </a:lnTo>
                  <a:lnTo>
                    <a:pt x="194" y="101"/>
                  </a:lnTo>
                  <a:lnTo>
                    <a:pt x="134" y="77"/>
                  </a:lnTo>
                  <a:lnTo>
                    <a:pt x="83" y="56"/>
                  </a:lnTo>
                  <a:lnTo>
                    <a:pt x="43" y="40"/>
                  </a:lnTo>
                  <a:lnTo>
                    <a:pt x="18" y="29"/>
                  </a:lnTo>
                  <a:lnTo>
                    <a:pt x="8" y="26"/>
                  </a:lnTo>
                  <a:lnTo>
                    <a:pt x="4" y="23"/>
                  </a:lnTo>
                  <a:lnTo>
                    <a:pt x="1" y="18"/>
                  </a:lnTo>
                  <a:lnTo>
                    <a:pt x="0" y="13"/>
                  </a:lnTo>
                  <a:lnTo>
                    <a:pt x="1" y="9"/>
                  </a:lnTo>
                  <a:lnTo>
                    <a:pt x="3" y="3"/>
                  </a:lnTo>
                  <a:lnTo>
                    <a:pt x="7" y="1"/>
                  </a:lnTo>
                  <a:lnTo>
                    <a:pt x="13" y="0"/>
                  </a:lnTo>
                  <a:lnTo>
                    <a:pt x="18" y="1"/>
                  </a:lnTo>
                  <a:lnTo>
                    <a:pt x="32" y="6"/>
                  </a:lnTo>
                  <a:lnTo>
                    <a:pt x="60" y="17"/>
                  </a:lnTo>
                  <a:lnTo>
                    <a:pt x="101" y="34"/>
                  </a:lnTo>
                  <a:lnTo>
                    <a:pt x="154" y="55"/>
                  </a:lnTo>
                  <a:lnTo>
                    <a:pt x="216" y="81"/>
                  </a:lnTo>
                  <a:lnTo>
                    <a:pt x="285" y="110"/>
                  </a:lnTo>
                  <a:lnTo>
                    <a:pt x="360" y="142"/>
                  </a:lnTo>
                  <a:lnTo>
                    <a:pt x="438" y="176"/>
                  </a:lnTo>
                  <a:lnTo>
                    <a:pt x="519" y="213"/>
                  </a:lnTo>
                  <a:lnTo>
                    <a:pt x="600" y="249"/>
                  </a:lnTo>
                  <a:lnTo>
                    <a:pt x="679" y="287"/>
                  </a:lnTo>
                  <a:lnTo>
                    <a:pt x="754" y="325"/>
                  </a:lnTo>
                  <a:lnTo>
                    <a:pt x="791" y="344"/>
                  </a:lnTo>
                  <a:lnTo>
                    <a:pt x="825" y="363"/>
                  </a:lnTo>
                  <a:lnTo>
                    <a:pt x="858" y="381"/>
                  </a:lnTo>
                  <a:lnTo>
                    <a:pt x="888" y="398"/>
                  </a:lnTo>
                  <a:lnTo>
                    <a:pt x="916" y="416"/>
                  </a:lnTo>
                  <a:lnTo>
                    <a:pt x="942" y="433"/>
                  </a:lnTo>
                  <a:lnTo>
                    <a:pt x="966" y="449"/>
                  </a:lnTo>
                  <a:lnTo>
                    <a:pt x="987" y="464"/>
                  </a:lnTo>
                  <a:lnTo>
                    <a:pt x="1051" y="516"/>
                  </a:lnTo>
                  <a:lnTo>
                    <a:pt x="1104" y="556"/>
                  </a:lnTo>
                  <a:lnTo>
                    <a:pt x="1145" y="586"/>
                  </a:lnTo>
                  <a:lnTo>
                    <a:pt x="1177" y="607"/>
                  </a:lnTo>
                  <a:lnTo>
                    <a:pt x="1199" y="621"/>
                  </a:lnTo>
                  <a:lnTo>
                    <a:pt x="1213" y="629"/>
                  </a:lnTo>
                  <a:lnTo>
                    <a:pt x="1221" y="632"/>
                  </a:lnTo>
                  <a:lnTo>
                    <a:pt x="1224" y="634"/>
                  </a:lnTo>
                  <a:lnTo>
                    <a:pt x="1228" y="637"/>
                  </a:lnTo>
                  <a:lnTo>
                    <a:pt x="1232" y="640"/>
                  </a:lnTo>
                  <a:lnTo>
                    <a:pt x="1234" y="645"/>
                  </a:lnTo>
                  <a:lnTo>
                    <a:pt x="1234" y="651"/>
                  </a:lnTo>
                  <a:lnTo>
                    <a:pt x="1232" y="655"/>
                  </a:lnTo>
                  <a:lnTo>
                    <a:pt x="1228" y="657"/>
                  </a:lnTo>
                  <a:lnTo>
                    <a:pt x="1225" y="659"/>
                  </a:lnTo>
                  <a:lnTo>
                    <a:pt x="1221" y="66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234"/>
            <p:cNvSpPr>
              <a:spLocks/>
            </p:cNvSpPr>
            <p:nvPr userDrawn="1"/>
          </p:nvSpPr>
          <p:spPr bwMode="auto">
            <a:xfrm>
              <a:off x="4641850" y="5997575"/>
              <a:ext cx="714375" cy="198438"/>
            </a:xfrm>
            <a:custGeom>
              <a:avLst/>
              <a:gdLst>
                <a:gd name="T0" fmla="*/ 1332 w 1350"/>
                <a:gd name="T1" fmla="*/ 374 h 375"/>
                <a:gd name="T2" fmla="*/ 1314 w 1350"/>
                <a:gd name="T3" fmla="*/ 361 h 375"/>
                <a:gd name="T4" fmla="*/ 1254 w 1350"/>
                <a:gd name="T5" fmla="*/ 315 h 375"/>
                <a:gd name="T6" fmla="*/ 1191 w 1350"/>
                <a:gd name="T7" fmla="*/ 271 h 375"/>
                <a:gd name="T8" fmla="*/ 1116 w 1350"/>
                <a:gd name="T9" fmla="*/ 223 h 375"/>
                <a:gd name="T10" fmla="*/ 1032 w 1350"/>
                <a:gd name="T11" fmla="*/ 172 h 375"/>
                <a:gd name="T12" fmla="*/ 940 w 1350"/>
                <a:gd name="T13" fmla="*/ 125 h 375"/>
                <a:gd name="T14" fmla="*/ 870 w 1350"/>
                <a:gd name="T15" fmla="*/ 96 h 375"/>
                <a:gd name="T16" fmla="*/ 823 w 1350"/>
                <a:gd name="T17" fmla="*/ 80 h 375"/>
                <a:gd name="T18" fmla="*/ 776 w 1350"/>
                <a:gd name="T19" fmla="*/ 66 h 375"/>
                <a:gd name="T20" fmla="*/ 723 w 1350"/>
                <a:gd name="T21" fmla="*/ 55 h 375"/>
                <a:gd name="T22" fmla="*/ 635 w 1350"/>
                <a:gd name="T23" fmla="*/ 43 h 375"/>
                <a:gd name="T24" fmla="*/ 509 w 1350"/>
                <a:gd name="T25" fmla="*/ 33 h 375"/>
                <a:gd name="T26" fmla="*/ 378 w 1350"/>
                <a:gd name="T27" fmla="*/ 28 h 375"/>
                <a:gd name="T28" fmla="*/ 256 w 1350"/>
                <a:gd name="T29" fmla="*/ 28 h 375"/>
                <a:gd name="T30" fmla="*/ 149 w 1350"/>
                <a:gd name="T31" fmla="*/ 29 h 375"/>
                <a:gd name="T32" fmla="*/ 67 w 1350"/>
                <a:gd name="T33" fmla="*/ 33 h 375"/>
                <a:gd name="T34" fmla="*/ 21 w 1350"/>
                <a:gd name="T35" fmla="*/ 35 h 375"/>
                <a:gd name="T36" fmla="*/ 9 w 1350"/>
                <a:gd name="T37" fmla="*/ 35 h 375"/>
                <a:gd name="T38" fmla="*/ 1 w 1350"/>
                <a:gd name="T39" fmla="*/ 27 h 375"/>
                <a:gd name="T40" fmla="*/ 0 w 1350"/>
                <a:gd name="T41" fmla="*/ 17 h 375"/>
                <a:gd name="T42" fmla="*/ 8 w 1350"/>
                <a:gd name="T43" fmla="*/ 10 h 375"/>
                <a:gd name="T44" fmla="*/ 23 w 1350"/>
                <a:gd name="T45" fmla="*/ 8 h 375"/>
                <a:gd name="T46" fmla="*/ 73 w 1350"/>
                <a:gd name="T47" fmla="*/ 6 h 375"/>
                <a:gd name="T48" fmla="*/ 156 w 1350"/>
                <a:gd name="T49" fmla="*/ 2 h 375"/>
                <a:gd name="T50" fmla="*/ 263 w 1350"/>
                <a:gd name="T51" fmla="*/ 0 h 375"/>
                <a:gd name="T52" fmla="*/ 386 w 1350"/>
                <a:gd name="T53" fmla="*/ 1 h 375"/>
                <a:gd name="T54" fmla="*/ 515 w 1350"/>
                <a:gd name="T55" fmla="*/ 7 h 375"/>
                <a:gd name="T56" fmla="*/ 642 w 1350"/>
                <a:gd name="T57" fmla="*/ 16 h 375"/>
                <a:gd name="T58" fmla="*/ 729 w 1350"/>
                <a:gd name="T59" fmla="*/ 29 h 375"/>
                <a:gd name="T60" fmla="*/ 782 w 1350"/>
                <a:gd name="T61" fmla="*/ 40 h 375"/>
                <a:gd name="T62" fmla="*/ 831 w 1350"/>
                <a:gd name="T63" fmla="*/ 54 h 375"/>
                <a:gd name="T64" fmla="*/ 878 w 1350"/>
                <a:gd name="T65" fmla="*/ 70 h 375"/>
                <a:gd name="T66" fmla="*/ 951 w 1350"/>
                <a:gd name="T67" fmla="*/ 101 h 375"/>
                <a:gd name="T68" fmla="*/ 1043 w 1350"/>
                <a:gd name="T69" fmla="*/ 148 h 375"/>
                <a:gd name="T70" fmla="*/ 1130 w 1350"/>
                <a:gd name="T71" fmla="*/ 199 h 375"/>
                <a:gd name="T72" fmla="*/ 1206 w 1350"/>
                <a:gd name="T73" fmla="*/ 249 h 375"/>
                <a:gd name="T74" fmla="*/ 1270 w 1350"/>
                <a:gd name="T75" fmla="*/ 293 h 375"/>
                <a:gd name="T76" fmla="*/ 1332 w 1350"/>
                <a:gd name="T77" fmla="*/ 339 h 375"/>
                <a:gd name="T78" fmla="*/ 1348 w 1350"/>
                <a:gd name="T79" fmla="*/ 354 h 375"/>
                <a:gd name="T80" fmla="*/ 1349 w 1350"/>
                <a:gd name="T81" fmla="*/ 365 h 375"/>
                <a:gd name="T82" fmla="*/ 1345 w 1350"/>
                <a:gd name="T83" fmla="*/ 372 h 375"/>
                <a:gd name="T84" fmla="*/ 1339 w 1350"/>
                <a:gd name="T85" fmla="*/ 37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50" h="375">
                  <a:moveTo>
                    <a:pt x="1336" y="375"/>
                  </a:moveTo>
                  <a:lnTo>
                    <a:pt x="1332" y="374"/>
                  </a:lnTo>
                  <a:lnTo>
                    <a:pt x="1327" y="372"/>
                  </a:lnTo>
                  <a:lnTo>
                    <a:pt x="1314" y="361"/>
                  </a:lnTo>
                  <a:lnTo>
                    <a:pt x="1279" y="334"/>
                  </a:lnTo>
                  <a:lnTo>
                    <a:pt x="1254" y="315"/>
                  </a:lnTo>
                  <a:lnTo>
                    <a:pt x="1225" y="294"/>
                  </a:lnTo>
                  <a:lnTo>
                    <a:pt x="1191" y="271"/>
                  </a:lnTo>
                  <a:lnTo>
                    <a:pt x="1156" y="247"/>
                  </a:lnTo>
                  <a:lnTo>
                    <a:pt x="1116" y="223"/>
                  </a:lnTo>
                  <a:lnTo>
                    <a:pt x="1075" y="197"/>
                  </a:lnTo>
                  <a:lnTo>
                    <a:pt x="1032" y="172"/>
                  </a:lnTo>
                  <a:lnTo>
                    <a:pt x="986" y="148"/>
                  </a:lnTo>
                  <a:lnTo>
                    <a:pt x="940" y="125"/>
                  </a:lnTo>
                  <a:lnTo>
                    <a:pt x="893" y="105"/>
                  </a:lnTo>
                  <a:lnTo>
                    <a:pt x="870" y="96"/>
                  </a:lnTo>
                  <a:lnTo>
                    <a:pt x="846" y="88"/>
                  </a:lnTo>
                  <a:lnTo>
                    <a:pt x="823" y="80"/>
                  </a:lnTo>
                  <a:lnTo>
                    <a:pt x="799" y="73"/>
                  </a:lnTo>
                  <a:lnTo>
                    <a:pt x="776" y="66"/>
                  </a:lnTo>
                  <a:lnTo>
                    <a:pt x="750" y="61"/>
                  </a:lnTo>
                  <a:lnTo>
                    <a:pt x="723" y="55"/>
                  </a:lnTo>
                  <a:lnTo>
                    <a:pt x="695" y="51"/>
                  </a:lnTo>
                  <a:lnTo>
                    <a:pt x="635" y="43"/>
                  </a:lnTo>
                  <a:lnTo>
                    <a:pt x="573" y="38"/>
                  </a:lnTo>
                  <a:lnTo>
                    <a:pt x="509" y="33"/>
                  </a:lnTo>
                  <a:lnTo>
                    <a:pt x="443" y="30"/>
                  </a:lnTo>
                  <a:lnTo>
                    <a:pt x="378" y="28"/>
                  </a:lnTo>
                  <a:lnTo>
                    <a:pt x="316" y="27"/>
                  </a:lnTo>
                  <a:lnTo>
                    <a:pt x="256" y="28"/>
                  </a:lnTo>
                  <a:lnTo>
                    <a:pt x="200" y="28"/>
                  </a:lnTo>
                  <a:lnTo>
                    <a:pt x="149" y="29"/>
                  </a:lnTo>
                  <a:lnTo>
                    <a:pt x="104" y="32"/>
                  </a:lnTo>
                  <a:lnTo>
                    <a:pt x="67" y="33"/>
                  </a:lnTo>
                  <a:lnTo>
                    <a:pt x="39" y="34"/>
                  </a:lnTo>
                  <a:lnTo>
                    <a:pt x="21" y="35"/>
                  </a:lnTo>
                  <a:lnTo>
                    <a:pt x="14" y="35"/>
                  </a:lnTo>
                  <a:lnTo>
                    <a:pt x="9" y="35"/>
                  </a:lnTo>
                  <a:lnTo>
                    <a:pt x="5" y="32"/>
                  </a:lnTo>
                  <a:lnTo>
                    <a:pt x="1" y="27"/>
                  </a:lnTo>
                  <a:lnTo>
                    <a:pt x="0" y="23"/>
                  </a:lnTo>
                  <a:lnTo>
                    <a:pt x="0" y="17"/>
                  </a:lnTo>
                  <a:lnTo>
                    <a:pt x="4" y="13"/>
                  </a:lnTo>
                  <a:lnTo>
                    <a:pt x="8" y="10"/>
                  </a:lnTo>
                  <a:lnTo>
                    <a:pt x="13" y="8"/>
                  </a:lnTo>
                  <a:lnTo>
                    <a:pt x="23" y="8"/>
                  </a:lnTo>
                  <a:lnTo>
                    <a:pt x="42" y="7"/>
                  </a:lnTo>
                  <a:lnTo>
                    <a:pt x="73" y="6"/>
                  </a:lnTo>
                  <a:lnTo>
                    <a:pt x="110" y="3"/>
                  </a:lnTo>
                  <a:lnTo>
                    <a:pt x="156" y="2"/>
                  </a:lnTo>
                  <a:lnTo>
                    <a:pt x="207" y="1"/>
                  </a:lnTo>
                  <a:lnTo>
                    <a:pt x="263" y="0"/>
                  </a:lnTo>
                  <a:lnTo>
                    <a:pt x="323" y="0"/>
                  </a:lnTo>
                  <a:lnTo>
                    <a:pt x="386" y="1"/>
                  </a:lnTo>
                  <a:lnTo>
                    <a:pt x="451" y="3"/>
                  </a:lnTo>
                  <a:lnTo>
                    <a:pt x="515" y="7"/>
                  </a:lnTo>
                  <a:lnTo>
                    <a:pt x="579" y="11"/>
                  </a:lnTo>
                  <a:lnTo>
                    <a:pt x="642" y="16"/>
                  </a:lnTo>
                  <a:lnTo>
                    <a:pt x="701" y="25"/>
                  </a:lnTo>
                  <a:lnTo>
                    <a:pt x="729" y="29"/>
                  </a:lnTo>
                  <a:lnTo>
                    <a:pt x="756" y="35"/>
                  </a:lnTo>
                  <a:lnTo>
                    <a:pt x="782" y="40"/>
                  </a:lnTo>
                  <a:lnTo>
                    <a:pt x="807" y="47"/>
                  </a:lnTo>
                  <a:lnTo>
                    <a:pt x="831" y="54"/>
                  </a:lnTo>
                  <a:lnTo>
                    <a:pt x="854" y="62"/>
                  </a:lnTo>
                  <a:lnTo>
                    <a:pt x="878" y="70"/>
                  </a:lnTo>
                  <a:lnTo>
                    <a:pt x="902" y="80"/>
                  </a:lnTo>
                  <a:lnTo>
                    <a:pt x="951" y="101"/>
                  </a:lnTo>
                  <a:lnTo>
                    <a:pt x="997" y="123"/>
                  </a:lnTo>
                  <a:lnTo>
                    <a:pt x="1043" y="148"/>
                  </a:lnTo>
                  <a:lnTo>
                    <a:pt x="1088" y="173"/>
                  </a:lnTo>
                  <a:lnTo>
                    <a:pt x="1130" y="199"/>
                  </a:lnTo>
                  <a:lnTo>
                    <a:pt x="1170" y="225"/>
                  </a:lnTo>
                  <a:lnTo>
                    <a:pt x="1206" y="249"/>
                  </a:lnTo>
                  <a:lnTo>
                    <a:pt x="1240" y="272"/>
                  </a:lnTo>
                  <a:lnTo>
                    <a:pt x="1270" y="293"/>
                  </a:lnTo>
                  <a:lnTo>
                    <a:pt x="1295" y="312"/>
                  </a:lnTo>
                  <a:lnTo>
                    <a:pt x="1332" y="339"/>
                  </a:lnTo>
                  <a:lnTo>
                    <a:pt x="1345" y="350"/>
                  </a:lnTo>
                  <a:lnTo>
                    <a:pt x="1348" y="354"/>
                  </a:lnTo>
                  <a:lnTo>
                    <a:pt x="1350" y="360"/>
                  </a:lnTo>
                  <a:lnTo>
                    <a:pt x="1349" y="365"/>
                  </a:lnTo>
                  <a:lnTo>
                    <a:pt x="1347" y="369"/>
                  </a:lnTo>
                  <a:lnTo>
                    <a:pt x="1345" y="372"/>
                  </a:lnTo>
                  <a:lnTo>
                    <a:pt x="1341" y="373"/>
                  </a:lnTo>
                  <a:lnTo>
                    <a:pt x="1339" y="374"/>
                  </a:lnTo>
                  <a:lnTo>
                    <a:pt x="1336" y="3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235"/>
            <p:cNvSpPr>
              <a:spLocks/>
            </p:cNvSpPr>
            <p:nvPr userDrawn="1"/>
          </p:nvSpPr>
          <p:spPr bwMode="auto">
            <a:xfrm>
              <a:off x="4608513" y="5822950"/>
              <a:ext cx="714375" cy="188913"/>
            </a:xfrm>
            <a:custGeom>
              <a:avLst/>
              <a:gdLst>
                <a:gd name="T0" fmla="*/ 1334 w 1352"/>
                <a:gd name="T1" fmla="*/ 355 h 355"/>
                <a:gd name="T2" fmla="*/ 1323 w 1352"/>
                <a:gd name="T3" fmla="*/ 350 h 355"/>
                <a:gd name="T4" fmla="*/ 1273 w 1352"/>
                <a:gd name="T5" fmla="*/ 323 h 355"/>
                <a:gd name="T6" fmla="*/ 1183 w 1352"/>
                <a:gd name="T7" fmla="*/ 277 h 355"/>
                <a:gd name="T8" fmla="*/ 1065 w 1352"/>
                <a:gd name="T9" fmla="*/ 221 h 355"/>
                <a:gd name="T10" fmla="*/ 930 w 1352"/>
                <a:gd name="T11" fmla="*/ 161 h 355"/>
                <a:gd name="T12" fmla="*/ 824 w 1352"/>
                <a:gd name="T13" fmla="*/ 118 h 355"/>
                <a:gd name="T14" fmla="*/ 752 w 1352"/>
                <a:gd name="T15" fmla="*/ 92 h 355"/>
                <a:gd name="T16" fmla="*/ 683 w 1352"/>
                <a:gd name="T17" fmla="*/ 69 h 355"/>
                <a:gd name="T18" fmla="*/ 617 w 1352"/>
                <a:gd name="T19" fmla="*/ 50 h 355"/>
                <a:gd name="T20" fmla="*/ 555 w 1352"/>
                <a:gd name="T21" fmla="*/ 37 h 355"/>
                <a:gd name="T22" fmla="*/ 498 w 1352"/>
                <a:gd name="T23" fmla="*/ 29 h 355"/>
                <a:gd name="T24" fmla="*/ 449 w 1352"/>
                <a:gd name="T25" fmla="*/ 27 h 355"/>
                <a:gd name="T26" fmla="*/ 400 w 1352"/>
                <a:gd name="T27" fmla="*/ 29 h 355"/>
                <a:gd name="T28" fmla="*/ 333 w 1352"/>
                <a:gd name="T29" fmla="*/ 37 h 355"/>
                <a:gd name="T30" fmla="*/ 251 w 1352"/>
                <a:gd name="T31" fmla="*/ 51 h 355"/>
                <a:gd name="T32" fmla="*/ 180 w 1352"/>
                <a:gd name="T33" fmla="*/ 70 h 355"/>
                <a:gd name="T34" fmla="*/ 119 w 1352"/>
                <a:gd name="T35" fmla="*/ 91 h 355"/>
                <a:gd name="T36" fmla="*/ 73 w 1352"/>
                <a:gd name="T37" fmla="*/ 110 h 355"/>
                <a:gd name="T38" fmla="*/ 30 w 1352"/>
                <a:gd name="T39" fmla="*/ 132 h 355"/>
                <a:gd name="T40" fmla="*/ 16 w 1352"/>
                <a:gd name="T41" fmla="*/ 138 h 355"/>
                <a:gd name="T42" fmla="*/ 5 w 1352"/>
                <a:gd name="T43" fmla="*/ 136 h 355"/>
                <a:gd name="T44" fmla="*/ 0 w 1352"/>
                <a:gd name="T45" fmla="*/ 126 h 355"/>
                <a:gd name="T46" fmla="*/ 3 w 1352"/>
                <a:gd name="T47" fmla="*/ 117 h 355"/>
                <a:gd name="T48" fmla="*/ 18 w 1352"/>
                <a:gd name="T49" fmla="*/ 107 h 355"/>
                <a:gd name="T50" fmla="*/ 63 w 1352"/>
                <a:gd name="T51" fmla="*/ 84 h 355"/>
                <a:gd name="T52" fmla="*/ 112 w 1352"/>
                <a:gd name="T53" fmla="*/ 65 h 355"/>
                <a:gd name="T54" fmla="*/ 173 w 1352"/>
                <a:gd name="T55" fmla="*/ 43 h 355"/>
                <a:gd name="T56" fmla="*/ 247 w 1352"/>
                <a:gd name="T57" fmla="*/ 25 h 355"/>
                <a:gd name="T58" fmla="*/ 330 w 1352"/>
                <a:gd name="T59" fmla="*/ 10 h 355"/>
                <a:gd name="T60" fmla="*/ 399 w 1352"/>
                <a:gd name="T61" fmla="*/ 2 h 355"/>
                <a:gd name="T62" fmla="*/ 448 w 1352"/>
                <a:gd name="T63" fmla="*/ 0 h 355"/>
                <a:gd name="T64" fmla="*/ 500 w 1352"/>
                <a:gd name="T65" fmla="*/ 2 h 355"/>
                <a:gd name="T66" fmla="*/ 557 w 1352"/>
                <a:gd name="T67" fmla="*/ 9 h 355"/>
                <a:gd name="T68" fmla="*/ 619 w 1352"/>
                <a:gd name="T69" fmla="*/ 23 h 355"/>
                <a:gd name="T70" fmla="*/ 686 w 1352"/>
                <a:gd name="T71" fmla="*/ 41 h 355"/>
                <a:gd name="T72" fmla="*/ 755 w 1352"/>
                <a:gd name="T73" fmla="*/ 64 h 355"/>
                <a:gd name="T74" fmla="*/ 826 w 1352"/>
                <a:gd name="T75" fmla="*/ 90 h 355"/>
                <a:gd name="T76" fmla="*/ 933 w 1352"/>
                <a:gd name="T77" fmla="*/ 132 h 355"/>
                <a:gd name="T78" fmla="*/ 1068 w 1352"/>
                <a:gd name="T79" fmla="*/ 192 h 355"/>
                <a:gd name="T80" fmla="*/ 1186 w 1352"/>
                <a:gd name="T81" fmla="*/ 248 h 355"/>
                <a:gd name="T82" fmla="*/ 1278 w 1352"/>
                <a:gd name="T83" fmla="*/ 295 h 355"/>
                <a:gd name="T84" fmla="*/ 1333 w 1352"/>
                <a:gd name="T85" fmla="*/ 324 h 355"/>
                <a:gd name="T86" fmla="*/ 1348 w 1352"/>
                <a:gd name="T87" fmla="*/ 334 h 355"/>
                <a:gd name="T88" fmla="*/ 1352 w 1352"/>
                <a:gd name="T89" fmla="*/ 343 h 355"/>
                <a:gd name="T90" fmla="*/ 1347 w 1352"/>
                <a:gd name="T91" fmla="*/ 352 h 355"/>
                <a:gd name="T92" fmla="*/ 1341 w 1352"/>
                <a:gd name="T9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52" h="355">
                  <a:moveTo>
                    <a:pt x="1337" y="355"/>
                  </a:moveTo>
                  <a:lnTo>
                    <a:pt x="1334" y="355"/>
                  </a:lnTo>
                  <a:lnTo>
                    <a:pt x="1331" y="354"/>
                  </a:lnTo>
                  <a:lnTo>
                    <a:pt x="1323" y="350"/>
                  </a:lnTo>
                  <a:lnTo>
                    <a:pt x="1303" y="339"/>
                  </a:lnTo>
                  <a:lnTo>
                    <a:pt x="1273" y="323"/>
                  </a:lnTo>
                  <a:lnTo>
                    <a:pt x="1232" y="302"/>
                  </a:lnTo>
                  <a:lnTo>
                    <a:pt x="1183" y="277"/>
                  </a:lnTo>
                  <a:lnTo>
                    <a:pt x="1127" y="251"/>
                  </a:lnTo>
                  <a:lnTo>
                    <a:pt x="1065" y="221"/>
                  </a:lnTo>
                  <a:lnTo>
                    <a:pt x="1000" y="191"/>
                  </a:lnTo>
                  <a:lnTo>
                    <a:pt x="930" y="161"/>
                  </a:lnTo>
                  <a:lnTo>
                    <a:pt x="859" y="132"/>
                  </a:lnTo>
                  <a:lnTo>
                    <a:pt x="824" y="118"/>
                  </a:lnTo>
                  <a:lnTo>
                    <a:pt x="788" y="104"/>
                  </a:lnTo>
                  <a:lnTo>
                    <a:pt x="752" y="92"/>
                  </a:lnTo>
                  <a:lnTo>
                    <a:pt x="718" y="80"/>
                  </a:lnTo>
                  <a:lnTo>
                    <a:pt x="683" y="69"/>
                  </a:lnTo>
                  <a:lnTo>
                    <a:pt x="650" y="58"/>
                  </a:lnTo>
                  <a:lnTo>
                    <a:pt x="617" y="50"/>
                  </a:lnTo>
                  <a:lnTo>
                    <a:pt x="586" y="42"/>
                  </a:lnTo>
                  <a:lnTo>
                    <a:pt x="555" y="37"/>
                  </a:lnTo>
                  <a:lnTo>
                    <a:pt x="527" y="31"/>
                  </a:lnTo>
                  <a:lnTo>
                    <a:pt x="498" y="29"/>
                  </a:lnTo>
                  <a:lnTo>
                    <a:pt x="473" y="27"/>
                  </a:lnTo>
                  <a:lnTo>
                    <a:pt x="449" y="27"/>
                  </a:lnTo>
                  <a:lnTo>
                    <a:pt x="424" y="28"/>
                  </a:lnTo>
                  <a:lnTo>
                    <a:pt x="400" y="29"/>
                  </a:lnTo>
                  <a:lnTo>
                    <a:pt x="378" y="31"/>
                  </a:lnTo>
                  <a:lnTo>
                    <a:pt x="333" y="37"/>
                  </a:lnTo>
                  <a:lnTo>
                    <a:pt x="291" y="43"/>
                  </a:lnTo>
                  <a:lnTo>
                    <a:pt x="251" y="51"/>
                  </a:lnTo>
                  <a:lnTo>
                    <a:pt x="213" y="61"/>
                  </a:lnTo>
                  <a:lnTo>
                    <a:pt x="180" y="70"/>
                  </a:lnTo>
                  <a:lnTo>
                    <a:pt x="148" y="80"/>
                  </a:lnTo>
                  <a:lnTo>
                    <a:pt x="119" y="91"/>
                  </a:lnTo>
                  <a:lnTo>
                    <a:pt x="95" y="100"/>
                  </a:lnTo>
                  <a:lnTo>
                    <a:pt x="73" y="110"/>
                  </a:lnTo>
                  <a:lnTo>
                    <a:pt x="55" y="119"/>
                  </a:lnTo>
                  <a:lnTo>
                    <a:pt x="30" y="132"/>
                  </a:lnTo>
                  <a:lnTo>
                    <a:pt x="20" y="136"/>
                  </a:lnTo>
                  <a:lnTo>
                    <a:pt x="16" y="138"/>
                  </a:lnTo>
                  <a:lnTo>
                    <a:pt x="10" y="138"/>
                  </a:lnTo>
                  <a:lnTo>
                    <a:pt x="5" y="136"/>
                  </a:lnTo>
                  <a:lnTo>
                    <a:pt x="2" y="132"/>
                  </a:lnTo>
                  <a:lnTo>
                    <a:pt x="0" y="126"/>
                  </a:lnTo>
                  <a:lnTo>
                    <a:pt x="1" y="122"/>
                  </a:lnTo>
                  <a:lnTo>
                    <a:pt x="3" y="117"/>
                  </a:lnTo>
                  <a:lnTo>
                    <a:pt x="6" y="113"/>
                  </a:lnTo>
                  <a:lnTo>
                    <a:pt x="18" y="107"/>
                  </a:lnTo>
                  <a:lnTo>
                    <a:pt x="45" y="93"/>
                  </a:lnTo>
                  <a:lnTo>
                    <a:pt x="63" y="84"/>
                  </a:lnTo>
                  <a:lnTo>
                    <a:pt x="86" y="75"/>
                  </a:lnTo>
                  <a:lnTo>
                    <a:pt x="112" y="65"/>
                  </a:lnTo>
                  <a:lnTo>
                    <a:pt x="141" y="54"/>
                  </a:lnTo>
                  <a:lnTo>
                    <a:pt x="173" y="43"/>
                  </a:lnTo>
                  <a:lnTo>
                    <a:pt x="209" y="34"/>
                  </a:lnTo>
                  <a:lnTo>
                    <a:pt x="247" y="25"/>
                  </a:lnTo>
                  <a:lnTo>
                    <a:pt x="287" y="16"/>
                  </a:lnTo>
                  <a:lnTo>
                    <a:pt x="330" y="10"/>
                  </a:lnTo>
                  <a:lnTo>
                    <a:pt x="375" y="4"/>
                  </a:lnTo>
                  <a:lnTo>
                    <a:pt x="399" y="2"/>
                  </a:lnTo>
                  <a:lnTo>
                    <a:pt x="424" y="1"/>
                  </a:lnTo>
                  <a:lnTo>
                    <a:pt x="448" y="0"/>
                  </a:lnTo>
                  <a:lnTo>
                    <a:pt x="474" y="0"/>
                  </a:lnTo>
                  <a:lnTo>
                    <a:pt x="500" y="2"/>
                  </a:lnTo>
                  <a:lnTo>
                    <a:pt x="528" y="4"/>
                  </a:lnTo>
                  <a:lnTo>
                    <a:pt x="557" y="9"/>
                  </a:lnTo>
                  <a:lnTo>
                    <a:pt x="588" y="15"/>
                  </a:lnTo>
                  <a:lnTo>
                    <a:pt x="619" y="23"/>
                  </a:lnTo>
                  <a:lnTo>
                    <a:pt x="653" y="31"/>
                  </a:lnTo>
                  <a:lnTo>
                    <a:pt x="686" y="41"/>
                  </a:lnTo>
                  <a:lnTo>
                    <a:pt x="721" y="52"/>
                  </a:lnTo>
                  <a:lnTo>
                    <a:pt x="755" y="64"/>
                  </a:lnTo>
                  <a:lnTo>
                    <a:pt x="791" y="76"/>
                  </a:lnTo>
                  <a:lnTo>
                    <a:pt x="826" y="90"/>
                  </a:lnTo>
                  <a:lnTo>
                    <a:pt x="861" y="103"/>
                  </a:lnTo>
                  <a:lnTo>
                    <a:pt x="933" y="132"/>
                  </a:lnTo>
                  <a:lnTo>
                    <a:pt x="1002" y="162"/>
                  </a:lnTo>
                  <a:lnTo>
                    <a:pt x="1068" y="192"/>
                  </a:lnTo>
                  <a:lnTo>
                    <a:pt x="1129" y="221"/>
                  </a:lnTo>
                  <a:lnTo>
                    <a:pt x="1186" y="248"/>
                  </a:lnTo>
                  <a:lnTo>
                    <a:pt x="1236" y="273"/>
                  </a:lnTo>
                  <a:lnTo>
                    <a:pt x="1278" y="295"/>
                  </a:lnTo>
                  <a:lnTo>
                    <a:pt x="1311" y="312"/>
                  </a:lnTo>
                  <a:lnTo>
                    <a:pt x="1333" y="324"/>
                  </a:lnTo>
                  <a:lnTo>
                    <a:pt x="1344" y="330"/>
                  </a:lnTo>
                  <a:lnTo>
                    <a:pt x="1348" y="334"/>
                  </a:lnTo>
                  <a:lnTo>
                    <a:pt x="1350" y="338"/>
                  </a:lnTo>
                  <a:lnTo>
                    <a:pt x="1352" y="343"/>
                  </a:lnTo>
                  <a:lnTo>
                    <a:pt x="1349" y="349"/>
                  </a:lnTo>
                  <a:lnTo>
                    <a:pt x="1347" y="352"/>
                  </a:lnTo>
                  <a:lnTo>
                    <a:pt x="1344" y="354"/>
                  </a:lnTo>
                  <a:lnTo>
                    <a:pt x="1341" y="355"/>
                  </a:lnTo>
                  <a:lnTo>
                    <a:pt x="1337" y="35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236"/>
            <p:cNvSpPr>
              <a:spLocks/>
            </p:cNvSpPr>
            <p:nvPr userDrawn="1"/>
          </p:nvSpPr>
          <p:spPr bwMode="auto">
            <a:xfrm>
              <a:off x="4672013" y="6053138"/>
              <a:ext cx="654050" cy="349250"/>
            </a:xfrm>
            <a:custGeom>
              <a:avLst/>
              <a:gdLst>
                <a:gd name="T0" fmla="*/ 1219 w 1234"/>
                <a:gd name="T1" fmla="*/ 661 h 661"/>
                <a:gd name="T2" fmla="*/ 1213 w 1234"/>
                <a:gd name="T3" fmla="*/ 658 h 661"/>
                <a:gd name="T4" fmla="*/ 1190 w 1234"/>
                <a:gd name="T5" fmla="*/ 647 h 661"/>
                <a:gd name="T6" fmla="*/ 1133 w 1234"/>
                <a:gd name="T7" fmla="*/ 610 h 661"/>
                <a:gd name="T8" fmla="*/ 1037 w 1234"/>
                <a:gd name="T9" fmla="*/ 539 h 661"/>
                <a:gd name="T10" fmla="*/ 950 w 1234"/>
                <a:gd name="T11" fmla="*/ 470 h 661"/>
                <a:gd name="T12" fmla="*/ 900 w 1234"/>
                <a:gd name="T13" fmla="*/ 437 h 661"/>
                <a:gd name="T14" fmla="*/ 841 w 1234"/>
                <a:gd name="T15" fmla="*/ 403 h 661"/>
                <a:gd name="T16" fmla="*/ 773 w 1234"/>
                <a:gd name="T17" fmla="*/ 366 h 661"/>
                <a:gd name="T18" fmla="*/ 660 w 1234"/>
                <a:gd name="T19" fmla="*/ 309 h 661"/>
                <a:gd name="T20" fmla="*/ 499 w 1234"/>
                <a:gd name="T21" fmla="*/ 233 h 661"/>
                <a:gd name="T22" fmla="*/ 339 w 1234"/>
                <a:gd name="T23" fmla="*/ 163 h 661"/>
                <a:gd name="T24" fmla="*/ 194 w 1234"/>
                <a:gd name="T25" fmla="*/ 101 h 661"/>
                <a:gd name="T26" fmla="*/ 83 w 1234"/>
                <a:gd name="T27" fmla="*/ 56 h 661"/>
                <a:gd name="T28" fmla="*/ 18 w 1234"/>
                <a:gd name="T29" fmla="*/ 29 h 661"/>
                <a:gd name="T30" fmla="*/ 4 w 1234"/>
                <a:gd name="T31" fmla="*/ 23 h 661"/>
                <a:gd name="T32" fmla="*/ 0 w 1234"/>
                <a:gd name="T33" fmla="*/ 13 h 661"/>
                <a:gd name="T34" fmla="*/ 3 w 1234"/>
                <a:gd name="T35" fmla="*/ 3 h 661"/>
                <a:gd name="T36" fmla="*/ 13 w 1234"/>
                <a:gd name="T37" fmla="*/ 0 h 661"/>
                <a:gd name="T38" fmla="*/ 32 w 1234"/>
                <a:gd name="T39" fmla="*/ 6 h 661"/>
                <a:gd name="T40" fmla="*/ 101 w 1234"/>
                <a:gd name="T41" fmla="*/ 34 h 661"/>
                <a:gd name="T42" fmla="*/ 216 w 1234"/>
                <a:gd name="T43" fmla="*/ 81 h 661"/>
                <a:gd name="T44" fmla="*/ 360 w 1234"/>
                <a:gd name="T45" fmla="*/ 142 h 661"/>
                <a:gd name="T46" fmla="*/ 519 w 1234"/>
                <a:gd name="T47" fmla="*/ 213 h 661"/>
                <a:gd name="T48" fmla="*/ 679 w 1234"/>
                <a:gd name="T49" fmla="*/ 287 h 661"/>
                <a:gd name="T50" fmla="*/ 791 w 1234"/>
                <a:gd name="T51" fmla="*/ 344 h 661"/>
                <a:gd name="T52" fmla="*/ 858 w 1234"/>
                <a:gd name="T53" fmla="*/ 381 h 661"/>
                <a:gd name="T54" fmla="*/ 916 w 1234"/>
                <a:gd name="T55" fmla="*/ 416 h 661"/>
                <a:gd name="T56" fmla="*/ 966 w 1234"/>
                <a:gd name="T57" fmla="*/ 449 h 661"/>
                <a:gd name="T58" fmla="*/ 1051 w 1234"/>
                <a:gd name="T59" fmla="*/ 516 h 661"/>
                <a:gd name="T60" fmla="*/ 1145 w 1234"/>
                <a:gd name="T61" fmla="*/ 586 h 661"/>
                <a:gd name="T62" fmla="*/ 1199 w 1234"/>
                <a:gd name="T63" fmla="*/ 621 h 661"/>
                <a:gd name="T64" fmla="*/ 1221 w 1234"/>
                <a:gd name="T65" fmla="*/ 633 h 661"/>
                <a:gd name="T66" fmla="*/ 1228 w 1234"/>
                <a:gd name="T67" fmla="*/ 637 h 661"/>
                <a:gd name="T68" fmla="*/ 1234 w 1234"/>
                <a:gd name="T69" fmla="*/ 645 h 661"/>
                <a:gd name="T70" fmla="*/ 1232 w 1234"/>
                <a:gd name="T71" fmla="*/ 654 h 661"/>
                <a:gd name="T72" fmla="*/ 1225 w 1234"/>
                <a:gd name="T73" fmla="*/ 65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4" h="661">
                  <a:moveTo>
                    <a:pt x="1221" y="661"/>
                  </a:moveTo>
                  <a:lnTo>
                    <a:pt x="1219" y="661"/>
                  </a:lnTo>
                  <a:lnTo>
                    <a:pt x="1218" y="661"/>
                  </a:lnTo>
                  <a:lnTo>
                    <a:pt x="1213" y="658"/>
                  </a:lnTo>
                  <a:lnTo>
                    <a:pt x="1205" y="655"/>
                  </a:lnTo>
                  <a:lnTo>
                    <a:pt x="1190" y="647"/>
                  </a:lnTo>
                  <a:lnTo>
                    <a:pt x="1166" y="633"/>
                  </a:lnTo>
                  <a:lnTo>
                    <a:pt x="1133" y="610"/>
                  </a:lnTo>
                  <a:lnTo>
                    <a:pt x="1091" y="580"/>
                  </a:lnTo>
                  <a:lnTo>
                    <a:pt x="1037" y="539"/>
                  </a:lnTo>
                  <a:lnTo>
                    <a:pt x="969" y="486"/>
                  </a:lnTo>
                  <a:lnTo>
                    <a:pt x="950" y="470"/>
                  </a:lnTo>
                  <a:lnTo>
                    <a:pt x="926" y="454"/>
                  </a:lnTo>
                  <a:lnTo>
                    <a:pt x="900" y="437"/>
                  </a:lnTo>
                  <a:lnTo>
                    <a:pt x="872" y="420"/>
                  </a:lnTo>
                  <a:lnTo>
                    <a:pt x="841" y="403"/>
                  </a:lnTo>
                  <a:lnTo>
                    <a:pt x="808" y="384"/>
                  </a:lnTo>
                  <a:lnTo>
                    <a:pt x="773" y="366"/>
                  </a:lnTo>
                  <a:lnTo>
                    <a:pt x="737" y="346"/>
                  </a:lnTo>
                  <a:lnTo>
                    <a:pt x="660" y="309"/>
                  </a:lnTo>
                  <a:lnTo>
                    <a:pt x="581" y="271"/>
                  </a:lnTo>
                  <a:lnTo>
                    <a:pt x="499" y="233"/>
                  </a:lnTo>
                  <a:lnTo>
                    <a:pt x="418" y="197"/>
                  </a:lnTo>
                  <a:lnTo>
                    <a:pt x="339" y="163"/>
                  </a:lnTo>
                  <a:lnTo>
                    <a:pt x="263" y="131"/>
                  </a:lnTo>
                  <a:lnTo>
                    <a:pt x="194" y="101"/>
                  </a:lnTo>
                  <a:lnTo>
                    <a:pt x="134" y="77"/>
                  </a:lnTo>
                  <a:lnTo>
                    <a:pt x="83" y="56"/>
                  </a:lnTo>
                  <a:lnTo>
                    <a:pt x="43" y="40"/>
                  </a:lnTo>
                  <a:lnTo>
                    <a:pt x="18" y="29"/>
                  </a:lnTo>
                  <a:lnTo>
                    <a:pt x="8" y="26"/>
                  </a:lnTo>
                  <a:lnTo>
                    <a:pt x="4" y="23"/>
                  </a:lnTo>
                  <a:lnTo>
                    <a:pt x="1" y="18"/>
                  </a:lnTo>
                  <a:lnTo>
                    <a:pt x="0" y="13"/>
                  </a:lnTo>
                  <a:lnTo>
                    <a:pt x="1" y="9"/>
                  </a:lnTo>
                  <a:lnTo>
                    <a:pt x="3" y="3"/>
                  </a:lnTo>
                  <a:lnTo>
                    <a:pt x="7" y="1"/>
                  </a:lnTo>
                  <a:lnTo>
                    <a:pt x="13" y="0"/>
                  </a:lnTo>
                  <a:lnTo>
                    <a:pt x="18" y="0"/>
                  </a:lnTo>
                  <a:lnTo>
                    <a:pt x="32" y="6"/>
                  </a:lnTo>
                  <a:lnTo>
                    <a:pt x="60" y="17"/>
                  </a:lnTo>
                  <a:lnTo>
                    <a:pt x="101" y="34"/>
                  </a:lnTo>
                  <a:lnTo>
                    <a:pt x="154" y="55"/>
                  </a:lnTo>
                  <a:lnTo>
                    <a:pt x="216" y="81"/>
                  </a:lnTo>
                  <a:lnTo>
                    <a:pt x="285" y="110"/>
                  </a:lnTo>
                  <a:lnTo>
                    <a:pt x="360" y="142"/>
                  </a:lnTo>
                  <a:lnTo>
                    <a:pt x="438" y="176"/>
                  </a:lnTo>
                  <a:lnTo>
                    <a:pt x="519" y="213"/>
                  </a:lnTo>
                  <a:lnTo>
                    <a:pt x="600" y="249"/>
                  </a:lnTo>
                  <a:lnTo>
                    <a:pt x="679" y="287"/>
                  </a:lnTo>
                  <a:lnTo>
                    <a:pt x="754" y="325"/>
                  </a:lnTo>
                  <a:lnTo>
                    <a:pt x="791" y="344"/>
                  </a:lnTo>
                  <a:lnTo>
                    <a:pt x="825" y="363"/>
                  </a:lnTo>
                  <a:lnTo>
                    <a:pt x="858" y="381"/>
                  </a:lnTo>
                  <a:lnTo>
                    <a:pt x="888" y="398"/>
                  </a:lnTo>
                  <a:lnTo>
                    <a:pt x="916" y="416"/>
                  </a:lnTo>
                  <a:lnTo>
                    <a:pt x="942" y="433"/>
                  </a:lnTo>
                  <a:lnTo>
                    <a:pt x="966" y="449"/>
                  </a:lnTo>
                  <a:lnTo>
                    <a:pt x="987" y="464"/>
                  </a:lnTo>
                  <a:lnTo>
                    <a:pt x="1051" y="516"/>
                  </a:lnTo>
                  <a:lnTo>
                    <a:pt x="1104" y="556"/>
                  </a:lnTo>
                  <a:lnTo>
                    <a:pt x="1145" y="586"/>
                  </a:lnTo>
                  <a:lnTo>
                    <a:pt x="1177" y="607"/>
                  </a:lnTo>
                  <a:lnTo>
                    <a:pt x="1199" y="621"/>
                  </a:lnTo>
                  <a:lnTo>
                    <a:pt x="1213" y="629"/>
                  </a:lnTo>
                  <a:lnTo>
                    <a:pt x="1221" y="633"/>
                  </a:lnTo>
                  <a:lnTo>
                    <a:pt x="1224" y="634"/>
                  </a:lnTo>
                  <a:lnTo>
                    <a:pt x="1228" y="637"/>
                  </a:lnTo>
                  <a:lnTo>
                    <a:pt x="1232" y="640"/>
                  </a:lnTo>
                  <a:lnTo>
                    <a:pt x="1234" y="645"/>
                  </a:lnTo>
                  <a:lnTo>
                    <a:pt x="1234" y="651"/>
                  </a:lnTo>
                  <a:lnTo>
                    <a:pt x="1232" y="654"/>
                  </a:lnTo>
                  <a:lnTo>
                    <a:pt x="1228" y="657"/>
                  </a:lnTo>
                  <a:lnTo>
                    <a:pt x="1225" y="659"/>
                  </a:lnTo>
                  <a:lnTo>
                    <a:pt x="1221" y="661"/>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237"/>
            <p:cNvSpPr>
              <a:spLocks/>
            </p:cNvSpPr>
            <p:nvPr userDrawn="1"/>
          </p:nvSpPr>
          <p:spPr bwMode="auto">
            <a:xfrm>
              <a:off x="4641850" y="5983288"/>
              <a:ext cx="714375" cy="198438"/>
            </a:xfrm>
            <a:custGeom>
              <a:avLst/>
              <a:gdLst>
                <a:gd name="T0" fmla="*/ 1332 w 1350"/>
                <a:gd name="T1" fmla="*/ 374 h 375"/>
                <a:gd name="T2" fmla="*/ 1314 w 1350"/>
                <a:gd name="T3" fmla="*/ 361 h 375"/>
                <a:gd name="T4" fmla="*/ 1254 w 1350"/>
                <a:gd name="T5" fmla="*/ 315 h 375"/>
                <a:gd name="T6" fmla="*/ 1191 w 1350"/>
                <a:gd name="T7" fmla="*/ 271 h 375"/>
                <a:gd name="T8" fmla="*/ 1116 w 1350"/>
                <a:gd name="T9" fmla="*/ 223 h 375"/>
                <a:gd name="T10" fmla="*/ 1032 w 1350"/>
                <a:gd name="T11" fmla="*/ 172 h 375"/>
                <a:gd name="T12" fmla="*/ 940 w 1350"/>
                <a:gd name="T13" fmla="*/ 125 h 375"/>
                <a:gd name="T14" fmla="*/ 870 w 1350"/>
                <a:gd name="T15" fmla="*/ 96 h 375"/>
                <a:gd name="T16" fmla="*/ 823 w 1350"/>
                <a:gd name="T17" fmla="*/ 80 h 375"/>
                <a:gd name="T18" fmla="*/ 776 w 1350"/>
                <a:gd name="T19" fmla="*/ 66 h 375"/>
                <a:gd name="T20" fmla="*/ 723 w 1350"/>
                <a:gd name="T21" fmla="*/ 55 h 375"/>
                <a:gd name="T22" fmla="*/ 635 w 1350"/>
                <a:gd name="T23" fmla="*/ 43 h 375"/>
                <a:gd name="T24" fmla="*/ 509 w 1350"/>
                <a:gd name="T25" fmla="*/ 33 h 375"/>
                <a:gd name="T26" fmla="*/ 378 w 1350"/>
                <a:gd name="T27" fmla="*/ 28 h 375"/>
                <a:gd name="T28" fmla="*/ 256 w 1350"/>
                <a:gd name="T29" fmla="*/ 28 h 375"/>
                <a:gd name="T30" fmla="*/ 149 w 1350"/>
                <a:gd name="T31" fmla="*/ 29 h 375"/>
                <a:gd name="T32" fmla="*/ 67 w 1350"/>
                <a:gd name="T33" fmla="*/ 33 h 375"/>
                <a:gd name="T34" fmla="*/ 21 w 1350"/>
                <a:gd name="T35" fmla="*/ 35 h 375"/>
                <a:gd name="T36" fmla="*/ 12 w 1350"/>
                <a:gd name="T37" fmla="*/ 35 h 375"/>
                <a:gd name="T38" fmla="*/ 7 w 1350"/>
                <a:gd name="T39" fmla="*/ 34 h 375"/>
                <a:gd name="T40" fmla="*/ 1 w 1350"/>
                <a:gd name="T41" fmla="*/ 27 h 375"/>
                <a:gd name="T42" fmla="*/ 0 w 1350"/>
                <a:gd name="T43" fmla="*/ 18 h 375"/>
                <a:gd name="T44" fmla="*/ 8 w 1350"/>
                <a:gd name="T45" fmla="*/ 10 h 375"/>
                <a:gd name="T46" fmla="*/ 23 w 1350"/>
                <a:gd name="T47" fmla="*/ 8 h 375"/>
                <a:gd name="T48" fmla="*/ 73 w 1350"/>
                <a:gd name="T49" fmla="*/ 6 h 375"/>
                <a:gd name="T50" fmla="*/ 156 w 1350"/>
                <a:gd name="T51" fmla="*/ 2 h 375"/>
                <a:gd name="T52" fmla="*/ 263 w 1350"/>
                <a:gd name="T53" fmla="*/ 0 h 375"/>
                <a:gd name="T54" fmla="*/ 386 w 1350"/>
                <a:gd name="T55" fmla="*/ 1 h 375"/>
                <a:gd name="T56" fmla="*/ 515 w 1350"/>
                <a:gd name="T57" fmla="*/ 6 h 375"/>
                <a:gd name="T58" fmla="*/ 642 w 1350"/>
                <a:gd name="T59" fmla="*/ 16 h 375"/>
                <a:gd name="T60" fmla="*/ 729 w 1350"/>
                <a:gd name="T61" fmla="*/ 29 h 375"/>
                <a:gd name="T62" fmla="*/ 782 w 1350"/>
                <a:gd name="T63" fmla="*/ 40 h 375"/>
                <a:gd name="T64" fmla="*/ 831 w 1350"/>
                <a:gd name="T65" fmla="*/ 54 h 375"/>
                <a:gd name="T66" fmla="*/ 878 w 1350"/>
                <a:gd name="T67" fmla="*/ 70 h 375"/>
                <a:gd name="T68" fmla="*/ 951 w 1350"/>
                <a:gd name="T69" fmla="*/ 101 h 375"/>
                <a:gd name="T70" fmla="*/ 1043 w 1350"/>
                <a:gd name="T71" fmla="*/ 148 h 375"/>
                <a:gd name="T72" fmla="*/ 1130 w 1350"/>
                <a:gd name="T73" fmla="*/ 199 h 375"/>
                <a:gd name="T74" fmla="*/ 1206 w 1350"/>
                <a:gd name="T75" fmla="*/ 249 h 375"/>
                <a:gd name="T76" fmla="*/ 1270 w 1350"/>
                <a:gd name="T77" fmla="*/ 293 h 375"/>
                <a:gd name="T78" fmla="*/ 1332 w 1350"/>
                <a:gd name="T79" fmla="*/ 339 h 375"/>
                <a:gd name="T80" fmla="*/ 1348 w 1350"/>
                <a:gd name="T81" fmla="*/ 354 h 375"/>
                <a:gd name="T82" fmla="*/ 1349 w 1350"/>
                <a:gd name="T83" fmla="*/ 365 h 375"/>
                <a:gd name="T84" fmla="*/ 1345 w 1350"/>
                <a:gd name="T85" fmla="*/ 372 h 375"/>
                <a:gd name="T86" fmla="*/ 1339 w 1350"/>
                <a:gd name="T87" fmla="*/ 374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50" h="375">
                  <a:moveTo>
                    <a:pt x="1336" y="375"/>
                  </a:moveTo>
                  <a:lnTo>
                    <a:pt x="1332" y="374"/>
                  </a:lnTo>
                  <a:lnTo>
                    <a:pt x="1327" y="372"/>
                  </a:lnTo>
                  <a:lnTo>
                    <a:pt x="1314" y="361"/>
                  </a:lnTo>
                  <a:lnTo>
                    <a:pt x="1279" y="334"/>
                  </a:lnTo>
                  <a:lnTo>
                    <a:pt x="1254" y="315"/>
                  </a:lnTo>
                  <a:lnTo>
                    <a:pt x="1225" y="294"/>
                  </a:lnTo>
                  <a:lnTo>
                    <a:pt x="1191" y="271"/>
                  </a:lnTo>
                  <a:lnTo>
                    <a:pt x="1156" y="247"/>
                  </a:lnTo>
                  <a:lnTo>
                    <a:pt x="1116" y="223"/>
                  </a:lnTo>
                  <a:lnTo>
                    <a:pt x="1075" y="197"/>
                  </a:lnTo>
                  <a:lnTo>
                    <a:pt x="1032" y="172"/>
                  </a:lnTo>
                  <a:lnTo>
                    <a:pt x="986" y="148"/>
                  </a:lnTo>
                  <a:lnTo>
                    <a:pt x="940" y="125"/>
                  </a:lnTo>
                  <a:lnTo>
                    <a:pt x="893" y="105"/>
                  </a:lnTo>
                  <a:lnTo>
                    <a:pt x="870" y="96"/>
                  </a:lnTo>
                  <a:lnTo>
                    <a:pt x="846" y="88"/>
                  </a:lnTo>
                  <a:lnTo>
                    <a:pt x="823" y="80"/>
                  </a:lnTo>
                  <a:lnTo>
                    <a:pt x="799" y="73"/>
                  </a:lnTo>
                  <a:lnTo>
                    <a:pt x="776" y="66"/>
                  </a:lnTo>
                  <a:lnTo>
                    <a:pt x="750" y="61"/>
                  </a:lnTo>
                  <a:lnTo>
                    <a:pt x="723" y="55"/>
                  </a:lnTo>
                  <a:lnTo>
                    <a:pt x="695" y="51"/>
                  </a:lnTo>
                  <a:lnTo>
                    <a:pt x="635" y="43"/>
                  </a:lnTo>
                  <a:lnTo>
                    <a:pt x="573" y="37"/>
                  </a:lnTo>
                  <a:lnTo>
                    <a:pt x="509" y="33"/>
                  </a:lnTo>
                  <a:lnTo>
                    <a:pt x="443" y="30"/>
                  </a:lnTo>
                  <a:lnTo>
                    <a:pt x="378" y="28"/>
                  </a:lnTo>
                  <a:lnTo>
                    <a:pt x="316" y="27"/>
                  </a:lnTo>
                  <a:lnTo>
                    <a:pt x="256" y="28"/>
                  </a:lnTo>
                  <a:lnTo>
                    <a:pt x="200" y="28"/>
                  </a:lnTo>
                  <a:lnTo>
                    <a:pt x="149" y="29"/>
                  </a:lnTo>
                  <a:lnTo>
                    <a:pt x="104" y="32"/>
                  </a:lnTo>
                  <a:lnTo>
                    <a:pt x="67" y="33"/>
                  </a:lnTo>
                  <a:lnTo>
                    <a:pt x="39" y="34"/>
                  </a:lnTo>
                  <a:lnTo>
                    <a:pt x="21" y="35"/>
                  </a:lnTo>
                  <a:lnTo>
                    <a:pt x="14" y="35"/>
                  </a:lnTo>
                  <a:lnTo>
                    <a:pt x="12" y="35"/>
                  </a:lnTo>
                  <a:lnTo>
                    <a:pt x="9" y="35"/>
                  </a:lnTo>
                  <a:lnTo>
                    <a:pt x="7" y="34"/>
                  </a:lnTo>
                  <a:lnTo>
                    <a:pt x="5" y="32"/>
                  </a:lnTo>
                  <a:lnTo>
                    <a:pt x="1" y="27"/>
                  </a:lnTo>
                  <a:lnTo>
                    <a:pt x="0" y="23"/>
                  </a:lnTo>
                  <a:lnTo>
                    <a:pt x="0" y="18"/>
                  </a:lnTo>
                  <a:lnTo>
                    <a:pt x="4" y="13"/>
                  </a:lnTo>
                  <a:lnTo>
                    <a:pt x="8" y="10"/>
                  </a:lnTo>
                  <a:lnTo>
                    <a:pt x="13" y="8"/>
                  </a:lnTo>
                  <a:lnTo>
                    <a:pt x="23" y="8"/>
                  </a:lnTo>
                  <a:lnTo>
                    <a:pt x="42" y="7"/>
                  </a:lnTo>
                  <a:lnTo>
                    <a:pt x="73" y="6"/>
                  </a:lnTo>
                  <a:lnTo>
                    <a:pt x="110" y="3"/>
                  </a:lnTo>
                  <a:lnTo>
                    <a:pt x="156" y="2"/>
                  </a:lnTo>
                  <a:lnTo>
                    <a:pt x="207" y="1"/>
                  </a:lnTo>
                  <a:lnTo>
                    <a:pt x="263" y="0"/>
                  </a:lnTo>
                  <a:lnTo>
                    <a:pt x="323" y="0"/>
                  </a:lnTo>
                  <a:lnTo>
                    <a:pt x="386" y="1"/>
                  </a:lnTo>
                  <a:lnTo>
                    <a:pt x="451" y="3"/>
                  </a:lnTo>
                  <a:lnTo>
                    <a:pt x="515" y="6"/>
                  </a:lnTo>
                  <a:lnTo>
                    <a:pt x="579" y="11"/>
                  </a:lnTo>
                  <a:lnTo>
                    <a:pt x="642" y="16"/>
                  </a:lnTo>
                  <a:lnTo>
                    <a:pt x="701" y="25"/>
                  </a:lnTo>
                  <a:lnTo>
                    <a:pt x="729" y="29"/>
                  </a:lnTo>
                  <a:lnTo>
                    <a:pt x="756" y="35"/>
                  </a:lnTo>
                  <a:lnTo>
                    <a:pt x="782" y="40"/>
                  </a:lnTo>
                  <a:lnTo>
                    <a:pt x="807" y="47"/>
                  </a:lnTo>
                  <a:lnTo>
                    <a:pt x="831" y="54"/>
                  </a:lnTo>
                  <a:lnTo>
                    <a:pt x="854" y="62"/>
                  </a:lnTo>
                  <a:lnTo>
                    <a:pt x="878" y="70"/>
                  </a:lnTo>
                  <a:lnTo>
                    <a:pt x="902" y="80"/>
                  </a:lnTo>
                  <a:lnTo>
                    <a:pt x="951" y="101"/>
                  </a:lnTo>
                  <a:lnTo>
                    <a:pt x="997" y="123"/>
                  </a:lnTo>
                  <a:lnTo>
                    <a:pt x="1043" y="148"/>
                  </a:lnTo>
                  <a:lnTo>
                    <a:pt x="1088" y="173"/>
                  </a:lnTo>
                  <a:lnTo>
                    <a:pt x="1130" y="199"/>
                  </a:lnTo>
                  <a:lnTo>
                    <a:pt x="1170" y="225"/>
                  </a:lnTo>
                  <a:lnTo>
                    <a:pt x="1206" y="249"/>
                  </a:lnTo>
                  <a:lnTo>
                    <a:pt x="1240" y="272"/>
                  </a:lnTo>
                  <a:lnTo>
                    <a:pt x="1270" y="293"/>
                  </a:lnTo>
                  <a:lnTo>
                    <a:pt x="1295" y="312"/>
                  </a:lnTo>
                  <a:lnTo>
                    <a:pt x="1332" y="339"/>
                  </a:lnTo>
                  <a:lnTo>
                    <a:pt x="1345" y="350"/>
                  </a:lnTo>
                  <a:lnTo>
                    <a:pt x="1348" y="354"/>
                  </a:lnTo>
                  <a:lnTo>
                    <a:pt x="1350" y="360"/>
                  </a:lnTo>
                  <a:lnTo>
                    <a:pt x="1349" y="365"/>
                  </a:lnTo>
                  <a:lnTo>
                    <a:pt x="1347" y="369"/>
                  </a:lnTo>
                  <a:lnTo>
                    <a:pt x="1345" y="372"/>
                  </a:lnTo>
                  <a:lnTo>
                    <a:pt x="1341" y="373"/>
                  </a:lnTo>
                  <a:lnTo>
                    <a:pt x="1339" y="374"/>
                  </a:lnTo>
                  <a:lnTo>
                    <a:pt x="1336" y="37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238"/>
            <p:cNvSpPr>
              <a:spLocks/>
            </p:cNvSpPr>
            <p:nvPr userDrawn="1"/>
          </p:nvSpPr>
          <p:spPr bwMode="auto">
            <a:xfrm>
              <a:off x="4608513" y="5818188"/>
              <a:ext cx="714375" cy="179388"/>
            </a:xfrm>
            <a:custGeom>
              <a:avLst/>
              <a:gdLst>
                <a:gd name="T0" fmla="*/ 1334 w 1352"/>
                <a:gd name="T1" fmla="*/ 339 h 339"/>
                <a:gd name="T2" fmla="*/ 1323 w 1352"/>
                <a:gd name="T3" fmla="*/ 334 h 339"/>
                <a:gd name="T4" fmla="*/ 1271 w 1352"/>
                <a:gd name="T5" fmla="*/ 309 h 339"/>
                <a:gd name="T6" fmla="*/ 1179 w 1352"/>
                <a:gd name="T7" fmla="*/ 266 h 339"/>
                <a:gd name="T8" fmla="*/ 1058 w 1352"/>
                <a:gd name="T9" fmla="*/ 212 h 339"/>
                <a:gd name="T10" fmla="*/ 920 w 1352"/>
                <a:gd name="T11" fmla="*/ 155 h 339"/>
                <a:gd name="T12" fmla="*/ 775 w 1352"/>
                <a:gd name="T13" fmla="*/ 101 h 339"/>
                <a:gd name="T14" fmla="*/ 668 w 1352"/>
                <a:gd name="T15" fmla="*/ 66 h 339"/>
                <a:gd name="T16" fmla="*/ 600 w 1352"/>
                <a:gd name="T17" fmla="*/ 49 h 339"/>
                <a:gd name="T18" fmla="*/ 537 w 1352"/>
                <a:gd name="T19" fmla="*/ 36 h 339"/>
                <a:gd name="T20" fmla="*/ 481 w 1352"/>
                <a:gd name="T21" fmla="*/ 28 h 339"/>
                <a:gd name="T22" fmla="*/ 448 w 1352"/>
                <a:gd name="T23" fmla="*/ 27 h 339"/>
                <a:gd name="T24" fmla="*/ 394 w 1352"/>
                <a:gd name="T25" fmla="*/ 28 h 339"/>
                <a:gd name="T26" fmla="*/ 306 w 1352"/>
                <a:gd name="T27" fmla="*/ 36 h 339"/>
                <a:gd name="T28" fmla="*/ 230 w 1352"/>
                <a:gd name="T29" fmla="*/ 49 h 339"/>
                <a:gd name="T30" fmla="*/ 164 w 1352"/>
                <a:gd name="T31" fmla="*/ 65 h 339"/>
                <a:gd name="T32" fmla="*/ 109 w 1352"/>
                <a:gd name="T33" fmla="*/ 82 h 339"/>
                <a:gd name="T34" fmla="*/ 67 w 1352"/>
                <a:gd name="T35" fmla="*/ 99 h 339"/>
                <a:gd name="T36" fmla="*/ 28 w 1352"/>
                <a:gd name="T37" fmla="*/ 116 h 339"/>
                <a:gd name="T38" fmla="*/ 15 w 1352"/>
                <a:gd name="T39" fmla="*/ 122 h 339"/>
                <a:gd name="T40" fmla="*/ 5 w 1352"/>
                <a:gd name="T41" fmla="*/ 120 h 339"/>
                <a:gd name="T42" fmla="*/ 0 w 1352"/>
                <a:gd name="T43" fmla="*/ 110 h 339"/>
                <a:gd name="T44" fmla="*/ 3 w 1352"/>
                <a:gd name="T45" fmla="*/ 101 h 339"/>
                <a:gd name="T46" fmla="*/ 17 w 1352"/>
                <a:gd name="T47" fmla="*/ 92 h 339"/>
                <a:gd name="T48" fmla="*/ 59 w 1352"/>
                <a:gd name="T49" fmla="*/ 73 h 339"/>
                <a:gd name="T50" fmla="*/ 104 w 1352"/>
                <a:gd name="T51" fmla="*/ 55 h 339"/>
                <a:gd name="T52" fmla="*/ 162 w 1352"/>
                <a:gd name="T53" fmla="*/ 37 h 339"/>
                <a:gd name="T54" fmla="*/ 232 w 1352"/>
                <a:gd name="T55" fmla="*/ 21 h 339"/>
                <a:gd name="T56" fmla="*/ 314 w 1352"/>
                <a:gd name="T57" fmla="*/ 8 h 339"/>
                <a:gd name="T58" fmla="*/ 406 w 1352"/>
                <a:gd name="T59" fmla="*/ 0 h 339"/>
                <a:gd name="T60" fmla="*/ 481 w 1352"/>
                <a:gd name="T61" fmla="*/ 1 h 339"/>
                <a:gd name="T62" fmla="*/ 540 w 1352"/>
                <a:gd name="T63" fmla="*/ 9 h 339"/>
                <a:gd name="T64" fmla="*/ 602 w 1352"/>
                <a:gd name="T65" fmla="*/ 21 h 339"/>
                <a:gd name="T66" fmla="*/ 670 w 1352"/>
                <a:gd name="T67" fmla="*/ 39 h 339"/>
                <a:gd name="T68" fmla="*/ 740 w 1352"/>
                <a:gd name="T69" fmla="*/ 61 h 339"/>
                <a:gd name="T70" fmla="*/ 813 w 1352"/>
                <a:gd name="T71" fmla="*/ 84 h 339"/>
                <a:gd name="T72" fmla="*/ 921 w 1352"/>
                <a:gd name="T73" fmla="*/ 125 h 339"/>
                <a:gd name="T74" fmla="*/ 1060 w 1352"/>
                <a:gd name="T75" fmla="*/ 183 h 339"/>
                <a:gd name="T76" fmla="*/ 1181 w 1352"/>
                <a:gd name="T77" fmla="*/ 237 h 339"/>
                <a:gd name="T78" fmla="*/ 1276 w 1352"/>
                <a:gd name="T79" fmla="*/ 281 h 339"/>
                <a:gd name="T80" fmla="*/ 1332 w 1352"/>
                <a:gd name="T81" fmla="*/ 308 h 339"/>
                <a:gd name="T82" fmla="*/ 1348 w 1352"/>
                <a:gd name="T83" fmla="*/ 318 h 339"/>
                <a:gd name="T84" fmla="*/ 1352 w 1352"/>
                <a:gd name="T85" fmla="*/ 327 h 339"/>
                <a:gd name="T86" fmla="*/ 1347 w 1352"/>
                <a:gd name="T87" fmla="*/ 335 h 339"/>
                <a:gd name="T88" fmla="*/ 1341 w 1352"/>
                <a:gd name="T89" fmla="*/ 33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2" h="339">
                  <a:moveTo>
                    <a:pt x="1337" y="339"/>
                  </a:moveTo>
                  <a:lnTo>
                    <a:pt x="1334" y="339"/>
                  </a:lnTo>
                  <a:lnTo>
                    <a:pt x="1331" y="338"/>
                  </a:lnTo>
                  <a:lnTo>
                    <a:pt x="1323" y="334"/>
                  </a:lnTo>
                  <a:lnTo>
                    <a:pt x="1303" y="324"/>
                  </a:lnTo>
                  <a:lnTo>
                    <a:pt x="1271" y="309"/>
                  </a:lnTo>
                  <a:lnTo>
                    <a:pt x="1230" y="288"/>
                  </a:lnTo>
                  <a:lnTo>
                    <a:pt x="1179" y="266"/>
                  </a:lnTo>
                  <a:lnTo>
                    <a:pt x="1122" y="239"/>
                  </a:lnTo>
                  <a:lnTo>
                    <a:pt x="1058" y="212"/>
                  </a:lnTo>
                  <a:lnTo>
                    <a:pt x="990" y="183"/>
                  </a:lnTo>
                  <a:lnTo>
                    <a:pt x="920" y="155"/>
                  </a:lnTo>
                  <a:lnTo>
                    <a:pt x="847" y="127"/>
                  </a:lnTo>
                  <a:lnTo>
                    <a:pt x="775" y="101"/>
                  </a:lnTo>
                  <a:lnTo>
                    <a:pt x="703" y="77"/>
                  </a:lnTo>
                  <a:lnTo>
                    <a:pt x="668" y="66"/>
                  </a:lnTo>
                  <a:lnTo>
                    <a:pt x="633" y="57"/>
                  </a:lnTo>
                  <a:lnTo>
                    <a:pt x="600" y="49"/>
                  </a:lnTo>
                  <a:lnTo>
                    <a:pt x="569" y="41"/>
                  </a:lnTo>
                  <a:lnTo>
                    <a:pt x="537" y="36"/>
                  </a:lnTo>
                  <a:lnTo>
                    <a:pt x="508" y="32"/>
                  </a:lnTo>
                  <a:lnTo>
                    <a:pt x="481" y="28"/>
                  </a:lnTo>
                  <a:lnTo>
                    <a:pt x="455" y="27"/>
                  </a:lnTo>
                  <a:lnTo>
                    <a:pt x="448" y="27"/>
                  </a:lnTo>
                  <a:lnTo>
                    <a:pt x="440" y="27"/>
                  </a:lnTo>
                  <a:lnTo>
                    <a:pt x="394" y="28"/>
                  </a:lnTo>
                  <a:lnTo>
                    <a:pt x="349" y="32"/>
                  </a:lnTo>
                  <a:lnTo>
                    <a:pt x="306" y="36"/>
                  </a:lnTo>
                  <a:lnTo>
                    <a:pt x="267" y="41"/>
                  </a:lnTo>
                  <a:lnTo>
                    <a:pt x="230" y="49"/>
                  </a:lnTo>
                  <a:lnTo>
                    <a:pt x="195" y="56"/>
                  </a:lnTo>
                  <a:lnTo>
                    <a:pt x="164" y="65"/>
                  </a:lnTo>
                  <a:lnTo>
                    <a:pt x="135" y="74"/>
                  </a:lnTo>
                  <a:lnTo>
                    <a:pt x="109" y="82"/>
                  </a:lnTo>
                  <a:lnTo>
                    <a:pt x="86" y="91"/>
                  </a:lnTo>
                  <a:lnTo>
                    <a:pt x="67" y="99"/>
                  </a:lnTo>
                  <a:lnTo>
                    <a:pt x="50" y="106"/>
                  </a:lnTo>
                  <a:lnTo>
                    <a:pt x="28" y="116"/>
                  </a:lnTo>
                  <a:lnTo>
                    <a:pt x="20" y="120"/>
                  </a:lnTo>
                  <a:lnTo>
                    <a:pt x="15" y="122"/>
                  </a:lnTo>
                  <a:lnTo>
                    <a:pt x="9" y="122"/>
                  </a:lnTo>
                  <a:lnTo>
                    <a:pt x="5" y="120"/>
                  </a:lnTo>
                  <a:lnTo>
                    <a:pt x="2" y="116"/>
                  </a:lnTo>
                  <a:lnTo>
                    <a:pt x="0" y="110"/>
                  </a:lnTo>
                  <a:lnTo>
                    <a:pt x="1" y="105"/>
                  </a:lnTo>
                  <a:lnTo>
                    <a:pt x="3" y="101"/>
                  </a:lnTo>
                  <a:lnTo>
                    <a:pt x="6" y="97"/>
                  </a:lnTo>
                  <a:lnTo>
                    <a:pt x="17" y="92"/>
                  </a:lnTo>
                  <a:lnTo>
                    <a:pt x="42" y="80"/>
                  </a:lnTo>
                  <a:lnTo>
                    <a:pt x="59" y="73"/>
                  </a:lnTo>
                  <a:lnTo>
                    <a:pt x="80" y="64"/>
                  </a:lnTo>
                  <a:lnTo>
                    <a:pt x="104" y="55"/>
                  </a:lnTo>
                  <a:lnTo>
                    <a:pt x="131" y="46"/>
                  </a:lnTo>
                  <a:lnTo>
                    <a:pt x="162" y="37"/>
                  </a:lnTo>
                  <a:lnTo>
                    <a:pt x="196" y="28"/>
                  </a:lnTo>
                  <a:lnTo>
                    <a:pt x="232" y="21"/>
                  </a:lnTo>
                  <a:lnTo>
                    <a:pt x="272" y="13"/>
                  </a:lnTo>
                  <a:lnTo>
                    <a:pt x="314" y="8"/>
                  </a:lnTo>
                  <a:lnTo>
                    <a:pt x="358" y="4"/>
                  </a:lnTo>
                  <a:lnTo>
                    <a:pt x="406" y="0"/>
                  </a:lnTo>
                  <a:lnTo>
                    <a:pt x="455" y="0"/>
                  </a:lnTo>
                  <a:lnTo>
                    <a:pt x="481" y="1"/>
                  </a:lnTo>
                  <a:lnTo>
                    <a:pt x="509" y="5"/>
                  </a:lnTo>
                  <a:lnTo>
                    <a:pt x="540" y="9"/>
                  </a:lnTo>
                  <a:lnTo>
                    <a:pt x="571" y="14"/>
                  </a:lnTo>
                  <a:lnTo>
                    <a:pt x="602" y="21"/>
                  </a:lnTo>
                  <a:lnTo>
                    <a:pt x="636" y="29"/>
                  </a:lnTo>
                  <a:lnTo>
                    <a:pt x="670" y="39"/>
                  </a:lnTo>
                  <a:lnTo>
                    <a:pt x="705" y="49"/>
                  </a:lnTo>
                  <a:lnTo>
                    <a:pt x="740" y="61"/>
                  </a:lnTo>
                  <a:lnTo>
                    <a:pt x="776" y="73"/>
                  </a:lnTo>
                  <a:lnTo>
                    <a:pt x="813" y="84"/>
                  </a:lnTo>
                  <a:lnTo>
                    <a:pt x="849" y="97"/>
                  </a:lnTo>
                  <a:lnTo>
                    <a:pt x="921" y="125"/>
                  </a:lnTo>
                  <a:lnTo>
                    <a:pt x="992" y="154"/>
                  </a:lnTo>
                  <a:lnTo>
                    <a:pt x="1060" y="183"/>
                  </a:lnTo>
                  <a:lnTo>
                    <a:pt x="1123" y="210"/>
                  </a:lnTo>
                  <a:lnTo>
                    <a:pt x="1181" y="237"/>
                  </a:lnTo>
                  <a:lnTo>
                    <a:pt x="1233" y="260"/>
                  </a:lnTo>
                  <a:lnTo>
                    <a:pt x="1276" y="281"/>
                  </a:lnTo>
                  <a:lnTo>
                    <a:pt x="1309" y="297"/>
                  </a:lnTo>
                  <a:lnTo>
                    <a:pt x="1332" y="308"/>
                  </a:lnTo>
                  <a:lnTo>
                    <a:pt x="1344" y="314"/>
                  </a:lnTo>
                  <a:lnTo>
                    <a:pt x="1348" y="318"/>
                  </a:lnTo>
                  <a:lnTo>
                    <a:pt x="1350" y="322"/>
                  </a:lnTo>
                  <a:lnTo>
                    <a:pt x="1352" y="327"/>
                  </a:lnTo>
                  <a:lnTo>
                    <a:pt x="1349" y="332"/>
                  </a:lnTo>
                  <a:lnTo>
                    <a:pt x="1347" y="335"/>
                  </a:lnTo>
                  <a:lnTo>
                    <a:pt x="1345" y="338"/>
                  </a:lnTo>
                  <a:lnTo>
                    <a:pt x="1341" y="339"/>
                  </a:lnTo>
                  <a:lnTo>
                    <a:pt x="1337" y="33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239"/>
            <p:cNvSpPr>
              <a:spLocks/>
            </p:cNvSpPr>
            <p:nvPr userDrawn="1"/>
          </p:nvSpPr>
          <p:spPr bwMode="auto">
            <a:xfrm>
              <a:off x="1030288" y="5040313"/>
              <a:ext cx="1006475" cy="898525"/>
            </a:xfrm>
            <a:custGeom>
              <a:avLst/>
              <a:gdLst>
                <a:gd name="T0" fmla="*/ 708 w 1904"/>
                <a:gd name="T1" fmla="*/ 1696 h 1699"/>
                <a:gd name="T2" fmla="*/ 639 w 1904"/>
                <a:gd name="T3" fmla="*/ 1686 h 1699"/>
                <a:gd name="T4" fmla="*/ 572 w 1904"/>
                <a:gd name="T5" fmla="*/ 1672 h 1699"/>
                <a:gd name="T6" fmla="*/ 507 w 1904"/>
                <a:gd name="T7" fmla="*/ 1651 h 1699"/>
                <a:gd name="T8" fmla="*/ 445 w 1904"/>
                <a:gd name="T9" fmla="*/ 1624 h 1699"/>
                <a:gd name="T10" fmla="*/ 383 w 1904"/>
                <a:gd name="T11" fmla="*/ 1588 h 1699"/>
                <a:gd name="T12" fmla="*/ 325 w 1904"/>
                <a:gd name="T13" fmla="*/ 1545 h 1699"/>
                <a:gd name="T14" fmla="*/ 269 w 1904"/>
                <a:gd name="T15" fmla="*/ 1493 h 1699"/>
                <a:gd name="T16" fmla="*/ 215 w 1904"/>
                <a:gd name="T17" fmla="*/ 1433 h 1699"/>
                <a:gd name="T18" fmla="*/ 165 w 1904"/>
                <a:gd name="T19" fmla="*/ 1362 h 1699"/>
                <a:gd name="T20" fmla="*/ 81 w 1904"/>
                <a:gd name="T21" fmla="*/ 1207 h 1699"/>
                <a:gd name="T22" fmla="*/ 20 w 1904"/>
                <a:gd name="T23" fmla="*/ 1016 h 1699"/>
                <a:gd name="T24" fmla="*/ 0 w 1904"/>
                <a:gd name="T25" fmla="*/ 835 h 1699"/>
                <a:gd name="T26" fmla="*/ 12 w 1904"/>
                <a:gd name="T27" fmla="*/ 663 h 1699"/>
                <a:gd name="T28" fmla="*/ 48 w 1904"/>
                <a:gd name="T29" fmla="*/ 506 h 1699"/>
                <a:gd name="T30" fmla="*/ 102 w 1904"/>
                <a:gd name="T31" fmla="*/ 365 h 1699"/>
                <a:gd name="T32" fmla="*/ 165 w 1904"/>
                <a:gd name="T33" fmla="*/ 244 h 1699"/>
                <a:gd name="T34" fmla="*/ 228 w 1904"/>
                <a:gd name="T35" fmla="*/ 144 h 1699"/>
                <a:gd name="T36" fmla="*/ 312 w 1904"/>
                <a:gd name="T37" fmla="*/ 35 h 1699"/>
                <a:gd name="T38" fmla="*/ 343 w 1904"/>
                <a:gd name="T39" fmla="*/ 1 h 1699"/>
                <a:gd name="T40" fmla="*/ 358 w 1904"/>
                <a:gd name="T41" fmla="*/ 3 h 1699"/>
                <a:gd name="T42" fmla="*/ 360 w 1904"/>
                <a:gd name="T43" fmla="*/ 18 h 1699"/>
                <a:gd name="T44" fmla="*/ 331 w 1904"/>
                <a:gd name="T45" fmla="*/ 52 h 1699"/>
                <a:gd name="T46" fmla="*/ 249 w 1904"/>
                <a:gd name="T47" fmla="*/ 160 h 1699"/>
                <a:gd name="T48" fmla="*/ 188 w 1904"/>
                <a:gd name="T49" fmla="*/ 257 h 1699"/>
                <a:gd name="T50" fmla="*/ 127 w 1904"/>
                <a:gd name="T51" fmla="*/ 376 h 1699"/>
                <a:gd name="T52" fmla="*/ 74 w 1904"/>
                <a:gd name="T53" fmla="*/ 513 h 1699"/>
                <a:gd name="T54" fmla="*/ 39 w 1904"/>
                <a:gd name="T55" fmla="*/ 666 h 1699"/>
                <a:gd name="T56" fmla="*/ 27 w 1904"/>
                <a:gd name="T57" fmla="*/ 833 h 1699"/>
                <a:gd name="T58" fmla="*/ 46 w 1904"/>
                <a:gd name="T59" fmla="*/ 1010 h 1699"/>
                <a:gd name="T60" fmla="*/ 107 w 1904"/>
                <a:gd name="T61" fmla="*/ 1196 h 1699"/>
                <a:gd name="T62" fmla="*/ 200 w 1904"/>
                <a:gd name="T63" fmla="*/ 1367 h 1699"/>
                <a:gd name="T64" fmla="*/ 289 w 1904"/>
                <a:gd name="T65" fmla="*/ 1476 h 1699"/>
                <a:gd name="T66" fmla="*/ 389 w 1904"/>
                <a:gd name="T67" fmla="*/ 1558 h 1699"/>
                <a:gd name="T68" fmla="*/ 494 w 1904"/>
                <a:gd name="T69" fmla="*/ 1615 h 1699"/>
                <a:gd name="T70" fmla="*/ 607 w 1904"/>
                <a:gd name="T71" fmla="*/ 1652 h 1699"/>
                <a:gd name="T72" fmla="*/ 724 w 1904"/>
                <a:gd name="T73" fmla="*/ 1669 h 1699"/>
                <a:gd name="T74" fmla="*/ 846 w 1904"/>
                <a:gd name="T75" fmla="*/ 1671 h 1699"/>
                <a:gd name="T76" fmla="*/ 971 w 1904"/>
                <a:gd name="T77" fmla="*/ 1661 h 1699"/>
                <a:gd name="T78" fmla="*/ 1096 w 1904"/>
                <a:gd name="T79" fmla="*/ 1641 h 1699"/>
                <a:gd name="T80" fmla="*/ 1221 w 1904"/>
                <a:gd name="T81" fmla="*/ 1615 h 1699"/>
                <a:gd name="T82" fmla="*/ 1455 w 1904"/>
                <a:gd name="T83" fmla="*/ 1560 h 1699"/>
                <a:gd name="T84" fmla="*/ 1656 w 1904"/>
                <a:gd name="T85" fmla="*/ 1517 h 1699"/>
                <a:gd name="T86" fmla="*/ 1750 w 1904"/>
                <a:gd name="T87" fmla="*/ 1503 h 1699"/>
                <a:gd name="T88" fmla="*/ 1837 w 1904"/>
                <a:gd name="T89" fmla="*/ 1497 h 1699"/>
                <a:gd name="T90" fmla="*/ 1896 w 1904"/>
                <a:gd name="T91" fmla="*/ 1502 h 1699"/>
                <a:gd name="T92" fmla="*/ 1904 w 1904"/>
                <a:gd name="T93" fmla="*/ 1515 h 1699"/>
                <a:gd name="T94" fmla="*/ 1894 w 1904"/>
                <a:gd name="T95" fmla="*/ 1526 h 1699"/>
                <a:gd name="T96" fmla="*/ 1837 w 1904"/>
                <a:gd name="T97" fmla="*/ 1525 h 1699"/>
                <a:gd name="T98" fmla="*/ 1751 w 1904"/>
                <a:gd name="T99" fmla="*/ 1530 h 1699"/>
                <a:gd name="T100" fmla="*/ 1659 w 1904"/>
                <a:gd name="T101" fmla="*/ 1544 h 1699"/>
                <a:gd name="T102" fmla="*/ 1462 w 1904"/>
                <a:gd name="T103" fmla="*/ 1586 h 1699"/>
                <a:gd name="T104" fmla="*/ 1246 w 1904"/>
                <a:gd name="T105" fmla="*/ 1638 h 1699"/>
                <a:gd name="T106" fmla="*/ 1059 w 1904"/>
                <a:gd name="T107" fmla="*/ 1675 h 1699"/>
                <a:gd name="T108" fmla="*/ 948 w 1904"/>
                <a:gd name="T109" fmla="*/ 1691 h 1699"/>
                <a:gd name="T110" fmla="*/ 838 w 1904"/>
                <a:gd name="T111" fmla="*/ 1699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04" h="1699">
                  <a:moveTo>
                    <a:pt x="801" y="1699"/>
                  </a:moveTo>
                  <a:lnTo>
                    <a:pt x="755" y="1698"/>
                  </a:lnTo>
                  <a:lnTo>
                    <a:pt x="708" y="1696"/>
                  </a:lnTo>
                  <a:lnTo>
                    <a:pt x="684" y="1693"/>
                  </a:lnTo>
                  <a:lnTo>
                    <a:pt x="662" y="1691"/>
                  </a:lnTo>
                  <a:lnTo>
                    <a:pt x="639" y="1686"/>
                  </a:lnTo>
                  <a:lnTo>
                    <a:pt x="617" y="1682"/>
                  </a:lnTo>
                  <a:lnTo>
                    <a:pt x="595" y="1678"/>
                  </a:lnTo>
                  <a:lnTo>
                    <a:pt x="572" y="1672"/>
                  </a:lnTo>
                  <a:lnTo>
                    <a:pt x="551" y="1666"/>
                  </a:lnTo>
                  <a:lnTo>
                    <a:pt x="529" y="1658"/>
                  </a:lnTo>
                  <a:lnTo>
                    <a:pt x="507" y="1651"/>
                  </a:lnTo>
                  <a:lnTo>
                    <a:pt x="486" y="1642"/>
                  </a:lnTo>
                  <a:lnTo>
                    <a:pt x="465" y="1633"/>
                  </a:lnTo>
                  <a:lnTo>
                    <a:pt x="445" y="1624"/>
                  </a:lnTo>
                  <a:lnTo>
                    <a:pt x="423" y="1612"/>
                  </a:lnTo>
                  <a:lnTo>
                    <a:pt x="404" y="1601"/>
                  </a:lnTo>
                  <a:lnTo>
                    <a:pt x="383" y="1588"/>
                  </a:lnTo>
                  <a:lnTo>
                    <a:pt x="364" y="1575"/>
                  </a:lnTo>
                  <a:lnTo>
                    <a:pt x="343" y="1560"/>
                  </a:lnTo>
                  <a:lnTo>
                    <a:pt x="325" y="1545"/>
                  </a:lnTo>
                  <a:lnTo>
                    <a:pt x="305" y="1529"/>
                  </a:lnTo>
                  <a:lnTo>
                    <a:pt x="287" y="1511"/>
                  </a:lnTo>
                  <a:lnTo>
                    <a:pt x="269" y="1493"/>
                  </a:lnTo>
                  <a:lnTo>
                    <a:pt x="250" y="1475"/>
                  </a:lnTo>
                  <a:lnTo>
                    <a:pt x="232" y="1454"/>
                  </a:lnTo>
                  <a:lnTo>
                    <a:pt x="215" y="1433"/>
                  </a:lnTo>
                  <a:lnTo>
                    <a:pt x="199" y="1411"/>
                  </a:lnTo>
                  <a:lnTo>
                    <a:pt x="181" y="1387"/>
                  </a:lnTo>
                  <a:lnTo>
                    <a:pt x="165" y="1362"/>
                  </a:lnTo>
                  <a:lnTo>
                    <a:pt x="149" y="1338"/>
                  </a:lnTo>
                  <a:lnTo>
                    <a:pt x="112" y="1272"/>
                  </a:lnTo>
                  <a:lnTo>
                    <a:pt x="81" y="1207"/>
                  </a:lnTo>
                  <a:lnTo>
                    <a:pt x="56" y="1142"/>
                  </a:lnTo>
                  <a:lnTo>
                    <a:pt x="35" y="1080"/>
                  </a:lnTo>
                  <a:lnTo>
                    <a:pt x="20" y="1016"/>
                  </a:lnTo>
                  <a:lnTo>
                    <a:pt x="8" y="954"/>
                  </a:lnTo>
                  <a:lnTo>
                    <a:pt x="2" y="894"/>
                  </a:lnTo>
                  <a:lnTo>
                    <a:pt x="0" y="835"/>
                  </a:lnTo>
                  <a:lnTo>
                    <a:pt x="0" y="776"/>
                  </a:lnTo>
                  <a:lnTo>
                    <a:pt x="4" y="719"/>
                  </a:lnTo>
                  <a:lnTo>
                    <a:pt x="12" y="663"/>
                  </a:lnTo>
                  <a:lnTo>
                    <a:pt x="21" y="609"/>
                  </a:lnTo>
                  <a:lnTo>
                    <a:pt x="34" y="557"/>
                  </a:lnTo>
                  <a:lnTo>
                    <a:pt x="48" y="506"/>
                  </a:lnTo>
                  <a:lnTo>
                    <a:pt x="65" y="457"/>
                  </a:lnTo>
                  <a:lnTo>
                    <a:pt x="83" y="410"/>
                  </a:lnTo>
                  <a:lnTo>
                    <a:pt x="102" y="365"/>
                  </a:lnTo>
                  <a:lnTo>
                    <a:pt x="123" y="323"/>
                  </a:lnTo>
                  <a:lnTo>
                    <a:pt x="143" y="282"/>
                  </a:lnTo>
                  <a:lnTo>
                    <a:pt x="165" y="244"/>
                  </a:lnTo>
                  <a:lnTo>
                    <a:pt x="186" y="208"/>
                  </a:lnTo>
                  <a:lnTo>
                    <a:pt x="207" y="175"/>
                  </a:lnTo>
                  <a:lnTo>
                    <a:pt x="228" y="144"/>
                  </a:lnTo>
                  <a:lnTo>
                    <a:pt x="247" y="117"/>
                  </a:lnTo>
                  <a:lnTo>
                    <a:pt x="283" y="69"/>
                  </a:lnTo>
                  <a:lnTo>
                    <a:pt x="312" y="35"/>
                  </a:lnTo>
                  <a:lnTo>
                    <a:pt x="331" y="12"/>
                  </a:lnTo>
                  <a:lnTo>
                    <a:pt x="339" y="3"/>
                  </a:lnTo>
                  <a:lnTo>
                    <a:pt x="343" y="1"/>
                  </a:lnTo>
                  <a:lnTo>
                    <a:pt x="349" y="0"/>
                  </a:lnTo>
                  <a:lnTo>
                    <a:pt x="353" y="1"/>
                  </a:lnTo>
                  <a:lnTo>
                    <a:pt x="358" y="3"/>
                  </a:lnTo>
                  <a:lnTo>
                    <a:pt x="360" y="8"/>
                  </a:lnTo>
                  <a:lnTo>
                    <a:pt x="362" y="13"/>
                  </a:lnTo>
                  <a:lnTo>
                    <a:pt x="360" y="18"/>
                  </a:lnTo>
                  <a:lnTo>
                    <a:pt x="358" y="23"/>
                  </a:lnTo>
                  <a:lnTo>
                    <a:pt x="351" y="31"/>
                  </a:lnTo>
                  <a:lnTo>
                    <a:pt x="331" y="52"/>
                  </a:lnTo>
                  <a:lnTo>
                    <a:pt x="303" y="86"/>
                  </a:lnTo>
                  <a:lnTo>
                    <a:pt x="269" y="133"/>
                  </a:lnTo>
                  <a:lnTo>
                    <a:pt x="249" y="160"/>
                  </a:lnTo>
                  <a:lnTo>
                    <a:pt x="230" y="190"/>
                  </a:lnTo>
                  <a:lnTo>
                    <a:pt x="208" y="222"/>
                  </a:lnTo>
                  <a:lnTo>
                    <a:pt x="188" y="257"/>
                  </a:lnTo>
                  <a:lnTo>
                    <a:pt x="167" y="295"/>
                  </a:lnTo>
                  <a:lnTo>
                    <a:pt x="147" y="334"/>
                  </a:lnTo>
                  <a:lnTo>
                    <a:pt x="127" y="376"/>
                  </a:lnTo>
                  <a:lnTo>
                    <a:pt x="109" y="419"/>
                  </a:lnTo>
                  <a:lnTo>
                    <a:pt x="91" y="465"/>
                  </a:lnTo>
                  <a:lnTo>
                    <a:pt x="74" y="513"/>
                  </a:lnTo>
                  <a:lnTo>
                    <a:pt x="60" y="563"/>
                  </a:lnTo>
                  <a:lnTo>
                    <a:pt x="48" y="613"/>
                  </a:lnTo>
                  <a:lnTo>
                    <a:pt x="39" y="666"/>
                  </a:lnTo>
                  <a:lnTo>
                    <a:pt x="31" y="720"/>
                  </a:lnTo>
                  <a:lnTo>
                    <a:pt x="28" y="776"/>
                  </a:lnTo>
                  <a:lnTo>
                    <a:pt x="27" y="833"/>
                  </a:lnTo>
                  <a:lnTo>
                    <a:pt x="29" y="891"/>
                  </a:lnTo>
                  <a:lnTo>
                    <a:pt x="35" y="950"/>
                  </a:lnTo>
                  <a:lnTo>
                    <a:pt x="46" y="1010"/>
                  </a:lnTo>
                  <a:lnTo>
                    <a:pt x="61" y="1072"/>
                  </a:lnTo>
                  <a:lnTo>
                    <a:pt x="82" y="1134"/>
                  </a:lnTo>
                  <a:lnTo>
                    <a:pt x="107" y="1196"/>
                  </a:lnTo>
                  <a:lnTo>
                    <a:pt x="136" y="1260"/>
                  </a:lnTo>
                  <a:lnTo>
                    <a:pt x="173" y="1324"/>
                  </a:lnTo>
                  <a:lnTo>
                    <a:pt x="200" y="1367"/>
                  </a:lnTo>
                  <a:lnTo>
                    <a:pt x="229" y="1406"/>
                  </a:lnTo>
                  <a:lnTo>
                    <a:pt x="259" y="1442"/>
                  </a:lnTo>
                  <a:lnTo>
                    <a:pt x="289" y="1476"/>
                  </a:lnTo>
                  <a:lnTo>
                    <a:pt x="322" y="1506"/>
                  </a:lnTo>
                  <a:lnTo>
                    <a:pt x="354" y="1533"/>
                  </a:lnTo>
                  <a:lnTo>
                    <a:pt x="389" y="1558"/>
                  </a:lnTo>
                  <a:lnTo>
                    <a:pt x="423" y="1579"/>
                  </a:lnTo>
                  <a:lnTo>
                    <a:pt x="458" y="1599"/>
                  </a:lnTo>
                  <a:lnTo>
                    <a:pt x="494" y="1615"/>
                  </a:lnTo>
                  <a:lnTo>
                    <a:pt x="531" y="1630"/>
                  </a:lnTo>
                  <a:lnTo>
                    <a:pt x="569" y="1642"/>
                  </a:lnTo>
                  <a:lnTo>
                    <a:pt x="607" y="1652"/>
                  </a:lnTo>
                  <a:lnTo>
                    <a:pt x="646" y="1659"/>
                  </a:lnTo>
                  <a:lnTo>
                    <a:pt x="686" y="1665"/>
                  </a:lnTo>
                  <a:lnTo>
                    <a:pt x="724" y="1669"/>
                  </a:lnTo>
                  <a:lnTo>
                    <a:pt x="765" y="1671"/>
                  </a:lnTo>
                  <a:lnTo>
                    <a:pt x="805" y="1672"/>
                  </a:lnTo>
                  <a:lnTo>
                    <a:pt x="846" y="1671"/>
                  </a:lnTo>
                  <a:lnTo>
                    <a:pt x="887" y="1669"/>
                  </a:lnTo>
                  <a:lnTo>
                    <a:pt x="928" y="1666"/>
                  </a:lnTo>
                  <a:lnTo>
                    <a:pt x="971" y="1661"/>
                  </a:lnTo>
                  <a:lnTo>
                    <a:pt x="1013" y="1655"/>
                  </a:lnTo>
                  <a:lnTo>
                    <a:pt x="1054" y="1648"/>
                  </a:lnTo>
                  <a:lnTo>
                    <a:pt x="1096" y="1641"/>
                  </a:lnTo>
                  <a:lnTo>
                    <a:pt x="1138" y="1633"/>
                  </a:lnTo>
                  <a:lnTo>
                    <a:pt x="1180" y="1625"/>
                  </a:lnTo>
                  <a:lnTo>
                    <a:pt x="1221" y="1615"/>
                  </a:lnTo>
                  <a:lnTo>
                    <a:pt x="1304" y="1597"/>
                  </a:lnTo>
                  <a:lnTo>
                    <a:pt x="1386" y="1576"/>
                  </a:lnTo>
                  <a:lnTo>
                    <a:pt x="1455" y="1560"/>
                  </a:lnTo>
                  <a:lnTo>
                    <a:pt x="1525" y="1544"/>
                  </a:lnTo>
                  <a:lnTo>
                    <a:pt x="1591" y="1529"/>
                  </a:lnTo>
                  <a:lnTo>
                    <a:pt x="1656" y="1517"/>
                  </a:lnTo>
                  <a:lnTo>
                    <a:pt x="1688" y="1511"/>
                  </a:lnTo>
                  <a:lnTo>
                    <a:pt x="1719" y="1507"/>
                  </a:lnTo>
                  <a:lnTo>
                    <a:pt x="1750" y="1503"/>
                  </a:lnTo>
                  <a:lnTo>
                    <a:pt x="1779" y="1501"/>
                  </a:lnTo>
                  <a:lnTo>
                    <a:pt x="1809" y="1498"/>
                  </a:lnTo>
                  <a:lnTo>
                    <a:pt x="1837" y="1497"/>
                  </a:lnTo>
                  <a:lnTo>
                    <a:pt x="1865" y="1498"/>
                  </a:lnTo>
                  <a:lnTo>
                    <a:pt x="1892" y="1501"/>
                  </a:lnTo>
                  <a:lnTo>
                    <a:pt x="1896" y="1502"/>
                  </a:lnTo>
                  <a:lnTo>
                    <a:pt x="1900" y="1505"/>
                  </a:lnTo>
                  <a:lnTo>
                    <a:pt x="1902" y="1509"/>
                  </a:lnTo>
                  <a:lnTo>
                    <a:pt x="1904" y="1515"/>
                  </a:lnTo>
                  <a:lnTo>
                    <a:pt x="1902" y="1520"/>
                  </a:lnTo>
                  <a:lnTo>
                    <a:pt x="1899" y="1524"/>
                  </a:lnTo>
                  <a:lnTo>
                    <a:pt x="1894" y="1526"/>
                  </a:lnTo>
                  <a:lnTo>
                    <a:pt x="1888" y="1526"/>
                  </a:lnTo>
                  <a:lnTo>
                    <a:pt x="1862" y="1525"/>
                  </a:lnTo>
                  <a:lnTo>
                    <a:pt x="1837" y="1525"/>
                  </a:lnTo>
                  <a:lnTo>
                    <a:pt x="1809" y="1525"/>
                  </a:lnTo>
                  <a:lnTo>
                    <a:pt x="1780" y="1528"/>
                  </a:lnTo>
                  <a:lnTo>
                    <a:pt x="1751" y="1530"/>
                  </a:lnTo>
                  <a:lnTo>
                    <a:pt x="1721" y="1534"/>
                  </a:lnTo>
                  <a:lnTo>
                    <a:pt x="1691" y="1538"/>
                  </a:lnTo>
                  <a:lnTo>
                    <a:pt x="1659" y="1544"/>
                  </a:lnTo>
                  <a:lnTo>
                    <a:pt x="1595" y="1556"/>
                  </a:lnTo>
                  <a:lnTo>
                    <a:pt x="1529" y="1570"/>
                  </a:lnTo>
                  <a:lnTo>
                    <a:pt x="1462" y="1586"/>
                  </a:lnTo>
                  <a:lnTo>
                    <a:pt x="1393" y="1603"/>
                  </a:lnTo>
                  <a:lnTo>
                    <a:pt x="1319" y="1620"/>
                  </a:lnTo>
                  <a:lnTo>
                    <a:pt x="1246" y="1638"/>
                  </a:lnTo>
                  <a:lnTo>
                    <a:pt x="1171" y="1654"/>
                  </a:lnTo>
                  <a:lnTo>
                    <a:pt x="1097" y="1669"/>
                  </a:lnTo>
                  <a:lnTo>
                    <a:pt x="1059" y="1675"/>
                  </a:lnTo>
                  <a:lnTo>
                    <a:pt x="1022" y="1681"/>
                  </a:lnTo>
                  <a:lnTo>
                    <a:pt x="985" y="1686"/>
                  </a:lnTo>
                  <a:lnTo>
                    <a:pt x="948" y="1691"/>
                  </a:lnTo>
                  <a:lnTo>
                    <a:pt x="911" y="1695"/>
                  </a:lnTo>
                  <a:lnTo>
                    <a:pt x="874" y="1697"/>
                  </a:lnTo>
                  <a:lnTo>
                    <a:pt x="838" y="1699"/>
                  </a:lnTo>
                  <a:lnTo>
                    <a:pt x="801" y="1699"/>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240"/>
            <p:cNvSpPr>
              <a:spLocks/>
            </p:cNvSpPr>
            <p:nvPr userDrawn="1"/>
          </p:nvSpPr>
          <p:spPr bwMode="auto">
            <a:xfrm>
              <a:off x="1004888" y="5275263"/>
              <a:ext cx="1135063" cy="647700"/>
            </a:xfrm>
            <a:custGeom>
              <a:avLst/>
              <a:gdLst>
                <a:gd name="T0" fmla="*/ 495 w 2146"/>
                <a:gd name="T1" fmla="*/ 1223 h 1224"/>
                <a:gd name="T2" fmla="*/ 420 w 2146"/>
                <a:gd name="T3" fmla="*/ 1214 h 1224"/>
                <a:gd name="T4" fmla="*/ 351 w 2146"/>
                <a:gd name="T5" fmla="*/ 1197 h 1224"/>
                <a:gd name="T6" fmla="*/ 285 w 2146"/>
                <a:gd name="T7" fmla="*/ 1171 h 1224"/>
                <a:gd name="T8" fmla="*/ 226 w 2146"/>
                <a:gd name="T9" fmla="*/ 1134 h 1224"/>
                <a:gd name="T10" fmla="*/ 153 w 2146"/>
                <a:gd name="T11" fmla="*/ 1065 h 1224"/>
                <a:gd name="T12" fmla="*/ 67 w 2146"/>
                <a:gd name="T13" fmla="*/ 943 h 1224"/>
                <a:gd name="T14" fmla="*/ 19 w 2146"/>
                <a:gd name="T15" fmla="*/ 812 h 1224"/>
                <a:gd name="T16" fmla="*/ 0 w 2146"/>
                <a:gd name="T17" fmla="*/ 676 h 1224"/>
                <a:gd name="T18" fmla="*/ 6 w 2146"/>
                <a:gd name="T19" fmla="*/ 540 h 1224"/>
                <a:gd name="T20" fmla="*/ 28 w 2146"/>
                <a:gd name="T21" fmla="*/ 409 h 1224"/>
                <a:gd name="T22" fmla="*/ 62 w 2146"/>
                <a:gd name="T23" fmla="*/ 289 h 1224"/>
                <a:gd name="T24" fmla="*/ 101 w 2146"/>
                <a:gd name="T25" fmla="*/ 184 h 1224"/>
                <a:gd name="T26" fmla="*/ 149 w 2146"/>
                <a:gd name="T27" fmla="*/ 76 h 1224"/>
                <a:gd name="T28" fmla="*/ 187 w 2146"/>
                <a:gd name="T29" fmla="*/ 6 h 1224"/>
                <a:gd name="T30" fmla="*/ 201 w 2146"/>
                <a:gd name="T31" fmla="*/ 0 h 1224"/>
                <a:gd name="T32" fmla="*/ 212 w 2146"/>
                <a:gd name="T33" fmla="*/ 11 h 1224"/>
                <a:gd name="T34" fmla="*/ 205 w 2146"/>
                <a:gd name="T35" fmla="*/ 29 h 1224"/>
                <a:gd name="T36" fmla="*/ 150 w 2146"/>
                <a:gd name="T37" fmla="*/ 136 h 1224"/>
                <a:gd name="T38" fmla="*/ 113 w 2146"/>
                <a:gd name="T39" fmla="*/ 225 h 1224"/>
                <a:gd name="T40" fmla="*/ 76 w 2146"/>
                <a:gd name="T41" fmla="*/ 332 h 1224"/>
                <a:gd name="T42" fmla="*/ 46 w 2146"/>
                <a:gd name="T43" fmla="*/ 453 h 1224"/>
                <a:gd name="T44" fmla="*/ 28 w 2146"/>
                <a:gd name="T45" fmla="*/ 582 h 1224"/>
                <a:gd name="T46" fmla="*/ 31 w 2146"/>
                <a:gd name="T47" fmla="*/ 714 h 1224"/>
                <a:gd name="T48" fmla="*/ 56 w 2146"/>
                <a:gd name="T49" fmla="*/ 845 h 1224"/>
                <a:gd name="T50" fmla="*/ 114 w 2146"/>
                <a:gd name="T51" fmla="*/ 970 h 1224"/>
                <a:gd name="T52" fmla="*/ 208 w 2146"/>
                <a:gd name="T53" fmla="*/ 1084 h 1224"/>
                <a:gd name="T54" fmla="*/ 275 w 2146"/>
                <a:gd name="T55" fmla="*/ 1133 h 1224"/>
                <a:gd name="T56" fmla="*/ 349 w 2146"/>
                <a:gd name="T57" fmla="*/ 1168 h 1224"/>
                <a:gd name="T58" fmla="*/ 432 w 2146"/>
                <a:gd name="T59" fmla="*/ 1188 h 1224"/>
                <a:gd name="T60" fmla="*/ 522 w 2146"/>
                <a:gd name="T61" fmla="*/ 1197 h 1224"/>
                <a:gd name="T62" fmla="*/ 617 w 2146"/>
                <a:gd name="T63" fmla="*/ 1195 h 1224"/>
                <a:gd name="T64" fmla="*/ 717 w 2146"/>
                <a:gd name="T65" fmla="*/ 1183 h 1224"/>
                <a:gd name="T66" fmla="*/ 856 w 2146"/>
                <a:gd name="T67" fmla="*/ 1157 h 1224"/>
                <a:gd name="T68" fmla="*/ 1071 w 2146"/>
                <a:gd name="T69" fmla="*/ 1102 h 1224"/>
                <a:gd name="T70" fmla="*/ 1281 w 2146"/>
                <a:gd name="T71" fmla="*/ 1042 h 1224"/>
                <a:gd name="T72" fmla="*/ 1471 w 2146"/>
                <a:gd name="T73" fmla="*/ 990 h 1224"/>
                <a:gd name="T74" fmla="*/ 1657 w 2146"/>
                <a:gd name="T75" fmla="*/ 948 h 1224"/>
                <a:gd name="T76" fmla="*/ 1776 w 2146"/>
                <a:gd name="T77" fmla="*/ 930 h 1224"/>
                <a:gd name="T78" fmla="*/ 1862 w 2146"/>
                <a:gd name="T79" fmla="*/ 924 h 1224"/>
                <a:gd name="T80" fmla="*/ 1944 w 2146"/>
                <a:gd name="T81" fmla="*/ 925 h 1224"/>
                <a:gd name="T82" fmla="*/ 2021 w 2146"/>
                <a:gd name="T83" fmla="*/ 935 h 1224"/>
                <a:gd name="T84" fmla="*/ 2093 w 2146"/>
                <a:gd name="T85" fmla="*/ 954 h 1224"/>
                <a:gd name="T86" fmla="*/ 2143 w 2146"/>
                <a:gd name="T87" fmla="*/ 976 h 1224"/>
                <a:gd name="T88" fmla="*/ 2145 w 2146"/>
                <a:gd name="T89" fmla="*/ 991 h 1224"/>
                <a:gd name="T90" fmla="*/ 2132 w 2146"/>
                <a:gd name="T91" fmla="*/ 998 h 1224"/>
                <a:gd name="T92" fmla="*/ 2083 w 2146"/>
                <a:gd name="T93" fmla="*/ 979 h 1224"/>
                <a:gd name="T94" fmla="*/ 2013 w 2146"/>
                <a:gd name="T95" fmla="*/ 961 h 1224"/>
                <a:gd name="T96" fmla="*/ 1939 w 2146"/>
                <a:gd name="T97" fmla="*/ 952 h 1224"/>
                <a:gd name="T98" fmla="*/ 1859 w 2146"/>
                <a:gd name="T99" fmla="*/ 951 h 1224"/>
                <a:gd name="T100" fmla="*/ 1774 w 2146"/>
                <a:gd name="T101" fmla="*/ 957 h 1224"/>
                <a:gd name="T102" fmla="*/ 1658 w 2146"/>
                <a:gd name="T103" fmla="*/ 975 h 1224"/>
                <a:gd name="T104" fmla="*/ 1475 w 2146"/>
                <a:gd name="T105" fmla="*/ 1017 h 1224"/>
                <a:gd name="T106" fmla="*/ 1287 w 2146"/>
                <a:gd name="T107" fmla="*/ 1069 h 1224"/>
                <a:gd name="T108" fmla="*/ 1049 w 2146"/>
                <a:gd name="T109" fmla="*/ 1137 h 1224"/>
                <a:gd name="T110" fmla="*/ 832 w 2146"/>
                <a:gd name="T111" fmla="*/ 1191 h 1224"/>
                <a:gd name="T112" fmla="*/ 705 w 2146"/>
                <a:gd name="T113" fmla="*/ 1212 h 1224"/>
                <a:gd name="T114" fmla="*/ 586 w 2146"/>
                <a:gd name="T115" fmla="*/ 1223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46" h="1224">
                  <a:moveTo>
                    <a:pt x="547" y="1224"/>
                  </a:moveTo>
                  <a:lnTo>
                    <a:pt x="521" y="1224"/>
                  </a:lnTo>
                  <a:lnTo>
                    <a:pt x="495" y="1223"/>
                  </a:lnTo>
                  <a:lnTo>
                    <a:pt x="470" y="1221"/>
                  </a:lnTo>
                  <a:lnTo>
                    <a:pt x="445" y="1217"/>
                  </a:lnTo>
                  <a:lnTo>
                    <a:pt x="420" y="1214"/>
                  </a:lnTo>
                  <a:lnTo>
                    <a:pt x="397" y="1209"/>
                  </a:lnTo>
                  <a:lnTo>
                    <a:pt x="374" y="1203"/>
                  </a:lnTo>
                  <a:lnTo>
                    <a:pt x="351" y="1197"/>
                  </a:lnTo>
                  <a:lnTo>
                    <a:pt x="329" y="1189"/>
                  </a:lnTo>
                  <a:lnTo>
                    <a:pt x="307" y="1181"/>
                  </a:lnTo>
                  <a:lnTo>
                    <a:pt x="285" y="1171"/>
                  </a:lnTo>
                  <a:lnTo>
                    <a:pt x="265" y="1159"/>
                  </a:lnTo>
                  <a:lnTo>
                    <a:pt x="245" y="1147"/>
                  </a:lnTo>
                  <a:lnTo>
                    <a:pt x="226" y="1134"/>
                  </a:lnTo>
                  <a:lnTo>
                    <a:pt x="208" y="1119"/>
                  </a:lnTo>
                  <a:lnTo>
                    <a:pt x="189" y="1103"/>
                  </a:lnTo>
                  <a:lnTo>
                    <a:pt x="153" y="1065"/>
                  </a:lnTo>
                  <a:lnTo>
                    <a:pt x="119" y="1026"/>
                  </a:lnTo>
                  <a:lnTo>
                    <a:pt x="91" y="985"/>
                  </a:lnTo>
                  <a:lnTo>
                    <a:pt x="67" y="943"/>
                  </a:lnTo>
                  <a:lnTo>
                    <a:pt x="48" y="900"/>
                  </a:lnTo>
                  <a:lnTo>
                    <a:pt x="32" y="856"/>
                  </a:lnTo>
                  <a:lnTo>
                    <a:pt x="19" y="812"/>
                  </a:lnTo>
                  <a:lnTo>
                    <a:pt x="10" y="766"/>
                  </a:lnTo>
                  <a:lnTo>
                    <a:pt x="4" y="721"/>
                  </a:lnTo>
                  <a:lnTo>
                    <a:pt x="0" y="676"/>
                  </a:lnTo>
                  <a:lnTo>
                    <a:pt x="0" y="629"/>
                  </a:lnTo>
                  <a:lnTo>
                    <a:pt x="1" y="584"/>
                  </a:lnTo>
                  <a:lnTo>
                    <a:pt x="6" y="540"/>
                  </a:lnTo>
                  <a:lnTo>
                    <a:pt x="11" y="495"/>
                  </a:lnTo>
                  <a:lnTo>
                    <a:pt x="19" y="452"/>
                  </a:lnTo>
                  <a:lnTo>
                    <a:pt x="28" y="409"/>
                  </a:lnTo>
                  <a:lnTo>
                    <a:pt x="38" y="368"/>
                  </a:lnTo>
                  <a:lnTo>
                    <a:pt x="50" y="328"/>
                  </a:lnTo>
                  <a:lnTo>
                    <a:pt x="62" y="289"/>
                  </a:lnTo>
                  <a:lnTo>
                    <a:pt x="75" y="252"/>
                  </a:lnTo>
                  <a:lnTo>
                    <a:pt x="88" y="217"/>
                  </a:lnTo>
                  <a:lnTo>
                    <a:pt x="101" y="184"/>
                  </a:lnTo>
                  <a:lnTo>
                    <a:pt x="114" y="153"/>
                  </a:lnTo>
                  <a:lnTo>
                    <a:pt x="127" y="125"/>
                  </a:lnTo>
                  <a:lnTo>
                    <a:pt x="149" y="76"/>
                  </a:lnTo>
                  <a:lnTo>
                    <a:pt x="169" y="39"/>
                  </a:lnTo>
                  <a:lnTo>
                    <a:pt x="182" y="15"/>
                  </a:lnTo>
                  <a:lnTo>
                    <a:pt x="187" y="6"/>
                  </a:lnTo>
                  <a:lnTo>
                    <a:pt x="190" y="2"/>
                  </a:lnTo>
                  <a:lnTo>
                    <a:pt x="196" y="0"/>
                  </a:lnTo>
                  <a:lnTo>
                    <a:pt x="201" y="0"/>
                  </a:lnTo>
                  <a:lnTo>
                    <a:pt x="205" y="2"/>
                  </a:lnTo>
                  <a:lnTo>
                    <a:pt x="210" y="5"/>
                  </a:lnTo>
                  <a:lnTo>
                    <a:pt x="212" y="11"/>
                  </a:lnTo>
                  <a:lnTo>
                    <a:pt x="212" y="15"/>
                  </a:lnTo>
                  <a:lnTo>
                    <a:pt x="210" y="20"/>
                  </a:lnTo>
                  <a:lnTo>
                    <a:pt x="205" y="29"/>
                  </a:lnTo>
                  <a:lnTo>
                    <a:pt x="193" y="53"/>
                  </a:lnTo>
                  <a:lnTo>
                    <a:pt x="173" y="88"/>
                  </a:lnTo>
                  <a:lnTo>
                    <a:pt x="150" y="136"/>
                  </a:lnTo>
                  <a:lnTo>
                    <a:pt x="139" y="164"/>
                  </a:lnTo>
                  <a:lnTo>
                    <a:pt x="126" y="193"/>
                  </a:lnTo>
                  <a:lnTo>
                    <a:pt x="113" y="225"/>
                  </a:lnTo>
                  <a:lnTo>
                    <a:pt x="101" y="260"/>
                  </a:lnTo>
                  <a:lnTo>
                    <a:pt x="88" y="296"/>
                  </a:lnTo>
                  <a:lnTo>
                    <a:pt x="76" y="332"/>
                  </a:lnTo>
                  <a:lnTo>
                    <a:pt x="65" y="371"/>
                  </a:lnTo>
                  <a:lnTo>
                    <a:pt x="55" y="412"/>
                  </a:lnTo>
                  <a:lnTo>
                    <a:pt x="46" y="453"/>
                  </a:lnTo>
                  <a:lnTo>
                    <a:pt x="38" y="495"/>
                  </a:lnTo>
                  <a:lnTo>
                    <a:pt x="33" y="539"/>
                  </a:lnTo>
                  <a:lnTo>
                    <a:pt x="28" y="582"/>
                  </a:lnTo>
                  <a:lnTo>
                    <a:pt x="27" y="626"/>
                  </a:lnTo>
                  <a:lnTo>
                    <a:pt x="27" y="670"/>
                  </a:lnTo>
                  <a:lnTo>
                    <a:pt x="31" y="714"/>
                  </a:lnTo>
                  <a:lnTo>
                    <a:pt x="36" y="758"/>
                  </a:lnTo>
                  <a:lnTo>
                    <a:pt x="45" y="802"/>
                  </a:lnTo>
                  <a:lnTo>
                    <a:pt x="56" y="845"/>
                  </a:lnTo>
                  <a:lnTo>
                    <a:pt x="72" y="887"/>
                  </a:lnTo>
                  <a:lnTo>
                    <a:pt x="91" y="929"/>
                  </a:lnTo>
                  <a:lnTo>
                    <a:pt x="114" y="970"/>
                  </a:lnTo>
                  <a:lnTo>
                    <a:pt x="141" y="1009"/>
                  </a:lnTo>
                  <a:lnTo>
                    <a:pt x="172" y="1047"/>
                  </a:lnTo>
                  <a:lnTo>
                    <a:pt x="208" y="1084"/>
                  </a:lnTo>
                  <a:lnTo>
                    <a:pt x="229" y="1102"/>
                  </a:lnTo>
                  <a:lnTo>
                    <a:pt x="251" y="1119"/>
                  </a:lnTo>
                  <a:lnTo>
                    <a:pt x="275" y="1133"/>
                  </a:lnTo>
                  <a:lnTo>
                    <a:pt x="298" y="1146"/>
                  </a:lnTo>
                  <a:lnTo>
                    <a:pt x="323" y="1158"/>
                  </a:lnTo>
                  <a:lnTo>
                    <a:pt x="349" y="1168"/>
                  </a:lnTo>
                  <a:lnTo>
                    <a:pt x="376" y="1176"/>
                  </a:lnTo>
                  <a:lnTo>
                    <a:pt x="404" y="1183"/>
                  </a:lnTo>
                  <a:lnTo>
                    <a:pt x="432" y="1188"/>
                  </a:lnTo>
                  <a:lnTo>
                    <a:pt x="461" y="1193"/>
                  </a:lnTo>
                  <a:lnTo>
                    <a:pt x="492" y="1195"/>
                  </a:lnTo>
                  <a:lnTo>
                    <a:pt x="522" y="1197"/>
                  </a:lnTo>
                  <a:lnTo>
                    <a:pt x="553" y="1197"/>
                  </a:lnTo>
                  <a:lnTo>
                    <a:pt x="584" y="1196"/>
                  </a:lnTo>
                  <a:lnTo>
                    <a:pt x="617" y="1195"/>
                  </a:lnTo>
                  <a:lnTo>
                    <a:pt x="649" y="1192"/>
                  </a:lnTo>
                  <a:lnTo>
                    <a:pt x="683" y="1188"/>
                  </a:lnTo>
                  <a:lnTo>
                    <a:pt x="717" y="1183"/>
                  </a:lnTo>
                  <a:lnTo>
                    <a:pt x="751" y="1178"/>
                  </a:lnTo>
                  <a:lnTo>
                    <a:pt x="785" y="1172"/>
                  </a:lnTo>
                  <a:lnTo>
                    <a:pt x="856" y="1157"/>
                  </a:lnTo>
                  <a:lnTo>
                    <a:pt x="927" y="1141"/>
                  </a:lnTo>
                  <a:lnTo>
                    <a:pt x="999" y="1123"/>
                  </a:lnTo>
                  <a:lnTo>
                    <a:pt x="1071" y="1102"/>
                  </a:lnTo>
                  <a:lnTo>
                    <a:pt x="1145" y="1081"/>
                  </a:lnTo>
                  <a:lnTo>
                    <a:pt x="1217" y="1061"/>
                  </a:lnTo>
                  <a:lnTo>
                    <a:pt x="1281" y="1042"/>
                  </a:lnTo>
                  <a:lnTo>
                    <a:pt x="1345" y="1024"/>
                  </a:lnTo>
                  <a:lnTo>
                    <a:pt x="1408" y="1006"/>
                  </a:lnTo>
                  <a:lnTo>
                    <a:pt x="1471" y="990"/>
                  </a:lnTo>
                  <a:lnTo>
                    <a:pt x="1534" y="974"/>
                  </a:lnTo>
                  <a:lnTo>
                    <a:pt x="1596" y="960"/>
                  </a:lnTo>
                  <a:lnTo>
                    <a:pt x="1657" y="948"/>
                  </a:lnTo>
                  <a:lnTo>
                    <a:pt x="1717" y="938"/>
                  </a:lnTo>
                  <a:lnTo>
                    <a:pt x="1746" y="934"/>
                  </a:lnTo>
                  <a:lnTo>
                    <a:pt x="1776" y="930"/>
                  </a:lnTo>
                  <a:lnTo>
                    <a:pt x="1805" y="927"/>
                  </a:lnTo>
                  <a:lnTo>
                    <a:pt x="1834" y="925"/>
                  </a:lnTo>
                  <a:lnTo>
                    <a:pt x="1862" y="924"/>
                  </a:lnTo>
                  <a:lnTo>
                    <a:pt x="1889" y="924"/>
                  </a:lnTo>
                  <a:lnTo>
                    <a:pt x="1917" y="924"/>
                  </a:lnTo>
                  <a:lnTo>
                    <a:pt x="1944" y="925"/>
                  </a:lnTo>
                  <a:lnTo>
                    <a:pt x="1970" y="927"/>
                  </a:lnTo>
                  <a:lnTo>
                    <a:pt x="1996" y="930"/>
                  </a:lnTo>
                  <a:lnTo>
                    <a:pt x="2021" y="935"/>
                  </a:lnTo>
                  <a:lnTo>
                    <a:pt x="2045" y="940"/>
                  </a:lnTo>
                  <a:lnTo>
                    <a:pt x="2069" y="947"/>
                  </a:lnTo>
                  <a:lnTo>
                    <a:pt x="2093" y="954"/>
                  </a:lnTo>
                  <a:lnTo>
                    <a:pt x="2116" y="963"/>
                  </a:lnTo>
                  <a:lnTo>
                    <a:pt x="2138" y="972"/>
                  </a:lnTo>
                  <a:lnTo>
                    <a:pt x="2143" y="976"/>
                  </a:lnTo>
                  <a:lnTo>
                    <a:pt x="2145" y="980"/>
                  </a:lnTo>
                  <a:lnTo>
                    <a:pt x="2146" y="985"/>
                  </a:lnTo>
                  <a:lnTo>
                    <a:pt x="2145" y="991"/>
                  </a:lnTo>
                  <a:lnTo>
                    <a:pt x="2142" y="995"/>
                  </a:lnTo>
                  <a:lnTo>
                    <a:pt x="2137" y="997"/>
                  </a:lnTo>
                  <a:lnTo>
                    <a:pt x="2132" y="998"/>
                  </a:lnTo>
                  <a:lnTo>
                    <a:pt x="2126" y="997"/>
                  </a:lnTo>
                  <a:lnTo>
                    <a:pt x="2105" y="988"/>
                  </a:lnTo>
                  <a:lnTo>
                    <a:pt x="2083" y="979"/>
                  </a:lnTo>
                  <a:lnTo>
                    <a:pt x="2061" y="972"/>
                  </a:lnTo>
                  <a:lnTo>
                    <a:pt x="2037" y="966"/>
                  </a:lnTo>
                  <a:lnTo>
                    <a:pt x="2013" y="961"/>
                  </a:lnTo>
                  <a:lnTo>
                    <a:pt x="1988" y="957"/>
                  </a:lnTo>
                  <a:lnTo>
                    <a:pt x="1963" y="954"/>
                  </a:lnTo>
                  <a:lnTo>
                    <a:pt x="1939" y="952"/>
                  </a:lnTo>
                  <a:lnTo>
                    <a:pt x="1912" y="951"/>
                  </a:lnTo>
                  <a:lnTo>
                    <a:pt x="1886" y="951"/>
                  </a:lnTo>
                  <a:lnTo>
                    <a:pt x="1859" y="951"/>
                  </a:lnTo>
                  <a:lnTo>
                    <a:pt x="1831" y="952"/>
                  </a:lnTo>
                  <a:lnTo>
                    <a:pt x="1803" y="954"/>
                  </a:lnTo>
                  <a:lnTo>
                    <a:pt x="1774" y="957"/>
                  </a:lnTo>
                  <a:lnTo>
                    <a:pt x="1745" y="961"/>
                  </a:lnTo>
                  <a:lnTo>
                    <a:pt x="1717" y="965"/>
                  </a:lnTo>
                  <a:lnTo>
                    <a:pt x="1658" y="975"/>
                  </a:lnTo>
                  <a:lnTo>
                    <a:pt x="1597" y="988"/>
                  </a:lnTo>
                  <a:lnTo>
                    <a:pt x="1537" y="1002"/>
                  </a:lnTo>
                  <a:lnTo>
                    <a:pt x="1475" y="1017"/>
                  </a:lnTo>
                  <a:lnTo>
                    <a:pt x="1413" y="1033"/>
                  </a:lnTo>
                  <a:lnTo>
                    <a:pt x="1350" y="1050"/>
                  </a:lnTo>
                  <a:lnTo>
                    <a:pt x="1287" y="1069"/>
                  </a:lnTo>
                  <a:lnTo>
                    <a:pt x="1225" y="1087"/>
                  </a:lnTo>
                  <a:lnTo>
                    <a:pt x="1137" y="1112"/>
                  </a:lnTo>
                  <a:lnTo>
                    <a:pt x="1049" y="1137"/>
                  </a:lnTo>
                  <a:lnTo>
                    <a:pt x="961" y="1160"/>
                  </a:lnTo>
                  <a:lnTo>
                    <a:pt x="875" y="1181"/>
                  </a:lnTo>
                  <a:lnTo>
                    <a:pt x="832" y="1191"/>
                  </a:lnTo>
                  <a:lnTo>
                    <a:pt x="790" y="1198"/>
                  </a:lnTo>
                  <a:lnTo>
                    <a:pt x="748" y="1206"/>
                  </a:lnTo>
                  <a:lnTo>
                    <a:pt x="705" y="1212"/>
                  </a:lnTo>
                  <a:lnTo>
                    <a:pt x="665" y="1217"/>
                  </a:lnTo>
                  <a:lnTo>
                    <a:pt x="624" y="1221"/>
                  </a:lnTo>
                  <a:lnTo>
                    <a:pt x="586" y="1223"/>
                  </a:lnTo>
                  <a:lnTo>
                    <a:pt x="547" y="122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241"/>
            <p:cNvSpPr>
              <a:spLocks/>
            </p:cNvSpPr>
            <p:nvPr userDrawn="1"/>
          </p:nvSpPr>
          <p:spPr bwMode="auto">
            <a:xfrm>
              <a:off x="1611313" y="5965825"/>
              <a:ext cx="277813" cy="892175"/>
            </a:xfrm>
            <a:custGeom>
              <a:avLst/>
              <a:gdLst>
                <a:gd name="T0" fmla="*/ 19 w 527"/>
                <a:gd name="T1" fmla="*/ 1664 h 1685"/>
                <a:gd name="T2" fmla="*/ 60 w 527"/>
                <a:gd name="T3" fmla="*/ 1620 h 1685"/>
                <a:gd name="T4" fmla="*/ 103 w 527"/>
                <a:gd name="T5" fmla="*/ 1571 h 1685"/>
                <a:gd name="T6" fmla="*/ 145 w 527"/>
                <a:gd name="T7" fmla="*/ 1517 h 1685"/>
                <a:gd name="T8" fmla="*/ 188 w 527"/>
                <a:gd name="T9" fmla="*/ 1458 h 1685"/>
                <a:gd name="T10" fmla="*/ 231 w 527"/>
                <a:gd name="T11" fmla="*/ 1395 h 1685"/>
                <a:gd name="T12" fmla="*/ 274 w 527"/>
                <a:gd name="T13" fmla="*/ 1326 h 1685"/>
                <a:gd name="T14" fmla="*/ 317 w 527"/>
                <a:gd name="T15" fmla="*/ 1251 h 1685"/>
                <a:gd name="T16" fmla="*/ 368 w 527"/>
                <a:gd name="T17" fmla="*/ 1154 h 1685"/>
                <a:gd name="T18" fmla="*/ 417 w 527"/>
                <a:gd name="T19" fmla="*/ 1038 h 1685"/>
                <a:gd name="T20" fmla="*/ 452 w 527"/>
                <a:gd name="T21" fmla="*/ 926 h 1685"/>
                <a:gd name="T22" fmla="*/ 478 w 527"/>
                <a:gd name="T23" fmla="*/ 817 h 1685"/>
                <a:gd name="T24" fmla="*/ 493 w 527"/>
                <a:gd name="T25" fmla="*/ 712 h 1685"/>
                <a:gd name="T26" fmla="*/ 500 w 527"/>
                <a:gd name="T27" fmla="*/ 612 h 1685"/>
                <a:gd name="T28" fmla="*/ 499 w 527"/>
                <a:gd name="T29" fmla="*/ 516 h 1685"/>
                <a:gd name="T30" fmla="*/ 492 w 527"/>
                <a:gd name="T31" fmla="*/ 427 h 1685"/>
                <a:gd name="T32" fmla="*/ 482 w 527"/>
                <a:gd name="T33" fmla="*/ 345 h 1685"/>
                <a:gd name="T34" fmla="*/ 466 w 527"/>
                <a:gd name="T35" fmla="*/ 270 h 1685"/>
                <a:gd name="T36" fmla="*/ 450 w 527"/>
                <a:gd name="T37" fmla="*/ 204 h 1685"/>
                <a:gd name="T38" fmla="*/ 433 w 527"/>
                <a:gd name="T39" fmla="*/ 147 h 1685"/>
                <a:gd name="T40" fmla="*/ 409 w 527"/>
                <a:gd name="T41" fmla="*/ 79 h 1685"/>
                <a:gd name="T42" fmla="*/ 388 w 527"/>
                <a:gd name="T43" fmla="*/ 27 h 1685"/>
                <a:gd name="T44" fmla="*/ 382 w 527"/>
                <a:gd name="T45" fmla="*/ 15 h 1685"/>
                <a:gd name="T46" fmla="*/ 385 w 527"/>
                <a:gd name="T47" fmla="*/ 5 h 1685"/>
                <a:gd name="T48" fmla="*/ 395 w 527"/>
                <a:gd name="T49" fmla="*/ 0 h 1685"/>
                <a:gd name="T50" fmla="*/ 405 w 527"/>
                <a:gd name="T51" fmla="*/ 3 h 1685"/>
                <a:gd name="T52" fmla="*/ 411 w 527"/>
                <a:gd name="T53" fmla="*/ 15 h 1685"/>
                <a:gd name="T54" fmla="*/ 434 w 527"/>
                <a:gd name="T55" fmla="*/ 68 h 1685"/>
                <a:gd name="T56" fmla="*/ 459 w 527"/>
                <a:gd name="T57" fmla="*/ 137 h 1685"/>
                <a:gd name="T58" fmla="*/ 476 w 527"/>
                <a:gd name="T59" fmla="*/ 195 h 1685"/>
                <a:gd name="T60" fmla="*/ 492 w 527"/>
                <a:gd name="T61" fmla="*/ 263 h 1685"/>
                <a:gd name="T62" fmla="*/ 508 w 527"/>
                <a:gd name="T63" fmla="*/ 340 h 1685"/>
                <a:gd name="T64" fmla="*/ 519 w 527"/>
                <a:gd name="T65" fmla="*/ 424 h 1685"/>
                <a:gd name="T66" fmla="*/ 526 w 527"/>
                <a:gd name="T67" fmla="*/ 515 h 1685"/>
                <a:gd name="T68" fmla="*/ 526 w 527"/>
                <a:gd name="T69" fmla="*/ 612 h 1685"/>
                <a:gd name="T70" fmla="*/ 519 w 527"/>
                <a:gd name="T71" fmla="*/ 715 h 1685"/>
                <a:gd name="T72" fmla="*/ 504 w 527"/>
                <a:gd name="T73" fmla="*/ 822 h 1685"/>
                <a:gd name="T74" fmla="*/ 479 w 527"/>
                <a:gd name="T75" fmla="*/ 934 h 1685"/>
                <a:gd name="T76" fmla="*/ 442 w 527"/>
                <a:gd name="T77" fmla="*/ 1048 h 1685"/>
                <a:gd name="T78" fmla="*/ 393 w 527"/>
                <a:gd name="T79" fmla="*/ 1165 h 1685"/>
                <a:gd name="T80" fmla="*/ 342 w 527"/>
                <a:gd name="T81" fmla="*/ 1262 h 1685"/>
                <a:gd name="T82" fmla="*/ 301 w 527"/>
                <a:gd name="T83" fmla="*/ 1333 h 1685"/>
                <a:gd name="T84" fmla="*/ 259 w 527"/>
                <a:gd name="T85" fmla="*/ 1400 h 1685"/>
                <a:gd name="T86" fmla="*/ 218 w 527"/>
                <a:gd name="T87" fmla="*/ 1462 h 1685"/>
                <a:gd name="T88" fmla="*/ 177 w 527"/>
                <a:gd name="T89" fmla="*/ 1519 h 1685"/>
                <a:gd name="T90" fmla="*/ 137 w 527"/>
                <a:gd name="T91" fmla="*/ 1572 h 1685"/>
                <a:gd name="T92" fmla="*/ 78 w 527"/>
                <a:gd name="T93" fmla="*/ 1643 h 1685"/>
                <a:gd name="T94" fmla="*/ 0 w 527"/>
                <a:gd name="T95" fmla="*/ 1685 h 1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7" h="1685">
                  <a:moveTo>
                    <a:pt x="0" y="1685"/>
                  </a:moveTo>
                  <a:lnTo>
                    <a:pt x="19" y="1664"/>
                  </a:lnTo>
                  <a:lnTo>
                    <a:pt x="40" y="1643"/>
                  </a:lnTo>
                  <a:lnTo>
                    <a:pt x="60" y="1620"/>
                  </a:lnTo>
                  <a:lnTo>
                    <a:pt x="81" y="1595"/>
                  </a:lnTo>
                  <a:lnTo>
                    <a:pt x="103" y="1571"/>
                  </a:lnTo>
                  <a:lnTo>
                    <a:pt x="123" y="1545"/>
                  </a:lnTo>
                  <a:lnTo>
                    <a:pt x="145" y="1517"/>
                  </a:lnTo>
                  <a:lnTo>
                    <a:pt x="166" y="1489"/>
                  </a:lnTo>
                  <a:lnTo>
                    <a:pt x="188" y="1458"/>
                  </a:lnTo>
                  <a:lnTo>
                    <a:pt x="209" y="1427"/>
                  </a:lnTo>
                  <a:lnTo>
                    <a:pt x="231" y="1395"/>
                  </a:lnTo>
                  <a:lnTo>
                    <a:pt x="253" y="1361"/>
                  </a:lnTo>
                  <a:lnTo>
                    <a:pt x="274" y="1326"/>
                  </a:lnTo>
                  <a:lnTo>
                    <a:pt x="296" y="1289"/>
                  </a:lnTo>
                  <a:lnTo>
                    <a:pt x="317" y="1251"/>
                  </a:lnTo>
                  <a:lnTo>
                    <a:pt x="339" y="1211"/>
                  </a:lnTo>
                  <a:lnTo>
                    <a:pt x="368" y="1154"/>
                  </a:lnTo>
                  <a:lnTo>
                    <a:pt x="394" y="1096"/>
                  </a:lnTo>
                  <a:lnTo>
                    <a:pt x="417" y="1038"/>
                  </a:lnTo>
                  <a:lnTo>
                    <a:pt x="436" y="982"/>
                  </a:lnTo>
                  <a:lnTo>
                    <a:pt x="452" y="926"/>
                  </a:lnTo>
                  <a:lnTo>
                    <a:pt x="466" y="871"/>
                  </a:lnTo>
                  <a:lnTo>
                    <a:pt x="478" y="817"/>
                  </a:lnTo>
                  <a:lnTo>
                    <a:pt x="487" y="764"/>
                  </a:lnTo>
                  <a:lnTo>
                    <a:pt x="493" y="712"/>
                  </a:lnTo>
                  <a:lnTo>
                    <a:pt x="497" y="662"/>
                  </a:lnTo>
                  <a:lnTo>
                    <a:pt x="500" y="612"/>
                  </a:lnTo>
                  <a:lnTo>
                    <a:pt x="500" y="563"/>
                  </a:lnTo>
                  <a:lnTo>
                    <a:pt x="499" y="516"/>
                  </a:lnTo>
                  <a:lnTo>
                    <a:pt x="497" y="471"/>
                  </a:lnTo>
                  <a:lnTo>
                    <a:pt x="492" y="427"/>
                  </a:lnTo>
                  <a:lnTo>
                    <a:pt x="487" y="385"/>
                  </a:lnTo>
                  <a:lnTo>
                    <a:pt x="482" y="345"/>
                  </a:lnTo>
                  <a:lnTo>
                    <a:pt x="474" y="307"/>
                  </a:lnTo>
                  <a:lnTo>
                    <a:pt x="466" y="270"/>
                  </a:lnTo>
                  <a:lnTo>
                    <a:pt x="459" y="235"/>
                  </a:lnTo>
                  <a:lnTo>
                    <a:pt x="450" y="204"/>
                  </a:lnTo>
                  <a:lnTo>
                    <a:pt x="442" y="174"/>
                  </a:lnTo>
                  <a:lnTo>
                    <a:pt x="433" y="147"/>
                  </a:lnTo>
                  <a:lnTo>
                    <a:pt x="425" y="121"/>
                  </a:lnTo>
                  <a:lnTo>
                    <a:pt x="409" y="79"/>
                  </a:lnTo>
                  <a:lnTo>
                    <a:pt x="396" y="47"/>
                  </a:lnTo>
                  <a:lnTo>
                    <a:pt x="388" y="27"/>
                  </a:lnTo>
                  <a:lnTo>
                    <a:pt x="384" y="19"/>
                  </a:lnTo>
                  <a:lnTo>
                    <a:pt x="382" y="15"/>
                  </a:lnTo>
                  <a:lnTo>
                    <a:pt x="383" y="10"/>
                  </a:lnTo>
                  <a:lnTo>
                    <a:pt x="385" y="5"/>
                  </a:lnTo>
                  <a:lnTo>
                    <a:pt x="390" y="2"/>
                  </a:lnTo>
                  <a:lnTo>
                    <a:pt x="395" y="0"/>
                  </a:lnTo>
                  <a:lnTo>
                    <a:pt x="401" y="1"/>
                  </a:lnTo>
                  <a:lnTo>
                    <a:pt x="405" y="3"/>
                  </a:lnTo>
                  <a:lnTo>
                    <a:pt x="408" y="7"/>
                  </a:lnTo>
                  <a:lnTo>
                    <a:pt x="411" y="15"/>
                  </a:lnTo>
                  <a:lnTo>
                    <a:pt x="421" y="36"/>
                  </a:lnTo>
                  <a:lnTo>
                    <a:pt x="434" y="68"/>
                  </a:lnTo>
                  <a:lnTo>
                    <a:pt x="450" y="111"/>
                  </a:lnTo>
                  <a:lnTo>
                    <a:pt x="459" y="137"/>
                  </a:lnTo>
                  <a:lnTo>
                    <a:pt x="468" y="165"/>
                  </a:lnTo>
                  <a:lnTo>
                    <a:pt x="476" y="195"/>
                  </a:lnTo>
                  <a:lnTo>
                    <a:pt x="485" y="228"/>
                  </a:lnTo>
                  <a:lnTo>
                    <a:pt x="492" y="263"/>
                  </a:lnTo>
                  <a:lnTo>
                    <a:pt x="500" y="300"/>
                  </a:lnTo>
                  <a:lnTo>
                    <a:pt x="508" y="340"/>
                  </a:lnTo>
                  <a:lnTo>
                    <a:pt x="514" y="381"/>
                  </a:lnTo>
                  <a:lnTo>
                    <a:pt x="519" y="424"/>
                  </a:lnTo>
                  <a:lnTo>
                    <a:pt x="523" y="468"/>
                  </a:lnTo>
                  <a:lnTo>
                    <a:pt x="526" y="515"/>
                  </a:lnTo>
                  <a:lnTo>
                    <a:pt x="527" y="562"/>
                  </a:lnTo>
                  <a:lnTo>
                    <a:pt x="526" y="612"/>
                  </a:lnTo>
                  <a:lnTo>
                    <a:pt x="524" y="663"/>
                  </a:lnTo>
                  <a:lnTo>
                    <a:pt x="519" y="715"/>
                  </a:lnTo>
                  <a:lnTo>
                    <a:pt x="513" y="769"/>
                  </a:lnTo>
                  <a:lnTo>
                    <a:pt x="504" y="822"/>
                  </a:lnTo>
                  <a:lnTo>
                    <a:pt x="493" y="878"/>
                  </a:lnTo>
                  <a:lnTo>
                    <a:pt x="479" y="934"/>
                  </a:lnTo>
                  <a:lnTo>
                    <a:pt x="462" y="991"/>
                  </a:lnTo>
                  <a:lnTo>
                    <a:pt x="442" y="1048"/>
                  </a:lnTo>
                  <a:lnTo>
                    <a:pt x="419" y="1106"/>
                  </a:lnTo>
                  <a:lnTo>
                    <a:pt x="393" y="1165"/>
                  </a:lnTo>
                  <a:lnTo>
                    <a:pt x="363" y="1224"/>
                  </a:lnTo>
                  <a:lnTo>
                    <a:pt x="342" y="1262"/>
                  </a:lnTo>
                  <a:lnTo>
                    <a:pt x="322" y="1299"/>
                  </a:lnTo>
                  <a:lnTo>
                    <a:pt x="301" y="1333"/>
                  </a:lnTo>
                  <a:lnTo>
                    <a:pt x="280" y="1368"/>
                  </a:lnTo>
                  <a:lnTo>
                    <a:pt x="259" y="1400"/>
                  </a:lnTo>
                  <a:lnTo>
                    <a:pt x="239" y="1431"/>
                  </a:lnTo>
                  <a:lnTo>
                    <a:pt x="218" y="1462"/>
                  </a:lnTo>
                  <a:lnTo>
                    <a:pt x="198" y="1491"/>
                  </a:lnTo>
                  <a:lnTo>
                    <a:pt x="177" y="1519"/>
                  </a:lnTo>
                  <a:lnTo>
                    <a:pt x="158" y="1546"/>
                  </a:lnTo>
                  <a:lnTo>
                    <a:pt x="137" y="1572"/>
                  </a:lnTo>
                  <a:lnTo>
                    <a:pt x="118" y="1596"/>
                  </a:lnTo>
                  <a:lnTo>
                    <a:pt x="78" y="1643"/>
                  </a:lnTo>
                  <a:lnTo>
                    <a:pt x="39" y="1685"/>
                  </a:lnTo>
                  <a:lnTo>
                    <a:pt x="0" y="168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242"/>
            <p:cNvSpPr>
              <a:spLocks/>
            </p:cNvSpPr>
            <p:nvPr userDrawn="1"/>
          </p:nvSpPr>
          <p:spPr bwMode="auto">
            <a:xfrm>
              <a:off x="1928813" y="5738813"/>
              <a:ext cx="3484563" cy="712788"/>
            </a:xfrm>
            <a:custGeom>
              <a:avLst/>
              <a:gdLst>
                <a:gd name="T0" fmla="*/ 6570 w 6584"/>
                <a:gd name="T1" fmla="*/ 1345 h 1345"/>
                <a:gd name="T2" fmla="*/ 6568 w 6584"/>
                <a:gd name="T3" fmla="*/ 1345 h 1345"/>
                <a:gd name="T4" fmla="*/ 6565 w 6584"/>
                <a:gd name="T5" fmla="*/ 1344 h 1345"/>
                <a:gd name="T6" fmla="*/ 5371 w 6584"/>
                <a:gd name="T7" fmla="*/ 848 h 1345"/>
                <a:gd name="T8" fmla="*/ 2178 w 6584"/>
                <a:gd name="T9" fmla="*/ 707 h 1345"/>
                <a:gd name="T10" fmla="*/ 2176 w 6584"/>
                <a:gd name="T11" fmla="*/ 707 h 1345"/>
                <a:gd name="T12" fmla="*/ 2175 w 6584"/>
                <a:gd name="T13" fmla="*/ 707 h 1345"/>
                <a:gd name="T14" fmla="*/ 10 w 6584"/>
                <a:gd name="T15" fmla="*/ 26 h 1345"/>
                <a:gd name="T16" fmla="*/ 6 w 6584"/>
                <a:gd name="T17" fmla="*/ 24 h 1345"/>
                <a:gd name="T18" fmla="*/ 3 w 6584"/>
                <a:gd name="T19" fmla="*/ 20 h 1345"/>
                <a:gd name="T20" fmla="*/ 0 w 6584"/>
                <a:gd name="T21" fmla="*/ 14 h 1345"/>
                <a:gd name="T22" fmla="*/ 2 w 6584"/>
                <a:gd name="T23" fmla="*/ 9 h 1345"/>
                <a:gd name="T24" fmla="*/ 4 w 6584"/>
                <a:gd name="T25" fmla="*/ 5 h 1345"/>
                <a:gd name="T26" fmla="*/ 8 w 6584"/>
                <a:gd name="T27" fmla="*/ 1 h 1345"/>
                <a:gd name="T28" fmla="*/ 13 w 6584"/>
                <a:gd name="T29" fmla="*/ 0 h 1345"/>
                <a:gd name="T30" fmla="*/ 19 w 6584"/>
                <a:gd name="T31" fmla="*/ 0 h 1345"/>
                <a:gd name="T32" fmla="*/ 2182 w 6584"/>
                <a:gd name="T33" fmla="*/ 680 h 1345"/>
                <a:gd name="T34" fmla="*/ 5375 w 6584"/>
                <a:gd name="T35" fmla="*/ 821 h 1345"/>
                <a:gd name="T36" fmla="*/ 5378 w 6584"/>
                <a:gd name="T37" fmla="*/ 822 h 1345"/>
                <a:gd name="T38" fmla="*/ 5380 w 6584"/>
                <a:gd name="T39" fmla="*/ 822 h 1345"/>
                <a:gd name="T40" fmla="*/ 6575 w 6584"/>
                <a:gd name="T41" fmla="*/ 1320 h 1345"/>
                <a:gd name="T42" fmla="*/ 6580 w 6584"/>
                <a:gd name="T43" fmla="*/ 1323 h 1345"/>
                <a:gd name="T44" fmla="*/ 6583 w 6584"/>
                <a:gd name="T45" fmla="*/ 1327 h 1345"/>
                <a:gd name="T46" fmla="*/ 6584 w 6584"/>
                <a:gd name="T47" fmla="*/ 1332 h 1345"/>
                <a:gd name="T48" fmla="*/ 6583 w 6584"/>
                <a:gd name="T49" fmla="*/ 1338 h 1345"/>
                <a:gd name="T50" fmla="*/ 6581 w 6584"/>
                <a:gd name="T51" fmla="*/ 1341 h 1345"/>
                <a:gd name="T52" fmla="*/ 6578 w 6584"/>
                <a:gd name="T53" fmla="*/ 1343 h 1345"/>
                <a:gd name="T54" fmla="*/ 6574 w 6584"/>
                <a:gd name="T55" fmla="*/ 1345 h 1345"/>
                <a:gd name="T56" fmla="*/ 6570 w 6584"/>
                <a:gd name="T57" fmla="*/ 134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84" h="1345">
                  <a:moveTo>
                    <a:pt x="6570" y="1345"/>
                  </a:moveTo>
                  <a:lnTo>
                    <a:pt x="6568" y="1345"/>
                  </a:lnTo>
                  <a:lnTo>
                    <a:pt x="6565" y="1344"/>
                  </a:lnTo>
                  <a:lnTo>
                    <a:pt x="5371" y="848"/>
                  </a:lnTo>
                  <a:lnTo>
                    <a:pt x="2178" y="707"/>
                  </a:lnTo>
                  <a:lnTo>
                    <a:pt x="2176" y="707"/>
                  </a:lnTo>
                  <a:lnTo>
                    <a:pt x="2175" y="707"/>
                  </a:lnTo>
                  <a:lnTo>
                    <a:pt x="10" y="26"/>
                  </a:lnTo>
                  <a:lnTo>
                    <a:pt x="6" y="24"/>
                  </a:lnTo>
                  <a:lnTo>
                    <a:pt x="3" y="20"/>
                  </a:lnTo>
                  <a:lnTo>
                    <a:pt x="0" y="14"/>
                  </a:lnTo>
                  <a:lnTo>
                    <a:pt x="2" y="9"/>
                  </a:lnTo>
                  <a:lnTo>
                    <a:pt x="4" y="5"/>
                  </a:lnTo>
                  <a:lnTo>
                    <a:pt x="8" y="1"/>
                  </a:lnTo>
                  <a:lnTo>
                    <a:pt x="13" y="0"/>
                  </a:lnTo>
                  <a:lnTo>
                    <a:pt x="19" y="0"/>
                  </a:lnTo>
                  <a:lnTo>
                    <a:pt x="2182" y="680"/>
                  </a:lnTo>
                  <a:lnTo>
                    <a:pt x="5375" y="821"/>
                  </a:lnTo>
                  <a:lnTo>
                    <a:pt x="5378" y="822"/>
                  </a:lnTo>
                  <a:lnTo>
                    <a:pt x="5380" y="822"/>
                  </a:lnTo>
                  <a:lnTo>
                    <a:pt x="6575" y="1320"/>
                  </a:lnTo>
                  <a:lnTo>
                    <a:pt x="6580" y="1323"/>
                  </a:lnTo>
                  <a:lnTo>
                    <a:pt x="6583" y="1327"/>
                  </a:lnTo>
                  <a:lnTo>
                    <a:pt x="6584" y="1332"/>
                  </a:lnTo>
                  <a:lnTo>
                    <a:pt x="6583" y="1338"/>
                  </a:lnTo>
                  <a:lnTo>
                    <a:pt x="6581" y="1341"/>
                  </a:lnTo>
                  <a:lnTo>
                    <a:pt x="6578" y="1343"/>
                  </a:lnTo>
                  <a:lnTo>
                    <a:pt x="6574" y="1345"/>
                  </a:lnTo>
                  <a:lnTo>
                    <a:pt x="6570" y="134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243"/>
            <p:cNvSpPr>
              <a:spLocks/>
            </p:cNvSpPr>
            <p:nvPr userDrawn="1"/>
          </p:nvSpPr>
          <p:spPr bwMode="auto">
            <a:xfrm>
              <a:off x="644525" y="5738813"/>
              <a:ext cx="4768850" cy="1119188"/>
            </a:xfrm>
            <a:custGeom>
              <a:avLst/>
              <a:gdLst>
                <a:gd name="T0" fmla="*/ 4 w 9010"/>
                <a:gd name="T1" fmla="*/ 1494 h 2114"/>
                <a:gd name="T2" fmla="*/ 1 w 9010"/>
                <a:gd name="T3" fmla="*/ 1487 h 2114"/>
                <a:gd name="T4" fmla="*/ 1 w 9010"/>
                <a:gd name="T5" fmla="*/ 1479 h 2114"/>
                <a:gd name="T6" fmla="*/ 57 w 9010"/>
                <a:gd name="T7" fmla="*/ 1335 h 2114"/>
                <a:gd name="T8" fmla="*/ 63 w 9010"/>
                <a:gd name="T9" fmla="*/ 1330 h 2114"/>
                <a:gd name="T10" fmla="*/ 69 w 9010"/>
                <a:gd name="T11" fmla="*/ 1329 h 2114"/>
                <a:gd name="T12" fmla="*/ 76 w 9010"/>
                <a:gd name="T13" fmla="*/ 1331 h 2114"/>
                <a:gd name="T14" fmla="*/ 815 w 9010"/>
                <a:gd name="T15" fmla="*/ 2076 h 2114"/>
                <a:gd name="T16" fmla="*/ 2433 w 9010"/>
                <a:gd name="T17" fmla="*/ 3 h 2114"/>
                <a:gd name="T18" fmla="*/ 2440 w 9010"/>
                <a:gd name="T19" fmla="*/ 0 h 2114"/>
                <a:gd name="T20" fmla="*/ 2541 w 9010"/>
                <a:gd name="T21" fmla="*/ 36 h 2114"/>
                <a:gd name="T22" fmla="*/ 2547 w 9010"/>
                <a:gd name="T23" fmla="*/ 32 h 2114"/>
                <a:gd name="T24" fmla="*/ 2558 w 9010"/>
                <a:gd name="T25" fmla="*/ 33 h 2114"/>
                <a:gd name="T26" fmla="*/ 2564 w 9010"/>
                <a:gd name="T27" fmla="*/ 41 h 2114"/>
                <a:gd name="T28" fmla="*/ 2564 w 9010"/>
                <a:gd name="T29" fmla="*/ 45 h 2114"/>
                <a:gd name="T30" fmla="*/ 7624 w 9010"/>
                <a:gd name="T31" fmla="*/ 655 h 2114"/>
                <a:gd name="T32" fmla="*/ 7630 w 9010"/>
                <a:gd name="T33" fmla="*/ 656 h 2114"/>
                <a:gd name="T34" fmla="*/ 9006 w 9010"/>
                <a:gd name="T35" fmla="*/ 1280 h 2114"/>
                <a:gd name="T36" fmla="*/ 9010 w 9010"/>
                <a:gd name="T37" fmla="*/ 1288 h 2114"/>
                <a:gd name="T38" fmla="*/ 9006 w 9010"/>
                <a:gd name="T39" fmla="*/ 1298 h 2114"/>
                <a:gd name="T40" fmla="*/ 8996 w 9010"/>
                <a:gd name="T41" fmla="*/ 1302 h 2114"/>
                <a:gd name="T42" fmla="*/ 7639 w 9010"/>
                <a:gd name="T43" fmla="*/ 706 h 2114"/>
                <a:gd name="T44" fmla="*/ 4907 w 9010"/>
                <a:gd name="T45" fmla="*/ 1024 h 2114"/>
                <a:gd name="T46" fmla="*/ 2731 w 9010"/>
                <a:gd name="T47" fmla="*/ 266 h 2114"/>
                <a:gd name="T48" fmla="*/ 2723 w 9010"/>
                <a:gd name="T49" fmla="*/ 259 h 2114"/>
                <a:gd name="T50" fmla="*/ 2722 w 9010"/>
                <a:gd name="T51" fmla="*/ 249 h 2114"/>
                <a:gd name="T52" fmla="*/ 2730 w 9010"/>
                <a:gd name="T53" fmla="*/ 241 h 2114"/>
                <a:gd name="T54" fmla="*/ 2740 w 9010"/>
                <a:gd name="T55" fmla="*/ 240 h 2114"/>
                <a:gd name="T56" fmla="*/ 7612 w 9010"/>
                <a:gd name="T57" fmla="*/ 683 h 2114"/>
                <a:gd name="T58" fmla="*/ 4738 w 9010"/>
                <a:gd name="T59" fmla="*/ 879 h 2114"/>
                <a:gd name="T60" fmla="*/ 2554 w 9010"/>
                <a:gd name="T61" fmla="*/ 69 h 2114"/>
                <a:gd name="T62" fmla="*/ 2520 w 9010"/>
                <a:gd name="T63" fmla="*/ 122 h 2114"/>
                <a:gd name="T64" fmla="*/ 2469 w 9010"/>
                <a:gd name="T65" fmla="*/ 199 h 2114"/>
                <a:gd name="T66" fmla="*/ 2314 w 9010"/>
                <a:gd name="T67" fmla="*/ 407 h 2114"/>
                <a:gd name="T68" fmla="*/ 2110 w 9010"/>
                <a:gd name="T69" fmla="*/ 675 h 2114"/>
                <a:gd name="T70" fmla="*/ 1873 w 9010"/>
                <a:gd name="T71" fmla="*/ 978 h 2114"/>
                <a:gd name="T72" fmla="*/ 1621 w 9010"/>
                <a:gd name="T73" fmla="*/ 1297 h 2114"/>
                <a:gd name="T74" fmla="*/ 1374 w 9010"/>
                <a:gd name="T75" fmla="*/ 1607 h 2114"/>
                <a:gd name="T76" fmla="*/ 1149 w 9010"/>
                <a:gd name="T77" fmla="*/ 1886 h 2114"/>
                <a:gd name="T78" fmla="*/ 965 w 9010"/>
                <a:gd name="T79" fmla="*/ 2114 h 2114"/>
                <a:gd name="T80" fmla="*/ 1051 w 9010"/>
                <a:gd name="T81" fmla="*/ 1965 h 2114"/>
                <a:gd name="T82" fmla="*/ 1303 w 9010"/>
                <a:gd name="T83" fmla="*/ 1650 h 2114"/>
                <a:gd name="T84" fmla="*/ 1562 w 9010"/>
                <a:gd name="T85" fmla="*/ 1327 h 2114"/>
                <a:gd name="T86" fmla="*/ 1813 w 9010"/>
                <a:gd name="T87" fmla="*/ 1009 h 2114"/>
                <a:gd name="T88" fmla="*/ 2046 w 9010"/>
                <a:gd name="T89" fmla="*/ 713 h 2114"/>
                <a:gd name="T90" fmla="*/ 2247 w 9010"/>
                <a:gd name="T91" fmla="*/ 453 h 2114"/>
                <a:gd name="T92" fmla="*/ 2405 w 9010"/>
                <a:gd name="T93" fmla="*/ 244 h 2114"/>
                <a:gd name="T94" fmla="*/ 2486 w 9010"/>
                <a:gd name="T95" fmla="*/ 131 h 2114"/>
                <a:gd name="T96" fmla="*/ 2520 w 9010"/>
                <a:gd name="T97" fmla="*/ 79 h 2114"/>
                <a:gd name="T98" fmla="*/ 2445 w 9010"/>
                <a:gd name="T99" fmla="*/ 30 h 2114"/>
                <a:gd name="T100" fmla="*/ 835 w 9010"/>
                <a:gd name="T101" fmla="*/ 2096 h 2114"/>
                <a:gd name="T102" fmla="*/ 786 w 9010"/>
                <a:gd name="T103" fmla="*/ 2114 h 2114"/>
                <a:gd name="T104" fmla="*/ 74 w 9010"/>
                <a:gd name="T105" fmla="*/ 1367 h 2114"/>
                <a:gd name="T106" fmla="*/ 29 w 9010"/>
                <a:gd name="T107" fmla="*/ 1480 h 2114"/>
                <a:gd name="T108" fmla="*/ 643 w 9010"/>
                <a:gd name="T109" fmla="*/ 2114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10" h="2114">
                  <a:moveTo>
                    <a:pt x="643" y="2114"/>
                  </a:moveTo>
                  <a:lnTo>
                    <a:pt x="4" y="1494"/>
                  </a:lnTo>
                  <a:lnTo>
                    <a:pt x="2" y="1491"/>
                  </a:lnTo>
                  <a:lnTo>
                    <a:pt x="1" y="1487"/>
                  </a:lnTo>
                  <a:lnTo>
                    <a:pt x="0" y="1484"/>
                  </a:lnTo>
                  <a:lnTo>
                    <a:pt x="1" y="1479"/>
                  </a:lnTo>
                  <a:lnTo>
                    <a:pt x="55" y="1338"/>
                  </a:lnTo>
                  <a:lnTo>
                    <a:pt x="57" y="1335"/>
                  </a:lnTo>
                  <a:lnTo>
                    <a:pt x="59" y="1332"/>
                  </a:lnTo>
                  <a:lnTo>
                    <a:pt x="63" y="1330"/>
                  </a:lnTo>
                  <a:lnTo>
                    <a:pt x="66" y="1329"/>
                  </a:lnTo>
                  <a:lnTo>
                    <a:pt x="69" y="1329"/>
                  </a:lnTo>
                  <a:lnTo>
                    <a:pt x="72" y="1330"/>
                  </a:lnTo>
                  <a:lnTo>
                    <a:pt x="76" y="1331"/>
                  </a:lnTo>
                  <a:lnTo>
                    <a:pt x="78" y="1334"/>
                  </a:lnTo>
                  <a:lnTo>
                    <a:pt x="815" y="2076"/>
                  </a:lnTo>
                  <a:lnTo>
                    <a:pt x="2430" y="5"/>
                  </a:lnTo>
                  <a:lnTo>
                    <a:pt x="2433" y="3"/>
                  </a:lnTo>
                  <a:lnTo>
                    <a:pt x="2436" y="0"/>
                  </a:lnTo>
                  <a:lnTo>
                    <a:pt x="2440" y="0"/>
                  </a:lnTo>
                  <a:lnTo>
                    <a:pt x="2445" y="0"/>
                  </a:lnTo>
                  <a:lnTo>
                    <a:pt x="2541" y="36"/>
                  </a:lnTo>
                  <a:lnTo>
                    <a:pt x="2543" y="34"/>
                  </a:lnTo>
                  <a:lnTo>
                    <a:pt x="2547" y="32"/>
                  </a:lnTo>
                  <a:lnTo>
                    <a:pt x="2553" y="32"/>
                  </a:lnTo>
                  <a:lnTo>
                    <a:pt x="2558" y="33"/>
                  </a:lnTo>
                  <a:lnTo>
                    <a:pt x="2561" y="37"/>
                  </a:lnTo>
                  <a:lnTo>
                    <a:pt x="2564" y="41"/>
                  </a:lnTo>
                  <a:lnTo>
                    <a:pt x="2565" y="42"/>
                  </a:lnTo>
                  <a:lnTo>
                    <a:pt x="2564" y="45"/>
                  </a:lnTo>
                  <a:lnTo>
                    <a:pt x="4742" y="852"/>
                  </a:lnTo>
                  <a:lnTo>
                    <a:pt x="7624" y="655"/>
                  </a:lnTo>
                  <a:lnTo>
                    <a:pt x="7627" y="655"/>
                  </a:lnTo>
                  <a:lnTo>
                    <a:pt x="7630" y="656"/>
                  </a:lnTo>
                  <a:lnTo>
                    <a:pt x="9001" y="1276"/>
                  </a:lnTo>
                  <a:lnTo>
                    <a:pt x="9006" y="1280"/>
                  </a:lnTo>
                  <a:lnTo>
                    <a:pt x="9009" y="1284"/>
                  </a:lnTo>
                  <a:lnTo>
                    <a:pt x="9010" y="1288"/>
                  </a:lnTo>
                  <a:lnTo>
                    <a:pt x="9009" y="1294"/>
                  </a:lnTo>
                  <a:lnTo>
                    <a:pt x="9006" y="1298"/>
                  </a:lnTo>
                  <a:lnTo>
                    <a:pt x="9001" y="1301"/>
                  </a:lnTo>
                  <a:lnTo>
                    <a:pt x="8996" y="1302"/>
                  </a:lnTo>
                  <a:lnTo>
                    <a:pt x="8991" y="1301"/>
                  </a:lnTo>
                  <a:lnTo>
                    <a:pt x="7639" y="706"/>
                  </a:lnTo>
                  <a:lnTo>
                    <a:pt x="4910" y="1024"/>
                  </a:lnTo>
                  <a:lnTo>
                    <a:pt x="4907" y="1024"/>
                  </a:lnTo>
                  <a:lnTo>
                    <a:pt x="4905" y="1023"/>
                  </a:lnTo>
                  <a:lnTo>
                    <a:pt x="2731" y="266"/>
                  </a:lnTo>
                  <a:lnTo>
                    <a:pt x="2727" y="264"/>
                  </a:lnTo>
                  <a:lnTo>
                    <a:pt x="2723" y="259"/>
                  </a:lnTo>
                  <a:lnTo>
                    <a:pt x="2722" y="254"/>
                  </a:lnTo>
                  <a:lnTo>
                    <a:pt x="2722" y="249"/>
                  </a:lnTo>
                  <a:lnTo>
                    <a:pt x="2726" y="244"/>
                  </a:lnTo>
                  <a:lnTo>
                    <a:pt x="2730" y="241"/>
                  </a:lnTo>
                  <a:lnTo>
                    <a:pt x="2734" y="240"/>
                  </a:lnTo>
                  <a:lnTo>
                    <a:pt x="2740" y="240"/>
                  </a:lnTo>
                  <a:lnTo>
                    <a:pt x="4910" y="997"/>
                  </a:lnTo>
                  <a:lnTo>
                    <a:pt x="7612" y="683"/>
                  </a:lnTo>
                  <a:lnTo>
                    <a:pt x="4740" y="879"/>
                  </a:lnTo>
                  <a:lnTo>
                    <a:pt x="4738" y="879"/>
                  </a:lnTo>
                  <a:lnTo>
                    <a:pt x="4735" y="878"/>
                  </a:lnTo>
                  <a:lnTo>
                    <a:pt x="2554" y="69"/>
                  </a:lnTo>
                  <a:lnTo>
                    <a:pt x="2540" y="93"/>
                  </a:lnTo>
                  <a:lnTo>
                    <a:pt x="2520" y="122"/>
                  </a:lnTo>
                  <a:lnTo>
                    <a:pt x="2497" y="158"/>
                  </a:lnTo>
                  <a:lnTo>
                    <a:pt x="2469" y="199"/>
                  </a:lnTo>
                  <a:lnTo>
                    <a:pt x="2399" y="294"/>
                  </a:lnTo>
                  <a:lnTo>
                    <a:pt x="2314" y="407"/>
                  </a:lnTo>
                  <a:lnTo>
                    <a:pt x="2217" y="536"/>
                  </a:lnTo>
                  <a:lnTo>
                    <a:pt x="2110" y="675"/>
                  </a:lnTo>
                  <a:lnTo>
                    <a:pt x="1993" y="824"/>
                  </a:lnTo>
                  <a:lnTo>
                    <a:pt x="1873" y="978"/>
                  </a:lnTo>
                  <a:lnTo>
                    <a:pt x="1747" y="1137"/>
                  </a:lnTo>
                  <a:lnTo>
                    <a:pt x="1621" y="1297"/>
                  </a:lnTo>
                  <a:lnTo>
                    <a:pt x="1496" y="1454"/>
                  </a:lnTo>
                  <a:lnTo>
                    <a:pt x="1374" y="1607"/>
                  </a:lnTo>
                  <a:lnTo>
                    <a:pt x="1257" y="1751"/>
                  </a:lnTo>
                  <a:lnTo>
                    <a:pt x="1149" y="1886"/>
                  </a:lnTo>
                  <a:lnTo>
                    <a:pt x="1051" y="2008"/>
                  </a:lnTo>
                  <a:lnTo>
                    <a:pt x="965" y="2114"/>
                  </a:lnTo>
                  <a:lnTo>
                    <a:pt x="930" y="2114"/>
                  </a:lnTo>
                  <a:lnTo>
                    <a:pt x="1051" y="1965"/>
                  </a:lnTo>
                  <a:lnTo>
                    <a:pt x="1176" y="1810"/>
                  </a:lnTo>
                  <a:lnTo>
                    <a:pt x="1303" y="1650"/>
                  </a:lnTo>
                  <a:lnTo>
                    <a:pt x="1433" y="1489"/>
                  </a:lnTo>
                  <a:lnTo>
                    <a:pt x="1562" y="1327"/>
                  </a:lnTo>
                  <a:lnTo>
                    <a:pt x="1689" y="1166"/>
                  </a:lnTo>
                  <a:lnTo>
                    <a:pt x="1813" y="1009"/>
                  </a:lnTo>
                  <a:lnTo>
                    <a:pt x="1933" y="857"/>
                  </a:lnTo>
                  <a:lnTo>
                    <a:pt x="2046" y="713"/>
                  </a:lnTo>
                  <a:lnTo>
                    <a:pt x="2151" y="577"/>
                  </a:lnTo>
                  <a:lnTo>
                    <a:pt x="2247" y="453"/>
                  </a:lnTo>
                  <a:lnTo>
                    <a:pt x="2333" y="340"/>
                  </a:lnTo>
                  <a:lnTo>
                    <a:pt x="2405" y="244"/>
                  </a:lnTo>
                  <a:lnTo>
                    <a:pt x="2462" y="164"/>
                  </a:lnTo>
                  <a:lnTo>
                    <a:pt x="2486" y="131"/>
                  </a:lnTo>
                  <a:lnTo>
                    <a:pt x="2505" y="103"/>
                  </a:lnTo>
                  <a:lnTo>
                    <a:pt x="2520" y="79"/>
                  </a:lnTo>
                  <a:lnTo>
                    <a:pt x="2531" y="61"/>
                  </a:lnTo>
                  <a:lnTo>
                    <a:pt x="2445" y="30"/>
                  </a:lnTo>
                  <a:lnTo>
                    <a:pt x="835" y="2096"/>
                  </a:lnTo>
                  <a:lnTo>
                    <a:pt x="835" y="2096"/>
                  </a:lnTo>
                  <a:lnTo>
                    <a:pt x="853" y="2114"/>
                  </a:lnTo>
                  <a:lnTo>
                    <a:pt x="786" y="2114"/>
                  </a:lnTo>
                  <a:lnTo>
                    <a:pt x="799" y="2098"/>
                  </a:lnTo>
                  <a:lnTo>
                    <a:pt x="74" y="1367"/>
                  </a:lnTo>
                  <a:lnTo>
                    <a:pt x="29" y="1480"/>
                  </a:lnTo>
                  <a:lnTo>
                    <a:pt x="29" y="1480"/>
                  </a:lnTo>
                  <a:lnTo>
                    <a:pt x="681" y="2114"/>
                  </a:lnTo>
                  <a:lnTo>
                    <a:pt x="643" y="2114"/>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244"/>
            <p:cNvSpPr>
              <a:spLocks/>
            </p:cNvSpPr>
            <p:nvPr userDrawn="1"/>
          </p:nvSpPr>
          <p:spPr bwMode="auto">
            <a:xfrm>
              <a:off x="1871663" y="5695950"/>
              <a:ext cx="3484563" cy="712788"/>
            </a:xfrm>
            <a:custGeom>
              <a:avLst/>
              <a:gdLst>
                <a:gd name="T0" fmla="*/ 6570 w 6584"/>
                <a:gd name="T1" fmla="*/ 1345 h 1345"/>
                <a:gd name="T2" fmla="*/ 6568 w 6584"/>
                <a:gd name="T3" fmla="*/ 1345 h 1345"/>
                <a:gd name="T4" fmla="*/ 6565 w 6584"/>
                <a:gd name="T5" fmla="*/ 1344 h 1345"/>
                <a:gd name="T6" fmla="*/ 5371 w 6584"/>
                <a:gd name="T7" fmla="*/ 848 h 1345"/>
                <a:gd name="T8" fmla="*/ 2178 w 6584"/>
                <a:gd name="T9" fmla="*/ 707 h 1345"/>
                <a:gd name="T10" fmla="*/ 2176 w 6584"/>
                <a:gd name="T11" fmla="*/ 707 h 1345"/>
                <a:gd name="T12" fmla="*/ 2175 w 6584"/>
                <a:gd name="T13" fmla="*/ 706 h 1345"/>
                <a:gd name="T14" fmla="*/ 10 w 6584"/>
                <a:gd name="T15" fmla="*/ 26 h 1345"/>
                <a:gd name="T16" fmla="*/ 6 w 6584"/>
                <a:gd name="T17" fmla="*/ 24 h 1345"/>
                <a:gd name="T18" fmla="*/ 3 w 6584"/>
                <a:gd name="T19" fmla="*/ 20 h 1345"/>
                <a:gd name="T20" fmla="*/ 0 w 6584"/>
                <a:gd name="T21" fmla="*/ 14 h 1345"/>
                <a:gd name="T22" fmla="*/ 2 w 6584"/>
                <a:gd name="T23" fmla="*/ 9 h 1345"/>
                <a:gd name="T24" fmla="*/ 4 w 6584"/>
                <a:gd name="T25" fmla="*/ 5 h 1345"/>
                <a:gd name="T26" fmla="*/ 8 w 6584"/>
                <a:gd name="T27" fmla="*/ 2 h 1345"/>
                <a:gd name="T28" fmla="*/ 13 w 6584"/>
                <a:gd name="T29" fmla="*/ 0 h 1345"/>
                <a:gd name="T30" fmla="*/ 18 w 6584"/>
                <a:gd name="T31" fmla="*/ 0 h 1345"/>
                <a:gd name="T32" fmla="*/ 2182 w 6584"/>
                <a:gd name="T33" fmla="*/ 680 h 1345"/>
                <a:gd name="T34" fmla="*/ 5375 w 6584"/>
                <a:gd name="T35" fmla="*/ 821 h 1345"/>
                <a:gd name="T36" fmla="*/ 5377 w 6584"/>
                <a:gd name="T37" fmla="*/ 822 h 1345"/>
                <a:gd name="T38" fmla="*/ 5380 w 6584"/>
                <a:gd name="T39" fmla="*/ 822 h 1345"/>
                <a:gd name="T40" fmla="*/ 6575 w 6584"/>
                <a:gd name="T41" fmla="*/ 1320 h 1345"/>
                <a:gd name="T42" fmla="*/ 6580 w 6584"/>
                <a:gd name="T43" fmla="*/ 1323 h 1345"/>
                <a:gd name="T44" fmla="*/ 6583 w 6584"/>
                <a:gd name="T45" fmla="*/ 1327 h 1345"/>
                <a:gd name="T46" fmla="*/ 6584 w 6584"/>
                <a:gd name="T47" fmla="*/ 1332 h 1345"/>
                <a:gd name="T48" fmla="*/ 6583 w 6584"/>
                <a:gd name="T49" fmla="*/ 1338 h 1345"/>
                <a:gd name="T50" fmla="*/ 6581 w 6584"/>
                <a:gd name="T51" fmla="*/ 1341 h 1345"/>
                <a:gd name="T52" fmla="*/ 6578 w 6584"/>
                <a:gd name="T53" fmla="*/ 1343 h 1345"/>
                <a:gd name="T54" fmla="*/ 6574 w 6584"/>
                <a:gd name="T55" fmla="*/ 1345 h 1345"/>
                <a:gd name="T56" fmla="*/ 6570 w 6584"/>
                <a:gd name="T57" fmla="*/ 134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84" h="1345">
                  <a:moveTo>
                    <a:pt x="6570" y="1345"/>
                  </a:moveTo>
                  <a:lnTo>
                    <a:pt x="6568" y="1345"/>
                  </a:lnTo>
                  <a:lnTo>
                    <a:pt x="6565" y="1344"/>
                  </a:lnTo>
                  <a:lnTo>
                    <a:pt x="5371" y="848"/>
                  </a:lnTo>
                  <a:lnTo>
                    <a:pt x="2178" y="707"/>
                  </a:lnTo>
                  <a:lnTo>
                    <a:pt x="2176" y="707"/>
                  </a:lnTo>
                  <a:lnTo>
                    <a:pt x="2175" y="706"/>
                  </a:lnTo>
                  <a:lnTo>
                    <a:pt x="10" y="26"/>
                  </a:lnTo>
                  <a:lnTo>
                    <a:pt x="6" y="24"/>
                  </a:lnTo>
                  <a:lnTo>
                    <a:pt x="3" y="20"/>
                  </a:lnTo>
                  <a:lnTo>
                    <a:pt x="0" y="14"/>
                  </a:lnTo>
                  <a:lnTo>
                    <a:pt x="2" y="9"/>
                  </a:lnTo>
                  <a:lnTo>
                    <a:pt x="4" y="5"/>
                  </a:lnTo>
                  <a:lnTo>
                    <a:pt x="8" y="2"/>
                  </a:lnTo>
                  <a:lnTo>
                    <a:pt x="13" y="0"/>
                  </a:lnTo>
                  <a:lnTo>
                    <a:pt x="18" y="0"/>
                  </a:lnTo>
                  <a:lnTo>
                    <a:pt x="2182" y="680"/>
                  </a:lnTo>
                  <a:lnTo>
                    <a:pt x="5375" y="821"/>
                  </a:lnTo>
                  <a:lnTo>
                    <a:pt x="5377" y="822"/>
                  </a:lnTo>
                  <a:lnTo>
                    <a:pt x="5380" y="822"/>
                  </a:lnTo>
                  <a:lnTo>
                    <a:pt x="6575" y="1320"/>
                  </a:lnTo>
                  <a:lnTo>
                    <a:pt x="6580" y="1323"/>
                  </a:lnTo>
                  <a:lnTo>
                    <a:pt x="6583" y="1327"/>
                  </a:lnTo>
                  <a:lnTo>
                    <a:pt x="6584" y="1332"/>
                  </a:lnTo>
                  <a:lnTo>
                    <a:pt x="6583" y="1338"/>
                  </a:lnTo>
                  <a:lnTo>
                    <a:pt x="6581" y="1341"/>
                  </a:lnTo>
                  <a:lnTo>
                    <a:pt x="6578" y="1343"/>
                  </a:lnTo>
                  <a:lnTo>
                    <a:pt x="6574" y="1345"/>
                  </a:lnTo>
                  <a:lnTo>
                    <a:pt x="6570" y="134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245"/>
            <p:cNvSpPr>
              <a:spLocks noEditPoints="1"/>
            </p:cNvSpPr>
            <p:nvPr userDrawn="1"/>
          </p:nvSpPr>
          <p:spPr bwMode="auto">
            <a:xfrm>
              <a:off x="587375" y="5695950"/>
              <a:ext cx="4838700" cy="1162050"/>
            </a:xfrm>
            <a:custGeom>
              <a:avLst/>
              <a:gdLst>
                <a:gd name="T0" fmla="*/ 2 w 9143"/>
                <a:gd name="T1" fmla="*/ 1491 h 2195"/>
                <a:gd name="T2" fmla="*/ 1 w 9143"/>
                <a:gd name="T3" fmla="*/ 1479 h 2195"/>
                <a:gd name="T4" fmla="*/ 60 w 9143"/>
                <a:gd name="T5" fmla="*/ 1332 h 2195"/>
                <a:gd name="T6" fmla="*/ 69 w 9143"/>
                <a:gd name="T7" fmla="*/ 1329 h 2195"/>
                <a:gd name="T8" fmla="*/ 78 w 9143"/>
                <a:gd name="T9" fmla="*/ 1334 h 2195"/>
                <a:gd name="T10" fmla="*/ 2433 w 9143"/>
                <a:gd name="T11" fmla="*/ 3 h 2195"/>
                <a:gd name="T12" fmla="*/ 2445 w 9143"/>
                <a:gd name="T13" fmla="*/ 0 h 2195"/>
                <a:gd name="T14" fmla="*/ 2547 w 9143"/>
                <a:gd name="T15" fmla="*/ 32 h 2195"/>
                <a:gd name="T16" fmla="*/ 2561 w 9143"/>
                <a:gd name="T17" fmla="*/ 36 h 2195"/>
                <a:gd name="T18" fmla="*/ 2564 w 9143"/>
                <a:gd name="T19" fmla="*/ 45 h 2195"/>
                <a:gd name="T20" fmla="*/ 7681 w 9143"/>
                <a:gd name="T21" fmla="*/ 655 h 2195"/>
                <a:gd name="T22" fmla="*/ 9135 w 9143"/>
                <a:gd name="T23" fmla="*/ 1379 h 2195"/>
                <a:gd name="T24" fmla="*/ 9143 w 9143"/>
                <a:gd name="T25" fmla="*/ 1392 h 2195"/>
                <a:gd name="T26" fmla="*/ 9134 w 9143"/>
                <a:gd name="T27" fmla="*/ 1404 h 2195"/>
                <a:gd name="T28" fmla="*/ 7702 w 9143"/>
                <a:gd name="T29" fmla="*/ 723 h 2195"/>
                <a:gd name="T30" fmla="*/ 4907 w 9143"/>
                <a:gd name="T31" fmla="*/ 1024 h 2195"/>
                <a:gd name="T32" fmla="*/ 2727 w 9143"/>
                <a:gd name="T33" fmla="*/ 263 h 2195"/>
                <a:gd name="T34" fmla="*/ 2722 w 9143"/>
                <a:gd name="T35" fmla="*/ 249 h 2195"/>
                <a:gd name="T36" fmla="*/ 2734 w 9143"/>
                <a:gd name="T37" fmla="*/ 240 h 2195"/>
                <a:gd name="T38" fmla="*/ 6710 w 9143"/>
                <a:gd name="T39" fmla="*/ 774 h 2195"/>
                <a:gd name="T40" fmla="*/ 4735 w 9143"/>
                <a:gd name="T41" fmla="*/ 878 h 2195"/>
                <a:gd name="T42" fmla="*/ 2518 w 9143"/>
                <a:gd name="T43" fmla="*/ 126 h 2195"/>
                <a:gd name="T44" fmla="*/ 2388 w 9143"/>
                <a:gd name="T45" fmla="*/ 310 h 2195"/>
                <a:gd name="T46" fmla="*/ 2076 w 9143"/>
                <a:gd name="T47" fmla="*/ 718 h 2195"/>
                <a:gd name="T48" fmla="*/ 1690 w 9143"/>
                <a:gd name="T49" fmla="*/ 1208 h 2195"/>
                <a:gd name="T50" fmla="*/ 1303 w 9143"/>
                <a:gd name="T51" fmla="*/ 1694 h 2195"/>
                <a:gd name="T52" fmla="*/ 985 w 9143"/>
                <a:gd name="T53" fmla="*/ 2089 h 2195"/>
                <a:gd name="T54" fmla="*/ 903 w 9143"/>
                <a:gd name="T55" fmla="*/ 2189 h 2195"/>
                <a:gd name="T56" fmla="*/ 894 w 9143"/>
                <a:gd name="T57" fmla="*/ 2191 h 2195"/>
                <a:gd name="T58" fmla="*/ 888 w 9143"/>
                <a:gd name="T59" fmla="*/ 2186 h 2195"/>
                <a:gd name="T60" fmla="*/ 727 w 9143"/>
                <a:gd name="T61" fmla="*/ 2195 h 2195"/>
                <a:gd name="T62" fmla="*/ 741 w 9143"/>
                <a:gd name="T63" fmla="*/ 2171 h 2195"/>
                <a:gd name="T64" fmla="*/ 29 w 9143"/>
                <a:gd name="T65" fmla="*/ 1480 h 2195"/>
                <a:gd name="T66" fmla="*/ 895 w 9143"/>
                <a:gd name="T67" fmla="*/ 2156 h 2195"/>
                <a:gd name="T68" fmla="*/ 1272 w 9143"/>
                <a:gd name="T69" fmla="*/ 1689 h 2195"/>
                <a:gd name="T70" fmla="*/ 1666 w 9143"/>
                <a:gd name="T71" fmla="*/ 1195 h 2195"/>
                <a:gd name="T72" fmla="*/ 2032 w 9143"/>
                <a:gd name="T73" fmla="*/ 731 h 2195"/>
                <a:gd name="T74" fmla="*/ 2326 w 9143"/>
                <a:gd name="T75" fmla="*/ 349 h 2195"/>
                <a:gd name="T76" fmla="*/ 2485 w 9143"/>
                <a:gd name="T77" fmla="*/ 132 h 2195"/>
                <a:gd name="T78" fmla="*/ 2530 w 9143"/>
                <a:gd name="T79" fmla="*/ 61 h 2195"/>
                <a:gd name="T80" fmla="*/ 7681 w 9143"/>
                <a:gd name="T81" fmla="*/ 683 h 2195"/>
                <a:gd name="T82" fmla="*/ 7705 w 9143"/>
                <a:gd name="T83" fmla="*/ 695 h 2195"/>
                <a:gd name="T84" fmla="*/ 7681 w 9143"/>
                <a:gd name="T85" fmla="*/ 683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43" h="2195">
                  <a:moveTo>
                    <a:pt x="727" y="2195"/>
                  </a:moveTo>
                  <a:lnTo>
                    <a:pt x="4" y="1494"/>
                  </a:lnTo>
                  <a:lnTo>
                    <a:pt x="2" y="1491"/>
                  </a:lnTo>
                  <a:lnTo>
                    <a:pt x="0" y="1487"/>
                  </a:lnTo>
                  <a:lnTo>
                    <a:pt x="0" y="1484"/>
                  </a:lnTo>
                  <a:lnTo>
                    <a:pt x="1" y="1479"/>
                  </a:lnTo>
                  <a:lnTo>
                    <a:pt x="55" y="1338"/>
                  </a:lnTo>
                  <a:lnTo>
                    <a:pt x="57" y="1335"/>
                  </a:lnTo>
                  <a:lnTo>
                    <a:pt x="60" y="1332"/>
                  </a:lnTo>
                  <a:lnTo>
                    <a:pt x="62" y="1330"/>
                  </a:lnTo>
                  <a:lnTo>
                    <a:pt x="65" y="1329"/>
                  </a:lnTo>
                  <a:lnTo>
                    <a:pt x="69" y="1329"/>
                  </a:lnTo>
                  <a:lnTo>
                    <a:pt x="72" y="1329"/>
                  </a:lnTo>
                  <a:lnTo>
                    <a:pt x="75" y="1331"/>
                  </a:lnTo>
                  <a:lnTo>
                    <a:pt x="78" y="1334"/>
                  </a:lnTo>
                  <a:lnTo>
                    <a:pt x="815" y="2076"/>
                  </a:lnTo>
                  <a:lnTo>
                    <a:pt x="2430" y="5"/>
                  </a:lnTo>
                  <a:lnTo>
                    <a:pt x="2433" y="3"/>
                  </a:lnTo>
                  <a:lnTo>
                    <a:pt x="2436" y="0"/>
                  </a:lnTo>
                  <a:lnTo>
                    <a:pt x="2441" y="0"/>
                  </a:lnTo>
                  <a:lnTo>
                    <a:pt x="2445" y="0"/>
                  </a:lnTo>
                  <a:lnTo>
                    <a:pt x="2541" y="36"/>
                  </a:lnTo>
                  <a:lnTo>
                    <a:pt x="2543" y="34"/>
                  </a:lnTo>
                  <a:lnTo>
                    <a:pt x="2547" y="32"/>
                  </a:lnTo>
                  <a:lnTo>
                    <a:pt x="2553" y="32"/>
                  </a:lnTo>
                  <a:lnTo>
                    <a:pt x="2558" y="33"/>
                  </a:lnTo>
                  <a:lnTo>
                    <a:pt x="2561" y="36"/>
                  </a:lnTo>
                  <a:lnTo>
                    <a:pt x="2564" y="41"/>
                  </a:lnTo>
                  <a:lnTo>
                    <a:pt x="2564" y="43"/>
                  </a:lnTo>
                  <a:lnTo>
                    <a:pt x="2564" y="45"/>
                  </a:lnTo>
                  <a:lnTo>
                    <a:pt x="4742" y="852"/>
                  </a:lnTo>
                  <a:lnTo>
                    <a:pt x="7094" y="727"/>
                  </a:lnTo>
                  <a:lnTo>
                    <a:pt x="7681" y="655"/>
                  </a:lnTo>
                  <a:lnTo>
                    <a:pt x="7685" y="655"/>
                  </a:lnTo>
                  <a:lnTo>
                    <a:pt x="7688" y="657"/>
                  </a:lnTo>
                  <a:lnTo>
                    <a:pt x="9135" y="1379"/>
                  </a:lnTo>
                  <a:lnTo>
                    <a:pt x="9140" y="1382"/>
                  </a:lnTo>
                  <a:lnTo>
                    <a:pt x="9143" y="1386"/>
                  </a:lnTo>
                  <a:lnTo>
                    <a:pt x="9143" y="1392"/>
                  </a:lnTo>
                  <a:lnTo>
                    <a:pt x="9142" y="1397"/>
                  </a:lnTo>
                  <a:lnTo>
                    <a:pt x="9139" y="1402"/>
                  </a:lnTo>
                  <a:lnTo>
                    <a:pt x="9134" y="1404"/>
                  </a:lnTo>
                  <a:lnTo>
                    <a:pt x="9129" y="1405"/>
                  </a:lnTo>
                  <a:lnTo>
                    <a:pt x="9123" y="1403"/>
                  </a:lnTo>
                  <a:lnTo>
                    <a:pt x="7702" y="723"/>
                  </a:lnTo>
                  <a:lnTo>
                    <a:pt x="7097" y="754"/>
                  </a:lnTo>
                  <a:lnTo>
                    <a:pt x="4910" y="1024"/>
                  </a:lnTo>
                  <a:lnTo>
                    <a:pt x="4907" y="1024"/>
                  </a:lnTo>
                  <a:lnTo>
                    <a:pt x="4904" y="1023"/>
                  </a:lnTo>
                  <a:lnTo>
                    <a:pt x="2731" y="266"/>
                  </a:lnTo>
                  <a:lnTo>
                    <a:pt x="2727" y="263"/>
                  </a:lnTo>
                  <a:lnTo>
                    <a:pt x="2723" y="259"/>
                  </a:lnTo>
                  <a:lnTo>
                    <a:pt x="2722" y="254"/>
                  </a:lnTo>
                  <a:lnTo>
                    <a:pt x="2722" y="249"/>
                  </a:lnTo>
                  <a:lnTo>
                    <a:pt x="2726" y="244"/>
                  </a:lnTo>
                  <a:lnTo>
                    <a:pt x="2730" y="241"/>
                  </a:lnTo>
                  <a:lnTo>
                    <a:pt x="2734" y="240"/>
                  </a:lnTo>
                  <a:lnTo>
                    <a:pt x="2740" y="240"/>
                  </a:lnTo>
                  <a:lnTo>
                    <a:pt x="4910" y="997"/>
                  </a:lnTo>
                  <a:lnTo>
                    <a:pt x="6710" y="774"/>
                  </a:lnTo>
                  <a:lnTo>
                    <a:pt x="4741" y="879"/>
                  </a:lnTo>
                  <a:lnTo>
                    <a:pt x="4737" y="879"/>
                  </a:lnTo>
                  <a:lnTo>
                    <a:pt x="4735" y="878"/>
                  </a:lnTo>
                  <a:lnTo>
                    <a:pt x="2554" y="70"/>
                  </a:lnTo>
                  <a:lnTo>
                    <a:pt x="2539" y="94"/>
                  </a:lnTo>
                  <a:lnTo>
                    <a:pt x="2518" y="126"/>
                  </a:lnTo>
                  <a:lnTo>
                    <a:pt x="2493" y="163"/>
                  </a:lnTo>
                  <a:lnTo>
                    <a:pt x="2462" y="208"/>
                  </a:lnTo>
                  <a:lnTo>
                    <a:pt x="2388" y="310"/>
                  </a:lnTo>
                  <a:lnTo>
                    <a:pt x="2296" y="432"/>
                  </a:lnTo>
                  <a:lnTo>
                    <a:pt x="2191" y="569"/>
                  </a:lnTo>
                  <a:lnTo>
                    <a:pt x="2076" y="718"/>
                  </a:lnTo>
                  <a:lnTo>
                    <a:pt x="1951" y="877"/>
                  </a:lnTo>
                  <a:lnTo>
                    <a:pt x="1823" y="1042"/>
                  </a:lnTo>
                  <a:lnTo>
                    <a:pt x="1690" y="1208"/>
                  </a:lnTo>
                  <a:lnTo>
                    <a:pt x="1558" y="1376"/>
                  </a:lnTo>
                  <a:lnTo>
                    <a:pt x="1428" y="1539"/>
                  </a:lnTo>
                  <a:lnTo>
                    <a:pt x="1303" y="1694"/>
                  </a:lnTo>
                  <a:lnTo>
                    <a:pt x="1186" y="1840"/>
                  </a:lnTo>
                  <a:lnTo>
                    <a:pt x="1079" y="1973"/>
                  </a:lnTo>
                  <a:lnTo>
                    <a:pt x="985" y="2089"/>
                  </a:lnTo>
                  <a:lnTo>
                    <a:pt x="907" y="2185"/>
                  </a:lnTo>
                  <a:lnTo>
                    <a:pt x="905" y="2187"/>
                  </a:lnTo>
                  <a:lnTo>
                    <a:pt x="903" y="2189"/>
                  </a:lnTo>
                  <a:lnTo>
                    <a:pt x="901" y="2190"/>
                  </a:lnTo>
                  <a:lnTo>
                    <a:pt x="897" y="2191"/>
                  </a:lnTo>
                  <a:lnTo>
                    <a:pt x="894" y="2191"/>
                  </a:lnTo>
                  <a:lnTo>
                    <a:pt x="892" y="2190"/>
                  </a:lnTo>
                  <a:lnTo>
                    <a:pt x="890" y="2189"/>
                  </a:lnTo>
                  <a:lnTo>
                    <a:pt x="888" y="2186"/>
                  </a:lnTo>
                  <a:lnTo>
                    <a:pt x="819" y="2117"/>
                  </a:lnTo>
                  <a:lnTo>
                    <a:pt x="757" y="2195"/>
                  </a:lnTo>
                  <a:lnTo>
                    <a:pt x="727" y="2195"/>
                  </a:lnTo>
                  <a:close/>
                  <a:moveTo>
                    <a:pt x="29" y="1480"/>
                  </a:moveTo>
                  <a:lnTo>
                    <a:pt x="29" y="1480"/>
                  </a:lnTo>
                  <a:lnTo>
                    <a:pt x="741" y="2171"/>
                  </a:lnTo>
                  <a:lnTo>
                    <a:pt x="799" y="2098"/>
                  </a:lnTo>
                  <a:lnTo>
                    <a:pt x="74" y="1367"/>
                  </a:lnTo>
                  <a:lnTo>
                    <a:pt x="29" y="1480"/>
                  </a:lnTo>
                  <a:close/>
                  <a:moveTo>
                    <a:pt x="835" y="2096"/>
                  </a:moveTo>
                  <a:lnTo>
                    <a:pt x="835" y="2096"/>
                  </a:lnTo>
                  <a:lnTo>
                    <a:pt x="895" y="2156"/>
                  </a:lnTo>
                  <a:lnTo>
                    <a:pt x="1016" y="2007"/>
                  </a:lnTo>
                  <a:lnTo>
                    <a:pt x="1143" y="1851"/>
                  </a:lnTo>
                  <a:lnTo>
                    <a:pt x="1272" y="1689"/>
                  </a:lnTo>
                  <a:lnTo>
                    <a:pt x="1404" y="1525"/>
                  </a:lnTo>
                  <a:lnTo>
                    <a:pt x="1536" y="1359"/>
                  </a:lnTo>
                  <a:lnTo>
                    <a:pt x="1666" y="1195"/>
                  </a:lnTo>
                  <a:lnTo>
                    <a:pt x="1793" y="1035"/>
                  </a:lnTo>
                  <a:lnTo>
                    <a:pt x="1916" y="879"/>
                  </a:lnTo>
                  <a:lnTo>
                    <a:pt x="2032" y="731"/>
                  </a:lnTo>
                  <a:lnTo>
                    <a:pt x="2140" y="592"/>
                  </a:lnTo>
                  <a:lnTo>
                    <a:pt x="2239" y="464"/>
                  </a:lnTo>
                  <a:lnTo>
                    <a:pt x="2326" y="349"/>
                  </a:lnTo>
                  <a:lnTo>
                    <a:pt x="2401" y="249"/>
                  </a:lnTo>
                  <a:lnTo>
                    <a:pt x="2461" y="167"/>
                  </a:lnTo>
                  <a:lnTo>
                    <a:pt x="2485" y="132"/>
                  </a:lnTo>
                  <a:lnTo>
                    <a:pt x="2504" y="103"/>
                  </a:lnTo>
                  <a:lnTo>
                    <a:pt x="2520" y="79"/>
                  </a:lnTo>
                  <a:lnTo>
                    <a:pt x="2530" y="61"/>
                  </a:lnTo>
                  <a:lnTo>
                    <a:pt x="2445" y="30"/>
                  </a:lnTo>
                  <a:lnTo>
                    <a:pt x="835" y="2096"/>
                  </a:lnTo>
                  <a:close/>
                  <a:moveTo>
                    <a:pt x="7681" y="683"/>
                  </a:moveTo>
                  <a:lnTo>
                    <a:pt x="7681" y="683"/>
                  </a:lnTo>
                  <a:lnTo>
                    <a:pt x="7482" y="706"/>
                  </a:lnTo>
                  <a:lnTo>
                    <a:pt x="7705" y="695"/>
                  </a:lnTo>
                  <a:lnTo>
                    <a:pt x="7706" y="695"/>
                  </a:lnTo>
                  <a:lnTo>
                    <a:pt x="7706" y="695"/>
                  </a:lnTo>
                  <a:lnTo>
                    <a:pt x="7681" y="683"/>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246"/>
            <p:cNvSpPr>
              <a:spLocks/>
            </p:cNvSpPr>
            <p:nvPr userDrawn="1"/>
          </p:nvSpPr>
          <p:spPr bwMode="auto">
            <a:xfrm>
              <a:off x="1841500" y="5695950"/>
              <a:ext cx="3484563" cy="712788"/>
            </a:xfrm>
            <a:custGeom>
              <a:avLst/>
              <a:gdLst>
                <a:gd name="T0" fmla="*/ 6570 w 6583"/>
                <a:gd name="T1" fmla="*/ 1345 h 1345"/>
                <a:gd name="T2" fmla="*/ 6567 w 6583"/>
                <a:gd name="T3" fmla="*/ 1345 h 1345"/>
                <a:gd name="T4" fmla="*/ 6564 w 6583"/>
                <a:gd name="T5" fmla="*/ 1344 h 1345"/>
                <a:gd name="T6" fmla="*/ 5370 w 6583"/>
                <a:gd name="T7" fmla="*/ 848 h 1345"/>
                <a:gd name="T8" fmla="*/ 2177 w 6583"/>
                <a:gd name="T9" fmla="*/ 707 h 1345"/>
                <a:gd name="T10" fmla="*/ 2176 w 6583"/>
                <a:gd name="T11" fmla="*/ 707 h 1345"/>
                <a:gd name="T12" fmla="*/ 2174 w 6583"/>
                <a:gd name="T13" fmla="*/ 706 h 1345"/>
                <a:gd name="T14" fmla="*/ 9 w 6583"/>
                <a:gd name="T15" fmla="*/ 26 h 1345"/>
                <a:gd name="T16" fmla="*/ 5 w 6583"/>
                <a:gd name="T17" fmla="*/ 24 h 1345"/>
                <a:gd name="T18" fmla="*/ 1 w 6583"/>
                <a:gd name="T19" fmla="*/ 20 h 1345"/>
                <a:gd name="T20" fmla="*/ 0 w 6583"/>
                <a:gd name="T21" fmla="*/ 14 h 1345"/>
                <a:gd name="T22" fmla="*/ 0 w 6583"/>
                <a:gd name="T23" fmla="*/ 9 h 1345"/>
                <a:gd name="T24" fmla="*/ 4 w 6583"/>
                <a:gd name="T25" fmla="*/ 5 h 1345"/>
                <a:gd name="T26" fmla="*/ 7 w 6583"/>
                <a:gd name="T27" fmla="*/ 2 h 1345"/>
                <a:gd name="T28" fmla="*/ 12 w 6583"/>
                <a:gd name="T29" fmla="*/ 0 h 1345"/>
                <a:gd name="T30" fmla="*/ 18 w 6583"/>
                <a:gd name="T31" fmla="*/ 0 h 1345"/>
                <a:gd name="T32" fmla="*/ 2180 w 6583"/>
                <a:gd name="T33" fmla="*/ 680 h 1345"/>
                <a:gd name="T34" fmla="*/ 5375 w 6583"/>
                <a:gd name="T35" fmla="*/ 821 h 1345"/>
                <a:gd name="T36" fmla="*/ 5377 w 6583"/>
                <a:gd name="T37" fmla="*/ 822 h 1345"/>
                <a:gd name="T38" fmla="*/ 5379 w 6583"/>
                <a:gd name="T39" fmla="*/ 822 h 1345"/>
                <a:gd name="T40" fmla="*/ 6574 w 6583"/>
                <a:gd name="T41" fmla="*/ 1320 h 1345"/>
                <a:gd name="T42" fmla="*/ 6580 w 6583"/>
                <a:gd name="T43" fmla="*/ 1323 h 1345"/>
                <a:gd name="T44" fmla="*/ 6582 w 6583"/>
                <a:gd name="T45" fmla="*/ 1327 h 1345"/>
                <a:gd name="T46" fmla="*/ 6583 w 6583"/>
                <a:gd name="T47" fmla="*/ 1332 h 1345"/>
                <a:gd name="T48" fmla="*/ 6582 w 6583"/>
                <a:gd name="T49" fmla="*/ 1338 h 1345"/>
                <a:gd name="T50" fmla="*/ 6580 w 6583"/>
                <a:gd name="T51" fmla="*/ 1341 h 1345"/>
                <a:gd name="T52" fmla="*/ 6577 w 6583"/>
                <a:gd name="T53" fmla="*/ 1343 h 1345"/>
                <a:gd name="T54" fmla="*/ 6573 w 6583"/>
                <a:gd name="T55" fmla="*/ 1345 h 1345"/>
                <a:gd name="T56" fmla="*/ 6570 w 6583"/>
                <a:gd name="T57" fmla="*/ 1345 h 1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83" h="1345">
                  <a:moveTo>
                    <a:pt x="6570" y="1345"/>
                  </a:moveTo>
                  <a:lnTo>
                    <a:pt x="6567" y="1345"/>
                  </a:lnTo>
                  <a:lnTo>
                    <a:pt x="6564" y="1344"/>
                  </a:lnTo>
                  <a:lnTo>
                    <a:pt x="5370" y="848"/>
                  </a:lnTo>
                  <a:lnTo>
                    <a:pt x="2177" y="707"/>
                  </a:lnTo>
                  <a:lnTo>
                    <a:pt x="2176" y="707"/>
                  </a:lnTo>
                  <a:lnTo>
                    <a:pt x="2174" y="706"/>
                  </a:lnTo>
                  <a:lnTo>
                    <a:pt x="9" y="26"/>
                  </a:lnTo>
                  <a:lnTo>
                    <a:pt x="5" y="24"/>
                  </a:lnTo>
                  <a:lnTo>
                    <a:pt x="1" y="20"/>
                  </a:lnTo>
                  <a:lnTo>
                    <a:pt x="0" y="14"/>
                  </a:lnTo>
                  <a:lnTo>
                    <a:pt x="0" y="9"/>
                  </a:lnTo>
                  <a:lnTo>
                    <a:pt x="4" y="5"/>
                  </a:lnTo>
                  <a:lnTo>
                    <a:pt x="7" y="2"/>
                  </a:lnTo>
                  <a:lnTo>
                    <a:pt x="12" y="0"/>
                  </a:lnTo>
                  <a:lnTo>
                    <a:pt x="18" y="0"/>
                  </a:lnTo>
                  <a:lnTo>
                    <a:pt x="2180" y="680"/>
                  </a:lnTo>
                  <a:lnTo>
                    <a:pt x="5375" y="821"/>
                  </a:lnTo>
                  <a:lnTo>
                    <a:pt x="5377" y="822"/>
                  </a:lnTo>
                  <a:lnTo>
                    <a:pt x="5379" y="822"/>
                  </a:lnTo>
                  <a:lnTo>
                    <a:pt x="6574" y="1320"/>
                  </a:lnTo>
                  <a:lnTo>
                    <a:pt x="6580" y="1323"/>
                  </a:lnTo>
                  <a:lnTo>
                    <a:pt x="6582" y="1327"/>
                  </a:lnTo>
                  <a:lnTo>
                    <a:pt x="6583" y="1332"/>
                  </a:lnTo>
                  <a:lnTo>
                    <a:pt x="6582" y="1338"/>
                  </a:lnTo>
                  <a:lnTo>
                    <a:pt x="6580" y="1341"/>
                  </a:lnTo>
                  <a:lnTo>
                    <a:pt x="6577" y="1343"/>
                  </a:lnTo>
                  <a:lnTo>
                    <a:pt x="6573" y="1345"/>
                  </a:lnTo>
                  <a:lnTo>
                    <a:pt x="6570" y="1345"/>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247"/>
            <p:cNvSpPr>
              <a:spLocks noEditPoints="1"/>
            </p:cNvSpPr>
            <p:nvPr userDrawn="1"/>
          </p:nvSpPr>
          <p:spPr bwMode="auto">
            <a:xfrm>
              <a:off x="558800" y="5695950"/>
              <a:ext cx="4837113" cy="1162050"/>
            </a:xfrm>
            <a:custGeom>
              <a:avLst/>
              <a:gdLst>
                <a:gd name="T0" fmla="*/ 1 w 9143"/>
                <a:gd name="T1" fmla="*/ 1491 h 2195"/>
                <a:gd name="T2" fmla="*/ 0 w 9143"/>
                <a:gd name="T3" fmla="*/ 1479 h 2195"/>
                <a:gd name="T4" fmla="*/ 58 w 9143"/>
                <a:gd name="T5" fmla="*/ 1332 h 2195"/>
                <a:gd name="T6" fmla="*/ 68 w 9143"/>
                <a:gd name="T7" fmla="*/ 1329 h 2195"/>
                <a:gd name="T8" fmla="*/ 77 w 9143"/>
                <a:gd name="T9" fmla="*/ 1334 h 2195"/>
                <a:gd name="T10" fmla="*/ 2432 w 9143"/>
                <a:gd name="T11" fmla="*/ 3 h 2195"/>
                <a:gd name="T12" fmla="*/ 2445 w 9143"/>
                <a:gd name="T13" fmla="*/ 0 h 2195"/>
                <a:gd name="T14" fmla="*/ 2547 w 9143"/>
                <a:gd name="T15" fmla="*/ 32 h 2195"/>
                <a:gd name="T16" fmla="*/ 2561 w 9143"/>
                <a:gd name="T17" fmla="*/ 36 h 2195"/>
                <a:gd name="T18" fmla="*/ 2563 w 9143"/>
                <a:gd name="T19" fmla="*/ 45 h 2195"/>
                <a:gd name="T20" fmla="*/ 7727 w 9143"/>
                <a:gd name="T21" fmla="*/ 631 h 2195"/>
                <a:gd name="T22" fmla="*/ 7876 w 9143"/>
                <a:gd name="T23" fmla="*/ 636 h 2195"/>
                <a:gd name="T24" fmla="*/ 9136 w 9143"/>
                <a:gd name="T25" fmla="*/ 1379 h 2195"/>
                <a:gd name="T26" fmla="*/ 9143 w 9143"/>
                <a:gd name="T27" fmla="*/ 1393 h 2195"/>
                <a:gd name="T28" fmla="*/ 9133 w 9143"/>
                <a:gd name="T29" fmla="*/ 1404 h 2195"/>
                <a:gd name="T30" fmla="*/ 7760 w 9143"/>
                <a:gd name="T31" fmla="*/ 677 h 2195"/>
                <a:gd name="T32" fmla="*/ 4903 w 9143"/>
                <a:gd name="T33" fmla="*/ 1023 h 2195"/>
                <a:gd name="T34" fmla="*/ 2722 w 9143"/>
                <a:gd name="T35" fmla="*/ 259 h 2195"/>
                <a:gd name="T36" fmla="*/ 2724 w 9143"/>
                <a:gd name="T37" fmla="*/ 244 h 2195"/>
                <a:gd name="T38" fmla="*/ 2739 w 9143"/>
                <a:gd name="T39" fmla="*/ 240 h 2195"/>
                <a:gd name="T40" fmla="*/ 4740 w 9143"/>
                <a:gd name="T41" fmla="*/ 879 h 2195"/>
                <a:gd name="T42" fmla="*/ 2553 w 9143"/>
                <a:gd name="T43" fmla="*/ 70 h 2195"/>
                <a:gd name="T44" fmla="*/ 2492 w 9143"/>
                <a:gd name="T45" fmla="*/ 163 h 2195"/>
                <a:gd name="T46" fmla="*/ 2296 w 9143"/>
                <a:gd name="T47" fmla="*/ 432 h 2195"/>
                <a:gd name="T48" fmla="*/ 1951 w 9143"/>
                <a:gd name="T49" fmla="*/ 877 h 2195"/>
                <a:gd name="T50" fmla="*/ 1557 w 9143"/>
                <a:gd name="T51" fmla="*/ 1376 h 2195"/>
                <a:gd name="T52" fmla="*/ 1185 w 9143"/>
                <a:gd name="T53" fmla="*/ 1840 h 2195"/>
                <a:gd name="T54" fmla="*/ 907 w 9143"/>
                <a:gd name="T55" fmla="*/ 2185 h 2195"/>
                <a:gd name="T56" fmla="*/ 899 w 9143"/>
                <a:gd name="T57" fmla="*/ 2190 h 2195"/>
                <a:gd name="T58" fmla="*/ 891 w 9143"/>
                <a:gd name="T59" fmla="*/ 2190 h 2195"/>
                <a:gd name="T60" fmla="*/ 817 w 9143"/>
                <a:gd name="T61" fmla="*/ 2117 h 2195"/>
                <a:gd name="T62" fmla="*/ 29 w 9143"/>
                <a:gd name="T63" fmla="*/ 1480 h 2195"/>
                <a:gd name="T64" fmla="*/ 798 w 9143"/>
                <a:gd name="T65" fmla="*/ 2098 h 2195"/>
                <a:gd name="T66" fmla="*/ 835 w 9143"/>
                <a:gd name="T67" fmla="*/ 2096 h 2195"/>
                <a:gd name="T68" fmla="*/ 1016 w 9143"/>
                <a:gd name="T69" fmla="*/ 2007 h 2195"/>
                <a:gd name="T70" fmla="*/ 1403 w 9143"/>
                <a:gd name="T71" fmla="*/ 1525 h 2195"/>
                <a:gd name="T72" fmla="*/ 1792 w 9143"/>
                <a:gd name="T73" fmla="*/ 1035 h 2195"/>
                <a:gd name="T74" fmla="*/ 2139 w 9143"/>
                <a:gd name="T75" fmla="*/ 592 h 2195"/>
                <a:gd name="T76" fmla="*/ 2400 w 9143"/>
                <a:gd name="T77" fmla="*/ 249 h 2195"/>
                <a:gd name="T78" fmla="*/ 2504 w 9143"/>
                <a:gd name="T79" fmla="*/ 103 h 2195"/>
                <a:gd name="T80" fmla="*/ 2444 w 9143"/>
                <a:gd name="T81" fmla="*/ 30 h 2195"/>
                <a:gd name="T82" fmla="*/ 7806 w 9143"/>
                <a:gd name="T83" fmla="*/ 672 h 2195"/>
                <a:gd name="T84" fmla="*/ 7806 w 9143"/>
                <a:gd name="T85" fmla="*/ 672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43" h="2195">
                  <a:moveTo>
                    <a:pt x="726" y="2195"/>
                  </a:moveTo>
                  <a:lnTo>
                    <a:pt x="3" y="1494"/>
                  </a:lnTo>
                  <a:lnTo>
                    <a:pt x="1" y="1491"/>
                  </a:lnTo>
                  <a:lnTo>
                    <a:pt x="0" y="1487"/>
                  </a:lnTo>
                  <a:lnTo>
                    <a:pt x="0" y="1484"/>
                  </a:lnTo>
                  <a:lnTo>
                    <a:pt x="0" y="1479"/>
                  </a:lnTo>
                  <a:lnTo>
                    <a:pt x="55" y="1338"/>
                  </a:lnTo>
                  <a:lnTo>
                    <a:pt x="56" y="1335"/>
                  </a:lnTo>
                  <a:lnTo>
                    <a:pt x="58" y="1332"/>
                  </a:lnTo>
                  <a:lnTo>
                    <a:pt x="62" y="1330"/>
                  </a:lnTo>
                  <a:lnTo>
                    <a:pt x="65" y="1329"/>
                  </a:lnTo>
                  <a:lnTo>
                    <a:pt x="68" y="1329"/>
                  </a:lnTo>
                  <a:lnTo>
                    <a:pt x="71" y="1329"/>
                  </a:lnTo>
                  <a:lnTo>
                    <a:pt x="74" y="1331"/>
                  </a:lnTo>
                  <a:lnTo>
                    <a:pt x="77" y="1334"/>
                  </a:lnTo>
                  <a:lnTo>
                    <a:pt x="815" y="2076"/>
                  </a:lnTo>
                  <a:lnTo>
                    <a:pt x="2428" y="5"/>
                  </a:lnTo>
                  <a:lnTo>
                    <a:pt x="2432" y="3"/>
                  </a:lnTo>
                  <a:lnTo>
                    <a:pt x="2436" y="0"/>
                  </a:lnTo>
                  <a:lnTo>
                    <a:pt x="2440" y="0"/>
                  </a:lnTo>
                  <a:lnTo>
                    <a:pt x="2445" y="0"/>
                  </a:lnTo>
                  <a:lnTo>
                    <a:pt x="2540" y="36"/>
                  </a:lnTo>
                  <a:lnTo>
                    <a:pt x="2543" y="34"/>
                  </a:lnTo>
                  <a:lnTo>
                    <a:pt x="2547" y="32"/>
                  </a:lnTo>
                  <a:lnTo>
                    <a:pt x="2552" y="32"/>
                  </a:lnTo>
                  <a:lnTo>
                    <a:pt x="2557" y="33"/>
                  </a:lnTo>
                  <a:lnTo>
                    <a:pt x="2561" y="36"/>
                  </a:lnTo>
                  <a:lnTo>
                    <a:pt x="2563" y="41"/>
                  </a:lnTo>
                  <a:lnTo>
                    <a:pt x="2563" y="43"/>
                  </a:lnTo>
                  <a:lnTo>
                    <a:pt x="2563" y="45"/>
                  </a:lnTo>
                  <a:lnTo>
                    <a:pt x="4741" y="852"/>
                  </a:lnTo>
                  <a:lnTo>
                    <a:pt x="7724" y="630"/>
                  </a:lnTo>
                  <a:lnTo>
                    <a:pt x="7727" y="631"/>
                  </a:lnTo>
                  <a:lnTo>
                    <a:pt x="7731" y="632"/>
                  </a:lnTo>
                  <a:lnTo>
                    <a:pt x="7764" y="649"/>
                  </a:lnTo>
                  <a:lnTo>
                    <a:pt x="7876" y="636"/>
                  </a:lnTo>
                  <a:lnTo>
                    <a:pt x="7880" y="636"/>
                  </a:lnTo>
                  <a:lnTo>
                    <a:pt x="7885" y="637"/>
                  </a:lnTo>
                  <a:lnTo>
                    <a:pt x="9136" y="1379"/>
                  </a:lnTo>
                  <a:lnTo>
                    <a:pt x="9140" y="1383"/>
                  </a:lnTo>
                  <a:lnTo>
                    <a:pt x="9142" y="1388"/>
                  </a:lnTo>
                  <a:lnTo>
                    <a:pt x="9143" y="1393"/>
                  </a:lnTo>
                  <a:lnTo>
                    <a:pt x="9141" y="1397"/>
                  </a:lnTo>
                  <a:lnTo>
                    <a:pt x="9137" y="1402"/>
                  </a:lnTo>
                  <a:lnTo>
                    <a:pt x="9133" y="1404"/>
                  </a:lnTo>
                  <a:lnTo>
                    <a:pt x="9128" y="1405"/>
                  </a:lnTo>
                  <a:lnTo>
                    <a:pt x="9122" y="1403"/>
                  </a:lnTo>
                  <a:lnTo>
                    <a:pt x="7760" y="677"/>
                  </a:lnTo>
                  <a:lnTo>
                    <a:pt x="4910" y="1024"/>
                  </a:lnTo>
                  <a:lnTo>
                    <a:pt x="4907" y="1024"/>
                  </a:lnTo>
                  <a:lnTo>
                    <a:pt x="4903" y="1023"/>
                  </a:lnTo>
                  <a:lnTo>
                    <a:pt x="2730" y="266"/>
                  </a:lnTo>
                  <a:lnTo>
                    <a:pt x="2725" y="263"/>
                  </a:lnTo>
                  <a:lnTo>
                    <a:pt x="2722" y="259"/>
                  </a:lnTo>
                  <a:lnTo>
                    <a:pt x="2721" y="254"/>
                  </a:lnTo>
                  <a:lnTo>
                    <a:pt x="2722" y="249"/>
                  </a:lnTo>
                  <a:lnTo>
                    <a:pt x="2724" y="244"/>
                  </a:lnTo>
                  <a:lnTo>
                    <a:pt x="2729" y="241"/>
                  </a:lnTo>
                  <a:lnTo>
                    <a:pt x="2734" y="240"/>
                  </a:lnTo>
                  <a:lnTo>
                    <a:pt x="2739" y="240"/>
                  </a:lnTo>
                  <a:lnTo>
                    <a:pt x="4909" y="997"/>
                  </a:lnTo>
                  <a:lnTo>
                    <a:pt x="7662" y="662"/>
                  </a:lnTo>
                  <a:lnTo>
                    <a:pt x="4740" y="879"/>
                  </a:lnTo>
                  <a:lnTo>
                    <a:pt x="4737" y="879"/>
                  </a:lnTo>
                  <a:lnTo>
                    <a:pt x="4734" y="878"/>
                  </a:lnTo>
                  <a:lnTo>
                    <a:pt x="2553" y="70"/>
                  </a:lnTo>
                  <a:lnTo>
                    <a:pt x="2538" y="94"/>
                  </a:lnTo>
                  <a:lnTo>
                    <a:pt x="2518" y="126"/>
                  </a:lnTo>
                  <a:lnTo>
                    <a:pt x="2492" y="163"/>
                  </a:lnTo>
                  <a:lnTo>
                    <a:pt x="2462" y="208"/>
                  </a:lnTo>
                  <a:lnTo>
                    <a:pt x="2386" y="310"/>
                  </a:lnTo>
                  <a:lnTo>
                    <a:pt x="2296" y="432"/>
                  </a:lnTo>
                  <a:lnTo>
                    <a:pt x="2191" y="569"/>
                  </a:lnTo>
                  <a:lnTo>
                    <a:pt x="2075" y="718"/>
                  </a:lnTo>
                  <a:lnTo>
                    <a:pt x="1951" y="877"/>
                  </a:lnTo>
                  <a:lnTo>
                    <a:pt x="1822" y="1042"/>
                  </a:lnTo>
                  <a:lnTo>
                    <a:pt x="1690" y="1208"/>
                  </a:lnTo>
                  <a:lnTo>
                    <a:pt x="1557" y="1376"/>
                  </a:lnTo>
                  <a:lnTo>
                    <a:pt x="1427" y="1539"/>
                  </a:lnTo>
                  <a:lnTo>
                    <a:pt x="1302" y="1694"/>
                  </a:lnTo>
                  <a:lnTo>
                    <a:pt x="1185" y="1840"/>
                  </a:lnTo>
                  <a:lnTo>
                    <a:pt x="1079" y="1973"/>
                  </a:lnTo>
                  <a:lnTo>
                    <a:pt x="985" y="2089"/>
                  </a:lnTo>
                  <a:lnTo>
                    <a:pt x="907" y="2185"/>
                  </a:lnTo>
                  <a:lnTo>
                    <a:pt x="905" y="2187"/>
                  </a:lnTo>
                  <a:lnTo>
                    <a:pt x="903" y="2189"/>
                  </a:lnTo>
                  <a:lnTo>
                    <a:pt x="899" y="2190"/>
                  </a:lnTo>
                  <a:lnTo>
                    <a:pt x="897" y="2191"/>
                  </a:lnTo>
                  <a:lnTo>
                    <a:pt x="894" y="2191"/>
                  </a:lnTo>
                  <a:lnTo>
                    <a:pt x="891" y="2190"/>
                  </a:lnTo>
                  <a:lnTo>
                    <a:pt x="889" y="2189"/>
                  </a:lnTo>
                  <a:lnTo>
                    <a:pt x="887" y="2186"/>
                  </a:lnTo>
                  <a:lnTo>
                    <a:pt x="817" y="2117"/>
                  </a:lnTo>
                  <a:lnTo>
                    <a:pt x="757" y="2195"/>
                  </a:lnTo>
                  <a:lnTo>
                    <a:pt x="726" y="2195"/>
                  </a:lnTo>
                  <a:close/>
                  <a:moveTo>
                    <a:pt x="29" y="1480"/>
                  </a:moveTo>
                  <a:lnTo>
                    <a:pt x="29" y="1480"/>
                  </a:lnTo>
                  <a:lnTo>
                    <a:pt x="741" y="2171"/>
                  </a:lnTo>
                  <a:lnTo>
                    <a:pt x="798" y="2098"/>
                  </a:lnTo>
                  <a:lnTo>
                    <a:pt x="72" y="1367"/>
                  </a:lnTo>
                  <a:lnTo>
                    <a:pt x="29" y="1480"/>
                  </a:lnTo>
                  <a:close/>
                  <a:moveTo>
                    <a:pt x="835" y="2096"/>
                  </a:moveTo>
                  <a:lnTo>
                    <a:pt x="835" y="2096"/>
                  </a:lnTo>
                  <a:lnTo>
                    <a:pt x="895" y="2156"/>
                  </a:lnTo>
                  <a:lnTo>
                    <a:pt x="1016" y="2007"/>
                  </a:lnTo>
                  <a:lnTo>
                    <a:pt x="1142" y="1851"/>
                  </a:lnTo>
                  <a:lnTo>
                    <a:pt x="1272" y="1689"/>
                  </a:lnTo>
                  <a:lnTo>
                    <a:pt x="1403" y="1525"/>
                  </a:lnTo>
                  <a:lnTo>
                    <a:pt x="1534" y="1359"/>
                  </a:lnTo>
                  <a:lnTo>
                    <a:pt x="1665" y="1195"/>
                  </a:lnTo>
                  <a:lnTo>
                    <a:pt x="1792" y="1035"/>
                  </a:lnTo>
                  <a:lnTo>
                    <a:pt x="1914" y="879"/>
                  </a:lnTo>
                  <a:lnTo>
                    <a:pt x="2031" y="731"/>
                  </a:lnTo>
                  <a:lnTo>
                    <a:pt x="2139" y="592"/>
                  </a:lnTo>
                  <a:lnTo>
                    <a:pt x="2238" y="464"/>
                  </a:lnTo>
                  <a:lnTo>
                    <a:pt x="2325" y="349"/>
                  </a:lnTo>
                  <a:lnTo>
                    <a:pt x="2400" y="249"/>
                  </a:lnTo>
                  <a:lnTo>
                    <a:pt x="2460" y="167"/>
                  </a:lnTo>
                  <a:lnTo>
                    <a:pt x="2484" y="132"/>
                  </a:lnTo>
                  <a:lnTo>
                    <a:pt x="2504" y="103"/>
                  </a:lnTo>
                  <a:lnTo>
                    <a:pt x="2519" y="79"/>
                  </a:lnTo>
                  <a:lnTo>
                    <a:pt x="2530" y="61"/>
                  </a:lnTo>
                  <a:lnTo>
                    <a:pt x="2444" y="30"/>
                  </a:lnTo>
                  <a:lnTo>
                    <a:pt x="835" y="2096"/>
                  </a:lnTo>
                  <a:close/>
                  <a:moveTo>
                    <a:pt x="7806" y="672"/>
                  </a:moveTo>
                  <a:lnTo>
                    <a:pt x="7806" y="672"/>
                  </a:lnTo>
                  <a:lnTo>
                    <a:pt x="8616" y="1103"/>
                  </a:lnTo>
                  <a:lnTo>
                    <a:pt x="7875" y="663"/>
                  </a:lnTo>
                  <a:lnTo>
                    <a:pt x="7806" y="672"/>
                  </a:lnTo>
                  <a:close/>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Rectangle 71"/>
            <p:cNvSpPr txBox="1">
              <a:spLocks noChangeArrowheads="1"/>
            </p:cNvSpPr>
            <p:nvPr userDrawn="1"/>
          </p:nvSpPr>
          <p:spPr bwMode="auto">
            <a:xfrm>
              <a:off x="4343400" y="6473952"/>
              <a:ext cx="663575" cy="36036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000">
                  <a:solidFill>
                    <a:srgbClr val="4E84C4"/>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3B55AB4-0D57-4FBE-946B-A81E4A9D2A4C}" type="slidenum">
                <a:rPr lang="en-US" sz="1000" b="1" kern="1200" noProof="0" smtClean="0">
                  <a:solidFill>
                    <a:schemeClr val="bg1"/>
                  </a:solidFill>
                  <a:latin typeface="Calibri" panose="020F0502020204030204" pitchFamily="34" charset="0"/>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r>
                <a:rPr lang="en-US" sz="1000" b="1" kern="1200" noProof="0" dirty="0">
                  <a:solidFill>
                    <a:schemeClr val="bg1"/>
                  </a:solidFill>
                  <a:latin typeface="Calibri" panose="020F0502020204030204" pitchFamily="34" charset="0"/>
                  <a:ea typeface="+mn-ea"/>
                  <a:cs typeface="Arial" pitchFamily="34" charset="0"/>
                </a:rPr>
                <a:t> </a:t>
              </a:r>
            </a:p>
          </p:txBody>
        </p:sp>
      </p:grpSp>
      <p:pic>
        <p:nvPicPr>
          <p:cNvPr id="272" name="Picture 27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092" y="0"/>
            <a:ext cx="1898908" cy="569977"/>
          </a:xfrm>
          <a:prstGeom prst="rect">
            <a:avLst/>
          </a:prstGeom>
        </p:spPr>
      </p:pic>
    </p:spTree>
    <p:extLst>
      <p:ext uri="{BB962C8B-B14F-4D97-AF65-F5344CB8AC3E}">
        <p14:creationId xmlns:p14="http://schemas.microsoft.com/office/powerpoint/2010/main" val="2492894606"/>
      </p:ext>
    </p:extLst>
  </p:cSld>
  <p:clrMap bg1="lt1" tx1="dk1" bg2="lt2" tx2="dk2" accent1="accent1" accent2="accent2" accent3="accent3" accent4="accent4" accent5="accent5" accent6="accent6" hlink="hlink" folHlink="folHlink"/>
  <p:sldLayoutIdLst>
    <p:sldLayoutId id="2147483700" r:id="rId1"/>
  </p:sldLayoutIdLst>
  <p:txStyles>
    <p:titleStyle>
      <a:lvl1pPr algn="l" defTabSz="685800" rtl="0" eaLnBrk="1" latinLnBrk="0" hangingPunct="1">
        <a:spcBef>
          <a:spcPct val="0"/>
        </a:spcBef>
        <a:buNone/>
        <a:defRPr sz="1800" kern="1200">
          <a:solidFill>
            <a:schemeClr val="bg1"/>
          </a:solidFill>
          <a:latin typeface="Arial" pitchFamily="34" charset="0"/>
          <a:ea typeface="+mj-ea"/>
          <a:cs typeface="Arial" pitchFamily="34" charset="0"/>
        </a:defRPr>
      </a:lvl1pPr>
    </p:titleStyle>
    <p:bodyStyle>
      <a:lvl1pPr marL="257175" indent="-257175" algn="l" defTabSz="685800" rtl="0" eaLnBrk="1" latinLnBrk="0" hangingPunct="1">
        <a:spcBef>
          <a:spcPct val="20000"/>
        </a:spcBef>
        <a:buClr>
          <a:srgbClr val="4E84C4"/>
        </a:buClr>
        <a:buFont typeface="Wingdings" pitchFamily="2" charset="2"/>
        <a:buChar char="§"/>
        <a:defRPr sz="1500" kern="1200">
          <a:solidFill>
            <a:schemeClr val="tx1"/>
          </a:solidFill>
          <a:latin typeface="Arial" pitchFamily="34" charset="0"/>
          <a:ea typeface="+mn-ea"/>
          <a:cs typeface="Arial" pitchFamily="34" charset="0"/>
        </a:defRPr>
      </a:lvl1pPr>
      <a:lvl2pPr marL="557213" indent="-214313" algn="l" defTabSz="685800" rtl="0" eaLnBrk="1" latinLnBrk="0" hangingPunct="1">
        <a:spcBef>
          <a:spcPct val="20000"/>
        </a:spcBef>
        <a:buClr>
          <a:srgbClr val="4E84C4"/>
        </a:buClr>
        <a:buFont typeface="Myriad Pro" pitchFamily="34" charset="0"/>
        <a:buChar char="–"/>
        <a:defRPr sz="1500" kern="1200">
          <a:solidFill>
            <a:schemeClr val="tx1"/>
          </a:solidFill>
          <a:latin typeface="Arial" pitchFamily="34" charset="0"/>
          <a:ea typeface="+mn-ea"/>
          <a:cs typeface="Arial" pitchFamily="34" charset="0"/>
        </a:defRPr>
      </a:lvl2pPr>
      <a:lvl3pPr marL="857250" indent="-171450" algn="l" defTabSz="685800" rtl="0" eaLnBrk="1" latinLnBrk="0" hangingPunct="1">
        <a:spcBef>
          <a:spcPct val="20000"/>
        </a:spcBef>
        <a:buClr>
          <a:srgbClr val="4E84C4"/>
        </a:buClr>
        <a:buFont typeface="Courier New" pitchFamily="49" charset="0"/>
        <a:buChar char="o"/>
        <a:defRPr sz="1400" kern="1200">
          <a:solidFill>
            <a:schemeClr val="tx1"/>
          </a:solidFill>
          <a:latin typeface="Arial" pitchFamily="34" charset="0"/>
          <a:ea typeface="+mn-ea"/>
          <a:cs typeface="Arial" pitchFamily="34" charset="0"/>
        </a:defRPr>
      </a:lvl3pPr>
      <a:lvl4pPr marL="1200150" indent="-171450" algn="l" defTabSz="685800" rtl="0" eaLnBrk="1" latinLnBrk="0" hangingPunct="1">
        <a:spcBef>
          <a:spcPct val="20000"/>
        </a:spcBef>
        <a:buClr>
          <a:srgbClr val="4E84C4"/>
        </a:buClr>
        <a:buFont typeface="Arial" pitchFamily="34" charset="0"/>
        <a:buChar char="•"/>
        <a:defRPr sz="1200" kern="1200" baseline="0">
          <a:solidFill>
            <a:schemeClr val="tx1"/>
          </a:solidFill>
          <a:latin typeface="Arial" pitchFamily="34" charset="0"/>
          <a:ea typeface="+mn-ea"/>
          <a:cs typeface="Arial" pitchFamily="34" charset="0"/>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yriad Pro"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75699" y="0"/>
            <a:ext cx="2368301" cy="712013"/>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 y="4563608"/>
            <a:ext cx="9143984" cy="579892"/>
          </a:xfrm>
          <a:prstGeom prst="rect">
            <a:avLst/>
          </a:prstGeom>
        </p:spPr>
      </p:pic>
    </p:spTree>
    <p:extLst>
      <p:ext uri="{BB962C8B-B14F-4D97-AF65-F5344CB8AC3E}">
        <p14:creationId xmlns:p14="http://schemas.microsoft.com/office/powerpoint/2010/main" val="2555492640"/>
      </p:ext>
    </p:extLst>
  </p:cSld>
  <p:clrMap bg1="lt1" tx1="dk1" bg2="lt2" tx2="dk2" accent1="accent1" accent2="accent2" accent3="accent3" accent4="accent4" accent5="accent5" accent6="accent6" hlink="hlink" folHlink="folHlink"/>
  <p:sldLayoutIdLst>
    <p:sldLayoutId id="2147483706" r:id="rId1"/>
  </p:sldLayoutIdLst>
  <p:txStyles>
    <p:titleStyle>
      <a:lvl1pPr algn="l" defTabSz="685800" rtl="0" eaLnBrk="1" latinLnBrk="0" hangingPunct="1">
        <a:spcBef>
          <a:spcPct val="0"/>
        </a:spcBef>
        <a:buNone/>
        <a:defRPr sz="2300" kern="1200">
          <a:solidFill>
            <a:schemeClr val="bg1"/>
          </a:solidFill>
          <a:latin typeface="Myriad Pro" pitchFamily="34" charset="0"/>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jpeg"/><Relationship Id="rId7" Type="http://schemas.openxmlformats.org/officeDocument/2006/relationships/image" Target="../media/image58.jpeg"/><Relationship Id="rId12" Type="http://schemas.openxmlformats.org/officeDocument/2006/relationships/image" Target="../media/image63.gif"/><Relationship Id="rId2" Type="http://schemas.openxmlformats.org/officeDocument/2006/relationships/image" Target="../media/image53.jpeg"/><Relationship Id="rId1" Type="http://schemas.openxmlformats.org/officeDocument/2006/relationships/slideLayout" Target="../slideLayouts/slideLayout19.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jpeg"/><Relationship Id="rId9" Type="http://schemas.openxmlformats.org/officeDocument/2006/relationships/image" Target="../media/image60.png"/></Relationships>
</file>

<file path=ppt/slides/_rels/slide1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64.png"/><Relationship Id="rId39" Type="http://schemas.openxmlformats.org/officeDocument/2006/relationships/image" Target="../media/image77.png"/><Relationship Id="rId21" Type="http://schemas.openxmlformats.org/officeDocument/2006/relationships/tags" Target="../tags/tag21.xml"/><Relationship Id="rId34" Type="http://schemas.openxmlformats.org/officeDocument/2006/relationships/image" Target="../media/image72.wmf"/><Relationship Id="rId42" Type="http://schemas.openxmlformats.org/officeDocument/2006/relationships/image" Target="../media/image80.png"/><Relationship Id="rId47" Type="http://schemas.openxmlformats.org/officeDocument/2006/relationships/image" Target="../media/image85.png"/><Relationship Id="rId50" Type="http://schemas.openxmlformats.org/officeDocument/2006/relationships/image" Target="../media/image87.png"/><Relationship Id="rId55" Type="http://schemas.openxmlformats.org/officeDocument/2006/relationships/image" Target="../media/image92.png"/><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image" Target="../media/image67.png"/><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image" Target="../media/image70.jpeg"/><Relationship Id="rId37" Type="http://schemas.openxmlformats.org/officeDocument/2006/relationships/image" Target="../media/image75.png"/><Relationship Id="rId40" Type="http://schemas.openxmlformats.org/officeDocument/2006/relationships/image" Target="../media/image78.jpeg"/><Relationship Id="rId45" Type="http://schemas.openxmlformats.org/officeDocument/2006/relationships/image" Target="../media/image83.png"/><Relationship Id="rId53" Type="http://schemas.openxmlformats.org/officeDocument/2006/relationships/image" Target="../media/image90.png"/><Relationship Id="rId5" Type="http://schemas.openxmlformats.org/officeDocument/2006/relationships/tags" Target="../tags/tag5.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jpeg"/><Relationship Id="rId43" Type="http://schemas.openxmlformats.org/officeDocument/2006/relationships/image" Target="../media/image81.png"/><Relationship Id="rId48" Type="http://schemas.openxmlformats.org/officeDocument/2006/relationships/hyperlink" Target="http://www.maersk.com/en" TargetMode="External"/><Relationship Id="rId56" Type="http://schemas.openxmlformats.org/officeDocument/2006/relationships/image" Target="../media/image93.png"/><Relationship Id="rId8" Type="http://schemas.openxmlformats.org/officeDocument/2006/relationships/tags" Target="../tags/tag8.xml"/><Relationship Id="rId51" Type="http://schemas.openxmlformats.org/officeDocument/2006/relationships/image" Target="../media/image88.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slideLayout" Target="../slideLayouts/slideLayout5.xml"/><Relationship Id="rId33" Type="http://schemas.openxmlformats.org/officeDocument/2006/relationships/image" Target="../media/image71.png"/><Relationship Id="rId38" Type="http://schemas.openxmlformats.org/officeDocument/2006/relationships/image" Target="../media/image76.png"/><Relationship Id="rId46" Type="http://schemas.openxmlformats.org/officeDocument/2006/relationships/image" Target="../media/image84.png"/><Relationship Id="rId20" Type="http://schemas.openxmlformats.org/officeDocument/2006/relationships/tags" Target="../tags/tag20.xml"/><Relationship Id="rId41" Type="http://schemas.openxmlformats.org/officeDocument/2006/relationships/image" Target="../media/image79.jpeg"/><Relationship Id="rId54" Type="http://schemas.openxmlformats.org/officeDocument/2006/relationships/image" Target="../media/image91.png"/><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66.png"/><Relationship Id="rId36" Type="http://schemas.openxmlformats.org/officeDocument/2006/relationships/image" Target="../media/image74.gif"/><Relationship Id="rId49" Type="http://schemas.openxmlformats.org/officeDocument/2006/relationships/image" Target="../media/image86.png"/><Relationship Id="rId57" Type="http://schemas.openxmlformats.org/officeDocument/2006/relationships/image" Target="../media/image94.jpeg"/><Relationship Id="rId10" Type="http://schemas.openxmlformats.org/officeDocument/2006/relationships/tags" Target="../tags/tag10.xml"/><Relationship Id="rId31" Type="http://schemas.openxmlformats.org/officeDocument/2006/relationships/image" Target="../media/image69.png"/><Relationship Id="rId44" Type="http://schemas.openxmlformats.org/officeDocument/2006/relationships/image" Target="../media/image82.png"/><Relationship Id="rId52" Type="http://schemas.openxmlformats.org/officeDocument/2006/relationships/image" Target="../media/image89.png"/></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png"/><Relationship Id="rId16" Type="http://schemas.openxmlformats.org/officeDocument/2006/relationships/image" Target="../media/image21.png"/><Relationship Id="rId1" Type="http://schemas.openxmlformats.org/officeDocument/2006/relationships/slideLayout" Target="../slideLayouts/slideLayout16.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6.xml"/><Relationship Id="rId4" Type="http://schemas.openxmlformats.org/officeDocument/2006/relationships/image" Target="../media/image24.wmf"/></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29.emf"/><Relationship Id="rId7" Type="http://schemas.openxmlformats.org/officeDocument/2006/relationships/image" Target="../media/image33.emf"/><Relationship Id="rId12" Type="http://schemas.openxmlformats.org/officeDocument/2006/relationships/image" Target="../media/image38.emf"/><Relationship Id="rId2" Type="http://schemas.openxmlformats.org/officeDocument/2006/relationships/image" Target="../media/image28.emf"/><Relationship Id="rId1" Type="http://schemas.openxmlformats.org/officeDocument/2006/relationships/slideLayout" Target="../slideLayouts/slideLayout5.xml"/><Relationship Id="rId6" Type="http://schemas.openxmlformats.org/officeDocument/2006/relationships/image" Target="../media/image32.wmf"/><Relationship Id="rId11" Type="http://schemas.openxmlformats.org/officeDocument/2006/relationships/image" Target="../media/image37.emf"/><Relationship Id="rId5" Type="http://schemas.openxmlformats.org/officeDocument/2006/relationships/image" Target="../media/image31.emf"/><Relationship Id="rId10" Type="http://schemas.openxmlformats.org/officeDocument/2006/relationships/image" Target="../media/image36.emf"/><Relationship Id="rId4" Type="http://schemas.openxmlformats.org/officeDocument/2006/relationships/image" Target="../media/image30.emf"/><Relationship Id="rId9" Type="http://schemas.openxmlformats.org/officeDocument/2006/relationships/image" Target="../media/image35.emf"/></Relationships>
</file>

<file path=ppt/slides/_rels/slide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9.xml"/><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81003" y="1560458"/>
            <a:ext cx="7157083" cy="397764"/>
          </a:xfrm>
        </p:spPr>
        <p:txBody>
          <a:bodyPr/>
          <a:lstStyle/>
          <a:p>
            <a:r>
              <a:rPr lang="en-US" dirty="0" smtClean="0"/>
              <a:t>Introducing Tata Consultancy Services</a:t>
            </a:r>
            <a:endParaRPr lang="en-US" dirty="0"/>
          </a:p>
        </p:txBody>
      </p:sp>
      <p:sp>
        <p:nvSpPr>
          <p:cNvPr id="7" name="Subtitle 6"/>
          <p:cNvSpPr>
            <a:spLocks noGrp="1"/>
          </p:cNvSpPr>
          <p:nvPr>
            <p:ph type="subTitle" idx="1"/>
          </p:nvPr>
        </p:nvSpPr>
        <p:spPr>
          <a:xfrm>
            <a:off x="381003" y="2006850"/>
            <a:ext cx="7157083" cy="342900"/>
          </a:xfrm>
        </p:spPr>
        <p:txBody>
          <a:bodyPr/>
          <a:lstStyle/>
          <a:p>
            <a:r>
              <a:rPr lang="en-US" dirty="0" smtClean="0"/>
              <a:t>Seminar on: Emerging </a:t>
            </a:r>
            <a:r>
              <a:rPr lang="en-US" dirty="0"/>
              <a:t>Economy </a:t>
            </a:r>
            <a:r>
              <a:rPr lang="en-US" dirty="0" smtClean="0"/>
              <a:t>Multinationals</a:t>
            </a:r>
            <a:endParaRPr lang="en-US" dirty="0"/>
          </a:p>
        </p:txBody>
      </p:sp>
      <p:sp>
        <p:nvSpPr>
          <p:cNvPr id="8" name="Text Placeholder 7"/>
          <p:cNvSpPr>
            <a:spLocks noGrp="1"/>
          </p:cNvSpPr>
          <p:nvPr>
            <p:ph type="body" sz="quarter" idx="11"/>
          </p:nvPr>
        </p:nvSpPr>
        <p:spPr>
          <a:xfrm>
            <a:off x="381003" y="4466926"/>
            <a:ext cx="1856666" cy="301760"/>
          </a:xfrm>
        </p:spPr>
        <p:txBody>
          <a:bodyPr/>
          <a:lstStyle/>
          <a:p>
            <a:r>
              <a:rPr lang="en-US" dirty="0" smtClean="0"/>
              <a:t>11 Oct 2018</a:t>
            </a:r>
            <a:endParaRPr lang="en-US" dirty="0"/>
          </a:p>
        </p:txBody>
      </p:sp>
      <p:sp>
        <p:nvSpPr>
          <p:cNvPr id="9" name="Text Placeholder 8"/>
          <p:cNvSpPr>
            <a:spLocks noGrp="1"/>
          </p:cNvSpPr>
          <p:nvPr>
            <p:ph type="body" sz="quarter" idx="14"/>
          </p:nvPr>
        </p:nvSpPr>
        <p:spPr/>
        <p:txBody>
          <a:bodyPr/>
          <a:lstStyle/>
          <a:p>
            <a:r>
              <a:rPr lang="en-US" dirty="0" smtClean="0"/>
              <a:t>TCS Confidential</a:t>
            </a:r>
            <a:endParaRPr lang="en-US" dirty="0"/>
          </a:p>
        </p:txBody>
      </p:sp>
      <p:sp>
        <p:nvSpPr>
          <p:cNvPr id="10" name="Text Placeholder 7"/>
          <p:cNvSpPr txBox="1">
            <a:spLocks/>
          </p:cNvSpPr>
          <p:nvPr/>
        </p:nvSpPr>
        <p:spPr>
          <a:xfrm>
            <a:off x="381003" y="2398378"/>
            <a:ext cx="1856666" cy="301760"/>
          </a:xfrm>
          <a:prstGeom prst="rect">
            <a:avLst/>
          </a:prstGeom>
        </p:spPr>
        <p:txBody>
          <a:bodyPr vert="horz" lIns="68580" tIns="34290" rIns="68580" bIns="34290" rtlCol="0">
            <a:noAutofit/>
          </a:bodyPr>
          <a:lstStyle>
            <a:lvl1pPr marL="0" indent="0" algn="l" defTabSz="685800" rtl="0" eaLnBrk="1" latinLnBrk="0" hangingPunct="1">
              <a:spcBef>
                <a:spcPct val="20000"/>
              </a:spcBef>
              <a:buClr>
                <a:srgbClr val="4E84C4"/>
              </a:buClr>
              <a:buFont typeface="Wingdings" pitchFamily="2" charset="2"/>
              <a:buNone/>
              <a:defRPr sz="1400" kern="1200">
                <a:solidFill>
                  <a:schemeClr val="bg1"/>
                </a:solidFill>
                <a:latin typeface="+mj-lt"/>
                <a:ea typeface="+mn-ea"/>
                <a:cs typeface="Arial" pitchFamily="34" charset="0"/>
              </a:defRPr>
            </a:lvl1pPr>
            <a:lvl2pPr marL="557213" indent="-214313" algn="l" defTabSz="685800" rtl="0" eaLnBrk="1" latinLnBrk="0" hangingPunct="1">
              <a:spcBef>
                <a:spcPct val="20000"/>
              </a:spcBef>
              <a:buClr>
                <a:srgbClr val="4E84C4"/>
              </a:buClr>
              <a:buFont typeface="Myriad Pro" pitchFamily="34" charset="0"/>
              <a:buChar char="–"/>
              <a:defRPr sz="1500" kern="1200">
                <a:solidFill>
                  <a:schemeClr val="tx1"/>
                </a:solidFill>
                <a:latin typeface="+mj-lt"/>
                <a:ea typeface="+mn-ea"/>
                <a:cs typeface="Arial" pitchFamily="34" charset="0"/>
              </a:defRPr>
            </a:lvl2pPr>
            <a:lvl3pPr marL="857250" indent="-171450" algn="l" defTabSz="685800" rtl="0" eaLnBrk="1" latinLnBrk="0" hangingPunct="1">
              <a:spcBef>
                <a:spcPct val="20000"/>
              </a:spcBef>
              <a:buClr>
                <a:srgbClr val="4E84C4"/>
              </a:buClr>
              <a:buFont typeface="Courier New" pitchFamily="49" charset="0"/>
              <a:buChar char="o"/>
              <a:defRPr sz="1400" kern="1200">
                <a:solidFill>
                  <a:schemeClr val="tx1"/>
                </a:solidFill>
                <a:latin typeface="+mj-lt"/>
                <a:ea typeface="+mn-ea"/>
                <a:cs typeface="Arial" pitchFamily="34" charset="0"/>
              </a:defRPr>
            </a:lvl3pPr>
            <a:lvl4pPr marL="1200150" indent="-171450" algn="l" defTabSz="685800" rtl="0" eaLnBrk="1" latinLnBrk="0" hangingPunct="1">
              <a:spcBef>
                <a:spcPct val="20000"/>
              </a:spcBef>
              <a:buClr>
                <a:srgbClr val="4E84C4"/>
              </a:buClr>
              <a:buFont typeface="Arial" pitchFamily="34" charset="0"/>
              <a:buChar char="•"/>
              <a:defRPr sz="1200" kern="1200" baseline="0">
                <a:solidFill>
                  <a:schemeClr val="tx1"/>
                </a:solidFill>
                <a:latin typeface="+mj-lt"/>
                <a:ea typeface="+mn-ea"/>
                <a:cs typeface="Arial" pitchFamily="34" charset="0"/>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yriad Pro"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1600" dirty="0" smtClean="0"/>
              <a:t>Asia House</a:t>
            </a:r>
            <a:endParaRPr lang="en-US" sz="1600" dirty="0"/>
          </a:p>
        </p:txBody>
      </p:sp>
    </p:spTree>
    <p:extLst>
      <p:ext uri="{BB962C8B-B14F-4D97-AF65-F5344CB8AC3E}">
        <p14:creationId xmlns:p14="http://schemas.microsoft.com/office/powerpoint/2010/main" val="26730757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Shape 133"/>
          <p:cNvSpPr>
            <a:spLocks noGrp="1"/>
          </p:cNvSpPr>
          <p:nvPr>
            <p:ph type="title"/>
          </p:nvPr>
        </p:nvSpPr>
        <p:spPr>
          <a:prstGeom prst="rect">
            <a:avLst/>
          </a:prstGeom>
        </p:spPr>
        <p:txBody>
          <a:bodyPr/>
          <a:lstStyle/>
          <a:p>
            <a:endParaRPr/>
          </a:p>
        </p:txBody>
      </p:sp>
      <p:sp>
        <p:nvSpPr>
          <p:cNvPr id="134" name="Shape 134"/>
          <p:cNvSpPr>
            <a:spLocks noGrp="1"/>
          </p:cNvSpPr>
          <p:nvPr>
            <p:ph type="body" idx="1"/>
          </p:nvPr>
        </p:nvSpPr>
        <p:spPr>
          <a:prstGeom prst="rect">
            <a:avLst/>
          </a:prstGeom>
        </p:spPr>
        <p:txBody>
          <a:bodyPr/>
          <a:lstStyle/>
          <a:p>
            <a:endParaRPr/>
          </a:p>
        </p:txBody>
      </p:sp>
      <p:pic>
        <p:nvPicPr>
          <p:cNvPr id="135" name="TCS_Davos_CEO_Post_11.pd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0"/>
            <a:ext cx="4615813" cy="5143500"/>
          </a:xfrm>
          <a:prstGeom prst="rect">
            <a:avLst/>
          </a:prstGeom>
          <a:ln w="12700">
            <a:miter lim="400000"/>
          </a:ln>
        </p:spPr>
      </p:pic>
      <p:pic>
        <p:nvPicPr>
          <p:cNvPr id="136" name="TCS_Davos_CEO_Post_12.pd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15812" y="0"/>
            <a:ext cx="4528188" cy="5143500"/>
          </a:xfrm>
          <a:prstGeom prst="rect">
            <a:avLst/>
          </a:prstGeom>
          <a:ln w="12700">
            <a:miter lim="400000"/>
          </a:ln>
        </p:spPr>
      </p:pic>
    </p:spTree>
    <p:extLst>
      <p:ext uri="{BB962C8B-B14F-4D97-AF65-F5344CB8AC3E}">
        <p14:creationId xmlns:p14="http://schemas.microsoft.com/office/powerpoint/2010/main" val="379376138"/>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Shape 138"/>
          <p:cNvSpPr>
            <a:spLocks noGrp="1"/>
          </p:cNvSpPr>
          <p:nvPr>
            <p:ph type="title"/>
          </p:nvPr>
        </p:nvSpPr>
        <p:spPr>
          <a:prstGeom prst="rect">
            <a:avLst/>
          </a:prstGeom>
        </p:spPr>
        <p:txBody>
          <a:bodyPr/>
          <a:lstStyle/>
          <a:p>
            <a:endParaRPr/>
          </a:p>
        </p:txBody>
      </p:sp>
      <p:sp>
        <p:nvSpPr>
          <p:cNvPr id="139" name="Shape 139"/>
          <p:cNvSpPr>
            <a:spLocks noGrp="1"/>
          </p:cNvSpPr>
          <p:nvPr>
            <p:ph type="body" idx="1"/>
          </p:nvPr>
        </p:nvSpPr>
        <p:spPr>
          <a:prstGeom prst="rect">
            <a:avLst/>
          </a:prstGeom>
        </p:spPr>
        <p:txBody>
          <a:bodyPr/>
          <a:lstStyle/>
          <a:p>
            <a:endParaRPr/>
          </a:p>
        </p:txBody>
      </p:sp>
      <p:pic>
        <p:nvPicPr>
          <p:cNvPr id="140" name="TCS_Davos_CEO_Post_09.pd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4686300" cy="5143500"/>
          </a:xfrm>
          <a:prstGeom prst="rect">
            <a:avLst/>
          </a:prstGeom>
          <a:ln w="12700">
            <a:miter lim="400000"/>
          </a:ln>
        </p:spPr>
      </p:pic>
      <p:pic>
        <p:nvPicPr>
          <p:cNvPr id="141" name="TCS_Davos_CEO_Post_10.pd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6300" y="0"/>
            <a:ext cx="4457700" cy="5143500"/>
          </a:xfrm>
          <a:prstGeom prst="rect">
            <a:avLst/>
          </a:prstGeom>
          <a:ln w="12700">
            <a:miter lim="400000"/>
          </a:ln>
        </p:spPr>
      </p:pic>
    </p:spTree>
    <p:extLst>
      <p:ext uri="{BB962C8B-B14F-4D97-AF65-F5344CB8AC3E}">
        <p14:creationId xmlns:p14="http://schemas.microsoft.com/office/powerpoint/2010/main" val="2423359347"/>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lture of Life-Long-Learning</a:t>
            </a:r>
            <a:endParaRPr lang="en-US" dirty="0"/>
          </a:p>
        </p:txBody>
      </p:sp>
      <p:pic>
        <p:nvPicPr>
          <p:cNvPr id="4" name="Picture 3"/>
          <p:cNvPicPr>
            <a:picLocks noChangeAspect="1"/>
          </p:cNvPicPr>
          <p:nvPr/>
        </p:nvPicPr>
        <p:blipFill rotWithShape="1">
          <a:blip r:embed="rId2"/>
          <a:srcRect l="693" t="18970" r="6445" b="4766"/>
          <a:stretch/>
        </p:blipFill>
        <p:spPr>
          <a:xfrm>
            <a:off x="49480" y="648984"/>
            <a:ext cx="9061864" cy="3966242"/>
          </a:xfrm>
          <a:prstGeom prst="rect">
            <a:avLst/>
          </a:prstGeom>
        </p:spPr>
      </p:pic>
    </p:spTree>
    <p:extLst>
      <p:ext uri="{BB962C8B-B14F-4D97-AF65-F5344CB8AC3E}">
        <p14:creationId xmlns:p14="http://schemas.microsoft.com/office/powerpoint/2010/main" val="39807608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Strong focus on community</a:t>
            </a:r>
            <a:endParaRPr lang="da-DK" dirty="0"/>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878982" y="736600"/>
            <a:ext cx="2384488" cy="1030524"/>
          </a:xfrm>
          <a:prstGeom prst="rect">
            <a:avLst/>
          </a:prstGeom>
        </p:spPr>
      </p:pic>
      <p:pic>
        <p:nvPicPr>
          <p:cNvPr id="4" name="Content Placeholder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38804" y="4167902"/>
            <a:ext cx="1275401" cy="556526"/>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95553" y="1635633"/>
            <a:ext cx="1264545" cy="1264545"/>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641441" y="1884887"/>
            <a:ext cx="2805359" cy="799627"/>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531719" y="616361"/>
            <a:ext cx="1501409" cy="1501409"/>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572801" y="1663716"/>
            <a:ext cx="1046699" cy="1046699"/>
          </a:xfrm>
          <a:prstGeom prst="rect">
            <a:avLst/>
          </a:prstGeom>
        </p:spPr>
      </p:pic>
      <p:pic>
        <p:nvPicPr>
          <p:cNvPr id="9" name="Picture 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712868" y="2887751"/>
            <a:ext cx="1245165" cy="1043172"/>
          </a:xfrm>
          <a:prstGeom prst="rect">
            <a:avLst/>
          </a:prstGeom>
        </p:spPr>
      </p:pic>
      <p:pic>
        <p:nvPicPr>
          <p:cNvPr id="10" name="Picture 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289508" y="3442966"/>
            <a:ext cx="2557831" cy="1438781"/>
          </a:xfrm>
          <a:prstGeom prst="rect">
            <a:avLst/>
          </a:prstGeom>
        </p:spPr>
      </p:pic>
      <p:pic>
        <p:nvPicPr>
          <p:cNvPr id="11" name="Picture 1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844403" y="3131612"/>
            <a:ext cx="2455560" cy="294142"/>
          </a:xfrm>
          <a:prstGeom prst="rect">
            <a:avLst/>
          </a:prstGeom>
        </p:spPr>
      </p:pic>
      <p:sp>
        <p:nvSpPr>
          <p:cNvPr id="12" name="Round Diagonal Corner Rectangle 11"/>
          <p:cNvSpPr/>
          <p:nvPr/>
        </p:nvSpPr>
        <p:spPr>
          <a:xfrm rot="5400000">
            <a:off x="305645" y="701570"/>
            <a:ext cx="2059268" cy="2059268"/>
          </a:xfrm>
          <a:prstGeom prst="round2DiagRect">
            <a:avLst/>
          </a:prstGeom>
          <a:gradFill>
            <a:gsLst>
              <a:gs pos="0">
                <a:srgbClr val="9D53A0"/>
              </a:gs>
              <a:gs pos="50000">
                <a:srgbClr val="874E9F"/>
              </a:gs>
              <a:gs pos="100000">
                <a:srgbClr val="6F4A9D"/>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flipV="1">
            <a:off x="2474646" y="2838331"/>
            <a:ext cx="2059268" cy="2059268"/>
          </a:xfrm>
          <a:prstGeom prst="round2DiagRect">
            <a:avLst/>
          </a:prstGeom>
          <a:gradFill>
            <a:gsLst>
              <a:gs pos="0">
                <a:srgbClr val="3C9A7D"/>
              </a:gs>
              <a:gs pos="90000">
                <a:srgbClr val="2A96CC"/>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 Diagonal Corner Rectangle 13"/>
          <p:cNvSpPr/>
          <p:nvPr/>
        </p:nvSpPr>
        <p:spPr>
          <a:xfrm rot="10800000">
            <a:off x="315314" y="2838331"/>
            <a:ext cx="2059268" cy="2059268"/>
          </a:xfrm>
          <a:prstGeom prst="round2DiagRect">
            <a:avLst/>
          </a:prstGeom>
          <a:gradFill>
            <a:gsLst>
              <a:gs pos="0">
                <a:srgbClr val="73459B"/>
              </a:gs>
              <a:gs pos="50000">
                <a:srgbClr val="BA2983"/>
              </a:gs>
              <a:gs pos="100000">
                <a:srgbClr val="F04D38"/>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02637" y="1836869"/>
            <a:ext cx="1397674" cy="873546"/>
          </a:xfrm>
          <a:prstGeom prst="rect">
            <a:avLst/>
          </a:prstGeom>
        </p:spPr>
      </p:pic>
      <p:sp>
        <p:nvSpPr>
          <p:cNvPr id="16" name="Rectangle 15"/>
          <p:cNvSpPr/>
          <p:nvPr/>
        </p:nvSpPr>
        <p:spPr>
          <a:xfrm>
            <a:off x="491969" y="818688"/>
            <a:ext cx="1924191" cy="1846659"/>
          </a:xfrm>
          <a:prstGeom prst="rect">
            <a:avLst/>
          </a:prstGeom>
        </p:spPr>
        <p:txBody>
          <a:bodyPr wrap="square">
            <a:spAutoFit/>
          </a:bodyPr>
          <a:lstStyle/>
          <a:p>
            <a:pPr defTabSz="119178" hangingPunct="0">
              <a:spcBef>
                <a:spcPts val="1200"/>
              </a:spcBef>
            </a:pPr>
            <a:r>
              <a:rPr lang="en-US" sz="1600" b="1" dirty="0">
                <a:solidFill>
                  <a:schemeClr val="bg1"/>
                </a:solidFill>
              </a:rPr>
              <a:t>Wellness</a:t>
            </a:r>
          </a:p>
          <a:p>
            <a:pPr defTabSz="119178" hangingPunct="0">
              <a:spcBef>
                <a:spcPts val="1200"/>
              </a:spcBef>
            </a:pPr>
            <a:r>
              <a:rPr lang="en-US" sz="1100" kern="0" dirty="0" smtClean="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TCS </a:t>
            </a:r>
            <a:r>
              <a:rPr lang="en-US" sz="1100" kern="0" dirty="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promotes health and wellness in all the communities it works in. We are title sponsors of leading Marathons across the globe, and continuously applying innovations to healthcare practices and </a:t>
            </a:r>
            <a:r>
              <a:rPr lang="en-US" sz="1100" kern="0" dirty="0" smtClean="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awareness</a:t>
            </a:r>
            <a:endParaRPr lang="en-US" sz="1100" kern="0" dirty="0">
              <a:solidFill>
                <a:schemeClr val="bg1"/>
              </a:solidFill>
              <a:uFill>
                <a:solidFill>
                  <a:srgbClr val="000000"/>
                </a:solidFill>
              </a:uFill>
              <a:ea typeface="Segoe UI Historic" panose="020B0502040204020203" pitchFamily="34" charset="0"/>
              <a:cs typeface="Segoe UI Historic" panose="020B0502040204020203" pitchFamily="34" charset="0"/>
              <a:sym typeface="Calibri"/>
            </a:endParaRPr>
          </a:p>
        </p:txBody>
      </p:sp>
      <p:sp>
        <p:nvSpPr>
          <p:cNvPr id="17" name="Rectangle 16"/>
          <p:cNvSpPr/>
          <p:nvPr/>
        </p:nvSpPr>
        <p:spPr>
          <a:xfrm>
            <a:off x="535991" y="3178966"/>
            <a:ext cx="1692860" cy="1508105"/>
          </a:xfrm>
          <a:prstGeom prst="rect">
            <a:avLst/>
          </a:prstGeom>
        </p:spPr>
        <p:txBody>
          <a:bodyPr wrap="square">
            <a:spAutoFit/>
          </a:bodyPr>
          <a:lstStyle/>
          <a:p>
            <a:pPr defTabSz="119178" hangingPunct="0">
              <a:spcBef>
                <a:spcPts val="1200"/>
              </a:spcBef>
            </a:pPr>
            <a:r>
              <a:rPr lang="en-US" sz="1600" b="1" dirty="0">
                <a:solidFill>
                  <a:schemeClr val="bg1"/>
                </a:solidFill>
              </a:rPr>
              <a:t>STEM Education</a:t>
            </a:r>
          </a:p>
          <a:p>
            <a:pPr defTabSz="119178" hangingPunct="0">
              <a:spcBef>
                <a:spcPts val="1200"/>
              </a:spcBef>
            </a:pPr>
            <a:r>
              <a:rPr lang="en-US" sz="1100" kern="0" dirty="0" smtClean="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In </a:t>
            </a:r>
            <a:r>
              <a:rPr lang="en-US" sz="1100" kern="0" dirty="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cities across the US, Canada, UK, Europe, and Asia TCS </a:t>
            </a:r>
            <a:r>
              <a:rPr lang="en-US" sz="1100" kern="0" dirty="0" err="1">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goIT</a:t>
            </a:r>
            <a:r>
              <a:rPr lang="en-US" sz="1100" kern="0" dirty="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 has touched lives of  </a:t>
            </a:r>
            <a:r>
              <a:rPr lang="en-IN" sz="1100" kern="0" dirty="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3,50,000+  students </a:t>
            </a:r>
            <a:r>
              <a:rPr lang="en-US" sz="1100" kern="0" dirty="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to spark interest in science and </a:t>
            </a:r>
            <a:r>
              <a:rPr lang="en-US" sz="1100" kern="0" dirty="0" smtClean="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technology</a:t>
            </a:r>
            <a:endParaRPr lang="en-US" sz="1100" kern="0" dirty="0">
              <a:solidFill>
                <a:schemeClr val="bg1"/>
              </a:solidFill>
              <a:uFill>
                <a:solidFill>
                  <a:srgbClr val="000000"/>
                </a:solidFill>
              </a:uFill>
              <a:ea typeface="Segoe UI Historic" panose="020B0502040204020203" pitchFamily="34" charset="0"/>
              <a:cs typeface="Segoe UI Historic" panose="020B0502040204020203" pitchFamily="34" charset="0"/>
              <a:sym typeface="Calibri"/>
            </a:endParaRPr>
          </a:p>
        </p:txBody>
      </p:sp>
      <p:sp>
        <p:nvSpPr>
          <p:cNvPr id="18" name="Rectangle 17"/>
          <p:cNvSpPr/>
          <p:nvPr/>
        </p:nvSpPr>
        <p:spPr>
          <a:xfrm>
            <a:off x="2574685" y="2959872"/>
            <a:ext cx="1930653" cy="1846659"/>
          </a:xfrm>
          <a:prstGeom prst="rect">
            <a:avLst/>
          </a:prstGeom>
        </p:spPr>
        <p:txBody>
          <a:bodyPr wrap="square">
            <a:spAutoFit/>
          </a:bodyPr>
          <a:lstStyle/>
          <a:p>
            <a:pPr>
              <a:spcBef>
                <a:spcPts val="1200"/>
              </a:spcBef>
            </a:pPr>
            <a:r>
              <a:rPr lang="en-US" sz="1600" b="1" dirty="0">
                <a:solidFill>
                  <a:schemeClr val="bg1"/>
                </a:solidFill>
              </a:rPr>
              <a:t>Skills </a:t>
            </a:r>
            <a:r>
              <a:rPr lang="en-US" sz="1600" b="1" dirty="0" smtClean="0">
                <a:solidFill>
                  <a:schemeClr val="bg1"/>
                </a:solidFill>
              </a:rPr>
              <a:t>development</a:t>
            </a:r>
            <a:endParaRPr lang="en-US" sz="1600" dirty="0">
              <a:solidFill>
                <a:schemeClr val="bg1"/>
              </a:solidFill>
            </a:endParaRPr>
          </a:p>
          <a:p>
            <a:pPr defTabSz="914377">
              <a:spcBef>
                <a:spcPts val="1200"/>
              </a:spcBef>
            </a:pPr>
            <a:r>
              <a:rPr lang="en-IN" sz="1100" kern="0" dirty="0" smtClean="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TCS</a:t>
            </a:r>
            <a:r>
              <a:rPr lang="en-IN" sz="1100" kern="0" dirty="0">
                <a:solidFill>
                  <a:schemeClr val="bg1"/>
                </a:solidFill>
                <a:uFill>
                  <a:solidFill>
                    <a:srgbClr val="000000"/>
                  </a:solidFill>
                </a:uFill>
                <a:ea typeface="Segoe UI Historic" panose="020B0502040204020203" pitchFamily="34" charset="0"/>
                <a:cs typeface="Segoe UI Historic" panose="020B0502040204020203" pitchFamily="34" charset="0"/>
                <a:sym typeface="Calibri"/>
              </a:rPr>
              <a:t>' Education and Skill Development initiatives cover the entire life path of students from school to Ph.D. as also skilling and adult literacy that enables livelihood. Impacted over 170 thousand  beneficiaries in 2018</a:t>
            </a:r>
          </a:p>
        </p:txBody>
      </p:sp>
      <p:pic>
        <p:nvPicPr>
          <p:cNvPr id="19" name="Picture 18"/>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631815" y="904091"/>
            <a:ext cx="2031511" cy="753543"/>
          </a:xfrm>
          <a:prstGeom prst="rect">
            <a:avLst/>
          </a:prstGeom>
        </p:spPr>
      </p:pic>
    </p:spTree>
    <p:extLst>
      <p:ext uri="{BB962C8B-B14F-4D97-AF65-F5344CB8AC3E}">
        <p14:creationId xmlns:p14="http://schemas.microsoft.com/office/powerpoint/2010/main" val="225488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Image result for telia"/>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4775072" y="2247966"/>
            <a:ext cx="903338" cy="44037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rmAutofit/>
          </a:bodyPr>
          <a:lstStyle/>
          <a:p>
            <a:r>
              <a:rPr lang="en-GB" dirty="0"/>
              <a:t>Strong presence in Nordics &amp; Denmark</a:t>
            </a:r>
          </a:p>
        </p:txBody>
      </p:sp>
      <p:grpSp>
        <p:nvGrpSpPr>
          <p:cNvPr id="3" name="Group 2"/>
          <p:cNvGrpSpPr/>
          <p:nvPr/>
        </p:nvGrpSpPr>
        <p:grpSpPr>
          <a:xfrm>
            <a:off x="2" y="798307"/>
            <a:ext cx="3838911" cy="3721988"/>
            <a:chOff x="95250" y="873126"/>
            <a:chExt cx="5068176" cy="4962650"/>
          </a:xfrm>
        </p:grpSpPr>
        <p:grpSp>
          <p:nvGrpSpPr>
            <p:cNvPr id="4" name="Group 3"/>
            <p:cNvGrpSpPr>
              <a:grpSpLocks/>
            </p:cNvGrpSpPr>
            <p:nvPr/>
          </p:nvGrpSpPr>
          <p:grpSpPr bwMode="auto">
            <a:xfrm>
              <a:off x="95250" y="873126"/>
              <a:ext cx="5068176" cy="2816271"/>
              <a:chOff x="2369737" y="1432855"/>
              <a:chExt cx="4424676" cy="3501456"/>
            </a:xfrm>
          </p:grpSpPr>
          <p:sp>
            <p:nvSpPr>
              <p:cNvPr id="15" name="Textfeld 30"/>
              <p:cNvSpPr txBox="1"/>
              <p:nvPr>
                <p:custDataLst>
                  <p:tags r:id="rId12"/>
                </p:custDataLst>
              </p:nvPr>
            </p:nvSpPr>
            <p:spPr bwMode="gray">
              <a:xfrm>
                <a:off x="2558462" y="1432855"/>
                <a:ext cx="3731470" cy="431740"/>
              </a:xfrm>
              <a:prstGeom prst="roundRect">
                <a:avLst>
                  <a:gd name="adj" fmla="val 10573"/>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path path="circle">
                  <a:fillToRect l="50000" t="50000" r="50000" b="50000"/>
                </a:path>
                <a:tileRect/>
              </a:gradFill>
              <a:ln w="9525">
                <a:noFill/>
                <a:round/>
                <a:headEnd/>
                <a:tailEnd/>
              </a:ln>
              <a:effectLst>
                <a:outerShdw blurRad="50800" dist="25400" dir="5400000" algn="t" rotWithShape="0">
                  <a:prstClr val="black">
                    <a:alpha val="40000"/>
                  </a:prstClr>
                </a:outerShdw>
              </a:effectLst>
            </p:spPr>
            <p:txBody>
              <a:bodyPr vert="horz" wrap="square" lIns="91440" tIns="45720" rIns="91440" bIns="45720" numCol="1" anchor="t" anchorCtr="0" compatLnSpc="1">
                <a:prstTxWarp prst="textNoShape">
                  <a:avLst/>
                </a:prstTxWarp>
                <a:noAutofit/>
              </a:bodyPr>
              <a:lstStyle>
                <a:defPPr>
                  <a:defRPr lang="en-US"/>
                </a:defPPr>
                <a:lvl1pPr>
                  <a:defRPr sz="1100">
                    <a:solidFill>
                      <a:schemeClr val="bg1"/>
                    </a:solidFill>
                  </a:defRPr>
                </a:lvl1pPr>
              </a:lstStyle>
              <a:p>
                <a:r>
                  <a:rPr lang="en-GB" b="1" dirty="0"/>
                  <a:t>TCS in Nordics</a:t>
                </a:r>
              </a:p>
            </p:txBody>
          </p:sp>
          <p:sp>
            <p:nvSpPr>
              <p:cNvPr id="16" name="Textfeld 81"/>
              <p:cNvSpPr txBox="1">
                <a:spLocks noChangeArrowheads="1"/>
              </p:cNvSpPr>
              <p:nvPr>
                <p:custDataLst>
                  <p:tags r:id="rId13"/>
                </p:custDataLst>
              </p:nvPr>
            </p:nvSpPr>
            <p:spPr bwMode="gray">
              <a:xfrm>
                <a:off x="3157496" y="1972530"/>
                <a:ext cx="3451379" cy="431740"/>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years serving the Nordic market</a:t>
                </a:r>
              </a:p>
            </p:txBody>
          </p:sp>
          <p:sp>
            <p:nvSpPr>
              <p:cNvPr id="17" name="Textfeld 81"/>
              <p:cNvSpPr txBox="1">
                <a:spLocks noChangeArrowheads="1"/>
              </p:cNvSpPr>
              <p:nvPr>
                <p:custDataLst>
                  <p:tags r:id="rId14"/>
                </p:custDataLst>
              </p:nvPr>
            </p:nvSpPr>
            <p:spPr bwMode="gray">
              <a:xfrm>
                <a:off x="2462915" y="1972915"/>
                <a:ext cx="622345"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a:solidFill>
                      <a:srgbClr val="000000"/>
                    </a:solidFill>
                  </a:rPr>
                  <a:t>26</a:t>
                </a:r>
                <a:endParaRPr lang="en-GB" sz="1050" dirty="0">
                  <a:solidFill>
                    <a:srgbClr val="000000"/>
                  </a:solidFill>
                </a:endParaRPr>
              </a:p>
            </p:txBody>
          </p:sp>
          <p:sp>
            <p:nvSpPr>
              <p:cNvPr id="18" name="Textfeld 81"/>
              <p:cNvSpPr txBox="1">
                <a:spLocks noChangeArrowheads="1"/>
              </p:cNvSpPr>
              <p:nvPr>
                <p:custDataLst>
                  <p:tags r:id="rId15"/>
                </p:custDataLst>
              </p:nvPr>
            </p:nvSpPr>
            <p:spPr bwMode="gray">
              <a:xfrm>
                <a:off x="3157496" y="2477284"/>
                <a:ext cx="3451379" cy="431740"/>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annual growth across last 5 years</a:t>
                </a:r>
              </a:p>
            </p:txBody>
          </p:sp>
          <p:sp>
            <p:nvSpPr>
              <p:cNvPr id="19" name="Textfeld 81"/>
              <p:cNvSpPr txBox="1">
                <a:spLocks noChangeArrowheads="1"/>
              </p:cNvSpPr>
              <p:nvPr>
                <p:custDataLst>
                  <p:tags r:id="rId16"/>
                </p:custDataLst>
              </p:nvPr>
            </p:nvSpPr>
            <p:spPr bwMode="gray">
              <a:xfrm>
                <a:off x="2411053" y="2476970"/>
                <a:ext cx="674207"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a:solidFill>
                      <a:srgbClr val="000000"/>
                    </a:solidFill>
                  </a:rPr>
                  <a:t>40%</a:t>
                </a:r>
                <a:endParaRPr lang="en-GB" sz="1050" dirty="0">
                  <a:solidFill>
                    <a:srgbClr val="000000"/>
                  </a:solidFill>
                </a:endParaRPr>
              </a:p>
            </p:txBody>
          </p:sp>
          <p:sp>
            <p:nvSpPr>
              <p:cNvPr id="20" name="Textfeld 81"/>
              <p:cNvSpPr txBox="1">
                <a:spLocks noChangeArrowheads="1"/>
              </p:cNvSpPr>
              <p:nvPr>
                <p:custDataLst>
                  <p:tags r:id="rId17"/>
                </p:custDataLst>
              </p:nvPr>
            </p:nvSpPr>
            <p:spPr bwMode="gray">
              <a:xfrm>
                <a:off x="3157496" y="2980451"/>
                <a:ext cx="3636917" cy="464498"/>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employees working globally for Nordic clients</a:t>
                </a:r>
              </a:p>
            </p:txBody>
          </p:sp>
          <p:sp>
            <p:nvSpPr>
              <p:cNvPr id="21" name="Textfeld 81"/>
              <p:cNvSpPr txBox="1">
                <a:spLocks noChangeArrowheads="1"/>
              </p:cNvSpPr>
              <p:nvPr>
                <p:custDataLst>
                  <p:tags r:id="rId18"/>
                </p:custDataLst>
              </p:nvPr>
            </p:nvSpPr>
            <p:spPr bwMode="gray">
              <a:xfrm>
                <a:off x="2369737" y="2981027"/>
                <a:ext cx="715523"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a:solidFill>
                      <a:srgbClr val="000000"/>
                    </a:solidFill>
                  </a:rPr>
                  <a:t>8,500</a:t>
                </a:r>
                <a:endParaRPr lang="en-GB" sz="1050" dirty="0">
                  <a:solidFill>
                    <a:srgbClr val="000000"/>
                  </a:solidFill>
                </a:endParaRPr>
              </a:p>
            </p:txBody>
          </p:sp>
          <p:sp>
            <p:nvSpPr>
              <p:cNvPr id="22" name="Textfeld 81"/>
              <p:cNvSpPr txBox="1">
                <a:spLocks noChangeArrowheads="1"/>
              </p:cNvSpPr>
              <p:nvPr>
                <p:custDataLst>
                  <p:tags r:id="rId19"/>
                </p:custDataLst>
              </p:nvPr>
            </p:nvSpPr>
            <p:spPr bwMode="gray">
              <a:xfrm>
                <a:off x="3157496" y="3485207"/>
                <a:ext cx="3451379" cy="431740"/>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employees present locally in Nordics</a:t>
                </a:r>
              </a:p>
            </p:txBody>
          </p:sp>
          <p:sp>
            <p:nvSpPr>
              <p:cNvPr id="23" name="Textfeld 81"/>
              <p:cNvSpPr txBox="1">
                <a:spLocks noChangeArrowheads="1"/>
              </p:cNvSpPr>
              <p:nvPr>
                <p:custDataLst>
                  <p:tags r:id="rId20"/>
                </p:custDataLst>
              </p:nvPr>
            </p:nvSpPr>
            <p:spPr bwMode="gray">
              <a:xfrm>
                <a:off x="2462915" y="3485083"/>
                <a:ext cx="622345"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a:solidFill>
                      <a:srgbClr val="000000"/>
                    </a:solidFill>
                  </a:rPr>
                  <a:t>2,500</a:t>
                </a:r>
                <a:endParaRPr lang="en-GB" sz="1050" dirty="0">
                  <a:solidFill>
                    <a:srgbClr val="000000"/>
                  </a:solidFill>
                </a:endParaRPr>
              </a:p>
            </p:txBody>
          </p:sp>
          <p:sp>
            <p:nvSpPr>
              <p:cNvPr id="24" name="Textfeld 81"/>
              <p:cNvSpPr txBox="1">
                <a:spLocks noChangeArrowheads="1"/>
              </p:cNvSpPr>
              <p:nvPr>
                <p:custDataLst>
                  <p:tags r:id="rId21"/>
                </p:custDataLst>
              </p:nvPr>
            </p:nvSpPr>
            <p:spPr bwMode="gray">
              <a:xfrm>
                <a:off x="3157496" y="3988373"/>
                <a:ext cx="3451379" cy="433328"/>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active clients</a:t>
                </a:r>
              </a:p>
            </p:txBody>
          </p:sp>
          <p:sp>
            <p:nvSpPr>
              <p:cNvPr id="25" name="Textfeld 81"/>
              <p:cNvSpPr txBox="1">
                <a:spLocks noChangeArrowheads="1"/>
              </p:cNvSpPr>
              <p:nvPr>
                <p:custDataLst>
                  <p:tags r:id="rId22"/>
                </p:custDataLst>
              </p:nvPr>
            </p:nvSpPr>
            <p:spPr bwMode="gray">
              <a:xfrm>
                <a:off x="2462915" y="3989139"/>
                <a:ext cx="622345"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a:solidFill>
                      <a:srgbClr val="000000"/>
                    </a:solidFill>
                  </a:rPr>
                  <a:t>80</a:t>
                </a:r>
                <a:endParaRPr lang="en-GB" sz="1050" dirty="0">
                  <a:solidFill>
                    <a:srgbClr val="000000"/>
                  </a:solidFill>
                </a:endParaRPr>
              </a:p>
            </p:txBody>
          </p:sp>
          <p:sp>
            <p:nvSpPr>
              <p:cNvPr id="26" name="Textfeld 81"/>
              <p:cNvSpPr txBox="1">
                <a:spLocks noChangeArrowheads="1"/>
              </p:cNvSpPr>
              <p:nvPr>
                <p:custDataLst>
                  <p:tags r:id="rId23"/>
                </p:custDataLst>
              </p:nvPr>
            </p:nvSpPr>
            <p:spPr bwMode="gray">
              <a:xfrm>
                <a:off x="3157496" y="4457037"/>
                <a:ext cx="3273849" cy="477274"/>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in customer </a:t>
                </a:r>
                <a:r>
                  <a:rPr lang="en-GB" sz="1200" dirty="0" smtClean="0">
                    <a:solidFill>
                      <a:srgbClr val="000000"/>
                    </a:solidFill>
                  </a:rPr>
                  <a:t>satisfaction</a:t>
                </a:r>
                <a:endParaRPr lang="en-GB" sz="1200" dirty="0">
                  <a:solidFill>
                    <a:srgbClr val="000000"/>
                  </a:solidFill>
                </a:endParaRPr>
              </a:p>
            </p:txBody>
          </p:sp>
          <p:sp>
            <p:nvSpPr>
              <p:cNvPr id="27" name="Textfeld 81"/>
              <p:cNvSpPr txBox="1">
                <a:spLocks noChangeArrowheads="1"/>
              </p:cNvSpPr>
              <p:nvPr>
                <p:custDataLst>
                  <p:tags r:id="rId24"/>
                </p:custDataLst>
              </p:nvPr>
            </p:nvSpPr>
            <p:spPr bwMode="gray">
              <a:xfrm>
                <a:off x="2462915" y="4457104"/>
                <a:ext cx="622345"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a:solidFill>
                      <a:srgbClr val="000000"/>
                    </a:solidFill>
                  </a:rPr>
                  <a:t># 1</a:t>
                </a:r>
                <a:endParaRPr lang="en-GB" sz="1050" dirty="0">
                  <a:solidFill>
                    <a:srgbClr val="000000"/>
                  </a:solidFill>
                </a:endParaRPr>
              </a:p>
            </p:txBody>
          </p:sp>
        </p:grpSp>
        <p:grpSp>
          <p:nvGrpSpPr>
            <p:cNvPr id="5" name="Group 35"/>
            <p:cNvGrpSpPr>
              <a:grpSpLocks/>
            </p:cNvGrpSpPr>
            <p:nvPr/>
          </p:nvGrpSpPr>
          <p:grpSpPr bwMode="auto">
            <a:xfrm>
              <a:off x="125512" y="3981009"/>
              <a:ext cx="5037914" cy="1854767"/>
              <a:chOff x="2378500" y="1504283"/>
              <a:chExt cx="4418522" cy="2205442"/>
            </a:xfrm>
          </p:grpSpPr>
          <p:sp>
            <p:nvSpPr>
              <p:cNvPr id="6" name="Textfeld 30"/>
              <p:cNvSpPr txBox="1"/>
              <p:nvPr>
                <p:custDataLst>
                  <p:tags r:id="rId3"/>
                </p:custDataLst>
              </p:nvPr>
            </p:nvSpPr>
            <p:spPr bwMode="gray">
              <a:xfrm>
                <a:off x="2545308" y="1504283"/>
                <a:ext cx="3731470" cy="360312"/>
              </a:xfrm>
              <a:prstGeom prst="roundRect">
                <a:avLst>
                  <a:gd name="adj" fmla="val 10573"/>
                </a:avLst>
              </a:prstGeom>
              <a:gradFill flip="none" rotWithShape="1">
                <a:gsLst>
                  <a:gs pos="0">
                    <a:srgbClr val="FBB141">
                      <a:shade val="30000"/>
                      <a:satMod val="115000"/>
                    </a:srgbClr>
                  </a:gs>
                  <a:gs pos="50000">
                    <a:srgbClr val="FBB141">
                      <a:shade val="67500"/>
                      <a:satMod val="115000"/>
                    </a:srgbClr>
                  </a:gs>
                  <a:gs pos="100000">
                    <a:srgbClr val="FBB141">
                      <a:shade val="100000"/>
                      <a:satMod val="115000"/>
                    </a:srgbClr>
                  </a:gs>
                </a:gsLst>
                <a:lin ang="0" scaled="1"/>
                <a:tileRect/>
              </a:gradFill>
              <a:ln w="9525">
                <a:noFill/>
                <a:round/>
                <a:headEnd/>
                <a:tailEnd/>
              </a:ln>
              <a:effectLst>
                <a:outerShdw blurRad="50800" dist="25400" dir="5400000" algn="t" rotWithShape="0">
                  <a:prstClr val="black">
                    <a:alpha val="40000"/>
                  </a:prstClr>
                </a:outerShdw>
              </a:effectLst>
            </p:spPr>
            <p:txBody>
              <a:bodyPr vert="horz" wrap="square" lIns="91440" tIns="45720" rIns="91440" bIns="45720" numCol="1" anchor="ctr" anchorCtr="0" compatLnSpc="1">
                <a:prstTxWarp prst="textNoShape">
                  <a:avLst/>
                </a:prstTxWarp>
                <a:noAutofit/>
              </a:bodyPr>
              <a:lstStyle>
                <a:defPPr>
                  <a:defRPr lang="en-US"/>
                </a:defPPr>
                <a:lvl1pPr>
                  <a:defRPr sz="1100">
                    <a:solidFill>
                      <a:schemeClr val="bg1"/>
                    </a:solidFill>
                  </a:defRPr>
                </a:lvl1pPr>
              </a:lstStyle>
              <a:p>
                <a:r>
                  <a:rPr lang="en-GB" b="1" dirty="0"/>
                  <a:t>TCS in Denmark</a:t>
                </a:r>
              </a:p>
            </p:txBody>
          </p:sp>
          <p:sp>
            <p:nvSpPr>
              <p:cNvPr id="7" name="Textfeld 81"/>
              <p:cNvSpPr txBox="1">
                <a:spLocks noChangeArrowheads="1"/>
              </p:cNvSpPr>
              <p:nvPr>
                <p:custDataLst>
                  <p:tags r:id="rId4"/>
                </p:custDataLst>
              </p:nvPr>
            </p:nvSpPr>
            <p:spPr bwMode="gray">
              <a:xfrm>
                <a:off x="3118673" y="1972530"/>
                <a:ext cx="3453133" cy="431740"/>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years serving the Danish market</a:t>
                </a:r>
              </a:p>
            </p:txBody>
          </p:sp>
          <p:sp>
            <p:nvSpPr>
              <p:cNvPr id="8" name="Textfeld 81"/>
              <p:cNvSpPr txBox="1">
                <a:spLocks noChangeArrowheads="1"/>
              </p:cNvSpPr>
              <p:nvPr>
                <p:custDataLst>
                  <p:tags r:id="rId5"/>
                </p:custDataLst>
              </p:nvPr>
            </p:nvSpPr>
            <p:spPr bwMode="gray">
              <a:xfrm>
                <a:off x="2471678" y="1972915"/>
                <a:ext cx="622345"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smtClean="0">
                    <a:solidFill>
                      <a:srgbClr val="000000"/>
                    </a:solidFill>
                  </a:rPr>
                  <a:t>26</a:t>
                </a:r>
                <a:endParaRPr lang="en-GB" sz="1050" dirty="0">
                  <a:solidFill>
                    <a:srgbClr val="000000"/>
                  </a:solidFill>
                </a:endParaRPr>
              </a:p>
            </p:txBody>
          </p:sp>
          <p:sp>
            <p:nvSpPr>
              <p:cNvPr id="9" name="Textfeld 81"/>
              <p:cNvSpPr txBox="1">
                <a:spLocks noChangeArrowheads="1"/>
              </p:cNvSpPr>
              <p:nvPr>
                <p:custDataLst>
                  <p:tags r:id="rId6"/>
                </p:custDataLst>
              </p:nvPr>
            </p:nvSpPr>
            <p:spPr bwMode="gray">
              <a:xfrm>
                <a:off x="3118673" y="2834303"/>
                <a:ext cx="3678349" cy="486685"/>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employees working globally for Danish clients</a:t>
                </a:r>
              </a:p>
            </p:txBody>
          </p:sp>
          <p:sp>
            <p:nvSpPr>
              <p:cNvPr id="10" name="Textfeld 81"/>
              <p:cNvSpPr txBox="1">
                <a:spLocks noChangeArrowheads="1"/>
              </p:cNvSpPr>
              <p:nvPr>
                <p:custDataLst>
                  <p:tags r:id="rId7"/>
                </p:custDataLst>
              </p:nvPr>
            </p:nvSpPr>
            <p:spPr bwMode="gray">
              <a:xfrm>
                <a:off x="2378500" y="2829879"/>
                <a:ext cx="715523"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smtClean="0">
                    <a:solidFill>
                      <a:srgbClr val="000000"/>
                    </a:solidFill>
                  </a:rPr>
                  <a:t>2,000+</a:t>
                </a:r>
                <a:endParaRPr lang="en-GB" sz="1050" dirty="0">
                  <a:solidFill>
                    <a:srgbClr val="000000"/>
                  </a:solidFill>
                </a:endParaRPr>
              </a:p>
            </p:txBody>
          </p:sp>
          <p:sp>
            <p:nvSpPr>
              <p:cNvPr id="11" name="Textfeld 81"/>
              <p:cNvSpPr txBox="1">
                <a:spLocks noChangeArrowheads="1"/>
              </p:cNvSpPr>
              <p:nvPr>
                <p:custDataLst>
                  <p:tags r:id="rId8"/>
                </p:custDataLst>
              </p:nvPr>
            </p:nvSpPr>
            <p:spPr bwMode="gray">
              <a:xfrm>
                <a:off x="3118673" y="3277848"/>
                <a:ext cx="3453133" cy="431741"/>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employees present locally in Denmark</a:t>
                </a:r>
              </a:p>
            </p:txBody>
          </p:sp>
          <p:sp>
            <p:nvSpPr>
              <p:cNvPr id="12" name="Textfeld 81"/>
              <p:cNvSpPr txBox="1">
                <a:spLocks noChangeArrowheads="1"/>
              </p:cNvSpPr>
              <p:nvPr>
                <p:custDataLst>
                  <p:tags r:id="rId9"/>
                </p:custDataLst>
              </p:nvPr>
            </p:nvSpPr>
            <p:spPr bwMode="gray">
              <a:xfrm>
                <a:off x="2471678" y="3277725"/>
                <a:ext cx="622345"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smtClean="0">
                    <a:solidFill>
                      <a:srgbClr val="000000"/>
                    </a:solidFill>
                  </a:rPr>
                  <a:t>500+</a:t>
                </a:r>
                <a:endParaRPr lang="en-GB" sz="1050" dirty="0">
                  <a:solidFill>
                    <a:srgbClr val="000000"/>
                  </a:solidFill>
                </a:endParaRPr>
              </a:p>
            </p:txBody>
          </p:sp>
          <p:sp>
            <p:nvSpPr>
              <p:cNvPr id="13" name="Textfeld 81"/>
              <p:cNvSpPr txBox="1">
                <a:spLocks noChangeArrowheads="1"/>
              </p:cNvSpPr>
              <p:nvPr>
                <p:custDataLst>
                  <p:tags r:id="rId10"/>
                </p:custDataLst>
              </p:nvPr>
            </p:nvSpPr>
            <p:spPr bwMode="gray">
              <a:xfrm>
                <a:off x="3118673" y="2421779"/>
                <a:ext cx="3453133" cy="433327"/>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active Danish clients</a:t>
                </a:r>
              </a:p>
            </p:txBody>
          </p:sp>
          <p:sp>
            <p:nvSpPr>
              <p:cNvPr id="14" name="Textfeld 81"/>
              <p:cNvSpPr txBox="1">
                <a:spLocks noChangeArrowheads="1"/>
              </p:cNvSpPr>
              <p:nvPr>
                <p:custDataLst>
                  <p:tags r:id="rId11"/>
                </p:custDataLst>
              </p:nvPr>
            </p:nvSpPr>
            <p:spPr bwMode="gray">
              <a:xfrm>
                <a:off x="2471678" y="2406556"/>
                <a:ext cx="622345" cy="432000"/>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a:solidFill>
                      <a:srgbClr val="000000"/>
                    </a:solidFill>
                  </a:rPr>
                  <a:t>32</a:t>
                </a:r>
                <a:endParaRPr lang="en-GB" sz="1050" dirty="0">
                  <a:solidFill>
                    <a:srgbClr val="000000"/>
                  </a:solidFill>
                </a:endParaRPr>
              </a:p>
            </p:txBody>
          </p:sp>
        </p:grpSp>
      </p:grpSp>
      <p:pic>
        <p:nvPicPr>
          <p:cNvPr id="28" name="Picture 7"/>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6938550" y="2733243"/>
            <a:ext cx="1148578" cy="231562"/>
          </a:xfrm>
          <a:prstGeom prst="rect">
            <a:avLst/>
          </a:prstGeom>
          <a:noFill/>
          <a:ln w="9525">
            <a:noFill/>
            <a:miter lim="800000"/>
            <a:headEnd/>
            <a:tailEnd/>
          </a:ln>
        </p:spPr>
      </p:pic>
      <p:pic>
        <p:nvPicPr>
          <p:cNvPr id="29" name="Picture 13" descr="ABB.gif"/>
          <p:cNvPicPr>
            <a:picLocks noChangeAspect="1"/>
          </p:cNvPicPr>
          <p:nvPr/>
        </p:nvPicPr>
        <p:blipFill rotWithShape="1">
          <a:blip r:embed="rId28" cstate="email">
            <a:extLst>
              <a:ext uri="{28A0092B-C50C-407E-A947-70E740481C1C}">
                <a14:useLocalDpi xmlns:a14="http://schemas.microsoft.com/office/drawing/2010/main"/>
              </a:ext>
            </a:extLst>
          </a:blip>
          <a:srcRect l="8534" t="13658" r="10962" b="20160"/>
          <a:stretch/>
        </p:blipFill>
        <p:spPr bwMode="auto">
          <a:xfrm>
            <a:off x="6552677" y="738068"/>
            <a:ext cx="623997" cy="302135"/>
          </a:xfrm>
          <a:prstGeom prst="rect">
            <a:avLst/>
          </a:prstGeom>
          <a:noFill/>
          <a:ln w="9525">
            <a:noFill/>
            <a:miter lim="800000"/>
            <a:headEnd/>
            <a:tailEnd/>
          </a:ln>
        </p:spPr>
      </p:pic>
      <p:pic>
        <p:nvPicPr>
          <p:cNvPr id="30" name="Picture 2"/>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6916192" y="1222364"/>
            <a:ext cx="665935" cy="411581"/>
          </a:xfrm>
          <a:prstGeom prst="rect">
            <a:avLst/>
          </a:prstGeom>
          <a:noFill/>
          <a:ln w="9525">
            <a:noFill/>
            <a:miter lim="800000"/>
            <a:headEnd/>
            <a:tailEnd/>
          </a:ln>
        </p:spPr>
      </p:pic>
      <p:pic>
        <p:nvPicPr>
          <p:cNvPr id="31" name="Picture 20"/>
          <p:cNvPicPr>
            <a:picLocks noChangeAspect="1" noChangeArrowheads="1"/>
          </p:cNvPicPr>
          <p:nvPr/>
        </p:nvPicPr>
        <p:blipFill rotWithShape="1">
          <a:blip r:embed="rId30" cstate="email">
            <a:extLst>
              <a:ext uri="{28A0092B-C50C-407E-A947-70E740481C1C}">
                <a14:useLocalDpi xmlns:a14="http://schemas.microsoft.com/office/drawing/2010/main"/>
              </a:ext>
            </a:extLst>
          </a:blip>
          <a:srcRect/>
          <a:stretch/>
        </p:blipFill>
        <p:spPr bwMode="auto">
          <a:xfrm>
            <a:off x="4761222" y="1312975"/>
            <a:ext cx="1612131" cy="313791"/>
          </a:xfrm>
          <a:prstGeom prst="rect">
            <a:avLst/>
          </a:prstGeom>
          <a:noFill/>
          <a:ln w="9525">
            <a:noFill/>
            <a:miter lim="800000"/>
            <a:headEnd/>
            <a:tailEnd/>
          </a:ln>
        </p:spPr>
      </p:pic>
      <p:pic>
        <p:nvPicPr>
          <p:cNvPr id="32" name="Picture 31" descr="rukki.bmp"/>
          <p:cNvPicPr>
            <a:picLocks noChangeAspect="1"/>
          </p:cNvPicPr>
          <p:nvPr/>
        </p:nvPicPr>
        <p:blipFill>
          <a:blip r:embed="rId31" cstate="email">
            <a:extLst>
              <a:ext uri="{28A0092B-C50C-407E-A947-70E740481C1C}">
                <a14:useLocalDpi xmlns:a14="http://schemas.microsoft.com/office/drawing/2010/main"/>
              </a:ext>
            </a:extLst>
          </a:blip>
          <a:srcRect/>
          <a:stretch>
            <a:fillRect/>
          </a:stretch>
        </p:blipFill>
        <p:spPr bwMode="auto">
          <a:xfrm>
            <a:off x="4393130" y="1858584"/>
            <a:ext cx="736184" cy="209756"/>
          </a:xfrm>
          <a:prstGeom prst="rect">
            <a:avLst/>
          </a:prstGeom>
          <a:noFill/>
          <a:ln w="9525">
            <a:noFill/>
            <a:miter lim="800000"/>
            <a:headEnd/>
            <a:tailEnd/>
          </a:ln>
        </p:spPr>
      </p:pic>
      <p:pic>
        <p:nvPicPr>
          <p:cNvPr id="33" name="Picture 32"/>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3676878" y="1554856"/>
            <a:ext cx="675316" cy="369503"/>
          </a:xfrm>
          <a:prstGeom prst="rect">
            <a:avLst/>
          </a:prstGeom>
        </p:spPr>
      </p:pic>
      <p:pic>
        <p:nvPicPr>
          <p:cNvPr id="34" name="Picture 1"/>
          <p:cNvPicPr>
            <a:picLocks noChangeAspect="1" noChangeArrowheads="1"/>
          </p:cNvPicPr>
          <p:nvPr/>
        </p:nvPicPr>
        <p:blipFill>
          <a:blip r:embed="rId33" cstate="print">
            <a:extLst>
              <a:ext uri="{28A0092B-C50C-407E-A947-70E740481C1C}">
                <a14:useLocalDpi xmlns:a14="http://schemas.microsoft.com/office/drawing/2010/main"/>
              </a:ext>
            </a:extLst>
          </a:blip>
          <a:srcRect/>
          <a:stretch>
            <a:fillRect/>
          </a:stretch>
        </p:blipFill>
        <p:spPr bwMode="auto">
          <a:xfrm>
            <a:off x="7095061" y="3145938"/>
            <a:ext cx="723146" cy="579499"/>
          </a:xfrm>
          <a:prstGeom prst="rect">
            <a:avLst/>
          </a:prstGeom>
          <a:noFill/>
          <a:ln w="9525">
            <a:noFill/>
            <a:miter lim="800000"/>
            <a:headEnd/>
            <a:tailEnd/>
          </a:ln>
        </p:spPr>
      </p:pic>
      <p:pic>
        <p:nvPicPr>
          <p:cNvPr id="36" name="Picture 38" descr="LogoTryg"/>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5546094" y="3251675"/>
            <a:ext cx="1127189" cy="498879"/>
          </a:xfrm>
          <a:prstGeom prst="rect">
            <a:avLst/>
          </a:prstGeom>
          <a:noFill/>
          <a:ln w="9525">
            <a:noFill/>
            <a:miter lim="800000"/>
            <a:headEnd/>
            <a:tailEnd/>
          </a:ln>
        </p:spPr>
      </p:pic>
      <p:pic>
        <p:nvPicPr>
          <p:cNvPr id="37" name="Picture 9" descr="http://www.mashdesigning.com/wp-content/uploads/2013/11/Posten_priCMYKposC-kopi.jpg"/>
          <p:cNvPicPr>
            <a:picLocks noChangeAspect="1" noChangeArrowheads="1"/>
          </p:cNvPicPr>
          <p:nvPr/>
        </p:nvPicPr>
        <p:blipFill>
          <a:blip r:embed="rId35" cstate="email">
            <a:extLst>
              <a:ext uri="{28A0092B-C50C-407E-A947-70E740481C1C}">
                <a14:useLocalDpi xmlns:a14="http://schemas.microsoft.com/office/drawing/2010/main"/>
              </a:ext>
            </a:extLst>
          </a:blip>
          <a:srcRect/>
          <a:stretch>
            <a:fillRect/>
          </a:stretch>
        </p:blipFill>
        <p:spPr bwMode="auto">
          <a:xfrm>
            <a:off x="5158938" y="1772070"/>
            <a:ext cx="1108973" cy="41002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1" descr="http://www.iccees2010.se/graphic/1nordea_logo_301.gif"/>
          <p:cNvPicPr>
            <a:picLocks noChangeAspect="1" noChangeArrowheads="1"/>
          </p:cNvPicPr>
          <p:nvPr/>
        </p:nvPicPr>
        <p:blipFill rotWithShape="1">
          <a:blip r:embed="rId36" cstate="email">
            <a:extLst>
              <a:ext uri="{28A0092B-C50C-407E-A947-70E740481C1C}">
                <a14:useLocalDpi xmlns:a14="http://schemas.microsoft.com/office/drawing/2010/main"/>
              </a:ext>
            </a:extLst>
          </a:blip>
          <a:srcRect l="3384"/>
          <a:stretch/>
        </p:blipFill>
        <p:spPr bwMode="auto">
          <a:xfrm>
            <a:off x="7415581" y="4229052"/>
            <a:ext cx="1642135" cy="49935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7934076" y="1773310"/>
            <a:ext cx="1010257" cy="516482"/>
          </a:xfrm>
          <a:prstGeom prst="rect">
            <a:avLst/>
          </a:prstGeom>
          <a:noFill/>
          <a:ln w="9525">
            <a:noFill/>
            <a:miter lim="800000"/>
            <a:headEnd/>
            <a:tailEnd/>
          </a:ln>
        </p:spPr>
      </p:pic>
      <p:pic>
        <p:nvPicPr>
          <p:cNvPr id="41" name="Picture 2"/>
          <p:cNvPicPr>
            <a:picLocks noChangeAspect="1" noChangeArrowheads="1"/>
          </p:cNvPicPr>
          <p:nvPr/>
        </p:nvPicPr>
        <p:blipFill>
          <a:blip r:embed="rId38" cstate="email">
            <a:extLst>
              <a:ext uri="{28A0092B-C50C-407E-A947-70E740481C1C}">
                <a14:useLocalDpi xmlns:a14="http://schemas.microsoft.com/office/drawing/2010/main"/>
              </a:ext>
            </a:extLst>
          </a:blip>
          <a:srcRect/>
          <a:stretch>
            <a:fillRect/>
          </a:stretch>
        </p:blipFill>
        <p:spPr bwMode="auto">
          <a:xfrm>
            <a:off x="3768169" y="851986"/>
            <a:ext cx="748974" cy="4707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7" descr="http://upload.wikimedia.org/wikipedia/en/0/0e/NorgesGruppen_logo.png"/>
          <p:cNvPicPr>
            <a:picLocks noChangeAspect="1" noChangeArrowheads="1"/>
          </p:cNvPicPr>
          <p:nvPr/>
        </p:nvPicPr>
        <p:blipFill rotWithShape="1">
          <a:blip r:embed="rId39" cstate="email">
            <a:extLst>
              <a:ext uri="{28A0092B-C50C-407E-A947-70E740481C1C}">
                <a14:useLocalDpi xmlns:a14="http://schemas.microsoft.com/office/drawing/2010/main"/>
              </a:ext>
            </a:extLst>
          </a:blip>
          <a:srcRect l="8280" t="11717" r="19147" b="9169"/>
          <a:stretch/>
        </p:blipFill>
        <p:spPr bwMode="auto">
          <a:xfrm>
            <a:off x="7835961" y="683432"/>
            <a:ext cx="1113454" cy="92045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 descr="http://www.placementdunia.com/wp-content/uploads/2015/08/Ericsson-Logo.jpg"/>
          <p:cNvPicPr>
            <a:picLocks noChangeAspect="1" noChangeArrowheads="1"/>
          </p:cNvPicPr>
          <p:nvPr/>
        </p:nvPicPr>
        <p:blipFill rotWithShape="1">
          <a:blip r:embed="rId40" cstate="email">
            <a:extLst>
              <a:ext uri="{28A0092B-C50C-407E-A947-70E740481C1C}">
                <a14:useLocalDpi xmlns:a14="http://schemas.microsoft.com/office/drawing/2010/main"/>
              </a:ext>
            </a:extLst>
          </a:blip>
          <a:srcRect/>
          <a:stretch/>
        </p:blipFill>
        <p:spPr bwMode="auto">
          <a:xfrm>
            <a:off x="5912390" y="2228280"/>
            <a:ext cx="1824471" cy="34467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4" descr="http://www.firstderm.com/wp-content/uploads/2014/05/Apoteket-falken-logo.jpg"/>
          <p:cNvPicPr>
            <a:picLocks noChangeAspect="1" noChangeArrowheads="1"/>
          </p:cNvPicPr>
          <p:nvPr/>
        </p:nvPicPr>
        <p:blipFill rotWithShape="1">
          <a:blip r:embed="rId41" cstate="email">
            <a:extLst>
              <a:ext uri="{28A0092B-C50C-407E-A947-70E740481C1C}">
                <a14:useLocalDpi xmlns:a14="http://schemas.microsoft.com/office/drawing/2010/main"/>
              </a:ext>
            </a:extLst>
          </a:blip>
          <a:srcRect/>
          <a:stretch/>
        </p:blipFill>
        <p:spPr bwMode="auto">
          <a:xfrm>
            <a:off x="6337382" y="1716821"/>
            <a:ext cx="1411529" cy="28352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6" descr="http://letinthegoodness.arla.com/assets/images/intro/logos/logo_top.png"/>
          <p:cNvPicPr>
            <a:picLocks noChangeAspect="1" noChangeArrowheads="1"/>
          </p:cNvPicPr>
          <p:nvPr/>
        </p:nvPicPr>
        <p:blipFill>
          <a:blip r:embed="rId42" cstate="email">
            <a:extLst>
              <a:ext uri="{28A0092B-C50C-407E-A947-70E740481C1C}">
                <a14:useLocalDpi xmlns:a14="http://schemas.microsoft.com/office/drawing/2010/main"/>
              </a:ext>
            </a:extLst>
          </a:blip>
          <a:srcRect/>
          <a:stretch>
            <a:fillRect/>
          </a:stretch>
        </p:blipFill>
        <p:spPr bwMode="auto">
          <a:xfrm>
            <a:off x="3979111" y="3870416"/>
            <a:ext cx="986407" cy="64979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8" descr="http://vector.me/files/images/5/4/54280/tdc.png"/>
          <p:cNvPicPr>
            <a:picLocks noChangeAspect="1" noChangeArrowheads="1"/>
          </p:cNvPicPr>
          <p:nvPr/>
        </p:nvPicPr>
        <p:blipFill>
          <a:blip r:embed="rId43" cstate="email">
            <a:extLst>
              <a:ext uri="{28A0092B-C50C-407E-A947-70E740481C1C}">
                <a14:useLocalDpi xmlns:a14="http://schemas.microsoft.com/office/drawing/2010/main"/>
              </a:ext>
            </a:extLst>
          </a:blip>
          <a:srcRect/>
          <a:stretch>
            <a:fillRect/>
          </a:stretch>
        </p:blipFill>
        <p:spPr bwMode="auto">
          <a:xfrm>
            <a:off x="3676878" y="2937945"/>
            <a:ext cx="675689" cy="57627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
          <p:cNvPicPr>
            <a:picLocks noChangeAspect="1" noChangeArrowheads="1"/>
          </p:cNvPicPr>
          <p:nvPr/>
        </p:nvPicPr>
        <p:blipFill>
          <a:blip r:embed="rId44" cstate="email">
            <a:extLst>
              <a:ext uri="{28A0092B-C50C-407E-A947-70E740481C1C}">
                <a14:useLocalDpi xmlns:a14="http://schemas.microsoft.com/office/drawing/2010/main"/>
              </a:ext>
            </a:extLst>
          </a:blip>
          <a:srcRect/>
          <a:stretch>
            <a:fillRect/>
          </a:stretch>
        </p:blipFill>
        <p:spPr bwMode="auto">
          <a:xfrm>
            <a:off x="5110876" y="804087"/>
            <a:ext cx="1138393" cy="269110"/>
          </a:xfrm>
          <a:prstGeom prst="rect">
            <a:avLst/>
          </a:prstGeom>
          <a:noFill/>
          <a:ln w="9525">
            <a:noFill/>
            <a:miter lim="800000"/>
            <a:headEnd/>
            <a:tailEnd/>
          </a:ln>
        </p:spPr>
      </p:pic>
      <p:pic>
        <p:nvPicPr>
          <p:cNvPr id="50" name="Picture 4" descr="https://nabla.no/media/thumbnails/news_pictures/iflogo_1.png.770x250_q95_box-340,0,1572,479.png"/>
          <p:cNvPicPr>
            <a:picLocks noChangeAspect="1" noChangeArrowheads="1"/>
          </p:cNvPicPr>
          <p:nvPr/>
        </p:nvPicPr>
        <p:blipFill rotWithShape="1">
          <a:blip r:embed="rId45" cstate="email">
            <a:extLst>
              <a:ext uri="{28A0092B-C50C-407E-A947-70E740481C1C}">
                <a14:useLocalDpi xmlns:a14="http://schemas.microsoft.com/office/drawing/2010/main"/>
              </a:ext>
            </a:extLst>
          </a:blip>
          <a:srcRect/>
          <a:stretch/>
        </p:blipFill>
        <p:spPr bwMode="auto">
          <a:xfrm>
            <a:off x="8026219" y="3497098"/>
            <a:ext cx="878231" cy="83165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p:cNvPicPr>
            <a:picLocks noChangeAspect="1" noChangeArrowheads="1"/>
          </p:cNvPicPr>
          <p:nvPr/>
        </p:nvPicPr>
        <p:blipFill>
          <a:blip r:embed="rId46" cstate="print"/>
          <a:srcRect/>
          <a:stretch>
            <a:fillRect/>
          </a:stretch>
        </p:blipFill>
        <p:spPr bwMode="auto">
          <a:xfrm>
            <a:off x="6421406" y="3845994"/>
            <a:ext cx="1467211" cy="496326"/>
          </a:xfrm>
          <a:prstGeom prst="rect">
            <a:avLst/>
          </a:prstGeom>
          <a:noFill/>
          <a:ln w="9525">
            <a:noFill/>
            <a:miter lim="800000"/>
            <a:headEnd/>
            <a:tailEnd/>
          </a:ln>
        </p:spPr>
      </p:pic>
      <p:pic>
        <p:nvPicPr>
          <p:cNvPr id="52" name="Picture 11"/>
          <p:cNvPicPr>
            <a:picLocks noChangeAspect="1" noChangeArrowheads="1"/>
          </p:cNvPicPr>
          <p:nvPr/>
        </p:nvPicPr>
        <p:blipFill>
          <a:blip r:embed="rId47" cstate="email">
            <a:extLst>
              <a:ext uri="{28A0092B-C50C-407E-A947-70E740481C1C}">
                <a14:useLocalDpi xmlns:a14="http://schemas.microsoft.com/office/drawing/2010/main"/>
              </a:ext>
            </a:extLst>
          </a:blip>
          <a:srcRect/>
          <a:stretch>
            <a:fillRect/>
          </a:stretch>
        </p:blipFill>
        <p:spPr bwMode="auto">
          <a:xfrm>
            <a:off x="5095422" y="4133009"/>
            <a:ext cx="1292709" cy="460079"/>
          </a:xfrm>
          <a:prstGeom prst="rect">
            <a:avLst/>
          </a:prstGeom>
          <a:noFill/>
          <a:ln w="9525">
            <a:noFill/>
            <a:miter lim="800000"/>
            <a:headEnd/>
            <a:tailEnd/>
          </a:ln>
        </p:spPr>
      </p:pic>
      <p:pic>
        <p:nvPicPr>
          <p:cNvPr id="53" name="Picture 22" descr="logo">
            <a:hlinkClick r:id="rId48"/>
          </p:cNvPr>
          <p:cNvPicPr>
            <a:picLocks noChangeAspect="1" noChangeArrowheads="1"/>
          </p:cNvPicPr>
          <p:nvPr/>
        </p:nvPicPr>
        <p:blipFill>
          <a:blip r:embed="rId49" cstate="print"/>
          <a:srcRect/>
          <a:stretch>
            <a:fillRect/>
          </a:stretch>
        </p:blipFill>
        <p:spPr bwMode="auto">
          <a:xfrm>
            <a:off x="4639833" y="3217504"/>
            <a:ext cx="742255" cy="655734"/>
          </a:xfrm>
          <a:prstGeom prst="rect">
            <a:avLst/>
          </a:prstGeom>
          <a:noFill/>
          <a:ln w="9525">
            <a:noFill/>
            <a:miter lim="800000"/>
            <a:headEnd/>
            <a:tailEnd/>
          </a:ln>
        </p:spPr>
      </p:pic>
      <p:pic>
        <p:nvPicPr>
          <p:cNvPr id="54" name="Picture 67" descr="10%"/>
          <p:cNvPicPr>
            <a:picLocks noChangeAspect="1" noChangeArrowheads="1"/>
          </p:cNvPicPr>
          <p:nvPr/>
        </p:nvPicPr>
        <p:blipFill>
          <a:blip r:embed="rId50" cstate="print"/>
          <a:srcRect/>
          <a:stretch>
            <a:fillRect/>
          </a:stretch>
        </p:blipFill>
        <p:spPr bwMode="auto">
          <a:xfrm>
            <a:off x="6578718" y="4395298"/>
            <a:ext cx="712809" cy="513464"/>
          </a:xfrm>
          <a:prstGeom prst="rect">
            <a:avLst/>
          </a:prstGeom>
          <a:noFill/>
          <a:ln w="12700" algn="ctr">
            <a:noFill/>
            <a:miter lim="800000"/>
            <a:headEnd/>
            <a:tailEnd/>
          </a:ln>
          <a:effectLst>
            <a:prstShdw prst="shdw17" dist="17961" dir="2700000">
              <a:srgbClr val="417C94">
                <a:alpha val="50000"/>
              </a:srgbClr>
            </a:prstShdw>
          </a:effectLst>
        </p:spPr>
      </p:pic>
      <p:pic>
        <p:nvPicPr>
          <p:cNvPr id="58" name="Picture 57"/>
          <p:cNvPicPr>
            <a:picLocks noChangeAspect="1"/>
          </p:cNvPicPr>
          <p:nvPr/>
        </p:nvPicPr>
        <p:blipFill>
          <a:blip r:embed="rId51" cstate="email">
            <a:extLst>
              <a:ext uri="{28A0092B-C50C-407E-A947-70E740481C1C}">
                <a14:useLocalDpi xmlns:a14="http://schemas.microsoft.com/office/drawing/2010/main"/>
              </a:ext>
            </a:extLst>
          </a:blip>
          <a:stretch>
            <a:fillRect/>
          </a:stretch>
        </p:blipFill>
        <p:spPr>
          <a:xfrm>
            <a:off x="7400915" y="4777525"/>
            <a:ext cx="1512617" cy="350564"/>
          </a:xfrm>
          <a:prstGeom prst="rect">
            <a:avLst/>
          </a:prstGeom>
        </p:spPr>
      </p:pic>
      <p:sp>
        <p:nvSpPr>
          <p:cNvPr id="59" name="Textfeld 81"/>
          <p:cNvSpPr txBox="1">
            <a:spLocks noChangeArrowheads="1"/>
          </p:cNvSpPr>
          <p:nvPr>
            <p:custDataLst>
              <p:tags r:id="rId1"/>
            </p:custDataLst>
          </p:nvPr>
        </p:nvSpPr>
        <p:spPr bwMode="gray">
          <a:xfrm>
            <a:off x="667146" y="4489467"/>
            <a:ext cx="2840438" cy="287909"/>
          </a:xfrm>
          <a:prstGeom prst="rect">
            <a:avLst/>
          </a:prstGeom>
          <a:noFill/>
          <a:ln w="9525">
            <a:noFill/>
            <a:miter lim="800000"/>
            <a:headEnd/>
            <a:tailEnd/>
          </a:ln>
        </p:spPr>
        <p:txBody>
          <a:bodyPr lIns="40500" tIns="40500" rIns="40500" bIns="40500" anchor="ctr"/>
          <a:lstStyle/>
          <a:p>
            <a:pPr marL="0" lvl="1">
              <a:spcAft>
                <a:spcPts val="450"/>
              </a:spcAft>
              <a:buSzPct val="100000"/>
              <a:defRPr/>
            </a:pPr>
            <a:r>
              <a:rPr lang="en-GB" sz="1200" dirty="0">
                <a:solidFill>
                  <a:srgbClr val="000000"/>
                </a:solidFill>
              </a:rPr>
              <a:t>in customer </a:t>
            </a:r>
            <a:r>
              <a:rPr lang="en-GB" sz="1200" dirty="0" smtClean="0">
                <a:solidFill>
                  <a:srgbClr val="000000"/>
                </a:solidFill>
              </a:rPr>
              <a:t>satisfaction</a:t>
            </a:r>
            <a:endParaRPr lang="en-GB" sz="1200" dirty="0">
              <a:solidFill>
                <a:srgbClr val="000000"/>
              </a:solidFill>
            </a:endParaRPr>
          </a:p>
        </p:txBody>
      </p:sp>
      <p:sp>
        <p:nvSpPr>
          <p:cNvPr id="60" name="Textfeld 81"/>
          <p:cNvSpPr txBox="1">
            <a:spLocks noChangeArrowheads="1"/>
          </p:cNvSpPr>
          <p:nvPr>
            <p:custDataLst>
              <p:tags r:id="rId2"/>
            </p:custDataLst>
          </p:nvPr>
        </p:nvSpPr>
        <p:spPr bwMode="gray">
          <a:xfrm>
            <a:off x="64517" y="4489507"/>
            <a:ext cx="539955" cy="260598"/>
          </a:xfrm>
          <a:prstGeom prst="rect">
            <a:avLst/>
          </a:prstGeom>
          <a:noFill/>
          <a:ln w="9525">
            <a:noFill/>
            <a:miter lim="800000"/>
            <a:headEnd/>
            <a:tailEnd/>
          </a:ln>
        </p:spPr>
        <p:txBody>
          <a:bodyPr lIns="0" tIns="40500" rIns="0" bIns="40500" anchor="ctr"/>
          <a:lstStyle/>
          <a:p>
            <a:pPr algn="r">
              <a:spcAft>
                <a:spcPts val="450"/>
              </a:spcAft>
              <a:buSzPct val="100000"/>
              <a:defRPr/>
            </a:pPr>
            <a:r>
              <a:rPr lang="en-GB" sz="1500" dirty="0">
                <a:solidFill>
                  <a:srgbClr val="000000"/>
                </a:solidFill>
              </a:rPr>
              <a:t># 1</a:t>
            </a:r>
            <a:endParaRPr lang="en-GB" sz="1050" dirty="0">
              <a:solidFill>
                <a:srgbClr val="000000"/>
              </a:solidFill>
            </a:endParaRPr>
          </a:p>
        </p:txBody>
      </p:sp>
      <p:pic>
        <p:nvPicPr>
          <p:cNvPr id="61" name="Picture 2" descr="http://www.masentia.com/Files/Billeder/Cases/GNReSound/gn-resound_logo.png"/>
          <p:cNvPicPr>
            <a:picLocks noChangeAspect="1" noChangeArrowheads="1"/>
          </p:cNvPicPr>
          <p:nvPr/>
        </p:nvPicPr>
        <p:blipFill>
          <a:blip r:embed="rId52" cstate="email">
            <a:extLst>
              <a:ext uri="{28A0092B-C50C-407E-A947-70E740481C1C}">
                <a14:useLocalDpi xmlns:a14="http://schemas.microsoft.com/office/drawing/2010/main"/>
              </a:ext>
            </a:extLst>
          </a:blip>
          <a:srcRect/>
          <a:stretch>
            <a:fillRect/>
          </a:stretch>
        </p:blipFill>
        <p:spPr bwMode="auto">
          <a:xfrm>
            <a:off x="3507584" y="3700584"/>
            <a:ext cx="949903" cy="201338"/>
          </a:xfrm>
          <a:prstGeom prst="rect">
            <a:avLst/>
          </a:prstGeom>
          <a:noFill/>
          <a:extLst>
            <a:ext uri="{909E8E84-426E-40DD-AFC4-6F175D3DCCD1}">
              <a14:hiddenFill xmlns:a14="http://schemas.microsoft.com/office/drawing/2010/main">
                <a:solidFill>
                  <a:srgbClr val="FFFFFF"/>
                </a:solidFill>
              </a14:hiddenFill>
            </a:ext>
          </a:extLst>
        </p:spPr>
      </p:pic>
      <p:sp>
        <p:nvSpPr>
          <p:cNvPr id="56" name="AutoShape 2" descr="Image result for coop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a:p>
        </p:txBody>
      </p:sp>
      <p:pic>
        <p:nvPicPr>
          <p:cNvPr id="1027" name="Picture 3"/>
          <p:cNvPicPr>
            <a:picLocks noChangeAspect="1" noChangeArrowheads="1"/>
          </p:cNvPicPr>
          <p:nvPr/>
        </p:nvPicPr>
        <p:blipFill>
          <a:blip r:embed="rId53" cstate="email">
            <a:extLst>
              <a:ext uri="{28A0092B-C50C-407E-A947-70E740481C1C}">
                <a14:useLocalDpi xmlns:a14="http://schemas.microsoft.com/office/drawing/2010/main"/>
              </a:ext>
            </a:extLst>
          </a:blip>
          <a:srcRect/>
          <a:stretch>
            <a:fillRect/>
          </a:stretch>
        </p:blipFill>
        <p:spPr bwMode="auto">
          <a:xfrm>
            <a:off x="3349697" y="2382688"/>
            <a:ext cx="1211873" cy="351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descr="Image result for postnord"/>
          <p:cNvPicPr>
            <a:picLocks noChangeAspect="1" noChangeArrowheads="1"/>
          </p:cNvPicPr>
          <p:nvPr/>
        </p:nvPicPr>
        <p:blipFill rotWithShape="1">
          <a:blip r:embed="rId54" cstate="email">
            <a:extLst>
              <a:ext uri="{28A0092B-C50C-407E-A947-70E740481C1C}">
                <a14:useLocalDpi xmlns:a14="http://schemas.microsoft.com/office/drawing/2010/main"/>
              </a:ext>
            </a:extLst>
          </a:blip>
          <a:srcRect/>
          <a:stretch/>
        </p:blipFill>
        <p:spPr bwMode="auto">
          <a:xfrm>
            <a:off x="5095422" y="2753063"/>
            <a:ext cx="1633937" cy="308291"/>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0" descr="Image result for siemens wind power logo"/>
          <p:cNvPicPr>
            <a:picLocks noChangeAspect="1" noChangeArrowheads="1"/>
          </p:cNvPicPr>
          <p:nvPr/>
        </p:nvPicPr>
        <p:blipFill rotWithShape="1">
          <a:blip r:embed="rId55" cstate="email">
            <a:extLst>
              <a:ext uri="{28A0092B-C50C-407E-A947-70E740481C1C}">
                <a14:useLocalDpi xmlns:a14="http://schemas.microsoft.com/office/drawing/2010/main"/>
              </a:ext>
            </a:extLst>
          </a:blip>
          <a:srcRect l="10638" t="27973" r="9486" b="28490"/>
          <a:stretch/>
        </p:blipFill>
        <p:spPr bwMode="auto">
          <a:xfrm>
            <a:off x="3533855" y="4598994"/>
            <a:ext cx="917930" cy="28244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8" descr="Image result for vestas"/>
          <p:cNvPicPr>
            <a:picLocks noChangeAspect="1" noChangeArrowheads="1"/>
          </p:cNvPicPr>
          <p:nvPr/>
        </p:nvPicPr>
        <p:blipFill>
          <a:blip r:embed="rId56" cstate="email">
            <a:extLst>
              <a:ext uri="{28A0092B-C50C-407E-A947-70E740481C1C}">
                <a14:useLocalDpi xmlns:a14="http://schemas.microsoft.com/office/drawing/2010/main"/>
              </a:ext>
            </a:extLst>
          </a:blip>
          <a:srcRect/>
          <a:stretch>
            <a:fillRect/>
          </a:stretch>
        </p:blipFill>
        <p:spPr bwMode="auto">
          <a:xfrm>
            <a:off x="5582169" y="4742101"/>
            <a:ext cx="791184" cy="160215"/>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Image result for telenor"/>
          <p:cNvPicPr>
            <a:picLocks noChangeAspect="1" noChangeArrowheads="1"/>
          </p:cNvPicPr>
          <p:nvPr/>
        </p:nvPicPr>
        <p:blipFill>
          <a:blip r:embed="rId57" cstate="email">
            <a:extLst>
              <a:ext uri="{28A0092B-C50C-407E-A947-70E740481C1C}">
                <a14:useLocalDpi xmlns:a14="http://schemas.microsoft.com/office/drawing/2010/main"/>
              </a:ext>
            </a:extLst>
          </a:blip>
          <a:srcRect/>
          <a:stretch>
            <a:fillRect/>
          </a:stretch>
        </p:blipFill>
        <p:spPr bwMode="auto">
          <a:xfrm>
            <a:off x="8236649" y="2400617"/>
            <a:ext cx="792466" cy="10078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202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What </a:t>
            </a:r>
            <a:r>
              <a:rPr lang="da-DK" dirty="0" smtClean="0"/>
              <a:t>motivates us in Denmark and Nordics</a:t>
            </a:r>
            <a:endParaRPr lang="da-DK"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61940424"/>
              </p:ext>
            </p:extLst>
          </p:nvPr>
        </p:nvGraphicFramePr>
        <p:xfrm>
          <a:off x="403761" y="1342416"/>
          <a:ext cx="6898469" cy="23822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43419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idx="4294967295"/>
          </p:nvPr>
        </p:nvSpPr>
        <p:spPr>
          <a:xfrm>
            <a:off x="275304" y="2047364"/>
            <a:ext cx="6172200" cy="565150"/>
          </a:xfrm>
          <a:prstGeom prst="rect">
            <a:avLst/>
          </a:prstGeom>
        </p:spPr>
        <p:txBody>
          <a:bodyPr anchor="ctr">
            <a:normAutofit/>
          </a:bodyPr>
          <a:lstStyle/>
          <a:p>
            <a:r>
              <a:rPr lang="en-US" sz="2400" b="1" dirty="0" smtClean="0">
                <a:solidFill>
                  <a:schemeClr val="bg1"/>
                </a:solidFill>
                <a:cs typeface="Segoe UI" panose="020B0502040204020203" pitchFamily="34" charset="0"/>
              </a:rPr>
              <a:t>Thank you</a:t>
            </a:r>
            <a:endParaRPr lang="en-US" sz="2400" b="1" dirty="0">
              <a:solidFill>
                <a:schemeClr val="bg1"/>
              </a:solidFill>
            </a:endParaRPr>
          </a:p>
        </p:txBody>
      </p:sp>
    </p:spTree>
    <p:extLst>
      <p:ext uri="{BB962C8B-B14F-4D97-AF65-F5344CB8AC3E}">
        <p14:creationId xmlns:p14="http://schemas.microsoft.com/office/powerpoint/2010/main" val="22819055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580" tIns="34290" rIns="68580" bIns="34290" rtlCol="0" anchor="ctr">
            <a:noAutofit/>
          </a:bodyPr>
          <a:lstStyle/>
          <a:p>
            <a:pPr eaLnBrk="0" fontAlgn="base" hangingPunct="0">
              <a:spcAft>
                <a:spcPct val="0"/>
              </a:spcAft>
            </a:pPr>
            <a:r>
              <a:rPr lang="en-US" dirty="0"/>
              <a:t>TATA Group :</a:t>
            </a:r>
            <a:r>
              <a:rPr lang="en-US" dirty="0" smtClean="0"/>
              <a:t> Leadership with values</a:t>
            </a:r>
            <a:endParaRPr lang="en-IN" dirty="0"/>
          </a:p>
        </p:txBody>
      </p:sp>
      <p:grpSp>
        <p:nvGrpSpPr>
          <p:cNvPr id="4" name="Group 3"/>
          <p:cNvGrpSpPr/>
          <p:nvPr/>
        </p:nvGrpSpPr>
        <p:grpSpPr>
          <a:xfrm>
            <a:off x="80682" y="695887"/>
            <a:ext cx="8585716" cy="4288805"/>
            <a:chOff x="1676400" y="1874464"/>
            <a:chExt cx="8661400" cy="4721462"/>
          </a:xfrm>
        </p:grpSpPr>
        <p:grpSp>
          <p:nvGrpSpPr>
            <p:cNvPr id="5" name="Group 37"/>
            <p:cNvGrpSpPr>
              <a:grpSpLocks/>
            </p:cNvGrpSpPr>
            <p:nvPr/>
          </p:nvGrpSpPr>
          <p:grpSpPr bwMode="auto">
            <a:xfrm>
              <a:off x="1844675" y="1883990"/>
              <a:ext cx="1576388" cy="1424131"/>
              <a:chOff x="328386" y="975183"/>
              <a:chExt cx="1576614" cy="1424026"/>
            </a:xfrm>
          </p:grpSpPr>
          <p:pic>
            <p:nvPicPr>
              <p:cNvPr id="49" name="Picture 2"/>
              <p:cNvPicPr>
                <a:picLocks noChangeAspect="1" noChangeArrowheads="1"/>
              </p:cNvPicPr>
              <p:nvPr/>
            </p:nvPicPr>
            <p:blipFill>
              <a:blip r:embed="rId2"/>
              <a:srcRect/>
              <a:stretch>
                <a:fillRect/>
              </a:stretch>
            </p:blipFill>
            <p:spPr bwMode="auto">
              <a:xfrm>
                <a:off x="342900" y="975183"/>
                <a:ext cx="1562100" cy="1104900"/>
              </a:xfrm>
              <a:prstGeom prst="rect">
                <a:avLst/>
              </a:prstGeom>
              <a:noFill/>
              <a:ln w="9525">
                <a:noFill/>
                <a:miter lim="800000"/>
                <a:headEnd/>
                <a:tailEnd/>
              </a:ln>
            </p:spPr>
          </p:pic>
          <p:sp>
            <p:nvSpPr>
              <p:cNvPr id="50" name="TextBox 49"/>
              <p:cNvSpPr txBox="1"/>
              <p:nvPr/>
            </p:nvSpPr>
            <p:spPr>
              <a:xfrm>
                <a:off x="328386" y="2094289"/>
                <a:ext cx="1562324" cy="304920"/>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Humble beginnings</a:t>
                </a:r>
              </a:p>
            </p:txBody>
          </p:sp>
        </p:grpSp>
        <p:grpSp>
          <p:nvGrpSpPr>
            <p:cNvPr id="6" name="Group 38"/>
            <p:cNvGrpSpPr>
              <a:grpSpLocks/>
            </p:cNvGrpSpPr>
            <p:nvPr/>
          </p:nvGrpSpPr>
          <p:grpSpPr bwMode="auto">
            <a:xfrm>
              <a:off x="3551238" y="1879228"/>
              <a:ext cx="1585912" cy="1436832"/>
              <a:chOff x="2035626" y="970647"/>
              <a:chExt cx="1586139" cy="1435610"/>
            </a:xfrm>
          </p:grpSpPr>
          <p:pic>
            <p:nvPicPr>
              <p:cNvPr id="47" name="Picture 3"/>
              <p:cNvPicPr>
                <a:picLocks noChangeAspect="1" noChangeArrowheads="1"/>
              </p:cNvPicPr>
              <p:nvPr/>
            </p:nvPicPr>
            <p:blipFill>
              <a:blip r:embed="rId3"/>
              <a:srcRect/>
              <a:stretch>
                <a:fillRect/>
              </a:stretch>
            </p:blipFill>
            <p:spPr bwMode="auto">
              <a:xfrm>
                <a:off x="2050140" y="970647"/>
                <a:ext cx="1571625" cy="1123950"/>
              </a:xfrm>
              <a:prstGeom prst="rect">
                <a:avLst/>
              </a:prstGeom>
              <a:noFill/>
              <a:ln w="9525">
                <a:noFill/>
                <a:miter lim="800000"/>
                <a:headEnd/>
                <a:tailEnd/>
              </a:ln>
            </p:spPr>
          </p:pic>
          <p:sp>
            <p:nvSpPr>
              <p:cNvPr id="48" name="TextBox 47"/>
              <p:cNvSpPr txBox="1"/>
              <p:nvPr/>
            </p:nvSpPr>
            <p:spPr>
              <a:xfrm>
                <a:off x="2035626" y="2101573"/>
                <a:ext cx="1562324" cy="304684"/>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Textile Mills</a:t>
                </a:r>
              </a:p>
            </p:txBody>
          </p:sp>
        </p:grpSp>
        <p:grpSp>
          <p:nvGrpSpPr>
            <p:cNvPr id="7" name="Group 39"/>
            <p:cNvGrpSpPr>
              <a:grpSpLocks/>
            </p:cNvGrpSpPr>
            <p:nvPr/>
          </p:nvGrpSpPr>
          <p:grpSpPr bwMode="auto">
            <a:xfrm>
              <a:off x="5307013" y="1888752"/>
              <a:ext cx="1562100" cy="1427305"/>
              <a:chOff x="3790950" y="980172"/>
              <a:chExt cx="1562100" cy="1426084"/>
            </a:xfrm>
          </p:grpSpPr>
          <p:pic>
            <p:nvPicPr>
              <p:cNvPr id="45" name="Picture 4"/>
              <p:cNvPicPr>
                <a:picLocks noChangeAspect="1" noChangeArrowheads="1"/>
              </p:cNvPicPr>
              <p:nvPr/>
            </p:nvPicPr>
            <p:blipFill>
              <a:blip r:embed="rId4"/>
              <a:srcRect/>
              <a:stretch>
                <a:fillRect/>
              </a:stretch>
            </p:blipFill>
            <p:spPr bwMode="auto">
              <a:xfrm>
                <a:off x="3790950" y="980172"/>
                <a:ext cx="1562100" cy="1114425"/>
              </a:xfrm>
              <a:prstGeom prst="rect">
                <a:avLst/>
              </a:prstGeom>
              <a:noFill/>
              <a:ln w="9525">
                <a:noFill/>
                <a:miter lim="800000"/>
                <a:headEnd/>
                <a:tailEnd/>
              </a:ln>
            </p:spPr>
          </p:pic>
          <p:sp>
            <p:nvSpPr>
              <p:cNvPr id="46" name="TextBox 45"/>
              <p:cNvSpPr txBox="1"/>
              <p:nvPr/>
            </p:nvSpPr>
            <p:spPr>
              <a:xfrm>
                <a:off x="3790950" y="2101574"/>
                <a:ext cx="1562100" cy="304682"/>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Luxury Hotels</a:t>
                </a:r>
              </a:p>
            </p:txBody>
          </p:sp>
        </p:grpSp>
        <p:grpSp>
          <p:nvGrpSpPr>
            <p:cNvPr id="8" name="Group 40"/>
            <p:cNvGrpSpPr>
              <a:grpSpLocks/>
            </p:cNvGrpSpPr>
            <p:nvPr/>
          </p:nvGrpSpPr>
          <p:grpSpPr bwMode="auto">
            <a:xfrm>
              <a:off x="8775700" y="1874464"/>
              <a:ext cx="1562100" cy="1441592"/>
              <a:chOff x="5547178" y="965658"/>
              <a:chExt cx="1562100" cy="1440605"/>
            </a:xfrm>
          </p:grpSpPr>
          <p:pic>
            <p:nvPicPr>
              <p:cNvPr id="43" name="Picture 5"/>
              <p:cNvPicPr>
                <a:picLocks noChangeAspect="1" noChangeArrowheads="1"/>
              </p:cNvPicPr>
              <p:nvPr/>
            </p:nvPicPr>
            <p:blipFill>
              <a:blip r:embed="rId5"/>
              <a:srcRect/>
              <a:stretch>
                <a:fillRect/>
              </a:stretch>
            </p:blipFill>
            <p:spPr bwMode="auto">
              <a:xfrm>
                <a:off x="5547178" y="965658"/>
                <a:ext cx="1562100" cy="1114425"/>
              </a:xfrm>
              <a:prstGeom prst="rect">
                <a:avLst/>
              </a:prstGeom>
              <a:noFill/>
              <a:ln w="9525">
                <a:noFill/>
                <a:miter lim="800000"/>
                <a:headEnd/>
                <a:tailEnd/>
              </a:ln>
            </p:spPr>
          </p:pic>
          <p:sp>
            <p:nvSpPr>
              <p:cNvPr id="44" name="TextBox 43"/>
              <p:cNvSpPr txBox="1"/>
              <p:nvPr/>
            </p:nvSpPr>
            <p:spPr>
              <a:xfrm>
                <a:off x="5547178" y="2101529"/>
                <a:ext cx="1562100" cy="304734"/>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Asia’s first steel plant</a:t>
                </a:r>
              </a:p>
            </p:txBody>
          </p:sp>
        </p:grpSp>
        <p:grpSp>
          <p:nvGrpSpPr>
            <p:cNvPr id="9" name="Group 41"/>
            <p:cNvGrpSpPr>
              <a:grpSpLocks/>
            </p:cNvGrpSpPr>
            <p:nvPr/>
          </p:nvGrpSpPr>
          <p:grpSpPr bwMode="auto">
            <a:xfrm>
              <a:off x="7070725" y="1874464"/>
              <a:ext cx="1562100" cy="1441592"/>
              <a:chOff x="7223125" y="965658"/>
              <a:chExt cx="1562100" cy="1440605"/>
            </a:xfrm>
          </p:grpSpPr>
          <p:pic>
            <p:nvPicPr>
              <p:cNvPr id="41" name="Picture 6"/>
              <p:cNvPicPr>
                <a:picLocks noChangeAspect="1" noChangeArrowheads="1"/>
              </p:cNvPicPr>
              <p:nvPr/>
            </p:nvPicPr>
            <p:blipFill>
              <a:blip r:embed="rId6"/>
              <a:srcRect/>
              <a:stretch>
                <a:fillRect/>
              </a:stretch>
            </p:blipFill>
            <p:spPr bwMode="auto">
              <a:xfrm>
                <a:off x="7223125" y="965658"/>
                <a:ext cx="1562100" cy="1114425"/>
              </a:xfrm>
              <a:prstGeom prst="rect">
                <a:avLst/>
              </a:prstGeom>
              <a:noFill/>
              <a:ln w="9525">
                <a:noFill/>
                <a:miter lim="800000"/>
                <a:headEnd/>
                <a:tailEnd/>
              </a:ln>
            </p:spPr>
          </p:pic>
          <p:sp>
            <p:nvSpPr>
              <p:cNvPr id="42" name="TextBox 41"/>
              <p:cNvSpPr txBox="1"/>
              <p:nvPr/>
            </p:nvSpPr>
            <p:spPr>
              <a:xfrm>
                <a:off x="7223125" y="2101529"/>
                <a:ext cx="1562100" cy="304734"/>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Hydro Power</a:t>
                </a:r>
              </a:p>
            </p:txBody>
          </p:sp>
        </p:grpSp>
        <p:grpSp>
          <p:nvGrpSpPr>
            <p:cNvPr id="10" name="Group 45"/>
            <p:cNvGrpSpPr>
              <a:grpSpLocks/>
            </p:cNvGrpSpPr>
            <p:nvPr/>
          </p:nvGrpSpPr>
          <p:grpSpPr bwMode="auto">
            <a:xfrm>
              <a:off x="1676400" y="3357191"/>
              <a:ext cx="1905000" cy="1452707"/>
              <a:chOff x="159654" y="2448498"/>
              <a:chExt cx="1905000" cy="1452924"/>
            </a:xfrm>
          </p:grpSpPr>
          <p:pic>
            <p:nvPicPr>
              <p:cNvPr id="39" name="Picture 11"/>
              <p:cNvPicPr>
                <a:picLocks noChangeAspect="1" noChangeArrowheads="1"/>
              </p:cNvPicPr>
              <p:nvPr/>
            </p:nvPicPr>
            <p:blipFill>
              <a:blip r:embed="rId7"/>
              <a:srcRect/>
              <a:stretch>
                <a:fillRect/>
              </a:stretch>
            </p:blipFill>
            <p:spPr bwMode="auto">
              <a:xfrm>
                <a:off x="342900" y="2448498"/>
                <a:ext cx="1562100" cy="1114425"/>
              </a:xfrm>
              <a:prstGeom prst="rect">
                <a:avLst/>
              </a:prstGeom>
              <a:noFill/>
              <a:ln w="9525">
                <a:noFill/>
                <a:miter lim="800000"/>
                <a:headEnd/>
                <a:tailEnd/>
              </a:ln>
            </p:spPr>
          </p:pic>
          <p:sp>
            <p:nvSpPr>
              <p:cNvPr id="40" name="TextBox 39"/>
              <p:cNvSpPr txBox="1"/>
              <p:nvPr/>
            </p:nvSpPr>
            <p:spPr>
              <a:xfrm>
                <a:off x="159654" y="3596433"/>
                <a:ext cx="1905000" cy="304989"/>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2</a:t>
                </a:r>
                <a:r>
                  <a:rPr lang="en-US" sz="1200" b="1" kern="0" baseline="30000" dirty="0">
                    <a:solidFill>
                      <a:srgbClr val="000000">
                        <a:lumMod val="75000"/>
                      </a:srgbClr>
                    </a:solidFill>
                  </a:rPr>
                  <a:t>nd</a:t>
                </a:r>
                <a:r>
                  <a:rPr lang="en-US" sz="1200" b="1" kern="0" dirty="0">
                    <a:solidFill>
                      <a:srgbClr val="000000">
                        <a:lumMod val="75000"/>
                      </a:srgbClr>
                    </a:solidFill>
                  </a:rPr>
                  <a:t> Largest tea company</a:t>
                </a:r>
              </a:p>
            </p:txBody>
          </p:sp>
        </p:grpSp>
        <p:grpSp>
          <p:nvGrpSpPr>
            <p:cNvPr id="11" name="Group 46"/>
            <p:cNvGrpSpPr>
              <a:grpSpLocks/>
            </p:cNvGrpSpPr>
            <p:nvPr/>
          </p:nvGrpSpPr>
          <p:grpSpPr bwMode="auto">
            <a:xfrm>
              <a:off x="3544888" y="3357191"/>
              <a:ext cx="1592262" cy="1460643"/>
              <a:chOff x="2028372" y="2448498"/>
              <a:chExt cx="1593393" cy="1459976"/>
            </a:xfrm>
          </p:grpSpPr>
          <p:pic>
            <p:nvPicPr>
              <p:cNvPr id="37" name="Picture 10"/>
              <p:cNvPicPr>
                <a:picLocks noChangeAspect="1" noChangeArrowheads="1"/>
              </p:cNvPicPr>
              <p:nvPr/>
            </p:nvPicPr>
            <p:blipFill>
              <a:blip r:embed="rId8"/>
              <a:srcRect/>
              <a:stretch>
                <a:fillRect/>
              </a:stretch>
            </p:blipFill>
            <p:spPr bwMode="auto">
              <a:xfrm>
                <a:off x="2059665" y="2448498"/>
                <a:ext cx="1562100" cy="1114425"/>
              </a:xfrm>
              <a:prstGeom prst="rect">
                <a:avLst/>
              </a:prstGeom>
              <a:noFill/>
              <a:ln w="9525">
                <a:noFill/>
                <a:miter lim="800000"/>
                <a:headEnd/>
                <a:tailEnd/>
              </a:ln>
            </p:spPr>
          </p:pic>
          <p:sp>
            <p:nvSpPr>
              <p:cNvPr id="38" name="TextBox 37"/>
              <p:cNvSpPr txBox="1"/>
              <p:nvPr/>
            </p:nvSpPr>
            <p:spPr>
              <a:xfrm>
                <a:off x="2028372" y="3603670"/>
                <a:ext cx="1561620" cy="304804"/>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White goods</a:t>
                </a:r>
              </a:p>
            </p:txBody>
          </p:sp>
        </p:grpSp>
        <p:grpSp>
          <p:nvGrpSpPr>
            <p:cNvPr id="12" name="Group 44"/>
            <p:cNvGrpSpPr>
              <a:grpSpLocks/>
            </p:cNvGrpSpPr>
            <p:nvPr/>
          </p:nvGrpSpPr>
          <p:grpSpPr bwMode="auto">
            <a:xfrm>
              <a:off x="5299075" y="3347668"/>
              <a:ext cx="1570038" cy="1470170"/>
              <a:chOff x="3783696" y="2438973"/>
              <a:chExt cx="1569354" cy="1469503"/>
            </a:xfrm>
          </p:grpSpPr>
          <p:pic>
            <p:nvPicPr>
              <p:cNvPr id="35" name="Picture 9"/>
              <p:cNvPicPr>
                <a:picLocks noChangeAspect="1" noChangeArrowheads="1"/>
              </p:cNvPicPr>
              <p:nvPr/>
            </p:nvPicPr>
            <p:blipFill>
              <a:blip r:embed="rId9"/>
              <a:srcRect/>
              <a:stretch>
                <a:fillRect/>
              </a:stretch>
            </p:blipFill>
            <p:spPr bwMode="auto">
              <a:xfrm>
                <a:off x="3790950" y="2438973"/>
                <a:ext cx="1562100" cy="1123950"/>
              </a:xfrm>
              <a:prstGeom prst="rect">
                <a:avLst/>
              </a:prstGeom>
              <a:noFill/>
              <a:ln w="9525">
                <a:noFill/>
                <a:miter lim="800000"/>
                <a:headEnd/>
                <a:tailEnd/>
              </a:ln>
            </p:spPr>
          </p:pic>
          <p:sp>
            <p:nvSpPr>
              <p:cNvPr id="36" name="TextBox 35"/>
              <p:cNvSpPr txBox="1"/>
              <p:nvPr/>
            </p:nvSpPr>
            <p:spPr>
              <a:xfrm>
                <a:off x="3783696" y="3603671"/>
                <a:ext cx="1561419" cy="304805"/>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Heavy vehicles</a:t>
                </a:r>
              </a:p>
            </p:txBody>
          </p:sp>
        </p:grpSp>
        <p:grpSp>
          <p:nvGrpSpPr>
            <p:cNvPr id="13" name="Group 43"/>
            <p:cNvGrpSpPr>
              <a:grpSpLocks/>
            </p:cNvGrpSpPr>
            <p:nvPr/>
          </p:nvGrpSpPr>
          <p:grpSpPr bwMode="auto">
            <a:xfrm>
              <a:off x="7056438" y="3357191"/>
              <a:ext cx="1568450" cy="1460643"/>
              <a:chOff x="5539924" y="2448498"/>
              <a:chExt cx="1569354" cy="1459976"/>
            </a:xfrm>
          </p:grpSpPr>
          <p:pic>
            <p:nvPicPr>
              <p:cNvPr id="33" name="Picture 8"/>
              <p:cNvPicPr>
                <a:picLocks noChangeAspect="1" noChangeArrowheads="1"/>
              </p:cNvPicPr>
              <p:nvPr/>
            </p:nvPicPr>
            <p:blipFill>
              <a:blip r:embed="rId10"/>
              <a:srcRect/>
              <a:stretch>
                <a:fillRect/>
              </a:stretch>
            </p:blipFill>
            <p:spPr bwMode="auto">
              <a:xfrm>
                <a:off x="5547178" y="2448498"/>
                <a:ext cx="1562100" cy="1114425"/>
              </a:xfrm>
              <a:prstGeom prst="rect">
                <a:avLst/>
              </a:prstGeom>
              <a:noFill/>
              <a:ln w="9525">
                <a:noFill/>
                <a:miter lim="800000"/>
                <a:headEnd/>
                <a:tailEnd/>
              </a:ln>
            </p:spPr>
          </p:pic>
          <p:sp>
            <p:nvSpPr>
              <p:cNvPr id="34" name="TextBox 33"/>
              <p:cNvSpPr txBox="1"/>
              <p:nvPr/>
            </p:nvSpPr>
            <p:spPr>
              <a:xfrm>
                <a:off x="5539924" y="3603670"/>
                <a:ext cx="1561411" cy="304804"/>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Chemical factories</a:t>
                </a:r>
              </a:p>
            </p:txBody>
          </p:sp>
        </p:grpSp>
        <p:grpSp>
          <p:nvGrpSpPr>
            <p:cNvPr id="14" name="Group 42"/>
            <p:cNvGrpSpPr>
              <a:grpSpLocks/>
            </p:cNvGrpSpPr>
            <p:nvPr/>
          </p:nvGrpSpPr>
          <p:grpSpPr bwMode="auto">
            <a:xfrm>
              <a:off x="8731250" y="3347668"/>
              <a:ext cx="1570038" cy="1470170"/>
              <a:chOff x="7215871" y="2438973"/>
              <a:chExt cx="1569354" cy="1469503"/>
            </a:xfrm>
          </p:grpSpPr>
          <p:pic>
            <p:nvPicPr>
              <p:cNvPr id="31" name="Picture 7"/>
              <p:cNvPicPr>
                <a:picLocks noChangeAspect="1" noChangeArrowheads="1"/>
              </p:cNvPicPr>
              <p:nvPr/>
            </p:nvPicPr>
            <p:blipFill>
              <a:blip r:embed="rId11"/>
              <a:srcRect/>
              <a:stretch>
                <a:fillRect/>
              </a:stretch>
            </p:blipFill>
            <p:spPr bwMode="auto">
              <a:xfrm>
                <a:off x="7223125" y="2438973"/>
                <a:ext cx="1562100" cy="1123950"/>
              </a:xfrm>
              <a:prstGeom prst="rect">
                <a:avLst/>
              </a:prstGeom>
              <a:noFill/>
              <a:ln w="9525">
                <a:noFill/>
                <a:miter lim="800000"/>
                <a:headEnd/>
                <a:tailEnd/>
              </a:ln>
            </p:spPr>
          </p:pic>
          <p:sp>
            <p:nvSpPr>
              <p:cNvPr id="32" name="TextBox 31"/>
              <p:cNvSpPr txBox="1"/>
              <p:nvPr/>
            </p:nvSpPr>
            <p:spPr>
              <a:xfrm>
                <a:off x="7215871" y="3603671"/>
                <a:ext cx="1561419" cy="304805"/>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Civil Aviation</a:t>
                </a:r>
              </a:p>
            </p:txBody>
          </p:sp>
        </p:grpSp>
        <p:grpSp>
          <p:nvGrpSpPr>
            <p:cNvPr id="15" name="Group 47"/>
            <p:cNvGrpSpPr>
              <a:grpSpLocks/>
            </p:cNvGrpSpPr>
            <p:nvPr/>
          </p:nvGrpSpPr>
          <p:grpSpPr bwMode="auto">
            <a:xfrm>
              <a:off x="1785868" y="4927226"/>
              <a:ext cx="1708149" cy="1668700"/>
              <a:chOff x="270276" y="4018421"/>
              <a:chExt cx="1707656" cy="1668247"/>
            </a:xfrm>
          </p:grpSpPr>
          <p:pic>
            <p:nvPicPr>
              <p:cNvPr id="29" name="Picture 12"/>
              <p:cNvPicPr>
                <a:picLocks noChangeAspect="1" noChangeArrowheads="1"/>
              </p:cNvPicPr>
              <p:nvPr/>
            </p:nvPicPr>
            <p:blipFill>
              <a:blip r:embed="rId12"/>
              <a:srcRect/>
              <a:stretch>
                <a:fillRect/>
              </a:stretch>
            </p:blipFill>
            <p:spPr bwMode="auto">
              <a:xfrm>
                <a:off x="342900" y="4018421"/>
                <a:ext cx="1562100" cy="1114425"/>
              </a:xfrm>
              <a:prstGeom prst="rect">
                <a:avLst/>
              </a:prstGeom>
              <a:noFill/>
              <a:ln w="9525">
                <a:noFill/>
                <a:miter lim="800000"/>
                <a:headEnd/>
                <a:tailEnd/>
              </a:ln>
            </p:spPr>
          </p:pic>
          <p:sp>
            <p:nvSpPr>
              <p:cNvPr id="30" name="TextBox 29"/>
              <p:cNvSpPr txBox="1"/>
              <p:nvPr/>
            </p:nvSpPr>
            <p:spPr>
              <a:xfrm>
                <a:off x="270276" y="5178568"/>
                <a:ext cx="1707656" cy="508100"/>
              </a:xfrm>
              <a:prstGeom prst="rect">
                <a:avLst/>
              </a:prstGeom>
              <a:noFill/>
            </p:spPr>
            <p:txBody>
              <a:bodyPr wrap="square">
                <a:spAutoFit/>
              </a:bodyPr>
              <a:lstStyle/>
              <a:p>
                <a:pPr algn="ctr" fontAlgn="base">
                  <a:spcBef>
                    <a:spcPct val="0"/>
                  </a:spcBef>
                  <a:spcAft>
                    <a:spcPct val="0"/>
                  </a:spcAft>
                  <a:defRPr/>
                </a:pPr>
                <a:r>
                  <a:rPr lang="en-US" sz="1200" b="1" kern="0" dirty="0">
                    <a:solidFill>
                      <a:srgbClr val="000000">
                        <a:lumMod val="75000"/>
                      </a:srgbClr>
                    </a:solidFill>
                  </a:rPr>
                  <a:t>Information Technology</a:t>
                </a:r>
              </a:p>
            </p:txBody>
          </p:sp>
        </p:grpSp>
        <p:grpSp>
          <p:nvGrpSpPr>
            <p:cNvPr id="16" name="Group 48"/>
            <p:cNvGrpSpPr>
              <a:grpSpLocks/>
            </p:cNvGrpSpPr>
            <p:nvPr/>
          </p:nvGrpSpPr>
          <p:grpSpPr bwMode="auto">
            <a:xfrm>
              <a:off x="3544888" y="4927227"/>
              <a:ext cx="1592262" cy="1473342"/>
              <a:chOff x="2028372" y="4018421"/>
              <a:chExt cx="1593393" cy="1472063"/>
            </a:xfrm>
          </p:grpSpPr>
          <p:pic>
            <p:nvPicPr>
              <p:cNvPr id="27" name="Picture 16"/>
              <p:cNvPicPr>
                <a:picLocks noChangeAspect="1" noChangeArrowheads="1"/>
              </p:cNvPicPr>
              <p:nvPr/>
            </p:nvPicPr>
            <p:blipFill>
              <a:blip r:embed="rId13"/>
              <a:srcRect/>
              <a:stretch>
                <a:fillRect/>
              </a:stretch>
            </p:blipFill>
            <p:spPr bwMode="auto">
              <a:xfrm>
                <a:off x="2059665" y="4018421"/>
                <a:ext cx="1562100" cy="1114425"/>
              </a:xfrm>
              <a:prstGeom prst="rect">
                <a:avLst/>
              </a:prstGeom>
              <a:noFill/>
              <a:ln w="9525">
                <a:noFill/>
                <a:miter lim="800000"/>
                <a:headEnd/>
                <a:tailEnd/>
              </a:ln>
            </p:spPr>
          </p:pic>
          <p:sp>
            <p:nvSpPr>
              <p:cNvPr id="28" name="TextBox 27"/>
              <p:cNvSpPr txBox="1"/>
              <p:nvPr/>
            </p:nvSpPr>
            <p:spPr>
              <a:xfrm>
                <a:off x="2028372" y="5185806"/>
                <a:ext cx="1561620" cy="304678"/>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Retailing</a:t>
                </a:r>
              </a:p>
            </p:txBody>
          </p:sp>
        </p:grpSp>
        <p:grpSp>
          <p:nvGrpSpPr>
            <p:cNvPr id="17" name="Group 49"/>
            <p:cNvGrpSpPr>
              <a:grpSpLocks/>
            </p:cNvGrpSpPr>
            <p:nvPr/>
          </p:nvGrpSpPr>
          <p:grpSpPr bwMode="auto">
            <a:xfrm>
              <a:off x="5299075" y="4908179"/>
              <a:ext cx="1570038" cy="1492392"/>
              <a:chOff x="3783696" y="3999371"/>
              <a:chExt cx="1569354" cy="1491113"/>
            </a:xfrm>
          </p:grpSpPr>
          <p:pic>
            <p:nvPicPr>
              <p:cNvPr id="25" name="Picture 14"/>
              <p:cNvPicPr>
                <a:picLocks noChangeAspect="1" noChangeArrowheads="1"/>
              </p:cNvPicPr>
              <p:nvPr/>
            </p:nvPicPr>
            <p:blipFill>
              <a:blip r:embed="rId14"/>
              <a:srcRect/>
              <a:stretch>
                <a:fillRect/>
              </a:stretch>
            </p:blipFill>
            <p:spPr bwMode="auto">
              <a:xfrm>
                <a:off x="3790950" y="3999371"/>
                <a:ext cx="1562100" cy="1114425"/>
              </a:xfrm>
              <a:prstGeom prst="rect">
                <a:avLst/>
              </a:prstGeom>
              <a:noFill/>
              <a:ln w="9525">
                <a:noFill/>
                <a:miter lim="800000"/>
                <a:headEnd/>
                <a:tailEnd/>
              </a:ln>
            </p:spPr>
          </p:pic>
          <p:sp>
            <p:nvSpPr>
              <p:cNvPr id="26" name="TextBox 25"/>
              <p:cNvSpPr txBox="1"/>
              <p:nvPr/>
            </p:nvSpPr>
            <p:spPr>
              <a:xfrm>
                <a:off x="3783696" y="5185803"/>
                <a:ext cx="1561419" cy="304681"/>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Passenger Car</a:t>
                </a:r>
              </a:p>
            </p:txBody>
          </p:sp>
        </p:grpSp>
        <p:grpSp>
          <p:nvGrpSpPr>
            <p:cNvPr id="18" name="Group 50"/>
            <p:cNvGrpSpPr>
              <a:grpSpLocks/>
            </p:cNvGrpSpPr>
            <p:nvPr/>
          </p:nvGrpSpPr>
          <p:grpSpPr bwMode="auto">
            <a:xfrm>
              <a:off x="6969125" y="4908179"/>
              <a:ext cx="1862138" cy="1492392"/>
              <a:chOff x="5452838" y="3999371"/>
              <a:chExt cx="1862363" cy="1491113"/>
            </a:xfrm>
          </p:grpSpPr>
          <p:pic>
            <p:nvPicPr>
              <p:cNvPr id="23" name="Picture 15"/>
              <p:cNvPicPr>
                <a:picLocks noChangeAspect="1" noChangeArrowheads="1"/>
              </p:cNvPicPr>
              <p:nvPr/>
            </p:nvPicPr>
            <p:blipFill>
              <a:blip r:embed="rId15"/>
              <a:srcRect/>
              <a:stretch>
                <a:fillRect/>
              </a:stretch>
            </p:blipFill>
            <p:spPr bwMode="auto">
              <a:xfrm>
                <a:off x="5547178" y="3999371"/>
                <a:ext cx="1562100" cy="1123950"/>
              </a:xfrm>
              <a:prstGeom prst="rect">
                <a:avLst/>
              </a:prstGeom>
              <a:noFill/>
              <a:ln w="9525">
                <a:noFill/>
                <a:miter lim="800000"/>
                <a:headEnd/>
                <a:tailEnd/>
              </a:ln>
            </p:spPr>
          </p:pic>
          <p:sp>
            <p:nvSpPr>
              <p:cNvPr id="24" name="TextBox 23"/>
              <p:cNvSpPr txBox="1"/>
              <p:nvPr/>
            </p:nvSpPr>
            <p:spPr>
              <a:xfrm>
                <a:off x="5452838" y="5185803"/>
                <a:ext cx="1862363" cy="304681"/>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Largest telecom network</a:t>
                </a:r>
              </a:p>
            </p:txBody>
          </p:sp>
        </p:grpSp>
        <p:grpSp>
          <p:nvGrpSpPr>
            <p:cNvPr id="19" name="Group 51"/>
            <p:cNvGrpSpPr>
              <a:grpSpLocks/>
            </p:cNvGrpSpPr>
            <p:nvPr/>
          </p:nvGrpSpPr>
          <p:grpSpPr bwMode="auto">
            <a:xfrm>
              <a:off x="8731251" y="4908179"/>
              <a:ext cx="1579563" cy="1492392"/>
              <a:chOff x="7215871" y="3999371"/>
              <a:chExt cx="1578879" cy="1491113"/>
            </a:xfrm>
          </p:grpSpPr>
          <p:pic>
            <p:nvPicPr>
              <p:cNvPr id="21" name="Picture 13"/>
              <p:cNvPicPr>
                <a:picLocks noChangeAspect="1" noChangeArrowheads="1"/>
              </p:cNvPicPr>
              <p:nvPr/>
            </p:nvPicPr>
            <p:blipFill>
              <a:blip r:embed="rId16"/>
              <a:srcRect/>
              <a:stretch>
                <a:fillRect/>
              </a:stretch>
            </p:blipFill>
            <p:spPr bwMode="auto">
              <a:xfrm>
                <a:off x="7223125" y="3999371"/>
                <a:ext cx="1571625" cy="1133475"/>
              </a:xfrm>
              <a:prstGeom prst="rect">
                <a:avLst/>
              </a:prstGeom>
              <a:noFill/>
              <a:ln w="9525">
                <a:noFill/>
                <a:miter lim="800000"/>
                <a:headEnd/>
                <a:tailEnd/>
              </a:ln>
            </p:spPr>
          </p:pic>
          <p:sp>
            <p:nvSpPr>
              <p:cNvPr id="22" name="TextBox 21"/>
              <p:cNvSpPr txBox="1"/>
              <p:nvPr/>
            </p:nvSpPr>
            <p:spPr>
              <a:xfrm>
                <a:off x="7215871" y="5185803"/>
                <a:ext cx="1561424" cy="304681"/>
              </a:xfrm>
              <a:prstGeom prst="rect">
                <a:avLst/>
              </a:prstGeom>
              <a:noFill/>
            </p:spPr>
            <p:txBody>
              <a:bodyPr>
                <a:spAutoFit/>
              </a:bodyPr>
              <a:lstStyle/>
              <a:p>
                <a:pPr algn="ctr" fontAlgn="base">
                  <a:spcBef>
                    <a:spcPct val="0"/>
                  </a:spcBef>
                  <a:spcAft>
                    <a:spcPct val="0"/>
                  </a:spcAft>
                  <a:defRPr/>
                </a:pPr>
                <a:r>
                  <a:rPr lang="en-US" sz="1200" b="1" kern="0" dirty="0">
                    <a:solidFill>
                      <a:srgbClr val="000000">
                        <a:lumMod val="75000"/>
                      </a:srgbClr>
                    </a:solidFill>
                  </a:rPr>
                  <a:t>Global acquisitions</a:t>
                </a:r>
              </a:p>
            </p:txBody>
          </p:sp>
        </p:grpSp>
      </p:grpSp>
      <p:sp>
        <p:nvSpPr>
          <p:cNvPr id="3" name="Rounded Rectangle 2"/>
          <p:cNvSpPr/>
          <p:nvPr/>
        </p:nvSpPr>
        <p:spPr>
          <a:xfrm>
            <a:off x="189194" y="3359111"/>
            <a:ext cx="1716927" cy="1625581"/>
          </a:xfrm>
          <a:prstGeom prst="roundRect">
            <a:avLst>
              <a:gd name="adj" fmla="val 10532"/>
            </a:avLst>
          </a:prstGeom>
          <a:noFill/>
          <a:ln w="38100"/>
        </p:spPr>
        <p:style>
          <a:lnRef idx="2">
            <a:schemeClr val="accent3"/>
          </a:lnRef>
          <a:fillRef idx="1">
            <a:schemeClr val="lt1"/>
          </a:fillRef>
          <a:effectRef idx="0">
            <a:schemeClr val="accent3"/>
          </a:effectRef>
          <a:fontRef idx="minor">
            <a:schemeClr val="dk1"/>
          </a:fontRef>
        </p:style>
        <p:txBody>
          <a:bodyPr rtlCol="0" anchor="ctr"/>
          <a:lstStyle/>
          <a:p>
            <a:pPr algn="ctr"/>
            <a:endParaRPr lang="en-US" sz="1050">
              <a:solidFill>
                <a:srgbClr val="000000"/>
              </a:solidFill>
            </a:endParaRPr>
          </a:p>
        </p:txBody>
      </p:sp>
    </p:spTree>
    <p:extLst>
      <p:ext uri="{BB962C8B-B14F-4D97-AF65-F5344CB8AC3E}">
        <p14:creationId xmlns:p14="http://schemas.microsoft.com/office/powerpoint/2010/main" val="21000225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Unique and purpose-driven</a:t>
            </a:r>
            <a:endParaRPr lang="da-DK" dirty="0"/>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723978"/>
            <a:ext cx="8823641" cy="4419520"/>
          </a:xfrm>
          <a:prstGeom prst="rect">
            <a:avLst/>
          </a:prstGeom>
        </p:spPr>
      </p:pic>
      <p:sp>
        <p:nvSpPr>
          <p:cNvPr id="5" name="Rectangle 4"/>
          <p:cNvSpPr/>
          <p:nvPr/>
        </p:nvSpPr>
        <p:spPr>
          <a:xfrm rot="16200000">
            <a:off x="6138376" y="2125947"/>
            <a:ext cx="2387046" cy="3648056"/>
          </a:xfrm>
          <a:prstGeom prst="rect">
            <a:avLst/>
          </a:prstGeom>
          <a:gradFill flip="none" rotWithShape="1">
            <a:gsLst>
              <a:gs pos="0">
                <a:srgbClr val="ED4B3B"/>
              </a:gs>
              <a:gs pos="48000">
                <a:srgbClr val="7030A0"/>
              </a:gs>
            </a:gsLst>
            <a:lin ang="0" scaled="0"/>
            <a:tileRect/>
          </a:gra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 name="Rectangle 5"/>
          <p:cNvSpPr/>
          <p:nvPr/>
        </p:nvSpPr>
        <p:spPr>
          <a:xfrm>
            <a:off x="5954571" y="3081796"/>
            <a:ext cx="3189429" cy="1477328"/>
          </a:xfrm>
          <a:prstGeom prst="rect">
            <a:avLst/>
          </a:prstGeom>
        </p:spPr>
        <p:txBody>
          <a:bodyPr wrap="square">
            <a:spAutoFit/>
          </a:bodyPr>
          <a:lstStyle/>
          <a:p>
            <a:pPr algn="ctr"/>
            <a:r>
              <a:rPr lang="en-US" sz="1800" dirty="0" smtClean="0">
                <a:solidFill>
                  <a:schemeClr val="bg1"/>
                </a:solidFill>
              </a:rPr>
              <a:t>For </a:t>
            </a:r>
            <a:r>
              <a:rPr lang="en-US" sz="1800" dirty="0">
                <a:solidFill>
                  <a:schemeClr val="bg1"/>
                </a:solidFill>
              </a:rPr>
              <a:t>every $1 returned to </a:t>
            </a:r>
            <a:r>
              <a:rPr lang="en-US" sz="1800" dirty="0" smtClean="0">
                <a:solidFill>
                  <a:schemeClr val="bg1"/>
                </a:solidFill>
              </a:rPr>
              <a:t>shareholders by TCS</a:t>
            </a:r>
            <a:r>
              <a:rPr lang="en-US" sz="1800" dirty="0">
                <a:solidFill>
                  <a:schemeClr val="bg1"/>
                </a:solidFill>
              </a:rPr>
              <a:t>, </a:t>
            </a:r>
            <a:r>
              <a:rPr lang="en-US" sz="1800" dirty="0" smtClean="0">
                <a:solidFill>
                  <a:schemeClr val="bg1"/>
                </a:solidFill>
              </a:rPr>
              <a:t>$ 0.47</a:t>
            </a:r>
            <a:r>
              <a:rPr lang="en-US" sz="1800" dirty="0" smtClean="0">
                <a:solidFill>
                  <a:schemeClr val="bg1"/>
                </a:solidFill>
              </a:rPr>
              <a:t/>
            </a:r>
            <a:br>
              <a:rPr lang="en-US" sz="1800" dirty="0" smtClean="0">
                <a:solidFill>
                  <a:schemeClr val="bg1"/>
                </a:solidFill>
              </a:rPr>
            </a:br>
            <a:r>
              <a:rPr lang="en-US" sz="1800" dirty="0" smtClean="0">
                <a:solidFill>
                  <a:schemeClr val="bg1"/>
                </a:solidFill>
              </a:rPr>
              <a:t>goes </a:t>
            </a:r>
            <a:r>
              <a:rPr lang="en-US" sz="1800" dirty="0">
                <a:solidFill>
                  <a:schemeClr val="bg1"/>
                </a:solidFill>
              </a:rPr>
              <a:t>back to </a:t>
            </a:r>
            <a:r>
              <a:rPr lang="en-US" sz="1800" dirty="0" smtClean="0">
                <a:solidFill>
                  <a:schemeClr val="bg1"/>
                </a:solidFill>
              </a:rPr>
              <a:t>the community,</a:t>
            </a:r>
            <a:br>
              <a:rPr lang="en-US" sz="1800" dirty="0" smtClean="0">
                <a:solidFill>
                  <a:schemeClr val="bg1"/>
                </a:solidFill>
              </a:rPr>
            </a:br>
            <a:r>
              <a:rPr lang="en-US" sz="1800" dirty="0" smtClean="0">
                <a:solidFill>
                  <a:schemeClr val="bg1"/>
                </a:solidFill>
              </a:rPr>
              <a:t>giving TCS a unique,</a:t>
            </a:r>
            <a:br>
              <a:rPr lang="en-US" sz="1800" dirty="0" smtClean="0">
                <a:solidFill>
                  <a:schemeClr val="bg1"/>
                </a:solidFill>
              </a:rPr>
            </a:br>
            <a:r>
              <a:rPr lang="en-US" sz="1800" dirty="0" smtClean="0">
                <a:solidFill>
                  <a:schemeClr val="bg1"/>
                </a:solidFill>
              </a:rPr>
              <a:t>purpose-driven worldview</a:t>
            </a:r>
            <a:endParaRPr lang="en-US" sz="1800" dirty="0">
              <a:solidFill>
                <a:schemeClr val="bg1"/>
              </a:solidFill>
            </a:endParaRPr>
          </a:p>
        </p:txBody>
      </p:sp>
      <p:grpSp>
        <p:nvGrpSpPr>
          <p:cNvPr id="7" name="Group 6"/>
          <p:cNvGrpSpPr/>
          <p:nvPr/>
        </p:nvGrpSpPr>
        <p:grpSpPr>
          <a:xfrm>
            <a:off x="2983038" y="1048216"/>
            <a:ext cx="5714570" cy="1573192"/>
            <a:chOff x="3099659" y="1029540"/>
            <a:chExt cx="5714570" cy="1573192"/>
          </a:xfrm>
        </p:grpSpPr>
        <p:sp>
          <p:nvSpPr>
            <p:cNvPr id="8" name="TextBox 7"/>
            <p:cNvSpPr txBox="1"/>
            <p:nvPr/>
          </p:nvSpPr>
          <p:spPr>
            <a:xfrm>
              <a:off x="3504994" y="1155913"/>
              <a:ext cx="5309235" cy="1015663"/>
            </a:xfrm>
            <a:prstGeom prst="rect">
              <a:avLst/>
            </a:prstGeom>
            <a:noFill/>
          </p:spPr>
          <p:txBody>
            <a:bodyPr wrap="square" rtlCol="0">
              <a:spAutoFit/>
            </a:bodyPr>
            <a:lstStyle/>
            <a:p>
              <a:r>
                <a:rPr lang="en-US" sz="2000" dirty="0">
                  <a:solidFill>
                    <a:schemeClr val="tx1">
                      <a:lumMod val="75000"/>
                      <a:lumOff val="25000"/>
                    </a:schemeClr>
                  </a:solidFill>
                  <a:latin typeface="Myriad Pro" panose="020B0503030403020204" pitchFamily="34" charset="0"/>
                </a:rPr>
                <a:t>In a free enterprise, the community is not just another stakeholder in business, but is in fact the very purpose of its existence.</a:t>
              </a:r>
            </a:p>
          </p:txBody>
        </p:sp>
        <p:sp>
          <p:nvSpPr>
            <p:cNvPr id="9" name="TextBox 8"/>
            <p:cNvSpPr txBox="1"/>
            <p:nvPr/>
          </p:nvSpPr>
          <p:spPr>
            <a:xfrm>
              <a:off x="5456217" y="2141067"/>
              <a:ext cx="2988574" cy="461665"/>
            </a:xfrm>
            <a:prstGeom prst="rect">
              <a:avLst/>
            </a:prstGeom>
            <a:noFill/>
          </p:spPr>
          <p:txBody>
            <a:bodyPr wrap="square" rtlCol="0">
              <a:spAutoFit/>
            </a:bodyPr>
            <a:lstStyle/>
            <a:p>
              <a:pPr marL="171450" indent="-171450" algn="r">
                <a:buFontTx/>
                <a:buChar char="-"/>
              </a:pPr>
              <a:r>
                <a:rPr lang="en-US" sz="1200" b="1" dirty="0" smtClean="0">
                  <a:solidFill>
                    <a:schemeClr val="tx1">
                      <a:lumMod val="75000"/>
                      <a:lumOff val="25000"/>
                    </a:schemeClr>
                  </a:solidFill>
                  <a:latin typeface="Myriad Pro" panose="020B0503030403020204" pitchFamily="34" charset="0"/>
                </a:rPr>
                <a:t>J N Tata </a:t>
              </a:r>
            </a:p>
            <a:p>
              <a:pPr algn="r"/>
              <a:r>
                <a:rPr lang="en-US" sz="1200" i="1" dirty="0" smtClean="0">
                  <a:solidFill>
                    <a:schemeClr val="tx1">
                      <a:lumMod val="75000"/>
                      <a:lumOff val="25000"/>
                    </a:schemeClr>
                  </a:solidFill>
                  <a:latin typeface="Myriad Pro" panose="020B0503030403020204" pitchFamily="34" charset="0"/>
                </a:rPr>
                <a:t>1839-1904</a:t>
              </a:r>
              <a:endParaRPr lang="en-US" sz="1200" i="1" dirty="0">
                <a:solidFill>
                  <a:schemeClr val="tx1">
                    <a:lumMod val="75000"/>
                    <a:lumOff val="25000"/>
                  </a:schemeClr>
                </a:solidFill>
                <a:latin typeface="Myriad Pro" panose="020B0503030403020204" pitchFamily="34" charset="0"/>
              </a:endParaRPr>
            </a:p>
          </p:txBody>
        </p:sp>
        <p:pic>
          <p:nvPicPr>
            <p:cNvPr id="10" name="Picture 9"/>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099659" y="1029540"/>
              <a:ext cx="405334" cy="405334"/>
            </a:xfrm>
            <a:prstGeom prst="rect">
              <a:avLst/>
            </a:prstGeom>
          </p:spPr>
        </p:pic>
        <p:pic>
          <p:nvPicPr>
            <p:cNvPr id="11" name="Picture 10"/>
            <p:cNvPicPr>
              <a:picLocks noChangeAspect="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rot="10800000">
              <a:off x="7331899" y="1787096"/>
              <a:ext cx="405334" cy="405334"/>
            </a:xfrm>
            <a:prstGeom prst="rect">
              <a:avLst/>
            </a:prstGeom>
          </p:spPr>
        </p:pic>
      </p:grpSp>
      <p:pic>
        <p:nvPicPr>
          <p:cNvPr id="12" name="Pictur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78559" y="2576981"/>
            <a:ext cx="1010630" cy="1011899"/>
          </a:xfrm>
          <a:prstGeom prst="rect">
            <a:avLst/>
          </a:prstGeom>
        </p:spPr>
      </p:pic>
    </p:spTree>
    <p:extLst>
      <p:ext uri="{BB962C8B-B14F-4D97-AF65-F5344CB8AC3E}">
        <p14:creationId xmlns:p14="http://schemas.microsoft.com/office/powerpoint/2010/main" val="28740829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68393" tIns="34196" rIns="68393" bIns="34196" rtlCol="0" anchor="ctr">
            <a:normAutofit/>
          </a:bodyPr>
          <a:lstStyle/>
          <a:p>
            <a:r>
              <a:rPr lang="en-US" dirty="0"/>
              <a:t>Tata Consultancy Services at-a-glance</a:t>
            </a:r>
          </a:p>
        </p:txBody>
      </p:sp>
      <p:pic>
        <p:nvPicPr>
          <p:cNvPr id="46" name="Picture 45"/>
          <p:cNvPicPr>
            <a:picLocks noChangeAspect="1"/>
          </p:cNvPicPr>
          <p:nvPr/>
        </p:nvPicPr>
        <p:blipFill>
          <a:blip r:embed="rId3"/>
          <a:stretch>
            <a:fillRect/>
          </a:stretch>
        </p:blipFill>
        <p:spPr>
          <a:xfrm>
            <a:off x="6745571" y="1145260"/>
            <a:ext cx="1875347" cy="893323"/>
          </a:xfrm>
          <a:prstGeom prst="rect">
            <a:avLst/>
          </a:prstGeom>
        </p:spPr>
      </p:pic>
      <p:graphicFrame>
        <p:nvGraphicFramePr>
          <p:cNvPr id="54" name="Chart 53"/>
          <p:cNvGraphicFramePr/>
          <p:nvPr>
            <p:extLst>
              <p:ext uri="{D42A27DB-BD31-4B8C-83A1-F6EECF244321}">
                <p14:modId xmlns:p14="http://schemas.microsoft.com/office/powerpoint/2010/main" val="4052566921"/>
              </p:ext>
            </p:extLst>
          </p:nvPr>
        </p:nvGraphicFramePr>
        <p:xfrm>
          <a:off x="2228487" y="1237596"/>
          <a:ext cx="2904695" cy="2497626"/>
        </p:xfrm>
        <a:graphic>
          <a:graphicData uri="http://schemas.openxmlformats.org/drawingml/2006/chart">
            <c:chart xmlns:c="http://schemas.openxmlformats.org/drawingml/2006/chart" xmlns:r="http://schemas.openxmlformats.org/officeDocument/2006/relationships" r:id="rId4"/>
          </a:graphicData>
        </a:graphic>
      </p:graphicFrame>
      <p:pic>
        <p:nvPicPr>
          <p:cNvPr id="27" name="Picture 2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87260" y="1443335"/>
            <a:ext cx="1320221" cy="1313309"/>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9161" y="2506601"/>
            <a:ext cx="1788165" cy="953233"/>
          </a:xfrm>
          <a:prstGeom prst="rect">
            <a:avLst/>
          </a:prstGeom>
        </p:spPr>
      </p:pic>
      <p:grpSp>
        <p:nvGrpSpPr>
          <p:cNvPr id="3" name="Group 2"/>
          <p:cNvGrpSpPr/>
          <p:nvPr/>
        </p:nvGrpSpPr>
        <p:grpSpPr>
          <a:xfrm>
            <a:off x="262936" y="960162"/>
            <a:ext cx="496359" cy="496360"/>
            <a:chOff x="274778" y="527540"/>
            <a:chExt cx="496359" cy="496360"/>
          </a:xfrm>
        </p:grpSpPr>
        <p:sp>
          <p:nvSpPr>
            <p:cNvPr id="39" name="Freeform 33"/>
            <p:cNvSpPr>
              <a:spLocks/>
            </p:cNvSpPr>
            <p:nvPr/>
          </p:nvSpPr>
          <p:spPr bwMode="auto">
            <a:xfrm>
              <a:off x="280423" y="533564"/>
              <a:ext cx="490336" cy="490336"/>
            </a:xfrm>
            <a:custGeom>
              <a:avLst/>
              <a:gdLst>
                <a:gd name="T0" fmla="*/ 380 w 380"/>
                <a:gd name="T1" fmla="*/ 191 h 380"/>
                <a:gd name="T2" fmla="*/ 377 w 380"/>
                <a:gd name="T3" fmla="*/ 228 h 380"/>
                <a:gd name="T4" fmla="*/ 366 w 380"/>
                <a:gd name="T5" fmla="*/ 265 h 380"/>
                <a:gd name="T6" fmla="*/ 349 w 380"/>
                <a:gd name="T7" fmla="*/ 296 h 380"/>
                <a:gd name="T8" fmla="*/ 325 w 380"/>
                <a:gd name="T9" fmla="*/ 324 h 380"/>
                <a:gd name="T10" fmla="*/ 297 w 380"/>
                <a:gd name="T11" fmla="*/ 348 h 380"/>
                <a:gd name="T12" fmla="*/ 266 w 380"/>
                <a:gd name="T13" fmla="*/ 365 h 380"/>
                <a:gd name="T14" fmla="*/ 228 w 380"/>
                <a:gd name="T15" fmla="*/ 376 h 380"/>
                <a:gd name="T16" fmla="*/ 191 w 380"/>
                <a:gd name="T17" fmla="*/ 380 h 380"/>
                <a:gd name="T18" fmla="*/ 171 w 380"/>
                <a:gd name="T19" fmla="*/ 380 h 380"/>
                <a:gd name="T20" fmla="*/ 134 w 380"/>
                <a:gd name="T21" fmla="*/ 372 h 380"/>
                <a:gd name="T22" fmla="*/ 101 w 380"/>
                <a:gd name="T23" fmla="*/ 358 h 380"/>
                <a:gd name="T24" fmla="*/ 71 w 380"/>
                <a:gd name="T25" fmla="*/ 337 h 380"/>
                <a:gd name="T26" fmla="*/ 45 w 380"/>
                <a:gd name="T27" fmla="*/ 311 h 380"/>
                <a:gd name="T28" fmla="*/ 25 w 380"/>
                <a:gd name="T29" fmla="*/ 280 h 380"/>
                <a:gd name="T30" fmla="*/ 10 w 380"/>
                <a:gd name="T31" fmla="*/ 246 h 380"/>
                <a:gd name="T32" fmla="*/ 2 w 380"/>
                <a:gd name="T33" fmla="*/ 209 h 380"/>
                <a:gd name="T34" fmla="*/ 0 w 380"/>
                <a:gd name="T35" fmla="*/ 191 h 380"/>
                <a:gd name="T36" fmla="*/ 4 w 380"/>
                <a:gd name="T37" fmla="*/ 152 h 380"/>
                <a:gd name="T38" fmla="*/ 15 w 380"/>
                <a:gd name="T39" fmla="*/ 116 h 380"/>
                <a:gd name="T40" fmla="*/ 34 w 380"/>
                <a:gd name="T41" fmla="*/ 83 h 380"/>
                <a:gd name="T42" fmla="*/ 56 w 380"/>
                <a:gd name="T43" fmla="*/ 55 h 380"/>
                <a:gd name="T44" fmla="*/ 84 w 380"/>
                <a:gd name="T45" fmla="*/ 33 h 380"/>
                <a:gd name="T46" fmla="*/ 117 w 380"/>
                <a:gd name="T47" fmla="*/ 14 h 380"/>
                <a:gd name="T48" fmla="*/ 152 w 380"/>
                <a:gd name="T49" fmla="*/ 3 h 380"/>
                <a:gd name="T50" fmla="*/ 191 w 380"/>
                <a:gd name="T51" fmla="*/ 0 h 380"/>
                <a:gd name="T52" fmla="*/ 210 w 380"/>
                <a:gd name="T53" fmla="*/ 2 h 380"/>
                <a:gd name="T54" fmla="*/ 247 w 380"/>
                <a:gd name="T55" fmla="*/ 9 h 380"/>
                <a:gd name="T56" fmla="*/ 282 w 380"/>
                <a:gd name="T57" fmla="*/ 24 h 380"/>
                <a:gd name="T58" fmla="*/ 312 w 380"/>
                <a:gd name="T59" fmla="*/ 44 h 380"/>
                <a:gd name="T60" fmla="*/ 338 w 380"/>
                <a:gd name="T61" fmla="*/ 68 h 380"/>
                <a:gd name="T62" fmla="*/ 358 w 380"/>
                <a:gd name="T63" fmla="*/ 100 h 380"/>
                <a:gd name="T64" fmla="*/ 373 w 380"/>
                <a:gd name="T65" fmla="*/ 133 h 380"/>
                <a:gd name="T66" fmla="*/ 380 w 380"/>
                <a:gd name="T67" fmla="*/ 170 h 380"/>
                <a:gd name="T68" fmla="*/ 380 w 380"/>
                <a:gd name="T69" fmla="*/ 19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 h="380">
                  <a:moveTo>
                    <a:pt x="380" y="191"/>
                  </a:moveTo>
                  <a:lnTo>
                    <a:pt x="380" y="191"/>
                  </a:lnTo>
                  <a:lnTo>
                    <a:pt x="380" y="209"/>
                  </a:lnTo>
                  <a:lnTo>
                    <a:pt x="377" y="228"/>
                  </a:lnTo>
                  <a:lnTo>
                    <a:pt x="373" y="246"/>
                  </a:lnTo>
                  <a:lnTo>
                    <a:pt x="366" y="265"/>
                  </a:lnTo>
                  <a:lnTo>
                    <a:pt x="358" y="280"/>
                  </a:lnTo>
                  <a:lnTo>
                    <a:pt x="349" y="296"/>
                  </a:lnTo>
                  <a:lnTo>
                    <a:pt x="338" y="311"/>
                  </a:lnTo>
                  <a:lnTo>
                    <a:pt x="325" y="324"/>
                  </a:lnTo>
                  <a:lnTo>
                    <a:pt x="312" y="337"/>
                  </a:lnTo>
                  <a:lnTo>
                    <a:pt x="297" y="348"/>
                  </a:lnTo>
                  <a:lnTo>
                    <a:pt x="282" y="358"/>
                  </a:lnTo>
                  <a:lnTo>
                    <a:pt x="266" y="365"/>
                  </a:lnTo>
                  <a:lnTo>
                    <a:pt x="247" y="372"/>
                  </a:lnTo>
                  <a:lnTo>
                    <a:pt x="228" y="376"/>
                  </a:lnTo>
                  <a:lnTo>
                    <a:pt x="210" y="380"/>
                  </a:lnTo>
                  <a:lnTo>
                    <a:pt x="191" y="380"/>
                  </a:lnTo>
                  <a:lnTo>
                    <a:pt x="191" y="380"/>
                  </a:lnTo>
                  <a:lnTo>
                    <a:pt x="171" y="380"/>
                  </a:lnTo>
                  <a:lnTo>
                    <a:pt x="152" y="376"/>
                  </a:lnTo>
                  <a:lnTo>
                    <a:pt x="134" y="372"/>
                  </a:lnTo>
                  <a:lnTo>
                    <a:pt x="117" y="365"/>
                  </a:lnTo>
                  <a:lnTo>
                    <a:pt x="101" y="358"/>
                  </a:lnTo>
                  <a:lnTo>
                    <a:pt x="84" y="348"/>
                  </a:lnTo>
                  <a:lnTo>
                    <a:pt x="71" y="337"/>
                  </a:lnTo>
                  <a:lnTo>
                    <a:pt x="56" y="324"/>
                  </a:lnTo>
                  <a:lnTo>
                    <a:pt x="45" y="311"/>
                  </a:lnTo>
                  <a:lnTo>
                    <a:pt x="34" y="296"/>
                  </a:lnTo>
                  <a:lnTo>
                    <a:pt x="25" y="280"/>
                  </a:lnTo>
                  <a:lnTo>
                    <a:pt x="15" y="265"/>
                  </a:lnTo>
                  <a:lnTo>
                    <a:pt x="10" y="246"/>
                  </a:lnTo>
                  <a:lnTo>
                    <a:pt x="4" y="228"/>
                  </a:lnTo>
                  <a:lnTo>
                    <a:pt x="2" y="209"/>
                  </a:lnTo>
                  <a:lnTo>
                    <a:pt x="0" y="191"/>
                  </a:lnTo>
                  <a:lnTo>
                    <a:pt x="0" y="191"/>
                  </a:lnTo>
                  <a:lnTo>
                    <a:pt x="2" y="170"/>
                  </a:lnTo>
                  <a:lnTo>
                    <a:pt x="4" y="152"/>
                  </a:lnTo>
                  <a:lnTo>
                    <a:pt x="10" y="133"/>
                  </a:lnTo>
                  <a:lnTo>
                    <a:pt x="15" y="116"/>
                  </a:lnTo>
                  <a:lnTo>
                    <a:pt x="25" y="100"/>
                  </a:lnTo>
                  <a:lnTo>
                    <a:pt x="34" y="83"/>
                  </a:lnTo>
                  <a:lnTo>
                    <a:pt x="45" y="68"/>
                  </a:lnTo>
                  <a:lnTo>
                    <a:pt x="56" y="55"/>
                  </a:lnTo>
                  <a:lnTo>
                    <a:pt x="71" y="44"/>
                  </a:lnTo>
                  <a:lnTo>
                    <a:pt x="84" y="33"/>
                  </a:lnTo>
                  <a:lnTo>
                    <a:pt x="101" y="24"/>
                  </a:lnTo>
                  <a:lnTo>
                    <a:pt x="117" y="14"/>
                  </a:lnTo>
                  <a:lnTo>
                    <a:pt x="134" y="9"/>
                  </a:lnTo>
                  <a:lnTo>
                    <a:pt x="152" y="3"/>
                  </a:lnTo>
                  <a:lnTo>
                    <a:pt x="171" y="2"/>
                  </a:lnTo>
                  <a:lnTo>
                    <a:pt x="191" y="0"/>
                  </a:lnTo>
                  <a:lnTo>
                    <a:pt x="191" y="0"/>
                  </a:lnTo>
                  <a:lnTo>
                    <a:pt x="210" y="2"/>
                  </a:lnTo>
                  <a:lnTo>
                    <a:pt x="228" y="3"/>
                  </a:lnTo>
                  <a:lnTo>
                    <a:pt x="247" y="9"/>
                  </a:lnTo>
                  <a:lnTo>
                    <a:pt x="266" y="14"/>
                  </a:lnTo>
                  <a:lnTo>
                    <a:pt x="282" y="24"/>
                  </a:lnTo>
                  <a:lnTo>
                    <a:pt x="297" y="33"/>
                  </a:lnTo>
                  <a:lnTo>
                    <a:pt x="312" y="44"/>
                  </a:lnTo>
                  <a:lnTo>
                    <a:pt x="325" y="55"/>
                  </a:lnTo>
                  <a:lnTo>
                    <a:pt x="338" y="68"/>
                  </a:lnTo>
                  <a:lnTo>
                    <a:pt x="349" y="83"/>
                  </a:lnTo>
                  <a:lnTo>
                    <a:pt x="358" y="100"/>
                  </a:lnTo>
                  <a:lnTo>
                    <a:pt x="366" y="116"/>
                  </a:lnTo>
                  <a:lnTo>
                    <a:pt x="373" y="133"/>
                  </a:lnTo>
                  <a:lnTo>
                    <a:pt x="377" y="152"/>
                  </a:lnTo>
                  <a:lnTo>
                    <a:pt x="380" y="170"/>
                  </a:lnTo>
                  <a:lnTo>
                    <a:pt x="380" y="191"/>
                  </a:lnTo>
                  <a:lnTo>
                    <a:pt x="380" y="191"/>
                  </a:lnTo>
                  <a:close/>
                </a:path>
              </a:pathLst>
            </a:custGeom>
            <a:solidFill>
              <a:srgbClr val="F43A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40" name="Group 39"/>
            <p:cNvGrpSpPr/>
            <p:nvPr/>
          </p:nvGrpSpPr>
          <p:grpSpPr>
            <a:xfrm>
              <a:off x="274778" y="527540"/>
              <a:ext cx="496359" cy="496359"/>
              <a:chOff x="2170747" y="511709"/>
              <a:chExt cx="603250" cy="603250"/>
            </a:xfrm>
            <a:solidFill>
              <a:srgbClr val="A51779"/>
            </a:solidFill>
          </p:grpSpPr>
          <p:sp>
            <p:nvSpPr>
              <p:cNvPr id="41" name="Freeform 33"/>
              <p:cNvSpPr>
                <a:spLocks/>
              </p:cNvSpPr>
              <p:nvPr/>
            </p:nvSpPr>
            <p:spPr bwMode="auto">
              <a:xfrm>
                <a:off x="2170747" y="511709"/>
                <a:ext cx="603250" cy="603250"/>
              </a:xfrm>
              <a:custGeom>
                <a:avLst/>
                <a:gdLst>
                  <a:gd name="T0" fmla="*/ 380 w 380"/>
                  <a:gd name="T1" fmla="*/ 191 h 380"/>
                  <a:gd name="T2" fmla="*/ 377 w 380"/>
                  <a:gd name="T3" fmla="*/ 228 h 380"/>
                  <a:gd name="T4" fmla="*/ 366 w 380"/>
                  <a:gd name="T5" fmla="*/ 265 h 380"/>
                  <a:gd name="T6" fmla="*/ 349 w 380"/>
                  <a:gd name="T7" fmla="*/ 296 h 380"/>
                  <a:gd name="T8" fmla="*/ 325 w 380"/>
                  <a:gd name="T9" fmla="*/ 324 h 380"/>
                  <a:gd name="T10" fmla="*/ 297 w 380"/>
                  <a:gd name="T11" fmla="*/ 348 h 380"/>
                  <a:gd name="T12" fmla="*/ 266 w 380"/>
                  <a:gd name="T13" fmla="*/ 365 h 380"/>
                  <a:gd name="T14" fmla="*/ 228 w 380"/>
                  <a:gd name="T15" fmla="*/ 376 h 380"/>
                  <a:gd name="T16" fmla="*/ 191 w 380"/>
                  <a:gd name="T17" fmla="*/ 380 h 380"/>
                  <a:gd name="T18" fmla="*/ 171 w 380"/>
                  <a:gd name="T19" fmla="*/ 380 h 380"/>
                  <a:gd name="T20" fmla="*/ 134 w 380"/>
                  <a:gd name="T21" fmla="*/ 372 h 380"/>
                  <a:gd name="T22" fmla="*/ 101 w 380"/>
                  <a:gd name="T23" fmla="*/ 358 h 380"/>
                  <a:gd name="T24" fmla="*/ 71 w 380"/>
                  <a:gd name="T25" fmla="*/ 337 h 380"/>
                  <a:gd name="T26" fmla="*/ 45 w 380"/>
                  <a:gd name="T27" fmla="*/ 311 h 380"/>
                  <a:gd name="T28" fmla="*/ 25 w 380"/>
                  <a:gd name="T29" fmla="*/ 280 h 380"/>
                  <a:gd name="T30" fmla="*/ 10 w 380"/>
                  <a:gd name="T31" fmla="*/ 246 h 380"/>
                  <a:gd name="T32" fmla="*/ 2 w 380"/>
                  <a:gd name="T33" fmla="*/ 209 h 380"/>
                  <a:gd name="T34" fmla="*/ 0 w 380"/>
                  <a:gd name="T35" fmla="*/ 191 h 380"/>
                  <a:gd name="T36" fmla="*/ 4 w 380"/>
                  <a:gd name="T37" fmla="*/ 152 h 380"/>
                  <a:gd name="T38" fmla="*/ 15 w 380"/>
                  <a:gd name="T39" fmla="*/ 116 h 380"/>
                  <a:gd name="T40" fmla="*/ 34 w 380"/>
                  <a:gd name="T41" fmla="*/ 83 h 380"/>
                  <a:gd name="T42" fmla="*/ 56 w 380"/>
                  <a:gd name="T43" fmla="*/ 55 h 380"/>
                  <a:gd name="T44" fmla="*/ 84 w 380"/>
                  <a:gd name="T45" fmla="*/ 33 h 380"/>
                  <a:gd name="T46" fmla="*/ 117 w 380"/>
                  <a:gd name="T47" fmla="*/ 14 h 380"/>
                  <a:gd name="T48" fmla="*/ 152 w 380"/>
                  <a:gd name="T49" fmla="*/ 3 h 380"/>
                  <a:gd name="T50" fmla="*/ 191 w 380"/>
                  <a:gd name="T51" fmla="*/ 0 h 380"/>
                  <a:gd name="T52" fmla="*/ 210 w 380"/>
                  <a:gd name="T53" fmla="*/ 2 h 380"/>
                  <a:gd name="T54" fmla="*/ 247 w 380"/>
                  <a:gd name="T55" fmla="*/ 9 h 380"/>
                  <a:gd name="T56" fmla="*/ 282 w 380"/>
                  <a:gd name="T57" fmla="*/ 24 h 380"/>
                  <a:gd name="T58" fmla="*/ 312 w 380"/>
                  <a:gd name="T59" fmla="*/ 44 h 380"/>
                  <a:gd name="T60" fmla="*/ 338 w 380"/>
                  <a:gd name="T61" fmla="*/ 68 h 380"/>
                  <a:gd name="T62" fmla="*/ 358 w 380"/>
                  <a:gd name="T63" fmla="*/ 100 h 380"/>
                  <a:gd name="T64" fmla="*/ 373 w 380"/>
                  <a:gd name="T65" fmla="*/ 133 h 380"/>
                  <a:gd name="T66" fmla="*/ 380 w 380"/>
                  <a:gd name="T67" fmla="*/ 170 h 380"/>
                  <a:gd name="T68" fmla="*/ 380 w 380"/>
                  <a:gd name="T69" fmla="*/ 19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 h="380">
                    <a:moveTo>
                      <a:pt x="380" y="191"/>
                    </a:moveTo>
                    <a:lnTo>
                      <a:pt x="380" y="191"/>
                    </a:lnTo>
                    <a:lnTo>
                      <a:pt x="380" y="209"/>
                    </a:lnTo>
                    <a:lnTo>
                      <a:pt x="377" y="228"/>
                    </a:lnTo>
                    <a:lnTo>
                      <a:pt x="373" y="246"/>
                    </a:lnTo>
                    <a:lnTo>
                      <a:pt x="366" y="265"/>
                    </a:lnTo>
                    <a:lnTo>
                      <a:pt x="358" y="280"/>
                    </a:lnTo>
                    <a:lnTo>
                      <a:pt x="349" y="296"/>
                    </a:lnTo>
                    <a:lnTo>
                      <a:pt x="338" y="311"/>
                    </a:lnTo>
                    <a:lnTo>
                      <a:pt x="325" y="324"/>
                    </a:lnTo>
                    <a:lnTo>
                      <a:pt x="312" y="337"/>
                    </a:lnTo>
                    <a:lnTo>
                      <a:pt x="297" y="348"/>
                    </a:lnTo>
                    <a:lnTo>
                      <a:pt x="282" y="358"/>
                    </a:lnTo>
                    <a:lnTo>
                      <a:pt x="266" y="365"/>
                    </a:lnTo>
                    <a:lnTo>
                      <a:pt x="247" y="372"/>
                    </a:lnTo>
                    <a:lnTo>
                      <a:pt x="228" y="376"/>
                    </a:lnTo>
                    <a:lnTo>
                      <a:pt x="210" y="380"/>
                    </a:lnTo>
                    <a:lnTo>
                      <a:pt x="191" y="380"/>
                    </a:lnTo>
                    <a:lnTo>
                      <a:pt x="191" y="380"/>
                    </a:lnTo>
                    <a:lnTo>
                      <a:pt x="171" y="380"/>
                    </a:lnTo>
                    <a:lnTo>
                      <a:pt x="152" y="376"/>
                    </a:lnTo>
                    <a:lnTo>
                      <a:pt x="134" y="372"/>
                    </a:lnTo>
                    <a:lnTo>
                      <a:pt x="117" y="365"/>
                    </a:lnTo>
                    <a:lnTo>
                      <a:pt x="101" y="358"/>
                    </a:lnTo>
                    <a:lnTo>
                      <a:pt x="84" y="348"/>
                    </a:lnTo>
                    <a:lnTo>
                      <a:pt x="71" y="337"/>
                    </a:lnTo>
                    <a:lnTo>
                      <a:pt x="56" y="324"/>
                    </a:lnTo>
                    <a:lnTo>
                      <a:pt x="45" y="311"/>
                    </a:lnTo>
                    <a:lnTo>
                      <a:pt x="34" y="296"/>
                    </a:lnTo>
                    <a:lnTo>
                      <a:pt x="25" y="280"/>
                    </a:lnTo>
                    <a:lnTo>
                      <a:pt x="15" y="265"/>
                    </a:lnTo>
                    <a:lnTo>
                      <a:pt x="10" y="246"/>
                    </a:lnTo>
                    <a:lnTo>
                      <a:pt x="4" y="228"/>
                    </a:lnTo>
                    <a:lnTo>
                      <a:pt x="2" y="209"/>
                    </a:lnTo>
                    <a:lnTo>
                      <a:pt x="0" y="191"/>
                    </a:lnTo>
                    <a:lnTo>
                      <a:pt x="0" y="191"/>
                    </a:lnTo>
                    <a:lnTo>
                      <a:pt x="2" y="170"/>
                    </a:lnTo>
                    <a:lnTo>
                      <a:pt x="4" y="152"/>
                    </a:lnTo>
                    <a:lnTo>
                      <a:pt x="10" y="133"/>
                    </a:lnTo>
                    <a:lnTo>
                      <a:pt x="15" y="116"/>
                    </a:lnTo>
                    <a:lnTo>
                      <a:pt x="25" y="100"/>
                    </a:lnTo>
                    <a:lnTo>
                      <a:pt x="34" y="83"/>
                    </a:lnTo>
                    <a:lnTo>
                      <a:pt x="45" y="68"/>
                    </a:lnTo>
                    <a:lnTo>
                      <a:pt x="56" y="55"/>
                    </a:lnTo>
                    <a:lnTo>
                      <a:pt x="71" y="44"/>
                    </a:lnTo>
                    <a:lnTo>
                      <a:pt x="84" y="33"/>
                    </a:lnTo>
                    <a:lnTo>
                      <a:pt x="101" y="24"/>
                    </a:lnTo>
                    <a:lnTo>
                      <a:pt x="117" y="14"/>
                    </a:lnTo>
                    <a:lnTo>
                      <a:pt x="134" y="9"/>
                    </a:lnTo>
                    <a:lnTo>
                      <a:pt x="152" y="3"/>
                    </a:lnTo>
                    <a:lnTo>
                      <a:pt x="171" y="2"/>
                    </a:lnTo>
                    <a:lnTo>
                      <a:pt x="191" y="0"/>
                    </a:lnTo>
                    <a:lnTo>
                      <a:pt x="191" y="0"/>
                    </a:lnTo>
                    <a:lnTo>
                      <a:pt x="210" y="2"/>
                    </a:lnTo>
                    <a:lnTo>
                      <a:pt x="228" y="3"/>
                    </a:lnTo>
                    <a:lnTo>
                      <a:pt x="247" y="9"/>
                    </a:lnTo>
                    <a:lnTo>
                      <a:pt x="266" y="14"/>
                    </a:lnTo>
                    <a:lnTo>
                      <a:pt x="282" y="24"/>
                    </a:lnTo>
                    <a:lnTo>
                      <a:pt x="297" y="33"/>
                    </a:lnTo>
                    <a:lnTo>
                      <a:pt x="312" y="44"/>
                    </a:lnTo>
                    <a:lnTo>
                      <a:pt x="325" y="55"/>
                    </a:lnTo>
                    <a:lnTo>
                      <a:pt x="338" y="68"/>
                    </a:lnTo>
                    <a:lnTo>
                      <a:pt x="349" y="83"/>
                    </a:lnTo>
                    <a:lnTo>
                      <a:pt x="358" y="100"/>
                    </a:lnTo>
                    <a:lnTo>
                      <a:pt x="366" y="116"/>
                    </a:lnTo>
                    <a:lnTo>
                      <a:pt x="373" y="133"/>
                    </a:lnTo>
                    <a:lnTo>
                      <a:pt x="377" y="152"/>
                    </a:lnTo>
                    <a:lnTo>
                      <a:pt x="380" y="170"/>
                    </a:lnTo>
                    <a:lnTo>
                      <a:pt x="380" y="191"/>
                    </a:lnTo>
                    <a:lnTo>
                      <a:pt x="380" y="191"/>
                    </a:lnTo>
                    <a:close/>
                  </a:path>
                </a:pathLst>
              </a:custGeom>
              <a:gradFill>
                <a:gsLst>
                  <a:gs pos="0">
                    <a:srgbClr val="73459B"/>
                  </a:gs>
                  <a:gs pos="50000">
                    <a:srgbClr val="BA2983"/>
                  </a:gs>
                  <a:gs pos="100000">
                    <a:srgbClr val="F04D3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grpSp>
            <p:nvGrpSpPr>
              <p:cNvPr id="42" name="Group 4"/>
              <p:cNvGrpSpPr>
                <a:grpSpLocks noChangeAspect="1"/>
              </p:cNvGrpSpPr>
              <p:nvPr/>
            </p:nvGrpSpPr>
            <p:grpSpPr bwMode="auto">
              <a:xfrm>
                <a:off x="2290603" y="599287"/>
                <a:ext cx="355050" cy="403377"/>
                <a:chOff x="435" y="487"/>
                <a:chExt cx="360" cy="409"/>
              </a:xfrm>
              <a:grpFill/>
            </p:grpSpPr>
            <p:sp>
              <p:nvSpPr>
                <p:cNvPr id="43" name="Freeform 5"/>
                <p:cNvSpPr>
                  <a:spLocks/>
                </p:cNvSpPr>
                <p:nvPr/>
              </p:nvSpPr>
              <p:spPr bwMode="auto">
                <a:xfrm>
                  <a:off x="564" y="566"/>
                  <a:ext cx="102" cy="24"/>
                </a:xfrm>
                <a:custGeom>
                  <a:avLst/>
                  <a:gdLst>
                    <a:gd name="T0" fmla="*/ 408 w 447"/>
                    <a:gd name="T1" fmla="*/ 0 h 105"/>
                    <a:gd name="T2" fmla="*/ 359 w 447"/>
                    <a:gd name="T3" fmla="*/ 0 h 105"/>
                    <a:gd name="T4" fmla="*/ 88 w 447"/>
                    <a:gd name="T5" fmla="*/ 0 h 105"/>
                    <a:gd name="T6" fmla="*/ 40 w 447"/>
                    <a:gd name="T7" fmla="*/ 0 h 105"/>
                    <a:gd name="T8" fmla="*/ 0 w 447"/>
                    <a:gd name="T9" fmla="*/ 52 h 105"/>
                    <a:gd name="T10" fmla="*/ 16 w 447"/>
                    <a:gd name="T11" fmla="*/ 94 h 105"/>
                    <a:gd name="T12" fmla="*/ 40 w 447"/>
                    <a:gd name="T13" fmla="*/ 105 h 105"/>
                    <a:gd name="T14" fmla="*/ 408 w 447"/>
                    <a:gd name="T15" fmla="*/ 105 h 105"/>
                    <a:gd name="T16" fmla="*/ 432 w 447"/>
                    <a:gd name="T17" fmla="*/ 94 h 105"/>
                    <a:gd name="T18" fmla="*/ 447 w 447"/>
                    <a:gd name="T19" fmla="*/ 52 h 105"/>
                    <a:gd name="T20" fmla="*/ 408 w 447"/>
                    <a:gd name="T2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7" h="105">
                      <a:moveTo>
                        <a:pt x="408" y="0"/>
                      </a:moveTo>
                      <a:lnTo>
                        <a:pt x="359" y="0"/>
                      </a:lnTo>
                      <a:lnTo>
                        <a:pt x="88" y="0"/>
                      </a:lnTo>
                      <a:lnTo>
                        <a:pt x="40" y="0"/>
                      </a:lnTo>
                      <a:cubicBezTo>
                        <a:pt x="18" y="0"/>
                        <a:pt x="0" y="23"/>
                        <a:pt x="0" y="52"/>
                      </a:cubicBezTo>
                      <a:cubicBezTo>
                        <a:pt x="0" y="69"/>
                        <a:pt x="6" y="84"/>
                        <a:pt x="16" y="94"/>
                      </a:cubicBezTo>
                      <a:cubicBezTo>
                        <a:pt x="22" y="101"/>
                        <a:pt x="31" y="105"/>
                        <a:pt x="40" y="105"/>
                      </a:cubicBezTo>
                      <a:lnTo>
                        <a:pt x="408" y="105"/>
                      </a:lnTo>
                      <a:cubicBezTo>
                        <a:pt x="417" y="105"/>
                        <a:pt x="425" y="101"/>
                        <a:pt x="432" y="94"/>
                      </a:cubicBezTo>
                      <a:cubicBezTo>
                        <a:pt x="441" y="84"/>
                        <a:pt x="447" y="69"/>
                        <a:pt x="447" y="52"/>
                      </a:cubicBezTo>
                      <a:cubicBezTo>
                        <a:pt x="447" y="23"/>
                        <a:pt x="429" y="0"/>
                        <a:pt x="4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6"/>
                <p:cNvSpPr>
                  <a:spLocks/>
                </p:cNvSpPr>
                <p:nvPr/>
              </p:nvSpPr>
              <p:spPr bwMode="auto">
                <a:xfrm>
                  <a:off x="529" y="487"/>
                  <a:ext cx="172" cy="70"/>
                </a:xfrm>
                <a:custGeom>
                  <a:avLst/>
                  <a:gdLst>
                    <a:gd name="T0" fmla="*/ 222 w 747"/>
                    <a:gd name="T1" fmla="*/ 308 h 308"/>
                    <a:gd name="T2" fmla="*/ 238 w 747"/>
                    <a:gd name="T3" fmla="*/ 308 h 308"/>
                    <a:gd name="T4" fmla="*/ 509 w 747"/>
                    <a:gd name="T5" fmla="*/ 308 h 308"/>
                    <a:gd name="T6" fmla="*/ 525 w 747"/>
                    <a:gd name="T7" fmla="*/ 308 h 308"/>
                    <a:gd name="T8" fmla="*/ 747 w 747"/>
                    <a:gd name="T9" fmla="*/ 129 h 308"/>
                    <a:gd name="T10" fmla="*/ 374 w 747"/>
                    <a:gd name="T11" fmla="*/ 126 h 308"/>
                    <a:gd name="T12" fmla="*/ 0 w 747"/>
                    <a:gd name="T13" fmla="*/ 129 h 308"/>
                    <a:gd name="T14" fmla="*/ 222 w 747"/>
                    <a:gd name="T15" fmla="*/ 308 h 3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7" h="308">
                      <a:moveTo>
                        <a:pt x="222" y="308"/>
                      </a:moveTo>
                      <a:lnTo>
                        <a:pt x="238" y="308"/>
                      </a:lnTo>
                      <a:lnTo>
                        <a:pt x="509" y="308"/>
                      </a:lnTo>
                      <a:lnTo>
                        <a:pt x="525" y="308"/>
                      </a:lnTo>
                      <a:cubicBezTo>
                        <a:pt x="563" y="234"/>
                        <a:pt x="636" y="162"/>
                        <a:pt x="747" y="129"/>
                      </a:cubicBezTo>
                      <a:cubicBezTo>
                        <a:pt x="669" y="0"/>
                        <a:pt x="462" y="49"/>
                        <a:pt x="374" y="126"/>
                      </a:cubicBezTo>
                      <a:cubicBezTo>
                        <a:pt x="285" y="49"/>
                        <a:pt x="78" y="0"/>
                        <a:pt x="0" y="129"/>
                      </a:cubicBezTo>
                      <a:cubicBezTo>
                        <a:pt x="111" y="162"/>
                        <a:pt x="185" y="234"/>
                        <a:pt x="222" y="30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7"/>
                <p:cNvSpPr>
                  <a:spLocks/>
                </p:cNvSpPr>
                <p:nvPr/>
              </p:nvSpPr>
              <p:spPr bwMode="auto">
                <a:xfrm>
                  <a:off x="591" y="695"/>
                  <a:ext cx="20" cy="41"/>
                </a:xfrm>
                <a:custGeom>
                  <a:avLst/>
                  <a:gdLst>
                    <a:gd name="T0" fmla="*/ 27 w 91"/>
                    <a:gd name="T1" fmla="*/ 26 h 179"/>
                    <a:gd name="T2" fmla="*/ 0 w 91"/>
                    <a:gd name="T3" fmla="*/ 87 h 179"/>
                    <a:gd name="T4" fmla="*/ 20 w 91"/>
                    <a:gd name="T5" fmla="*/ 147 h 179"/>
                    <a:gd name="T6" fmla="*/ 75 w 91"/>
                    <a:gd name="T7" fmla="*/ 175 h 179"/>
                    <a:gd name="T8" fmla="*/ 91 w 91"/>
                    <a:gd name="T9" fmla="*/ 179 h 179"/>
                    <a:gd name="T10" fmla="*/ 91 w 91"/>
                    <a:gd name="T11" fmla="*/ 0 h 179"/>
                    <a:gd name="T12" fmla="*/ 76 w 91"/>
                    <a:gd name="T13" fmla="*/ 3 h 179"/>
                    <a:gd name="T14" fmla="*/ 27 w 91"/>
                    <a:gd name="T15" fmla="*/ 26 h 1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179">
                      <a:moveTo>
                        <a:pt x="27" y="26"/>
                      </a:moveTo>
                      <a:cubicBezTo>
                        <a:pt x="9" y="40"/>
                        <a:pt x="0" y="60"/>
                        <a:pt x="0" y="87"/>
                      </a:cubicBezTo>
                      <a:cubicBezTo>
                        <a:pt x="0" y="113"/>
                        <a:pt x="6" y="133"/>
                        <a:pt x="20" y="147"/>
                      </a:cubicBezTo>
                      <a:cubicBezTo>
                        <a:pt x="30" y="158"/>
                        <a:pt x="49" y="167"/>
                        <a:pt x="75" y="175"/>
                      </a:cubicBezTo>
                      <a:lnTo>
                        <a:pt x="91" y="179"/>
                      </a:lnTo>
                      <a:lnTo>
                        <a:pt x="91" y="0"/>
                      </a:lnTo>
                      <a:lnTo>
                        <a:pt x="76" y="3"/>
                      </a:lnTo>
                      <a:cubicBezTo>
                        <a:pt x="57" y="7"/>
                        <a:pt x="41" y="15"/>
                        <a:pt x="27"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8"/>
                <p:cNvSpPr>
                  <a:spLocks/>
                </p:cNvSpPr>
                <p:nvPr/>
              </p:nvSpPr>
              <p:spPr bwMode="auto">
                <a:xfrm>
                  <a:off x="627" y="758"/>
                  <a:ext cx="20" cy="41"/>
                </a:xfrm>
                <a:custGeom>
                  <a:avLst/>
                  <a:gdLst>
                    <a:gd name="T0" fmla="*/ 16 w 88"/>
                    <a:gd name="T1" fmla="*/ 4 h 180"/>
                    <a:gd name="T2" fmla="*/ 0 w 88"/>
                    <a:gd name="T3" fmla="*/ 0 h 180"/>
                    <a:gd name="T4" fmla="*/ 0 w 88"/>
                    <a:gd name="T5" fmla="*/ 180 h 180"/>
                    <a:gd name="T6" fmla="*/ 15 w 88"/>
                    <a:gd name="T7" fmla="*/ 177 h 180"/>
                    <a:gd name="T8" fmla="*/ 64 w 88"/>
                    <a:gd name="T9" fmla="*/ 154 h 180"/>
                    <a:gd name="T10" fmla="*/ 88 w 88"/>
                    <a:gd name="T11" fmla="*/ 90 h 180"/>
                    <a:gd name="T12" fmla="*/ 66 w 88"/>
                    <a:gd name="T13" fmla="*/ 29 h 180"/>
                    <a:gd name="T14" fmla="*/ 16 w 88"/>
                    <a:gd name="T15" fmla="*/ 4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80">
                      <a:moveTo>
                        <a:pt x="16" y="4"/>
                      </a:moveTo>
                      <a:lnTo>
                        <a:pt x="0" y="0"/>
                      </a:lnTo>
                      <a:lnTo>
                        <a:pt x="0" y="180"/>
                      </a:lnTo>
                      <a:lnTo>
                        <a:pt x="15" y="177"/>
                      </a:lnTo>
                      <a:cubicBezTo>
                        <a:pt x="36" y="172"/>
                        <a:pt x="52" y="165"/>
                        <a:pt x="64" y="154"/>
                      </a:cubicBezTo>
                      <a:cubicBezTo>
                        <a:pt x="80" y="140"/>
                        <a:pt x="88" y="118"/>
                        <a:pt x="88" y="90"/>
                      </a:cubicBezTo>
                      <a:cubicBezTo>
                        <a:pt x="88" y="62"/>
                        <a:pt x="81" y="42"/>
                        <a:pt x="66" y="29"/>
                      </a:cubicBezTo>
                      <a:cubicBezTo>
                        <a:pt x="55" y="19"/>
                        <a:pt x="38" y="11"/>
                        <a:pt x="1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9"/>
                <p:cNvSpPr>
                  <a:spLocks noEditPoints="1"/>
                </p:cNvSpPr>
                <p:nvPr/>
              </p:nvSpPr>
              <p:spPr bwMode="auto">
                <a:xfrm>
                  <a:off x="435" y="591"/>
                  <a:ext cx="360" cy="305"/>
                </a:xfrm>
                <a:custGeom>
                  <a:avLst/>
                  <a:gdLst>
                    <a:gd name="T0" fmla="*/ 1458 w 1569"/>
                    <a:gd name="T1" fmla="*/ 926 h 1327"/>
                    <a:gd name="T2" fmla="*/ 1348 w 1569"/>
                    <a:gd name="T3" fmla="*/ 537 h 1327"/>
                    <a:gd name="T4" fmla="*/ 1027 w 1569"/>
                    <a:gd name="T5" fmla="*/ 0 h 1327"/>
                    <a:gd name="T6" fmla="*/ 1019 w 1569"/>
                    <a:gd name="T7" fmla="*/ 10 h 1327"/>
                    <a:gd name="T8" fmla="*/ 969 w 1569"/>
                    <a:gd name="T9" fmla="*/ 32 h 1327"/>
                    <a:gd name="T10" fmla="*/ 601 w 1569"/>
                    <a:gd name="T11" fmla="*/ 32 h 1327"/>
                    <a:gd name="T12" fmla="*/ 550 w 1569"/>
                    <a:gd name="T13" fmla="*/ 10 h 1327"/>
                    <a:gd name="T14" fmla="*/ 542 w 1569"/>
                    <a:gd name="T15" fmla="*/ 0 h 1327"/>
                    <a:gd name="T16" fmla="*/ 221 w 1569"/>
                    <a:gd name="T17" fmla="*/ 537 h 1327"/>
                    <a:gd name="T18" fmla="*/ 111 w 1569"/>
                    <a:gd name="T19" fmla="*/ 926 h 1327"/>
                    <a:gd name="T20" fmla="*/ 666 w 1569"/>
                    <a:gd name="T21" fmla="*/ 1327 h 1327"/>
                    <a:gd name="T22" fmla="*/ 903 w 1569"/>
                    <a:gd name="T23" fmla="*/ 1327 h 1327"/>
                    <a:gd name="T24" fmla="*/ 1458 w 1569"/>
                    <a:gd name="T25" fmla="*/ 926 h 1327"/>
                    <a:gd name="T26" fmla="*/ 972 w 1569"/>
                    <a:gd name="T27" fmla="*/ 923 h 1327"/>
                    <a:gd name="T28" fmla="*/ 972 w 1569"/>
                    <a:gd name="T29" fmla="*/ 923 h 1327"/>
                    <a:gd name="T30" fmla="*/ 847 w 1569"/>
                    <a:gd name="T31" fmla="*/ 981 h 1327"/>
                    <a:gd name="T32" fmla="*/ 837 w 1569"/>
                    <a:gd name="T33" fmla="*/ 982 h 1327"/>
                    <a:gd name="T34" fmla="*/ 837 w 1569"/>
                    <a:gd name="T35" fmla="*/ 1086 h 1327"/>
                    <a:gd name="T36" fmla="*/ 769 w 1569"/>
                    <a:gd name="T37" fmla="*/ 1086 h 1327"/>
                    <a:gd name="T38" fmla="*/ 769 w 1569"/>
                    <a:gd name="T39" fmla="*/ 985 h 1327"/>
                    <a:gd name="T40" fmla="*/ 757 w 1569"/>
                    <a:gd name="T41" fmla="*/ 985 h 1327"/>
                    <a:gd name="T42" fmla="*/ 571 w 1569"/>
                    <a:gd name="T43" fmla="*/ 944 h 1327"/>
                    <a:gd name="T44" fmla="*/ 571 w 1569"/>
                    <a:gd name="T45" fmla="*/ 833 h 1327"/>
                    <a:gd name="T46" fmla="*/ 758 w 1569"/>
                    <a:gd name="T47" fmla="*/ 905 h 1327"/>
                    <a:gd name="T48" fmla="*/ 769 w 1569"/>
                    <a:gd name="T49" fmla="*/ 904 h 1327"/>
                    <a:gd name="T50" fmla="*/ 769 w 1569"/>
                    <a:gd name="T51" fmla="*/ 717 h 1327"/>
                    <a:gd name="T52" fmla="*/ 760 w 1569"/>
                    <a:gd name="T53" fmla="*/ 715 h 1327"/>
                    <a:gd name="T54" fmla="*/ 746 w 1569"/>
                    <a:gd name="T55" fmla="*/ 712 h 1327"/>
                    <a:gd name="T56" fmla="*/ 746 w 1569"/>
                    <a:gd name="T57" fmla="*/ 712 h 1327"/>
                    <a:gd name="T58" fmla="*/ 744 w 1569"/>
                    <a:gd name="T59" fmla="*/ 711 h 1327"/>
                    <a:gd name="T60" fmla="*/ 715 w 1569"/>
                    <a:gd name="T61" fmla="*/ 704 h 1327"/>
                    <a:gd name="T62" fmla="*/ 607 w 1569"/>
                    <a:gd name="T63" fmla="*/ 645 h 1327"/>
                    <a:gd name="T64" fmla="*/ 575 w 1569"/>
                    <a:gd name="T65" fmla="*/ 548 h 1327"/>
                    <a:gd name="T66" fmla="*/ 630 w 1569"/>
                    <a:gd name="T67" fmla="*/ 431 h 1327"/>
                    <a:gd name="T68" fmla="*/ 758 w 1569"/>
                    <a:gd name="T69" fmla="*/ 376 h 1327"/>
                    <a:gd name="T70" fmla="*/ 769 w 1569"/>
                    <a:gd name="T71" fmla="*/ 374 h 1327"/>
                    <a:gd name="T72" fmla="*/ 769 w 1569"/>
                    <a:gd name="T73" fmla="*/ 286 h 1327"/>
                    <a:gd name="T74" fmla="*/ 837 w 1569"/>
                    <a:gd name="T75" fmla="*/ 286 h 1327"/>
                    <a:gd name="T76" fmla="*/ 837 w 1569"/>
                    <a:gd name="T77" fmla="*/ 375 h 1327"/>
                    <a:gd name="T78" fmla="*/ 849 w 1569"/>
                    <a:gd name="T79" fmla="*/ 375 h 1327"/>
                    <a:gd name="T80" fmla="*/ 1005 w 1569"/>
                    <a:gd name="T81" fmla="*/ 409 h 1327"/>
                    <a:gd name="T82" fmla="*/ 1005 w 1569"/>
                    <a:gd name="T83" fmla="*/ 513 h 1327"/>
                    <a:gd name="T84" fmla="*/ 849 w 1569"/>
                    <a:gd name="T85" fmla="*/ 452 h 1327"/>
                    <a:gd name="T86" fmla="*/ 837 w 1569"/>
                    <a:gd name="T87" fmla="*/ 452 h 1327"/>
                    <a:gd name="T88" fmla="*/ 837 w 1569"/>
                    <a:gd name="T89" fmla="*/ 640 h 1327"/>
                    <a:gd name="T90" fmla="*/ 846 w 1569"/>
                    <a:gd name="T91" fmla="*/ 642 h 1327"/>
                    <a:gd name="T92" fmla="*/ 862 w 1569"/>
                    <a:gd name="T93" fmla="*/ 645 h 1327"/>
                    <a:gd name="T94" fmla="*/ 886 w 1569"/>
                    <a:gd name="T95" fmla="*/ 651 h 1327"/>
                    <a:gd name="T96" fmla="*/ 990 w 1569"/>
                    <a:gd name="T97" fmla="*/ 703 h 1327"/>
                    <a:gd name="T98" fmla="*/ 1028 w 1569"/>
                    <a:gd name="T99" fmla="*/ 804 h 1327"/>
                    <a:gd name="T100" fmla="*/ 972 w 1569"/>
                    <a:gd name="T101" fmla="*/ 923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9" h="1327">
                      <a:moveTo>
                        <a:pt x="1458" y="926"/>
                      </a:moveTo>
                      <a:cubicBezTo>
                        <a:pt x="1420" y="836"/>
                        <a:pt x="1361" y="757"/>
                        <a:pt x="1348" y="537"/>
                      </a:cubicBezTo>
                      <a:cubicBezTo>
                        <a:pt x="1333" y="253"/>
                        <a:pt x="1217" y="91"/>
                        <a:pt x="1027" y="0"/>
                      </a:cubicBezTo>
                      <a:cubicBezTo>
                        <a:pt x="1025" y="3"/>
                        <a:pt x="1022" y="7"/>
                        <a:pt x="1019" y="10"/>
                      </a:cubicBezTo>
                      <a:cubicBezTo>
                        <a:pt x="1005" y="24"/>
                        <a:pt x="987" y="32"/>
                        <a:pt x="969" y="32"/>
                      </a:cubicBezTo>
                      <a:lnTo>
                        <a:pt x="601" y="32"/>
                      </a:lnTo>
                      <a:cubicBezTo>
                        <a:pt x="582" y="32"/>
                        <a:pt x="564" y="24"/>
                        <a:pt x="550" y="10"/>
                      </a:cubicBezTo>
                      <a:cubicBezTo>
                        <a:pt x="547" y="7"/>
                        <a:pt x="544" y="3"/>
                        <a:pt x="542" y="0"/>
                      </a:cubicBezTo>
                      <a:cubicBezTo>
                        <a:pt x="352" y="91"/>
                        <a:pt x="237" y="253"/>
                        <a:pt x="221" y="537"/>
                      </a:cubicBezTo>
                      <a:cubicBezTo>
                        <a:pt x="209" y="757"/>
                        <a:pt x="149" y="836"/>
                        <a:pt x="111" y="926"/>
                      </a:cubicBezTo>
                      <a:cubicBezTo>
                        <a:pt x="0" y="1187"/>
                        <a:pt x="125" y="1327"/>
                        <a:pt x="666" y="1327"/>
                      </a:cubicBezTo>
                      <a:lnTo>
                        <a:pt x="903" y="1327"/>
                      </a:lnTo>
                      <a:cubicBezTo>
                        <a:pt x="1444" y="1327"/>
                        <a:pt x="1569" y="1187"/>
                        <a:pt x="1458" y="926"/>
                      </a:cubicBezTo>
                      <a:close/>
                      <a:moveTo>
                        <a:pt x="972" y="923"/>
                      </a:moveTo>
                      <a:lnTo>
                        <a:pt x="972" y="923"/>
                      </a:lnTo>
                      <a:cubicBezTo>
                        <a:pt x="939" y="953"/>
                        <a:pt x="897" y="972"/>
                        <a:pt x="847" y="981"/>
                      </a:cubicBezTo>
                      <a:lnTo>
                        <a:pt x="837" y="982"/>
                      </a:lnTo>
                      <a:lnTo>
                        <a:pt x="837" y="1086"/>
                      </a:lnTo>
                      <a:lnTo>
                        <a:pt x="769" y="1086"/>
                      </a:lnTo>
                      <a:lnTo>
                        <a:pt x="769" y="985"/>
                      </a:lnTo>
                      <a:lnTo>
                        <a:pt x="757" y="985"/>
                      </a:lnTo>
                      <a:cubicBezTo>
                        <a:pt x="679" y="986"/>
                        <a:pt x="601" y="962"/>
                        <a:pt x="571" y="944"/>
                      </a:cubicBezTo>
                      <a:lnTo>
                        <a:pt x="571" y="833"/>
                      </a:lnTo>
                      <a:cubicBezTo>
                        <a:pt x="614" y="867"/>
                        <a:pt x="695" y="913"/>
                        <a:pt x="758" y="905"/>
                      </a:cubicBezTo>
                      <a:lnTo>
                        <a:pt x="769" y="904"/>
                      </a:lnTo>
                      <a:lnTo>
                        <a:pt x="769" y="717"/>
                      </a:lnTo>
                      <a:lnTo>
                        <a:pt x="760" y="715"/>
                      </a:lnTo>
                      <a:lnTo>
                        <a:pt x="746" y="712"/>
                      </a:lnTo>
                      <a:lnTo>
                        <a:pt x="746" y="712"/>
                      </a:lnTo>
                      <a:cubicBezTo>
                        <a:pt x="746" y="712"/>
                        <a:pt x="744" y="711"/>
                        <a:pt x="744" y="711"/>
                      </a:cubicBezTo>
                      <a:cubicBezTo>
                        <a:pt x="732" y="709"/>
                        <a:pt x="722" y="706"/>
                        <a:pt x="715" y="704"/>
                      </a:cubicBezTo>
                      <a:cubicBezTo>
                        <a:pt x="664" y="691"/>
                        <a:pt x="628" y="671"/>
                        <a:pt x="607" y="645"/>
                      </a:cubicBezTo>
                      <a:cubicBezTo>
                        <a:pt x="586" y="619"/>
                        <a:pt x="575" y="586"/>
                        <a:pt x="575" y="548"/>
                      </a:cubicBezTo>
                      <a:cubicBezTo>
                        <a:pt x="575" y="504"/>
                        <a:pt x="593" y="464"/>
                        <a:pt x="630" y="431"/>
                      </a:cubicBezTo>
                      <a:cubicBezTo>
                        <a:pt x="663" y="402"/>
                        <a:pt x="706" y="383"/>
                        <a:pt x="758" y="376"/>
                      </a:cubicBezTo>
                      <a:lnTo>
                        <a:pt x="769" y="374"/>
                      </a:lnTo>
                      <a:lnTo>
                        <a:pt x="769" y="286"/>
                      </a:lnTo>
                      <a:lnTo>
                        <a:pt x="837" y="286"/>
                      </a:lnTo>
                      <a:lnTo>
                        <a:pt x="837" y="375"/>
                      </a:lnTo>
                      <a:lnTo>
                        <a:pt x="849" y="375"/>
                      </a:lnTo>
                      <a:cubicBezTo>
                        <a:pt x="890" y="375"/>
                        <a:pt x="973" y="392"/>
                        <a:pt x="1005" y="409"/>
                      </a:cubicBezTo>
                      <a:lnTo>
                        <a:pt x="1005" y="513"/>
                      </a:lnTo>
                      <a:cubicBezTo>
                        <a:pt x="958" y="477"/>
                        <a:pt x="891" y="453"/>
                        <a:pt x="849" y="452"/>
                      </a:cubicBezTo>
                      <a:lnTo>
                        <a:pt x="837" y="452"/>
                      </a:lnTo>
                      <a:lnTo>
                        <a:pt x="837" y="640"/>
                      </a:lnTo>
                      <a:lnTo>
                        <a:pt x="846" y="642"/>
                      </a:lnTo>
                      <a:cubicBezTo>
                        <a:pt x="851" y="643"/>
                        <a:pt x="857" y="644"/>
                        <a:pt x="862" y="645"/>
                      </a:cubicBezTo>
                      <a:cubicBezTo>
                        <a:pt x="871" y="647"/>
                        <a:pt x="879" y="649"/>
                        <a:pt x="886" y="651"/>
                      </a:cubicBezTo>
                      <a:cubicBezTo>
                        <a:pt x="930" y="661"/>
                        <a:pt x="966" y="678"/>
                        <a:pt x="990" y="703"/>
                      </a:cubicBezTo>
                      <a:cubicBezTo>
                        <a:pt x="1015" y="728"/>
                        <a:pt x="1028" y="762"/>
                        <a:pt x="1028" y="804"/>
                      </a:cubicBezTo>
                      <a:cubicBezTo>
                        <a:pt x="1028" y="850"/>
                        <a:pt x="1009" y="890"/>
                        <a:pt x="972" y="9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50" name="TextBox 49">
            <a:extLst>
              <a:ext uri="{FF2B5EF4-FFF2-40B4-BE49-F238E27FC236}">
                <a16:creationId xmlns:a16="http://schemas.microsoft.com/office/drawing/2014/main" id="{23939CBC-4E7A-8845-ADBE-AB4EF89AE5DC}"/>
              </a:ext>
            </a:extLst>
          </p:cNvPr>
          <p:cNvSpPr txBox="1"/>
          <p:nvPr/>
        </p:nvSpPr>
        <p:spPr>
          <a:xfrm>
            <a:off x="869425" y="1023042"/>
            <a:ext cx="1115942" cy="353094"/>
          </a:xfrm>
          <a:prstGeom prst="rect">
            <a:avLst/>
          </a:prstGeom>
          <a:noFill/>
        </p:spPr>
        <p:txBody>
          <a:bodyPr wrap="square" lIns="0" tIns="0" rIns="0" bIns="0" rtlCol="0">
            <a:noAutofit/>
          </a:bodyPr>
          <a:lstStyle/>
          <a:p>
            <a:r>
              <a:rPr lang="en-US" b="1"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19.09 </a:t>
            </a:r>
            <a:r>
              <a:rPr lang="en-US" b="1"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BN </a:t>
            </a:r>
          </a:p>
          <a:p>
            <a:r>
              <a:rPr lang="en-US" sz="900"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Revenue FY 18</a:t>
            </a:r>
            <a:endParaRPr lang="en-US" sz="900"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endParaRPr>
          </a:p>
        </p:txBody>
      </p:sp>
      <p:sp>
        <p:nvSpPr>
          <p:cNvPr id="52" name="Freeform 13"/>
          <p:cNvSpPr>
            <a:spLocks noEditPoints="1"/>
          </p:cNvSpPr>
          <p:nvPr/>
        </p:nvSpPr>
        <p:spPr bwMode="auto">
          <a:xfrm>
            <a:off x="869425" y="1515992"/>
            <a:ext cx="359837" cy="345298"/>
          </a:xfrm>
          <a:custGeom>
            <a:avLst/>
            <a:gdLst>
              <a:gd name="T0" fmla="*/ 408 w 829"/>
              <a:gd name="T1" fmla="*/ 816 h 816"/>
              <a:gd name="T2" fmla="*/ 383 w 829"/>
              <a:gd name="T3" fmla="*/ 1 h 816"/>
              <a:gd name="T4" fmla="*/ 498 w 829"/>
              <a:gd name="T5" fmla="*/ 25 h 816"/>
              <a:gd name="T6" fmla="*/ 536 w 829"/>
              <a:gd name="T7" fmla="*/ 63 h 816"/>
              <a:gd name="T8" fmla="*/ 536 w 829"/>
              <a:gd name="T9" fmla="*/ 0 h 816"/>
              <a:gd name="T10" fmla="*/ 498 w 829"/>
              <a:gd name="T11" fmla="*/ 113 h 816"/>
              <a:gd name="T12" fmla="*/ 536 w 829"/>
              <a:gd name="T13" fmla="*/ 151 h 816"/>
              <a:gd name="T14" fmla="*/ 536 w 829"/>
              <a:gd name="T15" fmla="*/ 88 h 816"/>
              <a:gd name="T16" fmla="*/ 588 w 829"/>
              <a:gd name="T17" fmla="*/ 201 h 816"/>
              <a:gd name="T18" fmla="*/ 625 w 829"/>
              <a:gd name="T19" fmla="*/ 239 h 816"/>
              <a:gd name="T20" fmla="*/ 625 w 829"/>
              <a:gd name="T21" fmla="*/ 176 h 816"/>
              <a:gd name="T22" fmla="*/ 498 w 829"/>
              <a:gd name="T23" fmla="*/ 201 h 816"/>
              <a:gd name="T24" fmla="*/ 536 w 829"/>
              <a:gd name="T25" fmla="*/ 239 h 816"/>
              <a:gd name="T26" fmla="*/ 536 w 829"/>
              <a:gd name="T27" fmla="*/ 176 h 816"/>
              <a:gd name="T28" fmla="*/ 766 w 829"/>
              <a:gd name="T29" fmla="*/ 289 h 816"/>
              <a:gd name="T30" fmla="*/ 804 w 829"/>
              <a:gd name="T31" fmla="*/ 327 h 816"/>
              <a:gd name="T32" fmla="*/ 804 w 829"/>
              <a:gd name="T33" fmla="*/ 264 h 816"/>
              <a:gd name="T34" fmla="*/ 677 w 829"/>
              <a:gd name="T35" fmla="*/ 289 h 816"/>
              <a:gd name="T36" fmla="*/ 715 w 829"/>
              <a:gd name="T37" fmla="*/ 327 h 816"/>
              <a:gd name="T38" fmla="*/ 715 w 829"/>
              <a:gd name="T39" fmla="*/ 264 h 816"/>
              <a:gd name="T40" fmla="*/ 588 w 829"/>
              <a:gd name="T41" fmla="*/ 289 h 816"/>
              <a:gd name="T42" fmla="*/ 625 w 829"/>
              <a:gd name="T43" fmla="*/ 327 h 816"/>
              <a:gd name="T44" fmla="*/ 625 w 829"/>
              <a:gd name="T45" fmla="*/ 264 h 816"/>
              <a:gd name="T46" fmla="*/ 498 w 829"/>
              <a:gd name="T47" fmla="*/ 289 h 816"/>
              <a:gd name="T48" fmla="*/ 536 w 829"/>
              <a:gd name="T49" fmla="*/ 327 h 816"/>
              <a:gd name="T50" fmla="*/ 536 w 829"/>
              <a:gd name="T51" fmla="*/ 264 h 816"/>
              <a:gd name="T52" fmla="*/ 766 w 829"/>
              <a:gd name="T53" fmla="*/ 377 h 816"/>
              <a:gd name="T54" fmla="*/ 804 w 829"/>
              <a:gd name="T55" fmla="*/ 414 h 816"/>
              <a:gd name="T56" fmla="*/ 804 w 829"/>
              <a:gd name="T57" fmla="*/ 352 h 816"/>
              <a:gd name="T58" fmla="*/ 677 w 829"/>
              <a:gd name="T59" fmla="*/ 377 h 816"/>
              <a:gd name="T60" fmla="*/ 715 w 829"/>
              <a:gd name="T61" fmla="*/ 414 h 816"/>
              <a:gd name="T62" fmla="*/ 715 w 829"/>
              <a:gd name="T63" fmla="*/ 352 h 816"/>
              <a:gd name="T64" fmla="*/ 588 w 829"/>
              <a:gd name="T65" fmla="*/ 377 h 816"/>
              <a:gd name="T66" fmla="*/ 625 w 829"/>
              <a:gd name="T67" fmla="*/ 414 h 816"/>
              <a:gd name="T68" fmla="*/ 625 w 829"/>
              <a:gd name="T69" fmla="*/ 352 h 816"/>
              <a:gd name="T70" fmla="*/ 498 w 829"/>
              <a:gd name="T71" fmla="*/ 377 h 816"/>
              <a:gd name="T72" fmla="*/ 536 w 829"/>
              <a:gd name="T73" fmla="*/ 414 h 816"/>
              <a:gd name="T74" fmla="*/ 536 w 829"/>
              <a:gd name="T75" fmla="*/ 352 h 816"/>
              <a:gd name="T76" fmla="*/ 409 w 829"/>
              <a:gd name="T77" fmla="*/ 25 h 816"/>
              <a:gd name="T78" fmla="*/ 447 w 829"/>
              <a:gd name="T79" fmla="*/ 63 h 816"/>
              <a:gd name="T80" fmla="*/ 447 w 829"/>
              <a:gd name="T81" fmla="*/ 0 h 816"/>
              <a:gd name="T82" fmla="*/ 409 w 829"/>
              <a:gd name="T83" fmla="*/ 113 h 816"/>
              <a:gd name="T84" fmla="*/ 447 w 829"/>
              <a:gd name="T85" fmla="*/ 151 h 816"/>
              <a:gd name="T86" fmla="*/ 447 w 829"/>
              <a:gd name="T87" fmla="*/ 88 h 816"/>
              <a:gd name="T88" fmla="*/ 409 w 829"/>
              <a:gd name="T89" fmla="*/ 201 h 816"/>
              <a:gd name="T90" fmla="*/ 447 w 829"/>
              <a:gd name="T91" fmla="*/ 239 h 816"/>
              <a:gd name="T92" fmla="*/ 447 w 829"/>
              <a:gd name="T93" fmla="*/ 176 h 816"/>
              <a:gd name="T94" fmla="*/ 409 w 829"/>
              <a:gd name="T95" fmla="*/ 289 h 816"/>
              <a:gd name="T96" fmla="*/ 447 w 829"/>
              <a:gd name="T97" fmla="*/ 327 h 816"/>
              <a:gd name="T98" fmla="*/ 447 w 829"/>
              <a:gd name="T99" fmla="*/ 264 h 816"/>
              <a:gd name="T100" fmla="*/ 409 w 829"/>
              <a:gd name="T101" fmla="*/ 377 h 816"/>
              <a:gd name="T102" fmla="*/ 447 w 829"/>
              <a:gd name="T103" fmla="*/ 414 h 816"/>
              <a:gd name="T104" fmla="*/ 447 w 829"/>
              <a:gd name="T105" fmla="*/ 352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9" h="816">
                <a:moveTo>
                  <a:pt x="383" y="1"/>
                </a:moveTo>
                <a:cubicBezTo>
                  <a:pt x="169" y="15"/>
                  <a:pt x="0" y="191"/>
                  <a:pt x="0" y="408"/>
                </a:cubicBezTo>
                <a:cubicBezTo>
                  <a:pt x="0" y="633"/>
                  <a:pt x="183" y="816"/>
                  <a:pt x="408" y="816"/>
                </a:cubicBezTo>
                <a:cubicBezTo>
                  <a:pt x="625" y="816"/>
                  <a:pt x="802" y="647"/>
                  <a:pt x="815" y="434"/>
                </a:cubicBezTo>
                <a:lnTo>
                  <a:pt x="383" y="434"/>
                </a:lnTo>
                <a:lnTo>
                  <a:pt x="383" y="1"/>
                </a:lnTo>
                <a:close/>
                <a:moveTo>
                  <a:pt x="536" y="0"/>
                </a:moveTo>
                <a:lnTo>
                  <a:pt x="524" y="0"/>
                </a:lnTo>
                <a:cubicBezTo>
                  <a:pt x="510" y="0"/>
                  <a:pt x="498" y="11"/>
                  <a:pt x="498" y="25"/>
                </a:cubicBezTo>
                <a:lnTo>
                  <a:pt x="498" y="38"/>
                </a:lnTo>
                <a:cubicBezTo>
                  <a:pt x="498" y="52"/>
                  <a:pt x="510" y="63"/>
                  <a:pt x="524" y="63"/>
                </a:cubicBezTo>
                <a:lnTo>
                  <a:pt x="536" y="63"/>
                </a:lnTo>
                <a:cubicBezTo>
                  <a:pt x="550" y="63"/>
                  <a:pt x="561" y="52"/>
                  <a:pt x="561" y="38"/>
                </a:cubicBezTo>
                <a:lnTo>
                  <a:pt x="561" y="25"/>
                </a:lnTo>
                <a:cubicBezTo>
                  <a:pt x="561" y="11"/>
                  <a:pt x="550" y="0"/>
                  <a:pt x="536" y="0"/>
                </a:cubicBezTo>
                <a:close/>
                <a:moveTo>
                  <a:pt x="536" y="88"/>
                </a:moveTo>
                <a:lnTo>
                  <a:pt x="524" y="88"/>
                </a:lnTo>
                <a:cubicBezTo>
                  <a:pt x="510" y="88"/>
                  <a:pt x="498" y="99"/>
                  <a:pt x="498" y="113"/>
                </a:cubicBezTo>
                <a:lnTo>
                  <a:pt x="498" y="126"/>
                </a:lnTo>
                <a:cubicBezTo>
                  <a:pt x="498" y="140"/>
                  <a:pt x="510" y="151"/>
                  <a:pt x="524" y="151"/>
                </a:cubicBezTo>
                <a:lnTo>
                  <a:pt x="536" y="151"/>
                </a:lnTo>
                <a:cubicBezTo>
                  <a:pt x="550" y="151"/>
                  <a:pt x="561" y="140"/>
                  <a:pt x="561" y="126"/>
                </a:cubicBezTo>
                <a:lnTo>
                  <a:pt x="561" y="113"/>
                </a:lnTo>
                <a:cubicBezTo>
                  <a:pt x="561" y="99"/>
                  <a:pt x="550" y="88"/>
                  <a:pt x="536" y="88"/>
                </a:cubicBezTo>
                <a:close/>
                <a:moveTo>
                  <a:pt x="625" y="176"/>
                </a:moveTo>
                <a:lnTo>
                  <a:pt x="613" y="176"/>
                </a:lnTo>
                <a:cubicBezTo>
                  <a:pt x="599" y="176"/>
                  <a:pt x="588" y="187"/>
                  <a:pt x="588" y="201"/>
                </a:cubicBezTo>
                <a:lnTo>
                  <a:pt x="588" y="214"/>
                </a:lnTo>
                <a:cubicBezTo>
                  <a:pt x="588" y="227"/>
                  <a:pt x="599" y="239"/>
                  <a:pt x="613" y="239"/>
                </a:cubicBezTo>
                <a:lnTo>
                  <a:pt x="625" y="239"/>
                </a:lnTo>
                <a:cubicBezTo>
                  <a:pt x="639" y="239"/>
                  <a:pt x="651" y="227"/>
                  <a:pt x="651" y="214"/>
                </a:cubicBezTo>
                <a:lnTo>
                  <a:pt x="651" y="201"/>
                </a:lnTo>
                <a:cubicBezTo>
                  <a:pt x="651" y="187"/>
                  <a:pt x="639" y="176"/>
                  <a:pt x="625" y="176"/>
                </a:cubicBezTo>
                <a:close/>
                <a:moveTo>
                  <a:pt x="536" y="176"/>
                </a:moveTo>
                <a:lnTo>
                  <a:pt x="524" y="176"/>
                </a:lnTo>
                <a:cubicBezTo>
                  <a:pt x="510" y="176"/>
                  <a:pt x="498" y="187"/>
                  <a:pt x="498" y="201"/>
                </a:cubicBezTo>
                <a:lnTo>
                  <a:pt x="498" y="214"/>
                </a:lnTo>
                <a:cubicBezTo>
                  <a:pt x="498" y="227"/>
                  <a:pt x="510" y="239"/>
                  <a:pt x="524" y="239"/>
                </a:cubicBezTo>
                <a:lnTo>
                  <a:pt x="536" y="239"/>
                </a:lnTo>
                <a:cubicBezTo>
                  <a:pt x="550" y="239"/>
                  <a:pt x="561" y="227"/>
                  <a:pt x="561" y="214"/>
                </a:cubicBezTo>
                <a:lnTo>
                  <a:pt x="561" y="201"/>
                </a:lnTo>
                <a:cubicBezTo>
                  <a:pt x="561" y="187"/>
                  <a:pt x="550" y="176"/>
                  <a:pt x="536" y="176"/>
                </a:cubicBezTo>
                <a:close/>
                <a:moveTo>
                  <a:pt x="804" y="264"/>
                </a:moveTo>
                <a:lnTo>
                  <a:pt x="791" y="264"/>
                </a:lnTo>
                <a:cubicBezTo>
                  <a:pt x="778" y="264"/>
                  <a:pt x="766" y="275"/>
                  <a:pt x="766" y="289"/>
                </a:cubicBezTo>
                <a:lnTo>
                  <a:pt x="766" y="301"/>
                </a:lnTo>
                <a:cubicBezTo>
                  <a:pt x="766" y="315"/>
                  <a:pt x="778" y="327"/>
                  <a:pt x="791" y="327"/>
                </a:cubicBezTo>
                <a:lnTo>
                  <a:pt x="804" y="327"/>
                </a:lnTo>
                <a:cubicBezTo>
                  <a:pt x="818" y="327"/>
                  <a:pt x="829" y="315"/>
                  <a:pt x="829" y="301"/>
                </a:cubicBezTo>
                <a:lnTo>
                  <a:pt x="829" y="289"/>
                </a:lnTo>
                <a:cubicBezTo>
                  <a:pt x="829" y="275"/>
                  <a:pt x="818" y="264"/>
                  <a:pt x="804" y="264"/>
                </a:cubicBezTo>
                <a:close/>
                <a:moveTo>
                  <a:pt x="715" y="264"/>
                </a:moveTo>
                <a:lnTo>
                  <a:pt x="702" y="264"/>
                </a:lnTo>
                <a:cubicBezTo>
                  <a:pt x="688" y="264"/>
                  <a:pt x="677" y="275"/>
                  <a:pt x="677" y="289"/>
                </a:cubicBezTo>
                <a:lnTo>
                  <a:pt x="677" y="301"/>
                </a:lnTo>
                <a:cubicBezTo>
                  <a:pt x="677" y="315"/>
                  <a:pt x="688" y="327"/>
                  <a:pt x="702" y="327"/>
                </a:cubicBezTo>
                <a:lnTo>
                  <a:pt x="715" y="327"/>
                </a:lnTo>
                <a:cubicBezTo>
                  <a:pt x="729" y="327"/>
                  <a:pt x="740" y="315"/>
                  <a:pt x="740" y="301"/>
                </a:cubicBezTo>
                <a:lnTo>
                  <a:pt x="740" y="289"/>
                </a:lnTo>
                <a:cubicBezTo>
                  <a:pt x="740" y="275"/>
                  <a:pt x="729" y="264"/>
                  <a:pt x="715" y="264"/>
                </a:cubicBezTo>
                <a:close/>
                <a:moveTo>
                  <a:pt x="625" y="264"/>
                </a:moveTo>
                <a:lnTo>
                  <a:pt x="613" y="264"/>
                </a:lnTo>
                <a:cubicBezTo>
                  <a:pt x="599" y="264"/>
                  <a:pt x="588" y="275"/>
                  <a:pt x="588" y="289"/>
                </a:cubicBezTo>
                <a:lnTo>
                  <a:pt x="588" y="301"/>
                </a:lnTo>
                <a:cubicBezTo>
                  <a:pt x="588" y="315"/>
                  <a:pt x="599" y="327"/>
                  <a:pt x="613" y="327"/>
                </a:cubicBezTo>
                <a:lnTo>
                  <a:pt x="625" y="327"/>
                </a:lnTo>
                <a:cubicBezTo>
                  <a:pt x="639" y="327"/>
                  <a:pt x="651" y="315"/>
                  <a:pt x="651" y="301"/>
                </a:cubicBezTo>
                <a:lnTo>
                  <a:pt x="651" y="289"/>
                </a:lnTo>
                <a:cubicBezTo>
                  <a:pt x="651" y="275"/>
                  <a:pt x="639" y="264"/>
                  <a:pt x="625" y="264"/>
                </a:cubicBezTo>
                <a:close/>
                <a:moveTo>
                  <a:pt x="536" y="264"/>
                </a:moveTo>
                <a:lnTo>
                  <a:pt x="524" y="264"/>
                </a:lnTo>
                <a:cubicBezTo>
                  <a:pt x="510" y="264"/>
                  <a:pt x="498" y="275"/>
                  <a:pt x="498" y="289"/>
                </a:cubicBezTo>
                <a:lnTo>
                  <a:pt x="498" y="301"/>
                </a:lnTo>
                <a:cubicBezTo>
                  <a:pt x="498" y="315"/>
                  <a:pt x="510" y="327"/>
                  <a:pt x="524" y="327"/>
                </a:cubicBezTo>
                <a:lnTo>
                  <a:pt x="536" y="327"/>
                </a:lnTo>
                <a:cubicBezTo>
                  <a:pt x="550" y="327"/>
                  <a:pt x="561" y="315"/>
                  <a:pt x="561" y="301"/>
                </a:cubicBezTo>
                <a:lnTo>
                  <a:pt x="561" y="289"/>
                </a:lnTo>
                <a:cubicBezTo>
                  <a:pt x="561" y="275"/>
                  <a:pt x="550" y="264"/>
                  <a:pt x="536" y="264"/>
                </a:cubicBezTo>
                <a:close/>
                <a:moveTo>
                  <a:pt x="804" y="352"/>
                </a:moveTo>
                <a:lnTo>
                  <a:pt x="791" y="352"/>
                </a:lnTo>
                <a:cubicBezTo>
                  <a:pt x="778" y="352"/>
                  <a:pt x="766" y="363"/>
                  <a:pt x="766" y="377"/>
                </a:cubicBezTo>
                <a:lnTo>
                  <a:pt x="766" y="389"/>
                </a:lnTo>
                <a:cubicBezTo>
                  <a:pt x="766" y="403"/>
                  <a:pt x="778" y="414"/>
                  <a:pt x="791" y="414"/>
                </a:cubicBezTo>
                <a:lnTo>
                  <a:pt x="804" y="414"/>
                </a:lnTo>
                <a:cubicBezTo>
                  <a:pt x="818" y="414"/>
                  <a:pt x="829" y="403"/>
                  <a:pt x="829" y="389"/>
                </a:cubicBezTo>
                <a:lnTo>
                  <a:pt x="829" y="377"/>
                </a:lnTo>
                <a:cubicBezTo>
                  <a:pt x="829" y="363"/>
                  <a:pt x="818" y="352"/>
                  <a:pt x="804" y="352"/>
                </a:cubicBezTo>
                <a:close/>
                <a:moveTo>
                  <a:pt x="715" y="352"/>
                </a:moveTo>
                <a:lnTo>
                  <a:pt x="702" y="352"/>
                </a:lnTo>
                <a:cubicBezTo>
                  <a:pt x="688" y="352"/>
                  <a:pt x="677" y="363"/>
                  <a:pt x="677" y="377"/>
                </a:cubicBezTo>
                <a:lnTo>
                  <a:pt x="677" y="389"/>
                </a:lnTo>
                <a:cubicBezTo>
                  <a:pt x="677" y="403"/>
                  <a:pt x="688" y="414"/>
                  <a:pt x="702" y="414"/>
                </a:cubicBezTo>
                <a:lnTo>
                  <a:pt x="715" y="414"/>
                </a:lnTo>
                <a:cubicBezTo>
                  <a:pt x="729" y="414"/>
                  <a:pt x="740" y="403"/>
                  <a:pt x="740" y="389"/>
                </a:cubicBezTo>
                <a:lnTo>
                  <a:pt x="740" y="377"/>
                </a:lnTo>
                <a:cubicBezTo>
                  <a:pt x="740" y="363"/>
                  <a:pt x="729" y="352"/>
                  <a:pt x="715" y="352"/>
                </a:cubicBezTo>
                <a:close/>
                <a:moveTo>
                  <a:pt x="625" y="352"/>
                </a:moveTo>
                <a:lnTo>
                  <a:pt x="613" y="352"/>
                </a:lnTo>
                <a:cubicBezTo>
                  <a:pt x="599" y="352"/>
                  <a:pt x="588" y="363"/>
                  <a:pt x="588" y="377"/>
                </a:cubicBezTo>
                <a:lnTo>
                  <a:pt x="588" y="389"/>
                </a:lnTo>
                <a:cubicBezTo>
                  <a:pt x="588" y="403"/>
                  <a:pt x="599" y="414"/>
                  <a:pt x="613" y="414"/>
                </a:cubicBezTo>
                <a:lnTo>
                  <a:pt x="625" y="414"/>
                </a:lnTo>
                <a:cubicBezTo>
                  <a:pt x="639" y="414"/>
                  <a:pt x="651" y="403"/>
                  <a:pt x="651" y="389"/>
                </a:cubicBezTo>
                <a:lnTo>
                  <a:pt x="651" y="377"/>
                </a:lnTo>
                <a:cubicBezTo>
                  <a:pt x="651" y="363"/>
                  <a:pt x="639" y="352"/>
                  <a:pt x="625" y="352"/>
                </a:cubicBezTo>
                <a:close/>
                <a:moveTo>
                  <a:pt x="536" y="352"/>
                </a:moveTo>
                <a:lnTo>
                  <a:pt x="524" y="352"/>
                </a:lnTo>
                <a:cubicBezTo>
                  <a:pt x="510" y="352"/>
                  <a:pt x="498" y="363"/>
                  <a:pt x="498" y="377"/>
                </a:cubicBezTo>
                <a:lnTo>
                  <a:pt x="498" y="389"/>
                </a:lnTo>
                <a:cubicBezTo>
                  <a:pt x="498" y="403"/>
                  <a:pt x="510" y="414"/>
                  <a:pt x="524" y="414"/>
                </a:cubicBezTo>
                <a:lnTo>
                  <a:pt x="536" y="414"/>
                </a:lnTo>
                <a:cubicBezTo>
                  <a:pt x="550" y="414"/>
                  <a:pt x="561" y="403"/>
                  <a:pt x="561" y="389"/>
                </a:cubicBezTo>
                <a:lnTo>
                  <a:pt x="561" y="377"/>
                </a:lnTo>
                <a:cubicBezTo>
                  <a:pt x="561" y="363"/>
                  <a:pt x="550" y="352"/>
                  <a:pt x="536" y="352"/>
                </a:cubicBezTo>
                <a:close/>
                <a:moveTo>
                  <a:pt x="447" y="0"/>
                </a:moveTo>
                <a:lnTo>
                  <a:pt x="434" y="0"/>
                </a:lnTo>
                <a:cubicBezTo>
                  <a:pt x="420" y="0"/>
                  <a:pt x="409" y="11"/>
                  <a:pt x="409" y="25"/>
                </a:cubicBezTo>
                <a:lnTo>
                  <a:pt x="409" y="38"/>
                </a:lnTo>
                <a:cubicBezTo>
                  <a:pt x="409" y="52"/>
                  <a:pt x="420" y="63"/>
                  <a:pt x="434" y="63"/>
                </a:cubicBezTo>
                <a:lnTo>
                  <a:pt x="447" y="63"/>
                </a:lnTo>
                <a:cubicBezTo>
                  <a:pt x="461" y="63"/>
                  <a:pt x="472" y="52"/>
                  <a:pt x="472" y="38"/>
                </a:cubicBezTo>
                <a:lnTo>
                  <a:pt x="472" y="25"/>
                </a:lnTo>
                <a:cubicBezTo>
                  <a:pt x="472" y="11"/>
                  <a:pt x="461" y="0"/>
                  <a:pt x="447" y="0"/>
                </a:cubicBezTo>
                <a:close/>
                <a:moveTo>
                  <a:pt x="447" y="88"/>
                </a:moveTo>
                <a:lnTo>
                  <a:pt x="434" y="88"/>
                </a:lnTo>
                <a:cubicBezTo>
                  <a:pt x="420" y="88"/>
                  <a:pt x="409" y="99"/>
                  <a:pt x="409" y="113"/>
                </a:cubicBezTo>
                <a:lnTo>
                  <a:pt x="409" y="126"/>
                </a:lnTo>
                <a:cubicBezTo>
                  <a:pt x="409" y="140"/>
                  <a:pt x="420" y="151"/>
                  <a:pt x="434" y="151"/>
                </a:cubicBezTo>
                <a:lnTo>
                  <a:pt x="447" y="151"/>
                </a:lnTo>
                <a:cubicBezTo>
                  <a:pt x="461" y="151"/>
                  <a:pt x="472" y="140"/>
                  <a:pt x="472" y="126"/>
                </a:cubicBezTo>
                <a:lnTo>
                  <a:pt x="472" y="113"/>
                </a:lnTo>
                <a:cubicBezTo>
                  <a:pt x="472" y="99"/>
                  <a:pt x="461" y="88"/>
                  <a:pt x="447" y="88"/>
                </a:cubicBezTo>
                <a:close/>
                <a:moveTo>
                  <a:pt x="447" y="176"/>
                </a:moveTo>
                <a:lnTo>
                  <a:pt x="434" y="176"/>
                </a:lnTo>
                <a:cubicBezTo>
                  <a:pt x="420" y="176"/>
                  <a:pt x="409" y="187"/>
                  <a:pt x="409" y="201"/>
                </a:cubicBezTo>
                <a:lnTo>
                  <a:pt x="409" y="214"/>
                </a:lnTo>
                <a:cubicBezTo>
                  <a:pt x="409" y="227"/>
                  <a:pt x="420" y="239"/>
                  <a:pt x="434" y="239"/>
                </a:cubicBezTo>
                <a:lnTo>
                  <a:pt x="447" y="239"/>
                </a:lnTo>
                <a:cubicBezTo>
                  <a:pt x="461" y="239"/>
                  <a:pt x="472" y="227"/>
                  <a:pt x="472" y="214"/>
                </a:cubicBezTo>
                <a:lnTo>
                  <a:pt x="472" y="201"/>
                </a:lnTo>
                <a:cubicBezTo>
                  <a:pt x="472" y="187"/>
                  <a:pt x="461" y="176"/>
                  <a:pt x="447" y="176"/>
                </a:cubicBezTo>
                <a:close/>
                <a:moveTo>
                  <a:pt x="447" y="264"/>
                </a:moveTo>
                <a:lnTo>
                  <a:pt x="434" y="264"/>
                </a:lnTo>
                <a:cubicBezTo>
                  <a:pt x="420" y="264"/>
                  <a:pt x="409" y="275"/>
                  <a:pt x="409" y="289"/>
                </a:cubicBezTo>
                <a:lnTo>
                  <a:pt x="409" y="301"/>
                </a:lnTo>
                <a:cubicBezTo>
                  <a:pt x="409" y="315"/>
                  <a:pt x="420" y="327"/>
                  <a:pt x="434" y="327"/>
                </a:cubicBezTo>
                <a:lnTo>
                  <a:pt x="447" y="327"/>
                </a:lnTo>
                <a:cubicBezTo>
                  <a:pt x="461" y="327"/>
                  <a:pt x="472" y="315"/>
                  <a:pt x="472" y="301"/>
                </a:cubicBezTo>
                <a:lnTo>
                  <a:pt x="472" y="289"/>
                </a:lnTo>
                <a:cubicBezTo>
                  <a:pt x="472" y="275"/>
                  <a:pt x="461" y="264"/>
                  <a:pt x="447" y="264"/>
                </a:cubicBezTo>
                <a:close/>
                <a:moveTo>
                  <a:pt x="447" y="352"/>
                </a:moveTo>
                <a:lnTo>
                  <a:pt x="434" y="352"/>
                </a:lnTo>
                <a:cubicBezTo>
                  <a:pt x="420" y="352"/>
                  <a:pt x="409" y="363"/>
                  <a:pt x="409" y="377"/>
                </a:cubicBezTo>
                <a:lnTo>
                  <a:pt x="409" y="389"/>
                </a:lnTo>
                <a:cubicBezTo>
                  <a:pt x="409" y="403"/>
                  <a:pt x="420" y="414"/>
                  <a:pt x="434" y="414"/>
                </a:cubicBezTo>
                <a:lnTo>
                  <a:pt x="447" y="414"/>
                </a:lnTo>
                <a:cubicBezTo>
                  <a:pt x="461" y="414"/>
                  <a:pt x="472" y="403"/>
                  <a:pt x="472" y="389"/>
                </a:cubicBezTo>
                <a:lnTo>
                  <a:pt x="472" y="377"/>
                </a:lnTo>
                <a:cubicBezTo>
                  <a:pt x="472" y="363"/>
                  <a:pt x="461" y="352"/>
                  <a:pt x="447" y="3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Freeform 17"/>
          <p:cNvSpPr>
            <a:spLocks noEditPoints="1"/>
          </p:cNvSpPr>
          <p:nvPr/>
        </p:nvSpPr>
        <p:spPr bwMode="auto">
          <a:xfrm>
            <a:off x="869425" y="2036201"/>
            <a:ext cx="346195" cy="325527"/>
          </a:xfrm>
          <a:custGeom>
            <a:avLst/>
            <a:gdLst>
              <a:gd name="T0" fmla="*/ 0 w 6914"/>
              <a:gd name="T1" fmla="*/ 6497 h 6501"/>
              <a:gd name="T2" fmla="*/ 2172 w 6914"/>
              <a:gd name="T3" fmla="*/ 3406 h 6501"/>
              <a:gd name="T4" fmla="*/ 2258 w 6914"/>
              <a:gd name="T5" fmla="*/ 3412 h 6501"/>
              <a:gd name="T6" fmla="*/ 2406 w 6914"/>
              <a:gd name="T7" fmla="*/ 3408 h 6501"/>
              <a:gd name="T8" fmla="*/ 4357 w 6914"/>
              <a:gd name="T9" fmla="*/ 6471 h 6501"/>
              <a:gd name="T10" fmla="*/ 6305 w 6914"/>
              <a:gd name="T11" fmla="*/ 5680 h 6501"/>
              <a:gd name="T12" fmla="*/ 6914 w 6914"/>
              <a:gd name="T13" fmla="*/ 6501 h 6501"/>
              <a:gd name="T14" fmla="*/ 0 w 6914"/>
              <a:gd name="T15" fmla="*/ 6497 h 6501"/>
              <a:gd name="T16" fmla="*/ 2213 w 6914"/>
              <a:gd name="T17" fmla="*/ 0 h 6501"/>
              <a:gd name="T18" fmla="*/ 2358 w 6914"/>
              <a:gd name="T19" fmla="*/ 0 h 6501"/>
              <a:gd name="T20" fmla="*/ 2358 w 6914"/>
              <a:gd name="T21" fmla="*/ 3321 h 6501"/>
              <a:gd name="T22" fmla="*/ 2213 w 6914"/>
              <a:gd name="T23" fmla="*/ 3321 h 6501"/>
              <a:gd name="T24" fmla="*/ 2213 w 6914"/>
              <a:gd name="T25" fmla="*/ 0 h 6501"/>
              <a:gd name="T26" fmla="*/ 4850 w 6914"/>
              <a:gd name="T27" fmla="*/ 344 h 6501"/>
              <a:gd name="T28" fmla="*/ 3845 w 6914"/>
              <a:gd name="T29" fmla="*/ 344 h 6501"/>
              <a:gd name="T30" fmla="*/ 3845 w 6914"/>
              <a:gd name="T31" fmla="*/ 1297 h 6501"/>
              <a:gd name="T32" fmla="*/ 3554 w 6914"/>
              <a:gd name="T33" fmla="*/ 1297 h 6501"/>
              <a:gd name="T34" fmla="*/ 3554 w 6914"/>
              <a:gd name="T35" fmla="*/ 1469 h 6501"/>
              <a:gd name="T36" fmla="*/ 4850 w 6914"/>
              <a:gd name="T37" fmla="*/ 1469 h 6501"/>
              <a:gd name="T38" fmla="*/ 4400 w 6914"/>
              <a:gd name="T39" fmla="*/ 926 h 6501"/>
              <a:gd name="T40" fmla="*/ 4850 w 6914"/>
              <a:gd name="T41" fmla="*/ 344 h 6501"/>
              <a:gd name="T42" fmla="*/ 2416 w 6914"/>
              <a:gd name="T43" fmla="*/ 159 h 6501"/>
              <a:gd name="T44" fmla="*/ 3779 w 6914"/>
              <a:gd name="T45" fmla="*/ 159 h 6501"/>
              <a:gd name="T46" fmla="*/ 3779 w 6914"/>
              <a:gd name="T47" fmla="*/ 1244 h 6501"/>
              <a:gd name="T48" fmla="*/ 2416 w 6914"/>
              <a:gd name="T49" fmla="*/ 1244 h 6501"/>
              <a:gd name="T50" fmla="*/ 2416 w 6914"/>
              <a:gd name="T51" fmla="*/ 159 h 6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14" h="6501">
                <a:moveTo>
                  <a:pt x="0" y="6497"/>
                </a:moveTo>
                <a:lnTo>
                  <a:pt x="2172" y="3406"/>
                </a:lnTo>
                <a:lnTo>
                  <a:pt x="2258" y="3412"/>
                </a:lnTo>
                <a:lnTo>
                  <a:pt x="2406" y="3408"/>
                </a:lnTo>
                <a:lnTo>
                  <a:pt x="4357" y="6471"/>
                </a:lnTo>
                <a:lnTo>
                  <a:pt x="6305" y="5680"/>
                </a:lnTo>
                <a:lnTo>
                  <a:pt x="6914" y="6501"/>
                </a:lnTo>
                <a:lnTo>
                  <a:pt x="0" y="6497"/>
                </a:lnTo>
                <a:close/>
                <a:moveTo>
                  <a:pt x="2213" y="0"/>
                </a:moveTo>
                <a:lnTo>
                  <a:pt x="2358" y="0"/>
                </a:lnTo>
                <a:lnTo>
                  <a:pt x="2358" y="3321"/>
                </a:lnTo>
                <a:lnTo>
                  <a:pt x="2213" y="3321"/>
                </a:lnTo>
                <a:lnTo>
                  <a:pt x="2213" y="0"/>
                </a:lnTo>
                <a:close/>
                <a:moveTo>
                  <a:pt x="4850" y="344"/>
                </a:moveTo>
                <a:lnTo>
                  <a:pt x="3845" y="344"/>
                </a:lnTo>
                <a:lnTo>
                  <a:pt x="3845" y="1297"/>
                </a:lnTo>
                <a:lnTo>
                  <a:pt x="3554" y="1297"/>
                </a:lnTo>
                <a:lnTo>
                  <a:pt x="3554" y="1469"/>
                </a:lnTo>
                <a:lnTo>
                  <a:pt x="4850" y="1469"/>
                </a:lnTo>
                <a:lnTo>
                  <a:pt x="4400" y="926"/>
                </a:lnTo>
                <a:lnTo>
                  <a:pt x="4850" y="344"/>
                </a:lnTo>
                <a:close/>
                <a:moveTo>
                  <a:pt x="2416" y="159"/>
                </a:moveTo>
                <a:lnTo>
                  <a:pt x="3779" y="159"/>
                </a:lnTo>
                <a:lnTo>
                  <a:pt x="3779" y="1244"/>
                </a:lnTo>
                <a:lnTo>
                  <a:pt x="2416" y="1244"/>
                </a:lnTo>
                <a:lnTo>
                  <a:pt x="2416" y="1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TextBox 55">
            <a:extLst>
              <a:ext uri="{FF2B5EF4-FFF2-40B4-BE49-F238E27FC236}">
                <a16:creationId xmlns:a16="http://schemas.microsoft.com/office/drawing/2014/main" id="{716491D1-3CE8-9C4A-BBF9-FE67DC54B968}"/>
              </a:ext>
            </a:extLst>
          </p:cNvPr>
          <p:cNvSpPr txBox="1"/>
          <p:nvPr/>
        </p:nvSpPr>
        <p:spPr>
          <a:xfrm>
            <a:off x="869425" y="2191628"/>
            <a:ext cx="1123132" cy="414052"/>
          </a:xfrm>
          <a:prstGeom prst="rect">
            <a:avLst/>
          </a:prstGeom>
          <a:noFill/>
        </p:spPr>
        <p:txBody>
          <a:bodyPr wrap="square" lIns="0" tIns="0" rIns="0" bIns="0" rtlCol="0">
            <a:noAutofit/>
          </a:bodyPr>
          <a:lstStyle/>
          <a:p>
            <a:r>
              <a:rPr lang="en-US" b="1"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900+ </a:t>
            </a:r>
          </a:p>
          <a:p>
            <a:r>
              <a:rPr lang="en-US" sz="900"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Clients  46 </a:t>
            </a:r>
            <a:r>
              <a:rPr lang="en-US" sz="900"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countries</a:t>
            </a:r>
            <a:endParaRPr lang="en-US" sz="1050"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endParaRPr>
          </a:p>
        </p:txBody>
      </p:sp>
      <p:grpSp>
        <p:nvGrpSpPr>
          <p:cNvPr id="4" name="Group 3"/>
          <p:cNvGrpSpPr/>
          <p:nvPr/>
        </p:nvGrpSpPr>
        <p:grpSpPr>
          <a:xfrm>
            <a:off x="262936" y="2140688"/>
            <a:ext cx="490336" cy="490336"/>
            <a:chOff x="1223335" y="2094768"/>
            <a:chExt cx="490336" cy="490336"/>
          </a:xfrm>
        </p:grpSpPr>
        <p:sp>
          <p:nvSpPr>
            <p:cNvPr id="34" name="Freeform 33"/>
            <p:cNvSpPr>
              <a:spLocks/>
            </p:cNvSpPr>
            <p:nvPr/>
          </p:nvSpPr>
          <p:spPr bwMode="auto">
            <a:xfrm>
              <a:off x="1223335" y="2094768"/>
              <a:ext cx="490336" cy="490336"/>
            </a:xfrm>
            <a:custGeom>
              <a:avLst/>
              <a:gdLst>
                <a:gd name="T0" fmla="*/ 380 w 380"/>
                <a:gd name="T1" fmla="*/ 191 h 380"/>
                <a:gd name="T2" fmla="*/ 377 w 380"/>
                <a:gd name="T3" fmla="*/ 228 h 380"/>
                <a:gd name="T4" fmla="*/ 366 w 380"/>
                <a:gd name="T5" fmla="*/ 265 h 380"/>
                <a:gd name="T6" fmla="*/ 349 w 380"/>
                <a:gd name="T7" fmla="*/ 296 h 380"/>
                <a:gd name="T8" fmla="*/ 325 w 380"/>
                <a:gd name="T9" fmla="*/ 324 h 380"/>
                <a:gd name="T10" fmla="*/ 297 w 380"/>
                <a:gd name="T11" fmla="*/ 348 h 380"/>
                <a:gd name="T12" fmla="*/ 266 w 380"/>
                <a:gd name="T13" fmla="*/ 365 h 380"/>
                <a:gd name="T14" fmla="*/ 228 w 380"/>
                <a:gd name="T15" fmla="*/ 376 h 380"/>
                <a:gd name="T16" fmla="*/ 191 w 380"/>
                <a:gd name="T17" fmla="*/ 380 h 380"/>
                <a:gd name="T18" fmla="*/ 171 w 380"/>
                <a:gd name="T19" fmla="*/ 380 h 380"/>
                <a:gd name="T20" fmla="*/ 134 w 380"/>
                <a:gd name="T21" fmla="*/ 372 h 380"/>
                <a:gd name="T22" fmla="*/ 101 w 380"/>
                <a:gd name="T23" fmla="*/ 358 h 380"/>
                <a:gd name="T24" fmla="*/ 71 w 380"/>
                <a:gd name="T25" fmla="*/ 337 h 380"/>
                <a:gd name="T26" fmla="*/ 45 w 380"/>
                <a:gd name="T27" fmla="*/ 311 h 380"/>
                <a:gd name="T28" fmla="*/ 25 w 380"/>
                <a:gd name="T29" fmla="*/ 280 h 380"/>
                <a:gd name="T30" fmla="*/ 10 w 380"/>
                <a:gd name="T31" fmla="*/ 246 h 380"/>
                <a:gd name="T32" fmla="*/ 2 w 380"/>
                <a:gd name="T33" fmla="*/ 209 h 380"/>
                <a:gd name="T34" fmla="*/ 0 w 380"/>
                <a:gd name="T35" fmla="*/ 191 h 380"/>
                <a:gd name="T36" fmla="*/ 4 w 380"/>
                <a:gd name="T37" fmla="*/ 152 h 380"/>
                <a:gd name="T38" fmla="*/ 15 w 380"/>
                <a:gd name="T39" fmla="*/ 116 h 380"/>
                <a:gd name="T40" fmla="*/ 34 w 380"/>
                <a:gd name="T41" fmla="*/ 83 h 380"/>
                <a:gd name="T42" fmla="*/ 56 w 380"/>
                <a:gd name="T43" fmla="*/ 55 h 380"/>
                <a:gd name="T44" fmla="*/ 84 w 380"/>
                <a:gd name="T45" fmla="*/ 33 h 380"/>
                <a:gd name="T46" fmla="*/ 117 w 380"/>
                <a:gd name="T47" fmla="*/ 14 h 380"/>
                <a:gd name="T48" fmla="*/ 152 w 380"/>
                <a:gd name="T49" fmla="*/ 3 h 380"/>
                <a:gd name="T50" fmla="*/ 191 w 380"/>
                <a:gd name="T51" fmla="*/ 0 h 380"/>
                <a:gd name="T52" fmla="*/ 210 w 380"/>
                <a:gd name="T53" fmla="*/ 2 h 380"/>
                <a:gd name="T54" fmla="*/ 247 w 380"/>
                <a:gd name="T55" fmla="*/ 9 h 380"/>
                <a:gd name="T56" fmla="*/ 282 w 380"/>
                <a:gd name="T57" fmla="*/ 24 h 380"/>
                <a:gd name="T58" fmla="*/ 312 w 380"/>
                <a:gd name="T59" fmla="*/ 44 h 380"/>
                <a:gd name="T60" fmla="*/ 338 w 380"/>
                <a:gd name="T61" fmla="*/ 68 h 380"/>
                <a:gd name="T62" fmla="*/ 358 w 380"/>
                <a:gd name="T63" fmla="*/ 100 h 380"/>
                <a:gd name="T64" fmla="*/ 373 w 380"/>
                <a:gd name="T65" fmla="*/ 133 h 380"/>
                <a:gd name="T66" fmla="*/ 380 w 380"/>
                <a:gd name="T67" fmla="*/ 170 h 380"/>
                <a:gd name="T68" fmla="*/ 380 w 380"/>
                <a:gd name="T69" fmla="*/ 19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 h="380">
                  <a:moveTo>
                    <a:pt x="380" y="191"/>
                  </a:moveTo>
                  <a:lnTo>
                    <a:pt x="380" y="191"/>
                  </a:lnTo>
                  <a:lnTo>
                    <a:pt x="380" y="209"/>
                  </a:lnTo>
                  <a:lnTo>
                    <a:pt x="377" y="228"/>
                  </a:lnTo>
                  <a:lnTo>
                    <a:pt x="373" y="246"/>
                  </a:lnTo>
                  <a:lnTo>
                    <a:pt x="366" y="265"/>
                  </a:lnTo>
                  <a:lnTo>
                    <a:pt x="358" y="280"/>
                  </a:lnTo>
                  <a:lnTo>
                    <a:pt x="349" y="296"/>
                  </a:lnTo>
                  <a:lnTo>
                    <a:pt x="338" y="311"/>
                  </a:lnTo>
                  <a:lnTo>
                    <a:pt x="325" y="324"/>
                  </a:lnTo>
                  <a:lnTo>
                    <a:pt x="312" y="337"/>
                  </a:lnTo>
                  <a:lnTo>
                    <a:pt x="297" y="348"/>
                  </a:lnTo>
                  <a:lnTo>
                    <a:pt x="282" y="358"/>
                  </a:lnTo>
                  <a:lnTo>
                    <a:pt x="266" y="365"/>
                  </a:lnTo>
                  <a:lnTo>
                    <a:pt x="247" y="372"/>
                  </a:lnTo>
                  <a:lnTo>
                    <a:pt x="228" y="376"/>
                  </a:lnTo>
                  <a:lnTo>
                    <a:pt x="210" y="380"/>
                  </a:lnTo>
                  <a:lnTo>
                    <a:pt x="191" y="380"/>
                  </a:lnTo>
                  <a:lnTo>
                    <a:pt x="191" y="380"/>
                  </a:lnTo>
                  <a:lnTo>
                    <a:pt x="171" y="380"/>
                  </a:lnTo>
                  <a:lnTo>
                    <a:pt x="152" y="376"/>
                  </a:lnTo>
                  <a:lnTo>
                    <a:pt x="134" y="372"/>
                  </a:lnTo>
                  <a:lnTo>
                    <a:pt x="117" y="365"/>
                  </a:lnTo>
                  <a:lnTo>
                    <a:pt x="101" y="358"/>
                  </a:lnTo>
                  <a:lnTo>
                    <a:pt x="84" y="348"/>
                  </a:lnTo>
                  <a:lnTo>
                    <a:pt x="71" y="337"/>
                  </a:lnTo>
                  <a:lnTo>
                    <a:pt x="56" y="324"/>
                  </a:lnTo>
                  <a:lnTo>
                    <a:pt x="45" y="311"/>
                  </a:lnTo>
                  <a:lnTo>
                    <a:pt x="34" y="296"/>
                  </a:lnTo>
                  <a:lnTo>
                    <a:pt x="25" y="280"/>
                  </a:lnTo>
                  <a:lnTo>
                    <a:pt x="15" y="265"/>
                  </a:lnTo>
                  <a:lnTo>
                    <a:pt x="10" y="246"/>
                  </a:lnTo>
                  <a:lnTo>
                    <a:pt x="4" y="228"/>
                  </a:lnTo>
                  <a:lnTo>
                    <a:pt x="2" y="209"/>
                  </a:lnTo>
                  <a:lnTo>
                    <a:pt x="0" y="191"/>
                  </a:lnTo>
                  <a:lnTo>
                    <a:pt x="0" y="191"/>
                  </a:lnTo>
                  <a:lnTo>
                    <a:pt x="2" y="170"/>
                  </a:lnTo>
                  <a:lnTo>
                    <a:pt x="4" y="152"/>
                  </a:lnTo>
                  <a:lnTo>
                    <a:pt x="10" y="133"/>
                  </a:lnTo>
                  <a:lnTo>
                    <a:pt x="15" y="116"/>
                  </a:lnTo>
                  <a:lnTo>
                    <a:pt x="25" y="100"/>
                  </a:lnTo>
                  <a:lnTo>
                    <a:pt x="34" y="83"/>
                  </a:lnTo>
                  <a:lnTo>
                    <a:pt x="45" y="68"/>
                  </a:lnTo>
                  <a:lnTo>
                    <a:pt x="56" y="55"/>
                  </a:lnTo>
                  <a:lnTo>
                    <a:pt x="71" y="44"/>
                  </a:lnTo>
                  <a:lnTo>
                    <a:pt x="84" y="33"/>
                  </a:lnTo>
                  <a:lnTo>
                    <a:pt x="101" y="24"/>
                  </a:lnTo>
                  <a:lnTo>
                    <a:pt x="117" y="14"/>
                  </a:lnTo>
                  <a:lnTo>
                    <a:pt x="134" y="9"/>
                  </a:lnTo>
                  <a:lnTo>
                    <a:pt x="152" y="3"/>
                  </a:lnTo>
                  <a:lnTo>
                    <a:pt x="171" y="2"/>
                  </a:lnTo>
                  <a:lnTo>
                    <a:pt x="191" y="0"/>
                  </a:lnTo>
                  <a:lnTo>
                    <a:pt x="191" y="0"/>
                  </a:lnTo>
                  <a:lnTo>
                    <a:pt x="210" y="2"/>
                  </a:lnTo>
                  <a:lnTo>
                    <a:pt x="228" y="3"/>
                  </a:lnTo>
                  <a:lnTo>
                    <a:pt x="247" y="9"/>
                  </a:lnTo>
                  <a:lnTo>
                    <a:pt x="266" y="14"/>
                  </a:lnTo>
                  <a:lnTo>
                    <a:pt x="282" y="24"/>
                  </a:lnTo>
                  <a:lnTo>
                    <a:pt x="297" y="33"/>
                  </a:lnTo>
                  <a:lnTo>
                    <a:pt x="312" y="44"/>
                  </a:lnTo>
                  <a:lnTo>
                    <a:pt x="325" y="55"/>
                  </a:lnTo>
                  <a:lnTo>
                    <a:pt x="338" y="68"/>
                  </a:lnTo>
                  <a:lnTo>
                    <a:pt x="349" y="83"/>
                  </a:lnTo>
                  <a:lnTo>
                    <a:pt x="358" y="100"/>
                  </a:lnTo>
                  <a:lnTo>
                    <a:pt x="366" y="116"/>
                  </a:lnTo>
                  <a:lnTo>
                    <a:pt x="373" y="133"/>
                  </a:lnTo>
                  <a:lnTo>
                    <a:pt x="377" y="152"/>
                  </a:lnTo>
                  <a:lnTo>
                    <a:pt x="380" y="170"/>
                  </a:lnTo>
                  <a:lnTo>
                    <a:pt x="380" y="191"/>
                  </a:lnTo>
                  <a:lnTo>
                    <a:pt x="380" y="191"/>
                  </a:lnTo>
                  <a:close/>
                </a:path>
              </a:pathLst>
            </a:custGeom>
            <a:gradFill>
              <a:gsLst>
                <a:gs pos="0">
                  <a:srgbClr val="EEBB00"/>
                </a:gs>
                <a:gs pos="50000">
                  <a:srgbClr val="F7901F"/>
                </a:gs>
                <a:gs pos="100000">
                  <a:srgbClr val="F1622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 name="Freeform 6"/>
            <p:cNvSpPr>
              <a:spLocks noEditPoints="1"/>
            </p:cNvSpPr>
            <p:nvPr/>
          </p:nvSpPr>
          <p:spPr bwMode="auto">
            <a:xfrm>
              <a:off x="1305433" y="2143739"/>
              <a:ext cx="327010" cy="327010"/>
            </a:xfrm>
            <a:custGeom>
              <a:avLst/>
              <a:gdLst>
                <a:gd name="T0" fmla="*/ 2500 w 2765"/>
                <a:gd name="T1" fmla="*/ 1796 h 2765"/>
                <a:gd name="T2" fmla="*/ 2331 w 2765"/>
                <a:gd name="T3" fmla="*/ 1731 h 2765"/>
                <a:gd name="T4" fmla="*/ 2004 w 2765"/>
                <a:gd name="T5" fmla="*/ 1623 h 2765"/>
                <a:gd name="T6" fmla="*/ 1498 w 2765"/>
                <a:gd name="T7" fmla="*/ 2448 h 2765"/>
                <a:gd name="T8" fmla="*/ 1382 w 2765"/>
                <a:gd name="T9" fmla="*/ 1699 h 2765"/>
                <a:gd name="T10" fmla="*/ 1267 w 2765"/>
                <a:gd name="T11" fmla="*/ 2448 h 2765"/>
                <a:gd name="T12" fmla="*/ 760 w 2765"/>
                <a:gd name="T13" fmla="*/ 1623 h 2765"/>
                <a:gd name="T14" fmla="*/ 434 w 2765"/>
                <a:gd name="T15" fmla="*/ 1731 h 2765"/>
                <a:gd name="T16" fmla="*/ 265 w 2765"/>
                <a:gd name="T17" fmla="*/ 1796 h 2765"/>
                <a:gd name="T18" fmla="*/ 221 w 2765"/>
                <a:gd name="T19" fmla="*/ 1823 h 2765"/>
                <a:gd name="T20" fmla="*/ 184 w 2765"/>
                <a:gd name="T21" fmla="*/ 1884 h 2765"/>
                <a:gd name="T22" fmla="*/ 145 w 2765"/>
                <a:gd name="T23" fmla="*/ 1981 h 2765"/>
                <a:gd name="T24" fmla="*/ 97 w 2765"/>
                <a:gd name="T25" fmla="*/ 2138 h 2765"/>
                <a:gd name="T26" fmla="*/ 35 w 2765"/>
                <a:gd name="T27" fmla="*/ 2431 h 2765"/>
                <a:gd name="T28" fmla="*/ 3 w 2765"/>
                <a:gd name="T29" fmla="*/ 2676 h 2765"/>
                <a:gd name="T30" fmla="*/ 2765 w 2765"/>
                <a:gd name="T31" fmla="*/ 2765 h 2765"/>
                <a:gd name="T32" fmla="*/ 2758 w 2765"/>
                <a:gd name="T33" fmla="*/ 2644 h 2765"/>
                <a:gd name="T34" fmla="*/ 2717 w 2765"/>
                <a:gd name="T35" fmla="*/ 2357 h 2765"/>
                <a:gd name="T36" fmla="*/ 2649 w 2765"/>
                <a:gd name="T37" fmla="*/ 2071 h 2765"/>
                <a:gd name="T38" fmla="*/ 2610 w 2765"/>
                <a:gd name="T39" fmla="*/ 1954 h 2765"/>
                <a:gd name="T40" fmla="*/ 2571 w 2765"/>
                <a:gd name="T41" fmla="*/ 1864 h 2765"/>
                <a:gd name="T42" fmla="*/ 2535 w 2765"/>
                <a:gd name="T43" fmla="*/ 1814 h 2765"/>
                <a:gd name="T44" fmla="*/ 1382 w 2765"/>
                <a:gd name="T45" fmla="*/ 1671 h 2765"/>
                <a:gd name="T46" fmla="*/ 1806 w 2765"/>
                <a:gd name="T47" fmla="*/ 1037 h 2765"/>
                <a:gd name="T48" fmla="*/ 1860 w 2765"/>
                <a:gd name="T49" fmla="*/ 1025 h 2765"/>
                <a:gd name="T50" fmla="*/ 1891 w 2765"/>
                <a:gd name="T51" fmla="*/ 1000 h 2765"/>
                <a:gd name="T52" fmla="*/ 1930 w 2765"/>
                <a:gd name="T53" fmla="*/ 937 h 2765"/>
                <a:gd name="T54" fmla="*/ 1954 w 2765"/>
                <a:gd name="T55" fmla="*/ 860 h 2765"/>
                <a:gd name="T56" fmla="*/ 1957 w 2765"/>
                <a:gd name="T57" fmla="*/ 782 h 2765"/>
                <a:gd name="T58" fmla="*/ 1945 w 2765"/>
                <a:gd name="T59" fmla="*/ 740 h 2765"/>
                <a:gd name="T60" fmla="*/ 1915 w 2765"/>
                <a:gd name="T61" fmla="*/ 696 h 2765"/>
                <a:gd name="T62" fmla="*/ 1901 w 2765"/>
                <a:gd name="T63" fmla="*/ 691 h 2765"/>
                <a:gd name="T64" fmla="*/ 1901 w 2765"/>
                <a:gd name="T65" fmla="*/ 646 h 2765"/>
                <a:gd name="T66" fmla="*/ 1901 w 2765"/>
                <a:gd name="T67" fmla="*/ 478 h 2765"/>
                <a:gd name="T68" fmla="*/ 1893 w 2765"/>
                <a:gd name="T69" fmla="*/ 337 h 2765"/>
                <a:gd name="T70" fmla="*/ 1865 w 2765"/>
                <a:gd name="T71" fmla="*/ 248 h 2765"/>
                <a:gd name="T72" fmla="*/ 1840 w 2765"/>
                <a:gd name="T73" fmla="*/ 206 h 2765"/>
                <a:gd name="T74" fmla="*/ 1808 w 2765"/>
                <a:gd name="T75" fmla="*/ 173 h 2765"/>
                <a:gd name="T76" fmla="*/ 1770 w 2765"/>
                <a:gd name="T77" fmla="*/ 148 h 2765"/>
                <a:gd name="T78" fmla="*/ 1725 w 2765"/>
                <a:gd name="T79" fmla="*/ 133 h 2765"/>
                <a:gd name="T80" fmla="*/ 1677 w 2765"/>
                <a:gd name="T81" fmla="*/ 111 h 2765"/>
                <a:gd name="T82" fmla="*/ 1623 w 2765"/>
                <a:gd name="T83" fmla="*/ 55 h 2765"/>
                <a:gd name="T84" fmla="*/ 1550 w 2765"/>
                <a:gd name="T85" fmla="*/ 21 h 2765"/>
                <a:gd name="T86" fmla="*/ 1459 w 2765"/>
                <a:gd name="T87" fmla="*/ 3 h 2765"/>
                <a:gd name="T88" fmla="*/ 1353 w 2765"/>
                <a:gd name="T89" fmla="*/ 0 h 2765"/>
                <a:gd name="T90" fmla="*/ 1244 w 2765"/>
                <a:gd name="T91" fmla="*/ 12 h 2765"/>
                <a:gd name="T92" fmla="*/ 1147 w 2765"/>
                <a:gd name="T93" fmla="*/ 39 h 2765"/>
                <a:gd name="T94" fmla="*/ 1062 w 2765"/>
                <a:gd name="T95" fmla="*/ 78 h 2765"/>
                <a:gd name="T96" fmla="*/ 989 w 2765"/>
                <a:gd name="T97" fmla="*/ 129 h 2765"/>
                <a:gd name="T98" fmla="*/ 933 w 2765"/>
                <a:gd name="T99" fmla="*/ 191 h 2765"/>
                <a:gd name="T100" fmla="*/ 892 w 2765"/>
                <a:gd name="T101" fmla="*/ 261 h 2765"/>
                <a:gd name="T102" fmla="*/ 869 w 2765"/>
                <a:gd name="T103" fmla="*/ 340 h 2765"/>
                <a:gd name="T104" fmla="*/ 864 w 2765"/>
                <a:gd name="T105" fmla="*/ 458 h 2765"/>
                <a:gd name="T106" fmla="*/ 864 w 2765"/>
                <a:gd name="T107" fmla="*/ 639 h 2765"/>
                <a:gd name="T108" fmla="*/ 864 w 2765"/>
                <a:gd name="T109" fmla="*/ 691 h 2765"/>
                <a:gd name="T110" fmla="*/ 850 w 2765"/>
                <a:gd name="T111" fmla="*/ 696 h 2765"/>
                <a:gd name="T112" fmla="*/ 820 w 2765"/>
                <a:gd name="T113" fmla="*/ 740 h 2765"/>
                <a:gd name="T114" fmla="*/ 808 w 2765"/>
                <a:gd name="T115" fmla="*/ 782 h 2765"/>
                <a:gd name="T116" fmla="*/ 811 w 2765"/>
                <a:gd name="T117" fmla="*/ 860 h 2765"/>
                <a:gd name="T118" fmla="*/ 835 w 2765"/>
                <a:gd name="T119" fmla="*/ 937 h 2765"/>
                <a:gd name="T120" fmla="*/ 874 w 2765"/>
                <a:gd name="T121" fmla="*/ 1000 h 2765"/>
                <a:gd name="T122" fmla="*/ 905 w 2765"/>
                <a:gd name="T123" fmla="*/ 1025 h 2765"/>
                <a:gd name="T124" fmla="*/ 959 w 2765"/>
                <a:gd name="T125" fmla="*/ 1037 h 2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65" h="2765">
                  <a:moveTo>
                    <a:pt x="2535" y="1814"/>
                  </a:moveTo>
                  <a:lnTo>
                    <a:pt x="2526" y="1809"/>
                  </a:lnTo>
                  <a:lnTo>
                    <a:pt x="2514" y="1803"/>
                  </a:lnTo>
                  <a:lnTo>
                    <a:pt x="2500" y="1796"/>
                  </a:lnTo>
                  <a:lnTo>
                    <a:pt x="2483" y="1788"/>
                  </a:lnTo>
                  <a:lnTo>
                    <a:pt x="2440" y="1771"/>
                  </a:lnTo>
                  <a:lnTo>
                    <a:pt x="2388" y="1752"/>
                  </a:lnTo>
                  <a:lnTo>
                    <a:pt x="2331" y="1731"/>
                  </a:lnTo>
                  <a:lnTo>
                    <a:pt x="2267" y="1709"/>
                  </a:lnTo>
                  <a:lnTo>
                    <a:pt x="2201" y="1687"/>
                  </a:lnTo>
                  <a:lnTo>
                    <a:pt x="2134" y="1665"/>
                  </a:lnTo>
                  <a:lnTo>
                    <a:pt x="2004" y="1623"/>
                  </a:lnTo>
                  <a:lnTo>
                    <a:pt x="1893" y="1589"/>
                  </a:lnTo>
                  <a:lnTo>
                    <a:pt x="1815" y="1564"/>
                  </a:lnTo>
                  <a:lnTo>
                    <a:pt x="1785" y="1555"/>
                  </a:lnTo>
                  <a:lnTo>
                    <a:pt x="1498" y="2448"/>
                  </a:lnTo>
                  <a:lnTo>
                    <a:pt x="1498" y="2044"/>
                  </a:lnTo>
                  <a:lnTo>
                    <a:pt x="1405" y="1901"/>
                  </a:lnTo>
                  <a:lnTo>
                    <a:pt x="1498" y="1814"/>
                  </a:lnTo>
                  <a:lnTo>
                    <a:pt x="1382" y="1699"/>
                  </a:lnTo>
                  <a:lnTo>
                    <a:pt x="1267" y="1814"/>
                  </a:lnTo>
                  <a:lnTo>
                    <a:pt x="1360" y="1901"/>
                  </a:lnTo>
                  <a:lnTo>
                    <a:pt x="1267" y="2044"/>
                  </a:lnTo>
                  <a:lnTo>
                    <a:pt x="1267" y="2448"/>
                  </a:lnTo>
                  <a:lnTo>
                    <a:pt x="980" y="1555"/>
                  </a:lnTo>
                  <a:lnTo>
                    <a:pt x="949" y="1564"/>
                  </a:lnTo>
                  <a:lnTo>
                    <a:pt x="872" y="1589"/>
                  </a:lnTo>
                  <a:lnTo>
                    <a:pt x="760" y="1623"/>
                  </a:lnTo>
                  <a:lnTo>
                    <a:pt x="631" y="1665"/>
                  </a:lnTo>
                  <a:lnTo>
                    <a:pt x="564" y="1687"/>
                  </a:lnTo>
                  <a:lnTo>
                    <a:pt x="498" y="1709"/>
                  </a:lnTo>
                  <a:lnTo>
                    <a:pt x="434" y="1731"/>
                  </a:lnTo>
                  <a:lnTo>
                    <a:pt x="376" y="1752"/>
                  </a:lnTo>
                  <a:lnTo>
                    <a:pt x="325" y="1771"/>
                  </a:lnTo>
                  <a:lnTo>
                    <a:pt x="282" y="1788"/>
                  </a:lnTo>
                  <a:lnTo>
                    <a:pt x="265" y="1796"/>
                  </a:lnTo>
                  <a:lnTo>
                    <a:pt x="251" y="1803"/>
                  </a:lnTo>
                  <a:lnTo>
                    <a:pt x="239" y="1809"/>
                  </a:lnTo>
                  <a:lnTo>
                    <a:pt x="230" y="1814"/>
                  </a:lnTo>
                  <a:lnTo>
                    <a:pt x="221" y="1823"/>
                  </a:lnTo>
                  <a:lnTo>
                    <a:pt x="212" y="1834"/>
                  </a:lnTo>
                  <a:lnTo>
                    <a:pt x="203" y="1848"/>
                  </a:lnTo>
                  <a:lnTo>
                    <a:pt x="193" y="1864"/>
                  </a:lnTo>
                  <a:lnTo>
                    <a:pt x="184" y="1884"/>
                  </a:lnTo>
                  <a:lnTo>
                    <a:pt x="174" y="1905"/>
                  </a:lnTo>
                  <a:lnTo>
                    <a:pt x="164" y="1928"/>
                  </a:lnTo>
                  <a:lnTo>
                    <a:pt x="154" y="1954"/>
                  </a:lnTo>
                  <a:lnTo>
                    <a:pt x="145" y="1981"/>
                  </a:lnTo>
                  <a:lnTo>
                    <a:pt x="135" y="2009"/>
                  </a:lnTo>
                  <a:lnTo>
                    <a:pt x="125" y="2040"/>
                  </a:lnTo>
                  <a:lnTo>
                    <a:pt x="116" y="2071"/>
                  </a:lnTo>
                  <a:lnTo>
                    <a:pt x="97" y="2138"/>
                  </a:lnTo>
                  <a:lnTo>
                    <a:pt x="79" y="2209"/>
                  </a:lnTo>
                  <a:lnTo>
                    <a:pt x="63" y="2282"/>
                  </a:lnTo>
                  <a:lnTo>
                    <a:pt x="48" y="2357"/>
                  </a:lnTo>
                  <a:lnTo>
                    <a:pt x="35" y="2431"/>
                  </a:lnTo>
                  <a:lnTo>
                    <a:pt x="23" y="2506"/>
                  </a:lnTo>
                  <a:lnTo>
                    <a:pt x="13" y="2577"/>
                  </a:lnTo>
                  <a:lnTo>
                    <a:pt x="6" y="2644"/>
                  </a:lnTo>
                  <a:lnTo>
                    <a:pt x="3" y="2676"/>
                  </a:lnTo>
                  <a:lnTo>
                    <a:pt x="1" y="2708"/>
                  </a:lnTo>
                  <a:lnTo>
                    <a:pt x="0" y="2737"/>
                  </a:lnTo>
                  <a:lnTo>
                    <a:pt x="0" y="2765"/>
                  </a:lnTo>
                  <a:lnTo>
                    <a:pt x="2765" y="2765"/>
                  </a:lnTo>
                  <a:lnTo>
                    <a:pt x="2765" y="2737"/>
                  </a:lnTo>
                  <a:lnTo>
                    <a:pt x="2764" y="2708"/>
                  </a:lnTo>
                  <a:lnTo>
                    <a:pt x="2762" y="2676"/>
                  </a:lnTo>
                  <a:lnTo>
                    <a:pt x="2758" y="2644"/>
                  </a:lnTo>
                  <a:lnTo>
                    <a:pt x="2752" y="2577"/>
                  </a:lnTo>
                  <a:lnTo>
                    <a:pt x="2742" y="2506"/>
                  </a:lnTo>
                  <a:lnTo>
                    <a:pt x="2730" y="2431"/>
                  </a:lnTo>
                  <a:lnTo>
                    <a:pt x="2717" y="2357"/>
                  </a:lnTo>
                  <a:lnTo>
                    <a:pt x="2702" y="2282"/>
                  </a:lnTo>
                  <a:lnTo>
                    <a:pt x="2686" y="2209"/>
                  </a:lnTo>
                  <a:lnTo>
                    <a:pt x="2668" y="2138"/>
                  </a:lnTo>
                  <a:lnTo>
                    <a:pt x="2649" y="2071"/>
                  </a:lnTo>
                  <a:lnTo>
                    <a:pt x="2640" y="2040"/>
                  </a:lnTo>
                  <a:lnTo>
                    <a:pt x="2630" y="2009"/>
                  </a:lnTo>
                  <a:lnTo>
                    <a:pt x="2620" y="1981"/>
                  </a:lnTo>
                  <a:lnTo>
                    <a:pt x="2610" y="1954"/>
                  </a:lnTo>
                  <a:lnTo>
                    <a:pt x="2601" y="1928"/>
                  </a:lnTo>
                  <a:lnTo>
                    <a:pt x="2591" y="1905"/>
                  </a:lnTo>
                  <a:lnTo>
                    <a:pt x="2581" y="1884"/>
                  </a:lnTo>
                  <a:lnTo>
                    <a:pt x="2571" y="1864"/>
                  </a:lnTo>
                  <a:lnTo>
                    <a:pt x="2562" y="1848"/>
                  </a:lnTo>
                  <a:lnTo>
                    <a:pt x="2553" y="1834"/>
                  </a:lnTo>
                  <a:lnTo>
                    <a:pt x="2543" y="1823"/>
                  </a:lnTo>
                  <a:lnTo>
                    <a:pt x="2535" y="1814"/>
                  </a:lnTo>
                  <a:close/>
                  <a:moveTo>
                    <a:pt x="967" y="1037"/>
                  </a:moveTo>
                  <a:lnTo>
                    <a:pt x="1037" y="1325"/>
                  </a:lnTo>
                  <a:lnTo>
                    <a:pt x="1037" y="1440"/>
                  </a:lnTo>
                  <a:lnTo>
                    <a:pt x="1382" y="1671"/>
                  </a:lnTo>
                  <a:lnTo>
                    <a:pt x="1728" y="1440"/>
                  </a:lnTo>
                  <a:lnTo>
                    <a:pt x="1728" y="1325"/>
                  </a:lnTo>
                  <a:lnTo>
                    <a:pt x="1798" y="1037"/>
                  </a:lnTo>
                  <a:lnTo>
                    <a:pt x="1806" y="1037"/>
                  </a:lnTo>
                  <a:lnTo>
                    <a:pt x="1826" y="1036"/>
                  </a:lnTo>
                  <a:lnTo>
                    <a:pt x="1839" y="1034"/>
                  </a:lnTo>
                  <a:lnTo>
                    <a:pt x="1852" y="1028"/>
                  </a:lnTo>
                  <a:lnTo>
                    <a:pt x="1860" y="1025"/>
                  </a:lnTo>
                  <a:lnTo>
                    <a:pt x="1866" y="1022"/>
                  </a:lnTo>
                  <a:lnTo>
                    <a:pt x="1873" y="1017"/>
                  </a:lnTo>
                  <a:lnTo>
                    <a:pt x="1879" y="1012"/>
                  </a:lnTo>
                  <a:lnTo>
                    <a:pt x="1891" y="1000"/>
                  </a:lnTo>
                  <a:lnTo>
                    <a:pt x="1902" y="986"/>
                  </a:lnTo>
                  <a:lnTo>
                    <a:pt x="1913" y="971"/>
                  </a:lnTo>
                  <a:lnTo>
                    <a:pt x="1921" y="955"/>
                  </a:lnTo>
                  <a:lnTo>
                    <a:pt x="1930" y="937"/>
                  </a:lnTo>
                  <a:lnTo>
                    <a:pt x="1938" y="918"/>
                  </a:lnTo>
                  <a:lnTo>
                    <a:pt x="1944" y="900"/>
                  </a:lnTo>
                  <a:lnTo>
                    <a:pt x="1949" y="879"/>
                  </a:lnTo>
                  <a:lnTo>
                    <a:pt x="1954" y="860"/>
                  </a:lnTo>
                  <a:lnTo>
                    <a:pt x="1957" y="839"/>
                  </a:lnTo>
                  <a:lnTo>
                    <a:pt x="1958" y="820"/>
                  </a:lnTo>
                  <a:lnTo>
                    <a:pt x="1958" y="800"/>
                  </a:lnTo>
                  <a:lnTo>
                    <a:pt x="1957" y="782"/>
                  </a:lnTo>
                  <a:lnTo>
                    <a:pt x="1953" y="765"/>
                  </a:lnTo>
                  <a:lnTo>
                    <a:pt x="1950" y="756"/>
                  </a:lnTo>
                  <a:lnTo>
                    <a:pt x="1948" y="747"/>
                  </a:lnTo>
                  <a:lnTo>
                    <a:pt x="1945" y="740"/>
                  </a:lnTo>
                  <a:lnTo>
                    <a:pt x="1941" y="732"/>
                  </a:lnTo>
                  <a:lnTo>
                    <a:pt x="1931" y="715"/>
                  </a:lnTo>
                  <a:lnTo>
                    <a:pt x="1922" y="703"/>
                  </a:lnTo>
                  <a:lnTo>
                    <a:pt x="1915" y="696"/>
                  </a:lnTo>
                  <a:lnTo>
                    <a:pt x="1909" y="691"/>
                  </a:lnTo>
                  <a:lnTo>
                    <a:pt x="1906" y="690"/>
                  </a:lnTo>
                  <a:lnTo>
                    <a:pt x="1903" y="690"/>
                  </a:lnTo>
                  <a:lnTo>
                    <a:pt x="1901" y="691"/>
                  </a:lnTo>
                  <a:lnTo>
                    <a:pt x="1901" y="691"/>
                  </a:lnTo>
                  <a:lnTo>
                    <a:pt x="1901" y="686"/>
                  </a:lnTo>
                  <a:lnTo>
                    <a:pt x="1901" y="671"/>
                  </a:lnTo>
                  <a:lnTo>
                    <a:pt x="1901" y="646"/>
                  </a:lnTo>
                  <a:lnTo>
                    <a:pt x="1901" y="613"/>
                  </a:lnTo>
                  <a:lnTo>
                    <a:pt x="1901" y="573"/>
                  </a:lnTo>
                  <a:lnTo>
                    <a:pt x="1901" y="529"/>
                  </a:lnTo>
                  <a:lnTo>
                    <a:pt x="1901" y="478"/>
                  </a:lnTo>
                  <a:lnTo>
                    <a:pt x="1901" y="424"/>
                  </a:lnTo>
                  <a:lnTo>
                    <a:pt x="1900" y="394"/>
                  </a:lnTo>
                  <a:lnTo>
                    <a:pt x="1898" y="365"/>
                  </a:lnTo>
                  <a:lnTo>
                    <a:pt x="1893" y="337"/>
                  </a:lnTo>
                  <a:lnTo>
                    <a:pt x="1888" y="310"/>
                  </a:lnTo>
                  <a:lnTo>
                    <a:pt x="1880" y="284"/>
                  </a:lnTo>
                  <a:lnTo>
                    <a:pt x="1871" y="259"/>
                  </a:lnTo>
                  <a:lnTo>
                    <a:pt x="1865" y="248"/>
                  </a:lnTo>
                  <a:lnTo>
                    <a:pt x="1860" y="237"/>
                  </a:lnTo>
                  <a:lnTo>
                    <a:pt x="1853" y="226"/>
                  </a:lnTo>
                  <a:lnTo>
                    <a:pt x="1847" y="216"/>
                  </a:lnTo>
                  <a:lnTo>
                    <a:pt x="1840" y="206"/>
                  </a:lnTo>
                  <a:lnTo>
                    <a:pt x="1833" y="197"/>
                  </a:lnTo>
                  <a:lnTo>
                    <a:pt x="1825" y="188"/>
                  </a:lnTo>
                  <a:lnTo>
                    <a:pt x="1817" y="180"/>
                  </a:lnTo>
                  <a:lnTo>
                    <a:pt x="1808" y="173"/>
                  </a:lnTo>
                  <a:lnTo>
                    <a:pt x="1799" y="165"/>
                  </a:lnTo>
                  <a:lnTo>
                    <a:pt x="1790" y="159"/>
                  </a:lnTo>
                  <a:lnTo>
                    <a:pt x="1780" y="152"/>
                  </a:lnTo>
                  <a:lnTo>
                    <a:pt x="1770" y="148"/>
                  </a:lnTo>
                  <a:lnTo>
                    <a:pt x="1759" y="143"/>
                  </a:lnTo>
                  <a:lnTo>
                    <a:pt x="1749" y="139"/>
                  </a:lnTo>
                  <a:lnTo>
                    <a:pt x="1737" y="136"/>
                  </a:lnTo>
                  <a:lnTo>
                    <a:pt x="1725" y="133"/>
                  </a:lnTo>
                  <a:lnTo>
                    <a:pt x="1713" y="131"/>
                  </a:lnTo>
                  <a:lnTo>
                    <a:pt x="1700" y="130"/>
                  </a:lnTo>
                  <a:lnTo>
                    <a:pt x="1687" y="130"/>
                  </a:lnTo>
                  <a:lnTo>
                    <a:pt x="1677" y="111"/>
                  </a:lnTo>
                  <a:lnTo>
                    <a:pt x="1666" y="95"/>
                  </a:lnTo>
                  <a:lnTo>
                    <a:pt x="1653" y="80"/>
                  </a:lnTo>
                  <a:lnTo>
                    <a:pt x="1639" y="67"/>
                  </a:lnTo>
                  <a:lnTo>
                    <a:pt x="1623" y="55"/>
                  </a:lnTo>
                  <a:lnTo>
                    <a:pt x="1607" y="44"/>
                  </a:lnTo>
                  <a:lnTo>
                    <a:pt x="1589" y="35"/>
                  </a:lnTo>
                  <a:lnTo>
                    <a:pt x="1570" y="27"/>
                  </a:lnTo>
                  <a:lnTo>
                    <a:pt x="1550" y="21"/>
                  </a:lnTo>
                  <a:lnTo>
                    <a:pt x="1528" y="14"/>
                  </a:lnTo>
                  <a:lnTo>
                    <a:pt x="1507" y="10"/>
                  </a:lnTo>
                  <a:lnTo>
                    <a:pt x="1483" y="6"/>
                  </a:lnTo>
                  <a:lnTo>
                    <a:pt x="1459" y="3"/>
                  </a:lnTo>
                  <a:lnTo>
                    <a:pt x="1434" y="1"/>
                  </a:lnTo>
                  <a:lnTo>
                    <a:pt x="1408" y="0"/>
                  </a:lnTo>
                  <a:lnTo>
                    <a:pt x="1382" y="0"/>
                  </a:lnTo>
                  <a:lnTo>
                    <a:pt x="1353" y="0"/>
                  </a:lnTo>
                  <a:lnTo>
                    <a:pt x="1325" y="2"/>
                  </a:lnTo>
                  <a:lnTo>
                    <a:pt x="1297" y="4"/>
                  </a:lnTo>
                  <a:lnTo>
                    <a:pt x="1270" y="8"/>
                  </a:lnTo>
                  <a:lnTo>
                    <a:pt x="1244" y="12"/>
                  </a:lnTo>
                  <a:lnTo>
                    <a:pt x="1218" y="17"/>
                  </a:lnTo>
                  <a:lnTo>
                    <a:pt x="1193" y="24"/>
                  </a:lnTo>
                  <a:lnTo>
                    <a:pt x="1170" y="30"/>
                  </a:lnTo>
                  <a:lnTo>
                    <a:pt x="1147" y="39"/>
                  </a:lnTo>
                  <a:lnTo>
                    <a:pt x="1124" y="48"/>
                  </a:lnTo>
                  <a:lnTo>
                    <a:pt x="1103" y="56"/>
                  </a:lnTo>
                  <a:lnTo>
                    <a:pt x="1081" y="67"/>
                  </a:lnTo>
                  <a:lnTo>
                    <a:pt x="1062" y="78"/>
                  </a:lnTo>
                  <a:lnTo>
                    <a:pt x="1042" y="90"/>
                  </a:lnTo>
                  <a:lnTo>
                    <a:pt x="1024" y="102"/>
                  </a:lnTo>
                  <a:lnTo>
                    <a:pt x="1007" y="116"/>
                  </a:lnTo>
                  <a:lnTo>
                    <a:pt x="989" y="129"/>
                  </a:lnTo>
                  <a:lnTo>
                    <a:pt x="974" y="144"/>
                  </a:lnTo>
                  <a:lnTo>
                    <a:pt x="959" y="159"/>
                  </a:lnTo>
                  <a:lnTo>
                    <a:pt x="946" y="174"/>
                  </a:lnTo>
                  <a:lnTo>
                    <a:pt x="933" y="191"/>
                  </a:lnTo>
                  <a:lnTo>
                    <a:pt x="921" y="207"/>
                  </a:lnTo>
                  <a:lnTo>
                    <a:pt x="910" y="225"/>
                  </a:lnTo>
                  <a:lnTo>
                    <a:pt x="901" y="243"/>
                  </a:lnTo>
                  <a:lnTo>
                    <a:pt x="892" y="261"/>
                  </a:lnTo>
                  <a:lnTo>
                    <a:pt x="886" y="281"/>
                  </a:lnTo>
                  <a:lnTo>
                    <a:pt x="879" y="300"/>
                  </a:lnTo>
                  <a:lnTo>
                    <a:pt x="874" y="320"/>
                  </a:lnTo>
                  <a:lnTo>
                    <a:pt x="869" y="340"/>
                  </a:lnTo>
                  <a:lnTo>
                    <a:pt x="866" y="361"/>
                  </a:lnTo>
                  <a:lnTo>
                    <a:pt x="865" y="381"/>
                  </a:lnTo>
                  <a:lnTo>
                    <a:pt x="864" y="403"/>
                  </a:lnTo>
                  <a:lnTo>
                    <a:pt x="864" y="458"/>
                  </a:lnTo>
                  <a:lnTo>
                    <a:pt x="864" y="511"/>
                  </a:lnTo>
                  <a:lnTo>
                    <a:pt x="864" y="559"/>
                  </a:lnTo>
                  <a:lnTo>
                    <a:pt x="864" y="603"/>
                  </a:lnTo>
                  <a:lnTo>
                    <a:pt x="864" y="639"/>
                  </a:lnTo>
                  <a:lnTo>
                    <a:pt x="864" y="667"/>
                  </a:lnTo>
                  <a:lnTo>
                    <a:pt x="864" y="685"/>
                  </a:lnTo>
                  <a:lnTo>
                    <a:pt x="864" y="691"/>
                  </a:lnTo>
                  <a:lnTo>
                    <a:pt x="864" y="691"/>
                  </a:lnTo>
                  <a:lnTo>
                    <a:pt x="862" y="690"/>
                  </a:lnTo>
                  <a:lnTo>
                    <a:pt x="859" y="690"/>
                  </a:lnTo>
                  <a:lnTo>
                    <a:pt x="855" y="691"/>
                  </a:lnTo>
                  <a:lnTo>
                    <a:pt x="850" y="696"/>
                  </a:lnTo>
                  <a:lnTo>
                    <a:pt x="842" y="703"/>
                  </a:lnTo>
                  <a:lnTo>
                    <a:pt x="834" y="715"/>
                  </a:lnTo>
                  <a:lnTo>
                    <a:pt x="824" y="732"/>
                  </a:lnTo>
                  <a:lnTo>
                    <a:pt x="820" y="740"/>
                  </a:lnTo>
                  <a:lnTo>
                    <a:pt x="816" y="747"/>
                  </a:lnTo>
                  <a:lnTo>
                    <a:pt x="814" y="756"/>
                  </a:lnTo>
                  <a:lnTo>
                    <a:pt x="812" y="765"/>
                  </a:lnTo>
                  <a:lnTo>
                    <a:pt x="808" y="782"/>
                  </a:lnTo>
                  <a:lnTo>
                    <a:pt x="807" y="800"/>
                  </a:lnTo>
                  <a:lnTo>
                    <a:pt x="807" y="820"/>
                  </a:lnTo>
                  <a:lnTo>
                    <a:pt x="808" y="839"/>
                  </a:lnTo>
                  <a:lnTo>
                    <a:pt x="811" y="860"/>
                  </a:lnTo>
                  <a:lnTo>
                    <a:pt x="815" y="879"/>
                  </a:lnTo>
                  <a:lnTo>
                    <a:pt x="821" y="900"/>
                  </a:lnTo>
                  <a:lnTo>
                    <a:pt x="827" y="918"/>
                  </a:lnTo>
                  <a:lnTo>
                    <a:pt x="835" y="937"/>
                  </a:lnTo>
                  <a:lnTo>
                    <a:pt x="843" y="955"/>
                  </a:lnTo>
                  <a:lnTo>
                    <a:pt x="852" y="971"/>
                  </a:lnTo>
                  <a:lnTo>
                    <a:pt x="863" y="986"/>
                  </a:lnTo>
                  <a:lnTo>
                    <a:pt x="874" y="1000"/>
                  </a:lnTo>
                  <a:lnTo>
                    <a:pt x="886" y="1012"/>
                  </a:lnTo>
                  <a:lnTo>
                    <a:pt x="892" y="1017"/>
                  </a:lnTo>
                  <a:lnTo>
                    <a:pt x="899" y="1022"/>
                  </a:lnTo>
                  <a:lnTo>
                    <a:pt x="905" y="1025"/>
                  </a:lnTo>
                  <a:lnTo>
                    <a:pt x="913" y="1028"/>
                  </a:lnTo>
                  <a:lnTo>
                    <a:pt x="926" y="1034"/>
                  </a:lnTo>
                  <a:lnTo>
                    <a:pt x="939" y="1036"/>
                  </a:lnTo>
                  <a:lnTo>
                    <a:pt x="959" y="1037"/>
                  </a:lnTo>
                  <a:lnTo>
                    <a:pt x="967" y="103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2" name="TextBox 61">
            <a:extLst>
              <a:ext uri="{FF2B5EF4-FFF2-40B4-BE49-F238E27FC236}">
                <a16:creationId xmlns:a16="http://schemas.microsoft.com/office/drawing/2014/main" id="{23939CBC-4E7A-8845-ADBE-AB4EF89AE5DC}"/>
              </a:ext>
            </a:extLst>
          </p:cNvPr>
          <p:cNvSpPr txBox="1"/>
          <p:nvPr/>
        </p:nvSpPr>
        <p:spPr>
          <a:xfrm>
            <a:off x="869425" y="1625921"/>
            <a:ext cx="1124403" cy="379118"/>
          </a:xfrm>
          <a:prstGeom prst="rect">
            <a:avLst/>
          </a:prstGeom>
          <a:noFill/>
        </p:spPr>
        <p:txBody>
          <a:bodyPr wrap="square" lIns="0" tIns="0" rIns="0" bIns="0" rtlCol="0">
            <a:noAutofit/>
          </a:bodyPr>
          <a:lstStyle/>
          <a:p>
            <a:r>
              <a:rPr lang="en-US" b="1"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100 BN</a:t>
            </a:r>
          </a:p>
          <a:p>
            <a:r>
              <a:rPr lang="en-US" sz="900"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Market </a:t>
            </a:r>
            <a:r>
              <a:rPr lang="en-US" sz="900"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cap, April </a:t>
            </a:r>
            <a:r>
              <a:rPr lang="en-US" sz="900"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2018</a:t>
            </a:r>
          </a:p>
          <a:p>
            <a:endParaRPr lang="en-US" sz="900"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endParaRPr>
          </a:p>
        </p:txBody>
      </p:sp>
      <p:grpSp>
        <p:nvGrpSpPr>
          <p:cNvPr id="12" name="Group 11"/>
          <p:cNvGrpSpPr/>
          <p:nvPr/>
        </p:nvGrpSpPr>
        <p:grpSpPr>
          <a:xfrm>
            <a:off x="262936" y="1553437"/>
            <a:ext cx="490336" cy="490336"/>
            <a:chOff x="1597807" y="3882594"/>
            <a:chExt cx="490336" cy="490336"/>
          </a:xfrm>
        </p:grpSpPr>
        <p:sp>
          <p:nvSpPr>
            <p:cNvPr id="37" name="Freeform 33"/>
            <p:cNvSpPr>
              <a:spLocks/>
            </p:cNvSpPr>
            <p:nvPr/>
          </p:nvSpPr>
          <p:spPr bwMode="auto">
            <a:xfrm>
              <a:off x="1597807" y="3882594"/>
              <a:ext cx="490336" cy="490336"/>
            </a:xfrm>
            <a:custGeom>
              <a:avLst/>
              <a:gdLst>
                <a:gd name="T0" fmla="*/ 380 w 380"/>
                <a:gd name="T1" fmla="*/ 191 h 380"/>
                <a:gd name="T2" fmla="*/ 377 w 380"/>
                <a:gd name="T3" fmla="*/ 228 h 380"/>
                <a:gd name="T4" fmla="*/ 366 w 380"/>
                <a:gd name="T5" fmla="*/ 265 h 380"/>
                <a:gd name="T6" fmla="*/ 349 w 380"/>
                <a:gd name="T7" fmla="*/ 296 h 380"/>
                <a:gd name="T8" fmla="*/ 325 w 380"/>
                <a:gd name="T9" fmla="*/ 324 h 380"/>
                <a:gd name="T10" fmla="*/ 297 w 380"/>
                <a:gd name="T11" fmla="*/ 348 h 380"/>
                <a:gd name="T12" fmla="*/ 266 w 380"/>
                <a:gd name="T13" fmla="*/ 365 h 380"/>
                <a:gd name="T14" fmla="*/ 228 w 380"/>
                <a:gd name="T15" fmla="*/ 376 h 380"/>
                <a:gd name="T16" fmla="*/ 191 w 380"/>
                <a:gd name="T17" fmla="*/ 380 h 380"/>
                <a:gd name="T18" fmla="*/ 171 w 380"/>
                <a:gd name="T19" fmla="*/ 380 h 380"/>
                <a:gd name="T20" fmla="*/ 134 w 380"/>
                <a:gd name="T21" fmla="*/ 372 h 380"/>
                <a:gd name="T22" fmla="*/ 101 w 380"/>
                <a:gd name="T23" fmla="*/ 358 h 380"/>
                <a:gd name="T24" fmla="*/ 71 w 380"/>
                <a:gd name="T25" fmla="*/ 337 h 380"/>
                <a:gd name="T26" fmla="*/ 45 w 380"/>
                <a:gd name="T27" fmla="*/ 311 h 380"/>
                <a:gd name="T28" fmla="*/ 25 w 380"/>
                <a:gd name="T29" fmla="*/ 280 h 380"/>
                <a:gd name="T30" fmla="*/ 10 w 380"/>
                <a:gd name="T31" fmla="*/ 246 h 380"/>
                <a:gd name="T32" fmla="*/ 2 w 380"/>
                <a:gd name="T33" fmla="*/ 209 h 380"/>
                <a:gd name="T34" fmla="*/ 0 w 380"/>
                <a:gd name="T35" fmla="*/ 191 h 380"/>
                <a:gd name="T36" fmla="*/ 4 w 380"/>
                <a:gd name="T37" fmla="*/ 152 h 380"/>
                <a:gd name="T38" fmla="*/ 15 w 380"/>
                <a:gd name="T39" fmla="*/ 116 h 380"/>
                <a:gd name="T40" fmla="*/ 34 w 380"/>
                <a:gd name="T41" fmla="*/ 83 h 380"/>
                <a:gd name="T42" fmla="*/ 56 w 380"/>
                <a:gd name="T43" fmla="*/ 55 h 380"/>
                <a:gd name="T44" fmla="*/ 84 w 380"/>
                <a:gd name="T45" fmla="*/ 33 h 380"/>
                <a:gd name="T46" fmla="*/ 117 w 380"/>
                <a:gd name="T47" fmla="*/ 14 h 380"/>
                <a:gd name="T48" fmla="*/ 152 w 380"/>
                <a:gd name="T49" fmla="*/ 3 h 380"/>
                <a:gd name="T50" fmla="*/ 191 w 380"/>
                <a:gd name="T51" fmla="*/ 0 h 380"/>
                <a:gd name="T52" fmla="*/ 210 w 380"/>
                <a:gd name="T53" fmla="*/ 2 h 380"/>
                <a:gd name="T54" fmla="*/ 247 w 380"/>
                <a:gd name="T55" fmla="*/ 9 h 380"/>
                <a:gd name="T56" fmla="*/ 282 w 380"/>
                <a:gd name="T57" fmla="*/ 24 h 380"/>
                <a:gd name="T58" fmla="*/ 312 w 380"/>
                <a:gd name="T59" fmla="*/ 44 h 380"/>
                <a:gd name="T60" fmla="*/ 338 w 380"/>
                <a:gd name="T61" fmla="*/ 68 h 380"/>
                <a:gd name="T62" fmla="*/ 358 w 380"/>
                <a:gd name="T63" fmla="*/ 100 h 380"/>
                <a:gd name="T64" fmla="*/ 373 w 380"/>
                <a:gd name="T65" fmla="*/ 133 h 380"/>
                <a:gd name="T66" fmla="*/ 380 w 380"/>
                <a:gd name="T67" fmla="*/ 170 h 380"/>
                <a:gd name="T68" fmla="*/ 380 w 380"/>
                <a:gd name="T69" fmla="*/ 19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 h="380">
                  <a:moveTo>
                    <a:pt x="380" y="191"/>
                  </a:moveTo>
                  <a:lnTo>
                    <a:pt x="380" y="191"/>
                  </a:lnTo>
                  <a:lnTo>
                    <a:pt x="380" y="209"/>
                  </a:lnTo>
                  <a:lnTo>
                    <a:pt x="377" y="228"/>
                  </a:lnTo>
                  <a:lnTo>
                    <a:pt x="373" y="246"/>
                  </a:lnTo>
                  <a:lnTo>
                    <a:pt x="366" y="265"/>
                  </a:lnTo>
                  <a:lnTo>
                    <a:pt x="358" y="280"/>
                  </a:lnTo>
                  <a:lnTo>
                    <a:pt x="349" y="296"/>
                  </a:lnTo>
                  <a:lnTo>
                    <a:pt x="338" y="311"/>
                  </a:lnTo>
                  <a:lnTo>
                    <a:pt x="325" y="324"/>
                  </a:lnTo>
                  <a:lnTo>
                    <a:pt x="312" y="337"/>
                  </a:lnTo>
                  <a:lnTo>
                    <a:pt x="297" y="348"/>
                  </a:lnTo>
                  <a:lnTo>
                    <a:pt x="282" y="358"/>
                  </a:lnTo>
                  <a:lnTo>
                    <a:pt x="266" y="365"/>
                  </a:lnTo>
                  <a:lnTo>
                    <a:pt x="247" y="372"/>
                  </a:lnTo>
                  <a:lnTo>
                    <a:pt x="228" y="376"/>
                  </a:lnTo>
                  <a:lnTo>
                    <a:pt x="210" y="380"/>
                  </a:lnTo>
                  <a:lnTo>
                    <a:pt x="191" y="380"/>
                  </a:lnTo>
                  <a:lnTo>
                    <a:pt x="191" y="380"/>
                  </a:lnTo>
                  <a:lnTo>
                    <a:pt x="171" y="380"/>
                  </a:lnTo>
                  <a:lnTo>
                    <a:pt x="152" y="376"/>
                  </a:lnTo>
                  <a:lnTo>
                    <a:pt x="134" y="372"/>
                  </a:lnTo>
                  <a:lnTo>
                    <a:pt x="117" y="365"/>
                  </a:lnTo>
                  <a:lnTo>
                    <a:pt x="101" y="358"/>
                  </a:lnTo>
                  <a:lnTo>
                    <a:pt x="84" y="348"/>
                  </a:lnTo>
                  <a:lnTo>
                    <a:pt x="71" y="337"/>
                  </a:lnTo>
                  <a:lnTo>
                    <a:pt x="56" y="324"/>
                  </a:lnTo>
                  <a:lnTo>
                    <a:pt x="45" y="311"/>
                  </a:lnTo>
                  <a:lnTo>
                    <a:pt x="34" y="296"/>
                  </a:lnTo>
                  <a:lnTo>
                    <a:pt x="25" y="280"/>
                  </a:lnTo>
                  <a:lnTo>
                    <a:pt x="15" y="265"/>
                  </a:lnTo>
                  <a:lnTo>
                    <a:pt x="10" y="246"/>
                  </a:lnTo>
                  <a:lnTo>
                    <a:pt x="4" y="228"/>
                  </a:lnTo>
                  <a:lnTo>
                    <a:pt x="2" y="209"/>
                  </a:lnTo>
                  <a:lnTo>
                    <a:pt x="0" y="191"/>
                  </a:lnTo>
                  <a:lnTo>
                    <a:pt x="0" y="191"/>
                  </a:lnTo>
                  <a:lnTo>
                    <a:pt x="2" y="170"/>
                  </a:lnTo>
                  <a:lnTo>
                    <a:pt x="4" y="152"/>
                  </a:lnTo>
                  <a:lnTo>
                    <a:pt x="10" y="133"/>
                  </a:lnTo>
                  <a:lnTo>
                    <a:pt x="15" y="116"/>
                  </a:lnTo>
                  <a:lnTo>
                    <a:pt x="25" y="100"/>
                  </a:lnTo>
                  <a:lnTo>
                    <a:pt x="34" y="83"/>
                  </a:lnTo>
                  <a:lnTo>
                    <a:pt x="45" y="68"/>
                  </a:lnTo>
                  <a:lnTo>
                    <a:pt x="56" y="55"/>
                  </a:lnTo>
                  <a:lnTo>
                    <a:pt x="71" y="44"/>
                  </a:lnTo>
                  <a:lnTo>
                    <a:pt x="84" y="33"/>
                  </a:lnTo>
                  <a:lnTo>
                    <a:pt x="101" y="24"/>
                  </a:lnTo>
                  <a:lnTo>
                    <a:pt x="117" y="14"/>
                  </a:lnTo>
                  <a:lnTo>
                    <a:pt x="134" y="9"/>
                  </a:lnTo>
                  <a:lnTo>
                    <a:pt x="152" y="3"/>
                  </a:lnTo>
                  <a:lnTo>
                    <a:pt x="171" y="2"/>
                  </a:lnTo>
                  <a:lnTo>
                    <a:pt x="191" y="0"/>
                  </a:lnTo>
                  <a:lnTo>
                    <a:pt x="191" y="0"/>
                  </a:lnTo>
                  <a:lnTo>
                    <a:pt x="210" y="2"/>
                  </a:lnTo>
                  <a:lnTo>
                    <a:pt x="228" y="3"/>
                  </a:lnTo>
                  <a:lnTo>
                    <a:pt x="247" y="9"/>
                  </a:lnTo>
                  <a:lnTo>
                    <a:pt x="266" y="14"/>
                  </a:lnTo>
                  <a:lnTo>
                    <a:pt x="282" y="24"/>
                  </a:lnTo>
                  <a:lnTo>
                    <a:pt x="297" y="33"/>
                  </a:lnTo>
                  <a:lnTo>
                    <a:pt x="312" y="44"/>
                  </a:lnTo>
                  <a:lnTo>
                    <a:pt x="325" y="55"/>
                  </a:lnTo>
                  <a:lnTo>
                    <a:pt x="338" y="68"/>
                  </a:lnTo>
                  <a:lnTo>
                    <a:pt x="349" y="83"/>
                  </a:lnTo>
                  <a:lnTo>
                    <a:pt x="358" y="100"/>
                  </a:lnTo>
                  <a:lnTo>
                    <a:pt x="366" y="116"/>
                  </a:lnTo>
                  <a:lnTo>
                    <a:pt x="373" y="133"/>
                  </a:lnTo>
                  <a:lnTo>
                    <a:pt x="377" y="152"/>
                  </a:lnTo>
                  <a:lnTo>
                    <a:pt x="380" y="170"/>
                  </a:lnTo>
                  <a:lnTo>
                    <a:pt x="380" y="191"/>
                  </a:lnTo>
                  <a:lnTo>
                    <a:pt x="380" y="191"/>
                  </a:lnTo>
                  <a:close/>
                </a:path>
              </a:pathLst>
            </a:custGeom>
            <a:gradFill>
              <a:gsLst>
                <a:gs pos="0">
                  <a:srgbClr val="73459B"/>
                </a:gs>
                <a:gs pos="50000">
                  <a:srgbClr val="BA2983"/>
                </a:gs>
                <a:gs pos="100000">
                  <a:srgbClr val="F04D3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63" name="Group 62"/>
            <p:cNvGrpSpPr/>
            <p:nvPr/>
          </p:nvGrpSpPr>
          <p:grpSpPr>
            <a:xfrm>
              <a:off x="1686338" y="3998938"/>
              <a:ext cx="345266" cy="284286"/>
              <a:chOff x="5335588" y="185738"/>
              <a:chExt cx="347663" cy="222250"/>
            </a:xfrm>
            <a:solidFill>
              <a:schemeClr val="bg1"/>
            </a:solidFill>
          </p:grpSpPr>
          <p:sp>
            <p:nvSpPr>
              <p:cNvPr id="64" name="Freeform 10125"/>
              <p:cNvSpPr>
                <a:spLocks/>
              </p:cNvSpPr>
              <p:nvPr/>
            </p:nvSpPr>
            <p:spPr bwMode="auto">
              <a:xfrm>
                <a:off x="5335588" y="185738"/>
                <a:ext cx="347663" cy="185738"/>
              </a:xfrm>
              <a:custGeom>
                <a:avLst/>
                <a:gdLst>
                  <a:gd name="T0" fmla="*/ 874 w 874"/>
                  <a:gd name="T1" fmla="*/ 220 h 465"/>
                  <a:gd name="T2" fmla="*/ 870 w 874"/>
                  <a:gd name="T3" fmla="*/ 197 h 465"/>
                  <a:gd name="T4" fmla="*/ 860 w 874"/>
                  <a:gd name="T5" fmla="*/ 175 h 465"/>
                  <a:gd name="T6" fmla="*/ 848 w 874"/>
                  <a:gd name="T7" fmla="*/ 152 h 465"/>
                  <a:gd name="T8" fmla="*/ 831 w 874"/>
                  <a:gd name="T9" fmla="*/ 132 h 465"/>
                  <a:gd name="T10" fmla="*/ 811 w 874"/>
                  <a:gd name="T11" fmla="*/ 112 h 465"/>
                  <a:gd name="T12" fmla="*/ 788 w 874"/>
                  <a:gd name="T13" fmla="*/ 93 h 465"/>
                  <a:gd name="T14" fmla="*/ 761 w 874"/>
                  <a:gd name="T15" fmla="*/ 75 h 465"/>
                  <a:gd name="T16" fmla="*/ 732 w 874"/>
                  <a:gd name="T17" fmla="*/ 60 h 465"/>
                  <a:gd name="T18" fmla="*/ 699 w 874"/>
                  <a:gd name="T19" fmla="*/ 46 h 465"/>
                  <a:gd name="T20" fmla="*/ 663 w 874"/>
                  <a:gd name="T21" fmla="*/ 33 h 465"/>
                  <a:gd name="T22" fmla="*/ 627 w 874"/>
                  <a:gd name="T23" fmla="*/ 22 h 465"/>
                  <a:gd name="T24" fmla="*/ 588 w 874"/>
                  <a:gd name="T25" fmla="*/ 14 h 465"/>
                  <a:gd name="T26" fmla="*/ 547 w 874"/>
                  <a:gd name="T27" fmla="*/ 6 h 465"/>
                  <a:gd name="T28" fmla="*/ 504 w 874"/>
                  <a:gd name="T29" fmla="*/ 2 h 465"/>
                  <a:gd name="T30" fmla="*/ 459 w 874"/>
                  <a:gd name="T31" fmla="*/ 0 h 465"/>
                  <a:gd name="T32" fmla="*/ 415 w 874"/>
                  <a:gd name="T33" fmla="*/ 0 h 465"/>
                  <a:gd name="T34" fmla="*/ 371 w 874"/>
                  <a:gd name="T35" fmla="*/ 2 h 465"/>
                  <a:gd name="T36" fmla="*/ 328 w 874"/>
                  <a:gd name="T37" fmla="*/ 6 h 465"/>
                  <a:gd name="T38" fmla="*/ 287 w 874"/>
                  <a:gd name="T39" fmla="*/ 14 h 465"/>
                  <a:gd name="T40" fmla="*/ 248 w 874"/>
                  <a:gd name="T41" fmla="*/ 22 h 465"/>
                  <a:gd name="T42" fmla="*/ 211 w 874"/>
                  <a:gd name="T43" fmla="*/ 33 h 465"/>
                  <a:gd name="T44" fmla="*/ 175 w 874"/>
                  <a:gd name="T45" fmla="*/ 46 h 465"/>
                  <a:gd name="T46" fmla="*/ 143 w 874"/>
                  <a:gd name="T47" fmla="*/ 60 h 465"/>
                  <a:gd name="T48" fmla="*/ 114 w 874"/>
                  <a:gd name="T49" fmla="*/ 75 h 465"/>
                  <a:gd name="T50" fmla="*/ 87 w 874"/>
                  <a:gd name="T51" fmla="*/ 93 h 465"/>
                  <a:gd name="T52" fmla="*/ 63 w 874"/>
                  <a:gd name="T53" fmla="*/ 112 h 465"/>
                  <a:gd name="T54" fmla="*/ 43 w 874"/>
                  <a:gd name="T55" fmla="*/ 132 h 465"/>
                  <a:gd name="T56" fmla="*/ 26 w 874"/>
                  <a:gd name="T57" fmla="*/ 152 h 465"/>
                  <a:gd name="T58" fmla="*/ 13 w 874"/>
                  <a:gd name="T59" fmla="*/ 175 h 465"/>
                  <a:gd name="T60" fmla="*/ 5 w 874"/>
                  <a:gd name="T61" fmla="*/ 197 h 465"/>
                  <a:gd name="T62" fmla="*/ 0 w 874"/>
                  <a:gd name="T63" fmla="*/ 220 h 465"/>
                  <a:gd name="T64" fmla="*/ 0 w 874"/>
                  <a:gd name="T65" fmla="*/ 245 h 465"/>
                  <a:gd name="T66" fmla="*/ 6 w 874"/>
                  <a:gd name="T67" fmla="*/ 270 h 465"/>
                  <a:gd name="T68" fmla="*/ 15 w 874"/>
                  <a:gd name="T69" fmla="*/ 294 h 465"/>
                  <a:gd name="T70" fmla="*/ 29 w 874"/>
                  <a:gd name="T71" fmla="*/ 316 h 465"/>
                  <a:gd name="T72" fmla="*/ 47 w 874"/>
                  <a:gd name="T73" fmla="*/ 338 h 465"/>
                  <a:gd name="T74" fmla="*/ 69 w 874"/>
                  <a:gd name="T75" fmla="*/ 358 h 465"/>
                  <a:gd name="T76" fmla="*/ 94 w 874"/>
                  <a:gd name="T77" fmla="*/ 377 h 465"/>
                  <a:gd name="T78" fmla="*/ 123 w 874"/>
                  <a:gd name="T79" fmla="*/ 395 h 465"/>
                  <a:gd name="T80" fmla="*/ 437 w 874"/>
                  <a:gd name="T81" fmla="*/ 232 h 465"/>
                  <a:gd name="T82" fmla="*/ 459 w 874"/>
                  <a:gd name="T83" fmla="*/ 465 h 465"/>
                  <a:gd name="T84" fmla="*/ 504 w 874"/>
                  <a:gd name="T85" fmla="*/ 463 h 465"/>
                  <a:gd name="T86" fmla="*/ 547 w 874"/>
                  <a:gd name="T87" fmla="*/ 458 h 465"/>
                  <a:gd name="T88" fmla="*/ 588 w 874"/>
                  <a:gd name="T89" fmla="*/ 451 h 465"/>
                  <a:gd name="T90" fmla="*/ 627 w 874"/>
                  <a:gd name="T91" fmla="*/ 443 h 465"/>
                  <a:gd name="T92" fmla="*/ 663 w 874"/>
                  <a:gd name="T93" fmla="*/ 432 h 465"/>
                  <a:gd name="T94" fmla="*/ 699 w 874"/>
                  <a:gd name="T95" fmla="*/ 419 h 465"/>
                  <a:gd name="T96" fmla="*/ 732 w 874"/>
                  <a:gd name="T97" fmla="*/ 405 h 465"/>
                  <a:gd name="T98" fmla="*/ 761 w 874"/>
                  <a:gd name="T99" fmla="*/ 390 h 465"/>
                  <a:gd name="T100" fmla="*/ 788 w 874"/>
                  <a:gd name="T101" fmla="*/ 372 h 465"/>
                  <a:gd name="T102" fmla="*/ 811 w 874"/>
                  <a:gd name="T103" fmla="*/ 353 h 465"/>
                  <a:gd name="T104" fmla="*/ 831 w 874"/>
                  <a:gd name="T105" fmla="*/ 334 h 465"/>
                  <a:gd name="T106" fmla="*/ 848 w 874"/>
                  <a:gd name="T107" fmla="*/ 313 h 465"/>
                  <a:gd name="T108" fmla="*/ 860 w 874"/>
                  <a:gd name="T109" fmla="*/ 290 h 465"/>
                  <a:gd name="T110" fmla="*/ 870 w 874"/>
                  <a:gd name="T111" fmla="*/ 268 h 465"/>
                  <a:gd name="T112" fmla="*/ 874 w 874"/>
                  <a:gd name="T113" fmla="*/ 24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4" h="465">
                    <a:moveTo>
                      <a:pt x="874" y="232"/>
                    </a:moveTo>
                    <a:lnTo>
                      <a:pt x="874" y="220"/>
                    </a:lnTo>
                    <a:lnTo>
                      <a:pt x="872" y="208"/>
                    </a:lnTo>
                    <a:lnTo>
                      <a:pt x="870" y="197"/>
                    </a:lnTo>
                    <a:lnTo>
                      <a:pt x="865" y="186"/>
                    </a:lnTo>
                    <a:lnTo>
                      <a:pt x="860" y="175"/>
                    </a:lnTo>
                    <a:lnTo>
                      <a:pt x="855" y="163"/>
                    </a:lnTo>
                    <a:lnTo>
                      <a:pt x="848" y="152"/>
                    </a:lnTo>
                    <a:lnTo>
                      <a:pt x="840" y="141"/>
                    </a:lnTo>
                    <a:lnTo>
                      <a:pt x="831" y="132"/>
                    </a:lnTo>
                    <a:lnTo>
                      <a:pt x="821" y="122"/>
                    </a:lnTo>
                    <a:lnTo>
                      <a:pt x="811" y="112"/>
                    </a:lnTo>
                    <a:lnTo>
                      <a:pt x="800" y="102"/>
                    </a:lnTo>
                    <a:lnTo>
                      <a:pt x="788" y="93"/>
                    </a:lnTo>
                    <a:lnTo>
                      <a:pt x="775" y="84"/>
                    </a:lnTo>
                    <a:lnTo>
                      <a:pt x="761" y="75"/>
                    </a:lnTo>
                    <a:lnTo>
                      <a:pt x="747" y="68"/>
                    </a:lnTo>
                    <a:lnTo>
                      <a:pt x="732" y="60"/>
                    </a:lnTo>
                    <a:lnTo>
                      <a:pt x="715" y="53"/>
                    </a:lnTo>
                    <a:lnTo>
                      <a:pt x="699" y="46"/>
                    </a:lnTo>
                    <a:lnTo>
                      <a:pt x="682" y="40"/>
                    </a:lnTo>
                    <a:lnTo>
                      <a:pt x="663" y="33"/>
                    </a:lnTo>
                    <a:lnTo>
                      <a:pt x="645" y="28"/>
                    </a:lnTo>
                    <a:lnTo>
                      <a:pt x="627" y="22"/>
                    </a:lnTo>
                    <a:lnTo>
                      <a:pt x="607" y="18"/>
                    </a:lnTo>
                    <a:lnTo>
                      <a:pt x="588" y="14"/>
                    </a:lnTo>
                    <a:lnTo>
                      <a:pt x="567" y="10"/>
                    </a:lnTo>
                    <a:lnTo>
                      <a:pt x="547" y="6"/>
                    </a:lnTo>
                    <a:lnTo>
                      <a:pt x="525" y="4"/>
                    </a:lnTo>
                    <a:lnTo>
                      <a:pt x="504" y="2"/>
                    </a:lnTo>
                    <a:lnTo>
                      <a:pt x="482" y="1"/>
                    </a:lnTo>
                    <a:lnTo>
                      <a:pt x="459" y="0"/>
                    </a:lnTo>
                    <a:lnTo>
                      <a:pt x="437" y="0"/>
                    </a:lnTo>
                    <a:lnTo>
                      <a:pt x="415" y="0"/>
                    </a:lnTo>
                    <a:lnTo>
                      <a:pt x="392" y="1"/>
                    </a:lnTo>
                    <a:lnTo>
                      <a:pt x="371" y="2"/>
                    </a:lnTo>
                    <a:lnTo>
                      <a:pt x="349" y="4"/>
                    </a:lnTo>
                    <a:lnTo>
                      <a:pt x="328" y="6"/>
                    </a:lnTo>
                    <a:lnTo>
                      <a:pt x="307" y="10"/>
                    </a:lnTo>
                    <a:lnTo>
                      <a:pt x="287" y="14"/>
                    </a:lnTo>
                    <a:lnTo>
                      <a:pt x="267" y="18"/>
                    </a:lnTo>
                    <a:lnTo>
                      <a:pt x="248" y="22"/>
                    </a:lnTo>
                    <a:lnTo>
                      <a:pt x="228" y="28"/>
                    </a:lnTo>
                    <a:lnTo>
                      <a:pt x="211" y="33"/>
                    </a:lnTo>
                    <a:lnTo>
                      <a:pt x="193" y="40"/>
                    </a:lnTo>
                    <a:lnTo>
                      <a:pt x="175" y="46"/>
                    </a:lnTo>
                    <a:lnTo>
                      <a:pt x="159" y="53"/>
                    </a:lnTo>
                    <a:lnTo>
                      <a:pt x="143" y="60"/>
                    </a:lnTo>
                    <a:lnTo>
                      <a:pt x="128" y="68"/>
                    </a:lnTo>
                    <a:lnTo>
                      <a:pt x="114" y="75"/>
                    </a:lnTo>
                    <a:lnTo>
                      <a:pt x="100" y="84"/>
                    </a:lnTo>
                    <a:lnTo>
                      <a:pt x="87" y="93"/>
                    </a:lnTo>
                    <a:lnTo>
                      <a:pt x="75" y="102"/>
                    </a:lnTo>
                    <a:lnTo>
                      <a:pt x="63" y="112"/>
                    </a:lnTo>
                    <a:lnTo>
                      <a:pt x="53" y="122"/>
                    </a:lnTo>
                    <a:lnTo>
                      <a:pt x="43" y="132"/>
                    </a:lnTo>
                    <a:lnTo>
                      <a:pt x="34" y="141"/>
                    </a:lnTo>
                    <a:lnTo>
                      <a:pt x="26" y="152"/>
                    </a:lnTo>
                    <a:lnTo>
                      <a:pt x="20" y="163"/>
                    </a:lnTo>
                    <a:lnTo>
                      <a:pt x="13" y="175"/>
                    </a:lnTo>
                    <a:lnTo>
                      <a:pt x="9" y="186"/>
                    </a:lnTo>
                    <a:lnTo>
                      <a:pt x="5" y="197"/>
                    </a:lnTo>
                    <a:lnTo>
                      <a:pt x="2" y="208"/>
                    </a:lnTo>
                    <a:lnTo>
                      <a:pt x="0" y="220"/>
                    </a:lnTo>
                    <a:lnTo>
                      <a:pt x="0" y="232"/>
                    </a:lnTo>
                    <a:lnTo>
                      <a:pt x="0" y="245"/>
                    </a:lnTo>
                    <a:lnTo>
                      <a:pt x="2" y="258"/>
                    </a:lnTo>
                    <a:lnTo>
                      <a:pt x="6" y="270"/>
                    </a:lnTo>
                    <a:lnTo>
                      <a:pt x="10" y="282"/>
                    </a:lnTo>
                    <a:lnTo>
                      <a:pt x="15" y="294"/>
                    </a:lnTo>
                    <a:lnTo>
                      <a:pt x="22" y="304"/>
                    </a:lnTo>
                    <a:lnTo>
                      <a:pt x="29" y="316"/>
                    </a:lnTo>
                    <a:lnTo>
                      <a:pt x="37" y="327"/>
                    </a:lnTo>
                    <a:lnTo>
                      <a:pt x="47" y="338"/>
                    </a:lnTo>
                    <a:lnTo>
                      <a:pt x="58" y="348"/>
                    </a:lnTo>
                    <a:lnTo>
                      <a:pt x="69" y="358"/>
                    </a:lnTo>
                    <a:lnTo>
                      <a:pt x="81" y="368"/>
                    </a:lnTo>
                    <a:lnTo>
                      <a:pt x="94" y="377"/>
                    </a:lnTo>
                    <a:lnTo>
                      <a:pt x="108" y="386"/>
                    </a:lnTo>
                    <a:lnTo>
                      <a:pt x="123" y="395"/>
                    </a:lnTo>
                    <a:lnTo>
                      <a:pt x="140" y="403"/>
                    </a:lnTo>
                    <a:lnTo>
                      <a:pt x="437" y="232"/>
                    </a:lnTo>
                    <a:lnTo>
                      <a:pt x="437" y="465"/>
                    </a:lnTo>
                    <a:lnTo>
                      <a:pt x="459" y="465"/>
                    </a:lnTo>
                    <a:lnTo>
                      <a:pt x="482" y="464"/>
                    </a:lnTo>
                    <a:lnTo>
                      <a:pt x="504" y="463"/>
                    </a:lnTo>
                    <a:lnTo>
                      <a:pt x="525" y="461"/>
                    </a:lnTo>
                    <a:lnTo>
                      <a:pt x="547" y="458"/>
                    </a:lnTo>
                    <a:lnTo>
                      <a:pt x="567" y="454"/>
                    </a:lnTo>
                    <a:lnTo>
                      <a:pt x="588" y="451"/>
                    </a:lnTo>
                    <a:lnTo>
                      <a:pt x="607" y="447"/>
                    </a:lnTo>
                    <a:lnTo>
                      <a:pt x="627" y="443"/>
                    </a:lnTo>
                    <a:lnTo>
                      <a:pt x="645" y="437"/>
                    </a:lnTo>
                    <a:lnTo>
                      <a:pt x="663" y="432"/>
                    </a:lnTo>
                    <a:lnTo>
                      <a:pt x="682" y="425"/>
                    </a:lnTo>
                    <a:lnTo>
                      <a:pt x="699" y="419"/>
                    </a:lnTo>
                    <a:lnTo>
                      <a:pt x="715" y="412"/>
                    </a:lnTo>
                    <a:lnTo>
                      <a:pt x="732" y="405"/>
                    </a:lnTo>
                    <a:lnTo>
                      <a:pt x="747" y="397"/>
                    </a:lnTo>
                    <a:lnTo>
                      <a:pt x="761" y="390"/>
                    </a:lnTo>
                    <a:lnTo>
                      <a:pt x="775" y="381"/>
                    </a:lnTo>
                    <a:lnTo>
                      <a:pt x="788" y="372"/>
                    </a:lnTo>
                    <a:lnTo>
                      <a:pt x="800" y="363"/>
                    </a:lnTo>
                    <a:lnTo>
                      <a:pt x="811" y="353"/>
                    </a:lnTo>
                    <a:lnTo>
                      <a:pt x="821" y="343"/>
                    </a:lnTo>
                    <a:lnTo>
                      <a:pt x="831" y="334"/>
                    </a:lnTo>
                    <a:lnTo>
                      <a:pt x="840" y="323"/>
                    </a:lnTo>
                    <a:lnTo>
                      <a:pt x="848" y="313"/>
                    </a:lnTo>
                    <a:lnTo>
                      <a:pt x="855" y="302"/>
                    </a:lnTo>
                    <a:lnTo>
                      <a:pt x="860" y="290"/>
                    </a:lnTo>
                    <a:lnTo>
                      <a:pt x="865" y="280"/>
                    </a:lnTo>
                    <a:lnTo>
                      <a:pt x="870" y="268"/>
                    </a:lnTo>
                    <a:lnTo>
                      <a:pt x="872" y="256"/>
                    </a:lnTo>
                    <a:lnTo>
                      <a:pt x="874" y="245"/>
                    </a:lnTo>
                    <a:lnTo>
                      <a:pt x="874" y="23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Freeform 10126"/>
              <p:cNvSpPr>
                <a:spLocks/>
              </p:cNvSpPr>
              <p:nvPr/>
            </p:nvSpPr>
            <p:spPr bwMode="auto">
              <a:xfrm>
                <a:off x="5367338" y="314325"/>
                <a:ext cx="117475" cy="93663"/>
              </a:xfrm>
              <a:custGeom>
                <a:avLst/>
                <a:gdLst>
                  <a:gd name="T0" fmla="*/ 0 w 297"/>
                  <a:gd name="T1" fmla="*/ 170 h 233"/>
                  <a:gd name="T2" fmla="*/ 15 w 297"/>
                  <a:gd name="T3" fmla="*/ 178 h 233"/>
                  <a:gd name="T4" fmla="*/ 30 w 297"/>
                  <a:gd name="T5" fmla="*/ 184 h 233"/>
                  <a:gd name="T6" fmla="*/ 47 w 297"/>
                  <a:gd name="T7" fmla="*/ 191 h 233"/>
                  <a:gd name="T8" fmla="*/ 63 w 297"/>
                  <a:gd name="T9" fmla="*/ 197 h 233"/>
                  <a:gd name="T10" fmla="*/ 80 w 297"/>
                  <a:gd name="T11" fmla="*/ 203 h 233"/>
                  <a:gd name="T12" fmla="*/ 98 w 297"/>
                  <a:gd name="T13" fmla="*/ 207 h 233"/>
                  <a:gd name="T14" fmla="*/ 116 w 297"/>
                  <a:gd name="T15" fmla="*/ 213 h 233"/>
                  <a:gd name="T16" fmla="*/ 135 w 297"/>
                  <a:gd name="T17" fmla="*/ 217 h 233"/>
                  <a:gd name="T18" fmla="*/ 173 w 297"/>
                  <a:gd name="T19" fmla="*/ 223 h 233"/>
                  <a:gd name="T20" fmla="*/ 214 w 297"/>
                  <a:gd name="T21" fmla="*/ 229 h 233"/>
                  <a:gd name="T22" fmla="*/ 235 w 297"/>
                  <a:gd name="T23" fmla="*/ 231 h 233"/>
                  <a:gd name="T24" fmla="*/ 255 w 297"/>
                  <a:gd name="T25" fmla="*/ 232 h 233"/>
                  <a:gd name="T26" fmla="*/ 277 w 297"/>
                  <a:gd name="T27" fmla="*/ 233 h 233"/>
                  <a:gd name="T28" fmla="*/ 297 w 297"/>
                  <a:gd name="T29" fmla="*/ 233 h 233"/>
                  <a:gd name="T30" fmla="*/ 297 w 297"/>
                  <a:gd name="T31" fmla="*/ 0 h 233"/>
                  <a:gd name="T32" fmla="*/ 0 w 297"/>
                  <a:gd name="T33" fmla="*/ 17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7" h="233">
                    <a:moveTo>
                      <a:pt x="0" y="170"/>
                    </a:moveTo>
                    <a:lnTo>
                      <a:pt x="15" y="178"/>
                    </a:lnTo>
                    <a:lnTo>
                      <a:pt x="30" y="184"/>
                    </a:lnTo>
                    <a:lnTo>
                      <a:pt x="47" y="191"/>
                    </a:lnTo>
                    <a:lnTo>
                      <a:pt x="63" y="197"/>
                    </a:lnTo>
                    <a:lnTo>
                      <a:pt x="80" y="203"/>
                    </a:lnTo>
                    <a:lnTo>
                      <a:pt x="98" y="207"/>
                    </a:lnTo>
                    <a:lnTo>
                      <a:pt x="116" y="213"/>
                    </a:lnTo>
                    <a:lnTo>
                      <a:pt x="135" y="217"/>
                    </a:lnTo>
                    <a:lnTo>
                      <a:pt x="173" y="223"/>
                    </a:lnTo>
                    <a:lnTo>
                      <a:pt x="214" y="229"/>
                    </a:lnTo>
                    <a:lnTo>
                      <a:pt x="235" y="231"/>
                    </a:lnTo>
                    <a:lnTo>
                      <a:pt x="255" y="232"/>
                    </a:lnTo>
                    <a:lnTo>
                      <a:pt x="277" y="233"/>
                    </a:lnTo>
                    <a:lnTo>
                      <a:pt x="297" y="233"/>
                    </a:lnTo>
                    <a:lnTo>
                      <a:pt x="297" y="0"/>
                    </a:lnTo>
                    <a:lnTo>
                      <a:pt x="0" y="17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66" name="TextBox 65">
            <a:extLst>
              <a:ext uri="{FF2B5EF4-FFF2-40B4-BE49-F238E27FC236}">
                <a16:creationId xmlns:a16="http://schemas.microsoft.com/office/drawing/2014/main" id="{D33C7C13-80BE-A347-913F-A1CF5AAF35E1}"/>
              </a:ext>
            </a:extLst>
          </p:cNvPr>
          <p:cNvSpPr txBox="1"/>
          <p:nvPr/>
        </p:nvSpPr>
        <p:spPr>
          <a:xfrm>
            <a:off x="869425" y="2787004"/>
            <a:ext cx="1410140" cy="379946"/>
          </a:xfrm>
          <a:prstGeom prst="rect">
            <a:avLst/>
          </a:prstGeom>
          <a:noFill/>
        </p:spPr>
        <p:txBody>
          <a:bodyPr wrap="square" lIns="0" tIns="0" rIns="0" bIns="0" rtlCol="0">
            <a:noAutofit/>
          </a:bodyPr>
          <a:lstStyle/>
          <a:p>
            <a:r>
              <a:rPr lang="en-US" b="1"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400,000+</a:t>
            </a:r>
          </a:p>
          <a:p>
            <a:r>
              <a:rPr lang="en-US" sz="900"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Employees 143 nationalities</a:t>
            </a:r>
            <a:endParaRPr lang="en-US" sz="900"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endParaRPr>
          </a:p>
        </p:txBody>
      </p:sp>
      <p:grpSp>
        <p:nvGrpSpPr>
          <p:cNvPr id="13" name="Group 12"/>
          <p:cNvGrpSpPr/>
          <p:nvPr/>
        </p:nvGrpSpPr>
        <p:grpSpPr>
          <a:xfrm>
            <a:off x="262936" y="2727939"/>
            <a:ext cx="490336" cy="490336"/>
            <a:chOff x="1501940" y="4542333"/>
            <a:chExt cx="490336" cy="490336"/>
          </a:xfrm>
        </p:grpSpPr>
        <p:sp>
          <p:nvSpPr>
            <p:cNvPr id="38" name="Freeform 33"/>
            <p:cNvSpPr>
              <a:spLocks/>
            </p:cNvSpPr>
            <p:nvPr/>
          </p:nvSpPr>
          <p:spPr bwMode="auto">
            <a:xfrm>
              <a:off x="1501940" y="4542333"/>
              <a:ext cx="490336" cy="490336"/>
            </a:xfrm>
            <a:custGeom>
              <a:avLst/>
              <a:gdLst>
                <a:gd name="T0" fmla="*/ 380 w 380"/>
                <a:gd name="T1" fmla="*/ 191 h 380"/>
                <a:gd name="T2" fmla="*/ 377 w 380"/>
                <a:gd name="T3" fmla="*/ 228 h 380"/>
                <a:gd name="T4" fmla="*/ 366 w 380"/>
                <a:gd name="T5" fmla="*/ 265 h 380"/>
                <a:gd name="T6" fmla="*/ 349 w 380"/>
                <a:gd name="T7" fmla="*/ 296 h 380"/>
                <a:gd name="T8" fmla="*/ 325 w 380"/>
                <a:gd name="T9" fmla="*/ 324 h 380"/>
                <a:gd name="T10" fmla="*/ 297 w 380"/>
                <a:gd name="T11" fmla="*/ 348 h 380"/>
                <a:gd name="T12" fmla="*/ 266 w 380"/>
                <a:gd name="T13" fmla="*/ 365 h 380"/>
                <a:gd name="T14" fmla="*/ 228 w 380"/>
                <a:gd name="T15" fmla="*/ 376 h 380"/>
                <a:gd name="T16" fmla="*/ 191 w 380"/>
                <a:gd name="T17" fmla="*/ 380 h 380"/>
                <a:gd name="T18" fmla="*/ 171 w 380"/>
                <a:gd name="T19" fmla="*/ 380 h 380"/>
                <a:gd name="T20" fmla="*/ 134 w 380"/>
                <a:gd name="T21" fmla="*/ 372 h 380"/>
                <a:gd name="T22" fmla="*/ 101 w 380"/>
                <a:gd name="T23" fmla="*/ 358 h 380"/>
                <a:gd name="T24" fmla="*/ 71 w 380"/>
                <a:gd name="T25" fmla="*/ 337 h 380"/>
                <a:gd name="T26" fmla="*/ 45 w 380"/>
                <a:gd name="T27" fmla="*/ 311 h 380"/>
                <a:gd name="T28" fmla="*/ 25 w 380"/>
                <a:gd name="T29" fmla="*/ 280 h 380"/>
                <a:gd name="T30" fmla="*/ 10 w 380"/>
                <a:gd name="T31" fmla="*/ 246 h 380"/>
                <a:gd name="T32" fmla="*/ 2 w 380"/>
                <a:gd name="T33" fmla="*/ 209 h 380"/>
                <a:gd name="T34" fmla="*/ 0 w 380"/>
                <a:gd name="T35" fmla="*/ 191 h 380"/>
                <a:gd name="T36" fmla="*/ 4 w 380"/>
                <a:gd name="T37" fmla="*/ 152 h 380"/>
                <a:gd name="T38" fmla="*/ 15 w 380"/>
                <a:gd name="T39" fmla="*/ 116 h 380"/>
                <a:gd name="T40" fmla="*/ 34 w 380"/>
                <a:gd name="T41" fmla="*/ 83 h 380"/>
                <a:gd name="T42" fmla="*/ 56 w 380"/>
                <a:gd name="T43" fmla="*/ 55 h 380"/>
                <a:gd name="T44" fmla="*/ 84 w 380"/>
                <a:gd name="T45" fmla="*/ 33 h 380"/>
                <a:gd name="T46" fmla="*/ 117 w 380"/>
                <a:gd name="T47" fmla="*/ 14 h 380"/>
                <a:gd name="T48" fmla="*/ 152 w 380"/>
                <a:gd name="T49" fmla="*/ 3 h 380"/>
                <a:gd name="T50" fmla="*/ 191 w 380"/>
                <a:gd name="T51" fmla="*/ 0 h 380"/>
                <a:gd name="T52" fmla="*/ 210 w 380"/>
                <a:gd name="T53" fmla="*/ 2 h 380"/>
                <a:gd name="T54" fmla="*/ 247 w 380"/>
                <a:gd name="T55" fmla="*/ 9 h 380"/>
                <a:gd name="T56" fmla="*/ 282 w 380"/>
                <a:gd name="T57" fmla="*/ 24 h 380"/>
                <a:gd name="T58" fmla="*/ 312 w 380"/>
                <a:gd name="T59" fmla="*/ 44 h 380"/>
                <a:gd name="T60" fmla="*/ 338 w 380"/>
                <a:gd name="T61" fmla="*/ 68 h 380"/>
                <a:gd name="T62" fmla="*/ 358 w 380"/>
                <a:gd name="T63" fmla="*/ 100 h 380"/>
                <a:gd name="T64" fmla="*/ 373 w 380"/>
                <a:gd name="T65" fmla="*/ 133 h 380"/>
                <a:gd name="T66" fmla="*/ 380 w 380"/>
                <a:gd name="T67" fmla="*/ 170 h 380"/>
                <a:gd name="T68" fmla="*/ 380 w 380"/>
                <a:gd name="T69" fmla="*/ 19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 h="380">
                  <a:moveTo>
                    <a:pt x="380" y="191"/>
                  </a:moveTo>
                  <a:lnTo>
                    <a:pt x="380" y="191"/>
                  </a:lnTo>
                  <a:lnTo>
                    <a:pt x="380" y="209"/>
                  </a:lnTo>
                  <a:lnTo>
                    <a:pt x="377" y="228"/>
                  </a:lnTo>
                  <a:lnTo>
                    <a:pt x="373" y="246"/>
                  </a:lnTo>
                  <a:lnTo>
                    <a:pt x="366" y="265"/>
                  </a:lnTo>
                  <a:lnTo>
                    <a:pt x="358" y="280"/>
                  </a:lnTo>
                  <a:lnTo>
                    <a:pt x="349" y="296"/>
                  </a:lnTo>
                  <a:lnTo>
                    <a:pt x="338" y="311"/>
                  </a:lnTo>
                  <a:lnTo>
                    <a:pt x="325" y="324"/>
                  </a:lnTo>
                  <a:lnTo>
                    <a:pt x="312" y="337"/>
                  </a:lnTo>
                  <a:lnTo>
                    <a:pt x="297" y="348"/>
                  </a:lnTo>
                  <a:lnTo>
                    <a:pt x="282" y="358"/>
                  </a:lnTo>
                  <a:lnTo>
                    <a:pt x="266" y="365"/>
                  </a:lnTo>
                  <a:lnTo>
                    <a:pt x="247" y="372"/>
                  </a:lnTo>
                  <a:lnTo>
                    <a:pt x="228" y="376"/>
                  </a:lnTo>
                  <a:lnTo>
                    <a:pt x="210" y="380"/>
                  </a:lnTo>
                  <a:lnTo>
                    <a:pt x="191" y="380"/>
                  </a:lnTo>
                  <a:lnTo>
                    <a:pt x="191" y="380"/>
                  </a:lnTo>
                  <a:lnTo>
                    <a:pt x="171" y="380"/>
                  </a:lnTo>
                  <a:lnTo>
                    <a:pt x="152" y="376"/>
                  </a:lnTo>
                  <a:lnTo>
                    <a:pt x="134" y="372"/>
                  </a:lnTo>
                  <a:lnTo>
                    <a:pt x="117" y="365"/>
                  </a:lnTo>
                  <a:lnTo>
                    <a:pt x="101" y="358"/>
                  </a:lnTo>
                  <a:lnTo>
                    <a:pt x="84" y="348"/>
                  </a:lnTo>
                  <a:lnTo>
                    <a:pt x="71" y="337"/>
                  </a:lnTo>
                  <a:lnTo>
                    <a:pt x="56" y="324"/>
                  </a:lnTo>
                  <a:lnTo>
                    <a:pt x="45" y="311"/>
                  </a:lnTo>
                  <a:lnTo>
                    <a:pt x="34" y="296"/>
                  </a:lnTo>
                  <a:lnTo>
                    <a:pt x="25" y="280"/>
                  </a:lnTo>
                  <a:lnTo>
                    <a:pt x="15" y="265"/>
                  </a:lnTo>
                  <a:lnTo>
                    <a:pt x="10" y="246"/>
                  </a:lnTo>
                  <a:lnTo>
                    <a:pt x="4" y="228"/>
                  </a:lnTo>
                  <a:lnTo>
                    <a:pt x="2" y="209"/>
                  </a:lnTo>
                  <a:lnTo>
                    <a:pt x="0" y="191"/>
                  </a:lnTo>
                  <a:lnTo>
                    <a:pt x="0" y="191"/>
                  </a:lnTo>
                  <a:lnTo>
                    <a:pt x="2" y="170"/>
                  </a:lnTo>
                  <a:lnTo>
                    <a:pt x="4" y="152"/>
                  </a:lnTo>
                  <a:lnTo>
                    <a:pt x="10" y="133"/>
                  </a:lnTo>
                  <a:lnTo>
                    <a:pt x="15" y="116"/>
                  </a:lnTo>
                  <a:lnTo>
                    <a:pt x="25" y="100"/>
                  </a:lnTo>
                  <a:lnTo>
                    <a:pt x="34" y="83"/>
                  </a:lnTo>
                  <a:lnTo>
                    <a:pt x="45" y="68"/>
                  </a:lnTo>
                  <a:lnTo>
                    <a:pt x="56" y="55"/>
                  </a:lnTo>
                  <a:lnTo>
                    <a:pt x="71" y="44"/>
                  </a:lnTo>
                  <a:lnTo>
                    <a:pt x="84" y="33"/>
                  </a:lnTo>
                  <a:lnTo>
                    <a:pt x="101" y="24"/>
                  </a:lnTo>
                  <a:lnTo>
                    <a:pt x="117" y="14"/>
                  </a:lnTo>
                  <a:lnTo>
                    <a:pt x="134" y="9"/>
                  </a:lnTo>
                  <a:lnTo>
                    <a:pt x="152" y="3"/>
                  </a:lnTo>
                  <a:lnTo>
                    <a:pt x="171" y="2"/>
                  </a:lnTo>
                  <a:lnTo>
                    <a:pt x="191" y="0"/>
                  </a:lnTo>
                  <a:lnTo>
                    <a:pt x="191" y="0"/>
                  </a:lnTo>
                  <a:lnTo>
                    <a:pt x="210" y="2"/>
                  </a:lnTo>
                  <a:lnTo>
                    <a:pt x="228" y="3"/>
                  </a:lnTo>
                  <a:lnTo>
                    <a:pt x="247" y="9"/>
                  </a:lnTo>
                  <a:lnTo>
                    <a:pt x="266" y="14"/>
                  </a:lnTo>
                  <a:lnTo>
                    <a:pt x="282" y="24"/>
                  </a:lnTo>
                  <a:lnTo>
                    <a:pt x="297" y="33"/>
                  </a:lnTo>
                  <a:lnTo>
                    <a:pt x="312" y="44"/>
                  </a:lnTo>
                  <a:lnTo>
                    <a:pt x="325" y="55"/>
                  </a:lnTo>
                  <a:lnTo>
                    <a:pt x="338" y="68"/>
                  </a:lnTo>
                  <a:lnTo>
                    <a:pt x="349" y="83"/>
                  </a:lnTo>
                  <a:lnTo>
                    <a:pt x="358" y="100"/>
                  </a:lnTo>
                  <a:lnTo>
                    <a:pt x="366" y="116"/>
                  </a:lnTo>
                  <a:lnTo>
                    <a:pt x="373" y="133"/>
                  </a:lnTo>
                  <a:lnTo>
                    <a:pt x="377" y="152"/>
                  </a:lnTo>
                  <a:lnTo>
                    <a:pt x="380" y="170"/>
                  </a:lnTo>
                  <a:lnTo>
                    <a:pt x="380" y="191"/>
                  </a:lnTo>
                  <a:lnTo>
                    <a:pt x="380" y="191"/>
                  </a:lnTo>
                  <a:close/>
                </a:path>
              </a:pathLst>
            </a:custGeom>
            <a:gradFill>
              <a:gsLst>
                <a:gs pos="0">
                  <a:srgbClr val="EEBB00"/>
                </a:gs>
                <a:gs pos="50000">
                  <a:srgbClr val="F7901F"/>
                </a:gs>
                <a:gs pos="100000">
                  <a:srgbClr val="F1622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67" name="Group 66"/>
            <p:cNvGrpSpPr/>
            <p:nvPr/>
          </p:nvGrpSpPr>
          <p:grpSpPr>
            <a:xfrm>
              <a:off x="1556481" y="4632776"/>
              <a:ext cx="395806" cy="321411"/>
              <a:chOff x="2905126" y="1270001"/>
              <a:chExt cx="757237" cy="638175"/>
            </a:xfrm>
            <a:solidFill>
              <a:schemeClr val="bg1"/>
            </a:solidFill>
          </p:grpSpPr>
          <p:sp>
            <p:nvSpPr>
              <p:cNvPr id="68" name="Freeform 25"/>
              <p:cNvSpPr>
                <a:spLocks/>
              </p:cNvSpPr>
              <p:nvPr/>
            </p:nvSpPr>
            <p:spPr bwMode="auto">
              <a:xfrm>
                <a:off x="3176588" y="1341438"/>
                <a:ext cx="217488" cy="217488"/>
              </a:xfrm>
              <a:custGeom>
                <a:avLst/>
                <a:gdLst>
                  <a:gd name="T0" fmla="*/ 683 w 685"/>
                  <a:gd name="T1" fmla="*/ 378 h 685"/>
                  <a:gd name="T2" fmla="*/ 674 w 685"/>
                  <a:gd name="T3" fmla="*/ 428 h 685"/>
                  <a:gd name="T4" fmla="*/ 658 w 685"/>
                  <a:gd name="T5" fmla="*/ 476 h 685"/>
                  <a:gd name="T6" fmla="*/ 636 w 685"/>
                  <a:gd name="T7" fmla="*/ 520 h 685"/>
                  <a:gd name="T8" fmla="*/ 606 w 685"/>
                  <a:gd name="T9" fmla="*/ 561 h 685"/>
                  <a:gd name="T10" fmla="*/ 573 w 685"/>
                  <a:gd name="T11" fmla="*/ 596 h 685"/>
                  <a:gd name="T12" fmla="*/ 534 w 685"/>
                  <a:gd name="T13" fmla="*/ 627 h 685"/>
                  <a:gd name="T14" fmla="*/ 491 w 685"/>
                  <a:gd name="T15" fmla="*/ 652 h 685"/>
                  <a:gd name="T16" fmla="*/ 445 w 685"/>
                  <a:gd name="T17" fmla="*/ 670 h 685"/>
                  <a:gd name="T18" fmla="*/ 394 w 685"/>
                  <a:gd name="T19" fmla="*/ 681 h 685"/>
                  <a:gd name="T20" fmla="*/ 343 w 685"/>
                  <a:gd name="T21" fmla="*/ 685 h 685"/>
                  <a:gd name="T22" fmla="*/ 290 w 685"/>
                  <a:gd name="T23" fmla="*/ 681 h 685"/>
                  <a:gd name="T24" fmla="*/ 241 w 685"/>
                  <a:gd name="T25" fmla="*/ 670 h 685"/>
                  <a:gd name="T26" fmla="*/ 194 w 685"/>
                  <a:gd name="T27" fmla="*/ 652 h 685"/>
                  <a:gd name="T28" fmla="*/ 151 w 685"/>
                  <a:gd name="T29" fmla="*/ 627 h 685"/>
                  <a:gd name="T30" fmla="*/ 112 w 685"/>
                  <a:gd name="T31" fmla="*/ 596 h 685"/>
                  <a:gd name="T32" fmla="*/ 78 w 685"/>
                  <a:gd name="T33" fmla="*/ 561 h 685"/>
                  <a:gd name="T34" fmla="*/ 50 w 685"/>
                  <a:gd name="T35" fmla="*/ 520 h 685"/>
                  <a:gd name="T36" fmla="*/ 26 w 685"/>
                  <a:gd name="T37" fmla="*/ 476 h 685"/>
                  <a:gd name="T38" fmla="*/ 10 w 685"/>
                  <a:gd name="T39" fmla="*/ 428 h 685"/>
                  <a:gd name="T40" fmla="*/ 1 w 685"/>
                  <a:gd name="T41" fmla="*/ 378 h 685"/>
                  <a:gd name="T42" fmla="*/ 0 w 685"/>
                  <a:gd name="T43" fmla="*/ 325 h 685"/>
                  <a:gd name="T44" fmla="*/ 7 w 685"/>
                  <a:gd name="T45" fmla="*/ 274 h 685"/>
                  <a:gd name="T46" fmla="*/ 20 w 685"/>
                  <a:gd name="T47" fmla="*/ 225 h 685"/>
                  <a:gd name="T48" fmla="*/ 41 w 685"/>
                  <a:gd name="T49" fmla="*/ 180 h 685"/>
                  <a:gd name="T50" fmla="*/ 68 w 685"/>
                  <a:gd name="T51" fmla="*/ 137 h 685"/>
                  <a:gd name="T52" fmla="*/ 100 w 685"/>
                  <a:gd name="T53" fmla="*/ 101 h 685"/>
                  <a:gd name="T54" fmla="*/ 137 w 685"/>
                  <a:gd name="T55" fmla="*/ 69 h 685"/>
                  <a:gd name="T56" fmla="*/ 179 w 685"/>
                  <a:gd name="T57" fmla="*/ 42 h 685"/>
                  <a:gd name="T58" fmla="*/ 224 w 685"/>
                  <a:gd name="T59" fmla="*/ 21 h 685"/>
                  <a:gd name="T60" fmla="*/ 273 w 685"/>
                  <a:gd name="T61" fmla="*/ 7 h 685"/>
                  <a:gd name="T62" fmla="*/ 324 w 685"/>
                  <a:gd name="T63" fmla="*/ 1 h 685"/>
                  <a:gd name="T64" fmla="*/ 378 w 685"/>
                  <a:gd name="T65" fmla="*/ 2 h 685"/>
                  <a:gd name="T66" fmla="*/ 429 w 685"/>
                  <a:gd name="T67" fmla="*/ 11 h 685"/>
                  <a:gd name="T68" fmla="*/ 476 w 685"/>
                  <a:gd name="T69" fmla="*/ 27 h 685"/>
                  <a:gd name="T70" fmla="*/ 520 w 685"/>
                  <a:gd name="T71" fmla="*/ 50 h 685"/>
                  <a:gd name="T72" fmla="*/ 560 w 685"/>
                  <a:gd name="T73" fmla="*/ 79 h 685"/>
                  <a:gd name="T74" fmla="*/ 596 w 685"/>
                  <a:gd name="T75" fmla="*/ 112 h 685"/>
                  <a:gd name="T76" fmla="*/ 627 w 685"/>
                  <a:gd name="T77" fmla="*/ 152 h 685"/>
                  <a:gd name="T78" fmla="*/ 651 w 685"/>
                  <a:gd name="T79" fmla="*/ 194 h 685"/>
                  <a:gd name="T80" fmla="*/ 670 w 685"/>
                  <a:gd name="T81" fmla="*/ 242 h 685"/>
                  <a:gd name="T82" fmla="*/ 681 w 685"/>
                  <a:gd name="T83" fmla="*/ 291 h 685"/>
                  <a:gd name="T84" fmla="*/ 685 w 685"/>
                  <a:gd name="T85" fmla="*/ 343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5" h="685">
                    <a:moveTo>
                      <a:pt x="685" y="343"/>
                    </a:moveTo>
                    <a:lnTo>
                      <a:pt x="684" y="361"/>
                    </a:lnTo>
                    <a:lnTo>
                      <a:pt x="683" y="378"/>
                    </a:lnTo>
                    <a:lnTo>
                      <a:pt x="681" y="395"/>
                    </a:lnTo>
                    <a:lnTo>
                      <a:pt x="678" y="412"/>
                    </a:lnTo>
                    <a:lnTo>
                      <a:pt x="674" y="428"/>
                    </a:lnTo>
                    <a:lnTo>
                      <a:pt x="670" y="445"/>
                    </a:lnTo>
                    <a:lnTo>
                      <a:pt x="664" y="461"/>
                    </a:lnTo>
                    <a:lnTo>
                      <a:pt x="658" y="476"/>
                    </a:lnTo>
                    <a:lnTo>
                      <a:pt x="651" y="491"/>
                    </a:lnTo>
                    <a:lnTo>
                      <a:pt x="644" y="506"/>
                    </a:lnTo>
                    <a:lnTo>
                      <a:pt x="636" y="520"/>
                    </a:lnTo>
                    <a:lnTo>
                      <a:pt x="627" y="535"/>
                    </a:lnTo>
                    <a:lnTo>
                      <a:pt x="616" y="548"/>
                    </a:lnTo>
                    <a:lnTo>
                      <a:pt x="606" y="561"/>
                    </a:lnTo>
                    <a:lnTo>
                      <a:pt x="596" y="573"/>
                    </a:lnTo>
                    <a:lnTo>
                      <a:pt x="585" y="585"/>
                    </a:lnTo>
                    <a:lnTo>
                      <a:pt x="573" y="596"/>
                    </a:lnTo>
                    <a:lnTo>
                      <a:pt x="560" y="607"/>
                    </a:lnTo>
                    <a:lnTo>
                      <a:pt x="548" y="617"/>
                    </a:lnTo>
                    <a:lnTo>
                      <a:pt x="534" y="627"/>
                    </a:lnTo>
                    <a:lnTo>
                      <a:pt x="520" y="636"/>
                    </a:lnTo>
                    <a:lnTo>
                      <a:pt x="505" y="644"/>
                    </a:lnTo>
                    <a:lnTo>
                      <a:pt x="491" y="652"/>
                    </a:lnTo>
                    <a:lnTo>
                      <a:pt x="476" y="659"/>
                    </a:lnTo>
                    <a:lnTo>
                      <a:pt x="460" y="665"/>
                    </a:lnTo>
                    <a:lnTo>
                      <a:pt x="445" y="670"/>
                    </a:lnTo>
                    <a:lnTo>
                      <a:pt x="429" y="675"/>
                    </a:lnTo>
                    <a:lnTo>
                      <a:pt x="411" y="678"/>
                    </a:lnTo>
                    <a:lnTo>
                      <a:pt x="394" y="681"/>
                    </a:lnTo>
                    <a:lnTo>
                      <a:pt x="378" y="684"/>
                    </a:lnTo>
                    <a:lnTo>
                      <a:pt x="360" y="685"/>
                    </a:lnTo>
                    <a:lnTo>
                      <a:pt x="343" y="685"/>
                    </a:lnTo>
                    <a:lnTo>
                      <a:pt x="324" y="685"/>
                    </a:lnTo>
                    <a:lnTo>
                      <a:pt x="307" y="684"/>
                    </a:lnTo>
                    <a:lnTo>
                      <a:pt x="290" y="681"/>
                    </a:lnTo>
                    <a:lnTo>
                      <a:pt x="273" y="678"/>
                    </a:lnTo>
                    <a:lnTo>
                      <a:pt x="257" y="675"/>
                    </a:lnTo>
                    <a:lnTo>
                      <a:pt x="241" y="670"/>
                    </a:lnTo>
                    <a:lnTo>
                      <a:pt x="224" y="665"/>
                    </a:lnTo>
                    <a:lnTo>
                      <a:pt x="209" y="659"/>
                    </a:lnTo>
                    <a:lnTo>
                      <a:pt x="194" y="652"/>
                    </a:lnTo>
                    <a:lnTo>
                      <a:pt x="179" y="644"/>
                    </a:lnTo>
                    <a:lnTo>
                      <a:pt x="165" y="636"/>
                    </a:lnTo>
                    <a:lnTo>
                      <a:pt x="151" y="627"/>
                    </a:lnTo>
                    <a:lnTo>
                      <a:pt x="137" y="617"/>
                    </a:lnTo>
                    <a:lnTo>
                      <a:pt x="124" y="607"/>
                    </a:lnTo>
                    <a:lnTo>
                      <a:pt x="112" y="596"/>
                    </a:lnTo>
                    <a:lnTo>
                      <a:pt x="100" y="585"/>
                    </a:lnTo>
                    <a:lnTo>
                      <a:pt x="89" y="573"/>
                    </a:lnTo>
                    <a:lnTo>
                      <a:pt x="78" y="561"/>
                    </a:lnTo>
                    <a:lnTo>
                      <a:pt x="68" y="548"/>
                    </a:lnTo>
                    <a:lnTo>
                      <a:pt x="59" y="535"/>
                    </a:lnTo>
                    <a:lnTo>
                      <a:pt x="50" y="520"/>
                    </a:lnTo>
                    <a:lnTo>
                      <a:pt x="41" y="506"/>
                    </a:lnTo>
                    <a:lnTo>
                      <a:pt x="33" y="491"/>
                    </a:lnTo>
                    <a:lnTo>
                      <a:pt x="26" y="476"/>
                    </a:lnTo>
                    <a:lnTo>
                      <a:pt x="20" y="461"/>
                    </a:lnTo>
                    <a:lnTo>
                      <a:pt x="15" y="445"/>
                    </a:lnTo>
                    <a:lnTo>
                      <a:pt x="10" y="428"/>
                    </a:lnTo>
                    <a:lnTo>
                      <a:pt x="7" y="412"/>
                    </a:lnTo>
                    <a:lnTo>
                      <a:pt x="4" y="395"/>
                    </a:lnTo>
                    <a:lnTo>
                      <a:pt x="1" y="378"/>
                    </a:lnTo>
                    <a:lnTo>
                      <a:pt x="0" y="361"/>
                    </a:lnTo>
                    <a:lnTo>
                      <a:pt x="0" y="343"/>
                    </a:lnTo>
                    <a:lnTo>
                      <a:pt x="0" y="325"/>
                    </a:lnTo>
                    <a:lnTo>
                      <a:pt x="1" y="308"/>
                    </a:lnTo>
                    <a:lnTo>
                      <a:pt x="4" y="291"/>
                    </a:lnTo>
                    <a:lnTo>
                      <a:pt x="7" y="274"/>
                    </a:lnTo>
                    <a:lnTo>
                      <a:pt x="10" y="258"/>
                    </a:lnTo>
                    <a:lnTo>
                      <a:pt x="15" y="242"/>
                    </a:lnTo>
                    <a:lnTo>
                      <a:pt x="20" y="225"/>
                    </a:lnTo>
                    <a:lnTo>
                      <a:pt x="26" y="209"/>
                    </a:lnTo>
                    <a:lnTo>
                      <a:pt x="33" y="194"/>
                    </a:lnTo>
                    <a:lnTo>
                      <a:pt x="41" y="180"/>
                    </a:lnTo>
                    <a:lnTo>
                      <a:pt x="50" y="165"/>
                    </a:lnTo>
                    <a:lnTo>
                      <a:pt x="59" y="152"/>
                    </a:lnTo>
                    <a:lnTo>
                      <a:pt x="68" y="137"/>
                    </a:lnTo>
                    <a:lnTo>
                      <a:pt x="78" y="125"/>
                    </a:lnTo>
                    <a:lnTo>
                      <a:pt x="89" y="112"/>
                    </a:lnTo>
                    <a:lnTo>
                      <a:pt x="100" y="101"/>
                    </a:lnTo>
                    <a:lnTo>
                      <a:pt x="112" y="89"/>
                    </a:lnTo>
                    <a:lnTo>
                      <a:pt x="124" y="79"/>
                    </a:lnTo>
                    <a:lnTo>
                      <a:pt x="137" y="69"/>
                    </a:lnTo>
                    <a:lnTo>
                      <a:pt x="151" y="59"/>
                    </a:lnTo>
                    <a:lnTo>
                      <a:pt x="165" y="50"/>
                    </a:lnTo>
                    <a:lnTo>
                      <a:pt x="179" y="42"/>
                    </a:lnTo>
                    <a:lnTo>
                      <a:pt x="194" y="34"/>
                    </a:lnTo>
                    <a:lnTo>
                      <a:pt x="209" y="27"/>
                    </a:lnTo>
                    <a:lnTo>
                      <a:pt x="224" y="21"/>
                    </a:lnTo>
                    <a:lnTo>
                      <a:pt x="241" y="15"/>
                    </a:lnTo>
                    <a:lnTo>
                      <a:pt x="257" y="11"/>
                    </a:lnTo>
                    <a:lnTo>
                      <a:pt x="273" y="7"/>
                    </a:lnTo>
                    <a:lnTo>
                      <a:pt x="290" y="4"/>
                    </a:lnTo>
                    <a:lnTo>
                      <a:pt x="307" y="2"/>
                    </a:lnTo>
                    <a:lnTo>
                      <a:pt x="324" y="1"/>
                    </a:lnTo>
                    <a:lnTo>
                      <a:pt x="343" y="0"/>
                    </a:lnTo>
                    <a:lnTo>
                      <a:pt x="360" y="1"/>
                    </a:lnTo>
                    <a:lnTo>
                      <a:pt x="378" y="2"/>
                    </a:lnTo>
                    <a:lnTo>
                      <a:pt x="394" y="4"/>
                    </a:lnTo>
                    <a:lnTo>
                      <a:pt x="411" y="7"/>
                    </a:lnTo>
                    <a:lnTo>
                      <a:pt x="429" y="11"/>
                    </a:lnTo>
                    <a:lnTo>
                      <a:pt x="445" y="15"/>
                    </a:lnTo>
                    <a:lnTo>
                      <a:pt x="460" y="21"/>
                    </a:lnTo>
                    <a:lnTo>
                      <a:pt x="476" y="27"/>
                    </a:lnTo>
                    <a:lnTo>
                      <a:pt x="491" y="34"/>
                    </a:lnTo>
                    <a:lnTo>
                      <a:pt x="505" y="42"/>
                    </a:lnTo>
                    <a:lnTo>
                      <a:pt x="520" y="50"/>
                    </a:lnTo>
                    <a:lnTo>
                      <a:pt x="534" y="59"/>
                    </a:lnTo>
                    <a:lnTo>
                      <a:pt x="548" y="69"/>
                    </a:lnTo>
                    <a:lnTo>
                      <a:pt x="560" y="79"/>
                    </a:lnTo>
                    <a:lnTo>
                      <a:pt x="573" y="89"/>
                    </a:lnTo>
                    <a:lnTo>
                      <a:pt x="585" y="101"/>
                    </a:lnTo>
                    <a:lnTo>
                      <a:pt x="596" y="112"/>
                    </a:lnTo>
                    <a:lnTo>
                      <a:pt x="606" y="125"/>
                    </a:lnTo>
                    <a:lnTo>
                      <a:pt x="616" y="137"/>
                    </a:lnTo>
                    <a:lnTo>
                      <a:pt x="627" y="152"/>
                    </a:lnTo>
                    <a:lnTo>
                      <a:pt x="636" y="165"/>
                    </a:lnTo>
                    <a:lnTo>
                      <a:pt x="644" y="180"/>
                    </a:lnTo>
                    <a:lnTo>
                      <a:pt x="651" y="194"/>
                    </a:lnTo>
                    <a:lnTo>
                      <a:pt x="658" y="209"/>
                    </a:lnTo>
                    <a:lnTo>
                      <a:pt x="664" y="225"/>
                    </a:lnTo>
                    <a:lnTo>
                      <a:pt x="670" y="242"/>
                    </a:lnTo>
                    <a:lnTo>
                      <a:pt x="674" y="258"/>
                    </a:lnTo>
                    <a:lnTo>
                      <a:pt x="678" y="274"/>
                    </a:lnTo>
                    <a:lnTo>
                      <a:pt x="681" y="291"/>
                    </a:lnTo>
                    <a:lnTo>
                      <a:pt x="683" y="308"/>
                    </a:lnTo>
                    <a:lnTo>
                      <a:pt x="684" y="325"/>
                    </a:lnTo>
                    <a:lnTo>
                      <a:pt x="685" y="34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9" name="Freeform 26"/>
              <p:cNvSpPr>
                <a:spLocks/>
              </p:cNvSpPr>
              <p:nvPr/>
            </p:nvSpPr>
            <p:spPr bwMode="auto">
              <a:xfrm>
                <a:off x="3095626" y="1577976"/>
                <a:ext cx="382588" cy="330200"/>
              </a:xfrm>
              <a:custGeom>
                <a:avLst/>
                <a:gdLst>
                  <a:gd name="T0" fmla="*/ 385 w 1203"/>
                  <a:gd name="T1" fmla="*/ 1 h 1038"/>
                  <a:gd name="T2" fmla="*/ 324 w 1203"/>
                  <a:gd name="T3" fmla="*/ 33 h 1038"/>
                  <a:gd name="T4" fmla="*/ 266 w 1203"/>
                  <a:gd name="T5" fmla="*/ 73 h 1038"/>
                  <a:gd name="T6" fmla="*/ 213 w 1203"/>
                  <a:gd name="T7" fmla="*/ 120 h 1038"/>
                  <a:gd name="T8" fmla="*/ 164 w 1203"/>
                  <a:gd name="T9" fmla="*/ 173 h 1038"/>
                  <a:gd name="T10" fmla="*/ 122 w 1203"/>
                  <a:gd name="T11" fmla="*/ 232 h 1038"/>
                  <a:gd name="T12" fmla="*/ 84 w 1203"/>
                  <a:gd name="T13" fmla="*/ 297 h 1038"/>
                  <a:gd name="T14" fmla="*/ 53 w 1203"/>
                  <a:gd name="T15" fmla="*/ 366 h 1038"/>
                  <a:gd name="T16" fmla="*/ 29 w 1203"/>
                  <a:gd name="T17" fmla="*/ 439 h 1038"/>
                  <a:gd name="T18" fmla="*/ 11 w 1203"/>
                  <a:gd name="T19" fmla="*/ 517 h 1038"/>
                  <a:gd name="T20" fmla="*/ 1 w 1203"/>
                  <a:gd name="T21" fmla="*/ 598 h 1038"/>
                  <a:gd name="T22" fmla="*/ 0 w 1203"/>
                  <a:gd name="T23" fmla="*/ 683 h 1038"/>
                  <a:gd name="T24" fmla="*/ 9 w 1203"/>
                  <a:gd name="T25" fmla="*/ 773 h 1038"/>
                  <a:gd name="T26" fmla="*/ 48 w 1203"/>
                  <a:gd name="T27" fmla="*/ 816 h 1038"/>
                  <a:gd name="T28" fmla="*/ 90 w 1203"/>
                  <a:gd name="T29" fmla="*/ 857 h 1038"/>
                  <a:gd name="T30" fmla="*/ 137 w 1203"/>
                  <a:gd name="T31" fmla="*/ 894 h 1038"/>
                  <a:gd name="T32" fmla="*/ 187 w 1203"/>
                  <a:gd name="T33" fmla="*/ 927 h 1038"/>
                  <a:gd name="T34" fmla="*/ 242 w 1203"/>
                  <a:gd name="T35" fmla="*/ 957 h 1038"/>
                  <a:gd name="T36" fmla="*/ 298 w 1203"/>
                  <a:gd name="T37" fmla="*/ 982 h 1038"/>
                  <a:gd name="T38" fmla="*/ 359 w 1203"/>
                  <a:gd name="T39" fmla="*/ 1003 h 1038"/>
                  <a:gd name="T40" fmla="*/ 423 w 1203"/>
                  <a:gd name="T41" fmla="*/ 1019 h 1038"/>
                  <a:gd name="T42" fmla="*/ 487 w 1203"/>
                  <a:gd name="T43" fmla="*/ 1031 h 1038"/>
                  <a:gd name="T44" fmla="*/ 555 w 1203"/>
                  <a:gd name="T45" fmla="*/ 1037 h 1038"/>
                  <a:gd name="T46" fmla="*/ 625 w 1203"/>
                  <a:gd name="T47" fmla="*/ 1038 h 1038"/>
                  <a:gd name="T48" fmla="*/ 693 w 1203"/>
                  <a:gd name="T49" fmla="*/ 1033 h 1038"/>
                  <a:gd name="T50" fmla="*/ 759 w 1203"/>
                  <a:gd name="T51" fmla="*/ 1024 h 1038"/>
                  <a:gd name="T52" fmla="*/ 823 w 1203"/>
                  <a:gd name="T53" fmla="*/ 1009 h 1038"/>
                  <a:gd name="T54" fmla="*/ 885 w 1203"/>
                  <a:gd name="T55" fmla="*/ 990 h 1038"/>
                  <a:gd name="T56" fmla="*/ 943 w 1203"/>
                  <a:gd name="T57" fmla="*/ 966 h 1038"/>
                  <a:gd name="T58" fmla="*/ 998 w 1203"/>
                  <a:gd name="T59" fmla="*/ 937 h 1038"/>
                  <a:gd name="T60" fmla="*/ 1050 w 1203"/>
                  <a:gd name="T61" fmla="*/ 905 h 1038"/>
                  <a:gd name="T62" fmla="*/ 1098 w 1203"/>
                  <a:gd name="T63" fmla="*/ 870 h 1038"/>
                  <a:gd name="T64" fmla="*/ 1142 w 1203"/>
                  <a:gd name="T65" fmla="*/ 830 h 1038"/>
                  <a:gd name="T66" fmla="*/ 1182 w 1203"/>
                  <a:gd name="T67" fmla="*/ 787 h 1038"/>
                  <a:gd name="T68" fmla="*/ 1201 w 1203"/>
                  <a:gd name="T69" fmla="*/ 713 h 1038"/>
                  <a:gd name="T70" fmla="*/ 1203 w 1203"/>
                  <a:gd name="T71" fmla="*/ 625 h 1038"/>
                  <a:gd name="T72" fmla="*/ 1196 w 1203"/>
                  <a:gd name="T73" fmla="*/ 543 h 1038"/>
                  <a:gd name="T74" fmla="*/ 1181 w 1203"/>
                  <a:gd name="T75" fmla="*/ 465 h 1038"/>
                  <a:gd name="T76" fmla="*/ 1159 w 1203"/>
                  <a:gd name="T77" fmla="*/ 389 h 1038"/>
                  <a:gd name="T78" fmla="*/ 1130 w 1203"/>
                  <a:gd name="T79" fmla="*/ 318 h 1038"/>
                  <a:gd name="T80" fmla="*/ 1094 w 1203"/>
                  <a:gd name="T81" fmla="*/ 251 h 1038"/>
                  <a:gd name="T82" fmla="*/ 1052 w 1203"/>
                  <a:gd name="T83" fmla="*/ 191 h 1038"/>
                  <a:gd name="T84" fmla="*/ 1006 w 1203"/>
                  <a:gd name="T85" fmla="*/ 135 h 1038"/>
                  <a:gd name="T86" fmla="*/ 953 w 1203"/>
                  <a:gd name="T87" fmla="*/ 87 h 1038"/>
                  <a:gd name="T88" fmla="*/ 897 w 1203"/>
                  <a:gd name="T89" fmla="*/ 44 h 1038"/>
                  <a:gd name="T90" fmla="*/ 836 w 1203"/>
                  <a:gd name="T91" fmla="*/ 10 h 1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3" h="1038">
                    <a:moveTo>
                      <a:pt x="815" y="0"/>
                    </a:moveTo>
                    <a:lnTo>
                      <a:pt x="600" y="252"/>
                    </a:lnTo>
                    <a:lnTo>
                      <a:pt x="385" y="1"/>
                    </a:lnTo>
                    <a:lnTo>
                      <a:pt x="364" y="11"/>
                    </a:lnTo>
                    <a:lnTo>
                      <a:pt x="344" y="21"/>
                    </a:lnTo>
                    <a:lnTo>
                      <a:pt x="324" y="33"/>
                    </a:lnTo>
                    <a:lnTo>
                      <a:pt x="305" y="45"/>
                    </a:lnTo>
                    <a:lnTo>
                      <a:pt x="285" y="58"/>
                    </a:lnTo>
                    <a:lnTo>
                      <a:pt x="266" y="73"/>
                    </a:lnTo>
                    <a:lnTo>
                      <a:pt x="248" y="88"/>
                    </a:lnTo>
                    <a:lnTo>
                      <a:pt x="230" y="104"/>
                    </a:lnTo>
                    <a:lnTo>
                      <a:pt x="213" y="120"/>
                    </a:lnTo>
                    <a:lnTo>
                      <a:pt x="196" y="137"/>
                    </a:lnTo>
                    <a:lnTo>
                      <a:pt x="180" y="154"/>
                    </a:lnTo>
                    <a:lnTo>
                      <a:pt x="164" y="173"/>
                    </a:lnTo>
                    <a:lnTo>
                      <a:pt x="149" y="192"/>
                    </a:lnTo>
                    <a:lnTo>
                      <a:pt x="135" y="212"/>
                    </a:lnTo>
                    <a:lnTo>
                      <a:pt x="122" y="232"/>
                    </a:lnTo>
                    <a:lnTo>
                      <a:pt x="108" y="253"/>
                    </a:lnTo>
                    <a:lnTo>
                      <a:pt x="95" y="275"/>
                    </a:lnTo>
                    <a:lnTo>
                      <a:pt x="84" y="297"/>
                    </a:lnTo>
                    <a:lnTo>
                      <a:pt x="73" y="319"/>
                    </a:lnTo>
                    <a:lnTo>
                      <a:pt x="62" y="342"/>
                    </a:lnTo>
                    <a:lnTo>
                      <a:pt x="53" y="366"/>
                    </a:lnTo>
                    <a:lnTo>
                      <a:pt x="44" y="390"/>
                    </a:lnTo>
                    <a:lnTo>
                      <a:pt x="36" y="414"/>
                    </a:lnTo>
                    <a:lnTo>
                      <a:pt x="29" y="439"/>
                    </a:lnTo>
                    <a:lnTo>
                      <a:pt x="22" y="465"/>
                    </a:lnTo>
                    <a:lnTo>
                      <a:pt x="16" y="491"/>
                    </a:lnTo>
                    <a:lnTo>
                      <a:pt x="11" y="517"/>
                    </a:lnTo>
                    <a:lnTo>
                      <a:pt x="7" y="543"/>
                    </a:lnTo>
                    <a:lnTo>
                      <a:pt x="4" y="571"/>
                    </a:lnTo>
                    <a:lnTo>
                      <a:pt x="1" y="598"/>
                    </a:lnTo>
                    <a:lnTo>
                      <a:pt x="0" y="625"/>
                    </a:lnTo>
                    <a:lnTo>
                      <a:pt x="0" y="652"/>
                    </a:lnTo>
                    <a:lnTo>
                      <a:pt x="0" y="683"/>
                    </a:lnTo>
                    <a:lnTo>
                      <a:pt x="2" y="713"/>
                    </a:lnTo>
                    <a:lnTo>
                      <a:pt x="5" y="743"/>
                    </a:lnTo>
                    <a:lnTo>
                      <a:pt x="9" y="773"/>
                    </a:lnTo>
                    <a:lnTo>
                      <a:pt x="22" y="787"/>
                    </a:lnTo>
                    <a:lnTo>
                      <a:pt x="34" y="802"/>
                    </a:lnTo>
                    <a:lnTo>
                      <a:pt x="48" y="816"/>
                    </a:lnTo>
                    <a:lnTo>
                      <a:pt x="61" y="830"/>
                    </a:lnTo>
                    <a:lnTo>
                      <a:pt x="75" y="843"/>
                    </a:lnTo>
                    <a:lnTo>
                      <a:pt x="90" y="857"/>
                    </a:lnTo>
                    <a:lnTo>
                      <a:pt x="105" y="870"/>
                    </a:lnTo>
                    <a:lnTo>
                      <a:pt x="121" y="882"/>
                    </a:lnTo>
                    <a:lnTo>
                      <a:pt x="137" y="894"/>
                    </a:lnTo>
                    <a:lnTo>
                      <a:pt x="153" y="905"/>
                    </a:lnTo>
                    <a:lnTo>
                      <a:pt x="170" y="916"/>
                    </a:lnTo>
                    <a:lnTo>
                      <a:pt x="187" y="927"/>
                    </a:lnTo>
                    <a:lnTo>
                      <a:pt x="204" y="937"/>
                    </a:lnTo>
                    <a:lnTo>
                      <a:pt x="223" y="948"/>
                    </a:lnTo>
                    <a:lnTo>
                      <a:pt x="242" y="957"/>
                    </a:lnTo>
                    <a:lnTo>
                      <a:pt x="260" y="966"/>
                    </a:lnTo>
                    <a:lnTo>
                      <a:pt x="279" y="974"/>
                    </a:lnTo>
                    <a:lnTo>
                      <a:pt x="298" y="982"/>
                    </a:lnTo>
                    <a:lnTo>
                      <a:pt x="319" y="990"/>
                    </a:lnTo>
                    <a:lnTo>
                      <a:pt x="339" y="996"/>
                    </a:lnTo>
                    <a:lnTo>
                      <a:pt x="359" y="1003"/>
                    </a:lnTo>
                    <a:lnTo>
                      <a:pt x="380" y="1009"/>
                    </a:lnTo>
                    <a:lnTo>
                      <a:pt x="402" y="1014"/>
                    </a:lnTo>
                    <a:lnTo>
                      <a:pt x="423" y="1019"/>
                    </a:lnTo>
                    <a:lnTo>
                      <a:pt x="444" y="1024"/>
                    </a:lnTo>
                    <a:lnTo>
                      <a:pt x="466" y="1027"/>
                    </a:lnTo>
                    <a:lnTo>
                      <a:pt x="487" y="1031"/>
                    </a:lnTo>
                    <a:lnTo>
                      <a:pt x="511" y="1033"/>
                    </a:lnTo>
                    <a:lnTo>
                      <a:pt x="533" y="1035"/>
                    </a:lnTo>
                    <a:lnTo>
                      <a:pt x="555" y="1037"/>
                    </a:lnTo>
                    <a:lnTo>
                      <a:pt x="578" y="1038"/>
                    </a:lnTo>
                    <a:lnTo>
                      <a:pt x="602" y="1038"/>
                    </a:lnTo>
                    <a:lnTo>
                      <a:pt x="625" y="1038"/>
                    </a:lnTo>
                    <a:lnTo>
                      <a:pt x="647" y="1037"/>
                    </a:lnTo>
                    <a:lnTo>
                      <a:pt x="670" y="1035"/>
                    </a:lnTo>
                    <a:lnTo>
                      <a:pt x="693" y="1033"/>
                    </a:lnTo>
                    <a:lnTo>
                      <a:pt x="715" y="1031"/>
                    </a:lnTo>
                    <a:lnTo>
                      <a:pt x="737" y="1027"/>
                    </a:lnTo>
                    <a:lnTo>
                      <a:pt x="759" y="1024"/>
                    </a:lnTo>
                    <a:lnTo>
                      <a:pt x="781" y="1019"/>
                    </a:lnTo>
                    <a:lnTo>
                      <a:pt x="802" y="1014"/>
                    </a:lnTo>
                    <a:lnTo>
                      <a:pt x="823" y="1009"/>
                    </a:lnTo>
                    <a:lnTo>
                      <a:pt x="844" y="1003"/>
                    </a:lnTo>
                    <a:lnTo>
                      <a:pt x="864" y="996"/>
                    </a:lnTo>
                    <a:lnTo>
                      <a:pt x="885" y="990"/>
                    </a:lnTo>
                    <a:lnTo>
                      <a:pt x="904" y="982"/>
                    </a:lnTo>
                    <a:lnTo>
                      <a:pt x="924" y="974"/>
                    </a:lnTo>
                    <a:lnTo>
                      <a:pt x="943" y="966"/>
                    </a:lnTo>
                    <a:lnTo>
                      <a:pt x="961" y="957"/>
                    </a:lnTo>
                    <a:lnTo>
                      <a:pt x="981" y="948"/>
                    </a:lnTo>
                    <a:lnTo>
                      <a:pt x="998" y="937"/>
                    </a:lnTo>
                    <a:lnTo>
                      <a:pt x="1016" y="927"/>
                    </a:lnTo>
                    <a:lnTo>
                      <a:pt x="1033" y="916"/>
                    </a:lnTo>
                    <a:lnTo>
                      <a:pt x="1050" y="905"/>
                    </a:lnTo>
                    <a:lnTo>
                      <a:pt x="1067" y="894"/>
                    </a:lnTo>
                    <a:lnTo>
                      <a:pt x="1083" y="882"/>
                    </a:lnTo>
                    <a:lnTo>
                      <a:pt x="1098" y="870"/>
                    </a:lnTo>
                    <a:lnTo>
                      <a:pt x="1113" y="857"/>
                    </a:lnTo>
                    <a:lnTo>
                      <a:pt x="1128" y="843"/>
                    </a:lnTo>
                    <a:lnTo>
                      <a:pt x="1142" y="830"/>
                    </a:lnTo>
                    <a:lnTo>
                      <a:pt x="1155" y="816"/>
                    </a:lnTo>
                    <a:lnTo>
                      <a:pt x="1169" y="802"/>
                    </a:lnTo>
                    <a:lnTo>
                      <a:pt x="1182" y="787"/>
                    </a:lnTo>
                    <a:lnTo>
                      <a:pt x="1194" y="773"/>
                    </a:lnTo>
                    <a:lnTo>
                      <a:pt x="1198" y="743"/>
                    </a:lnTo>
                    <a:lnTo>
                      <a:pt x="1201" y="713"/>
                    </a:lnTo>
                    <a:lnTo>
                      <a:pt x="1203" y="683"/>
                    </a:lnTo>
                    <a:lnTo>
                      <a:pt x="1203" y="652"/>
                    </a:lnTo>
                    <a:lnTo>
                      <a:pt x="1203" y="625"/>
                    </a:lnTo>
                    <a:lnTo>
                      <a:pt x="1201" y="597"/>
                    </a:lnTo>
                    <a:lnTo>
                      <a:pt x="1199" y="570"/>
                    </a:lnTo>
                    <a:lnTo>
                      <a:pt x="1196" y="543"/>
                    </a:lnTo>
                    <a:lnTo>
                      <a:pt x="1192" y="516"/>
                    </a:lnTo>
                    <a:lnTo>
                      <a:pt x="1187" y="490"/>
                    </a:lnTo>
                    <a:lnTo>
                      <a:pt x="1181" y="465"/>
                    </a:lnTo>
                    <a:lnTo>
                      <a:pt x="1175" y="438"/>
                    </a:lnTo>
                    <a:lnTo>
                      <a:pt x="1167" y="414"/>
                    </a:lnTo>
                    <a:lnTo>
                      <a:pt x="1159" y="389"/>
                    </a:lnTo>
                    <a:lnTo>
                      <a:pt x="1150" y="365"/>
                    </a:lnTo>
                    <a:lnTo>
                      <a:pt x="1140" y="341"/>
                    </a:lnTo>
                    <a:lnTo>
                      <a:pt x="1130" y="318"/>
                    </a:lnTo>
                    <a:lnTo>
                      <a:pt x="1119" y="296"/>
                    </a:lnTo>
                    <a:lnTo>
                      <a:pt x="1107" y="274"/>
                    </a:lnTo>
                    <a:lnTo>
                      <a:pt x="1094" y="251"/>
                    </a:lnTo>
                    <a:lnTo>
                      <a:pt x="1081" y="231"/>
                    </a:lnTo>
                    <a:lnTo>
                      <a:pt x="1068" y="211"/>
                    </a:lnTo>
                    <a:lnTo>
                      <a:pt x="1052" y="191"/>
                    </a:lnTo>
                    <a:lnTo>
                      <a:pt x="1037" y="172"/>
                    </a:lnTo>
                    <a:lnTo>
                      <a:pt x="1022" y="153"/>
                    </a:lnTo>
                    <a:lnTo>
                      <a:pt x="1006" y="135"/>
                    </a:lnTo>
                    <a:lnTo>
                      <a:pt x="989" y="118"/>
                    </a:lnTo>
                    <a:lnTo>
                      <a:pt x="972" y="102"/>
                    </a:lnTo>
                    <a:lnTo>
                      <a:pt x="953" y="87"/>
                    </a:lnTo>
                    <a:lnTo>
                      <a:pt x="935" y="72"/>
                    </a:lnTo>
                    <a:lnTo>
                      <a:pt x="916" y="57"/>
                    </a:lnTo>
                    <a:lnTo>
                      <a:pt x="897" y="44"/>
                    </a:lnTo>
                    <a:lnTo>
                      <a:pt x="878" y="32"/>
                    </a:lnTo>
                    <a:lnTo>
                      <a:pt x="857" y="20"/>
                    </a:lnTo>
                    <a:lnTo>
                      <a:pt x="836" y="10"/>
                    </a:lnTo>
                    <a:lnTo>
                      <a:pt x="81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0" name="Freeform 27"/>
              <p:cNvSpPr>
                <a:spLocks/>
              </p:cNvSpPr>
              <p:nvPr/>
            </p:nvSpPr>
            <p:spPr bwMode="auto">
              <a:xfrm>
                <a:off x="3387726" y="1270001"/>
                <a:ext cx="196850" cy="201613"/>
              </a:xfrm>
              <a:custGeom>
                <a:avLst/>
                <a:gdLst>
                  <a:gd name="T0" fmla="*/ 291 w 623"/>
                  <a:gd name="T1" fmla="*/ 0 h 633"/>
                  <a:gd name="T2" fmla="*/ 265 w 623"/>
                  <a:gd name="T3" fmla="*/ 3 h 633"/>
                  <a:gd name="T4" fmla="*/ 238 w 623"/>
                  <a:gd name="T5" fmla="*/ 7 h 633"/>
                  <a:gd name="T6" fmla="*/ 213 w 623"/>
                  <a:gd name="T7" fmla="*/ 14 h 633"/>
                  <a:gd name="T8" fmla="*/ 189 w 623"/>
                  <a:gd name="T9" fmla="*/ 22 h 633"/>
                  <a:gd name="T10" fmla="*/ 165 w 623"/>
                  <a:gd name="T11" fmla="*/ 32 h 633"/>
                  <a:gd name="T12" fmla="*/ 142 w 623"/>
                  <a:gd name="T13" fmla="*/ 45 h 633"/>
                  <a:gd name="T14" fmla="*/ 121 w 623"/>
                  <a:gd name="T15" fmla="*/ 59 h 633"/>
                  <a:gd name="T16" fmla="*/ 101 w 623"/>
                  <a:gd name="T17" fmla="*/ 75 h 633"/>
                  <a:gd name="T18" fmla="*/ 83 w 623"/>
                  <a:gd name="T19" fmla="*/ 92 h 633"/>
                  <a:gd name="T20" fmla="*/ 66 w 623"/>
                  <a:gd name="T21" fmla="*/ 111 h 633"/>
                  <a:gd name="T22" fmla="*/ 49 w 623"/>
                  <a:gd name="T23" fmla="*/ 131 h 633"/>
                  <a:gd name="T24" fmla="*/ 35 w 623"/>
                  <a:gd name="T25" fmla="*/ 152 h 633"/>
                  <a:gd name="T26" fmla="*/ 23 w 623"/>
                  <a:gd name="T27" fmla="*/ 175 h 633"/>
                  <a:gd name="T28" fmla="*/ 12 w 623"/>
                  <a:gd name="T29" fmla="*/ 198 h 633"/>
                  <a:gd name="T30" fmla="*/ 4 w 623"/>
                  <a:gd name="T31" fmla="*/ 222 h 633"/>
                  <a:gd name="T32" fmla="*/ 16 w 623"/>
                  <a:gd name="T33" fmla="*/ 251 h 633"/>
                  <a:gd name="T34" fmla="*/ 45 w 623"/>
                  <a:gd name="T35" fmla="*/ 286 h 633"/>
                  <a:gd name="T36" fmla="*/ 72 w 623"/>
                  <a:gd name="T37" fmla="*/ 323 h 633"/>
                  <a:gd name="T38" fmla="*/ 94 w 623"/>
                  <a:gd name="T39" fmla="*/ 363 h 633"/>
                  <a:gd name="T40" fmla="*/ 112 w 623"/>
                  <a:gd name="T41" fmla="*/ 405 h 633"/>
                  <a:gd name="T42" fmla="*/ 126 w 623"/>
                  <a:gd name="T43" fmla="*/ 449 h 633"/>
                  <a:gd name="T44" fmla="*/ 136 w 623"/>
                  <a:gd name="T45" fmla="*/ 495 h 633"/>
                  <a:gd name="T46" fmla="*/ 141 w 623"/>
                  <a:gd name="T47" fmla="*/ 542 h 633"/>
                  <a:gd name="T48" fmla="*/ 141 w 623"/>
                  <a:gd name="T49" fmla="*/ 577 h 633"/>
                  <a:gd name="T50" fmla="*/ 159 w 623"/>
                  <a:gd name="T51" fmla="*/ 597 h 633"/>
                  <a:gd name="T52" fmla="*/ 198 w 623"/>
                  <a:gd name="T53" fmla="*/ 614 h 633"/>
                  <a:gd name="T54" fmla="*/ 239 w 623"/>
                  <a:gd name="T55" fmla="*/ 626 h 633"/>
                  <a:gd name="T56" fmla="*/ 283 w 623"/>
                  <a:gd name="T57" fmla="*/ 633 h 633"/>
                  <a:gd name="T58" fmla="*/ 321 w 623"/>
                  <a:gd name="T59" fmla="*/ 633 h 633"/>
                  <a:gd name="T60" fmla="*/ 354 w 623"/>
                  <a:gd name="T61" fmla="*/ 630 h 633"/>
                  <a:gd name="T62" fmla="*/ 384 w 623"/>
                  <a:gd name="T63" fmla="*/ 624 h 633"/>
                  <a:gd name="T64" fmla="*/ 414 w 623"/>
                  <a:gd name="T65" fmla="*/ 614 h 633"/>
                  <a:gd name="T66" fmla="*/ 443 w 623"/>
                  <a:gd name="T67" fmla="*/ 602 h 633"/>
                  <a:gd name="T68" fmla="*/ 470 w 623"/>
                  <a:gd name="T69" fmla="*/ 588 h 633"/>
                  <a:gd name="T70" fmla="*/ 495 w 623"/>
                  <a:gd name="T71" fmla="*/ 571 h 633"/>
                  <a:gd name="T72" fmla="*/ 518 w 623"/>
                  <a:gd name="T73" fmla="*/ 551 h 633"/>
                  <a:gd name="T74" fmla="*/ 540 w 623"/>
                  <a:gd name="T75" fmla="*/ 530 h 633"/>
                  <a:gd name="T76" fmla="*/ 559 w 623"/>
                  <a:gd name="T77" fmla="*/ 506 h 633"/>
                  <a:gd name="T78" fmla="*/ 576 w 623"/>
                  <a:gd name="T79" fmla="*/ 481 h 633"/>
                  <a:gd name="T80" fmla="*/ 591 w 623"/>
                  <a:gd name="T81" fmla="*/ 454 h 633"/>
                  <a:gd name="T82" fmla="*/ 602 w 623"/>
                  <a:gd name="T83" fmla="*/ 426 h 633"/>
                  <a:gd name="T84" fmla="*/ 612 w 623"/>
                  <a:gd name="T85" fmla="*/ 396 h 633"/>
                  <a:gd name="T86" fmla="*/ 618 w 623"/>
                  <a:gd name="T87" fmla="*/ 366 h 633"/>
                  <a:gd name="T88" fmla="*/ 621 w 623"/>
                  <a:gd name="T89" fmla="*/ 333 h 633"/>
                  <a:gd name="T90" fmla="*/ 621 w 623"/>
                  <a:gd name="T91" fmla="*/ 301 h 633"/>
                  <a:gd name="T92" fmla="*/ 618 w 623"/>
                  <a:gd name="T93" fmla="*/ 269 h 633"/>
                  <a:gd name="T94" fmla="*/ 612 w 623"/>
                  <a:gd name="T95" fmla="*/ 237 h 633"/>
                  <a:gd name="T96" fmla="*/ 602 w 623"/>
                  <a:gd name="T97" fmla="*/ 208 h 633"/>
                  <a:gd name="T98" fmla="*/ 591 w 623"/>
                  <a:gd name="T99" fmla="*/ 180 h 633"/>
                  <a:gd name="T100" fmla="*/ 576 w 623"/>
                  <a:gd name="T101" fmla="*/ 152 h 633"/>
                  <a:gd name="T102" fmla="*/ 559 w 623"/>
                  <a:gd name="T103" fmla="*/ 127 h 633"/>
                  <a:gd name="T104" fmla="*/ 540 w 623"/>
                  <a:gd name="T105" fmla="*/ 104 h 633"/>
                  <a:gd name="T106" fmla="*/ 518 w 623"/>
                  <a:gd name="T107" fmla="*/ 83 h 633"/>
                  <a:gd name="T108" fmla="*/ 495 w 623"/>
                  <a:gd name="T109" fmla="*/ 62 h 633"/>
                  <a:gd name="T110" fmla="*/ 470 w 623"/>
                  <a:gd name="T111" fmla="*/ 45 h 633"/>
                  <a:gd name="T112" fmla="*/ 443 w 623"/>
                  <a:gd name="T113" fmla="*/ 31 h 633"/>
                  <a:gd name="T114" fmla="*/ 414 w 623"/>
                  <a:gd name="T115" fmla="*/ 19 h 633"/>
                  <a:gd name="T116" fmla="*/ 384 w 623"/>
                  <a:gd name="T117" fmla="*/ 10 h 633"/>
                  <a:gd name="T118" fmla="*/ 354 w 623"/>
                  <a:gd name="T119" fmla="*/ 4 h 633"/>
                  <a:gd name="T120" fmla="*/ 321 w 623"/>
                  <a:gd name="T121"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3" h="633">
                    <a:moveTo>
                      <a:pt x="305" y="0"/>
                    </a:moveTo>
                    <a:lnTo>
                      <a:pt x="291" y="0"/>
                    </a:lnTo>
                    <a:lnTo>
                      <a:pt x="278" y="1"/>
                    </a:lnTo>
                    <a:lnTo>
                      <a:pt x="265" y="3"/>
                    </a:lnTo>
                    <a:lnTo>
                      <a:pt x="252" y="4"/>
                    </a:lnTo>
                    <a:lnTo>
                      <a:pt x="238" y="7"/>
                    </a:lnTo>
                    <a:lnTo>
                      <a:pt x="225" y="10"/>
                    </a:lnTo>
                    <a:lnTo>
                      <a:pt x="213" y="14"/>
                    </a:lnTo>
                    <a:lnTo>
                      <a:pt x="201" y="18"/>
                    </a:lnTo>
                    <a:lnTo>
                      <a:pt x="189" y="22"/>
                    </a:lnTo>
                    <a:lnTo>
                      <a:pt x="177" y="27"/>
                    </a:lnTo>
                    <a:lnTo>
                      <a:pt x="165" y="32"/>
                    </a:lnTo>
                    <a:lnTo>
                      <a:pt x="154" y="38"/>
                    </a:lnTo>
                    <a:lnTo>
                      <a:pt x="142" y="45"/>
                    </a:lnTo>
                    <a:lnTo>
                      <a:pt x="131" y="51"/>
                    </a:lnTo>
                    <a:lnTo>
                      <a:pt x="121" y="59"/>
                    </a:lnTo>
                    <a:lnTo>
                      <a:pt x="111" y="66"/>
                    </a:lnTo>
                    <a:lnTo>
                      <a:pt x="101" y="75"/>
                    </a:lnTo>
                    <a:lnTo>
                      <a:pt x="92" y="84"/>
                    </a:lnTo>
                    <a:lnTo>
                      <a:pt x="83" y="92"/>
                    </a:lnTo>
                    <a:lnTo>
                      <a:pt x="74" y="101"/>
                    </a:lnTo>
                    <a:lnTo>
                      <a:pt x="66" y="111"/>
                    </a:lnTo>
                    <a:lnTo>
                      <a:pt x="58" y="121"/>
                    </a:lnTo>
                    <a:lnTo>
                      <a:pt x="49" y="131"/>
                    </a:lnTo>
                    <a:lnTo>
                      <a:pt x="42" y="141"/>
                    </a:lnTo>
                    <a:lnTo>
                      <a:pt x="35" y="152"/>
                    </a:lnTo>
                    <a:lnTo>
                      <a:pt x="29" y="163"/>
                    </a:lnTo>
                    <a:lnTo>
                      <a:pt x="23" y="175"/>
                    </a:lnTo>
                    <a:lnTo>
                      <a:pt x="17" y="186"/>
                    </a:lnTo>
                    <a:lnTo>
                      <a:pt x="12" y="198"/>
                    </a:lnTo>
                    <a:lnTo>
                      <a:pt x="8" y="210"/>
                    </a:lnTo>
                    <a:lnTo>
                      <a:pt x="4" y="222"/>
                    </a:lnTo>
                    <a:lnTo>
                      <a:pt x="0" y="235"/>
                    </a:lnTo>
                    <a:lnTo>
                      <a:pt x="16" y="251"/>
                    </a:lnTo>
                    <a:lnTo>
                      <a:pt x="31" y="269"/>
                    </a:lnTo>
                    <a:lnTo>
                      <a:pt x="45" y="286"/>
                    </a:lnTo>
                    <a:lnTo>
                      <a:pt x="59" y="304"/>
                    </a:lnTo>
                    <a:lnTo>
                      <a:pt x="72" y="323"/>
                    </a:lnTo>
                    <a:lnTo>
                      <a:pt x="83" y="342"/>
                    </a:lnTo>
                    <a:lnTo>
                      <a:pt x="94" y="363"/>
                    </a:lnTo>
                    <a:lnTo>
                      <a:pt x="104" y="384"/>
                    </a:lnTo>
                    <a:lnTo>
                      <a:pt x="112" y="405"/>
                    </a:lnTo>
                    <a:lnTo>
                      <a:pt x="120" y="427"/>
                    </a:lnTo>
                    <a:lnTo>
                      <a:pt x="126" y="449"/>
                    </a:lnTo>
                    <a:lnTo>
                      <a:pt x="131" y="472"/>
                    </a:lnTo>
                    <a:lnTo>
                      <a:pt x="136" y="495"/>
                    </a:lnTo>
                    <a:lnTo>
                      <a:pt x="139" y="519"/>
                    </a:lnTo>
                    <a:lnTo>
                      <a:pt x="141" y="542"/>
                    </a:lnTo>
                    <a:lnTo>
                      <a:pt x="141" y="567"/>
                    </a:lnTo>
                    <a:lnTo>
                      <a:pt x="141" y="577"/>
                    </a:lnTo>
                    <a:lnTo>
                      <a:pt x="140" y="587"/>
                    </a:lnTo>
                    <a:lnTo>
                      <a:pt x="159" y="597"/>
                    </a:lnTo>
                    <a:lnTo>
                      <a:pt x="178" y="606"/>
                    </a:lnTo>
                    <a:lnTo>
                      <a:pt x="198" y="614"/>
                    </a:lnTo>
                    <a:lnTo>
                      <a:pt x="218" y="621"/>
                    </a:lnTo>
                    <a:lnTo>
                      <a:pt x="239" y="626"/>
                    </a:lnTo>
                    <a:lnTo>
                      <a:pt x="261" y="630"/>
                    </a:lnTo>
                    <a:lnTo>
                      <a:pt x="283" y="633"/>
                    </a:lnTo>
                    <a:lnTo>
                      <a:pt x="305" y="633"/>
                    </a:lnTo>
                    <a:lnTo>
                      <a:pt x="321" y="633"/>
                    </a:lnTo>
                    <a:lnTo>
                      <a:pt x="338" y="632"/>
                    </a:lnTo>
                    <a:lnTo>
                      <a:pt x="354" y="630"/>
                    </a:lnTo>
                    <a:lnTo>
                      <a:pt x="369" y="627"/>
                    </a:lnTo>
                    <a:lnTo>
                      <a:pt x="384" y="624"/>
                    </a:lnTo>
                    <a:lnTo>
                      <a:pt x="399" y="619"/>
                    </a:lnTo>
                    <a:lnTo>
                      <a:pt x="414" y="614"/>
                    </a:lnTo>
                    <a:lnTo>
                      <a:pt x="428" y="609"/>
                    </a:lnTo>
                    <a:lnTo>
                      <a:pt x="443" y="602"/>
                    </a:lnTo>
                    <a:lnTo>
                      <a:pt x="456" y="596"/>
                    </a:lnTo>
                    <a:lnTo>
                      <a:pt x="470" y="588"/>
                    </a:lnTo>
                    <a:lnTo>
                      <a:pt x="482" y="580"/>
                    </a:lnTo>
                    <a:lnTo>
                      <a:pt x="495" y="571"/>
                    </a:lnTo>
                    <a:lnTo>
                      <a:pt x="506" y="562"/>
                    </a:lnTo>
                    <a:lnTo>
                      <a:pt x="518" y="551"/>
                    </a:lnTo>
                    <a:lnTo>
                      <a:pt x="530" y="541"/>
                    </a:lnTo>
                    <a:lnTo>
                      <a:pt x="540" y="530"/>
                    </a:lnTo>
                    <a:lnTo>
                      <a:pt x="550" y="518"/>
                    </a:lnTo>
                    <a:lnTo>
                      <a:pt x="559" y="506"/>
                    </a:lnTo>
                    <a:lnTo>
                      <a:pt x="568" y="494"/>
                    </a:lnTo>
                    <a:lnTo>
                      <a:pt x="576" y="481"/>
                    </a:lnTo>
                    <a:lnTo>
                      <a:pt x="584" y="468"/>
                    </a:lnTo>
                    <a:lnTo>
                      <a:pt x="591" y="454"/>
                    </a:lnTo>
                    <a:lnTo>
                      <a:pt x="597" y="440"/>
                    </a:lnTo>
                    <a:lnTo>
                      <a:pt x="602" y="426"/>
                    </a:lnTo>
                    <a:lnTo>
                      <a:pt x="607" y="411"/>
                    </a:lnTo>
                    <a:lnTo>
                      <a:pt x="612" y="396"/>
                    </a:lnTo>
                    <a:lnTo>
                      <a:pt x="615" y="381"/>
                    </a:lnTo>
                    <a:lnTo>
                      <a:pt x="618" y="366"/>
                    </a:lnTo>
                    <a:lnTo>
                      <a:pt x="620" y="349"/>
                    </a:lnTo>
                    <a:lnTo>
                      <a:pt x="621" y="333"/>
                    </a:lnTo>
                    <a:lnTo>
                      <a:pt x="623" y="317"/>
                    </a:lnTo>
                    <a:lnTo>
                      <a:pt x="621" y="301"/>
                    </a:lnTo>
                    <a:lnTo>
                      <a:pt x="620" y="285"/>
                    </a:lnTo>
                    <a:lnTo>
                      <a:pt x="618" y="269"/>
                    </a:lnTo>
                    <a:lnTo>
                      <a:pt x="615" y="253"/>
                    </a:lnTo>
                    <a:lnTo>
                      <a:pt x="612" y="237"/>
                    </a:lnTo>
                    <a:lnTo>
                      <a:pt x="607" y="223"/>
                    </a:lnTo>
                    <a:lnTo>
                      <a:pt x="602" y="208"/>
                    </a:lnTo>
                    <a:lnTo>
                      <a:pt x="597" y="194"/>
                    </a:lnTo>
                    <a:lnTo>
                      <a:pt x="591" y="180"/>
                    </a:lnTo>
                    <a:lnTo>
                      <a:pt x="584" y="165"/>
                    </a:lnTo>
                    <a:lnTo>
                      <a:pt x="576" y="152"/>
                    </a:lnTo>
                    <a:lnTo>
                      <a:pt x="568" y="139"/>
                    </a:lnTo>
                    <a:lnTo>
                      <a:pt x="559" y="127"/>
                    </a:lnTo>
                    <a:lnTo>
                      <a:pt x="550" y="115"/>
                    </a:lnTo>
                    <a:lnTo>
                      <a:pt x="540" y="104"/>
                    </a:lnTo>
                    <a:lnTo>
                      <a:pt x="530" y="93"/>
                    </a:lnTo>
                    <a:lnTo>
                      <a:pt x="518" y="83"/>
                    </a:lnTo>
                    <a:lnTo>
                      <a:pt x="506" y="73"/>
                    </a:lnTo>
                    <a:lnTo>
                      <a:pt x="495" y="62"/>
                    </a:lnTo>
                    <a:lnTo>
                      <a:pt x="482" y="54"/>
                    </a:lnTo>
                    <a:lnTo>
                      <a:pt x="470" y="45"/>
                    </a:lnTo>
                    <a:lnTo>
                      <a:pt x="456" y="38"/>
                    </a:lnTo>
                    <a:lnTo>
                      <a:pt x="443" y="31"/>
                    </a:lnTo>
                    <a:lnTo>
                      <a:pt x="428" y="25"/>
                    </a:lnTo>
                    <a:lnTo>
                      <a:pt x="414" y="19"/>
                    </a:lnTo>
                    <a:lnTo>
                      <a:pt x="399" y="14"/>
                    </a:lnTo>
                    <a:lnTo>
                      <a:pt x="384" y="10"/>
                    </a:lnTo>
                    <a:lnTo>
                      <a:pt x="369" y="6"/>
                    </a:lnTo>
                    <a:lnTo>
                      <a:pt x="354" y="4"/>
                    </a:lnTo>
                    <a:lnTo>
                      <a:pt x="338" y="2"/>
                    </a:lnTo>
                    <a:lnTo>
                      <a:pt x="321" y="0"/>
                    </a:lnTo>
                    <a:lnTo>
                      <a:pt x="30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Freeform 28"/>
              <p:cNvSpPr>
                <a:spLocks/>
              </p:cNvSpPr>
              <p:nvPr/>
            </p:nvSpPr>
            <p:spPr bwMode="auto">
              <a:xfrm>
                <a:off x="2979738" y="1270001"/>
                <a:ext cx="200025" cy="201613"/>
              </a:xfrm>
              <a:custGeom>
                <a:avLst/>
                <a:gdLst>
                  <a:gd name="T0" fmla="*/ 503 w 627"/>
                  <a:gd name="T1" fmla="*/ 544 h 633"/>
                  <a:gd name="T2" fmla="*/ 507 w 627"/>
                  <a:gd name="T3" fmla="*/ 500 h 633"/>
                  <a:gd name="T4" fmla="*/ 516 w 627"/>
                  <a:gd name="T5" fmla="*/ 456 h 633"/>
                  <a:gd name="T6" fmla="*/ 528 w 627"/>
                  <a:gd name="T7" fmla="*/ 415 h 633"/>
                  <a:gd name="T8" fmla="*/ 544 w 627"/>
                  <a:gd name="T9" fmla="*/ 375 h 633"/>
                  <a:gd name="T10" fmla="*/ 564 w 627"/>
                  <a:gd name="T11" fmla="*/ 337 h 633"/>
                  <a:gd name="T12" fmla="*/ 587 w 627"/>
                  <a:gd name="T13" fmla="*/ 301 h 633"/>
                  <a:gd name="T14" fmla="*/ 613 w 627"/>
                  <a:gd name="T15" fmla="*/ 268 h 633"/>
                  <a:gd name="T16" fmla="*/ 624 w 627"/>
                  <a:gd name="T17" fmla="*/ 238 h 633"/>
                  <a:gd name="T18" fmla="*/ 617 w 627"/>
                  <a:gd name="T19" fmla="*/ 212 h 633"/>
                  <a:gd name="T20" fmla="*/ 607 w 627"/>
                  <a:gd name="T21" fmla="*/ 187 h 633"/>
                  <a:gd name="T22" fmla="*/ 595 w 627"/>
                  <a:gd name="T23" fmla="*/ 163 h 633"/>
                  <a:gd name="T24" fmla="*/ 581 w 627"/>
                  <a:gd name="T25" fmla="*/ 140 h 633"/>
                  <a:gd name="T26" fmla="*/ 564 w 627"/>
                  <a:gd name="T27" fmla="*/ 119 h 633"/>
                  <a:gd name="T28" fmla="*/ 547 w 627"/>
                  <a:gd name="T29" fmla="*/ 99 h 633"/>
                  <a:gd name="T30" fmla="*/ 528 w 627"/>
                  <a:gd name="T31" fmla="*/ 81 h 633"/>
                  <a:gd name="T32" fmla="*/ 508 w 627"/>
                  <a:gd name="T33" fmla="*/ 63 h 633"/>
                  <a:gd name="T34" fmla="*/ 487 w 627"/>
                  <a:gd name="T35" fmla="*/ 48 h 633"/>
                  <a:gd name="T36" fmla="*/ 463 w 627"/>
                  <a:gd name="T37" fmla="*/ 35 h 633"/>
                  <a:gd name="T38" fmla="*/ 439 w 627"/>
                  <a:gd name="T39" fmla="*/ 24 h 633"/>
                  <a:gd name="T40" fmla="*/ 413 w 627"/>
                  <a:gd name="T41" fmla="*/ 15 h 633"/>
                  <a:gd name="T42" fmla="*/ 387 w 627"/>
                  <a:gd name="T43" fmla="*/ 8 h 633"/>
                  <a:gd name="T44" fmla="*/ 359 w 627"/>
                  <a:gd name="T45" fmla="*/ 3 h 633"/>
                  <a:gd name="T46" fmla="*/ 332 w 627"/>
                  <a:gd name="T47" fmla="*/ 0 h 633"/>
                  <a:gd name="T48" fmla="*/ 302 w 627"/>
                  <a:gd name="T49" fmla="*/ 0 h 633"/>
                  <a:gd name="T50" fmla="*/ 269 w 627"/>
                  <a:gd name="T51" fmla="*/ 4 h 633"/>
                  <a:gd name="T52" fmla="*/ 238 w 627"/>
                  <a:gd name="T53" fmla="*/ 10 h 633"/>
                  <a:gd name="T54" fmla="*/ 209 w 627"/>
                  <a:gd name="T55" fmla="*/ 19 h 633"/>
                  <a:gd name="T56" fmla="*/ 180 w 627"/>
                  <a:gd name="T57" fmla="*/ 31 h 633"/>
                  <a:gd name="T58" fmla="*/ 153 w 627"/>
                  <a:gd name="T59" fmla="*/ 45 h 633"/>
                  <a:gd name="T60" fmla="*/ 128 w 627"/>
                  <a:gd name="T61" fmla="*/ 62 h 633"/>
                  <a:gd name="T62" fmla="*/ 105 w 627"/>
                  <a:gd name="T63" fmla="*/ 83 h 633"/>
                  <a:gd name="T64" fmla="*/ 82 w 627"/>
                  <a:gd name="T65" fmla="*/ 104 h 633"/>
                  <a:gd name="T66" fmla="*/ 63 w 627"/>
                  <a:gd name="T67" fmla="*/ 127 h 633"/>
                  <a:gd name="T68" fmla="*/ 46 w 627"/>
                  <a:gd name="T69" fmla="*/ 152 h 633"/>
                  <a:gd name="T70" fmla="*/ 32 w 627"/>
                  <a:gd name="T71" fmla="*/ 180 h 633"/>
                  <a:gd name="T72" fmla="*/ 20 w 627"/>
                  <a:gd name="T73" fmla="*/ 208 h 633"/>
                  <a:gd name="T74" fmla="*/ 11 w 627"/>
                  <a:gd name="T75" fmla="*/ 237 h 633"/>
                  <a:gd name="T76" fmla="*/ 5 w 627"/>
                  <a:gd name="T77" fmla="*/ 269 h 633"/>
                  <a:gd name="T78" fmla="*/ 0 w 627"/>
                  <a:gd name="T79" fmla="*/ 301 h 633"/>
                  <a:gd name="T80" fmla="*/ 0 w 627"/>
                  <a:gd name="T81" fmla="*/ 333 h 633"/>
                  <a:gd name="T82" fmla="*/ 5 w 627"/>
                  <a:gd name="T83" fmla="*/ 366 h 633"/>
                  <a:gd name="T84" fmla="*/ 11 w 627"/>
                  <a:gd name="T85" fmla="*/ 396 h 633"/>
                  <a:gd name="T86" fmla="*/ 20 w 627"/>
                  <a:gd name="T87" fmla="*/ 426 h 633"/>
                  <a:gd name="T88" fmla="*/ 32 w 627"/>
                  <a:gd name="T89" fmla="*/ 454 h 633"/>
                  <a:gd name="T90" fmla="*/ 46 w 627"/>
                  <a:gd name="T91" fmla="*/ 481 h 633"/>
                  <a:gd name="T92" fmla="*/ 63 w 627"/>
                  <a:gd name="T93" fmla="*/ 506 h 633"/>
                  <a:gd name="T94" fmla="*/ 82 w 627"/>
                  <a:gd name="T95" fmla="*/ 530 h 633"/>
                  <a:gd name="T96" fmla="*/ 105 w 627"/>
                  <a:gd name="T97" fmla="*/ 551 h 633"/>
                  <a:gd name="T98" fmla="*/ 128 w 627"/>
                  <a:gd name="T99" fmla="*/ 571 h 633"/>
                  <a:gd name="T100" fmla="*/ 153 w 627"/>
                  <a:gd name="T101" fmla="*/ 588 h 633"/>
                  <a:gd name="T102" fmla="*/ 180 w 627"/>
                  <a:gd name="T103" fmla="*/ 602 h 633"/>
                  <a:gd name="T104" fmla="*/ 209 w 627"/>
                  <a:gd name="T105" fmla="*/ 614 h 633"/>
                  <a:gd name="T106" fmla="*/ 238 w 627"/>
                  <a:gd name="T107" fmla="*/ 624 h 633"/>
                  <a:gd name="T108" fmla="*/ 269 w 627"/>
                  <a:gd name="T109" fmla="*/ 630 h 633"/>
                  <a:gd name="T110" fmla="*/ 302 w 627"/>
                  <a:gd name="T111" fmla="*/ 633 h 633"/>
                  <a:gd name="T112" fmla="*/ 330 w 627"/>
                  <a:gd name="T113" fmla="*/ 633 h 633"/>
                  <a:gd name="T114" fmla="*/ 356 w 627"/>
                  <a:gd name="T115" fmla="*/ 631 h 633"/>
                  <a:gd name="T116" fmla="*/ 393 w 627"/>
                  <a:gd name="T117" fmla="*/ 624 h 633"/>
                  <a:gd name="T118" fmla="*/ 439 w 627"/>
                  <a:gd name="T119" fmla="*/ 609 h 633"/>
                  <a:gd name="T120" fmla="*/ 483 w 627"/>
                  <a:gd name="T121" fmla="*/ 587 h 633"/>
                  <a:gd name="T122" fmla="*/ 502 w 627"/>
                  <a:gd name="T123" fmla="*/ 57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7" h="633">
                    <a:moveTo>
                      <a:pt x="502" y="567"/>
                    </a:moveTo>
                    <a:lnTo>
                      <a:pt x="503" y="544"/>
                    </a:lnTo>
                    <a:lnTo>
                      <a:pt x="504" y="522"/>
                    </a:lnTo>
                    <a:lnTo>
                      <a:pt x="507" y="500"/>
                    </a:lnTo>
                    <a:lnTo>
                      <a:pt x="511" y="478"/>
                    </a:lnTo>
                    <a:lnTo>
                      <a:pt x="516" y="456"/>
                    </a:lnTo>
                    <a:lnTo>
                      <a:pt x="521" y="435"/>
                    </a:lnTo>
                    <a:lnTo>
                      <a:pt x="528" y="415"/>
                    </a:lnTo>
                    <a:lnTo>
                      <a:pt x="536" y="395"/>
                    </a:lnTo>
                    <a:lnTo>
                      <a:pt x="544" y="375"/>
                    </a:lnTo>
                    <a:lnTo>
                      <a:pt x="553" y="355"/>
                    </a:lnTo>
                    <a:lnTo>
                      <a:pt x="564" y="337"/>
                    </a:lnTo>
                    <a:lnTo>
                      <a:pt x="576" y="319"/>
                    </a:lnTo>
                    <a:lnTo>
                      <a:pt x="587" y="301"/>
                    </a:lnTo>
                    <a:lnTo>
                      <a:pt x="600" y="284"/>
                    </a:lnTo>
                    <a:lnTo>
                      <a:pt x="613" y="268"/>
                    </a:lnTo>
                    <a:lnTo>
                      <a:pt x="627" y="251"/>
                    </a:lnTo>
                    <a:lnTo>
                      <a:pt x="624" y="238"/>
                    </a:lnTo>
                    <a:lnTo>
                      <a:pt x="621" y="225"/>
                    </a:lnTo>
                    <a:lnTo>
                      <a:pt x="617" y="212"/>
                    </a:lnTo>
                    <a:lnTo>
                      <a:pt x="612" y="200"/>
                    </a:lnTo>
                    <a:lnTo>
                      <a:pt x="607" y="187"/>
                    </a:lnTo>
                    <a:lnTo>
                      <a:pt x="601" y="175"/>
                    </a:lnTo>
                    <a:lnTo>
                      <a:pt x="595" y="163"/>
                    </a:lnTo>
                    <a:lnTo>
                      <a:pt x="588" y="151"/>
                    </a:lnTo>
                    <a:lnTo>
                      <a:pt x="581" y="140"/>
                    </a:lnTo>
                    <a:lnTo>
                      <a:pt x="572" y="129"/>
                    </a:lnTo>
                    <a:lnTo>
                      <a:pt x="564" y="119"/>
                    </a:lnTo>
                    <a:lnTo>
                      <a:pt x="556" y="109"/>
                    </a:lnTo>
                    <a:lnTo>
                      <a:pt x="547" y="99"/>
                    </a:lnTo>
                    <a:lnTo>
                      <a:pt x="538" y="90"/>
                    </a:lnTo>
                    <a:lnTo>
                      <a:pt x="528" y="81"/>
                    </a:lnTo>
                    <a:lnTo>
                      <a:pt x="518" y="72"/>
                    </a:lnTo>
                    <a:lnTo>
                      <a:pt x="508" y="63"/>
                    </a:lnTo>
                    <a:lnTo>
                      <a:pt x="498" y="55"/>
                    </a:lnTo>
                    <a:lnTo>
                      <a:pt x="487" y="48"/>
                    </a:lnTo>
                    <a:lnTo>
                      <a:pt x="474" y="41"/>
                    </a:lnTo>
                    <a:lnTo>
                      <a:pt x="463" y="35"/>
                    </a:lnTo>
                    <a:lnTo>
                      <a:pt x="451" y="29"/>
                    </a:lnTo>
                    <a:lnTo>
                      <a:pt x="439" y="24"/>
                    </a:lnTo>
                    <a:lnTo>
                      <a:pt x="426" y="19"/>
                    </a:lnTo>
                    <a:lnTo>
                      <a:pt x="413" y="15"/>
                    </a:lnTo>
                    <a:lnTo>
                      <a:pt x="400" y="11"/>
                    </a:lnTo>
                    <a:lnTo>
                      <a:pt x="387" y="8"/>
                    </a:lnTo>
                    <a:lnTo>
                      <a:pt x="373" y="5"/>
                    </a:lnTo>
                    <a:lnTo>
                      <a:pt x="359" y="3"/>
                    </a:lnTo>
                    <a:lnTo>
                      <a:pt x="346" y="1"/>
                    </a:lnTo>
                    <a:lnTo>
                      <a:pt x="332" y="0"/>
                    </a:lnTo>
                    <a:lnTo>
                      <a:pt x="318" y="0"/>
                    </a:lnTo>
                    <a:lnTo>
                      <a:pt x="302" y="0"/>
                    </a:lnTo>
                    <a:lnTo>
                      <a:pt x="285" y="2"/>
                    </a:lnTo>
                    <a:lnTo>
                      <a:pt x="269" y="4"/>
                    </a:lnTo>
                    <a:lnTo>
                      <a:pt x="253" y="6"/>
                    </a:lnTo>
                    <a:lnTo>
                      <a:pt x="238" y="10"/>
                    </a:lnTo>
                    <a:lnTo>
                      <a:pt x="223" y="14"/>
                    </a:lnTo>
                    <a:lnTo>
                      <a:pt x="209" y="19"/>
                    </a:lnTo>
                    <a:lnTo>
                      <a:pt x="195" y="25"/>
                    </a:lnTo>
                    <a:lnTo>
                      <a:pt x="180" y="31"/>
                    </a:lnTo>
                    <a:lnTo>
                      <a:pt x="166" y="38"/>
                    </a:lnTo>
                    <a:lnTo>
                      <a:pt x="153" y="45"/>
                    </a:lnTo>
                    <a:lnTo>
                      <a:pt x="140" y="54"/>
                    </a:lnTo>
                    <a:lnTo>
                      <a:pt x="128" y="62"/>
                    </a:lnTo>
                    <a:lnTo>
                      <a:pt x="116" y="73"/>
                    </a:lnTo>
                    <a:lnTo>
                      <a:pt x="105" y="83"/>
                    </a:lnTo>
                    <a:lnTo>
                      <a:pt x="93" y="93"/>
                    </a:lnTo>
                    <a:lnTo>
                      <a:pt x="82" y="104"/>
                    </a:lnTo>
                    <a:lnTo>
                      <a:pt x="73" y="115"/>
                    </a:lnTo>
                    <a:lnTo>
                      <a:pt x="63" y="127"/>
                    </a:lnTo>
                    <a:lnTo>
                      <a:pt x="55" y="139"/>
                    </a:lnTo>
                    <a:lnTo>
                      <a:pt x="46" y="152"/>
                    </a:lnTo>
                    <a:lnTo>
                      <a:pt x="39" y="165"/>
                    </a:lnTo>
                    <a:lnTo>
                      <a:pt x="32" y="180"/>
                    </a:lnTo>
                    <a:lnTo>
                      <a:pt x="26" y="194"/>
                    </a:lnTo>
                    <a:lnTo>
                      <a:pt x="20" y="208"/>
                    </a:lnTo>
                    <a:lnTo>
                      <a:pt x="15" y="223"/>
                    </a:lnTo>
                    <a:lnTo>
                      <a:pt x="11" y="237"/>
                    </a:lnTo>
                    <a:lnTo>
                      <a:pt x="7" y="253"/>
                    </a:lnTo>
                    <a:lnTo>
                      <a:pt x="5" y="269"/>
                    </a:lnTo>
                    <a:lnTo>
                      <a:pt x="3" y="285"/>
                    </a:lnTo>
                    <a:lnTo>
                      <a:pt x="0" y="301"/>
                    </a:lnTo>
                    <a:lnTo>
                      <a:pt x="0" y="317"/>
                    </a:lnTo>
                    <a:lnTo>
                      <a:pt x="0" y="333"/>
                    </a:lnTo>
                    <a:lnTo>
                      <a:pt x="3" y="349"/>
                    </a:lnTo>
                    <a:lnTo>
                      <a:pt x="5" y="366"/>
                    </a:lnTo>
                    <a:lnTo>
                      <a:pt x="7" y="381"/>
                    </a:lnTo>
                    <a:lnTo>
                      <a:pt x="11" y="396"/>
                    </a:lnTo>
                    <a:lnTo>
                      <a:pt x="15" y="411"/>
                    </a:lnTo>
                    <a:lnTo>
                      <a:pt x="20" y="426"/>
                    </a:lnTo>
                    <a:lnTo>
                      <a:pt x="26" y="440"/>
                    </a:lnTo>
                    <a:lnTo>
                      <a:pt x="32" y="454"/>
                    </a:lnTo>
                    <a:lnTo>
                      <a:pt x="39" y="468"/>
                    </a:lnTo>
                    <a:lnTo>
                      <a:pt x="46" y="481"/>
                    </a:lnTo>
                    <a:lnTo>
                      <a:pt x="55" y="494"/>
                    </a:lnTo>
                    <a:lnTo>
                      <a:pt x="63" y="506"/>
                    </a:lnTo>
                    <a:lnTo>
                      <a:pt x="73" y="518"/>
                    </a:lnTo>
                    <a:lnTo>
                      <a:pt x="82" y="530"/>
                    </a:lnTo>
                    <a:lnTo>
                      <a:pt x="93" y="541"/>
                    </a:lnTo>
                    <a:lnTo>
                      <a:pt x="105" y="551"/>
                    </a:lnTo>
                    <a:lnTo>
                      <a:pt x="116" y="562"/>
                    </a:lnTo>
                    <a:lnTo>
                      <a:pt x="128" y="571"/>
                    </a:lnTo>
                    <a:lnTo>
                      <a:pt x="140" y="580"/>
                    </a:lnTo>
                    <a:lnTo>
                      <a:pt x="153" y="588"/>
                    </a:lnTo>
                    <a:lnTo>
                      <a:pt x="166" y="596"/>
                    </a:lnTo>
                    <a:lnTo>
                      <a:pt x="180" y="602"/>
                    </a:lnTo>
                    <a:lnTo>
                      <a:pt x="195" y="609"/>
                    </a:lnTo>
                    <a:lnTo>
                      <a:pt x="209" y="614"/>
                    </a:lnTo>
                    <a:lnTo>
                      <a:pt x="223" y="619"/>
                    </a:lnTo>
                    <a:lnTo>
                      <a:pt x="238" y="624"/>
                    </a:lnTo>
                    <a:lnTo>
                      <a:pt x="253" y="627"/>
                    </a:lnTo>
                    <a:lnTo>
                      <a:pt x="269" y="630"/>
                    </a:lnTo>
                    <a:lnTo>
                      <a:pt x="285" y="632"/>
                    </a:lnTo>
                    <a:lnTo>
                      <a:pt x="302" y="633"/>
                    </a:lnTo>
                    <a:lnTo>
                      <a:pt x="318" y="633"/>
                    </a:lnTo>
                    <a:lnTo>
                      <a:pt x="330" y="633"/>
                    </a:lnTo>
                    <a:lnTo>
                      <a:pt x="343" y="632"/>
                    </a:lnTo>
                    <a:lnTo>
                      <a:pt x="356" y="631"/>
                    </a:lnTo>
                    <a:lnTo>
                      <a:pt x="368" y="629"/>
                    </a:lnTo>
                    <a:lnTo>
                      <a:pt x="393" y="624"/>
                    </a:lnTo>
                    <a:lnTo>
                      <a:pt x="416" y="618"/>
                    </a:lnTo>
                    <a:lnTo>
                      <a:pt x="439" y="609"/>
                    </a:lnTo>
                    <a:lnTo>
                      <a:pt x="461" y="599"/>
                    </a:lnTo>
                    <a:lnTo>
                      <a:pt x="483" y="587"/>
                    </a:lnTo>
                    <a:lnTo>
                      <a:pt x="502" y="574"/>
                    </a:lnTo>
                    <a:lnTo>
                      <a:pt x="502" y="571"/>
                    </a:lnTo>
                    <a:lnTo>
                      <a:pt x="502" y="56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2" name="Freeform 29"/>
              <p:cNvSpPr>
                <a:spLocks/>
              </p:cNvSpPr>
              <p:nvPr/>
            </p:nvSpPr>
            <p:spPr bwMode="auto">
              <a:xfrm>
                <a:off x="3389313" y="1489076"/>
                <a:ext cx="273050" cy="303213"/>
              </a:xfrm>
              <a:custGeom>
                <a:avLst/>
                <a:gdLst>
                  <a:gd name="T0" fmla="*/ 301 w 859"/>
                  <a:gd name="T1" fmla="*/ 234 h 955"/>
                  <a:gd name="T2" fmla="*/ 105 w 859"/>
                  <a:gd name="T3" fmla="*/ 41 h 955"/>
                  <a:gd name="T4" fmla="*/ 82 w 859"/>
                  <a:gd name="T5" fmla="*/ 92 h 955"/>
                  <a:gd name="T6" fmla="*/ 53 w 859"/>
                  <a:gd name="T7" fmla="*/ 139 h 955"/>
                  <a:gd name="T8" fmla="*/ 18 w 859"/>
                  <a:gd name="T9" fmla="*/ 183 h 955"/>
                  <a:gd name="T10" fmla="*/ 22 w 859"/>
                  <a:gd name="T11" fmla="*/ 215 h 955"/>
                  <a:gd name="T12" fmla="*/ 66 w 859"/>
                  <a:gd name="T13" fmla="*/ 244 h 955"/>
                  <a:gd name="T14" fmla="*/ 107 w 859"/>
                  <a:gd name="T15" fmla="*/ 277 h 955"/>
                  <a:gd name="T16" fmla="*/ 147 w 859"/>
                  <a:gd name="T17" fmla="*/ 312 h 955"/>
                  <a:gd name="T18" fmla="*/ 183 w 859"/>
                  <a:gd name="T19" fmla="*/ 349 h 955"/>
                  <a:gd name="T20" fmla="*/ 217 w 859"/>
                  <a:gd name="T21" fmla="*/ 390 h 955"/>
                  <a:gd name="T22" fmla="*/ 249 w 859"/>
                  <a:gd name="T23" fmla="*/ 433 h 955"/>
                  <a:gd name="T24" fmla="*/ 278 w 859"/>
                  <a:gd name="T25" fmla="*/ 478 h 955"/>
                  <a:gd name="T26" fmla="*/ 303 w 859"/>
                  <a:gd name="T27" fmla="*/ 525 h 955"/>
                  <a:gd name="T28" fmla="*/ 326 w 859"/>
                  <a:gd name="T29" fmla="*/ 575 h 955"/>
                  <a:gd name="T30" fmla="*/ 347 w 859"/>
                  <a:gd name="T31" fmla="*/ 626 h 955"/>
                  <a:gd name="T32" fmla="*/ 364 w 859"/>
                  <a:gd name="T33" fmla="*/ 679 h 955"/>
                  <a:gd name="T34" fmla="*/ 377 w 859"/>
                  <a:gd name="T35" fmla="*/ 733 h 955"/>
                  <a:gd name="T36" fmla="*/ 388 w 859"/>
                  <a:gd name="T37" fmla="*/ 789 h 955"/>
                  <a:gd name="T38" fmla="*/ 395 w 859"/>
                  <a:gd name="T39" fmla="*/ 847 h 955"/>
                  <a:gd name="T40" fmla="*/ 398 w 859"/>
                  <a:gd name="T41" fmla="*/ 904 h 955"/>
                  <a:gd name="T42" fmla="*/ 398 w 859"/>
                  <a:gd name="T43" fmla="*/ 945 h 955"/>
                  <a:gd name="T44" fmla="*/ 434 w 859"/>
                  <a:gd name="T45" fmla="*/ 950 h 955"/>
                  <a:gd name="T46" fmla="*/ 501 w 859"/>
                  <a:gd name="T47" fmla="*/ 936 h 955"/>
                  <a:gd name="T48" fmla="*/ 566 w 859"/>
                  <a:gd name="T49" fmla="*/ 915 h 955"/>
                  <a:gd name="T50" fmla="*/ 628 w 859"/>
                  <a:gd name="T51" fmla="*/ 889 h 955"/>
                  <a:gd name="T52" fmla="*/ 686 w 859"/>
                  <a:gd name="T53" fmla="*/ 858 h 955"/>
                  <a:gd name="T54" fmla="*/ 739 w 859"/>
                  <a:gd name="T55" fmla="*/ 822 h 955"/>
                  <a:gd name="T56" fmla="*/ 787 w 859"/>
                  <a:gd name="T57" fmla="*/ 783 h 955"/>
                  <a:gd name="T58" fmla="*/ 831 w 859"/>
                  <a:gd name="T59" fmla="*/ 738 h 955"/>
                  <a:gd name="T60" fmla="*/ 854 w 859"/>
                  <a:gd name="T61" fmla="*/ 688 h 955"/>
                  <a:gd name="T62" fmla="*/ 859 w 859"/>
                  <a:gd name="T63" fmla="*/ 632 h 955"/>
                  <a:gd name="T64" fmla="*/ 859 w 859"/>
                  <a:gd name="T65" fmla="*/ 579 h 955"/>
                  <a:gd name="T66" fmla="*/ 856 w 859"/>
                  <a:gd name="T67" fmla="*/ 527 h 955"/>
                  <a:gd name="T68" fmla="*/ 849 w 859"/>
                  <a:gd name="T69" fmla="*/ 478 h 955"/>
                  <a:gd name="T70" fmla="*/ 839 w 859"/>
                  <a:gd name="T71" fmla="*/ 430 h 955"/>
                  <a:gd name="T72" fmla="*/ 826 w 859"/>
                  <a:gd name="T73" fmla="*/ 383 h 955"/>
                  <a:gd name="T74" fmla="*/ 811 w 859"/>
                  <a:gd name="T75" fmla="*/ 338 h 955"/>
                  <a:gd name="T76" fmla="*/ 791 w 859"/>
                  <a:gd name="T77" fmla="*/ 295 h 955"/>
                  <a:gd name="T78" fmla="*/ 770 w 859"/>
                  <a:gd name="T79" fmla="*/ 253 h 955"/>
                  <a:gd name="T80" fmla="*/ 747 w 859"/>
                  <a:gd name="T81" fmla="*/ 214 h 955"/>
                  <a:gd name="T82" fmla="*/ 721 w 859"/>
                  <a:gd name="T83" fmla="*/ 177 h 955"/>
                  <a:gd name="T84" fmla="*/ 691 w 859"/>
                  <a:gd name="T85" fmla="*/ 142 h 955"/>
                  <a:gd name="T86" fmla="*/ 661 w 859"/>
                  <a:gd name="T87" fmla="*/ 110 h 955"/>
                  <a:gd name="T88" fmla="*/ 629 w 859"/>
                  <a:gd name="T89" fmla="*/ 81 h 955"/>
                  <a:gd name="T90" fmla="*/ 594 w 859"/>
                  <a:gd name="T91" fmla="*/ 53 h 955"/>
                  <a:gd name="T92" fmla="*/ 558 w 859"/>
                  <a:gd name="T93" fmla="*/ 30 h 955"/>
                  <a:gd name="T94" fmla="*/ 520 w 859"/>
                  <a:gd name="T95" fmla="*/ 9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59" h="955">
                    <a:moveTo>
                      <a:pt x="500" y="0"/>
                    </a:moveTo>
                    <a:lnTo>
                      <a:pt x="301" y="234"/>
                    </a:lnTo>
                    <a:lnTo>
                      <a:pt x="114" y="14"/>
                    </a:lnTo>
                    <a:lnTo>
                      <a:pt x="105" y="41"/>
                    </a:lnTo>
                    <a:lnTo>
                      <a:pt x="94" y="67"/>
                    </a:lnTo>
                    <a:lnTo>
                      <a:pt x="82" y="92"/>
                    </a:lnTo>
                    <a:lnTo>
                      <a:pt x="68" y="116"/>
                    </a:lnTo>
                    <a:lnTo>
                      <a:pt x="53" y="139"/>
                    </a:lnTo>
                    <a:lnTo>
                      <a:pt x="36" y="162"/>
                    </a:lnTo>
                    <a:lnTo>
                      <a:pt x="18" y="183"/>
                    </a:lnTo>
                    <a:lnTo>
                      <a:pt x="0" y="202"/>
                    </a:lnTo>
                    <a:lnTo>
                      <a:pt x="22" y="215"/>
                    </a:lnTo>
                    <a:lnTo>
                      <a:pt x="44" y="229"/>
                    </a:lnTo>
                    <a:lnTo>
                      <a:pt x="66" y="244"/>
                    </a:lnTo>
                    <a:lnTo>
                      <a:pt x="87" y="261"/>
                    </a:lnTo>
                    <a:lnTo>
                      <a:pt x="107" y="277"/>
                    </a:lnTo>
                    <a:lnTo>
                      <a:pt x="127" y="294"/>
                    </a:lnTo>
                    <a:lnTo>
                      <a:pt x="147" y="312"/>
                    </a:lnTo>
                    <a:lnTo>
                      <a:pt x="165" y="330"/>
                    </a:lnTo>
                    <a:lnTo>
                      <a:pt x="183" y="349"/>
                    </a:lnTo>
                    <a:lnTo>
                      <a:pt x="200" y="370"/>
                    </a:lnTo>
                    <a:lnTo>
                      <a:pt x="217" y="390"/>
                    </a:lnTo>
                    <a:lnTo>
                      <a:pt x="233" y="411"/>
                    </a:lnTo>
                    <a:lnTo>
                      <a:pt x="249" y="433"/>
                    </a:lnTo>
                    <a:lnTo>
                      <a:pt x="264" y="456"/>
                    </a:lnTo>
                    <a:lnTo>
                      <a:pt x="278" y="478"/>
                    </a:lnTo>
                    <a:lnTo>
                      <a:pt x="291" y="501"/>
                    </a:lnTo>
                    <a:lnTo>
                      <a:pt x="303" y="525"/>
                    </a:lnTo>
                    <a:lnTo>
                      <a:pt x="315" y="550"/>
                    </a:lnTo>
                    <a:lnTo>
                      <a:pt x="326" y="575"/>
                    </a:lnTo>
                    <a:lnTo>
                      <a:pt x="337" y="600"/>
                    </a:lnTo>
                    <a:lnTo>
                      <a:pt x="347" y="626"/>
                    </a:lnTo>
                    <a:lnTo>
                      <a:pt x="356" y="653"/>
                    </a:lnTo>
                    <a:lnTo>
                      <a:pt x="364" y="679"/>
                    </a:lnTo>
                    <a:lnTo>
                      <a:pt x="371" y="706"/>
                    </a:lnTo>
                    <a:lnTo>
                      <a:pt x="377" y="733"/>
                    </a:lnTo>
                    <a:lnTo>
                      <a:pt x="383" y="761"/>
                    </a:lnTo>
                    <a:lnTo>
                      <a:pt x="388" y="789"/>
                    </a:lnTo>
                    <a:lnTo>
                      <a:pt x="392" y="817"/>
                    </a:lnTo>
                    <a:lnTo>
                      <a:pt x="395" y="847"/>
                    </a:lnTo>
                    <a:lnTo>
                      <a:pt x="397" y="875"/>
                    </a:lnTo>
                    <a:lnTo>
                      <a:pt x="398" y="904"/>
                    </a:lnTo>
                    <a:lnTo>
                      <a:pt x="399" y="933"/>
                    </a:lnTo>
                    <a:lnTo>
                      <a:pt x="398" y="945"/>
                    </a:lnTo>
                    <a:lnTo>
                      <a:pt x="398" y="955"/>
                    </a:lnTo>
                    <a:lnTo>
                      <a:pt x="434" y="950"/>
                    </a:lnTo>
                    <a:lnTo>
                      <a:pt x="468" y="944"/>
                    </a:lnTo>
                    <a:lnTo>
                      <a:pt x="501" y="936"/>
                    </a:lnTo>
                    <a:lnTo>
                      <a:pt x="535" y="925"/>
                    </a:lnTo>
                    <a:lnTo>
                      <a:pt x="566" y="915"/>
                    </a:lnTo>
                    <a:lnTo>
                      <a:pt x="597" y="902"/>
                    </a:lnTo>
                    <a:lnTo>
                      <a:pt x="628" y="889"/>
                    </a:lnTo>
                    <a:lnTo>
                      <a:pt x="658" y="874"/>
                    </a:lnTo>
                    <a:lnTo>
                      <a:pt x="686" y="858"/>
                    </a:lnTo>
                    <a:lnTo>
                      <a:pt x="714" y="841"/>
                    </a:lnTo>
                    <a:lnTo>
                      <a:pt x="739" y="822"/>
                    </a:lnTo>
                    <a:lnTo>
                      <a:pt x="764" y="803"/>
                    </a:lnTo>
                    <a:lnTo>
                      <a:pt x="787" y="783"/>
                    </a:lnTo>
                    <a:lnTo>
                      <a:pt x="811" y="761"/>
                    </a:lnTo>
                    <a:lnTo>
                      <a:pt x="831" y="738"/>
                    </a:lnTo>
                    <a:lnTo>
                      <a:pt x="851" y="715"/>
                    </a:lnTo>
                    <a:lnTo>
                      <a:pt x="854" y="688"/>
                    </a:lnTo>
                    <a:lnTo>
                      <a:pt x="857" y="661"/>
                    </a:lnTo>
                    <a:lnTo>
                      <a:pt x="859" y="632"/>
                    </a:lnTo>
                    <a:lnTo>
                      <a:pt x="859" y="604"/>
                    </a:lnTo>
                    <a:lnTo>
                      <a:pt x="859" y="579"/>
                    </a:lnTo>
                    <a:lnTo>
                      <a:pt x="858" y="553"/>
                    </a:lnTo>
                    <a:lnTo>
                      <a:pt x="856" y="527"/>
                    </a:lnTo>
                    <a:lnTo>
                      <a:pt x="853" y="503"/>
                    </a:lnTo>
                    <a:lnTo>
                      <a:pt x="849" y="478"/>
                    </a:lnTo>
                    <a:lnTo>
                      <a:pt x="844" y="454"/>
                    </a:lnTo>
                    <a:lnTo>
                      <a:pt x="839" y="430"/>
                    </a:lnTo>
                    <a:lnTo>
                      <a:pt x="833" y="406"/>
                    </a:lnTo>
                    <a:lnTo>
                      <a:pt x="826" y="383"/>
                    </a:lnTo>
                    <a:lnTo>
                      <a:pt x="819" y="361"/>
                    </a:lnTo>
                    <a:lnTo>
                      <a:pt x="811" y="338"/>
                    </a:lnTo>
                    <a:lnTo>
                      <a:pt x="801" y="316"/>
                    </a:lnTo>
                    <a:lnTo>
                      <a:pt x="791" y="295"/>
                    </a:lnTo>
                    <a:lnTo>
                      <a:pt x="781" y="274"/>
                    </a:lnTo>
                    <a:lnTo>
                      <a:pt x="770" y="253"/>
                    </a:lnTo>
                    <a:lnTo>
                      <a:pt x="759" y="233"/>
                    </a:lnTo>
                    <a:lnTo>
                      <a:pt x="747" y="214"/>
                    </a:lnTo>
                    <a:lnTo>
                      <a:pt x="734" y="195"/>
                    </a:lnTo>
                    <a:lnTo>
                      <a:pt x="721" y="177"/>
                    </a:lnTo>
                    <a:lnTo>
                      <a:pt x="706" y="160"/>
                    </a:lnTo>
                    <a:lnTo>
                      <a:pt x="691" y="142"/>
                    </a:lnTo>
                    <a:lnTo>
                      <a:pt x="677" y="126"/>
                    </a:lnTo>
                    <a:lnTo>
                      <a:pt x="661" y="110"/>
                    </a:lnTo>
                    <a:lnTo>
                      <a:pt x="645" y="95"/>
                    </a:lnTo>
                    <a:lnTo>
                      <a:pt x="629" y="81"/>
                    </a:lnTo>
                    <a:lnTo>
                      <a:pt x="611" y="67"/>
                    </a:lnTo>
                    <a:lnTo>
                      <a:pt x="594" y="53"/>
                    </a:lnTo>
                    <a:lnTo>
                      <a:pt x="576" y="41"/>
                    </a:lnTo>
                    <a:lnTo>
                      <a:pt x="558" y="30"/>
                    </a:lnTo>
                    <a:lnTo>
                      <a:pt x="540" y="19"/>
                    </a:lnTo>
                    <a:lnTo>
                      <a:pt x="520" y="9"/>
                    </a:lnTo>
                    <a:lnTo>
                      <a:pt x="50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3" name="Freeform 30"/>
              <p:cNvSpPr>
                <a:spLocks/>
              </p:cNvSpPr>
              <p:nvPr/>
            </p:nvSpPr>
            <p:spPr bwMode="auto">
              <a:xfrm>
                <a:off x="2905126" y="1489076"/>
                <a:ext cx="279400" cy="304800"/>
              </a:xfrm>
              <a:custGeom>
                <a:avLst/>
                <a:gdLst>
                  <a:gd name="T0" fmla="*/ 483 w 877"/>
                  <a:gd name="T1" fmla="*/ 904 h 958"/>
                  <a:gd name="T2" fmla="*/ 486 w 877"/>
                  <a:gd name="T3" fmla="*/ 847 h 958"/>
                  <a:gd name="T4" fmla="*/ 493 w 877"/>
                  <a:gd name="T5" fmla="*/ 790 h 958"/>
                  <a:gd name="T6" fmla="*/ 503 w 877"/>
                  <a:gd name="T7" fmla="*/ 734 h 958"/>
                  <a:gd name="T8" fmla="*/ 517 w 877"/>
                  <a:gd name="T9" fmla="*/ 681 h 958"/>
                  <a:gd name="T10" fmla="*/ 534 w 877"/>
                  <a:gd name="T11" fmla="*/ 628 h 958"/>
                  <a:gd name="T12" fmla="*/ 554 w 877"/>
                  <a:gd name="T13" fmla="*/ 577 h 958"/>
                  <a:gd name="T14" fmla="*/ 576 w 877"/>
                  <a:gd name="T15" fmla="*/ 528 h 958"/>
                  <a:gd name="T16" fmla="*/ 602 w 877"/>
                  <a:gd name="T17" fmla="*/ 481 h 958"/>
                  <a:gd name="T18" fmla="*/ 631 w 877"/>
                  <a:gd name="T19" fmla="*/ 435 h 958"/>
                  <a:gd name="T20" fmla="*/ 662 w 877"/>
                  <a:gd name="T21" fmla="*/ 393 h 958"/>
                  <a:gd name="T22" fmla="*/ 695 w 877"/>
                  <a:gd name="T23" fmla="*/ 353 h 958"/>
                  <a:gd name="T24" fmla="*/ 732 w 877"/>
                  <a:gd name="T25" fmla="*/ 315 h 958"/>
                  <a:gd name="T26" fmla="*/ 770 w 877"/>
                  <a:gd name="T27" fmla="*/ 280 h 958"/>
                  <a:gd name="T28" fmla="*/ 812 w 877"/>
                  <a:gd name="T29" fmla="*/ 247 h 958"/>
                  <a:gd name="T30" fmla="*/ 854 w 877"/>
                  <a:gd name="T31" fmla="*/ 218 h 958"/>
                  <a:gd name="T32" fmla="*/ 856 w 877"/>
                  <a:gd name="T33" fmla="*/ 184 h 958"/>
                  <a:gd name="T34" fmla="*/ 819 w 877"/>
                  <a:gd name="T35" fmla="*/ 136 h 958"/>
                  <a:gd name="T36" fmla="*/ 788 w 877"/>
                  <a:gd name="T37" fmla="*/ 85 h 958"/>
                  <a:gd name="T38" fmla="*/ 769 w 877"/>
                  <a:gd name="T39" fmla="*/ 44 h 958"/>
                  <a:gd name="T40" fmla="*/ 759 w 877"/>
                  <a:gd name="T41" fmla="*/ 15 h 958"/>
                  <a:gd name="T42" fmla="*/ 754 w 877"/>
                  <a:gd name="T43" fmla="*/ 0 h 958"/>
                  <a:gd name="T44" fmla="*/ 357 w 877"/>
                  <a:gd name="T45" fmla="*/ 1 h 958"/>
                  <a:gd name="T46" fmla="*/ 318 w 877"/>
                  <a:gd name="T47" fmla="*/ 20 h 958"/>
                  <a:gd name="T48" fmla="*/ 281 w 877"/>
                  <a:gd name="T49" fmla="*/ 42 h 958"/>
                  <a:gd name="T50" fmla="*/ 246 w 877"/>
                  <a:gd name="T51" fmla="*/ 68 h 958"/>
                  <a:gd name="T52" fmla="*/ 212 w 877"/>
                  <a:gd name="T53" fmla="*/ 96 h 958"/>
                  <a:gd name="T54" fmla="*/ 181 w 877"/>
                  <a:gd name="T55" fmla="*/ 127 h 958"/>
                  <a:gd name="T56" fmla="*/ 152 w 877"/>
                  <a:gd name="T57" fmla="*/ 161 h 958"/>
                  <a:gd name="T58" fmla="*/ 124 w 877"/>
                  <a:gd name="T59" fmla="*/ 197 h 958"/>
                  <a:gd name="T60" fmla="*/ 100 w 877"/>
                  <a:gd name="T61" fmla="*/ 234 h 958"/>
                  <a:gd name="T62" fmla="*/ 78 w 877"/>
                  <a:gd name="T63" fmla="*/ 275 h 958"/>
                  <a:gd name="T64" fmla="*/ 58 w 877"/>
                  <a:gd name="T65" fmla="*/ 317 h 958"/>
                  <a:gd name="T66" fmla="*/ 40 w 877"/>
                  <a:gd name="T67" fmla="*/ 362 h 958"/>
                  <a:gd name="T68" fmla="*/ 26 w 877"/>
                  <a:gd name="T69" fmla="*/ 407 h 958"/>
                  <a:gd name="T70" fmla="*/ 15 w 877"/>
                  <a:gd name="T71" fmla="*/ 455 h 958"/>
                  <a:gd name="T72" fmla="*/ 6 w 877"/>
                  <a:gd name="T73" fmla="*/ 503 h 958"/>
                  <a:gd name="T74" fmla="*/ 1 w 877"/>
                  <a:gd name="T75" fmla="*/ 554 h 958"/>
                  <a:gd name="T76" fmla="*/ 0 w 877"/>
                  <a:gd name="T77" fmla="*/ 604 h 958"/>
                  <a:gd name="T78" fmla="*/ 2 w 877"/>
                  <a:gd name="T79" fmla="*/ 661 h 958"/>
                  <a:gd name="T80" fmla="*/ 8 w 877"/>
                  <a:gd name="T81" fmla="*/ 715 h 958"/>
                  <a:gd name="T82" fmla="*/ 51 w 877"/>
                  <a:gd name="T83" fmla="*/ 763 h 958"/>
                  <a:gd name="T84" fmla="*/ 99 w 877"/>
                  <a:gd name="T85" fmla="*/ 806 h 958"/>
                  <a:gd name="T86" fmla="*/ 153 w 877"/>
                  <a:gd name="T87" fmla="*/ 845 h 958"/>
                  <a:gd name="T88" fmla="*/ 210 w 877"/>
                  <a:gd name="T89" fmla="*/ 879 h 958"/>
                  <a:gd name="T90" fmla="*/ 274 w 877"/>
                  <a:gd name="T91" fmla="*/ 907 h 958"/>
                  <a:gd name="T92" fmla="*/ 340 w 877"/>
                  <a:gd name="T93" fmla="*/ 930 h 958"/>
                  <a:gd name="T94" fmla="*/ 410 w 877"/>
                  <a:gd name="T95" fmla="*/ 947 h 958"/>
                  <a:gd name="T96" fmla="*/ 483 w 877"/>
                  <a:gd name="T97" fmla="*/ 958 h 958"/>
                  <a:gd name="T98" fmla="*/ 482 w 877"/>
                  <a:gd name="T99" fmla="*/ 933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77" h="958">
                    <a:moveTo>
                      <a:pt x="482" y="933"/>
                    </a:moveTo>
                    <a:lnTo>
                      <a:pt x="483" y="904"/>
                    </a:lnTo>
                    <a:lnTo>
                      <a:pt x="484" y="876"/>
                    </a:lnTo>
                    <a:lnTo>
                      <a:pt x="486" y="847"/>
                    </a:lnTo>
                    <a:lnTo>
                      <a:pt x="489" y="818"/>
                    </a:lnTo>
                    <a:lnTo>
                      <a:pt x="493" y="790"/>
                    </a:lnTo>
                    <a:lnTo>
                      <a:pt x="498" y="763"/>
                    </a:lnTo>
                    <a:lnTo>
                      <a:pt x="503" y="734"/>
                    </a:lnTo>
                    <a:lnTo>
                      <a:pt x="510" y="707"/>
                    </a:lnTo>
                    <a:lnTo>
                      <a:pt x="517" y="681"/>
                    </a:lnTo>
                    <a:lnTo>
                      <a:pt x="526" y="655"/>
                    </a:lnTo>
                    <a:lnTo>
                      <a:pt x="534" y="628"/>
                    </a:lnTo>
                    <a:lnTo>
                      <a:pt x="544" y="602"/>
                    </a:lnTo>
                    <a:lnTo>
                      <a:pt x="554" y="577"/>
                    </a:lnTo>
                    <a:lnTo>
                      <a:pt x="565" y="553"/>
                    </a:lnTo>
                    <a:lnTo>
                      <a:pt x="576" y="528"/>
                    </a:lnTo>
                    <a:lnTo>
                      <a:pt x="589" y="504"/>
                    </a:lnTo>
                    <a:lnTo>
                      <a:pt x="602" y="481"/>
                    </a:lnTo>
                    <a:lnTo>
                      <a:pt x="615" y="458"/>
                    </a:lnTo>
                    <a:lnTo>
                      <a:pt x="631" y="435"/>
                    </a:lnTo>
                    <a:lnTo>
                      <a:pt x="646" y="414"/>
                    </a:lnTo>
                    <a:lnTo>
                      <a:pt x="662" y="393"/>
                    </a:lnTo>
                    <a:lnTo>
                      <a:pt x="678" y="373"/>
                    </a:lnTo>
                    <a:lnTo>
                      <a:pt x="695" y="353"/>
                    </a:lnTo>
                    <a:lnTo>
                      <a:pt x="714" y="333"/>
                    </a:lnTo>
                    <a:lnTo>
                      <a:pt x="732" y="315"/>
                    </a:lnTo>
                    <a:lnTo>
                      <a:pt x="751" y="297"/>
                    </a:lnTo>
                    <a:lnTo>
                      <a:pt x="770" y="280"/>
                    </a:lnTo>
                    <a:lnTo>
                      <a:pt x="790" y="264"/>
                    </a:lnTo>
                    <a:lnTo>
                      <a:pt x="812" y="247"/>
                    </a:lnTo>
                    <a:lnTo>
                      <a:pt x="833" y="232"/>
                    </a:lnTo>
                    <a:lnTo>
                      <a:pt x="854" y="218"/>
                    </a:lnTo>
                    <a:lnTo>
                      <a:pt x="877" y="205"/>
                    </a:lnTo>
                    <a:lnTo>
                      <a:pt x="856" y="184"/>
                    </a:lnTo>
                    <a:lnTo>
                      <a:pt x="837" y="161"/>
                    </a:lnTo>
                    <a:lnTo>
                      <a:pt x="819" y="136"/>
                    </a:lnTo>
                    <a:lnTo>
                      <a:pt x="802" y="111"/>
                    </a:lnTo>
                    <a:lnTo>
                      <a:pt x="788" y="85"/>
                    </a:lnTo>
                    <a:lnTo>
                      <a:pt x="775" y="57"/>
                    </a:lnTo>
                    <a:lnTo>
                      <a:pt x="769" y="44"/>
                    </a:lnTo>
                    <a:lnTo>
                      <a:pt x="764" y="29"/>
                    </a:lnTo>
                    <a:lnTo>
                      <a:pt x="759" y="15"/>
                    </a:lnTo>
                    <a:lnTo>
                      <a:pt x="755" y="1"/>
                    </a:lnTo>
                    <a:lnTo>
                      <a:pt x="754" y="0"/>
                    </a:lnTo>
                    <a:lnTo>
                      <a:pt x="555" y="234"/>
                    </a:lnTo>
                    <a:lnTo>
                      <a:pt x="357" y="1"/>
                    </a:lnTo>
                    <a:lnTo>
                      <a:pt x="337" y="10"/>
                    </a:lnTo>
                    <a:lnTo>
                      <a:pt x="318" y="20"/>
                    </a:lnTo>
                    <a:lnTo>
                      <a:pt x="299" y="31"/>
                    </a:lnTo>
                    <a:lnTo>
                      <a:pt x="281" y="42"/>
                    </a:lnTo>
                    <a:lnTo>
                      <a:pt x="264" y="54"/>
                    </a:lnTo>
                    <a:lnTo>
                      <a:pt x="246" y="68"/>
                    </a:lnTo>
                    <a:lnTo>
                      <a:pt x="229" y="82"/>
                    </a:lnTo>
                    <a:lnTo>
                      <a:pt x="212" y="96"/>
                    </a:lnTo>
                    <a:lnTo>
                      <a:pt x="197" y="111"/>
                    </a:lnTo>
                    <a:lnTo>
                      <a:pt x="181" y="127"/>
                    </a:lnTo>
                    <a:lnTo>
                      <a:pt x="167" y="143"/>
                    </a:lnTo>
                    <a:lnTo>
                      <a:pt x="152" y="161"/>
                    </a:lnTo>
                    <a:lnTo>
                      <a:pt x="138" y="178"/>
                    </a:lnTo>
                    <a:lnTo>
                      <a:pt x="124" y="197"/>
                    </a:lnTo>
                    <a:lnTo>
                      <a:pt x="112" y="215"/>
                    </a:lnTo>
                    <a:lnTo>
                      <a:pt x="100" y="234"/>
                    </a:lnTo>
                    <a:lnTo>
                      <a:pt x="88" y="255"/>
                    </a:lnTo>
                    <a:lnTo>
                      <a:pt x="78" y="275"/>
                    </a:lnTo>
                    <a:lnTo>
                      <a:pt x="67" y="296"/>
                    </a:lnTo>
                    <a:lnTo>
                      <a:pt x="58" y="317"/>
                    </a:lnTo>
                    <a:lnTo>
                      <a:pt x="49" y="339"/>
                    </a:lnTo>
                    <a:lnTo>
                      <a:pt x="40" y="362"/>
                    </a:lnTo>
                    <a:lnTo>
                      <a:pt x="33" y="384"/>
                    </a:lnTo>
                    <a:lnTo>
                      <a:pt x="26" y="407"/>
                    </a:lnTo>
                    <a:lnTo>
                      <a:pt x="20" y="430"/>
                    </a:lnTo>
                    <a:lnTo>
                      <a:pt x="15" y="455"/>
                    </a:lnTo>
                    <a:lnTo>
                      <a:pt x="10" y="479"/>
                    </a:lnTo>
                    <a:lnTo>
                      <a:pt x="6" y="503"/>
                    </a:lnTo>
                    <a:lnTo>
                      <a:pt x="4" y="528"/>
                    </a:lnTo>
                    <a:lnTo>
                      <a:pt x="1" y="554"/>
                    </a:lnTo>
                    <a:lnTo>
                      <a:pt x="0" y="579"/>
                    </a:lnTo>
                    <a:lnTo>
                      <a:pt x="0" y="604"/>
                    </a:lnTo>
                    <a:lnTo>
                      <a:pt x="0" y="632"/>
                    </a:lnTo>
                    <a:lnTo>
                      <a:pt x="2" y="661"/>
                    </a:lnTo>
                    <a:lnTo>
                      <a:pt x="5" y="688"/>
                    </a:lnTo>
                    <a:lnTo>
                      <a:pt x="8" y="715"/>
                    </a:lnTo>
                    <a:lnTo>
                      <a:pt x="29" y="739"/>
                    </a:lnTo>
                    <a:lnTo>
                      <a:pt x="51" y="763"/>
                    </a:lnTo>
                    <a:lnTo>
                      <a:pt x="74" y="785"/>
                    </a:lnTo>
                    <a:lnTo>
                      <a:pt x="99" y="806"/>
                    </a:lnTo>
                    <a:lnTo>
                      <a:pt x="125" y="826"/>
                    </a:lnTo>
                    <a:lnTo>
                      <a:pt x="153" y="845"/>
                    </a:lnTo>
                    <a:lnTo>
                      <a:pt x="181" y="863"/>
                    </a:lnTo>
                    <a:lnTo>
                      <a:pt x="210" y="879"/>
                    </a:lnTo>
                    <a:lnTo>
                      <a:pt x="242" y="894"/>
                    </a:lnTo>
                    <a:lnTo>
                      <a:pt x="274" y="907"/>
                    </a:lnTo>
                    <a:lnTo>
                      <a:pt x="306" y="919"/>
                    </a:lnTo>
                    <a:lnTo>
                      <a:pt x="340" y="930"/>
                    </a:lnTo>
                    <a:lnTo>
                      <a:pt x="375" y="940"/>
                    </a:lnTo>
                    <a:lnTo>
                      <a:pt x="410" y="947"/>
                    </a:lnTo>
                    <a:lnTo>
                      <a:pt x="447" y="953"/>
                    </a:lnTo>
                    <a:lnTo>
                      <a:pt x="483" y="958"/>
                    </a:lnTo>
                    <a:lnTo>
                      <a:pt x="483" y="946"/>
                    </a:lnTo>
                    <a:lnTo>
                      <a:pt x="482" y="93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74" name="TextBox 73">
            <a:extLst>
              <a:ext uri="{FF2B5EF4-FFF2-40B4-BE49-F238E27FC236}">
                <a16:creationId xmlns:a16="http://schemas.microsoft.com/office/drawing/2014/main" id="{AE4BE96C-1EBC-0241-B314-AA8DFF344AF9}"/>
              </a:ext>
            </a:extLst>
          </p:cNvPr>
          <p:cNvSpPr txBox="1"/>
          <p:nvPr/>
        </p:nvSpPr>
        <p:spPr>
          <a:xfrm>
            <a:off x="869425" y="3338511"/>
            <a:ext cx="989307" cy="387627"/>
          </a:xfrm>
          <a:prstGeom prst="rect">
            <a:avLst/>
          </a:prstGeom>
          <a:noFill/>
        </p:spPr>
        <p:txBody>
          <a:bodyPr wrap="square" lIns="0" tIns="0" rIns="0" bIns="0" rtlCol="0">
            <a:noAutofit/>
          </a:bodyPr>
          <a:lstStyle/>
          <a:p>
            <a:r>
              <a:rPr lang="en-US" b="1"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140,000+ </a:t>
            </a:r>
            <a:br>
              <a:rPr lang="en-US" b="1"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br>
            <a:r>
              <a:rPr lang="en-US" sz="900" dirty="0" smtClean="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rPr>
              <a:t>Women employees</a:t>
            </a:r>
            <a:endParaRPr lang="en-US" sz="900" dirty="0">
              <a:solidFill>
                <a:schemeClr val="bg2">
                  <a:lumMod val="75000"/>
                  <a:lumOff val="25000"/>
                </a:schemeClr>
              </a:solidFill>
              <a:latin typeface="Calibri" panose="020F0502020204030204" pitchFamily="34" charset="0"/>
              <a:ea typeface="Verdana" panose="020B0604030504040204" pitchFamily="34" charset="0"/>
              <a:cs typeface="Verdana" panose="020B0604030504040204" pitchFamily="34" charset="0"/>
            </a:endParaRPr>
          </a:p>
        </p:txBody>
      </p:sp>
      <p:grpSp>
        <p:nvGrpSpPr>
          <p:cNvPr id="5" name="Group 4"/>
          <p:cNvGrpSpPr/>
          <p:nvPr/>
        </p:nvGrpSpPr>
        <p:grpSpPr>
          <a:xfrm>
            <a:off x="262936" y="3315190"/>
            <a:ext cx="490336" cy="490336"/>
            <a:chOff x="1575293" y="3268097"/>
            <a:chExt cx="490336" cy="490336"/>
          </a:xfrm>
        </p:grpSpPr>
        <p:sp>
          <p:nvSpPr>
            <p:cNvPr id="36" name="Freeform 33"/>
            <p:cNvSpPr>
              <a:spLocks/>
            </p:cNvSpPr>
            <p:nvPr/>
          </p:nvSpPr>
          <p:spPr bwMode="auto">
            <a:xfrm>
              <a:off x="1575293" y="3268097"/>
              <a:ext cx="490336" cy="490336"/>
            </a:xfrm>
            <a:custGeom>
              <a:avLst/>
              <a:gdLst>
                <a:gd name="T0" fmla="*/ 380 w 380"/>
                <a:gd name="T1" fmla="*/ 191 h 380"/>
                <a:gd name="T2" fmla="*/ 377 w 380"/>
                <a:gd name="T3" fmla="*/ 228 h 380"/>
                <a:gd name="T4" fmla="*/ 366 w 380"/>
                <a:gd name="T5" fmla="*/ 265 h 380"/>
                <a:gd name="T6" fmla="*/ 349 w 380"/>
                <a:gd name="T7" fmla="*/ 296 h 380"/>
                <a:gd name="T8" fmla="*/ 325 w 380"/>
                <a:gd name="T9" fmla="*/ 324 h 380"/>
                <a:gd name="T10" fmla="*/ 297 w 380"/>
                <a:gd name="T11" fmla="*/ 348 h 380"/>
                <a:gd name="T12" fmla="*/ 266 w 380"/>
                <a:gd name="T13" fmla="*/ 365 h 380"/>
                <a:gd name="T14" fmla="*/ 228 w 380"/>
                <a:gd name="T15" fmla="*/ 376 h 380"/>
                <a:gd name="T16" fmla="*/ 191 w 380"/>
                <a:gd name="T17" fmla="*/ 380 h 380"/>
                <a:gd name="T18" fmla="*/ 171 w 380"/>
                <a:gd name="T19" fmla="*/ 380 h 380"/>
                <a:gd name="T20" fmla="*/ 134 w 380"/>
                <a:gd name="T21" fmla="*/ 372 h 380"/>
                <a:gd name="T22" fmla="*/ 101 w 380"/>
                <a:gd name="T23" fmla="*/ 358 h 380"/>
                <a:gd name="T24" fmla="*/ 71 w 380"/>
                <a:gd name="T25" fmla="*/ 337 h 380"/>
                <a:gd name="T26" fmla="*/ 45 w 380"/>
                <a:gd name="T27" fmla="*/ 311 h 380"/>
                <a:gd name="T28" fmla="*/ 25 w 380"/>
                <a:gd name="T29" fmla="*/ 280 h 380"/>
                <a:gd name="T30" fmla="*/ 10 w 380"/>
                <a:gd name="T31" fmla="*/ 246 h 380"/>
                <a:gd name="T32" fmla="*/ 2 w 380"/>
                <a:gd name="T33" fmla="*/ 209 h 380"/>
                <a:gd name="T34" fmla="*/ 0 w 380"/>
                <a:gd name="T35" fmla="*/ 191 h 380"/>
                <a:gd name="T36" fmla="*/ 4 w 380"/>
                <a:gd name="T37" fmla="*/ 152 h 380"/>
                <a:gd name="T38" fmla="*/ 15 w 380"/>
                <a:gd name="T39" fmla="*/ 116 h 380"/>
                <a:gd name="T40" fmla="*/ 34 w 380"/>
                <a:gd name="T41" fmla="*/ 83 h 380"/>
                <a:gd name="T42" fmla="*/ 56 w 380"/>
                <a:gd name="T43" fmla="*/ 55 h 380"/>
                <a:gd name="T44" fmla="*/ 84 w 380"/>
                <a:gd name="T45" fmla="*/ 33 h 380"/>
                <a:gd name="T46" fmla="*/ 117 w 380"/>
                <a:gd name="T47" fmla="*/ 14 h 380"/>
                <a:gd name="T48" fmla="*/ 152 w 380"/>
                <a:gd name="T49" fmla="*/ 3 h 380"/>
                <a:gd name="T50" fmla="*/ 191 w 380"/>
                <a:gd name="T51" fmla="*/ 0 h 380"/>
                <a:gd name="T52" fmla="*/ 210 w 380"/>
                <a:gd name="T53" fmla="*/ 2 h 380"/>
                <a:gd name="T54" fmla="*/ 247 w 380"/>
                <a:gd name="T55" fmla="*/ 9 h 380"/>
                <a:gd name="T56" fmla="*/ 282 w 380"/>
                <a:gd name="T57" fmla="*/ 24 h 380"/>
                <a:gd name="T58" fmla="*/ 312 w 380"/>
                <a:gd name="T59" fmla="*/ 44 h 380"/>
                <a:gd name="T60" fmla="*/ 338 w 380"/>
                <a:gd name="T61" fmla="*/ 68 h 380"/>
                <a:gd name="T62" fmla="*/ 358 w 380"/>
                <a:gd name="T63" fmla="*/ 100 h 380"/>
                <a:gd name="T64" fmla="*/ 373 w 380"/>
                <a:gd name="T65" fmla="*/ 133 h 380"/>
                <a:gd name="T66" fmla="*/ 380 w 380"/>
                <a:gd name="T67" fmla="*/ 170 h 380"/>
                <a:gd name="T68" fmla="*/ 380 w 380"/>
                <a:gd name="T69" fmla="*/ 191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0" h="380">
                  <a:moveTo>
                    <a:pt x="380" y="191"/>
                  </a:moveTo>
                  <a:lnTo>
                    <a:pt x="380" y="191"/>
                  </a:lnTo>
                  <a:lnTo>
                    <a:pt x="380" y="209"/>
                  </a:lnTo>
                  <a:lnTo>
                    <a:pt x="377" y="228"/>
                  </a:lnTo>
                  <a:lnTo>
                    <a:pt x="373" y="246"/>
                  </a:lnTo>
                  <a:lnTo>
                    <a:pt x="366" y="265"/>
                  </a:lnTo>
                  <a:lnTo>
                    <a:pt x="358" y="280"/>
                  </a:lnTo>
                  <a:lnTo>
                    <a:pt x="349" y="296"/>
                  </a:lnTo>
                  <a:lnTo>
                    <a:pt x="338" y="311"/>
                  </a:lnTo>
                  <a:lnTo>
                    <a:pt x="325" y="324"/>
                  </a:lnTo>
                  <a:lnTo>
                    <a:pt x="312" y="337"/>
                  </a:lnTo>
                  <a:lnTo>
                    <a:pt x="297" y="348"/>
                  </a:lnTo>
                  <a:lnTo>
                    <a:pt x="282" y="358"/>
                  </a:lnTo>
                  <a:lnTo>
                    <a:pt x="266" y="365"/>
                  </a:lnTo>
                  <a:lnTo>
                    <a:pt x="247" y="372"/>
                  </a:lnTo>
                  <a:lnTo>
                    <a:pt x="228" y="376"/>
                  </a:lnTo>
                  <a:lnTo>
                    <a:pt x="210" y="380"/>
                  </a:lnTo>
                  <a:lnTo>
                    <a:pt x="191" y="380"/>
                  </a:lnTo>
                  <a:lnTo>
                    <a:pt x="191" y="380"/>
                  </a:lnTo>
                  <a:lnTo>
                    <a:pt x="171" y="380"/>
                  </a:lnTo>
                  <a:lnTo>
                    <a:pt x="152" y="376"/>
                  </a:lnTo>
                  <a:lnTo>
                    <a:pt x="134" y="372"/>
                  </a:lnTo>
                  <a:lnTo>
                    <a:pt x="117" y="365"/>
                  </a:lnTo>
                  <a:lnTo>
                    <a:pt x="101" y="358"/>
                  </a:lnTo>
                  <a:lnTo>
                    <a:pt x="84" y="348"/>
                  </a:lnTo>
                  <a:lnTo>
                    <a:pt x="71" y="337"/>
                  </a:lnTo>
                  <a:lnTo>
                    <a:pt x="56" y="324"/>
                  </a:lnTo>
                  <a:lnTo>
                    <a:pt x="45" y="311"/>
                  </a:lnTo>
                  <a:lnTo>
                    <a:pt x="34" y="296"/>
                  </a:lnTo>
                  <a:lnTo>
                    <a:pt x="25" y="280"/>
                  </a:lnTo>
                  <a:lnTo>
                    <a:pt x="15" y="265"/>
                  </a:lnTo>
                  <a:lnTo>
                    <a:pt x="10" y="246"/>
                  </a:lnTo>
                  <a:lnTo>
                    <a:pt x="4" y="228"/>
                  </a:lnTo>
                  <a:lnTo>
                    <a:pt x="2" y="209"/>
                  </a:lnTo>
                  <a:lnTo>
                    <a:pt x="0" y="191"/>
                  </a:lnTo>
                  <a:lnTo>
                    <a:pt x="0" y="191"/>
                  </a:lnTo>
                  <a:lnTo>
                    <a:pt x="2" y="170"/>
                  </a:lnTo>
                  <a:lnTo>
                    <a:pt x="4" y="152"/>
                  </a:lnTo>
                  <a:lnTo>
                    <a:pt x="10" y="133"/>
                  </a:lnTo>
                  <a:lnTo>
                    <a:pt x="15" y="116"/>
                  </a:lnTo>
                  <a:lnTo>
                    <a:pt x="25" y="100"/>
                  </a:lnTo>
                  <a:lnTo>
                    <a:pt x="34" y="83"/>
                  </a:lnTo>
                  <a:lnTo>
                    <a:pt x="45" y="68"/>
                  </a:lnTo>
                  <a:lnTo>
                    <a:pt x="56" y="55"/>
                  </a:lnTo>
                  <a:lnTo>
                    <a:pt x="71" y="44"/>
                  </a:lnTo>
                  <a:lnTo>
                    <a:pt x="84" y="33"/>
                  </a:lnTo>
                  <a:lnTo>
                    <a:pt x="101" y="24"/>
                  </a:lnTo>
                  <a:lnTo>
                    <a:pt x="117" y="14"/>
                  </a:lnTo>
                  <a:lnTo>
                    <a:pt x="134" y="9"/>
                  </a:lnTo>
                  <a:lnTo>
                    <a:pt x="152" y="3"/>
                  </a:lnTo>
                  <a:lnTo>
                    <a:pt x="171" y="2"/>
                  </a:lnTo>
                  <a:lnTo>
                    <a:pt x="191" y="0"/>
                  </a:lnTo>
                  <a:lnTo>
                    <a:pt x="191" y="0"/>
                  </a:lnTo>
                  <a:lnTo>
                    <a:pt x="210" y="2"/>
                  </a:lnTo>
                  <a:lnTo>
                    <a:pt x="228" y="3"/>
                  </a:lnTo>
                  <a:lnTo>
                    <a:pt x="247" y="9"/>
                  </a:lnTo>
                  <a:lnTo>
                    <a:pt x="266" y="14"/>
                  </a:lnTo>
                  <a:lnTo>
                    <a:pt x="282" y="24"/>
                  </a:lnTo>
                  <a:lnTo>
                    <a:pt x="297" y="33"/>
                  </a:lnTo>
                  <a:lnTo>
                    <a:pt x="312" y="44"/>
                  </a:lnTo>
                  <a:lnTo>
                    <a:pt x="325" y="55"/>
                  </a:lnTo>
                  <a:lnTo>
                    <a:pt x="338" y="68"/>
                  </a:lnTo>
                  <a:lnTo>
                    <a:pt x="349" y="83"/>
                  </a:lnTo>
                  <a:lnTo>
                    <a:pt x="358" y="100"/>
                  </a:lnTo>
                  <a:lnTo>
                    <a:pt x="366" y="116"/>
                  </a:lnTo>
                  <a:lnTo>
                    <a:pt x="373" y="133"/>
                  </a:lnTo>
                  <a:lnTo>
                    <a:pt x="377" y="152"/>
                  </a:lnTo>
                  <a:lnTo>
                    <a:pt x="380" y="170"/>
                  </a:lnTo>
                  <a:lnTo>
                    <a:pt x="380" y="191"/>
                  </a:lnTo>
                  <a:lnTo>
                    <a:pt x="380" y="191"/>
                  </a:lnTo>
                  <a:close/>
                </a:path>
              </a:pathLst>
            </a:custGeom>
            <a:gradFill>
              <a:gsLst>
                <a:gs pos="0">
                  <a:srgbClr val="EEBB00"/>
                </a:gs>
                <a:gs pos="50000">
                  <a:srgbClr val="F7901F"/>
                </a:gs>
                <a:gs pos="100000">
                  <a:srgbClr val="F1622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5" name="Freeform 55"/>
            <p:cNvSpPr>
              <a:spLocks noEditPoints="1"/>
            </p:cNvSpPr>
            <p:nvPr/>
          </p:nvSpPr>
          <p:spPr bwMode="auto">
            <a:xfrm>
              <a:off x="1664410" y="3341951"/>
              <a:ext cx="310448" cy="310448"/>
            </a:xfrm>
            <a:custGeom>
              <a:avLst/>
              <a:gdLst>
                <a:gd name="T0" fmla="*/ 2487 w 2765"/>
                <a:gd name="T1" fmla="*/ 1846 h 2765"/>
                <a:gd name="T2" fmla="*/ 2274 w 2765"/>
                <a:gd name="T3" fmla="*/ 1753 h 2765"/>
                <a:gd name="T4" fmla="*/ 1895 w 2765"/>
                <a:gd name="T5" fmla="*/ 1598 h 2765"/>
                <a:gd name="T6" fmla="*/ 2160 w 2765"/>
                <a:gd name="T7" fmla="*/ 1958 h 2765"/>
                <a:gd name="T8" fmla="*/ 1066 w 2765"/>
                <a:gd name="T9" fmla="*/ 1958 h 2765"/>
                <a:gd name="T10" fmla="*/ 950 w 2765"/>
                <a:gd name="T11" fmla="*/ 1567 h 2765"/>
                <a:gd name="T12" fmla="*/ 626 w 2765"/>
                <a:gd name="T13" fmla="*/ 1698 h 2765"/>
                <a:gd name="T14" fmla="*/ 320 w 2765"/>
                <a:gd name="T15" fmla="*/ 1827 h 2765"/>
                <a:gd name="T16" fmla="*/ 230 w 2765"/>
                <a:gd name="T17" fmla="*/ 1872 h 2765"/>
                <a:gd name="T18" fmla="*/ 203 w 2765"/>
                <a:gd name="T19" fmla="*/ 1902 h 2765"/>
                <a:gd name="T20" fmla="*/ 174 w 2765"/>
                <a:gd name="T21" fmla="*/ 1947 h 2765"/>
                <a:gd name="T22" fmla="*/ 145 w 2765"/>
                <a:gd name="T23" fmla="*/ 2008 h 2765"/>
                <a:gd name="T24" fmla="*/ 116 w 2765"/>
                <a:gd name="T25" fmla="*/ 2080 h 2765"/>
                <a:gd name="T26" fmla="*/ 63 w 2765"/>
                <a:gd name="T27" fmla="*/ 2258 h 2765"/>
                <a:gd name="T28" fmla="*/ 35 w 2765"/>
                <a:gd name="T29" fmla="*/ 2394 h 2765"/>
                <a:gd name="T30" fmla="*/ 18 w 2765"/>
                <a:gd name="T31" fmla="*/ 2502 h 2765"/>
                <a:gd name="T32" fmla="*/ 7 w 2765"/>
                <a:gd name="T33" fmla="*/ 2614 h 2765"/>
                <a:gd name="T34" fmla="*/ 0 w 2765"/>
                <a:gd name="T35" fmla="*/ 2727 h 2765"/>
                <a:gd name="T36" fmla="*/ 2765 w 2765"/>
                <a:gd name="T37" fmla="*/ 2727 h 2765"/>
                <a:gd name="T38" fmla="*/ 2759 w 2765"/>
                <a:gd name="T39" fmla="*/ 2614 h 2765"/>
                <a:gd name="T40" fmla="*/ 2748 w 2765"/>
                <a:gd name="T41" fmla="*/ 2502 h 2765"/>
                <a:gd name="T42" fmla="*/ 2731 w 2765"/>
                <a:gd name="T43" fmla="*/ 2394 h 2765"/>
                <a:gd name="T44" fmla="*/ 2703 w 2765"/>
                <a:gd name="T45" fmla="*/ 2258 h 2765"/>
                <a:gd name="T46" fmla="*/ 2650 w 2765"/>
                <a:gd name="T47" fmla="*/ 2080 h 2765"/>
                <a:gd name="T48" fmla="*/ 2620 w 2765"/>
                <a:gd name="T49" fmla="*/ 2008 h 2765"/>
                <a:gd name="T50" fmla="*/ 2591 w 2765"/>
                <a:gd name="T51" fmla="*/ 1947 h 2765"/>
                <a:gd name="T52" fmla="*/ 2562 w 2765"/>
                <a:gd name="T53" fmla="*/ 1902 h 2765"/>
                <a:gd name="T54" fmla="*/ 2535 w 2765"/>
                <a:gd name="T55" fmla="*/ 1872 h 2765"/>
                <a:gd name="T56" fmla="*/ 1728 w 2765"/>
                <a:gd name="T57" fmla="*/ 1498 h 2765"/>
                <a:gd name="T58" fmla="*/ 1996 w 2765"/>
                <a:gd name="T59" fmla="*/ 1313 h 2765"/>
                <a:gd name="T60" fmla="*/ 1975 w 2765"/>
                <a:gd name="T61" fmla="*/ 1243 h 2765"/>
                <a:gd name="T62" fmla="*/ 1958 w 2765"/>
                <a:gd name="T63" fmla="*/ 1165 h 2765"/>
                <a:gd name="T64" fmla="*/ 1950 w 2765"/>
                <a:gd name="T65" fmla="*/ 1083 h 2765"/>
                <a:gd name="T66" fmla="*/ 1944 w 2765"/>
                <a:gd name="T67" fmla="*/ 947 h 2765"/>
                <a:gd name="T68" fmla="*/ 1949 w 2765"/>
                <a:gd name="T69" fmla="*/ 805 h 2765"/>
                <a:gd name="T70" fmla="*/ 1958 w 2765"/>
                <a:gd name="T71" fmla="*/ 691 h 2765"/>
                <a:gd name="T72" fmla="*/ 1953 w 2765"/>
                <a:gd name="T73" fmla="*/ 569 h 2765"/>
                <a:gd name="T74" fmla="*/ 1941 w 2765"/>
                <a:gd name="T75" fmla="*/ 486 h 2765"/>
                <a:gd name="T76" fmla="*/ 1922 w 2765"/>
                <a:gd name="T77" fmla="*/ 400 h 2765"/>
                <a:gd name="T78" fmla="*/ 1891 w 2765"/>
                <a:gd name="T79" fmla="*/ 314 h 2765"/>
                <a:gd name="T80" fmla="*/ 1849 w 2765"/>
                <a:gd name="T81" fmla="*/ 232 h 2765"/>
                <a:gd name="T82" fmla="*/ 1793 w 2765"/>
                <a:gd name="T83" fmla="*/ 158 h 2765"/>
                <a:gd name="T84" fmla="*/ 1720 w 2765"/>
                <a:gd name="T85" fmla="*/ 94 h 2765"/>
                <a:gd name="T86" fmla="*/ 1628 w 2765"/>
                <a:gd name="T87" fmla="*/ 44 h 2765"/>
                <a:gd name="T88" fmla="*/ 1517 w 2765"/>
                <a:gd name="T89" fmla="*/ 12 h 2765"/>
                <a:gd name="T90" fmla="*/ 1383 w 2765"/>
                <a:gd name="T91" fmla="*/ 0 h 2765"/>
                <a:gd name="T92" fmla="*/ 1249 w 2765"/>
                <a:gd name="T93" fmla="*/ 12 h 2765"/>
                <a:gd name="T94" fmla="*/ 1138 w 2765"/>
                <a:gd name="T95" fmla="*/ 44 h 2765"/>
                <a:gd name="T96" fmla="*/ 1046 w 2765"/>
                <a:gd name="T97" fmla="*/ 94 h 2765"/>
                <a:gd name="T98" fmla="*/ 972 w 2765"/>
                <a:gd name="T99" fmla="*/ 158 h 2765"/>
                <a:gd name="T100" fmla="*/ 916 w 2765"/>
                <a:gd name="T101" fmla="*/ 232 h 2765"/>
                <a:gd name="T102" fmla="*/ 874 w 2765"/>
                <a:gd name="T103" fmla="*/ 314 h 2765"/>
                <a:gd name="T104" fmla="*/ 844 w 2765"/>
                <a:gd name="T105" fmla="*/ 400 h 2765"/>
                <a:gd name="T106" fmla="*/ 823 w 2765"/>
                <a:gd name="T107" fmla="*/ 486 h 2765"/>
                <a:gd name="T108" fmla="*/ 813 w 2765"/>
                <a:gd name="T109" fmla="*/ 569 h 2765"/>
                <a:gd name="T110" fmla="*/ 807 w 2765"/>
                <a:gd name="T111" fmla="*/ 691 h 2765"/>
                <a:gd name="T112" fmla="*/ 817 w 2765"/>
                <a:gd name="T113" fmla="*/ 805 h 2765"/>
                <a:gd name="T114" fmla="*/ 821 w 2765"/>
                <a:gd name="T115" fmla="*/ 947 h 2765"/>
                <a:gd name="T116" fmla="*/ 816 w 2765"/>
                <a:gd name="T117" fmla="*/ 1083 h 2765"/>
                <a:gd name="T118" fmla="*/ 807 w 2765"/>
                <a:gd name="T119" fmla="*/ 1165 h 2765"/>
                <a:gd name="T120" fmla="*/ 791 w 2765"/>
                <a:gd name="T121" fmla="*/ 1243 h 2765"/>
                <a:gd name="T122" fmla="*/ 769 w 2765"/>
                <a:gd name="T123" fmla="*/ 1313 h 2765"/>
                <a:gd name="T124" fmla="*/ 1037 w 2765"/>
                <a:gd name="T125" fmla="*/ 1498 h 2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65" h="2765">
                  <a:moveTo>
                    <a:pt x="2535" y="1872"/>
                  </a:moveTo>
                  <a:lnTo>
                    <a:pt x="2517" y="1862"/>
                  </a:lnTo>
                  <a:lnTo>
                    <a:pt x="2487" y="1846"/>
                  </a:lnTo>
                  <a:lnTo>
                    <a:pt x="2446" y="1827"/>
                  </a:lnTo>
                  <a:lnTo>
                    <a:pt x="2395" y="1805"/>
                  </a:lnTo>
                  <a:lnTo>
                    <a:pt x="2274" y="1753"/>
                  </a:lnTo>
                  <a:lnTo>
                    <a:pt x="2140" y="1698"/>
                  </a:lnTo>
                  <a:lnTo>
                    <a:pt x="2008" y="1644"/>
                  </a:lnTo>
                  <a:lnTo>
                    <a:pt x="1895" y="1598"/>
                  </a:lnTo>
                  <a:lnTo>
                    <a:pt x="1816" y="1567"/>
                  </a:lnTo>
                  <a:lnTo>
                    <a:pt x="1786" y="1555"/>
                  </a:lnTo>
                  <a:lnTo>
                    <a:pt x="2160" y="1958"/>
                  </a:lnTo>
                  <a:lnTo>
                    <a:pt x="1699" y="1958"/>
                  </a:lnTo>
                  <a:lnTo>
                    <a:pt x="1383" y="2506"/>
                  </a:lnTo>
                  <a:lnTo>
                    <a:pt x="1066" y="1958"/>
                  </a:lnTo>
                  <a:lnTo>
                    <a:pt x="605" y="1958"/>
                  </a:lnTo>
                  <a:lnTo>
                    <a:pt x="980" y="1555"/>
                  </a:lnTo>
                  <a:lnTo>
                    <a:pt x="950" y="1567"/>
                  </a:lnTo>
                  <a:lnTo>
                    <a:pt x="871" y="1598"/>
                  </a:lnTo>
                  <a:lnTo>
                    <a:pt x="757" y="1644"/>
                  </a:lnTo>
                  <a:lnTo>
                    <a:pt x="626" y="1698"/>
                  </a:lnTo>
                  <a:lnTo>
                    <a:pt x="492" y="1753"/>
                  </a:lnTo>
                  <a:lnTo>
                    <a:pt x="371" y="1805"/>
                  </a:lnTo>
                  <a:lnTo>
                    <a:pt x="320" y="1827"/>
                  </a:lnTo>
                  <a:lnTo>
                    <a:pt x="279" y="1846"/>
                  </a:lnTo>
                  <a:lnTo>
                    <a:pt x="249" y="1862"/>
                  </a:lnTo>
                  <a:lnTo>
                    <a:pt x="230" y="1872"/>
                  </a:lnTo>
                  <a:lnTo>
                    <a:pt x="222" y="1880"/>
                  </a:lnTo>
                  <a:lnTo>
                    <a:pt x="212" y="1890"/>
                  </a:lnTo>
                  <a:lnTo>
                    <a:pt x="203" y="1902"/>
                  </a:lnTo>
                  <a:lnTo>
                    <a:pt x="194" y="1915"/>
                  </a:lnTo>
                  <a:lnTo>
                    <a:pt x="184" y="1930"/>
                  </a:lnTo>
                  <a:lnTo>
                    <a:pt x="174" y="1947"/>
                  </a:lnTo>
                  <a:lnTo>
                    <a:pt x="165" y="1966"/>
                  </a:lnTo>
                  <a:lnTo>
                    <a:pt x="155" y="1986"/>
                  </a:lnTo>
                  <a:lnTo>
                    <a:pt x="145" y="2008"/>
                  </a:lnTo>
                  <a:lnTo>
                    <a:pt x="135" y="2030"/>
                  </a:lnTo>
                  <a:lnTo>
                    <a:pt x="126" y="2055"/>
                  </a:lnTo>
                  <a:lnTo>
                    <a:pt x="116" y="2080"/>
                  </a:lnTo>
                  <a:lnTo>
                    <a:pt x="98" y="2135"/>
                  </a:lnTo>
                  <a:lnTo>
                    <a:pt x="79" y="2195"/>
                  </a:lnTo>
                  <a:lnTo>
                    <a:pt x="63" y="2258"/>
                  </a:lnTo>
                  <a:lnTo>
                    <a:pt x="48" y="2324"/>
                  </a:lnTo>
                  <a:lnTo>
                    <a:pt x="41" y="2359"/>
                  </a:lnTo>
                  <a:lnTo>
                    <a:pt x="35" y="2394"/>
                  </a:lnTo>
                  <a:lnTo>
                    <a:pt x="28" y="2429"/>
                  </a:lnTo>
                  <a:lnTo>
                    <a:pt x="23" y="2466"/>
                  </a:lnTo>
                  <a:lnTo>
                    <a:pt x="18" y="2502"/>
                  </a:lnTo>
                  <a:lnTo>
                    <a:pt x="13" y="2539"/>
                  </a:lnTo>
                  <a:lnTo>
                    <a:pt x="10" y="2576"/>
                  </a:lnTo>
                  <a:lnTo>
                    <a:pt x="7" y="2614"/>
                  </a:lnTo>
                  <a:lnTo>
                    <a:pt x="4" y="2651"/>
                  </a:lnTo>
                  <a:lnTo>
                    <a:pt x="1" y="2689"/>
                  </a:lnTo>
                  <a:lnTo>
                    <a:pt x="0" y="2727"/>
                  </a:lnTo>
                  <a:lnTo>
                    <a:pt x="0" y="2765"/>
                  </a:lnTo>
                  <a:lnTo>
                    <a:pt x="2765" y="2765"/>
                  </a:lnTo>
                  <a:lnTo>
                    <a:pt x="2765" y="2727"/>
                  </a:lnTo>
                  <a:lnTo>
                    <a:pt x="2764" y="2689"/>
                  </a:lnTo>
                  <a:lnTo>
                    <a:pt x="2762" y="2651"/>
                  </a:lnTo>
                  <a:lnTo>
                    <a:pt x="2759" y="2614"/>
                  </a:lnTo>
                  <a:lnTo>
                    <a:pt x="2755" y="2576"/>
                  </a:lnTo>
                  <a:lnTo>
                    <a:pt x="2752" y="2539"/>
                  </a:lnTo>
                  <a:lnTo>
                    <a:pt x="2748" y="2502"/>
                  </a:lnTo>
                  <a:lnTo>
                    <a:pt x="2743" y="2466"/>
                  </a:lnTo>
                  <a:lnTo>
                    <a:pt x="2737" y="2429"/>
                  </a:lnTo>
                  <a:lnTo>
                    <a:pt x="2731" y="2394"/>
                  </a:lnTo>
                  <a:lnTo>
                    <a:pt x="2724" y="2359"/>
                  </a:lnTo>
                  <a:lnTo>
                    <a:pt x="2718" y="2324"/>
                  </a:lnTo>
                  <a:lnTo>
                    <a:pt x="2703" y="2258"/>
                  </a:lnTo>
                  <a:lnTo>
                    <a:pt x="2686" y="2195"/>
                  </a:lnTo>
                  <a:lnTo>
                    <a:pt x="2668" y="2135"/>
                  </a:lnTo>
                  <a:lnTo>
                    <a:pt x="2650" y="2080"/>
                  </a:lnTo>
                  <a:lnTo>
                    <a:pt x="2640" y="2055"/>
                  </a:lnTo>
                  <a:lnTo>
                    <a:pt x="2630" y="2030"/>
                  </a:lnTo>
                  <a:lnTo>
                    <a:pt x="2620" y="2008"/>
                  </a:lnTo>
                  <a:lnTo>
                    <a:pt x="2611" y="1986"/>
                  </a:lnTo>
                  <a:lnTo>
                    <a:pt x="2601" y="1966"/>
                  </a:lnTo>
                  <a:lnTo>
                    <a:pt x="2591" y="1947"/>
                  </a:lnTo>
                  <a:lnTo>
                    <a:pt x="2582" y="1930"/>
                  </a:lnTo>
                  <a:lnTo>
                    <a:pt x="2572" y="1915"/>
                  </a:lnTo>
                  <a:lnTo>
                    <a:pt x="2562" y="1902"/>
                  </a:lnTo>
                  <a:lnTo>
                    <a:pt x="2554" y="1890"/>
                  </a:lnTo>
                  <a:lnTo>
                    <a:pt x="2544" y="1880"/>
                  </a:lnTo>
                  <a:lnTo>
                    <a:pt x="2535" y="1872"/>
                  </a:lnTo>
                  <a:close/>
                  <a:moveTo>
                    <a:pt x="1037" y="1498"/>
                  </a:moveTo>
                  <a:lnTo>
                    <a:pt x="1383" y="2160"/>
                  </a:lnTo>
                  <a:lnTo>
                    <a:pt x="1728" y="1498"/>
                  </a:lnTo>
                  <a:lnTo>
                    <a:pt x="2017" y="1353"/>
                  </a:lnTo>
                  <a:lnTo>
                    <a:pt x="2006" y="1334"/>
                  </a:lnTo>
                  <a:lnTo>
                    <a:pt x="1996" y="1313"/>
                  </a:lnTo>
                  <a:lnTo>
                    <a:pt x="1989" y="1291"/>
                  </a:lnTo>
                  <a:lnTo>
                    <a:pt x="1981" y="1267"/>
                  </a:lnTo>
                  <a:lnTo>
                    <a:pt x="1975" y="1243"/>
                  </a:lnTo>
                  <a:lnTo>
                    <a:pt x="1968" y="1217"/>
                  </a:lnTo>
                  <a:lnTo>
                    <a:pt x="1963" y="1191"/>
                  </a:lnTo>
                  <a:lnTo>
                    <a:pt x="1958" y="1165"/>
                  </a:lnTo>
                  <a:lnTo>
                    <a:pt x="1955" y="1138"/>
                  </a:lnTo>
                  <a:lnTo>
                    <a:pt x="1952" y="1110"/>
                  </a:lnTo>
                  <a:lnTo>
                    <a:pt x="1950" y="1083"/>
                  </a:lnTo>
                  <a:lnTo>
                    <a:pt x="1948" y="1055"/>
                  </a:lnTo>
                  <a:lnTo>
                    <a:pt x="1945" y="1000"/>
                  </a:lnTo>
                  <a:lnTo>
                    <a:pt x="1944" y="947"/>
                  </a:lnTo>
                  <a:lnTo>
                    <a:pt x="1945" y="895"/>
                  </a:lnTo>
                  <a:lnTo>
                    <a:pt x="1947" y="848"/>
                  </a:lnTo>
                  <a:lnTo>
                    <a:pt x="1949" y="805"/>
                  </a:lnTo>
                  <a:lnTo>
                    <a:pt x="1952" y="767"/>
                  </a:lnTo>
                  <a:lnTo>
                    <a:pt x="1956" y="712"/>
                  </a:lnTo>
                  <a:lnTo>
                    <a:pt x="1958" y="691"/>
                  </a:lnTo>
                  <a:lnTo>
                    <a:pt x="1958" y="646"/>
                  </a:lnTo>
                  <a:lnTo>
                    <a:pt x="1955" y="595"/>
                  </a:lnTo>
                  <a:lnTo>
                    <a:pt x="1953" y="569"/>
                  </a:lnTo>
                  <a:lnTo>
                    <a:pt x="1950" y="542"/>
                  </a:lnTo>
                  <a:lnTo>
                    <a:pt x="1947" y="514"/>
                  </a:lnTo>
                  <a:lnTo>
                    <a:pt x="1941" y="486"/>
                  </a:lnTo>
                  <a:lnTo>
                    <a:pt x="1936" y="458"/>
                  </a:lnTo>
                  <a:lnTo>
                    <a:pt x="1929" y="429"/>
                  </a:lnTo>
                  <a:lnTo>
                    <a:pt x="1922" y="400"/>
                  </a:lnTo>
                  <a:lnTo>
                    <a:pt x="1913" y="372"/>
                  </a:lnTo>
                  <a:lnTo>
                    <a:pt x="1903" y="342"/>
                  </a:lnTo>
                  <a:lnTo>
                    <a:pt x="1891" y="314"/>
                  </a:lnTo>
                  <a:lnTo>
                    <a:pt x="1880" y="286"/>
                  </a:lnTo>
                  <a:lnTo>
                    <a:pt x="1866" y="259"/>
                  </a:lnTo>
                  <a:lnTo>
                    <a:pt x="1849" y="232"/>
                  </a:lnTo>
                  <a:lnTo>
                    <a:pt x="1832" y="206"/>
                  </a:lnTo>
                  <a:lnTo>
                    <a:pt x="1814" y="181"/>
                  </a:lnTo>
                  <a:lnTo>
                    <a:pt x="1793" y="158"/>
                  </a:lnTo>
                  <a:lnTo>
                    <a:pt x="1771" y="135"/>
                  </a:lnTo>
                  <a:lnTo>
                    <a:pt x="1746" y="113"/>
                  </a:lnTo>
                  <a:lnTo>
                    <a:pt x="1720" y="94"/>
                  </a:lnTo>
                  <a:lnTo>
                    <a:pt x="1692" y="76"/>
                  </a:lnTo>
                  <a:lnTo>
                    <a:pt x="1661" y="59"/>
                  </a:lnTo>
                  <a:lnTo>
                    <a:pt x="1628" y="44"/>
                  </a:lnTo>
                  <a:lnTo>
                    <a:pt x="1593" y="31"/>
                  </a:lnTo>
                  <a:lnTo>
                    <a:pt x="1557" y="21"/>
                  </a:lnTo>
                  <a:lnTo>
                    <a:pt x="1517" y="12"/>
                  </a:lnTo>
                  <a:lnTo>
                    <a:pt x="1475" y="5"/>
                  </a:lnTo>
                  <a:lnTo>
                    <a:pt x="1430" y="1"/>
                  </a:lnTo>
                  <a:lnTo>
                    <a:pt x="1383" y="0"/>
                  </a:lnTo>
                  <a:lnTo>
                    <a:pt x="1335" y="1"/>
                  </a:lnTo>
                  <a:lnTo>
                    <a:pt x="1291" y="5"/>
                  </a:lnTo>
                  <a:lnTo>
                    <a:pt x="1249" y="12"/>
                  </a:lnTo>
                  <a:lnTo>
                    <a:pt x="1209" y="21"/>
                  </a:lnTo>
                  <a:lnTo>
                    <a:pt x="1172" y="31"/>
                  </a:lnTo>
                  <a:lnTo>
                    <a:pt x="1138" y="44"/>
                  </a:lnTo>
                  <a:lnTo>
                    <a:pt x="1104" y="59"/>
                  </a:lnTo>
                  <a:lnTo>
                    <a:pt x="1074" y="76"/>
                  </a:lnTo>
                  <a:lnTo>
                    <a:pt x="1046" y="94"/>
                  </a:lnTo>
                  <a:lnTo>
                    <a:pt x="1020" y="113"/>
                  </a:lnTo>
                  <a:lnTo>
                    <a:pt x="995" y="135"/>
                  </a:lnTo>
                  <a:lnTo>
                    <a:pt x="972" y="158"/>
                  </a:lnTo>
                  <a:lnTo>
                    <a:pt x="952" y="181"/>
                  </a:lnTo>
                  <a:lnTo>
                    <a:pt x="934" y="206"/>
                  </a:lnTo>
                  <a:lnTo>
                    <a:pt x="916" y="232"/>
                  </a:lnTo>
                  <a:lnTo>
                    <a:pt x="900" y="259"/>
                  </a:lnTo>
                  <a:lnTo>
                    <a:pt x="886" y="286"/>
                  </a:lnTo>
                  <a:lnTo>
                    <a:pt x="874" y="314"/>
                  </a:lnTo>
                  <a:lnTo>
                    <a:pt x="862" y="342"/>
                  </a:lnTo>
                  <a:lnTo>
                    <a:pt x="853" y="372"/>
                  </a:lnTo>
                  <a:lnTo>
                    <a:pt x="844" y="400"/>
                  </a:lnTo>
                  <a:lnTo>
                    <a:pt x="836" y="429"/>
                  </a:lnTo>
                  <a:lnTo>
                    <a:pt x="830" y="458"/>
                  </a:lnTo>
                  <a:lnTo>
                    <a:pt x="823" y="486"/>
                  </a:lnTo>
                  <a:lnTo>
                    <a:pt x="819" y="514"/>
                  </a:lnTo>
                  <a:lnTo>
                    <a:pt x="816" y="542"/>
                  </a:lnTo>
                  <a:lnTo>
                    <a:pt x="813" y="569"/>
                  </a:lnTo>
                  <a:lnTo>
                    <a:pt x="810" y="595"/>
                  </a:lnTo>
                  <a:lnTo>
                    <a:pt x="807" y="646"/>
                  </a:lnTo>
                  <a:lnTo>
                    <a:pt x="807" y="691"/>
                  </a:lnTo>
                  <a:lnTo>
                    <a:pt x="809" y="712"/>
                  </a:lnTo>
                  <a:lnTo>
                    <a:pt x="814" y="767"/>
                  </a:lnTo>
                  <a:lnTo>
                    <a:pt x="817" y="805"/>
                  </a:lnTo>
                  <a:lnTo>
                    <a:pt x="819" y="848"/>
                  </a:lnTo>
                  <a:lnTo>
                    <a:pt x="820" y="895"/>
                  </a:lnTo>
                  <a:lnTo>
                    <a:pt x="821" y="947"/>
                  </a:lnTo>
                  <a:lnTo>
                    <a:pt x="820" y="1000"/>
                  </a:lnTo>
                  <a:lnTo>
                    <a:pt x="818" y="1055"/>
                  </a:lnTo>
                  <a:lnTo>
                    <a:pt x="816" y="1083"/>
                  </a:lnTo>
                  <a:lnTo>
                    <a:pt x="814" y="1110"/>
                  </a:lnTo>
                  <a:lnTo>
                    <a:pt x="810" y="1138"/>
                  </a:lnTo>
                  <a:lnTo>
                    <a:pt x="807" y="1165"/>
                  </a:lnTo>
                  <a:lnTo>
                    <a:pt x="803" y="1191"/>
                  </a:lnTo>
                  <a:lnTo>
                    <a:pt x="797" y="1217"/>
                  </a:lnTo>
                  <a:lnTo>
                    <a:pt x="791" y="1243"/>
                  </a:lnTo>
                  <a:lnTo>
                    <a:pt x="784" y="1267"/>
                  </a:lnTo>
                  <a:lnTo>
                    <a:pt x="777" y="1291"/>
                  </a:lnTo>
                  <a:lnTo>
                    <a:pt x="769" y="1313"/>
                  </a:lnTo>
                  <a:lnTo>
                    <a:pt x="760" y="1334"/>
                  </a:lnTo>
                  <a:lnTo>
                    <a:pt x="749" y="1353"/>
                  </a:lnTo>
                  <a:lnTo>
                    <a:pt x="1037" y="149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048828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Industries we serve</a:t>
            </a:r>
            <a:endParaRPr lang="da-DK" dirty="0"/>
          </a:p>
        </p:txBody>
      </p:sp>
      <p:sp>
        <p:nvSpPr>
          <p:cNvPr id="3" name="Text Placeholder 2"/>
          <p:cNvSpPr>
            <a:spLocks noGrp="1"/>
          </p:cNvSpPr>
          <p:nvPr>
            <p:ph type="body" sz="quarter" idx="14"/>
          </p:nvPr>
        </p:nvSpPr>
        <p:spPr/>
        <p:txBody>
          <a:bodyPr/>
          <a:lstStyle/>
          <a:p>
            <a:endParaRPr lang="da-DK"/>
          </a:p>
        </p:txBody>
      </p:sp>
      <p:sp>
        <p:nvSpPr>
          <p:cNvPr id="4" name="Rectangle 3"/>
          <p:cNvSpPr/>
          <p:nvPr/>
        </p:nvSpPr>
        <p:spPr>
          <a:xfrm rot="16200000">
            <a:off x="2343150" y="-1643784"/>
            <a:ext cx="4457700" cy="9144000"/>
          </a:xfrm>
          <a:prstGeom prst="rect">
            <a:avLst/>
          </a:prstGeom>
          <a:gradFill flip="none" rotWithShape="1">
            <a:gsLst>
              <a:gs pos="0">
                <a:srgbClr val="EC3E2C"/>
              </a:gs>
              <a:gs pos="100000">
                <a:srgbClr val="4C216D"/>
              </a:gs>
            </a:gsLst>
            <a:lin ang="0" scaled="0"/>
            <a:tileRect/>
          </a:gra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5" name="Group 10"/>
          <p:cNvGrpSpPr>
            <a:grpSpLocks noChangeAspect="1"/>
          </p:cNvGrpSpPr>
          <p:nvPr/>
        </p:nvGrpSpPr>
        <p:grpSpPr bwMode="auto">
          <a:xfrm>
            <a:off x="468760" y="748005"/>
            <a:ext cx="8065196" cy="4297360"/>
            <a:chOff x="528" y="621"/>
            <a:chExt cx="4615" cy="2459"/>
          </a:xfrm>
          <a:solidFill>
            <a:schemeClr val="bg1">
              <a:alpha val="20000"/>
            </a:schemeClr>
          </a:solidFill>
        </p:grpSpPr>
        <p:grpSp>
          <p:nvGrpSpPr>
            <p:cNvPr id="6" name="Group 211"/>
            <p:cNvGrpSpPr>
              <a:grpSpLocks/>
            </p:cNvGrpSpPr>
            <p:nvPr/>
          </p:nvGrpSpPr>
          <p:grpSpPr bwMode="auto">
            <a:xfrm>
              <a:off x="1144" y="621"/>
              <a:ext cx="2919" cy="2459"/>
              <a:chOff x="1144" y="621"/>
              <a:chExt cx="2919" cy="2459"/>
            </a:xfrm>
            <a:grpFill/>
          </p:grpSpPr>
          <p:sp>
            <p:nvSpPr>
              <p:cNvPr id="2416" name="Oval 11"/>
              <p:cNvSpPr>
                <a:spLocks noChangeArrowheads="1"/>
              </p:cNvSpPr>
              <p:nvPr/>
            </p:nvSpPr>
            <p:spPr bwMode="auto">
              <a:xfrm>
                <a:off x="1838" y="30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7" name="Oval 12"/>
              <p:cNvSpPr>
                <a:spLocks noChangeArrowheads="1"/>
              </p:cNvSpPr>
              <p:nvPr/>
            </p:nvSpPr>
            <p:spPr bwMode="auto">
              <a:xfrm>
                <a:off x="2378" y="62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8" name="Oval 13"/>
              <p:cNvSpPr>
                <a:spLocks noChangeArrowheads="1"/>
              </p:cNvSpPr>
              <p:nvPr/>
            </p:nvSpPr>
            <p:spPr bwMode="auto">
              <a:xfrm>
                <a:off x="2340" y="62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9" name="Oval 14"/>
              <p:cNvSpPr>
                <a:spLocks noChangeArrowheads="1"/>
              </p:cNvSpPr>
              <p:nvPr/>
            </p:nvSpPr>
            <p:spPr bwMode="auto">
              <a:xfrm>
                <a:off x="2301" y="62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0" name="Oval 15"/>
              <p:cNvSpPr>
                <a:spLocks noChangeArrowheads="1"/>
              </p:cNvSpPr>
              <p:nvPr/>
            </p:nvSpPr>
            <p:spPr bwMode="auto">
              <a:xfrm>
                <a:off x="2262" y="62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1" name="Oval 16"/>
              <p:cNvSpPr>
                <a:spLocks noChangeArrowheads="1"/>
              </p:cNvSpPr>
              <p:nvPr/>
            </p:nvSpPr>
            <p:spPr bwMode="auto">
              <a:xfrm>
                <a:off x="2224" y="62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2" name="Oval 17"/>
              <p:cNvSpPr>
                <a:spLocks noChangeArrowheads="1"/>
              </p:cNvSpPr>
              <p:nvPr/>
            </p:nvSpPr>
            <p:spPr bwMode="auto">
              <a:xfrm>
                <a:off x="2455"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3" name="Oval 18"/>
              <p:cNvSpPr>
                <a:spLocks noChangeArrowheads="1"/>
              </p:cNvSpPr>
              <p:nvPr/>
            </p:nvSpPr>
            <p:spPr bwMode="auto">
              <a:xfrm>
                <a:off x="2417" y="65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4" name="Oval 19"/>
              <p:cNvSpPr>
                <a:spLocks noChangeArrowheads="1"/>
              </p:cNvSpPr>
              <p:nvPr/>
            </p:nvSpPr>
            <p:spPr bwMode="auto">
              <a:xfrm>
                <a:off x="2378"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5" name="Oval 20"/>
              <p:cNvSpPr>
                <a:spLocks noChangeArrowheads="1"/>
              </p:cNvSpPr>
              <p:nvPr/>
            </p:nvSpPr>
            <p:spPr bwMode="auto">
              <a:xfrm>
                <a:off x="2340" y="65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6" name="Oval 21"/>
              <p:cNvSpPr>
                <a:spLocks noChangeArrowheads="1"/>
              </p:cNvSpPr>
              <p:nvPr/>
            </p:nvSpPr>
            <p:spPr bwMode="auto">
              <a:xfrm>
                <a:off x="2301"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7" name="Oval 22"/>
              <p:cNvSpPr>
                <a:spLocks noChangeArrowheads="1"/>
              </p:cNvSpPr>
              <p:nvPr/>
            </p:nvSpPr>
            <p:spPr bwMode="auto">
              <a:xfrm>
                <a:off x="2262"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8" name="Oval 23"/>
              <p:cNvSpPr>
                <a:spLocks noChangeArrowheads="1"/>
              </p:cNvSpPr>
              <p:nvPr/>
            </p:nvSpPr>
            <p:spPr bwMode="auto">
              <a:xfrm>
                <a:off x="2224"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9" name="Oval 24"/>
              <p:cNvSpPr>
                <a:spLocks noChangeArrowheads="1"/>
              </p:cNvSpPr>
              <p:nvPr/>
            </p:nvSpPr>
            <p:spPr bwMode="auto">
              <a:xfrm>
                <a:off x="2185"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0" name="Oval 25"/>
              <p:cNvSpPr>
                <a:spLocks noChangeArrowheads="1"/>
              </p:cNvSpPr>
              <p:nvPr/>
            </p:nvSpPr>
            <p:spPr bwMode="auto">
              <a:xfrm>
                <a:off x="2147" y="65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1" name="Oval 26"/>
              <p:cNvSpPr>
                <a:spLocks noChangeArrowheads="1"/>
              </p:cNvSpPr>
              <p:nvPr/>
            </p:nvSpPr>
            <p:spPr bwMode="auto">
              <a:xfrm>
                <a:off x="2108"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2" name="Oval 27"/>
              <p:cNvSpPr>
                <a:spLocks noChangeArrowheads="1"/>
              </p:cNvSpPr>
              <p:nvPr/>
            </p:nvSpPr>
            <p:spPr bwMode="auto">
              <a:xfrm>
                <a:off x="2070" y="65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3" name="Oval 28"/>
              <p:cNvSpPr>
                <a:spLocks noChangeArrowheads="1"/>
              </p:cNvSpPr>
              <p:nvPr/>
            </p:nvSpPr>
            <p:spPr bwMode="auto">
              <a:xfrm>
                <a:off x="1915"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4" name="Oval 29"/>
              <p:cNvSpPr>
                <a:spLocks noChangeArrowheads="1"/>
              </p:cNvSpPr>
              <p:nvPr/>
            </p:nvSpPr>
            <p:spPr bwMode="auto">
              <a:xfrm>
                <a:off x="1877"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5" name="Oval 30"/>
              <p:cNvSpPr>
                <a:spLocks noChangeArrowheads="1"/>
              </p:cNvSpPr>
              <p:nvPr/>
            </p:nvSpPr>
            <p:spPr bwMode="auto">
              <a:xfrm>
                <a:off x="1838"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6" name="Freeform 31"/>
              <p:cNvSpPr>
                <a:spLocks/>
              </p:cNvSpPr>
              <p:nvPr/>
            </p:nvSpPr>
            <p:spPr bwMode="auto">
              <a:xfrm>
                <a:off x="1800" y="659"/>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7" name="Oval 32"/>
              <p:cNvSpPr>
                <a:spLocks noChangeArrowheads="1"/>
              </p:cNvSpPr>
              <p:nvPr/>
            </p:nvSpPr>
            <p:spPr bwMode="auto">
              <a:xfrm>
                <a:off x="1761"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8" name="Oval 33"/>
              <p:cNvSpPr>
                <a:spLocks noChangeArrowheads="1"/>
              </p:cNvSpPr>
              <p:nvPr/>
            </p:nvSpPr>
            <p:spPr bwMode="auto">
              <a:xfrm>
                <a:off x="1723" y="65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9" name="Oval 34"/>
              <p:cNvSpPr>
                <a:spLocks noChangeArrowheads="1"/>
              </p:cNvSpPr>
              <p:nvPr/>
            </p:nvSpPr>
            <p:spPr bwMode="auto">
              <a:xfrm>
                <a:off x="1684" y="6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0" name="Oval 35"/>
              <p:cNvSpPr>
                <a:spLocks noChangeArrowheads="1"/>
              </p:cNvSpPr>
              <p:nvPr/>
            </p:nvSpPr>
            <p:spPr bwMode="auto">
              <a:xfrm>
                <a:off x="1646" y="65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1" name="Oval 36"/>
              <p:cNvSpPr>
                <a:spLocks noChangeArrowheads="1"/>
              </p:cNvSpPr>
              <p:nvPr/>
            </p:nvSpPr>
            <p:spPr bwMode="auto">
              <a:xfrm>
                <a:off x="2571"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2" name="Oval 37"/>
              <p:cNvSpPr>
                <a:spLocks noChangeArrowheads="1"/>
              </p:cNvSpPr>
              <p:nvPr/>
            </p:nvSpPr>
            <p:spPr bwMode="auto">
              <a:xfrm>
                <a:off x="2532"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3" name="Oval 38"/>
              <p:cNvSpPr>
                <a:spLocks noChangeArrowheads="1"/>
              </p:cNvSpPr>
              <p:nvPr/>
            </p:nvSpPr>
            <p:spPr bwMode="auto">
              <a:xfrm>
                <a:off x="2494" y="698"/>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4" name="Oval 39"/>
              <p:cNvSpPr>
                <a:spLocks noChangeArrowheads="1"/>
              </p:cNvSpPr>
              <p:nvPr/>
            </p:nvSpPr>
            <p:spPr bwMode="auto">
              <a:xfrm>
                <a:off x="2455"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5" name="Oval 40"/>
              <p:cNvSpPr>
                <a:spLocks noChangeArrowheads="1"/>
              </p:cNvSpPr>
              <p:nvPr/>
            </p:nvSpPr>
            <p:spPr bwMode="auto">
              <a:xfrm>
                <a:off x="2417" y="698"/>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6" name="Oval 41"/>
              <p:cNvSpPr>
                <a:spLocks noChangeArrowheads="1"/>
              </p:cNvSpPr>
              <p:nvPr/>
            </p:nvSpPr>
            <p:spPr bwMode="auto">
              <a:xfrm>
                <a:off x="2378"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7" name="Oval 42"/>
              <p:cNvSpPr>
                <a:spLocks noChangeArrowheads="1"/>
              </p:cNvSpPr>
              <p:nvPr/>
            </p:nvSpPr>
            <p:spPr bwMode="auto">
              <a:xfrm>
                <a:off x="2340" y="698"/>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8" name="Oval 43"/>
              <p:cNvSpPr>
                <a:spLocks noChangeArrowheads="1"/>
              </p:cNvSpPr>
              <p:nvPr/>
            </p:nvSpPr>
            <p:spPr bwMode="auto">
              <a:xfrm>
                <a:off x="2301"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9" name="Oval 44"/>
              <p:cNvSpPr>
                <a:spLocks noChangeArrowheads="1"/>
              </p:cNvSpPr>
              <p:nvPr/>
            </p:nvSpPr>
            <p:spPr bwMode="auto">
              <a:xfrm>
                <a:off x="2262"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0" name="Oval 45"/>
              <p:cNvSpPr>
                <a:spLocks noChangeArrowheads="1"/>
              </p:cNvSpPr>
              <p:nvPr/>
            </p:nvSpPr>
            <p:spPr bwMode="auto">
              <a:xfrm>
                <a:off x="2224"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1" name="Oval 46"/>
              <p:cNvSpPr>
                <a:spLocks noChangeArrowheads="1"/>
              </p:cNvSpPr>
              <p:nvPr/>
            </p:nvSpPr>
            <p:spPr bwMode="auto">
              <a:xfrm>
                <a:off x="2185"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2" name="Oval 47"/>
              <p:cNvSpPr>
                <a:spLocks noChangeArrowheads="1"/>
              </p:cNvSpPr>
              <p:nvPr/>
            </p:nvSpPr>
            <p:spPr bwMode="auto">
              <a:xfrm>
                <a:off x="2147" y="698"/>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3" name="Oval 48"/>
              <p:cNvSpPr>
                <a:spLocks noChangeArrowheads="1"/>
              </p:cNvSpPr>
              <p:nvPr/>
            </p:nvSpPr>
            <p:spPr bwMode="auto">
              <a:xfrm>
                <a:off x="2108"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4" name="Oval 49"/>
              <p:cNvSpPr>
                <a:spLocks noChangeArrowheads="1"/>
              </p:cNvSpPr>
              <p:nvPr/>
            </p:nvSpPr>
            <p:spPr bwMode="auto">
              <a:xfrm>
                <a:off x="2070" y="698"/>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5" name="Oval 50"/>
              <p:cNvSpPr>
                <a:spLocks noChangeArrowheads="1"/>
              </p:cNvSpPr>
              <p:nvPr/>
            </p:nvSpPr>
            <p:spPr bwMode="auto">
              <a:xfrm>
                <a:off x="2031"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6" name="Oval 51"/>
              <p:cNvSpPr>
                <a:spLocks noChangeArrowheads="1"/>
              </p:cNvSpPr>
              <p:nvPr/>
            </p:nvSpPr>
            <p:spPr bwMode="auto">
              <a:xfrm>
                <a:off x="1993" y="698"/>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7" name="Oval 52"/>
              <p:cNvSpPr>
                <a:spLocks noChangeArrowheads="1"/>
              </p:cNvSpPr>
              <p:nvPr/>
            </p:nvSpPr>
            <p:spPr bwMode="auto">
              <a:xfrm>
                <a:off x="1954"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8" name="Oval 53"/>
              <p:cNvSpPr>
                <a:spLocks noChangeArrowheads="1"/>
              </p:cNvSpPr>
              <p:nvPr/>
            </p:nvSpPr>
            <p:spPr bwMode="auto">
              <a:xfrm>
                <a:off x="1915"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9" name="Oval 54"/>
              <p:cNvSpPr>
                <a:spLocks noChangeArrowheads="1"/>
              </p:cNvSpPr>
              <p:nvPr/>
            </p:nvSpPr>
            <p:spPr bwMode="auto">
              <a:xfrm>
                <a:off x="1877"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0" name="Oval 55"/>
              <p:cNvSpPr>
                <a:spLocks noChangeArrowheads="1"/>
              </p:cNvSpPr>
              <p:nvPr/>
            </p:nvSpPr>
            <p:spPr bwMode="auto">
              <a:xfrm>
                <a:off x="1838"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1" name="Freeform 56"/>
              <p:cNvSpPr>
                <a:spLocks/>
              </p:cNvSpPr>
              <p:nvPr/>
            </p:nvSpPr>
            <p:spPr bwMode="auto">
              <a:xfrm>
                <a:off x="1800" y="698"/>
                <a:ext cx="28" cy="27"/>
              </a:xfrm>
              <a:custGeom>
                <a:avLst/>
                <a:gdLst>
                  <a:gd name="T0" fmla="*/ 80 w 160"/>
                  <a:gd name="T1" fmla="*/ 0 h 159"/>
                  <a:gd name="T2" fmla="*/ 159 w 160"/>
                  <a:gd name="T3" fmla="*/ 79 h 159"/>
                  <a:gd name="T4" fmla="*/ 80 w 160"/>
                  <a:gd name="T5" fmla="*/ 159 h 159"/>
                  <a:gd name="T6" fmla="*/ 0 w 160"/>
                  <a:gd name="T7" fmla="*/ 79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79"/>
                    </a:cubicBezTo>
                    <a:cubicBezTo>
                      <a:pt x="160" y="123"/>
                      <a:pt x="124" y="159"/>
                      <a:pt x="80" y="159"/>
                    </a:cubicBezTo>
                    <a:cubicBezTo>
                      <a:pt x="36" y="159"/>
                      <a:pt x="0" y="123"/>
                      <a:pt x="0" y="79"/>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2" name="Oval 57"/>
              <p:cNvSpPr>
                <a:spLocks noChangeArrowheads="1"/>
              </p:cNvSpPr>
              <p:nvPr/>
            </p:nvSpPr>
            <p:spPr bwMode="auto">
              <a:xfrm>
                <a:off x="1761"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3" name="Oval 58"/>
              <p:cNvSpPr>
                <a:spLocks noChangeArrowheads="1"/>
              </p:cNvSpPr>
              <p:nvPr/>
            </p:nvSpPr>
            <p:spPr bwMode="auto">
              <a:xfrm>
                <a:off x="1723" y="698"/>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4" name="Oval 59"/>
              <p:cNvSpPr>
                <a:spLocks noChangeArrowheads="1"/>
              </p:cNvSpPr>
              <p:nvPr/>
            </p:nvSpPr>
            <p:spPr bwMode="auto">
              <a:xfrm>
                <a:off x="1684"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5" name="Oval 60"/>
              <p:cNvSpPr>
                <a:spLocks noChangeArrowheads="1"/>
              </p:cNvSpPr>
              <p:nvPr/>
            </p:nvSpPr>
            <p:spPr bwMode="auto">
              <a:xfrm>
                <a:off x="1646" y="698"/>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6" name="Oval 61"/>
              <p:cNvSpPr>
                <a:spLocks noChangeArrowheads="1"/>
              </p:cNvSpPr>
              <p:nvPr/>
            </p:nvSpPr>
            <p:spPr bwMode="auto">
              <a:xfrm>
                <a:off x="1607"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7" name="Oval 62"/>
              <p:cNvSpPr>
                <a:spLocks noChangeArrowheads="1"/>
              </p:cNvSpPr>
              <p:nvPr/>
            </p:nvSpPr>
            <p:spPr bwMode="auto">
              <a:xfrm>
                <a:off x="1569" y="698"/>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8" name="Oval 63"/>
              <p:cNvSpPr>
                <a:spLocks noChangeArrowheads="1"/>
              </p:cNvSpPr>
              <p:nvPr/>
            </p:nvSpPr>
            <p:spPr bwMode="auto">
              <a:xfrm>
                <a:off x="1530" y="698"/>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9" name="Oval 64"/>
              <p:cNvSpPr>
                <a:spLocks noChangeArrowheads="1"/>
              </p:cNvSpPr>
              <p:nvPr/>
            </p:nvSpPr>
            <p:spPr bwMode="auto">
              <a:xfrm>
                <a:off x="2571"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0" name="Oval 65"/>
              <p:cNvSpPr>
                <a:spLocks noChangeArrowheads="1"/>
              </p:cNvSpPr>
              <p:nvPr/>
            </p:nvSpPr>
            <p:spPr bwMode="auto">
              <a:xfrm>
                <a:off x="2532"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1" name="Oval 66"/>
              <p:cNvSpPr>
                <a:spLocks noChangeArrowheads="1"/>
              </p:cNvSpPr>
              <p:nvPr/>
            </p:nvSpPr>
            <p:spPr bwMode="auto">
              <a:xfrm>
                <a:off x="2494" y="7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2" name="Oval 67"/>
              <p:cNvSpPr>
                <a:spLocks noChangeArrowheads="1"/>
              </p:cNvSpPr>
              <p:nvPr/>
            </p:nvSpPr>
            <p:spPr bwMode="auto">
              <a:xfrm>
                <a:off x="2455"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3" name="Oval 68"/>
              <p:cNvSpPr>
                <a:spLocks noChangeArrowheads="1"/>
              </p:cNvSpPr>
              <p:nvPr/>
            </p:nvSpPr>
            <p:spPr bwMode="auto">
              <a:xfrm>
                <a:off x="2417" y="7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4" name="Oval 69"/>
              <p:cNvSpPr>
                <a:spLocks noChangeArrowheads="1"/>
              </p:cNvSpPr>
              <p:nvPr/>
            </p:nvSpPr>
            <p:spPr bwMode="auto">
              <a:xfrm>
                <a:off x="2378"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5" name="Oval 70"/>
              <p:cNvSpPr>
                <a:spLocks noChangeArrowheads="1"/>
              </p:cNvSpPr>
              <p:nvPr/>
            </p:nvSpPr>
            <p:spPr bwMode="auto">
              <a:xfrm>
                <a:off x="2340" y="7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6" name="Oval 71"/>
              <p:cNvSpPr>
                <a:spLocks noChangeArrowheads="1"/>
              </p:cNvSpPr>
              <p:nvPr/>
            </p:nvSpPr>
            <p:spPr bwMode="auto">
              <a:xfrm>
                <a:off x="2301"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7" name="Oval 72"/>
              <p:cNvSpPr>
                <a:spLocks noChangeArrowheads="1"/>
              </p:cNvSpPr>
              <p:nvPr/>
            </p:nvSpPr>
            <p:spPr bwMode="auto">
              <a:xfrm>
                <a:off x="2262"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8" name="Oval 73"/>
              <p:cNvSpPr>
                <a:spLocks noChangeArrowheads="1"/>
              </p:cNvSpPr>
              <p:nvPr/>
            </p:nvSpPr>
            <p:spPr bwMode="auto">
              <a:xfrm>
                <a:off x="2224"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9" name="Oval 74"/>
              <p:cNvSpPr>
                <a:spLocks noChangeArrowheads="1"/>
              </p:cNvSpPr>
              <p:nvPr/>
            </p:nvSpPr>
            <p:spPr bwMode="auto">
              <a:xfrm>
                <a:off x="2185"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0" name="Oval 75"/>
              <p:cNvSpPr>
                <a:spLocks noChangeArrowheads="1"/>
              </p:cNvSpPr>
              <p:nvPr/>
            </p:nvSpPr>
            <p:spPr bwMode="auto">
              <a:xfrm>
                <a:off x="2147" y="7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1" name="Oval 76"/>
              <p:cNvSpPr>
                <a:spLocks noChangeArrowheads="1"/>
              </p:cNvSpPr>
              <p:nvPr/>
            </p:nvSpPr>
            <p:spPr bwMode="auto">
              <a:xfrm>
                <a:off x="2108"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2" name="Oval 77"/>
              <p:cNvSpPr>
                <a:spLocks noChangeArrowheads="1"/>
              </p:cNvSpPr>
              <p:nvPr/>
            </p:nvSpPr>
            <p:spPr bwMode="auto">
              <a:xfrm>
                <a:off x="2070" y="7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3" name="Oval 78"/>
              <p:cNvSpPr>
                <a:spLocks noChangeArrowheads="1"/>
              </p:cNvSpPr>
              <p:nvPr/>
            </p:nvSpPr>
            <p:spPr bwMode="auto">
              <a:xfrm>
                <a:off x="2031"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4" name="Oval 79"/>
              <p:cNvSpPr>
                <a:spLocks noChangeArrowheads="1"/>
              </p:cNvSpPr>
              <p:nvPr/>
            </p:nvSpPr>
            <p:spPr bwMode="auto">
              <a:xfrm>
                <a:off x="1993" y="7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5" name="Oval 80"/>
              <p:cNvSpPr>
                <a:spLocks noChangeArrowheads="1"/>
              </p:cNvSpPr>
              <p:nvPr/>
            </p:nvSpPr>
            <p:spPr bwMode="auto">
              <a:xfrm>
                <a:off x="1954"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6" name="Oval 81"/>
              <p:cNvSpPr>
                <a:spLocks noChangeArrowheads="1"/>
              </p:cNvSpPr>
              <p:nvPr/>
            </p:nvSpPr>
            <p:spPr bwMode="auto">
              <a:xfrm>
                <a:off x="1915"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7" name="Oval 82"/>
              <p:cNvSpPr>
                <a:spLocks noChangeArrowheads="1"/>
              </p:cNvSpPr>
              <p:nvPr/>
            </p:nvSpPr>
            <p:spPr bwMode="auto">
              <a:xfrm>
                <a:off x="1877"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8" name="Oval 83"/>
              <p:cNvSpPr>
                <a:spLocks noChangeArrowheads="1"/>
              </p:cNvSpPr>
              <p:nvPr/>
            </p:nvSpPr>
            <p:spPr bwMode="auto">
              <a:xfrm>
                <a:off x="1838"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9" name="Freeform 84"/>
              <p:cNvSpPr>
                <a:spLocks/>
              </p:cNvSpPr>
              <p:nvPr/>
            </p:nvSpPr>
            <p:spPr bwMode="auto">
              <a:xfrm>
                <a:off x="1800" y="736"/>
                <a:ext cx="28" cy="28"/>
              </a:xfrm>
              <a:custGeom>
                <a:avLst/>
                <a:gdLst>
                  <a:gd name="T0" fmla="*/ 80 w 160"/>
                  <a:gd name="T1" fmla="*/ 0 h 159"/>
                  <a:gd name="T2" fmla="*/ 159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0" name="Oval 85"/>
              <p:cNvSpPr>
                <a:spLocks noChangeArrowheads="1"/>
              </p:cNvSpPr>
              <p:nvPr/>
            </p:nvSpPr>
            <p:spPr bwMode="auto">
              <a:xfrm>
                <a:off x="1761"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1" name="Oval 86"/>
              <p:cNvSpPr>
                <a:spLocks noChangeArrowheads="1"/>
              </p:cNvSpPr>
              <p:nvPr/>
            </p:nvSpPr>
            <p:spPr bwMode="auto">
              <a:xfrm>
                <a:off x="1723" y="7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2" name="Oval 87"/>
              <p:cNvSpPr>
                <a:spLocks noChangeArrowheads="1"/>
              </p:cNvSpPr>
              <p:nvPr/>
            </p:nvSpPr>
            <p:spPr bwMode="auto">
              <a:xfrm>
                <a:off x="1684"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3" name="Oval 88"/>
              <p:cNvSpPr>
                <a:spLocks noChangeArrowheads="1"/>
              </p:cNvSpPr>
              <p:nvPr/>
            </p:nvSpPr>
            <p:spPr bwMode="auto">
              <a:xfrm>
                <a:off x="1646" y="7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4" name="Oval 89"/>
              <p:cNvSpPr>
                <a:spLocks noChangeArrowheads="1"/>
              </p:cNvSpPr>
              <p:nvPr/>
            </p:nvSpPr>
            <p:spPr bwMode="auto">
              <a:xfrm>
                <a:off x="1607"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5" name="Oval 90"/>
              <p:cNvSpPr>
                <a:spLocks noChangeArrowheads="1"/>
              </p:cNvSpPr>
              <p:nvPr/>
            </p:nvSpPr>
            <p:spPr bwMode="auto">
              <a:xfrm>
                <a:off x="1569" y="7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6" name="Oval 91"/>
              <p:cNvSpPr>
                <a:spLocks noChangeArrowheads="1"/>
              </p:cNvSpPr>
              <p:nvPr/>
            </p:nvSpPr>
            <p:spPr bwMode="auto">
              <a:xfrm>
                <a:off x="1530"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7" name="Oval 92"/>
              <p:cNvSpPr>
                <a:spLocks noChangeArrowheads="1"/>
              </p:cNvSpPr>
              <p:nvPr/>
            </p:nvSpPr>
            <p:spPr bwMode="auto">
              <a:xfrm>
                <a:off x="1491" y="7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8" name="Oval 93"/>
              <p:cNvSpPr>
                <a:spLocks noChangeArrowheads="1"/>
              </p:cNvSpPr>
              <p:nvPr/>
            </p:nvSpPr>
            <p:spPr bwMode="auto">
              <a:xfrm>
                <a:off x="2455"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9" name="Oval 94"/>
              <p:cNvSpPr>
                <a:spLocks noChangeArrowheads="1"/>
              </p:cNvSpPr>
              <p:nvPr/>
            </p:nvSpPr>
            <p:spPr bwMode="auto">
              <a:xfrm>
                <a:off x="2417" y="77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0" name="Oval 95"/>
              <p:cNvSpPr>
                <a:spLocks noChangeArrowheads="1"/>
              </p:cNvSpPr>
              <p:nvPr/>
            </p:nvSpPr>
            <p:spPr bwMode="auto">
              <a:xfrm>
                <a:off x="2378"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1" name="Oval 96"/>
              <p:cNvSpPr>
                <a:spLocks noChangeArrowheads="1"/>
              </p:cNvSpPr>
              <p:nvPr/>
            </p:nvSpPr>
            <p:spPr bwMode="auto">
              <a:xfrm>
                <a:off x="2340" y="77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2" name="Oval 97"/>
              <p:cNvSpPr>
                <a:spLocks noChangeArrowheads="1"/>
              </p:cNvSpPr>
              <p:nvPr/>
            </p:nvSpPr>
            <p:spPr bwMode="auto">
              <a:xfrm>
                <a:off x="2301"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3" name="Oval 98"/>
              <p:cNvSpPr>
                <a:spLocks noChangeArrowheads="1"/>
              </p:cNvSpPr>
              <p:nvPr/>
            </p:nvSpPr>
            <p:spPr bwMode="auto">
              <a:xfrm>
                <a:off x="2262"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4" name="Oval 99"/>
              <p:cNvSpPr>
                <a:spLocks noChangeArrowheads="1"/>
              </p:cNvSpPr>
              <p:nvPr/>
            </p:nvSpPr>
            <p:spPr bwMode="auto">
              <a:xfrm>
                <a:off x="2224"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5" name="Oval 100"/>
              <p:cNvSpPr>
                <a:spLocks noChangeArrowheads="1"/>
              </p:cNvSpPr>
              <p:nvPr/>
            </p:nvSpPr>
            <p:spPr bwMode="auto">
              <a:xfrm>
                <a:off x="2185"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6" name="Oval 101"/>
              <p:cNvSpPr>
                <a:spLocks noChangeArrowheads="1"/>
              </p:cNvSpPr>
              <p:nvPr/>
            </p:nvSpPr>
            <p:spPr bwMode="auto">
              <a:xfrm>
                <a:off x="2147" y="77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7" name="Oval 102"/>
              <p:cNvSpPr>
                <a:spLocks noChangeArrowheads="1"/>
              </p:cNvSpPr>
              <p:nvPr/>
            </p:nvSpPr>
            <p:spPr bwMode="auto">
              <a:xfrm>
                <a:off x="2108"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8" name="Oval 103"/>
              <p:cNvSpPr>
                <a:spLocks noChangeArrowheads="1"/>
              </p:cNvSpPr>
              <p:nvPr/>
            </p:nvSpPr>
            <p:spPr bwMode="auto">
              <a:xfrm>
                <a:off x="2070" y="77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9" name="Oval 104"/>
              <p:cNvSpPr>
                <a:spLocks noChangeArrowheads="1"/>
              </p:cNvSpPr>
              <p:nvPr/>
            </p:nvSpPr>
            <p:spPr bwMode="auto">
              <a:xfrm>
                <a:off x="2031"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0" name="Oval 105"/>
              <p:cNvSpPr>
                <a:spLocks noChangeArrowheads="1"/>
              </p:cNvSpPr>
              <p:nvPr/>
            </p:nvSpPr>
            <p:spPr bwMode="auto">
              <a:xfrm>
                <a:off x="1993" y="77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1" name="Oval 106"/>
              <p:cNvSpPr>
                <a:spLocks noChangeArrowheads="1"/>
              </p:cNvSpPr>
              <p:nvPr/>
            </p:nvSpPr>
            <p:spPr bwMode="auto">
              <a:xfrm>
                <a:off x="1954"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2" name="Oval 107"/>
              <p:cNvSpPr>
                <a:spLocks noChangeArrowheads="1"/>
              </p:cNvSpPr>
              <p:nvPr/>
            </p:nvSpPr>
            <p:spPr bwMode="auto">
              <a:xfrm>
                <a:off x="1915"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3" name="Oval 108"/>
              <p:cNvSpPr>
                <a:spLocks noChangeArrowheads="1"/>
              </p:cNvSpPr>
              <p:nvPr/>
            </p:nvSpPr>
            <p:spPr bwMode="auto">
              <a:xfrm>
                <a:off x="1877"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4" name="Oval 109"/>
              <p:cNvSpPr>
                <a:spLocks noChangeArrowheads="1"/>
              </p:cNvSpPr>
              <p:nvPr/>
            </p:nvSpPr>
            <p:spPr bwMode="auto">
              <a:xfrm>
                <a:off x="1838"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5" name="Freeform 110"/>
              <p:cNvSpPr>
                <a:spLocks/>
              </p:cNvSpPr>
              <p:nvPr/>
            </p:nvSpPr>
            <p:spPr bwMode="auto">
              <a:xfrm>
                <a:off x="1800" y="775"/>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6" name="Oval 111"/>
              <p:cNvSpPr>
                <a:spLocks noChangeArrowheads="1"/>
              </p:cNvSpPr>
              <p:nvPr/>
            </p:nvSpPr>
            <p:spPr bwMode="auto">
              <a:xfrm>
                <a:off x="1723" y="77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7" name="Oval 112"/>
              <p:cNvSpPr>
                <a:spLocks noChangeArrowheads="1"/>
              </p:cNvSpPr>
              <p:nvPr/>
            </p:nvSpPr>
            <p:spPr bwMode="auto">
              <a:xfrm>
                <a:off x="1684"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8" name="Oval 113"/>
              <p:cNvSpPr>
                <a:spLocks noChangeArrowheads="1"/>
              </p:cNvSpPr>
              <p:nvPr/>
            </p:nvSpPr>
            <p:spPr bwMode="auto">
              <a:xfrm>
                <a:off x="1646" y="77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9" name="Oval 114"/>
              <p:cNvSpPr>
                <a:spLocks noChangeArrowheads="1"/>
              </p:cNvSpPr>
              <p:nvPr/>
            </p:nvSpPr>
            <p:spPr bwMode="auto">
              <a:xfrm>
                <a:off x="1607"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0" name="Oval 115"/>
              <p:cNvSpPr>
                <a:spLocks noChangeArrowheads="1"/>
              </p:cNvSpPr>
              <p:nvPr/>
            </p:nvSpPr>
            <p:spPr bwMode="auto">
              <a:xfrm>
                <a:off x="1569" y="77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1" name="Oval 116"/>
              <p:cNvSpPr>
                <a:spLocks noChangeArrowheads="1"/>
              </p:cNvSpPr>
              <p:nvPr/>
            </p:nvSpPr>
            <p:spPr bwMode="auto">
              <a:xfrm>
                <a:off x="1530" y="77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2" name="Oval 117"/>
              <p:cNvSpPr>
                <a:spLocks noChangeArrowheads="1"/>
              </p:cNvSpPr>
              <p:nvPr/>
            </p:nvSpPr>
            <p:spPr bwMode="auto">
              <a:xfrm>
                <a:off x="3920"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3" name="Oval 118"/>
              <p:cNvSpPr>
                <a:spLocks noChangeArrowheads="1"/>
              </p:cNvSpPr>
              <p:nvPr/>
            </p:nvSpPr>
            <p:spPr bwMode="auto">
              <a:xfrm>
                <a:off x="2455"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4" name="Oval 119"/>
              <p:cNvSpPr>
                <a:spLocks noChangeArrowheads="1"/>
              </p:cNvSpPr>
              <p:nvPr/>
            </p:nvSpPr>
            <p:spPr bwMode="auto">
              <a:xfrm>
                <a:off x="2417" y="81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5" name="Oval 120"/>
              <p:cNvSpPr>
                <a:spLocks noChangeArrowheads="1"/>
              </p:cNvSpPr>
              <p:nvPr/>
            </p:nvSpPr>
            <p:spPr bwMode="auto">
              <a:xfrm>
                <a:off x="2378"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6" name="Oval 121"/>
              <p:cNvSpPr>
                <a:spLocks noChangeArrowheads="1"/>
              </p:cNvSpPr>
              <p:nvPr/>
            </p:nvSpPr>
            <p:spPr bwMode="auto">
              <a:xfrm>
                <a:off x="2340" y="81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7" name="Oval 122"/>
              <p:cNvSpPr>
                <a:spLocks noChangeArrowheads="1"/>
              </p:cNvSpPr>
              <p:nvPr/>
            </p:nvSpPr>
            <p:spPr bwMode="auto">
              <a:xfrm>
                <a:off x="2301"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8" name="Oval 123"/>
              <p:cNvSpPr>
                <a:spLocks noChangeArrowheads="1"/>
              </p:cNvSpPr>
              <p:nvPr/>
            </p:nvSpPr>
            <p:spPr bwMode="auto">
              <a:xfrm>
                <a:off x="2262"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9" name="Oval 124"/>
              <p:cNvSpPr>
                <a:spLocks noChangeArrowheads="1"/>
              </p:cNvSpPr>
              <p:nvPr/>
            </p:nvSpPr>
            <p:spPr bwMode="auto">
              <a:xfrm>
                <a:off x="2224"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0" name="Oval 125"/>
              <p:cNvSpPr>
                <a:spLocks noChangeArrowheads="1"/>
              </p:cNvSpPr>
              <p:nvPr/>
            </p:nvSpPr>
            <p:spPr bwMode="auto">
              <a:xfrm>
                <a:off x="2185"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1" name="Oval 126"/>
              <p:cNvSpPr>
                <a:spLocks noChangeArrowheads="1"/>
              </p:cNvSpPr>
              <p:nvPr/>
            </p:nvSpPr>
            <p:spPr bwMode="auto">
              <a:xfrm>
                <a:off x="2147" y="81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2" name="Oval 127"/>
              <p:cNvSpPr>
                <a:spLocks noChangeArrowheads="1"/>
              </p:cNvSpPr>
              <p:nvPr/>
            </p:nvSpPr>
            <p:spPr bwMode="auto">
              <a:xfrm>
                <a:off x="2108"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3" name="Oval 128"/>
              <p:cNvSpPr>
                <a:spLocks noChangeArrowheads="1"/>
              </p:cNvSpPr>
              <p:nvPr/>
            </p:nvSpPr>
            <p:spPr bwMode="auto">
              <a:xfrm>
                <a:off x="2070" y="81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4" name="Oval 129"/>
              <p:cNvSpPr>
                <a:spLocks noChangeArrowheads="1"/>
              </p:cNvSpPr>
              <p:nvPr/>
            </p:nvSpPr>
            <p:spPr bwMode="auto">
              <a:xfrm>
                <a:off x="2031"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5" name="Oval 130"/>
              <p:cNvSpPr>
                <a:spLocks noChangeArrowheads="1"/>
              </p:cNvSpPr>
              <p:nvPr/>
            </p:nvSpPr>
            <p:spPr bwMode="auto">
              <a:xfrm>
                <a:off x="1993" y="81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6" name="Oval 131"/>
              <p:cNvSpPr>
                <a:spLocks noChangeArrowheads="1"/>
              </p:cNvSpPr>
              <p:nvPr/>
            </p:nvSpPr>
            <p:spPr bwMode="auto">
              <a:xfrm>
                <a:off x="1954"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7" name="Oval 132"/>
              <p:cNvSpPr>
                <a:spLocks noChangeArrowheads="1"/>
              </p:cNvSpPr>
              <p:nvPr/>
            </p:nvSpPr>
            <p:spPr bwMode="auto">
              <a:xfrm>
                <a:off x="1915"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8" name="Oval 133"/>
              <p:cNvSpPr>
                <a:spLocks noChangeArrowheads="1"/>
              </p:cNvSpPr>
              <p:nvPr/>
            </p:nvSpPr>
            <p:spPr bwMode="auto">
              <a:xfrm>
                <a:off x="1877"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9" name="Oval 134"/>
              <p:cNvSpPr>
                <a:spLocks noChangeArrowheads="1"/>
              </p:cNvSpPr>
              <p:nvPr/>
            </p:nvSpPr>
            <p:spPr bwMode="auto">
              <a:xfrm>
                <a:off x="1838"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0" name="Freeform 135"/>
              <p:cNvSpPr>
                <a:spLocks/>
              </p:cNvSpPr>
              <p:nvPr/>
            </p:nvSpPr>
            <p:spPr bwMode="auto">
              <a:xfrm>
                <a:off x="1800" y="814"/>
                <a:ext cx="28" cy="27"/>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1" name="Oval 136"/>
              <p:cNvSpPr>
                <a:spLocks noChangeArrowheads="1"/>
              </p:cNvSpPr>
              <p:nvPr/>
            </p:nvSpPr>
            <p:spPr bwMode="auto">
              <a:xfrm>
                <a:off x="1684"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2" name="Oval 137"/>
              <p:cNvSpPr>
                <a:spLocks noChangeArrowheads="1"/>
              </p:cNvSpPr>
              <p:nvPr/>
            </p:nvSpPr>
            <p:spPr bwMode="auto">
              <a:xfrm>
                <a:off x="1646" y="81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3" name="Oval 138"/>
              <p:cNvSpPr>
                <a:spLocks noChangeArrowheads="1"/>
              </p:cNvSpPr>
              <p:nvPr/>
            </p:nvSpPr>
            <p:spPr bwMode="auto">
              <a:xfrm>
                <a:off x="1607" y="81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4" name="Oval 139"/>
              <p:cNvSpPr>
                <a:spLocks noChangeArrowheads="1"/>
              </p:cNvSpPr>
              <p:nvPr/>
            </p:nvSpPr>
            <p:spPr bwMode="auto">
              <a:xfrm>
                <a:off x="3959" y="85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5" name="Oval 140"/>
              <p:cNvSpPr>
                <a:spLocks noChangeArrowheads="1"/>
              </p:cNvSpPr>
              <p:nvPr/>
            </p:nvSpPr>
            <p:spPr bwMode="auto">
              <a:xfrm>
                <a:off x="3920"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6" name="Oval 141"/>
              <p:cNvSpPr>
                <a:spLocks noChangeArrowheads="1"/>
              </p:cNvSpPr>
              <p:nvPr/>
            </p:nvSpPr>
            <p:spPr bwMode="auto">
              <a:xfrm>
                <a:off x="3882" y="85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7" name="Oval 142"/>
              <p:cNvSpPr>
                <a:spLocks noChangeArrowheads="1"/>
              </p:cNvSpPr>
              <p:nvPr/>
            </p:nvSpPr>
            <p:spPr bwMode="auto">
              <a:xfrm>
                <a:off x="3033"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8" name="Oval 143"/>
              <p:cNvSpPr>
                <a:spLocks noChangeArrowheads="1"/>
              </p:cNvSpPr>
              <p:nvPr/>
            </p:nvSpPr>
            <p:spPr bwMode="auto">
              <a:xfrm>
                <a:off x="2995"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9" name="Oval 144"/>
              <p:cNvSpPr>
                <a:spLocks noChangeArrowheads="1"/>
              </p:cNvSpPr>
              <p:nvPr/>
            </p:nvSpPr>
            <p:spPr bwMode="auto">
              <a:xfrm>
                <a:off x="2956"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0" name="Oval 145"/>
              <p:cNvSpPr>
                <a:spLocks noChangeArrowheads="1"/>
              </p:cNvSpPr>
              <p:nvPr/>
            </p:nvSpPr>
            <p:spPr bwMode="auto">
              <a:xfrm>
                <a:off x="2918" y="85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1" name="Oval 146"/>
              <p:cNvSpPr>
                <a:spLocks noChangeArrowheads="1"/>
              </p:cNvSpPr>
              <p:nvPr/>
            </p:nvSpPr>
            <p:spPr bwMode="auto">
              <a:xfrm>
                <a:off x="2455"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2" name="Oval 147"/>
              <p:cNvSpPr>
                <a:spLocks noChangeArrowheads="1"/>
              </p:cNvSpPr>
              <p:nvPr/>
            </p:nvSpPr>
            <p:spPr bwMode="auto">
              <a:xfrm>
                <a:off x="2417" y="85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3" name="Oval 148"/>
              <p:cNvSpPr>
                <a:spLocks noChangeArrowheads="1"/>
              </p:cNvSpPr>
              <p:nvPr/>
            </p:nvSpPr>
            <p:spPr bwMode="auto">
              <a:xfrm>
                <a:off x="2378"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4" name="Oval 149"/>
              <p:cNvSpPr>
                <a:spLocks noChangeArrowheads="1"/>
              </p:cNvSpPr>
              <p:nvPr/>
            </p:nvSpPr>
            <p:spPr bwMode="auto">
              <a:xfrm>
                <a:off x="2340" y="85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5" name="Oval 150"/>
              <p:cNvSpPr>
                <a:spLocks noChangeArrowheads="1"/>
              </p:cNvSpPr>
              <p:nvPr/>
            </p:nvSpPr>
            <p:spPr bwMode="auto">
              <a:xfrm>
                <a:off x="2301"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6" name="Oval 151"/>
              <p:cNvSpPr>
                <a:spLocks noChangeArrowheads="1"/>
              </p:cNvSpPr>
              <p:nvPr/>
            </p:nvSpPr>
            <p:spPr bwMode="auto">
              <a:xfrm>
                <a:off x="2262"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7" name="Oval 152"/>
              <p:cNvSpPr>
                <a:spLocks noChangeArrowheads="1"/>
              </p:cNvSpPr>
              <p:nvPr/>
            </p:nvSpPr>
            <p:spPr bwMode="auto">
              <a:xfrm>
                <a:off x="2224"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8" name="Oval 153"/>
              <p:cNvSpPr>
                <a:spLocks noChangeArrowheads="1"/>
              </p:cNvSpPr>
              <p:nvPr/>
            </p:nvSpPr>
            <p:spPr bwMode="auto">
              <a:xfrm>
                <a:off x="2185"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9" name="Oval 154"/>
              <p:cNvSpPr>
                <a:spLocks noChangeArrowheads="1"/>
              </p:cNvSpPr>
              <p:nvPr/>
            </p:nvSpPr>
            <p:spPr bwMode="auto">
              <a:xfrm>
                <a:off x="2147" y="85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0" name="Oval 155"/>
              <p:cNvSpPr>
                <a:spLocks noChangeArrowheads="1"/>
              </p:cNvSpPr>
              <p:nvPr/>
            </p:nvSpPr>
            <p:spPr bwMode="auto">
              <a:xfrm>
                <a:off x="2108"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1" name="Oval 156"/>
              <p:cNvSpPr>
                <a:spLocks noChangeArrowheads="1"/>
              </p:cNvSpPr>
              <p:nvPr/>
            </p:nvSpPr>
            <p:spPr bwMode="auto">
              <a:xfrm>
                <a:off x="2070" y="85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2" name="Oval 157"/>
              <p:cNvSpPr>
                <a:spLocks noChangeArrowheads="1"/>
              </p:cNvSpPr>
              <p:nvPr/>
            </p:nvSpPr>
            <p:spPr bwMode="auto">
              <a:xfrm>
                <a:off x="2031"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3" name="Oval 158"/>
              <p:cNvSpPr>
                <a:spLocks noChangeArrowheads="1"/>
              </p:cNvSpPr>
              <p:nvPr/>
            </p:nvSpPr>
            <p:spPr bwMode="auto">
              <a:xfrm>
                <a:off x="1993" y="85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4" name="Oval 159"/>
              <p:cNvSpPr>
                <a:spLocks noChangeArrowheads="1"/>
              </p:cNvSpPr>
              <p:nvPr/>
            </p:nvSpPr>
            <p:spPr bwMode="auto">
              <a:xfrm>
                <a:off x="1954"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5" name="Oval 160"/>
              <p:cNvSpPr>
                <a:spLocks noChangeArrowheads="1"/>
              </p:cNvSpPr>
              <p:nvPr/>
            </p:nvSpPr>
            <p:spPr bwMode="auto">
              <a:xfrm>
                <a:off x="1915"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6" name="Oval 161"/>
              <p:cNvSpPr>
                <a:spLocks noChangeArrowheads="1"/>
              </p:cNvSpPr>
              <p:nvPr/>
            </p:nvSpPr>
            <p:spPr bwMode="auto">
              <a:xfrm>
                <a:off x="1877"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7" name="Oval 162"/>
              <p:cNvSpPr>
                <a:spLocks noChangeArrowheads="1"/>
              </p:cNvSpPr>
              <p:nvPr/>
            </p:nvSpPr>
            <p:spPr bwMode="auto">
              <a:xfrm>
                <a:off x="1838" y="85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8" name="Oval 163"/>
              <p:cNvSpPr>
                <a:spLocks noChangeArrowheads="1"/>
              </p:cNvSpPr>
              <p:nvPr/>
            </p:nvSpPr>
            <p:spPr bwMode="auto">
              <a:xfrm>
                <a:off x="1376" y="85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9" name="Oval 164"/>
              <p:cNvSpPr>
                <a:spLocks noChangeArrowheads="1"/>
              </p:cNvSpPr>
              <p:nvPr/>
            </p:nvSpPr>
            <p:spPr bwMode="auto">
              <a:xfrm>
                <a:off x="4036"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0" name="Oval 165"/>
              <p:cNvSpPr>
                <a:spLocks noChangeArrowheads="1"/>
              </p:cNvSpPr>
              <p:nvPr/>
            </p:nvSpPr>
            <p:spPr bwMode="auto">
              <a:xfrm>
                <a:off x="3997"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1" name="Oval 166"/>
              <p:cNvSpPr>
                <a:spLocks noChangeArrowheads="1"/>
              </p:cNvSpPr>
              <p:nvPr/>
            </p:nvSpPr>
            <p:spPr bwMode="auto">
              <a:xfrm>
                <a:off x="3959"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2" name="Oval 167"/>
              <p:cNvSpPr>
                <a:spLocks noChangeArrowheads="1"/>
              </p:cNvSpPr>
              <p:nvPr/>
            </p:nvSpPr>
            <p:spPr bwMode="auto">
              <a:xfrm>
                <a:off x="3920"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3" name="Oval 168"/>
              <p:cNvSpPr>
                <a:spLocks noChangeArrowheads="1"/>
              </p:cNvSpPr>
              <p:nvPr/>
            </p:nvSpPr>
            <p:spPr bwMode="auto">
              <a:xfrm>
                <a:off x="2956"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4" name="Oval 169"/>
              <p:cNvSpPr>
                <a:spLocks noChangeArrowheads="1"/>
              </p:cNvSpPr>
              <p:nvPr/>
            </p:nvSpPr>
            <p:spPr bwMode="auto">
              <a:xfrm>
                <a:off x="2918"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5" name="Oval 170"/>
              <p:cNvSpPr>
                <a:spLocks noChangeArrowheads="1"/>
              </p:cNvSpPr>
              <p:nvPr/>
            </p:nvSpPr>
            <p:spPr bwMode="auto">
              <a:xfrm>
                <a:off x="2879"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6" name="Oval 171"/>
              <p:cNvSpPr>
                <a:spLocks noChangeArrowheads="1"/>
              </p:cNvSpPr>
              <p:nvPr/>
            </p:nvSpPr>
            <p:spPr bwMode="auto">
              <a:xfrm>
                <a:off x="2841"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7" name="Oval 172"/>
              <p:cNvSpPr>
                <a:spLocks noChangeArrowheads="1"/>
              </p:cNvSpPr>
              <p:nvPr/>
            </p:nvSpPr>
            <p:spPr bwMode="auto">
              <a:xfrm>
                <a:off x="2455"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8" name="Oval 173"/>
              <p:cNvSpPr>
                <a:spLocks noChangeArrowheads="1"/>
              </p:cNvSpPr>
              <p:nvPr/>
            </p:nvSpPr>
            <p:spPr bwMode="auto">
              <a:xfrm>
                <a:off x="2417"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9" name="Oval 174"/>
              <p:cNvSpPr>
                <a:spLocks noChangeArrowheads="1"/>
              </p:cNvSpPr>
              <p:nvPr/>
            </p:nvSpPr>
            <p:spPr bwMode="auto">
              <a:xfrm>
                <a:off x="2378"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0" name="Oval 175"/>
              <p:cNvSpPr>
                <a:spLocks noChangeArrowheads="1"/>
              </p:cNvSpPr>
              <p:nvPr/>
            </p:nvSpPr>
            <p:spPr bwMode="auto">
              <a:xfrm>
                <a:off x="2340"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1" name="Oval 176"/>
              <p:cNvSpPr>
                <a:spLocks noChangeArrowheads="1"/>
              </p:cNvSpPr>
              <p:nvPr/>
            </p:nvSpPr>
            <p:spPr bwMode="auto">
              <a:xfrm>
                <a:off x="2301"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2" name="Oval 177"/>
              <p:cNvSpPr>
                <a:spLocks noChangeArrowheads="1"/>
              </p:cNvSpPr>
              <p:nvPr/>
            </p:nvSpPr>
            <p:spPr bwMode="auto">
              <a:xfrm>
                <a:off x="2262"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3" name="Oval 178"/>
              <p:cNvSpPr>
                <a:spLocks noChangeArrowheads="1"/>
              </p:cNvSpPr>
              <p:nvPr/>
            </p:nvSpPr>
            <p:spPr bwMode="auto">
              <a:xfrm>
                <a:off x="2224"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4" name="Oval 179"/>
              <p:cNvSpPr>
                <a:spLocks noChangeArrowheads="1"/>
              </p:cNvSpPr>
              <p:nvPr/>
            </p:nvSpPr>
            <p:spPr bwMode="auto">
              <a:xfrm>
                <a:off x="2185"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5" name="Oval 180"/>
              <p:cNvSpPr>
                <a:spLocks noChangeArrowheads="1"/>
              </p:cNvSpPr>
              <p:nvPr/>
            </p:nvSpPr>
            <p:spPr bwMode="auto">
              <a:xfrm>
                <a:off x="2147"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6" name="Oval 181"/>
              <p:cNvSpPr>
                <a:spLocks noChangeArrowheads="1"/>
              </p:cNvSpPr>
              <p:nvPr/>
            </p:nvSpPr>
            <p:spPr bwMode="auto">
              <a:xfrm>
                <a:off x="2108"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7" name="Oval 182"/>
              <p:cNvSpPr>
                <a:spLocks noChangeArrowheads="1"/>
              </p:cNvSpPr>
              <p:nvPr/>
            </p:nvSpPr>
            <p:spPr bwMode="auto">
              <a:xfrm>
                <a:off x="2070"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8" name="Oval 183"/>
              <p:cNvSpPr>
                <a:spLocks noChangeArrowheads="1"/>
              </p:cNvSpPr>
              <p:nvPr/>
            </p:nvSpPr>
            <p:spPr bwMode="auto">
              <a:xfrm>
                <a:off x="2031"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9" name="Oval 184"/>
              <p:cNvSpPr>
                <a:spLocks noChangeArrowheads="1"/>
              </p:cNvSpPr>
              <p:nvPr/>
            </p:nvSpPr>
            <p:spPr bwMode="auto">
              <a:xfrm>
                <a:off x="1993"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0" name="Oval 185"/>
              <p:cNvSpPr>
                <a:spLocks noChangeArrowheads="1"/>
              </p:cNvSpPr>
              <p:nvPr/>
            </p:nvSpPr>
            <p:spPr bwMode="auto">
              <a:xfrm>
                <a:off x="1414"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1" name="Oval 186"/>
              <p:cNvSpPr>
                <a:spLocks noChangeArrowheads="1"/>
              </p:cNvSpPr>
              <p:nvPr/>
            </p:nvSpPr>
            <p:spPr bwMode="auto">
              <a:xfrm>
                <a:off x="1376" y="891"/>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2" name="Oval 187"/>
              <p:cNvSpPr>
                <a:spLocks noChangeArrowheads="1"/>
              </p:cNvSpPr>
              <p:nvPr/>
            </p:nvSpPr>
            <p:spPr bwMode="auto">
              <a:xfrm>
                <a:off x="1337"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3" name="Oval 188"/>
              <p:cNvSpPr>
                <a:spLocks noChangeArrowheads="1"/>
              </p:cNvSpPr>
              <p:nvPr/>
            </p:nvSpPr>
            <p:spPr bwMode="auto">
              <a:xfrm>
                <a:off x="1260" y="891"/>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4" name="Oval 189"/>
              <p:cNvSpPr>
                <a:spLocks noChangeArrowheads="1"/>
              </p:cNvSpPr>
              <p:nvPr/>
            </p:nvSpPr>
            <p:spPr bwMode="auto">
              <a:xfrm>
                <a:off x="4036" y="92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5" name="Oval 190"/>
              <p:cNvSpPr>
                <a:spLocks noChangeArrowheads="1"/>
              </p:cNvSpPr>
              <p:nvPr/>
            </p:nvSpPr>
            <p:spPr bwMode="auto">
              <a:xfrm>
                <a:off x="3997"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6" name="Oval 191"/>
              <p:cNvSpPr>
                <a:spLocks noChangeArrowheads="1"/>
              </p:cNvSpPr>
              <p:nvPr/>
            </p:nvSpPr>
            <p:spPr bwMode="auto">
              <a:xfrm>
                <a:off x="2995"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7" name="Oval 192"/>
              <p:cNvSpPr>
                <a:spLocks noChangeArrowheads="1"/>
              </p:cNvSpPr>
              <p:nvPr/>
            </p:nvSpPr>
            <p:spPr bwMode="auto">
              <a:xfrm>
                <a:off x="2918" y="92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8" name="Oval 193"/>
              <p:cNvSpPr>
                <a:spLocks noChangeArrowheads="1"/>
              </p:cNvSpPr>
              <p:nvPr/>
            </p:nvSpPr>
            <p:spPr bwMode="auto">
              <a:xfrm>
                <a:off x="2879"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9" name="Oval 194"/>
              <p:cNvSpPr>
                <a:spLocks noChangeArrowheads="1"/>
              </p:cNvSpPr>
              <p:nvPr/>
            </p:nvSpPr>
            <p:spPr bwMode="auto">
              <a:xfrm>
                <a:off x="2417" y="92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0" name="Oval 195"/>
              <p:cNvSpPr>
                <a:spLocks noChangeArrowheads="1"/>
              </p:cNvSpPr>
              <p:nvPr/>
            </p:nvSpPr>
            <p:spPr bwMode="auto">
              <a:xfrm>
                <a:off x="2378"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1" name="Oval 196"/>
              <p:cNvSpPr>
                <a:spLocks noChangeArrowheads="1"/>
              </p:cNvSpPr>
              <p:nvPr/>
            </p:nvSpPr>
            <p:spPr bwMode="auto">
              <a:xfrm>
                <a:off x="2340" y="92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2" name="Oval 197"/>
              <p:cNvSpPr>
                <a:spLocks noChangeArrowheads="1"/>
              </p:cNvSpPr>
              <p:nvPr/>
            </p:nvSpPr>
            <p:spPr bwMode="auto">
              <a:xfrm>
                <a:off x="2301"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3" name="Oval 198"/>
              <p:cNvSpPr>
                <a:spLocks noChangeArrowheads="1"/>
              </p:cNvSpPr>
              <p:nvPr/>
            </p:nvSpPr>
            <p:spPr bwMode="auto">
              <a:xfrm>
                <a:off x="2262"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4" name="Oval 199"/>
              <p:cNvSpPr>
                <a:spLocks noChangeArrowheads="1"/>
              </p:cNvSpPr>
              <p:nvPr/>
            </p:nvSpPr>
            <p:spPr bwMode="auto">
              <a:xfrm>
                <a:off x="2224"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5" name="Oval 200"/>
              <p:cNvSpPr>
                <a:spLocks noChangeArrowheads="1"/>
              </p:cNvSpPr>
              <p:nvPr/>
            </p:nvSpPr>
            <p:spPr bwMode="auto">
              <a:xfrm>
                <a:off x="2185"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6" name="Oval 201"/>
              <p:cNvSpPr>
                <a:spLocks noChangeArrowheads="1"/>
              </p:cNvSpPr>
              <p:nvPr/>
            </p:nvSpPr>
            <p:spPr bwMode="auto">
              <a:xfrm>
                <a:off x="2147" y="92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7" name="Oval 202"/>
              <p:cNvSpPr>
                <a:spLocks noChangeArrowheads="1"/>
              </p:cNvSpPr>
              <p:nvPr/>
            </p:nvSpPr>
            <p:spPr bwMode="auto">
              <a:xfrm>
                <a:off x="2108"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8" name="Oval 203"/>
              <p:cNvSpPr>
                <a:spLocks noChangeArrowheads="1"/>
              </p:cNvSpPr>
              <p:nvPr/>
            </p:nvSpPr>
            <p:spPr bwMode="auto">
              <a:xfrm>
                <a:off x="2070" y="92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9" name="Oval 204"/>
              <p:cNvSpPr>
                <a:spLocks noChangeArrowheads="1"/>
              </p:cNvSpPr>
              <p:nvPr/>
            </p:nvSpPr>
            <p:spPr bwMode="auto">
              <a:xfrm>
                <a:off x="2031"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0" name="Oval 205"/>
              <p:cNvSpPr>
                <a:spLocks noChangeArrowheads="1"/>
              </p:cNvSpPr>
              <p:nvPr/>
            </p:nvSpPr>
            <p:spPr bwMode="auto">
              <a:xfrm>
                <a:off x="1453"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1" name="Oval 206"/>
              <p:cNvSpPr>
                <a:spLocks noChangeArrowheads="1"/>
              </p:cNvSpPr>
              <p:nvPr/>
            </p:nvSpPr>
            <p:spPr bwMode="auto">
              <a:xfrm>
                <a:off x="1337"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2" name="Oval 207"/>
              <p:cNvSpPr>
                <a:spLocks noChangeArrowheads="1"/>
              </p:cNvSpPr>
              <p:nvPr/>
            </p:nvSpPr>
            <p:spPr bwMode="auto">
              <a:xfrm>
                <a:off x="1260"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3" name="Oval 208"/>
              <p:cNvSpPr>
                <a:spLocks noChangeArrowheads="1"/>
              </p:cNvSpPr>
              <p:nvPr/>
            </p:nvSpPr>
            <p:spPr bwMode="auto">
              <a:xfrm>
                <a:off x="1222" y="92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4" name="Oval 209"/>
              <p:cNvSpPr>
                <a:spLocks noChangeArrowheads="1"/>
              </p:cNvSpPr>
              <p:nvPr/>
            </p:nvSpPr>
            <p:spPr bwMode="auto">
              <a:xfrm>
                <a:off x="1183"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5" name="Oval 210"/>
              <p:cNvSpPr>
                <a:spLocks noChangeArrowheads="1"/>
              </p:cNvSpPr>
              <p:nvPr/>
            </p:nvSpPr>
            <p:spPr bwMode="auto">
              <a:xfrm>
                <a:off x="1144" y="92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 412"/>
            <p:cNvGrpSpPr>
              <a:grpSpLocks/>
            </p:cNvGrpSpPr>
            <p:nvPr/>
          </p:nvGrpSpPr>
          <p:grpSpPr bwMode="auto">
            <a:xfrm>
              <a:off x="643" y="968"/>
              <a:ext cx="4423" cy="182"/>
              <a:chOff x="643" y="968"/>
              <a:chExt cx="4423" cy="182"/>
            </a:xfrm>
            <a:grpFill/>
          </p:grpSpPr>
          <p:sp>
            <p:nvSpPr>
              <p:cNvPr id="2216" name="Oval 212"/>
              <p:cNvSpPr>
                <a:spLocks noChangeArrowheads="1"/>
              </p:cNvSpPr>
              <p:nvPr/>
            </p:nvSpPr>
            <p:spPr bwMode="auto">
              <a:xfrm>
                <a:off x="4537"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7" name="Oval 213"/>
              <p:cNvSpPr>
                <a:spLocks noChangeArrowheads="1"/>
              </p:cNvSpPr>
              <p:nvPr/>
            </p:nvSpPr>
            <p:spPr bwMode="auto">
              <a:xfrm>
                <a:off x="4498"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8" name="Oval 214"/>
              <p:cNvSpPr>
                <a:spLocks noChangeArrowheads="1"/>
              </p:cNvSpPr>
              <p:nvPr/>
            </p:nvSpPr>
            <p:spPr bwMode="auto">
              <a:xfrm>
                <a:off x="4460"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9" name="Oval 215"/>
              <p:cNvSpPr>
                <a:spLocks noChangeArrowheads="1"/>
              </p:cNvSpPr>
              <p:nvPr/>
            </p:nvSpPr>
            <p:spPr bwMode="auto">
              <a:xfrm>
                <a:off x="4151"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0" name="Oval 216"/>
              <p:cNvSpPr>
                <a:spLocks noChangeArrowheads="1"/>
              </p:cNvSpPr>
              <p:nvPr/>
            </p:nvSpPr>
            <p:spPr bwMode="auto">
              <a:xfrm>
                <a:off x="4113"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1" name="Oval 217"/>
              <p:cNvSpPr>
                <a:spLocks noChangeArrowheads="1"/>
              </p:cNvSpPr>
              <p:nvPr/>
            </p:nvSpPr>
            <p:spPr bwMode="auto">
              <a:xfrm>
                <a:off x="4074"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2" name="Oval 218"/>
              <p:cNvSpPr>
                <a:spLocks noChangeArrowheads="1"/>
              </p:cNvSpPr>
              <p:nvPr/>
            </p:nvSpPr>
            <p:spPr bwMode="auto">
              <a:xfrm>
                <a:off x="4036"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3" name="Oval 219"/>
              <p:cNvSpPr>
                <a:spLocks noChangeArrowheads="1"/>
              </p:cNvSpPr>
              <p:nvPr/>
            </p:nvSpPr>
            <p:spPr bwMode="auto">
              <a:xfrm>
                <a:off x="3997"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4" name="Oval 220"/>
              <p:cNvSpPr>
                <a:spLocks noChangeArrowheads="1"/>
              </p:cNvSpPr>
              <p:nvPr/>
            </p:nvSpPr>
            <p:spPr bwMode="auto">
              <a:xfrm>
                <a:off x="3959"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5" name="Oval 221"/>
              <p:cNvSpPr>
                <a:spLocks noChangeArrowheads="1"/>
              </p:cNvSpPr>
              <p:nvPr/>
            </p:nvSpPr>
            <p:spPr bwMode="auto">
              <a:xfrm>
                <a:off x="3920"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6" name="Oval 222"/>
              <p:cNvSpPr>
                <a:spLocks noChangeArrowheads="1"/>
              </p:cNvSpPr>
              <p:nvPr/>
            </p:nvSpPr>
            <p:spPr bwMode="auto">
              <a:xfrm>
                <a:off x="3882"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7" name="Oval 223"/>
              <p:cNvSpPr>
                <a:spLocks noChangeArrowheads="1"/>
              </p:cNvSpPr>
              <p:nvPr/>
            </p:nvSpPr>
            <p:spPr bwMode="auto">
              <a:xfrm>
                <a:off x="3573"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8" name="Oval 224"/>
              <p:cNvSpPr>
                <a:spLocks noChangeArrowheads="1"/>
              </p:cNvSpPr>
              <p:nvPr/>
            </p:nvSpPr>
            <p:spPr bwMode="auto">
              <a:xfrm>
                <a:off x="3535"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9" name="Oval 225"/>
              <p:cNvSpPr>
                <a:spLocks noChangeArrowheads="1"/>
              </p:cNvSpPr>
              <p:nvPr/>
            </p:nvSpPr>
            <p:spPr bwMode="auto">
              <a:xfrm>
                <a:off x="3496"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0" name="Oval 226"/>
              <p:cNvSpPr>
                <a:spLocks noChangeArrowheads="1"/>
              </p:cNvSpPr>
              <p:nvPr/>
            </p:nvSpPr>
            <p:spPr bwMode="auto">
              <a:xfrm>
                <a:off x="3458"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1" name="Oval 227"/>
              <p:cNvSpPr>
                <a:spLocks noChangeArrowheads="1"/>
              </p:cNvSpPr>
              <p:nvPr/>
            </p:nvSpPr>
            <p:spPr bwMode="auto">
              <a:xfrm>
                <a:off x="2417"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2" name="Oval 228"/>
              <p:cNvSpPr>
                <a:spLocks noChangeArrowheads="1"/>
              </p:cNvSpPr>
              <p:nvPr/>
            </p:nvSpPr>
            <p:spPr bwMode="auto">
              <a:xfrm>
                <a:off x="2378"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3" name="Oval 229"/>
              <p:cNvSpPr>
                <a:spLocks noChangeArrowheads="1"/>
              </p:cNvSpPr>
              <p:nvPr/>
            </p:nvSpPr>
            <p:spPr bwMode="auto">
              <a:xfrm>
                <a:off x="2340"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4" name="Oval 230"/>
              <p:cNvSpPr>
                <a:spLocks noChangeArrowheads="1"/>
              </p:cNvSpPr>
              <p:nvPr/>
            </p:nvSpPr>
            <p:spPr bwMode="auto">
              <a:xfrm>
                <a:off x="2301"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5" name="Oval 231"/>
              <p:cNvSpPr>
                <a:spLocks noChangeArrowheads="1"/>
              </p:cNvSpPr>
              <p:nvPr/>
            </p:nvSpPr>
            <p:spPr bwMode="auto">
              <a:xfrm>
                <a:off x="2262"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6" name="Oval 232"/>
              <p:cNvSpPr>
                <a:spLocks noChangeArrowheads="1"/>
              </p:cNvSpPr>
              <p:nvPr/>
            </p:nvSpPr>
            <p:spPr bwMode="auto">
              <a:xfrm>
                <a:off x="2224"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7" name="Oval 233"/>
              <p:cNvSpPr>
                <a:spLocks noChangeArrowheads="1"/>
              </p:cNvSpPr>
              <p:nvPr/>
            </p:nvSpPr>
            <p:spPr bwMode="auto">
              <a:xfrm>
                <a:off x="2185"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8" name="Oval 234"/>
              <p:cNvSpPr>
                <a:spLocks noChangeArrowheads="1"/>
              </p:cNvSpPr>
              <p:nvPr/>
            </p:nvSpPr>
            <p:spPr bwMode="auto">
              <a:xfrm>
                <a:off x="2147"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9" name="Oval 235"/>
              <p:cNvSpPr>
                <a:spLocks noChangeArrowheads="1"/>
              </p:cNvSpPr>
              <p:nvPr/>
            </p:nvSpPr>
            <p:spPr bwMode="auto">
              <a:xfrm>
                <a:off x="2108"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0" name="Oval 236"/>
              <p:cNvSpPr>
                <a:spLocks noChangeArrowheads="1"/>
              </p:cNvSpPr>
              <p:nvPr/>
            </p:nvSpPr>
            <p:spPr bwMode="auto">
              <a:xfrm>
                <a:off x="2070"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1" name="Oval 237"/>
              <p:cNvSpPr>
                <a:spLocks noChangeArrowheads="1"/>
              </p:cNvSpPr>
              <p:nvPr/>
            </p:nvSpPr>
            <p:spPr bwMode="auto">
              <a:xfrm>
                <a:off x="2031"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2" name="Oval 238"/>
              <p:cNvSpPr>
                <a:spLocks noChangeArrowheads="1"/>
              </p:cNvSpPr>
              <p:nvPr/>
            </p:nvSpPr>
            <p:spPr bwMode="auto">
              <a:xfrm>
                <a:off x="1530"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3" name="Oval 239"/>
              <p:cNvSpPr>
                <a:spLocks noChangeArrowheads="1"/>
              </p:cNvSpPr>
              <p:nvPr/>
            </p:nvSpPr>
            <p:spPr bwMode="auto">
              <a:xfrm>
                <a:off x="1491"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4" name="Oval 240"/>
              <p:cNvSpPr>
                <a:spLocks noChangeArrowheads="1"/>
              </p:cNvSpPr>
              <p:nvPr/>
            </p:nvSpPr>
            <p:spPr bwMode="auto">
              <a:xfrm>
                <a:off x="1414"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5" name="Oval 241"/>
              <p:cNvSpPr>
                <a:spLocks noChangeArrowheads="1"/>
              </p:cNvSpPr>
              <p:nvPr/>
            </p:nvSpPr>
            <p:spPr bwMode="auto">
              <a:xfrm>
                <a:off x="1376"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6" name="Oval 242"/>
              <p:cNvSpPr>
                <a:spLocks noChangeArrowheads="1"/>
              </p:cNvSpPr>
              <p:nvPr/>
            </p:nvSpPr>
            <p:spPr bwMode="auto">
              <a:xfrm>
                <a:off x="1337"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7" name="Oval 243"/>
              <p:cNvSpPr>
                <a:spLocks noChangeArrowheads="1"/>
              </p:cNvSpPr>
              <p:nvPr/>
            </p:nvSpPr>
            <p:spPr bwMode="auto">
              <a:xfrm>
                <a:off x="1299"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8" name="Oval 244"/>
              <p:cNvSpPr>
                <a:spLocks noChangeArrowheads="1"/>
              </p:cNvSpPr>
              <p:nvPr/>
            </p:nvSpPr>
            <p:spPr bwMode="auto">
              <a:xfrm>
                <a:off x="1260"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9" name="Oval 245"/>
              <p:cNvSpPr>
                <a:spLocks noChangeArrowheads="1"/>
              </p:cNvSpPr>
              <p:nvPr/>
            </p:nvSpPr>
            <p:spPr bwMode="auto">
              <a:xfrm>
                <a:off x="1222" y="96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0" name="Oval 246"/>
              <p:cNvSpPr>
                <a:spLocks noChangeArrowheads="1"/>
              </p:cNvSpPr>
              <p:nvPr/>
            </p:nvSpPr>
            <p:spPr bwMode="auto">
              <a:xfrm>
                <a:off x="1183"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1" name="Oval 247"/>
              <p:cNvSpPr>
                <a:spLocks noChangeArrowheads="1"/>
              </p:cNvSpPr>
              <p:nvPr/>
            </p:nvSpPr>
            <p:spPr bwMode="auto">
              <a:xfrm>
                <a:off x="1144"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2" name="Oval 248"/>
              <p:cNvSpPr>
                <a:spLocks noChangeArrowheads="1"/>
              </p:cNvSpPr>
              <p:nvPr/>
            </p:nvSpPr>
            <p:spPr bwMode="auto">
              <a:xfrm>
                <a:off x="1106" y="96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3" name="Oval 249"/>
              <p:cNvSpPr>
                <a:spLocks noChangeArrowheads="1"/>
              </p:cNvSpPr>
              <p:nvPr/>
            </p:nvSpPr>
            <p:spPr bwMode="auto">
              <a:xfrm>
                <a:off x="4614"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4" name="Oval 250"/>
              <p:cNvSpPr>
                <a:spLocks noChangeArrowheads="1"/>
              </p:cNvSpPr>
              <p:nvPr/>
            </p:nvSpPr>
            <p:spPr bwMode="auto">
              <a:xfrm>
                <a:off x="4576"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5" name="Oval 251"/>
              <p:cNvSpPr>
                <a:spLocks noChangeArrowheads="1"/>
              </p:cNvSpPr>
              <p:nvPr/>
            </p:nvSpPr>
            <p:spPr bwMode="auto">
              <a:xfrm>
                <a:off x="4537"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6" name="Oval 252"/>
              <p:cNvSpPr>
                <a:spLocks noChangeArrowheads="1"/>
              </p:cNvSpPr>
              <p:nvPr/>
            </p:nvSpPr>
            <p:spPr bwMode="auto">
              <a:xfrm>
                <a:off x="4498"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7" name="Oval 253"/>
              <p:cNvSpPr>
                <a:spLocks noChangeArrowheads="1"/>
              </p:cNvSpPr>
              <p:nvPr/>
            </p:nvSpPr>
            <p:spPr bwMode="auto">
              <a:xfrm>
                <a:off x="4460"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8" name="Oval 254"/>
              <p:cNvSpPr>
                <a:spLocks noChangeArrowheads="1"/>
              </p:cNvSpPr>
              <p:nvPr/>
            </p:nvSpPr>
            <p:spPr bwMode="auto">
              <a:xfrm>
                <a:off x="4151"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9" name="Oval 255"/>
              <p:cNvSpPr>
                <a:spLocks noChangeArrowheads="1"/>
              </p:cNvSpPr>
              <p:nvPr/>
            </p:nvSpPr>
            <p:spPr bwMode="auto">
              <a:xfrm>
                <a:off x="4113"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0" name="Oval 256"/>
              <p:cNvSpPr>
                <a:spLocks noChangeArrowheads="1"/>
              </p:cNvSpPr>
              <p:nvPr/>
            </p:nvSpPr>
            <p:spPr bwMode="auto">
              <a:xfrm>
                <a:off x="4074"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1" name="Oval 257"/>
              <p:cNvSpPr>
                <a:spLocks noChangeArrowheads="1"/>
              </p:cNvSpPr>
              <p:nvPr/>
            </p:nvSpPr>
            <p:spPr bwMode="auto">
              <a:xfrm>
                <a:off x="4036"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2" name="Oval 258"/>
              <p:cNvSpPr>
                <a:spLocks noChangeArrowheads="1"/>
              </p:cNvSpPr>
              <p:nvPr/>
            </p:nvSpPr>
            <p:spPr bwMode="auto">
              <a:xfrm>
                <a:off x="3997"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3" name="Oval 259"/>
              <p:cNvSpPr>
                <a:spLocks noChangeArrowheads="1"/>
              </p:cNvSpPr>
              <p:nvPr/>
            </p:nvSpPr>
            <p:spPr bwMode="auto">
              <a:xfrm>
                <a:off x="3959"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4" name="Oval 260"/>
              <p:cNvSpPr>
                <a:spLocks noChangeArrowheads="1"/>
              </p:cNvSpPr>
              <p:nvPr/>
            </p:nvSpPr>
            <p:spPr bwMode="auto">
              <a:xfrm>
                <a:off x="3920"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5" name="Oval 261"/>
              <p:cNvSpPr>
                <a:spLocks noChangeArrowheads="1"/>
              </p:cNvSpPr>
              <p:nvPr/>
            </p:nvSpPr>
            <p:spPr bwMode="auto">
              <a:xfrm>
                <a:off x="3882"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6" name="Oval 262"/>
              <p:cNvSpPr>
                <a:spLocks noChangeArrowheads="1"/>
              </p:cNvSpPr>
              <p:nvPr/>
            </p:nvSpPr>
            <p:spPr bwMode="auto">
              <a:xfrm>
                <a:off x="3843"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7" name="Oval 263"/>
              <p:cNvSpPr>
                <a:spLocks noChangeArrowheads="1"/>
              </p:cNvSpPr>
              <p:nvPr/>
            </p:nvSpPr>
            <p:spPr bwMode="auto">
              <a:xfrm>
                <a:off x="3804"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8" name="Oval 264"/>
              <p:cNvSpPr>
                <a:spLocks noChangeArrowheads="1"/>
              </p:cNvSpPr>
              <p:nvPr/>
            </p:nvSpPr>
            <p:spPr bwMode="auto">
              <a:xfrm>
                <a:off x="3458"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9" name="Oval 265"/>
              <p:cNvSpPr>
                <a:spLocks noChangeArrowheads="1"/>
              </p:cNvSpPr>
              <p:nvPr/>
            </p:nvSpPr>
            <p:spPr bwMode="auto">
              <a:xfrm>
                <a:off x="3419"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0" name="Oval 266"/>
              <p:cNvSpPr>
                <a:spLocks noChangeArrowheads="1"/>
              </p:cNvSpPr>
              <p:nvPr/>
            </p:nvSpPr>
            <p:spPr bwMode="auto">
              <a:xfrm>
                <a:off x="2417"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1" name="Oval 267"/>
              <p:cNvSpPr>
                <a:spLocks noChangeArrowheads="1"/>
              </p:cNvSpPr>
              <p:nvPr/>
            </p:nvSpPr>
            <p:spPr bwMode="auto">
              <a:xfrm>
                <a:off x="2378"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2" name="Oval 268"/>
              <p:cNvSpPr>
                <a:spLocks noChangeArrowheads="1"/>
              </p:cNvSpPr>
              <p:nvPr/>
            </p:nvSpPr>
            <p:spPr bwMode="auto">
              <a:xfrm>
                <a:off x="2340"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3" name="Oval 269"/>
              <p:cNvSpPr>
                <a:spLocks noChangeArrowheads="1"/>
              </p:cNvSpPr>
              <p:nvPr/>
            </p:nvSpPr>
            <p:spPr bwMode="auto">
              <a:xfrm>
                <a:off x="2301"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4" name="Oval 270"/>
              <p:cNvSpPr>
                <a:spLocks noChangeArrowheads="1"/>
              </p:cNvSpPr>
              <p:nvPr/>
            </p:nvSpPr>
            <p:spPr bwMode="auto">
              <a:xfrm>
                <a:off x="2262"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5" name="Oval 271"/>
              <p:cNvSpPr>
                <a:spLocks noChangeArrowheads="1"/>
              </p:cNvSpPr>
              <p:nvPr/>
            </p:nvSpPr>
            <p:spPr bwMode="auto">
              <a:xfrm>
                <a:off x="2224"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6" name="Oval 272"/>
              <p:cNvSpPr>
                <a:spLocks noChangeArrowheads="1"/>
              </p:cNvSpPr>
              <p:nvPr/>
            </p:nvSpPr>
            <p:spPr bwMode="auto">
              <a:xfrm>
                <a:off x="2185"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7" name="Oval 273"/>
              <p:cNvSpPr>
                <a:spLocks noChangeArrowheads="1"/>
              </p:cNvSpPr>
              <p:nvPr/>
            </p:nvSpPr>
            <p:spPr bwMode="auto">
              <a:xfrm>
                <a:off x="2147"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8" name="Oval 274"/>
              <p:cNvSpPr>
                <a:spLocks noChangeArrowheads="1"/>
              </p:cNvSpPr>
              <p:nvPr/>
            </p:nvSpPr>
            <p:spPr bwMode="auto">
              <a:xfrm>
                <a:off x="2108"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9" name="Oval 275"/>
              <p:cNvSpPr>
                <a:spLocks noChangeArrowheads="1"/>
              </p:cNvSpPr>
              <p:nvPr/>
            </p:nvSpPr>
            <p:spPr bwMode="auto">
              <a:xfrm>
                <a:off x="2070"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0" name="Oval 276"/>
              <p:cNvSpPr>
                <a:spLocks noChangeArrowheads="1"/>
              </p:cNvSpPr>
              <p:nvPr/>
            </p:nvSpPr>
            <p:spPr bwMode="auto">
              <a:xfrm>
                <a:off x="2031"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1" name="Oval 277"/>
              <p:cNvSpPr>
                <a:spLocks noChangeArrowheads="1"/>
              </p:cNvSpPr>
              <p:nvPr/>
            </p:nvSpPr>
            <p:spPr bwMode="auto">
              <a:xfrm>
                <a:off x="1646"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2" name="Oval 278"/>
              <p:cNvSpPr>
                <a:spLocks noChangeArrowheads="1"/>
              </p:cNvSpPr>
              <p:nvPr/>
            </p:nvSpPr>
            <p:spPr bwMode="auto">
              <a:xfrm>
                <a:off x="1607"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3" name="Oval 279"/>
              <p:cNvSpPr>
                <a:spLocks noChangeArrowheads="1"/>
              </p:cNvSpPr>
              <p:nvPr/>
            </p:nvSpPr>
            <p:spPr bwMode="auto">
              <a:xfrm>
                <a:off x="1569"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4" name="Oval 280"/>
              <p:cNvSpPr>
                <a:spLocks noChangeArrowheads="1"/>
              </p:cNvSpPr>
              <p:nvPr/>
            </p:nvSpPr>
            <p:spPr bwMode="auto">
              <a:xfrm>
                <a:off x="1530"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5" name="Oval 281"/>
              <p:cNvSpPr>
                <a:spLocks noChangeArrowheads="1"/>
              </p:cNvSpPr>
              <p:nvPr/>
            </p:nvSpPr>
            <p:spPr bwMode="auto">
              <a:xfrm>
                <a:off x="1222" y="100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6" name="Oval 282"/>
              <p:cNvSpPr>
                <a:spLocks noChangeArrowheads="1"/>
              </p:cNvSpPr>
              <p:nvPr/>
            </p:nvSpPr>
            <p:spPr bwMode="auto">
              <a:xfrm>
                <a:off x="1106" y="100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7" name="Oval 283"/>
              <p:cNvSpPr>
                <a:spLocks noChangeArrowheads="1"/>
              </p:cNvSpPr>
              <p:nvPr/>
            </p:nvSpPr>
            <p:spPr bwMode="auto">
              <a:xfrm>
                <a:off x="4537"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8" name="Oval 284"/>
              <p:cNvSpPr>
                <a:spLocks noChangeArrowheads="1"/>
              </p:cNvSpPr>
              <p:nvPr/>
            </p:nvSpPr>
            <p:spPr bwMode="auto">
              <a:xfrm>
                <a:off x="4498"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9" name="Oval 285"/>
              <p:cNvSpPr>
                <a:spLocks noChangeArrowheads="1"/>
              </p:cNvSpPr>
              <p:nvPr/>
            </p:nvSpPr>
            <p:spPr bwMode="auto">
              <a:xfrm>
                <a:off x="4344"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0" name="Oval 286"/>
              <p:cNvSpPr>
                <a:spLocks noChangeArrowheads="1"/>
              </p:cNvSpPr>
              <p:nvPr/>
            </p:nvSpPr>
            <p:spPr bwMode="auto">
              <a:xfrm>
                <a:off x="4306"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1" name="Oval 287"/>
              <p:cNvSpPr>
                <a:spLocks noChangeArrowheads="1"/>
              </p:cNvSpPr>
              <p:nvPr/>
            </p:nvSpPr>
            <p:spPr bwMode="auto">
              <a:xfrm>
                <a:off x="4267"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2" name="Freeform 288"/>
              <p:cNvSpPr>
                <a:spLocks/>
              </p:cNvSpPr>
              <p:nvPr/>
            </p:nvSpPr>
            <p:spPr bwMode="auto">
              <a:xfrm>
                <a:off x="4229" y="1045"/>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3" name="Oval 289"/>
              <p:cNvSpPr>
                <a:spLocks noChangeArrowheads="1"/>
              </p:cNvSpPr>
              <p:nvPr/>
            </p:nvSpPr>
            <p:spPr bwMode="auto">
              <a:xfrm>
                <a:off x="4190"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4" name="Oval 290"/>
              <p:cNvSpPr>
                <a:spLocks noChangeArrowheads="1"/>
              </p:cNvSpPr>
              <p:nvPr/>
            </p:nvSpPr>
            <p:spPr bwMode="auto">
              <a:xfrm>
                <a:off x="4151"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5" name="Oval 291"/>
              <p:cNvSpPr>
                <a:spLocks noChangeArrowheads="1"/>
              </p:cNvSpPr>
              <p:nvPr/>
            </p:nvSpPr>
            <p:spPr bwMode="auto">
              <a:xfrm>
                <a:off x="4113"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6" name="Oval 292"/>
              <p:cNvSpPr>
                <a:spLocks noChangeArrowheads="1"/>
              </p:cNvSpPr>
              <p:nvPr/>
            </p:nvSpPr>
            <p:spPr bwMode="auto">
              <a:xfrm>
                <a:off x="4074"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7" name="Oval 293"/>
              <p:cNvSpPr>
                <a:spLocks noChangeArrowheads="1"/>
              </p:cNvSpPr>
              <p:nvPr/>
            </p:nvSpPr>
            <p:spPr bwMode="auto">
              <a:xfrm>
                <a:off x="4036"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8" name="Oval 294"/>
              <p:cNvSpPr>
                <a:spLocks noChangeArrowheads="1"/>
              </p:cNvSpPr>
              <p:nvPr/>
            </p:nvSpPr>
            <p:spPr bwMode="auto">
              <a:xfrm>
                <a:off x="3997"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9" name="Oval 295"/>
              <p:cNvSpPr>
                <a:spLocks noChangeArrowheads="1"/>
              </p:cNvSpPr>
              <p:nvPr/>
            </p:nvSpPr>
            <p:spPr bwMode="auto">
              <a:xfrm>
                <a:off x="3959"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0" name="Oval 296"/>
              <p:cNvSpPr>
                <a:spLocks noChangeArrowheads="1"/>
              </p:cNvSpPr>
              <p:nvPr/>
            </p:nvSpPr>
            <p:spPr bwMode="auto">
              <a:xfrm>
                <a:off x="3920"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1" name="Oval 297"/>
              <p:cNvSpPr>
                <a:spLocks noChangeArrowheads="1"/>
              </p:cNvSpPr>
              <p:nvPr/>
            </p:nvSpPr>
            <p:spPr bwMode="auto">
              <a:xfrm>
                <a:off x="3882"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2" name="Oval 298"/>
              <p:cNvSpPr>
                <a:spLocks noChangeArrowheads="1"/>
              </p:cNvSpPr>
              <p:nvPr/>
            </p:nvSpPr>
            <p:spPr bwMode="auto">
              <a:xfrm>
                <a:off x="3843"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3" name="Oval 299"/>
              <p:cNvSpPr>
                <a:spLocks noChangeArrowheads="1"/>
              </p:cNvSpPr>
              <p:nvPr/>
            </p:nvSpPr>
            <p:spPr bwMode="auto">
              <a:xfrm>
                <a:off x="3804"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4" name="Oval 300"/>
              <p:cNvSpPr>
                <a:spLocks noChangeArrowheads="1"/>
              </p:cNvSpPr>
              <p:nvPr/>
            </p:nvSpPr>
            <p:spPr bwMode="auto">
              <a:xfrm>
                <a:off x="3766"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5" name="Oval 301"/>
              <p:cNvSpPr>
                <a:spLocks noChangeArrowheads="1"/>
              </p:cNvSpPr>
              <p:nvPr/>
            </p:nvSpPr>
            <p:spPr bwMode="auto">
              <a:xfrm>
                <a:off x="3727"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6" name="Oval 302"/>
              <p:cNvSpPr>
                <a:spLocks noChangeArrowheads="1"/>
              </p:cNvSpPr>
              <p:nvPr/>
            </p:nvSpPr>
            <p:spPr bwMode="auto">
              <a:xfrm>
                <a:off x="3689"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7" name="Oval 303"/>
              <p:cNvSpPr>
                <a:spLocks noChangeArrowheads="1"/>
              </p:cNvSpPr>
              <p:nvPr/>
            </p:nvSpPr>
            <p:spPr bwMode="auto">
              <a:xfrm>
                <a:off x="3650"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8" name="Oval 304"/>
              <p:cNvSpPr>
                <a:spLocks noChangeArrowheads="1"/>
              </p:cNvSpPr>
              <p:nvPr/>
            </p:nvSpPr>
            <p:spPr bwMode="auto">
              <a:xfrm>
                <a:off x="3612"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9" name="Oval 305"/>
              <p:cNvSpPr>
                <a:spLocks noChangeArrowheads="1"/>
              </p:cNvSpPr>
              <p:nvPr/>
            </p:nvSpPr>
            <p:spPr bwMode="auto">
              <a:xfrm>
                <a:off x="3573"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0" name="Oval 306"/>
              <p:cNvSpPr>
                <a:spLocks noChangeArrowheads="1"/>
              </p:cNvSpPr>
              <p:nvPr/>
            </p:nvSpPr>
            <p:spPr bwMode="auto">
              <a:xfrm>
                <a:off x="3419"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1" name="Oval 307"/>
              <p:cNvSpPr>
                <a:spLocks noChangeArrowheads="1"/>
              </p:cNvSpPr>
              <p:nvPr/>
            </p:nvSpPr>
            <p:spPr bwMode="auto">
              <a:xfrm>
                <a:off x="3380"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2" name="Oval 308"/>
              <p:cNvSpPr>
                <a:spLocks noChangeArrowheads="1"/>
              </p:cNvSpPr>
              <p:nvPr/>
            </p:nvSpPr>
            <p:spPr bwMode="auto">
              <a:xfrm>
                <a:off x="2340"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3" name="Oval 309"/>
              <p:cNvSpPr>
                <a:spLocks noChangeArrowheads="1"/>
              </p:cNvSpPr>
              <p:nvPr/>
            </p:nvSpPr>
            <p:spPr bwMode="auto">
              <a:xfrm>
                <a:off x="2301"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4" name="Oval 310"/>
              <p:cNvSpPr>
                <a:spLocks noChangeArrowheads="1"/>
              </p:cNvSpPr>
              <p:nvPr/>
            </p:nvSpPr>
            <p:spPr bwMode="auto">
              <a:xfrm>
                <a:off x="2262"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5" name="Oval 311"/>
              <p:cNvSpPr>
                <a:spLocks noChangeArrowheads="1"/>
              </p:cNvSpPr>
              <p:nvPr/>
            </p:nvSpPr>
            <p:spPr bwMode="auto">
              <a:xfrm>
                <a:off x="2224"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6" name="Oval 312"/>
              <p:cNvSpPr>
                <a:spLocks noChangeArrowheads="1"/>
              </p:cNvSpPr>
              <p:nvPr/>
            </p:nvSpPr>
            <p:spPr bwMode="auto">
              <a:xfrm>
                <a:off x="2185"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7" name="Oval 313"/>
              <p:cNvSpPr>
                <a:spLocks noChangeArrowheads="1"/>
              </p:cNvSpPr>
              <p:nvPr/>
            </p:nvSpPr>
            <p:spPr bwMode="auto">
              <a:xfrm>
                <a:off x="2147"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8" name="Oval 314"/>
              <p:cNvSpPr>
                <a:spLocks noChangeArrowheads="1"/>
              </p:cNvSpPr>
              <p:nvPr/>
            </p:nvSpPr>
            <p:spPr bwMode="auto">
              <a:xfrm>
                <a:off x="2108"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9" name="Oval 315"/>
              <p:cNvSpPr>
                <a:spLocks noChangeArrowheads="1"/>
              </p:cNvSpPr>
              <p:nvPr/>
            </p:nvSpPr>
            <p:spPr bwMode="auto">
              <a:xfrm>
                <a:off x="2070"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0" name="Oval 316"/>
              <p:cNvSpPr>
                <a:spLocks noChangeArrowheads="1"/>
              </p:cNvSpPr>
              <p:nvPr/>
            </p:nvSpPr>
            <p:spPr bwMode="auto">
              <a:xfrm>
                <a:off x="2031"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1" name="Oval 317"/>
              <p:cNvSpPr>
                <a:spLocks noChangeArrowheads="1"/>
              </p:cNvSpPr>
              <p:nvPr/>
            </p:nvSpPr>
            <p:spPr bwMode="auto">
              <a:xfrm>
                <a:off x="1646"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2" name="Oval 318"/>
              <p:cNvSpPr>
                <a:spLocks noChangeArrowheads="1"/>
              </p:cNvSpPr>
              <p:nvPr/>
            </p:nvSpPr>
            <p:spPr bwMode="auto">
              <a:xfrm>
                <a:off x="1607"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3" name="Oval 319"/>
              <p:cNvSpPr>
                <a:spLocks noChangeArrowheads="1"/>
              </p:cNvSpPr>
              <p:nvPr/>
            </p:nvSpPr>
            <p:spPr bwMode="auto">
              <a:xfrm>
                <a:off x="1569"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4" name="Oval 320"/>
              <p:cNvSpPr>
                <a:spLocks noChangeArrowheads="1"/>
              </p:cNvSpPr>
              <p:nvPr/>
            </p:nvSpPr>
            <p:spPr bwMode="auto">
              <a:xfrm>
                <a:off x="1530"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5" name="Oval 321"/>
              <p:cNvSpPr>
                <a:spLocks noChangeArrowheads="1"/>
              </p:cNvSpPr>
              <p:nvPr/>
            </p:nvSpPr>
            <p:spPr bwMode="auto">
              <a:xfrm>
                <a:off x="1491"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6" name="Oval 322"/>
              <p:cNvSpPr>
                <a:spLocks noChangeArrowheads="1"/>
              </p:cNvSpPr>
              <p:nvPr/>
            </p:nvSpPr>
            <p:spPr bwMode="auto">
              <a:xfrm>
                <a:off x="1453"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7" name="Oval 323"/>
              <p:cNvSpPr>
                <a:spLocks noChangeArrowheads="1"/>
              </p:cNvSpPr>
              <p:nvPr/>
            </p:nvSpPr>
            <p:spPr bwMode="auto">
              <a:xfrm>
                <a:off x="1414"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8" name="Oval 324"/>
              <p:cNvSpPr>
                <a:spLocks noChangeArrowheads="1"/>
              </p:cNvSpPr>
              <p:nvPr/>
            </p:nvSpPr>
            <p:spPr bwMode="auto">
              <a:xfrm>
                <a:off x="1376"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9" name="Oval 325"/>
              <p:cNvSpPr>
                <a:spLocks noChangeArrowheads="1"/>
              </p:cNvSpPr>
              <p:nvPr/>
            </p:nvSpPr>
            <p:spPr bwMode="auto">
              <a:xfrm>
                <a:off x="1337"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0" name="Oval 326"/>
              <p:cNvSpPr>
                <a:spLocks noChangeArrowheads="1"/>
              </p:cNvSpPr>
              <p:nvPr/>
            </p:nvSpPr>
            <p:spPr bwMode="auto">
              <a:xfrm>
                <a:off x="1299" y="104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1" name="Oval 327"/>
              <p:cNvSpPr>
                <a:spLocks noChangeArrowheads="1"/>
              </p:cNvSpPr>
              <p:nvPr/>
            </p:nvSpPr>
            <p:spPr bwMode="auto">
              <a:xfrm>
                <a:off x="1183"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2" name="Oval 328"/>
              <p:cNvSpPr>
                <a:spLocks noChangeArrowheads="1"/>
              </p:cNvSpPr>
              <p:nvPr/>
            </p:nvSpPr>
            <p:spPr bwMode="auto">
              <a:xfrm>
                <a:off x="1144"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3" name="Oval 329"/>
              <p:cNvSpPr>
                <a:spLocks noChangeArrowheads="1"/>
              </p:cNvSpPr>
              <p:nvPr/>
            </p:nvSpPr>
            <p:spPr bwMode="auto">
              <a:xfrm>
                <a:off x="1106"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4" name="Oval 330"/>
              <p:cNvSpPr>
                <a:spLocks noChangeArrowheads="1"/>
              </p:cNvSpPr>
              <p:nvPr/>
            </p:nvSpPr>
            <p:spPr bwMode="auto">
              <a:xfrm>
                <a:off x="1067" y="104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5" name="Oval 331"/>
              <p:cNvSpPr>
                <a:spLocks noChangeArrowheads="1"/>
              </p:cNvSpPr>
              <p:nvPr/>
            </p:nvSpPr>
            <p:spPr bwMode="auto">
              <a:xfrm>
                <a:off x="5038"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6" name="Oval 332"/>
              <p:cNvSpPr>
                <a:spLocks noChangeArrowheads="1"/>
              </p:cNvSpPr>
              <p:nvPr/>
            </p:nvSpPr>
            <p:spPr bwMode="auto">
              <a:xfrm>
                <a:off x="5000"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7" name="Oval 333"/>
              <p:cNvSpPr>
                <a:spLocks noChangeArrowheads="1"/>
              </p:cNvSpPr>
              <p:nvPr/>
            </p:nvSpPr>
            <p:spPr bwMode="auto">
              <a:xfrm>
                <a:off x="4653"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8" name="Oval 334"/>
              <p:cNvSpPr>
                <a:spLocks noChangeArrowheads="1"/>
              </p:cNvSpPr>
              <p:nvPr/>
            </p:nvSpPr>
            <p:spPr bwMode="auto">
              <a:xfrm>
                <a:off x="4614"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9" name="Oval 335"/>
              <p:cNvSpPr>
                <a:spLocks noChangeArrowheads="1"/>
              </p:cNvSpPr>
              <p:nvPr/>
            </p:nvSpPr>
            <p:spPr bwMode="auto">
              <a:xfrm>
                <a:off x="4576"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0" name="Oval 336"/>
              <p:cNvSpPr>
                <a:spLocks noChangeArrowheads="1"/>
              </p:cNvSpPr>
              <p:nvPr/>
            </p:nvSpPr>
            <p:spPr bwMode="auto">
              <a:xfrm>
                <a:off x="4537"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1" name="Oval 337"/>
              <p:cNvSpPr>
                <a:spLocks noChangeArrowheads="1"/>
              </p:cNvSpPr>
              <p:nvPr/>
            </p:nvSpPr>
            <p:spPr bwMode="auto">
              <a:xfrm>
                <a:off x="4498"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2" name="Oval 338"/>
              <p:cNvSpPr>
                <a:spLocks noChangeArrowheads="1"/>
              </p:cNvSpPr>
              <p:nvPr/>
            </p:nvSpPr>
            <p:spPr bwMode="auto">
              <a:xfrm>
                <a:off x="4460"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3" name="Oval 339"/>
              <p:cNvSpPr>
                <a:spLocks noChangeArrowheads="1"/>
              </p:cNvSpPr>
              <p:nvPr/>
            </p:nvSpPr>
            <p:spPr bwMode="auto">
              <a:xfrm>
                <a:off x="4421"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4" name="Oval 340"/>
              <p:cNvSpPr>
                <a:spLocks noChangeArrowheads="1"/>
              </p:cNvSpPr>
              <p:nvPr/>
            </p:nvSpPr>
            <p:spPr bwMode="auto">
              <a:xfrm>
                <a:off x="4383"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5" name="Oval 341"/>
              <p:cNvSpPr>
                <a:spLocks noChangeArrowheads="1"/>
              </p:cNvSpPr>
              <p:nvPr/>
            </p:nvSpPr>
            <p:spPr bwMode="auto">
              <a:xfrm>
                <a:off x="4344"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6" name="Oval 342"/>
              <p:cNvSpPr>
                <a:spLocks noChangeArrowheads="1"/>
              </p:cNvSpPr>
              <p:nvPr/>
            </p:nvSpPr>
            <p:spPr bwMode="auto">
              <a:xfrm>
                <a:off x="4306"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7" name="Oval 343"/>
              <p:cNvSpPr>
                <a:spLocks noChangeArrowheads="1"/>
              </p:cNvSpPr>
              <p:nvPr/>
            </p:nvSpPr>
            <p:spPr bwMode="auto">
              <a:xfrm>
                <a:off x="4267"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8" name="Freeform 344"/>
              <p:cNvSpPr>
                <a:spLocks/>
              </p:cNvSpPr>
              <p:nvPr/>
            </p:nvSpPr>
            <p:spPr bwMode="auto">
              <a:xfrm>
                <a:off x="4229" y="1084"/>
                <a:ext cx="27" cy="27"/>
              </a:xfrm>
              <a:custGeom>
                <a:avLst/>
                <a:gdLst>
                  <a:gd name="T0" fmla="*/ 80 w 159"/>
                  <a:gd name="T1" fmla="*/ 0 h 159"/>
                  <a:gd name="T2" fmla="*/ 159 w 159"/>
                  <a:gd name="T3" fmla="*/ 79 h 159"/>
                  <a:gd name="T4" fmla="*/ 79 w 159"/>
                  <a:gd name="T5" fmla="*/ 159 h 159"/>
                  <a:gd name="T6" fmla="*/ 0 w 159"/>
                  <a:gd name="T7" fmla="*/ 79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5"/>
                      <a:pt x="159" y="79"/>
                    </a:cubicBezTo>
                    <a:cubicBezTo>
                      <a:pt x="159" y="124"/>
                      <a:pt x="124" y="159"/>
                      <a:pt x="79" y="159"/>
                    </a:cubicBezTo>
                    <a:cubicBezTo>
                      <a:pt x="35" y="159"/>
                      <a:pt x="0" y="124"/>
                      <a:pt x="0" y="79"/>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9" name="Oval 345"/>
              <p:cNvSpPr>
                <a:spLocks noChangeArrowheads="1"/>
              </p:cNvSpPr>
              <p:nvPr/>
            </p:nvSpPr>
            <p:spPr bwMode="auto">
              <a:xfrm>
                <a:off x="4190"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0" name="Oval 346"/>
              <p:cNvSpPr>
                <a:spLocks noChangeArrowheads="1"/>
              </p:cNvSpPr>
              <p:nvPr/>
            </p:nvSpPr>
            <p:spPr bwMode="auto">
              <a:xfrm>
                <a:off x="4151"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1" name="Oval 347"/>
              <p:cNvSpPr>
                <a:spLocks noChangeArrowheads="1"/>
              </p:cNvSpPr>
              <p:nvPr/>
            </p:nvSpPr>
            <p:spPr bwMode="auto">
              <a:xfrm>
                <a:off x="4113"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2" name="Oval 348"/>
              <p:cNvSpPr>
                <a:spLocks noChangeArrowheads="1"/>
              </p:cNvSpPr>
              <p:nvPr/>
            </p:nvSpPr>
            <p:spPr bwMode="auto">
              <a:xfrm>
                <a:off x="4074"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3" name="Oval 349"/>
              <p:cNvSpPr>
                <a:spLocks noChangeArrowheads="1"/>
              </p:cNvSpPr>
              <p:nvPr/>
            </p:nvSpPr>
            <p:spPr bwMode="auto">
              <a:xfrm>
                <a:off x="4036"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4" name="Oval 350"/>
              <p:cNvSpPr>
                <a:spLocks noChangeArrowheads="1"/>
              </p:cNvSpPr>
              <p:nvPr/>
            </p:nvSpPr>
            <p:spPr bwMode="auto">
              <a:xfrm>
                <a:off x="3997"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5" name="Oval 351"/>
              <p:cNvSpPr>
                <a:spLocks noChangeArrowheads="1"/>
              </p:cNvSpPr>
              <p:nvPr/>
            </p:nvSpPr>
            <p:spPr bwMode="auto">
              <a:xfrm>
                <a:off x="3959"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6" name="Oval 352"/>
              <p:cNvSpPr>
                <a:spLocks noChangeArrowheads="1"/>
              </p:cNvSpPr>
              <p:nvPr/>
            </p:nvSpPr>
            <p:spPr bwMode="auto">
              <a:xfrm>
                <a:off x="3920"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7" name="Oval 353"/>
              <p:cNvSpPr>
                <a:spLocks noChangeArrowheads="1"/>
              </p:cNvSpPr>
              <p:nvPr/>
            </p:nvSpPr>
            <p:spPr bwMode="auto">
              <a:xfrm>
                <a:off x="3882"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8" name="Oval 354"/>
              <p:cNvSpPr>
                <a:spLocks noChangeArrowheads="1"/>
              </p:cNvSpPr>
              <p:nvPr/>
            </p:nvSpPr>
            <p:spPr bwMode="auto">
              <a:xfrm>
                <a:off x="3843"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9" name="Oval 355"/>
              <p:cNvSpPr>
                <a:spLocks noChangeArrowheads="1"/>
              </p:cNvSpPr>
              <p:nvPr/>
            </p:nvSpPr>
            <p:spPr bwMode="auto">
              <a:xfrm>
                <a:off x="3804"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0" name="Oval 356"/>
              <p:cNvSpPr>
                <a:spLocks noChangeArrowheads="1"/>
              </p:cNvSpPr>
              <p:nvPr/>
            </p:nvSpPr>
            <p:spPr bwMode="auto">
              <a:xfrm>
                <a:off x="3766"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1" name="Oval 357"/>
              <p:cNvSpPr>
                <a:spLocks noChangeArrowheads="1"/>
              </p:cNvSpPr>
              <p:nvPr/>
            </p:nvSpPr>
            <p:spPr bwMode="auto">
              <a:xfrm>
                <a:off x="3727"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2" name="Oval 358"/>
              <p:cNvSpPr>
                <a:spLocks noChangeArrowheads="1"/>
              </p:cNvSpPr>
              <p:nvPr/>
            </p:nvSpPr>
            <p:spPr bwMode="auto">
              <a:xfrm>
                <a:off x="3689"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3" name="Oval 359"/>
              <p:cNvSpPr>
                <a:spLocks noChangeArrowheads="1"/>
              </p:cNvSpPr>
              <p:nvPr/>
            </p:nvSpPr>
            <p:spPr bwMode="auto">
              <a:xfrm>
                <a:off x="3650"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4" name="Oval 360"/>
              <p:cNvSpPr>
                <a:spLocks noChangeArrowheads="1"/>
              </p:cNvSpPr>
              <p:nvPr/>
            </p:nvSpPr>
            <p:spPr bwMode="auto">
              <a:xfrm>
                <a:off x="3612"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5" name="Oval 361"/>
              <p:cNvSpPr>
                <a:spLocks noChangeArrowheads="1"/>
              </p:cNvSpPr>
              <p:nvPr/>
            </p:nvSpPr>
            <p:spPr bwMode="auto">
              <a:xfrm>
                <a:off x="3573"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6" name="Oval 362"/>
              <p:cNvSpPr>
                <a:spLocks noChangeArrowheads="1"/>
              </p:cNvSpPr>
              <p:nvPr/>
            </p:nvSpPr>
            <p:spPr bwMode="auto">
              <a:xfrm>
                <a:off x="3535"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7" name="Oval 363"/>
              <p:cNvSpPr>
                <a:spLocks noChangeArrowheads="1"/>
              </p:cNvSpPr>
              <p:nvPr/>
            </p:nvSpPr>
            <p:spPr bwMode="auto">
              <a:xfrm>
                <a:off x="3419"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8" name="Oval 364"/>
              <p:cNvSpPr>
                <a:spLocks noChangeArrowheads="1"/>
              </p:cNvSpPr>
              <p:nvPr/>
            </p:nvSpPr>
            <p:spPr bwMode="auto">
              <a:xfrm>
                <a:off x="3380"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9" name="Oval 365"/>
              <p:cNvSpPr>
                <a:spLocks noChangeArrowheads="1"/>
              </p:cNvSpPr>
              <p:nvPr/>
            </p:nvSpPr>
            <p:spPr bwMode="auto">
              <a:xfrm>
                <a:off x="3342"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0" name="Oval 366"/>
              <p:cNvSpPr>
                <a:spLocks noChangeArrowheads="1"/>
              </p:cNvSpPr>
              <p:nvPr/>
            </p:nvSpPr>
            <p:spPr bwMode="auto">
              <a:xfrm>
                <a:off x="3072"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1" name="Oval 367"/>
              <p:cNvSpPr>
                <a:spLocks noChangeArrowheads="1"/>
              </p:cNvSpPr>
              <p:nvPr/>
            </p:nvSpPr>
            <p:spPr bwMode="auto">
              <a:xfrm>
                <a:off x="3033"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2" name="Oval 368"/>
              <p:cNvSpPr>
                <a:spLocks noChangeArrowheads="1"/>
              </p:cNvSpPr>
              <p:nvPr/>
            </p:nvSpPr>
            <p:spPr bwMode="auto">
              <a:xfrm>
                <a:off x="2262"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3" name="Oval 369"/>
              <p:cNvSpPr>
                <a:spLocks noChangeArrowheads="1"/>
              </p:cNvSpPr>
              <p:nvPr/>
            </p:nvSpPr>
            <p:spPr bwMode="auto">
              <a:xfrm>
                <a:off x="2224"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4" name="Oval 370"/>
              <p:cNvSpPr>
                <a:spLocks noChangeArrowheads="1"/>
              </p:cNvSpPr>
              <p:nvPr/>
            </p:nvSpPr>
            <p:spPr bwMode="auto">
              <a:xfrm>
                <a:off x="2185"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5" name="Oval 371"/>
              <p:cNvSpPr>
                <a:spLocks noChangeArrowheads="1"/>
              </p:cNvSpPr>
              <p:nvPr/>
            </p:nvSpPr>
            <p:spPr bwMode="auto">
              <a:xfrm>
                <a:off x="2147"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6" name="Oval 372"/>
              <p:cNvSpPr>
                <a:spLocks noChangeArrowheads="1"/>
              </p:cNvSpPr>
              <p:nvPr/>
            </p:nvSpPr>
            <p:spPr bwMode="auto">
              <a:xfrm>
                <a:off x="2108"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7" name="Oval 373"/>
              <p:cNvSpPr>
                <a:spLocks noChangeArrowheads="1"/>
              </p:cNvSpPr>
              <p:nvPr/>
            </p:nvSpPr>
            <p:spPr bwMode="auto">
              <a:xfrm>
                <a:off x="2070"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8" name="Oval 374"/>
              <p:cNvSpPr>
                <a:spLocks noChangeArrowheads="1"/>
              </p:cNvSpPr>
              <p:nvPr/>
            </p:nvSpPr>
            <p:spPr bwMode="auto">
              <a:xfrm>
                <a:off x="2031"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9" name="Oval 375"/>
              <p:cNvSpPr>
                <a:spLocks noChangeArrowheads="1"/>
              </p:cNvSpPr>
              <p:nvPr/>
            </p:nvSpPr>
            <p:spPr bwMode="auto">
              <a:xfrm>
                <a:off x="1761"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0" name="Oval 376"/>
              <p:cNvSpPr>
                <a:spLocks noChangeArrowheads="1"/>
              </p:cNvSpPr>
              <p:nvPr/>
            </p:nvSpPr>
            <p:spPr bwMode="auto">
              <a:xfrm>
                <a:off x="1723"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1" name="Oval 377"/>
              <p:cNvSpPr>
                <a:spLocks noChangeArrowheads="1"/>
              </p:cNvSpPr>
              <p:nvPr/>
            </p:nvSpPr>
            <p:spPr bwMode="auto">
              <a:xfrm>
                <a:off x="1684"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2" name="Oval 378"/>
              <p:cNvSpPr>
                <a:spLocks noChangeArrowheads="1"/>
              </p:cNvSpPr>
              <p:nvPr/>
            </p:nvSpPr>
            <p:spPr bwMode="auto">
              <a:xfrm>
                <a:off x="1646"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3" name="Oval 379"/>
              <p:cNvSpPr>
                <a:spLocks noChangeArrowheads="1"/>
              </p:cNvSpPr>
              <p:nvPr/>
            </p:nvSpPr>
            <p:spPr bwMode="auto">
              <a:xfrm>
                <a:off x="1607"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4" name="Oval 380"/>
              <p:cNvSpPr>
                <a:spLocks noChangeArrowheads="1"/>
              </p:cNvSpPr>
              <p:nvPr/>
            </p:nvSpPr>
            <p:spPr bwMode="auto">
              <a:xfrm>
                <a:off x="1569"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5" name="Oval 381"/>
              <p:cNvSpPr>
                <a:spLocks noChangeArrowheads="1"/>
              </p:cNvSpPr>
              <p:nvPr/>
            </p:nvSpPr>
            <p:spPr bwMode="auto">
              <a:xfrm>
                <a:off x="1530"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6" name="Oval 382"/>
              <p:cNvSpPr>
                <a:spLocks noChangeArrowheads="1"/>
              </p:cNvSpPr>
              <p:nvPr/>
            </p:nvSpPr>
            <p:spPr bwMode="auto">
              <a:xfrm>
                <a:off x="1453"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7" name="Oval 383"/>
              <p:cNvSpPr>
                <a:spLocks noChangeArrowheads="1"/>
              </p:cNvSpPr>
              <p:nvPr/>
            </p:nvSpPr>
            <p:spPr bwMode="auto">
              <a:xfrm>
                <a:off x="1414"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8" name="Oval 384"/>
              <p:cNvSpPr>
                <a:spLocks noChangeArrowheads="1"/>
              </p:cNvSpPr>
              <p:nvPr/>
            </p:nvSpPr>
            <p:spPr bwMode="auto">
              <a:xfrm>
                <a:off x="1337"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9" name="Oval 385"/>
              <p:cNvSpPr>
                <a:spLocks noChangeArrowheads="1"/>
              </p:cNvSpPr>
              <p:nvPr/>
            </p:nvSpPr>
            <p:spPr bwMode="auto">
              <a:xfrm>
                <a:off x="1299"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0" name="Oval 386"/>
              <p:cNvSpPr>
                <a:spLocks noChangeArrowheads="1"/>
              </p:cNvSpPr>
              <p:nvPr/>
            </p:nvSpPr>
            <p:spPr bwMode="auto">
              <a:xfrm>
                <a:off x="1260"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1" name="Oval 387"/>
              <p:cNvSpPr>
                <a:spLocks noChangeArrowheads="1"/>
              </p:cNvSpPr>
              <p:nvPr/>
            </p:nvSpPr>
            <p:spPr bwMode="auto">
              <a:xfrm>
                <a:off x="1222" y="1084"/>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2" name="Oval 388"/>
              <p:cNvSpPr>
                <a:spLocks noChangeArrowheads="1"/>
              </p:cNvSpPr>
              <p:nvPr/>
            </p:nvSpPr>
            <p:spPr bwMode="auto">
              <a:xfrm>
                <a:off x="1183"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3" name="Oval 389"/>
              <p:cNvSpPr>
                <a:spLocks noChangeArrowheads="1"/>
              </p:cNvSpPr>
              <p:nvPr/>
            </p:nvSpPr>
            <p:spPr bwMode="auto">
              <a:xfrm>
                <a:off x="1144"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4" name="Oval 390"/>
              <p:cNvSpPr>
                <a:spLocks noChangeArrowheads="1"/>
              </p:cNvSpPr>
              <p:nvPr/>
            </p:nvSpPr>
            <p:spPr bwMode="auto">
              <a:xfrm>
                <a:off x="1106"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5" name="Oval 391"/>
              <p:cNvSpPr>
                <a:spLocks noChangeArrowheads="1"/>
              </p:cNvSpPr>
              <p:nvPr/>
            </p:nvSpPr>
            <p:spPr bwMode="auto">
              <a:xfrm>
                <a:off x="1067"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6" name="Oval 392"/>
              <p:cNvSpPr>
                <a:spLocks noChangeArrowheads="1"/>
              </p:cNvSpPr>
              <p:nvPr/>
            </p:nvSpPr>
            <p:spPr bwMode="auto">
              <a:xfrm>
                <a:off x="682"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7" name="Oval 393"/>
              <p:cNvSpPr>
                <a:spLocks noChangeArrowheads="1"/>
              </p:cNvSpPr>
              <p:nvPr/>
            </p:nvSpPr>
            <p:spPr bwMode="auto">
              <a:xfrm>
                <a:off x="643" y="1084"/>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8" name="Freeform 394"/>
              <p:cNvSpPr>
                <a:spLocks/>
              </p:cNvSpPr>
              <p:nvPr/>
            </p:nvSpPr>
            <p:spPr bwMode="auto">
              <a:xfrm>
                <a:off x="4961" y="1122"/>
                <a:ext cx="28"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3" y="0"/>
                      <a:pt x="159" y="36"/>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9" name="Freeform 395"/>
              <p:cNvSpPr>
                <a:spLocks/>
              </p:cNvSpPr>
              <p:nvPr/>
            </p:nvSpPr>
            <p:spPr bwMode="auto">
              <a:xfrm>
                <a:off x="4922"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0" name="Freeform 396"/>
              <p:cNvSpPr>
                <a:spLocks/>
              </p:cNvSpPr>
              <p:nvPr/>
            </p:nvSpPr>
            <p:spPr bwMode="auto">
              <a:xfrm>
                <a:off x="4884"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1" name="Freeform 397"/>
              <p:cNvSpPr>
                <a:spLocks/>
              </p:cNvSpPr>
              <p:nvPr/>
            </p:nvSpPr>
            <p:spPr bwMode="auto">
              <a:xfrm>
                <a:off x="4845"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2" name="Freeform 398"/>
              <p:cNvSpPr>
                <a:spLocks/>
              </p:cNvSpPr>
              <p:nvPr/>
            </p:nvSpPr>
            <p:spPr bwMode="auto">
              <a:xfrm>
                <a:off x="4807" y="1122"/>
                <a:ext cx="27"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5" y="159"/>
                      <a:pt x="0" y="124"/>
                      <a:pt x="0" y="80"/>
                    </a:cubicBezTo>
                    <a:cubicBezTo>
                      <a:pt x="0" y="35"/>
                      <a:pt x="35"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3" name="Freeform 399"/>
              <p:cNvSpPr>
                <a:spLocks/>
              </p:cNvSpPr>
              <p:nvPr/>
            </p:nvSpPr>
            <p:spPr bwMode="auto">
              <a:xfrm>
                <a:off x="4768" y="1122"/>
                <a:ext cx="28"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3" y="0"/>
                      <a:pt x="159" y="36"/>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4" name="Freeform 400"/>
              <p:cNvSpPr>
                <a:spLocks/>
              </p:cNvSpPr>
              <p:nvPr/>
            </p:nvSpPr>
            <p:spPr bwMode="auto">
              <a:xfrm>
                <a:off x="4730"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5" name="Freeform 401"/>
              <p:cNvSpPr>
                <a:spLocks/>
              </p:cNvSpPr>
              <p:nvPr/>
            </p:nvSpPr>
            <p:spPr bwMode="auto">
              <a:xfrm>
                <a:off x="4691"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6" name="Freeform 402"/>
              <p:cNvSpPr>
                <a:spLocks/>
              </p:cNvSpPr>
              <p:nvPr/>
            </p:nvSpPr>
            <p:spPr bwMode="auto">
              <a:xfrm>
                <a:off x="4653"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7" name="Freeform 403"/>
              <p:cNvSpPr>
                <a:spLocks/>
              </p:cNvSpPr>
              <p:nvPr/>
            </p:nvSpPr>
            <p:spPr bwMode="auto">
              <a:xfrm>
                <a:off x="4614" y="1122"/>
                <a:ext cx="28"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5" y="159"/>
                      <a:pt x="0" y="124"/>
                      <a:pt x="0" y="80"/>
                    </a:cubicBezTo>
                    <a:cubicBezTo>
                      <a:pt x="0" y="35"/>
                      <a:pt x="35"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8" name="Freeform 404"/>
              <p:cNvSpPr>
                <a:spLocks/>
              </p:cNvSpPr>
              <p:nvPr/>
            </p:nvSpPr>
            <p:spPr bwMode="auto">
              <a:xfrm>
                <a:off x="4576" y="1122"/>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3" y="0"/>
                      <a:pt x="159" y="36"/>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9" name="Freeform 405"/>
              <p:cNvSpPr>
                <a:spLocks/>
              </p:cNvSpPr>
              <p:nvPr/>
            </p:nvSpPr>
            <p:spPr bwMode="auto">
              <a:xfrm>
                <a:off x="4537"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0" name="Freeform 406"/>
              <p:cNvSpPr>
                <a:spLocks/>
              </p:cNvSpPr>
              <p:nvPr/>
            </p:nvSpPr>
            <p:spPr bwMode="auto">
              <a:xfrm>
                <a:off x="4498"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1" name="Freeform 407"/>
              <p:cNvSpPr>
                <a:spLocks/>
              </p:cNvSpPr>
              <p:nvPr/>
            </p:nvSpPr>
            <p:spPr bwMode="auto">
              <a:xfrm>
                <a:off x="4460"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2" name="Freeform 408"/>
              <p:cNvSpPr>
                <a:spLocks/>
              </p:cNvSpPr>
              <p:nvPr/>
            </p:nvSpPr>
            <p:spPr bwMode="auto">
              <a:xfrm>
                <a:off x="4421" y="1122"/>
                <a:ext cx="28"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5" y="159"/>
                      <a:pt x="0" y="124"/>
                      <a:pt x="0" y="80"/>
                    </a:cubicBezTo>
                    <a:cubicBezTo>
                      <a:pt x="0" y="35"/>
                      <a:pt x="35"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3" name="Freeform 409"/>
              <p:cNvSpPr>
                <a:spLocks/>
              </p:cNvSpPr>
              <p:nvPr/>
            </p:nvSpPr>
            <p:spPr bwMode="auto">
              <a:xfrm>
                <a:off x="4383"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4" name="Freeform 410"/>
              <p:cNvSpPr>
                <a:spLocks/>
              </p:cNvSpPr>
              <p:nvPr/>
            </p:nvSpPr>
            <p:spPr bwMode="auto">
              <a:xfrm>
                <a:off x="4344"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5" name="Freeform 411"/>
              <p:cNvSpPr>
                <a:spLocks/>
              </p:cNvSpPr>
              <p:nvPr/>
            </p:nvSpPr>
            <p:spPr bwMode="auto">
              <a:xfrm>
                <a:off x="4306"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 name="Group 613"/>
            <p:cNvGrpSpPr>
              <a:grpSpLocks/>
            </p:cNvGrpSpPr>
            <p:nvPr/>
          </p:nvGrpSpPr>
          <p:grpSpPr bwMode="auto">
            <a:xfrm>
              <a:off x="528" y="1122"/>
              <a:ext cx="4615" cy="105"/>
              <a:chOff x="528" y="1122"/>
              <a:chExt cx="4615" cy="105"/>
            </a:xfrm>
            <a:grpFill/>
          </p:grpSpPr>
          <p:sp>
            <p:nvSpPr>
              <p:cNvPr id="2016" name="Freeform 413"/>
              <p:cNvSpPr>
                <a:spLocks/>
              </p:cNvSpPr>
              <p:nvPr/>
            </p:nvSpPr>
            <p:spPr bwMode="auto">
              <a:xfrm>
                <a:off x="4267"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7" name="Freeform 414"/>
              <p:cNvSpPr>
                <a:spLocks/>
              </p:cNvSpPr>
              <p:nvPr/>
            </p:nvSpPr>
            <p:spPr bwMode="auto">
              <a:xfrm>
                <a:off x="4229" y="1122"/>
                <a:ext cx="27" cy="28"/>
              </a:xfrm>
              <a:custGeom>
                <a:avLst/>
                <a:gdLst>
                  <a:gd name="T0" fmla="*/ 80 w 159"/>
                  <a:gd name="T1" fmla="*/ 0 h 159"/>
                  <a:gd name="T2" fmla="*/ 159 w 159"/>
                  <a:gd name="T3" fmla="*/ 80 h 159"/>
                  <a:gd name="T4" fmla="*/ 79 w 159"/>
                  <a:gd name="T5" fmla="*/ 159 h 159"/>
                  <a:gd name="T6" fmla="*/ 0 w 159"/>
                  <a:gd name="T7" fmla="*/ 80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6"/>
                      <a:pt x="159" y="80"/>
                    </a:cubicBezTo>
                    <a:cubicBezTo>
                      <a:pt x="159" y="124"/>
                      <a:pt x="124" y="159"/>
                      <a:pt x="79" y="159"/>
                    </a:cubicBezTo>
                    <a:cubicBezTo>
                      <a:pt x="35" y="159"/>
                      <a:pt x="0" y="124"/>
                      <a:pt x="0" y="80"/>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8" name="Freeform 415"/>
              <p:cNvSpPr>
                <a:spLocks/>
              </p:cNvSpPr>
              <p:nvPr/>
            </p:nvSpPr>
            <p:spPr bwMode="auto">
              <a:xfrm>
                <a:off x="4190"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9" name="Freeform 416"/>
              <p:cNvSpPr>
                <a:spLocks/>
              </p:cNvSpPr>
              <p:nvPr/>
            </p:nvSpPr>
            <p:spPr bwMode="auto">
              <a:xfrm>
                <a:off x="4151"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0" name="Freeform 417"/>
              <p:cNvSpPr>
                <a:spLocks/>
              </p:cNvSpPr>
              <p:nvPr/>
            </p:nvSpPr>
            <p:spPr bwMode="auto">
              <a:xfrm>
                <a:off x="4113"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1" name="Freeform 418"/>
              <p:cNvSpPr>
                <a:spLocks/>
              </p:cNvSpPr>
              <p:nvPr/>
            </p:nvSpPr>
            <p:spPr bwMode="auto">
              <a:xfrm>
                <a:off x="4074"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2" name="Freeform 419"/>
              <p:cNvSpPr>
                <a:spLocks/>
              </p:cNvSpPr>
              <p:nvPr/>
            </p:nvSpPr>
            <p:spPr bwMode="auto">
              <a:xfrm>
                <a:off x="4036" y="1122"/>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4"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3" name="Freeform 420"/>
              <p:cNvSpPr>
                <a:spLocks/>
              </p:cNvSpPr>
              <p:nvPr/>
            </p:nvSpPr>
            <p:spPr bwMode="auto">
              <a:xfrm>
                <a:off x="3997"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4" name="Freeform 421"/>
              <p:cNvSpPr>
                <a:spLocks/>
              </p:cNvSpPr>
              <p:nvPr/>
            </p:nvSpPr>
            <p:spPr bwMode="auto">
              <a:xfrm>
                <a:off x="3959"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5" name="Freeform 422"/>
              <p:cNvSpPr>
                <a:spLocks/>
              </p:cNvSpPr>
              <p:nvPr/>
            </p:nvSpPr>
            <p:spPr bwMode="auto">
              <a:xfrm>
                <a:off x="3920"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6" name="Freeform 423"/>
              <p:cNvSpPr>
                <a:spLocks/>
              </p:cNvSpPr>
              <p:nvPr/>
            </p:nvSpPr>
            <p:spPr bwMode="auto">
              <a:xfrm>
                <a:off x="3882" y="1122"/>
                <a:ext cx="27"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7" name="Freeform 424"/>
              <p:cNvSpPr>
                <a:spLocks/>
              </p:cNvSpPr>
              <p:nvPr/>
            </p:nvSpPr>
            <p:spPr bwMode="auto">
              <a:xfrm>
                <a:off x="3843" y="1122"/>
                <a:ext cx="28"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4"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8" name="Freeform 425"/>
              <p:cNvSpPr>
                <a:spLocks/>
              </p:cNvSpPr>
              <p:nvPr/>
            </p:nvSpPr>
            <p:spPr bwMode="auto">
              <a:xfrm>
                <a:off x="3804"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9" name="Freeform 426"/>
              <p:cNvSpPr>
                <a:spLocks/>
              </p:cNvSpPr>
              <p:nvPr/>
            </p:nvSpPr>
            <p:spPr bwMode="auto">
              <a:xfrm>
                <a:off x="3766"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0" name="Freeform 427"/>
              <p:cNvSpPr>
                <a:spLocks/>
              </p:cNvSpPr>
              <p:nvPr/>
            </p:nvSpPr>
            <p:spPr bwMode="auto">
              <a:xfrm>
                <a:off x="3727"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1" name="Freeform 428"/>
              <p:cNvSpPr>
                <a:spLocks/>
              </p:cNvSpPr>
              <p:nvPr/>
            </p:nvSpPr>
            <p:spPr bwMode="auto">
              <a:xfrm>
                <a:off x="3689"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2" name="Freeform 429"/>
              <p:cNvSpPr>
                <a:spLocks/>
              </p:cNvSpPr>
              <p:nvPr/>
            </p:nvSpPr>
            <p:spPr bwMode="auto">
              <a:xfrm>
                <a:off x="3650" y="1122"/>
                <a:ext cx="28"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4"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3" name="Freeform 430"/>
              <p:cNvSpPr>
                <a:spLocks/>
              </p:cNvSpPr>
              <p:nvPr/>
            </p:nvSpPr>
            <p:spPr bwMode="auto">
              <a:xfrm>
                <a:off x="3612"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4" name="Freeform 431"/>
              <p:cNvSpPr>
                <a:spLocks/>
              </p:cNvSpPr>
              <p:nvPr/>
            </p:nvSpPr>
            <p:spPr bwMode="auto">
              <a:xfrm>
                <a:off x="3573"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5" name="Freeform 432"/>
              <p:cNvSpPr>
                <a:spLocks/>
              </p:cNvSpPr>
              <p:nvPr/>
            </p:nvSpPr>
            <p:spPr bwMode="auto">
              <a:xfrm>
                <a:off x="3535"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6" name="Freeform 433"/>
              <p:cNvSpPr>
                <a:spLocks/>
              </p:cNvSpPr>
              <p:nvPr/>
            </p:nvSpPr>
            <p:spPr bwMode="auto">
              <a:xfrm>
                <a:off x="3496" y="1122"/>
                <a:ext cx="28"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7" name="Freeform 434"/>
              <p:cNvSpPr>
                <a:spLocks/>
              </p:cNvSpPr>
              <p:nvPr/>
            </p:nvSpPr>
            <p:spPr bwMode="auto">
              <a:xfrm>
                <a:off x="3458" y="1122"/>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4"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8" name="Freeform 435"/>
              <p:cNvSpPr>
                <a:spLocks/>
              </p:cNvSpPr>
              <p:nvPr/>
            </p:nvSpPr>
            <p:spPr bwMode="auto">
              <a:xfrm>
                <a:off x="3303" y="1122"/>
                <a:ext cx="28"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9" name="Freeform 436"/>
              <p:cNvSpPr>
                <a:spLocks/>
              </p:cNvSpPr>
              <p:nvPr/>
            </p:nvSpPr>
            <p:spPr bwMode="auto">
              <a:xfrm>
                <a:off x="3072" y="1122"/>
                <a:ext cx="28"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3" y="0"/>
                      <a:pt x="159" y="36"/>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0" name="Freeform 437"/>
              <p:cNvSpPr>
                <a:spLocks/>
              </p:cNvSpPr>
              <p:nvPr/>
            </p:nvSpPr>
            <p:spPr bwMode="auto">
              <a:xfrm>
                <a:off x="3033"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1" name="Freeform 438"/>
              <p:cNvSpPr>
                <a:spLocks/>
              </p:cNvSpPr>
              <p:nvPr/>
            </p:nvSpPr>
            <p:spPr bwMode="auto">
              <a:xfrm>
                <a:off x="2995"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2" name="Freeform 439"/>
              <p:cNvSpPr>
                <a:spLocks/>
              </p:cNvSpPr>
              <p:nvPr/>
            </p:nvSpPr>
            <p:spPr bwMode="auto">
              <a:xfrm>
                <a:off x="2956"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3" name="Freeform 440"/>
              <p:cNvSpPr>
                <a:spLocks/>
              </p:cNvSpPr>
              <p:nvPr/>
            </p:nvSpPr>
            <p:spPr bwMode="auto">
              <a:xfrm>
                <a:off x="2918" y="1122"/>
                <a:ext cx="27"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5" y="159"/>
                      <a:pt x="0" y="124"/>
                      <a:pt x="0" y="80"/>
                    </a:cubicBezTo>
                    <a:cubicBezTo>
                      <a:pt x="0" y="35"/>
                      <a:pt x="35"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4" name="Freeform 441"/>
              <p:cNvSpPr>
                <a:spLocks/>
              </p:cNvSpPr>
              <p:nvPr/>
            </p:nvSpPr>
            <p:spPr bwMode="auto">
              <a:xfrm>
                <a:off x="2185"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5" name="Freeform 442"/>
              <p:cNvSpPr>
                <a:spLocks/>
              </p:cNvSpPr>
              <p:nvPr/>
            </p:nvSpPr>
            <p:spPr bwMode="auto">
              <a:xfrm>
                <a:off x="2147" y="1122"/>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4"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6" name="Freeform 443"/>
              <p:cNvSpPr>
                <a:spLocks/>
              </p:cNvSpPr>
              <p:nvPr/>
            </p:nvSpPr>
            <p:spPr bwMode="auto">
              <a:xfrm>
                <a:off x="2108"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7" name="Freeform 444"/>
              <p:cNvSpPr>
                <a:spLocks/>
              </p:cNvSpPr>
              <p:nvPr/>
            </p:nvSpPr>
            <p:spPr bwMode="auto">
              <a:xfrm>
                <a:off x="2070"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8" name="Freeform 445"/>
              <p:cNvSpPr>
                <a:spLocks/>
              </p:cNvSpPr>
              <p:nvPr/>
            </p:nvSpPr>
            <p:spPr bwMode="auto">
              <a:xfrm>
                <a:off x="1800" y="1122"/>
                <a:ext cx="28" cy="28"/>
              </a:xfrm>
              <a:custGeom>
                <a:avLst/>
                <a:gdLst>
                  <a:gd name="T0" fmla="*/ 80 w 160"/>
                  <a:gd name="T1" fmla="*/ 0 h 159"/>
                  <a:gd name="T2" fmla="*/ 159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6"/>
                      <a:pt x="159"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9" name="Freeform 446"/>
              <p:cNvSpPr>
                <a:spLocks/>
              </p:cNvSpPr>
              <p:nvPr/>
            </p:nvSpPr>
            <p:spPr bwMode="auto">
              <a:xfrm>
                <a:off x="1761" y="1122"/>
                <a:ext cx="28"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4"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0" name="Freeform 447"/>
              <p:cNvSpPr>
                <a:spLocks/>
              </p:cNvSpPr>
              <p:nvPr/>
            </p:nvSpPr>
            <p:spPr bwMode="auto">
              <a:xfrm>
                <a:off x="1723"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1" name="Freeform 448"/>
              <p:cNvSpPr>
                <a:spLocks/>
              </p:cNvSpPr>
              <p:nvPr/>
            </p:nvSpPr>
            <p:spPr bwMode="auto">
              <a:xfrm>
                <a:off x="1684"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2" name="Freeform 449"/>
              <p:cNvSpPr>
                <a:spLocks/>
              </p:cNvSpPr>
              <p:nvPr/>
            </p:nvSpPr>
            <p:spPr bwMode="auto">
              <a:xfrm>
                <a:off x="1646"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3" name="Freeform 450"/>
              <p:cNvSpPr>
                <a:spLocks/>
              </p:cNvSpPr>
              <p:nvPr/>
            </p:nvSpPr>
            <p:spPr bwMode="auto">
              <a:xfrm>
                <a:off x="1607" y="1122"/>
                <a:ext cx="28"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4" name="Freeform 451"/>
              <p:cNvSpPr>
                <a:spLocks/>
              </p:cNvSpPr>
              <p:nvPr/>
            </p:nvSpPr>
            <p:spPr bwMode="auto">
              <a:xfrm>
                <a:off x="1569" y="1122"/>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4"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5" name="Freeform 452"/>
              <p:cNvSpPr>
                <a:spLocks/>
              </p:cNvSpPr>
              <p:nvPr/>
            </p:nvSpPr>
            <p:spPr bwMode="auto">
              <a:xfrm>
                <a:off x="1491"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6" name="Freeform 453"/>
              <p:cNvSpPr>
                <a:spLocks/>
              </p:cNvSpPr>
              <p:nvPr/>
            </p:nvSpPr>
            <p:spPr bwMode="auto">
              <a:xfrm>
                <a:off x="1453"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7" name="Freeform 454"/>
              <p:cNvSpPr>
                <a:spLocks/>
              </p:cNvSpPr>
              <p:nvPr/>
            </p:nvSpPr>
            <p:spPr bwMode="auto">
              <a:xfrm>
                <a:off x="1414" y="1122"/>
                <a:ext cx="28"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5" y="159"/>
                      <a:pt x="0" y="124"/>
                      <a:pt x="0" y="80"/>
                    </a:cubicBezTo>
                    <a:cubicBezTo>
                      <a:pt x="0" y="35"/>
                      <a:pt x="35"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8" name="Freeform 455"/>
              <p:cNvSpPr>
                <a:spLocks/>
              </p:cNvSpPr>
              <p:nvPr/>
            </p:nvSpPr>
            <p:spPr bwMode="auto">
              <a:xfrm>
                <a:off x="1376" y="1122"/>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4"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9" name="Freeform 456"/>
              <p:cNvSpPr>
                <a:spLocks/>
              </p:cNvSpPr>
              <p:nvPr/>
            </p:nvSpPr>
            <p:spPr bwMode="auto">
              <a:xfrm>
                <a:off x="1337"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0" name="Freeform 457"/>
              <p:cNvSpPr>
                <a:spLocks/>
              </p:cNvSpPr>
              <p:nvPr/>
            </p:nvSpPr>
            <p:spPr bwMode="auto">
              <a:xfrm>
                <a:off x="1299"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1" name="Freeform 458"/>
              <p:cNvSpPr>
                <a:spLocks/>
              </p:cNvSpPr>
              <p:nvPr/>
            </p:nvSpPr>
            <p:spPr bwMode="auto">
              <a:xfrm>
                <a:off x="1260"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2" name="Freeform 459"/>
              <p:cNvSpPr>
                <a:spLocks/>
              </p:cNvSpPr>
              <p:nvPr/>
            </p:nvSpPr>
            <p:spPr bwMode="auto">
              <a:xfrm>
                <a:off x="1222" y="1122"/>
                <a:ext cx="27"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3" name="Freeform 460"/>
              <p:cNvSpPr>
                <a:spLocks/>
              </p:cNvSpPr>
              <p:nvPr/>
            </p:nvSpPr>
            <p:spPr bwMode="auto">
              <a:xfrm>
                <a:off x="1183" y="1122"/>
                <a:ext cx="28"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3" y="0"/>
                      <a:pt x="159" y="36"/>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4" name="Freeform 461"/>
              <p:cNvSpPr>
                <a:spLocks/>
              </p:cNvSpPr>
              <p:nvPr/>
            </p:nvSpPr>
            <p:spPr bwMode="auto">
              <a:xfrm>
                <a:off x="1106"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5" name="Freeform 462"/>
              <p:cNvSpPr>
                <a:spLocks/>
              </p:cNvSpPr>
              <p:nvPr/>
            </p:nvSpPr>
            <p:spPr bwMode="auto">
              <a:xfrm>
                <a:off x="1067"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6" name="Freeform 463"/>
              <p:cNvSpPr>
                <a:spLocks/>
              </p:cNvSpPr>
              <p:nvPr/>
            </p:nvSpPr>
            <p:spPr bwMode="auto">
              <a:xfrm>
                <a:off x="1029" y="1122"/>
                <a:ext cx="27"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5" y="159"/>
                      <a:pt x="0" y="124"/>
                      <a:pt x="0" y="80"/>
                    </a:cubicBezTo>
                    <a:cubicBezTo>
                      <a:pt x="0" y="35"/>
                      <a:pt x="35"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7" name="Freeform 464"/>
              <p:cNvSpPr>
                <a:spLocks/>
              </p:cNvSpPr>
              <p:nvPr/>
            </p:nvSpPr>
            <p:spPr bwMode="auto">
              <a:xfrm>
                <a:off x="990" y="1122"/>
                <a:ext cx="28"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3" y="0"/>
                      <a:pt x="159" y="36"/>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8" name="Freeform 465"/>
              <p:cNvSpPr>
                <a:spLocks/>
              </p:cNvSpPr>
              <p:nvPr/>
            </p:nvSpPr>
            <p:spPr bwMode="auto">
              <a:xfrm>
                <a:off x="875" y="1122"/>
                <a:ext cx="27"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9" name="Freeform 466"/>
              <p:cNvSpPr>
                <a:spLocks/>
              </p:cNvSpPr>
              <p:nvPr/>
            </p:nvSpPr>
            <p:spPr bwMode="auto">
              <a:xfrm>
                <a:off x="836" y="1122"/>
                <a:ext cx="28"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5" y="159"/>
                      <a:pt x="0" y="124"/>
                      <a:pt x="0" y="80"/>
                    </a:cubicBezTo>
                    <a:cubicBezTo>
                      <a:pt x="0" y="35"/>
                      <a:pt x="35"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0" name="Freeform 467"/>
              <p:cNvSpPr>
                <a:spLocks/>
              </p:cNvSpPr>
              <p:nvPr/>
            </p:nvSpPr>
            <p:spPr bwMode="auto">
              <a:xfrm>
                <a:off x="798" y="1122"/>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3" y="0"/>
                      <a:pt x="159" y="36"/>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1" name="Freeform 468"/>
              <p:cNvSpPr>
                <a:spLocks/>
              </p:cNvSpPr>
              <p:nvPr/>
            </p:nvSpPr>
            <p:spPr bwMode="auto">
              <a:xfrm>
                <a:off x="759"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2" name="Freeform 469"/>
              <p:cNvSpPr>
                <a:spLocks/>
              </p:cNvSpPr>
              <p:nvPr/>
            </p:nvSpPr>
            <p:spPr bwMode="auto">
              <a:xfrm>
                <a:off x="720"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3" name="Freeform 470"/>
              <p:cNvSpPr>
                <a:spLocks/>
              </p:cNvSpPr>
              <p:nvPr/>
            </p:nvSpPr>
            <p:spPr bwMode="auto">
              <a:xfrm>
                <a:off x="682" y="1122"/>
                <a:ext cx="28" cy="28"/>
              </a:xfrm>
              <a:custGeom>
                <a:avLst/>
                <a:gdLst>
                  <a:gd name="T0" fmla="*/ 80 w 160"/>
                  <a:gd name="T1" fmla="*/ 0 h 159"/>
                  <a:gd name="T2" fmla="*/ 160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60" y="36"/>
                      <a:pt x="160"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4" name="Freeform 471"/>
              <p:cNvSpPr>
                <a:spLocks/>
              </p:cNvSpPr>
              <p:nvPr/>
            </p:nvSpPr>
            <p:spPr bwMode="auto">
              <a:xfrm>
                <a:off x="643" y="1122"/>
                <a:ext cx="28" cy="28"/>
              </a:xfrm>
              <a:custGeom>
                <a:avLst/>
                <a:gdLst>
                  <a:gd name="T0" fmla="*/ 80 w 159"/>
                  <a:gd name="T1" fmla="*/ 0 h 159"/>
                  <a:gd name="T2" fmla="*/ 159 w 159"/>
                  <a:gd name="T3" fmla="*/ 80 h 159"/>
                  <a:gd name="T4" fmla="*/ 80 w 159"/>
                  <a:gd name="T5" fmla="*/ 159 h 159"/>
                  <a:gd name="T6" fmla="*/ 0 w 159"/>
                  <a:gd name="T7" fmla="*/ 80 h 159"/>
                  <a:gd name="T8" fmla="*/ 80 w 159"/>
                  <a:gd name="T9" fmla="*/ 0 h 159"/>
                </a:gdLst>
                <a:ahLst/>
                <a:cxnLst>
                  <a:cxn ang="0">
                    <a:pos x="T0" y="T1"/>
                  </a:cxn>
                  <a:cxn ang="0">
                    <a:pos x="T2" y="T3"/>
                  </a:cxn>
                  <a:cxn ang="0">
                    <a:pos x="T4" y="T5"/>
                  </a:cxn>
                  <a:cxn ang="0">
                    <a:pos x="T6" y="T7"/>
                  </a:cxn>
                  <a:cxn ang="0">
                    <a:pos x="T8" y="T9"/>
                  </a:cxn>
                </a:cxnLst>
                <a:rect l="0" t="0" r="r" b="b"/>
                <a:pathLst>
                  <a:path w="159" h="159">
                    <a:moveTo>
                      <a:pt x="80" y="0"/>
                    </a:moveTo>
                    <a:cubicBezTo>
                      <a:pt x="124" y="0"/>
                      <a:pt x="159" y="36"/>
                      <a:pt x="159" y="80"/>
                    </a:cubicBezTo>
                    <a:cubicBezTo>
                      <a:pt x="159" y="124"/>
                      <a:pt x="124" y="159"/>
                      <a:pt x="80" y="159"/>
                    </a:cubicBezTo>
                    <a:cubicBezTo>
                      <a:pt x="35" y="159"/>
                      <a:pt x="0" y="124"/>
                      <a:pt x="0" y="80"/>
                    </a:cubicBezTo>
                    <a:cubicBezTo>
                      <a:pt x="0" y="35"/>
                      <a:pt x="35"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5" name="Freeform 472"/>
              <p:cNvSpPr>
                <a:spLocks/>
              </p:cNvSpPr>
              <p:nvPr/>
            </p:nvSpPr>
            <p:spPr bwMode="auto">
              <a:xfrm>
                <a:off x="605" y="1122"/>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3" y="0"/>
                      <a:pt x="159" y="36"/>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6" name="Oval 473"/>
              <p:cNvSpPr>
                <a:spLocks noChangeArrowheads="1"/>
              </p:cNvSpPr>
              <p:nvPr/>
            </p:nvSpPr>
            <p:spPr bwMode="auto">
              <a:xfrm>
                <a:off x="5038"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7" name="Oval 474"/>
              <p:cNvSpPr>
                <a:spLocks noChangeArrowheads="1"/>
              </p:cNvSpPr>
              <p:nvPr/>
            </p:nvSpPr>
            <p:spPr bwMode="auto">
              <a:xfrm>
                <a:off x="5000"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8" name="Oval 475"/>
              <p:cNvSpPr>
                <a:spLocks noChangeArrowheads="1"/>
              </p:cNvSpPr>
              <p:nvPr/>
            </p:nvSpPr>
            <p:spPr bwMode="auto">
              <a:xfrm>
                <a:off x="4961"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9" name="Oval 476"/>
              <p:cNvSpPr>
                <a:spLocks noChangeArrowheads="1"/>
              </p:cNvSpPr>
              <p:nvPr/>
            </p:nvSpPr>
            <p:spPr bwMode="auto">
              <a:xfrm>
                <a:off x="4922"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0" name="Oval 477"/>
              <p:cNvSpPr>
                <a:spLocks noChangeArrowheads="1"/>
              </p:cNvSpPr>
              <p:nvPr/>
            </p:nvSpPr>
            <p:spPr bwMode="auto">
              <a:xfrm>
                <a:off x="4884"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1" name="Oval 478"/>
              <p:cNvSpPr>
                <a:spLocks noChangeArrowheads="1"/>
              </p:cNvSpPr>
              <p:nvPr/>
            </p:nvSpPr>
            <p:spPr bwMode="auto">
              <a:xfrm>
                <a:off x="4845"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2" name="Oval 479"/>
              <p:cNvSpPr>
                <a:spLocks noChangeArrowheads="1"/>
              </p:cNvSpPr>
              <p:nvPr/>
            </p:nvSpPr>
            <p:spPr bwMode="auto">
              <a:xfrm>
                <a:off x="4807"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3" name="Oval 480"/>
              <p:cNvSpPr>
                <a:spLocks noChangeArrowheads="1"/>
              </p:cNvSpPr>
              <p:nvPr/>
            </p:nvSpPr>
            <p:spPr bwMode="auto">
              <a:xfrm>
                <a:off x="4768"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4" name="Oval 481"/>
              <p:cNvSpPr>
                <a:spLocks noChangeArrowheads="1"/>
              </p:cNvSpPr>
              <p:nvPr/>
            </p:nvSpPr>
            <p:spPr bwMode="auto">
              <a:xfrm>
                <a:off x="4730"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5" name="Oval 482"/>
              <p:cNvSpPr>
                <a:spLocks noChangeArrowheads="1"/>
              </p:cNvSpPr>
              <p:nvPr/>
            </p:nvSpPr>
            <p:spPr bwMode="auto">
              <a:xfrm>
                <a:off x="4691"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6" name="Oval 483"/>
              <p:cNvSpPr>
                <a:spLocks noChangeArrowheads="1"/>
              </p:cNvSpPr>
              <p:nvPr/>
            </p:nvSpPr>
            <p:spPr bwMode="auto">
              <a:xfrm>
                <a:off x="4653"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7" name="Oval 484"/>
              <p:cNvSpPr>
                <a:spLocks noChangeArrowheads="1"/>
              </p:cNvSpPr>
              <p:nvPr/>
            </p:nvSpPr>
            <p:spPr bwMode="auto">
              <a:xfrm>
                <a:off x="4614"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8" name="Oval 485"/>
              <p:cNvSpPr>
                <a:spLocks noChangeArrowheads="1"/>
              </p:cNvSpPr>
              <p:nvPr/>
            </p:nvSpPr>
            <p:spPr bwMode="auto">
              <a:xfrm>
                <a:off x="4576"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9" name="Oval 486"/>
              <p:cNvSpPr>
                <a:spLocks noChangeArrowheads="1"/>
              </p:cNvSpPr>
              <p:nvPr/>
            </p:nvSpPr>
            <p:spPr bwMode="auto">
              <a:xfrm>
                <a:off x="4537"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0" name="Oval 487"/>
              <p:cNvSpPr>
                <a:spLocks noChangeArrowheads="1"/>
              </p:cNvSpPr>
              <p:nvPr/>
            </p:nvSpPr>
            <p:spPr bwMode="auto">
              <a:xfrm>
                <a:off x="4498"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1" name="Oval 488"/>
              <p:cNvSpPr>
                <a:spLocks noChangeArrowheads="1"/>
              </p:cNvSpPr>
              <p:nvPr/>
            </p:nvSpPr>
            <p:spPr bwMode="auto">
              <a:xfrm>
                <a:off x="4460"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2" name="Oval 489"/>
              <p:cNvSpPr>
                <a:spLocks noChangeArrowheads="1"/>
              </p:cNvSpPr>
              <p:nvPr/>
            </p:nvSpPr>
            <p:spPr bwMode="auto">
              <a:xfrm>
                <a:off x="4421"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3" name="Oval 490"/>
              <p:cNvSpPr>
                <a:spLocks noChangeArrowheads="1"/>
              </p:cNvSpPr>
              <p:nvPr/>
            </p:nvSpPr>
            <p:spPr bwMode="auto">
              <a:xfrm>
                <a:off x="4383"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4" name="Oval 491"/>
              <p:cNvSpPr>
                <a:spLocks noChangeArrowheads="1"/>
              </p:cNvSpPr>
              <p:nvPr/>
            </p:nvSpPr>
            <p:spPr bwMode="auto">
              <a:xfrm>
                <a:off x="4344"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5" name="Oval 492"/>
              <p:cNvSpPr>
                <a:spLocks noChangeArrowheads="1"/>
              </p:cNvSpPr>
              <p:nvPr/>
            </p:nvSpPr>
            <p:spPr bwMode="auto">
              <a:xfrm>
                <a:off x="4306"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6" name="Oval 493"/>
              <p:cNvSpPr>
                <a:spLocks noChangeArrowheads="1"/>
              </p:cNvSpPr>
              <p:nvPr/>
            </p:nvSpPr>
            <p:spPr bwMode="auto">
              <a:xfrm>
                <a:off x="4267"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7" name="Freeform 494"/>
              <p:cNvSpPr>
                <a:spLocks/>
              </p:cNvSpPr>
              <p:nvPr/>
            </p:nvSpPr>
            <p:spPr bwMode="auto">
              <a:xfrm>
                <a:off x="4229" y="1161"/>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8" name="Oval 495"/>
              <p:cNvSpPr>
                <a:spLocks noChangeArrowheads="1"/>
              </p:cNvSpPr>
              <p:nvPr/>
            </p:nvSpPr>
            <p:spPr bwMode="auto">
              <a:xfrm>
                <a:off x="4190"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9" name="Oval 496"/>
              <p:cNvSpPr>
                <a:spLocks noChangeArrowheads="1"/>
              </p:cNvSpPr>
              <p:nvPr/>
            </p:nvSpPr>
            <p:spPr bwMode="auto">
              <a:xfrm>
                <a:off x="4151"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0" name="Oval 497"/>
              <p:cNvSpPr>
                <a:spLocks noChangeArrowheads="1"/>
              </p:cNvSpPr>
              <p:nvPr/>
            </p:nvSpPr>
            <p:spPr bwMode="auto">
              <a:xfrm>
                <a:off x="4113"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1" name="Oval 498"/>
              <p:cNvSpPr>
                <a:spLocks noChangeArrowheads="1"/>
              </p:cNvSpPr>
              <p:nvPr/>
            </p:nvSpPr>
            <p:spPr bwMode="auto">
              <a:xfrm>
                <a:off x="4074"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2" name="Oval 499"/>
              <p:cNvSpPr>
                <a:spLocks noChangeArrowheads="1"/>
              </p:cNvSpPr>
              <p:nvPr/>
            </p:nvSpPr>
            <p:spPr bwMode="auto">
              <a:xfrm>
                <a:off x="4036"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3" name="Oval 500"/>
              <p:cNvSpPr>
                <a:spLocks noChangeArrowheads="1"/>
              </p:cNvSpPr>
              <p:nvPr/>
            </p:nvSpPr>
            <p:spPr bwMode="auto">
              <a:xfrm>
                <a:off x="3997"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4" name="Oval 501"/>
              <p:cNvSpPr>
                <a:spLocks noChangeArrowheads="1"/>
              </p:cNvSpPr>
              <p:nvPr/>
            </p:nvSpPr>
            <p:spPr bwMode="auto">
              <a:xfrm>
                <a:off x="3959"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5" name="Oval 502"/>
              <p:cNvSpPr>
                <a:spLocks noChangeArrowheads="1"/>
              </p:cNvSpPr>
              <p:nvPr/>
            </p:nvSpPr>
            <p:spPr bwMode="auto">
              <a:xfrm>
                <a:off x="3920"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6" name="Oval 503"/>
              <p:cNvSpPr>
                <a:spLocks noChangeArrowheads="1"/>
              </p:cNvSpPr>
              <p:nvPr/>
            </p:nvSpPr>
            <p:spPr bwMode="auto">
              <a:xfrm>
                <a:off x="3882"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7" name="Oval 504"/>
              <p:cNvSpPr>
                <a:spLocks noChangeArrowheads="1"/>
              </p:cNvSpPr>
              <p:nvPr/>
            </p:nvSpPr>
            <p:spPr bwMode="auto">
              <a:xfrm>
                <a:off x="3843"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8" name="Oval 505"/>
              <p:cNvSpPr>
                <a:spLocks noChangeArrowheads="1"/>
              </p:cNvSpPr>
              <p:nvPr/>
            </p:nvSpPr>
            <p:spPr bwMode="auto">
              <a:xfrm>
                <a:off x="3804"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9" name="Oval 506"/>
              <p:cNvSpPr>
                <a:spLocks noChangeArrowheads="1"/>
              </p:cNvSpPr>
              <p:nvPr/>
            </p:nvSpPr>
            <p:spPr bwMode="auto">
              <a:xfrm>
                <a:off x="3766"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0" name="Oval 507"/>
              <p:cNvSpPr>
                <a:spLocks noChangeArrowheads="1"/>
              </p:cNvSpPr>
              <p:nvPr/>
            </p:nvSpPr>
            <p:spPr bwMode="auto">
              <a:xfrm>
                <a:off x="3727"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1" name="Oval 508"/>
              <p:cNvSpPr>
                <a:spLocks noChangeArrowheads="1"/>
              </p:cNvSpPr>
              <p:nvPr/>
            </p:nvSpPr>
            <p:spPr bwMode="auto">
              <a:xfrm>
                <a:off x="3689"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2" name="Oval 509"/>
              <p:cNvSpPr>
                <a:spLocks noChangeArrowheads="1"/>
              </p:cNvSpPr>
              <p:nvPr/>
            </p:nvSpPr>
            <p:spPr bwMode="auto">
              <a:xfrm>
                <a:off x="3650"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3" name="Oval 510"/>
              <p:cNvSpPr>
                <a:spLocks noChangeArrowheads="1"/>
              </p:cNvSpPr>
              <p:nvPr/>
            </p:nvSpPr>
            <p:spPr bwMode="auto">
              <a:xfrm>
                <a:off x="3612"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4" name="Oval 511"/>
              <p:cNvSpPr>
                <a:spLocks noChangeArrowheads="1"/>
              </p:cNvSpPr>
              <p:nvPr/>
            </p:nvSpPr>
            <p:spPr bwMode="auto">
              <a:xfrm>
                <a:off x="3573"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5" name="Oval 512"/>
              <p:cNvSpPr>
                <a:spLocks noChangeArrowheads="1"/>
              </p:cNvSpPr>
              <p:nvPr/>
            </p:nvSpPr>
            <p:spPr bwMode="auto">
              <a:xfrm>
                <a:off x="3535"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6" name="Oval 513"/>
              <p:cNvSpPr>
                <a:spLocks noChangeArrowheads="1"/>
              </p:cNvSpPr>
              <p:nvPr/>
            </p:nvSpPr>
            <p:spPr bwMode="auto">
              <a:xfrm>
                <a:off x="3496"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7" name="Oval 514"/>
              <p:cNvSpPr>
                <a:spLocks noChangeArrowheads="1"/>
              </p:cNvSpPr>
              <p:nvPr/>
            </p:nvSpPr>
            <p:spPr bwMode="auto">
              <a:xfrm>
                <a:off x="3458"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8" name="Oval 515"/>
              <p:cNvSpPr>
                <a:spLocks noChangeArrowheads="1"/>
              </p:cNvSpPr>
              <p:nvPr/>
            </p:nvSpPr>
            <p:spPr bwMode="auto">
              <a:xfrm>
                <a:off x="3419"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9" name="Oval 516"/>
              <p:cNvSpPr>
                <a:spLocks noChangeArrowheads="1"/>
              </p:cNvSpPr>
              <p:nvPr/>
            </p:nvSpPr>
            <p:spPr bwMode="auto">
              <a:xfrm>
                <a:off x="3380"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0" name="Oval 517"/>
              <p:cNvSpPr>
                <a:spLocks noChangeArrowheads="1"/>
              </p:cNvSpPr>
              <p:nvPr/>
            </p:nvSpPr>
            <p:spPr bwMode="auto">
              <a:xfrm>
                <a:off x="3342"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1" name="Oval 518"/>
              <p:cNvSpPr>
                <a:spLocks noChangeArrowheads="1"/>
              </p:cNvSpPr>
              <p:nvPr/>
            </p:nvSpPr>
            <p:spPr bwMode="auto">
              <a:xfrm>
                <a:off x="3303"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2" name="Freeform 519"/>
              <p:cNvSpPr>
                <a:spLocks/>
              </p:cNvSpPr>
              <p:nvPr/>
            </p:nvSpPr>
            <p:spPr bwMode="auto">
              <a:xfrm>
                <a:off x="3265" y="1161"/>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3" name="Oval 520"/>
              <p:cNvSpPr>
                <a:spLocks noChangeArrowheads="1"/>
              </p:cNvSpPr>
              <p:nvPr/>
            </p:nvSpPr>
            <p:spPr bwMode="auto">
              <a:xfrm>
                <a:off x="3226"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4" name="Oval 521"/>
              <p:cNvSpPr>
                <a:spLocks noChangeArrowheads="1"/>
              </p:cNvSpPr>
              <p:nvPr/>
            </p:nvSpPr>
            <p:spPr bwMode="auto">
              <a:xfrm>
                <a:off x="3188"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5" name="Oval 522"/>
              <p:cNvSpPr>
                <a:spLocks noChangeArrowheads="1"/>
              </p:cNvSpPr>
              <p:nvPr/>
            </p:nvSpPr>
            <p:spPr bwMode="auto">
              <a:xfrm>
                <a:off x="3149"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6" name="Oval 523"/>
              <p:cNvSpPr>
                <a:spLocks noChangeArrowheads="1"/>
              </p:cNvSpPr>
              <p:nvPr/>
            </p:nvSpPr>
            <p:spPr bwMode="auto">
              <a:xfrm>
                <a:off x="3111"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7" name="Oval 524"/>
              <p:cNvSpPr>
                <a:spLocks noChangeArrowheads="1"/>
              </p:cNvSpPr>
              <p:nvPr/>
            </p:nvSpPr>
            <p:spPr bwMode="auto">
              <a:xfrm>
                <a:off x="3072"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8" name="Oval 525"/>
              <p:cNvSpPr>
                <a:spLocks noChangeArrowheads="1"/>
              </p:cNvSpPr>
              <p:nvPr/>
            </p:nvSpPr>
            <p:spPr bwMode="auto">
              <a:xfrm>
                <a:off x="3033"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9" name="Oval 526"/>
              <p:cNvSpPr>
                <a:spLocks noChangeArrowheads="1"/>
              </p:cNvSpPr>
              <p:nvPr/>
            </p:nvSpPr>
            <p:spPr bwMode="auto">
              <a:xfrm>
                <a:off x="2995"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0" name="Oval 527"/>
              <p:cNvSpPr>
                <a:spLocks noChangeArrowheads="1"/>
              </p:cNvSpPr>
              <p:nvPr/>
            </p:nvSpPr>
            <p:spPr bwMode="auto">
              <a:xfrm>
                <a:off x="2956"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1" name="Oval 528"/>
              <p:cNvSpPr>
                <a:spLocks noChangeArrowheads="1"/>
              </p:cNvSpPr>
              <p:nvPr/>
            </p:nvSpPr>
            <p:spPr bwMode="auto">
              <a:xfrm>
                <a:off x="2918"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2" name="Oval 529"/>
              <p:cNvSpPr>
                <a:spLocks noChangeArrowheads="1"/>
              </p:cNvSpPr>
              <p:nvPr/>
            </p:nvSpPr>
            <p:spPr bwMode="auto">
              <a:xfrm>
                <a:off x="2879"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3" name="Oval 530"/>
              <p:cNvSpPr>
                <a:spLocks noChangeArrowheads="1"/>
              </p:cNvSpPr>
              <p:nvPr/>
            </p:nvSpPr>
            <p:spPr bwMode="auto">
              <a:xfrm>
                <a:off x="2185"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4" name="Oval 531"/>
              <p:cNvSpPr>
                <a:spLocks noChangeArrowheads="1"/>
              </p:cNvSpPr>
              <p:nvPr/>
            </p:nvSpPr>
            <p:spPr bwMode="auto">
              <a:xfrm>
                <a:off x="2147"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5" name="Oval 532"/>
              <p:cNvSpPr>
                <a:spLocks noChangeArrowheads="1"/>
              </p:cNvSpPr>
              <p:nvPr/>
            </p:nvSpPr>
            <p:spPr bwMode="auto">
              <a:xfrm>
                <a:off x="2108"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6" name="Oval 533"/>
              <p:cNvSpPr>
                <a:spLocks noChangeArrowheads="1"/>
              </p:cNvSpPr>
              <p:nvPr/>
            </p:nvSpPr>
            <p:spPr bwMode="auto">
              <a:xfrm>
                <a:off x="2070"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7" name="Oval 534"/>
              <p:cNvSpPr>
                <a:spLocks noChangeArrowheads="1"/>
              </p:cNvSpPr>
              <p:nvPr/>
            </p:nvSpPr>
            <p:spPr bwMode="auto">
              <a:xfrm>
                <a:off x="1838"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8" name="Freeform 535"/>
              <p:cNvSpPr>
                <a:spLocks/>
              </p:cNvSpPr>
              <p:nvPr/>
            </p:nvSpPr>
            <p:spPr bwMode="auto">
              <a:xfrm>
                <a:off x="1800" y="1161"/>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9" name="Oval 536"/>
              <p:cNvSpPr>
                <a:spLocks noChangeArrowheads="1"/>
              </p:cNvSpPr>
              <p:nvPr/>
            </p:nvSpPr>
            <p:spPr bwMode="auto">
              <a:xfrm>
                <a:off x="1761"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0" name="Oval 537"/>
              <p:cNvSpPr>
                <a:spLocks noChangeArrowheads="1"/>
              </p:cNvSpPr>
              <p:nvPr/>
            </p:nvSpPr>
            <p:spPr bwMode="auto">
              <a:xfrm>
                <a:off x="1684"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1" name="Oval 538"/>
              <p:cNvSpPr>
                <a:spLocks noChangeArrowheads="1"/>
              </p:cNvSpPr>
              <p:nvPr/>
            </p:nvSpPr>
            <p:spPr bwMode="auto">
              <a:xfrm>
                <a:off x="1607"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2" name="Oval 539"/>
              <p:cNvSpPr>
                <a:spLocks noChangeArrowheads="1"/>
              </p:cNvSpPr>
              <p:nvPr/>
            </p:nvSpPr>
            <p:spPr bwMode="auto">
              <a:xfrm>
                <a:off x="1569"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3" name="Oval 540"/>
              <p:cNvSpPr>
                <a:spLocks noChangeArrowheads="1"/>
              </p:cNvSpPr>
              <p:nvPr/>
            </p:nvSpPr>
            <p:spPr bwMode="auto">
              <a:xfrm>
                <a:off x="1530"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4" name="Oval 541"/>
              <p:cNvSpPr>
                <a:spLocks noChangeArrowheads="1"/>
              </p:cNvSpPr>
              <p:nvPr/>
            </p:nvSpPr>
            <p:spPr bwMode="auto">
              <a:xfrm>
                <a:off x="1491"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5" name="Oval 542"/>
              <p:cNvSpPr>
                <a:spLocks noChangeArrowheads="1"/>
              </p:cNvSpPr>
              <p:nvPr/>
            </p:nvSpPr>
            <p:spPr bwMode="auto">
              <a:xfrm>
                <a:off x="1453"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6" name="Oval 543"/>
              <p:cNvSpPr>
                <a:spLocks noChangeArrowheads="1"/>
              </p:cNvSpPr>
              <p:nvPr/>
            </p:nvSpPr>
            <p:spPr bwMode="auto">
              <a:xfrm>
                <a:off x="1414"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7" name="Oval 544"/>
              <p:cNvSpPr>
                <a:spLocks noChangeArrowheads="1"/>
              </p:cNvSpPr>
              <p:nvPr/>
            </p:nvSpPr>
            <p:spPr bwMode="auto">
              <a:xfrm>
                <a:off x="1376"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8" name="Oval 545"/>
              <p:cNvSpPr>
                <a:spLocks noChangeArrowheads="1"/>
              </p:cNvSpPr>
              <p:nvPr/>
            </p:nvSpPr>
            <p:spPr bwMode="auto">
              <a:xfrm>
                <a:off x="1337"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9" name="Oval 546"/>
              <p:cNvSpPr>
                <a:spLocks noChangeArrowheads="1"/>
              </p:cNvSpPr>
              <p:nvPr/>
            </p:nvSpPr>
            <p:spPr bwMode="auto">
              <a:xfrm>
                <a:off x="1299"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0" name="Oval 547"/>
              <p:cNvSpPr>
                <a:spLocks noChangeArrowheads="1"/>
              </p:cNvSpPr>
              <p:nvPr/>
            </p:nvSpPr>
            <p:spPr bwMode="auto">
              <a:xfrm>
                <a:off x="1183"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1" name="Oval 548"/>
              <p:cNvSpPr>
                <a:spLocks noChangeArrowheads="1"/>
              </p:cNvSpPr>
              <p:nvPr/>
            </p:nvSpPr>
            <p:spPr bwMode="auto">
              <a:xfrm>
                <a:off x="1144"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2" name="Oval 549"/>
              <p:cNvSpPr>
                <a:spLocks noChangeArrowheads="1"/>
              </p:cNvSpPr>
              <p:nvPr/>
            </p:nvSpPr>
            <p:spPr bwMode="auto">
              <a:xfrm>
                <a:off x="1106"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3" name="Oval 550"/>
              <p:cNvSpPr>
                <a:spLocks noChangeArrowheads="1"/>
              </p:cNvSpPr>
              <p:nvPr/>
            </p:nvSpPr>
            <p:spPr bwMode="auto">
              <a:xfrm>
                <a:off x="1067"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4" name="Oval 551"/>
              <p:cNvSpPr>
                <a:spLocks noChangeArrowheads="1"/>
              </p:cNvSpPr>
              <p:nvPr/>
            </p:nvSpPr>
            <p:spPr bwMode="auto">
              <a:xfrm>
                <a:off x="1029"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5" name="Oval 552"/>
              <p:cNvSpPr>
                <a:spLocks noChangeArrowheads="1"/>
              </p:cNvSpPr>
              <p:nvPr/>
            </p:nvSpPr>
            <p:spPr bwMode="auto">
              <a:xfrm>
                <a:off x="990"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6" name="Oval 553"/>
              <p:cNvSpPr>
                <a:spLocks noChangeArrowheads="1"/>
              </p:cNvSpPr>
              <p:nvPr/>
            </p:nvSpPr>
            <p:spPr bwMode="auto">
              <a:xfrm>
                <a:off x="952"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7" name="Oval 554"/>
              <p:cNvSpPr>
                <a:spLocks noChangeArrowheads="1"/>
              </p:cNvSpPr>
              <p:nvPr/>
            </p:nvSpPr>
            <p:spPr bwMode="auto">
              <a:xfrm>
                <a:off x="913"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8" name="Oval 555"/>
              <p:cNvSpPr>
                <a:spLocks noChangeArrowheads="1"/>
              </p:cNvSpPr>
              <p:nvPr/>
            </p:nvSpPr>
            <p:spPr bwMode="auto">
              <a:xfrm>
                <a:off x="875"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9" name="Oval 556"/>
              <p:cNvSpPr>
                <a:spLocks noChangeArrowheads="1"/>
              </p:cNvSpPr>
              <p:nvPr/>
            </p:nvSpPr>
            <p:spPr bwMode="auto">
              <a:xfrm>
                <a:off x="836"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0" name="Oval 557"/>
              <p:cNvSpPr>
                <a:spLocks noChangeArrowheads="1"/>
              </p:cNvSpPr>
              <p:nvPr/>
            </p:nvSpPr>
            <p:spPr bwMode="auto">
              <a:xfrm>
                <a:off x="798"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1" name="Oval 558"/>
              <p:cNvSpPr>
                <a:spLocks noChangeArrowheads="1"/>
              </p:cNvSpPr>
              <p:nvPr/>
            </p:nvSpPr>
            <p:spPr bwMode="auto">
              <a:xfrm>
                <a:off x="759"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2" name="Oval 559"/>
              <p:cNvSpPr>
                <a:spLocks noChangeArrowheads="1"/>
              </p:cNvSpPr>
              <p:nvPr/>
            </p:nvSpPr>
            <p:spPr bwMode="auto">
              <a:xfrm>
                <a:off x="720"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3" name="Oval 560"/>
              <p:cNvSpPr>
                <a:spLocks noChangeArrowheads="1"/>
              </p:cNvSpPr>
              <p:nvPr/>
            </p:nvSpPr>
            <p:spPr bwMode="auto">
              <a:xfrm>
                <a:off x="682"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4" name="Oval 561"/>
              <p:cNvSpPr>
                <a:spLocks noChangeArrowheads="1"/>
              </p:cNvSpPr>
              <p:nvPr/>
            </p:nvSpPr>
            <p:spPr bwMode="auto">
              <a:xfrm>
                <a:off x="643"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5" name="Oval 562"/>
              <p:cNvSpPr>
                <a:spLocks noChangeArrowheads="1"/>
              </p:cNvSpPr>
              <p:nvPr/>
            </p:nvSpPr>
            <p:spPr bwMode="auto">
              <a:xfrm>
                <a:off x="605"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6" name="Oval 563"/>
              <p:cNvSpPr>
                <a:spLocks noChangeArrowheads="1"/>
              </p:cNvSpPr>
              <p:nvPr/>
            </p:nvSpPr>
            <p:spPr bwMode="auto">
              <a:xfrm>
                <a:off x="566" y="116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7" name="Oval 564"/>
              <p:cNvSpPr>
                <a:spLocks noChangeArrowheads="1"/>
              </p:cNvSpPr>
              <p:nvPr/>
            </p:nvSpPr>
            <p:spPr bwMode="auto">
              <a:xfrm>
                <a:off x="528" y="116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8" name="Oval 565"/>
              <p:cNvSpPr>
                <a:spLocks noChangeArrowheads="1"/>
              </p:cNvSpPr>
              <p:nvPr/>
            </p:nvSpPr>
            <p:spPr bwMode="auto">
              <a:xfrm>
                <a:off x="5115"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9" name="Oval 566"/>
              <p:cNvSpPr>
                <a:spLocks noChangeArrowheads="1"/>
              </p:cNvSpPr>
              <p:nvPr/>
            </p:nvSpPr>
            <p:spPr bwMode="auto">
              <a:xfrm>
                <a:off x="5077"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0" name="Oval 567"/>
              <p:cNvSpPr>
                <a:spLocks noChangeArrowheads="1"/>
              </p:cNvSpPr>
              <p:nvPr/>
            </p:nvSpPr>
            <p:spPr bwMode="auto">
              <a:xfrm>
                <a:off x="5038"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1" name="Oval 568"/>
              <p:cNvSpPr>
                <a:spLocks noChangeArrowheads="1"/>
              </p:cNvSpPr>
              <p:nvPr/>
            </p:nvSpPr>
            <p:spPr bwMode="auto">
              <a:xfrm>
                <a:off x="5000"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2" name="Oval 569"/>
              <p:cNvSpPr>
                <a:spLocks noChangeArrowheads="1"/>
              </p:cNvSpPr>
              <p:nvPr/>
            </p:nvSpPr>
            <p:spPr bwMode="auto">
              <a:xfrm>
                <a:off x="4961"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3" name="Oval 570"/>
              <p:cNvSpPr>
                <a:spLocks noChangeArrowheads="1"/>
              </p:cNvSpPr>
              <p:nvPr/>
            </p:nvSpPr>
            <p:spPr bwMode="auto">
              <a:xfrm>
                <a:off x="4922"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4" name="Oval 571"/>
              <p:cNvSpPr>
                <a:spLocks noChangeArrowheads="1"/>
              </p:cNvSpPr>
              <p:nvPr/>
            </p:nvSpPr>
            <p:spPr bwMode="auto">
              <a:xfrm>
                <a:off x="4884"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5" name="Oval 572"/>
              <p:cNvSpPr>
                <a:spLocks noChangeArrowheads="1"/>
              </p:cNvSpPr>
              <p:nvPr/>
            </p:nvSpPr>
            <p:spPr bwMode="auto">
              <a:xfrm>
                <a:off x="4845"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6" name="Oval 573"/>
              <p:cNvSpPr>
                <a:spLocks noChangeArrowheads="1"/>
              </p:cNvSpPr>
              <p:nvPr/>
            </p:nvSpPr>
            <p:spPr bwMode="auto">
              <a:xfrm>
                <a:off x="4807"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7" name="Oval 574"/>
              <p:cNvSpPr>
                <a:spLocks noChangeArrowheads="1"/>
              </p:cNvSpPr>
              <p:nvPr/>
            </p:nvSpPr>
            <p:spPr bwMode="auto">
              <a:xfrm>
                <a:off x="4768"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8" name="Oval 575"/>
              <p:cNvSpPr>
                <a:spLocks noChangeArrowheads="1"/>
              </p:cNvSpPr>
              <p:nvPr/>
            </p:nvSpPr>
            <p:spPr bwMode="auto">
              <a:xfrm>
                <a:off x="4730"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9" name="Oval 576"/>
              <p:cNvSpPr>
                <a:spLocks noChangeArrowheads="1"/>
              </p:cNvSpPr>
              <p:nvPr/>
            </p:nvSpPr>
            <p:spPr bwMode="auto">
              <a:xfrm>
                <a:off x="4691"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0" name="Oval 577"/>
              <p:cNvSpPr>
                <a:spLocks noChangeArrowheads="1"/>
              </p:cNvSpPr>
              <p:nvPr/>
            </p:nvSpPr>
            <p:spPr bwMode="auto">
              <a:xfrm>
                <a:off x="4653"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1" name="Oval 578"/>
              <p:cNvSpPr>
                <a:spLocks noChangeArrowheads="1"/>
              </p:cNvSpPr>
              <p:nvPr/>
            </p:nvSpPr>
            <p:spPr bwMode="auto">
              <a:xfrm>
                <a:off x="4614"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2" name="Oval 579"/>
              <p:cNvSpPr>
                <a:spLocks noChangeArrowheads="1"/>
              </p:cNvSpPr>
              <p:nvPr/>
            </p:nvSpPr>
            <p:spPr bwMode="auto">
              <a:xfrm>
                <a:off x="4576"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3" name="Oval 580"/>
              <p:cNvSpPr>
                <a:spLocks noChangeArrowheads="1"/>
              </p:cNvSpPr>
              <p:nvPr/>
            </p:nvSpPr>
            <p:spPr bwMode="auto">
              <a:xfrm>
                <a:off x="4537"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4" name="Oval 581"/>
              <p:cNvSpPr>
                <a:spLocks noChangeArrowheads="1"/>
              </p:cNvSpPr>
              <p:nvPr/>
            </p:nvSpPr>
            <p:spPr bwMode="auto">
              <a:xfrm>
                <a:off x="4498"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5" name="Oval 582"/>
              <p:cNvSpPr>
                <a:spLocks noChangeArrowheads="1"/>
              </p:cNvSpPr>
              <p:nvPr/>
            </p:nvSpPr>
            <p:spPr bwMode="auto">
              <a:xfrm>
                <a:off x="4460"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6" name="Oval 583"/>
              <p:cNvSpPr>
                <a:spLocks noChangeArrowheads="1"/>
              </p:cNvSpPr>
              <p:nvPr/>
            </p:nvSpPr>
            <p:spPr bwMode="auto">
              <a:xfrm>
                <a:off x="4421"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7" name="Oval 584"/>
              <p:cNvSpPr>
                <a:spLocks noChangeArrowheads="1"/>
              </p:cNvSpPr>
              <p:nvPr/>
            </p:nvSpPr>
            <p:spPr bwMode="auto">
              <a:xfrm>
                <a:off x="4383"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8" name="Oval 585"/>
              <p:cNvSpPr>
                <a:spLocks noChangeArrowheads="1"/>
              </p:cNvSpPr>
              <p:nvPr/>
            </p:nvSpPr>
            <p:spPr bwMode="auto">
              <a:xfrm>
                <a:off x="4344"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9" name="Oval 586"/>
              <p:cNvSpPr>
                <a:spLocks noChangeArrowheads="1"/>
              </p:cNvSpPr>
              <p:nvPr/>
            </p:nvSpPr>
            <p:spPr bwMode="auto">
              <a:xfrm>
                <a:off x="4306"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0" name="Oval 587"/>
              <p:cNvSpPr>
                <a:spLocks noChangeArrowheads="1"/>
              </p:cNvSpPr>
              <p:nvPr/>
            </p:nvSpPr>
            <p:spPr bwMode="auto">
              <a:xfrm>
                <a:off x="4267"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1" name="Freeform 588"/>
              <p:cNvSpPr>
                <a:spLocks/>
              </p:cNvSpPr>
              <p:nvPr/>
            </p:nvSpPr>
            <p:spPr bwMode="auto">
              <a:xfrm>
                <a:off x="4229" y="1199"/>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2" name="Oval 589"/>
              <p:cNvSpPr>
                <a:spLocks noChangeArrowheads="1"/>
              </p:cNvSpPr>
              <p:nvPr/>
            </p:nvSpPr>
            <p:spPr bwMode="auto">
              <a:xfrm>
                <a:off x="4190"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3" name="Oval 590"/>
              <p:cNvSpPr>
                <a:spLocks noChangeArrowheads="1"/>
              </p:cNvSpPr>
              <p:nvPr/>
            </p:nvSpPr>
            <p:spPr bwMode="auto">
              <a:xfrm>
                <a:off x="4151"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4" name="Oval 591"/>
              <p:cNvSpPr>
                <a:spLocks noChangeArrowheads="1"/>
              </p:cNvSpPr>
              <p:nvPr/>
            </p:nvSpPr>
            <p:spPr bwMode="auto">
              <a:xfrm>
                <a:off x="4113"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5" name="Oval 592"/>
              <p:cNvSpPr>
                <a:spLocks noChangeArrowheads="1"/>
              </p:cNvSpPr>
              <p:nvPr/>
            </p:nvSpPr>
            <p:spPr bwMode="auto">
              <a:xfrm>
                <a:off x="4074"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6" name="Oval 593"/>
              <p:cNvSpPr>
                <a:spLocks noChangeArrowheads="1"/>
              </p:cNvSpPr>
              <p:nvPr/>
            </p:nvSpPr>
            <p:spPr bwMode="auto">
              <a:xfrm>
                <a:off x="4036"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7" name="Oval 594"/>
              <p:cNvSpPr>
                <a:spLocks noChangeArrowheads="1"/>
              </p:cNvSpPr>
              <p:nvPr/>
            </p:nvSpPr>
            <p:spPr bwMode="auto">
              <a:xfrm>
                <a:off x="3997"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8" name="Oval 595"/>
              <p:cNvSpPr>
                <a:spLocks noChangeArrowheads="1"/>
              </p:cNvSpPr>
              <p:nvPr/>
            </p:nvSpPr>
            <p:spPr bwMode="auto">
              <a:xfrm>
                <a:off x="3959"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9" name="Oval 596"/>
              <p:cNvSpPr>
                <a:spLocks noChangeArrowheads="1"/>
              </p:cNvSpPr>
              <p:nvPr/>
            </p:nvSpPr>
            <p:spPr bwMode="auto">
              <a:xfrm>
                <a:off x="3920"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0" name="Oval 597"/>
              <p:cNvSpPr>
                <a:spLocks noChangeArrowheads="1"/>
              </p:cNvSpPr>
              <p:nvPr/>
            </p:nvSpPr>
            <p:spPr bwMode="auto">
              <a:xfrm>
                <a:off x="3882"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1" name="Oval 598"/>
              <p:cNvSpPr>
                <a:spLocks noChangeArrowheads="1"/>
              </p:cNvSpPr>
              <p:nvPr/>
            </p:nvSpPr>
            <p:spPr bwMode="auto">
              <a:xfrm>
                <a:off x="3843"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2" name="Oval 599"/>
              <p:cNvSpPr>
                <a:spLocks noChangeArrowheads="1"/>
              </p:cNvSpPr>
              <p:nvPr/>
            </p:nvSpPr>
            <p:spPr bwMode="auto">
              <a:xfrm>
                <a:off x="3804"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3" name="Oval 600"/>
              <p:cNvSpPr>
                <a:spLocks noChangeArrowheads="1"/>
              </p:cNvSpPr>
              <p:nvPr/>
            </p:nvSpPr>
            <p:spPr bwMode="auto">
              <a:xfrm>
                <a:off x="3766"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4" name="Oval 601"/>
              <p:cNvSpPr>
                <a:spLocks noChangeArrowheads="1"/>
              </p:cNvSpPr>
              <p:nvPr/>
            </p:nvSpPr>
            <p:spPr bwMode="auto">
              <a:xfrm>
                <a:off x="3727"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5" name="Oval 602"/>
              <p:cNvSpPr>
                <a:spLocks noChangeArrowheads="1"/>
              </p:cNvSpPr>
              <p:nvPr/>
            </p:nvSpPr>
            <p:spPr bwMode="auto">
              <a:xfrm>
                <a:off x="3689"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6" name="Oval 603"/>
              <p:cNvSpPr>
                <a:spLocks noChangeArrowheads="1"/>
              </p:cNvSpPr>
              <p:nvPr/>
            </p:nvSpPr>
            <p:spPr bwMode="auto">
              <a:xfrm>
                <a:off x="3650"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7" name="Oval 604"/>
              <p:cNvSpPr>
                <a:spLocks noChangeArrowheads="1"/>
              </p:cNvSpPr>
              <p:nvPr/>
            </p:nvSpPr>
            <p:spPr bwMode="auto">
              <a:xfrm>
                <a:off x="3612"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8" name="Oval 605"/>
              <p:cNvSpPr>
                <a:spLocks noChangeArrowheads="1"/>
              </p:cNvSpPr>
              <p:nvPr/>
            </p:nvSpPr>
            <p:spPr bwMode="auto">
              <a:xfrm>
                <a:off x="3573"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9" name="Oval 606"/>
              <p:cNvSpPr>
                <a:spLocks noChangeArrowheads="1"/>
              </p:cNvSpPr>
              <p:nvPr/>
            </p:nvSpPr>
            <p:spPr bwMode="auto">
              <a:xfrm>
                <a:off x="3535"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0" name="Oval 607"/>
              <p:cNvSpPr>
                <a:spLocks noChangeArrowheads="1"/>
              </p:cNvSpPr>
              <p:nvPr/>
            </p:nvSpPr>
            <p:spPr bwMode="auto">
              <a:xfrm>
                <a:off x="3496"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1" name="Oval 608"/>
              <p:cNvSpPr>
                <a:spLocks noChangeArrowheads="1"/>
              </p:cNvSpPr>
              <p:nvPr/>
            </p:nvSpPr>
            <p:spPr bwMode="auto">
              <a:xfrm>
                <a:off x="3458"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2" name="Oval 609"/>
              <p:cNvSpPr>
                <a:spLocks noChangeArrowheads="1"/>
              </p:cNvSpPr>
              <p:nvPr/>
            </p:nvSpPr>
            <p:spPr bwMode="auto">
              <a:xfrm>
                <a:off x="3419"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3" name="Oval 610"/>
              <p:cNvSpPr>
                <a:spLocks noChangeArrowheads="1"/>
              </p:cNvSpPr>
              <p:nvPr/>
            </p:nvSpPr>
            <p:spPr bwMode="auto">
              <a:xfrm>
                <a:off x="3380"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4" name="Oval 611"/>
              <p:cNvSpPr>
                <a:spLocks noChangeArrowheads="1"/>
              </p:cNvSpPr>
              <p:nvPr/>
            </p:nvSpPr>
            <p:spPr bwMode="auto">
              <a:xfrm>
                <a:off x="3342"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5" name="Oval 612"/>
              <p:cNvSpPr>
                <a:spLocks noChangeArrowheads="1"/>
              </p:cNvSpPr>
              <p:nvPr/>
            </p:nvSpPr>
            <p:spPr bwMode="auto">
              <a:xfrm>
                <a:off x="3303"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14"/>
            <p:cNvGrpSpPr>
              <a:grpSpLocks/>
            </p:cNvGrpSpPr>
            <p:nvPr/>
          </p:nvGrpSpPr>
          <p:grpSpPr bwMode="auto">
            <a:xfrm>
              <a:off x="528" y="1199"/>
              <a:ext cx="4576" cy="105"/>
              <a:chOff x="528" y="1199"/>
              <a:chExt cx="4576" cy="105"/>
            </a:xfrm>
            <a:grpFill/>
          </p:grpSpPr>
          <p:sp>
            <p:nvSpPr>
              <p:cNvPr id="1816" name="Freeform 614"/>
              <p:cNvSpPr>
                <a:spLocks/>
              </p:cNvSpPr>
              <p:nvPr/>
            </p:nvSpPr>
            <p:spPr bwMode="auto">
              <a:xfrm>
                <a:off x="3265" y="1199"/>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7" name="Oval 615"/>
              <p:cNvSpPr>
                <a:spLocks noChangeArrowheads="1"/>
              </p:cNvSpPr>
              <p:nvPr/>
            </p:nvSpPr>
            <p:spPr bwMode="auto">
              <a:xfrm>
                <a:off x="3226"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8" name="Oval 616"/>
              <p:cNvSpPr>
                <a:spLocks noChangeArrowheads="1"/>
              </p:cNvSpPr>
              <p:nvPr/>
            </p:nvSpPr>
            <p:spPr bwMode="auto">
              <a:xfrm>
                <a:off x="3188"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9" name="Oval 617"/>
              <p:cNvSpPr>
                <a:spLocks noChangeArrowheads="1"/>
              </p:cNvSpPr>
              <p:nvPr/>
            </p:nvSpPr>
            <p:spPr bwMode="auto">
              <a:xfrm>
                <a:off x="3149"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0" name="Oval 618"/>
              <p:cNvSpPr>
                <a:spLocks noChangeArrowheads="1"/>
              </p:cNvSpPr>
              <p:nvPr/>
            </p:nvSpPr>
            <p:spPr bwMode="auto">
              <a:xfrm>
                <a:off x="3111"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1" name="Oval 619"/>
              <p:cNvSpPr>
                <a:spLocks noChangeArrowheads="1"/>
              </p:cNvSpPr>
              <p:nvPr/>
            </p:nvSpPr>
            <p:spPr bwMode="auto">
              <a:xfrm>
                <a:off x="3072"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2" name="Oval 620"/>
              <p:cNvSpPr>
                <a:spLocks noChangeArrowheads="1"/>
              </p:cNvSpPr>
              <p:nvPr/>
            </p:nvSpPr>
            <p:spPr bwMode="auto">
              <a:xfrm>
                <a:off x="3033"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3" name="Oval 621"/>
              <p:cNvSpPr>
                <a:spLocks noChangeArrowheads="1"/>
              </p:cNvSpPr>
              <p:nvPr/>
            </p:nvSpPr>
            <p:spPr bwMode="auto">
              <a:xfrm>
                <a:off x="2995"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4" name="Oval 622"/>
              <p:cNvSpPr>
                <a:spLocks noChangeArrowheads="1"/>
              </p:cNvSpPr>
              <p:nvPr/>
            </p:nvSpPr>
            <p:spPr bwMode="auto">
              <a:xfrm>
                <a:off x="2956"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5" name="Oval 623"/>
              <p:cNvSpPr>
                <a:spLocks noChangeArrowheads="1"/>
              </p:cNvSpPr>
              <p:nvPr/>
            </p:nvSpPr>
            <p:spPr bwMode="auto">
              <a:xfrm>
                <a:off x="2918"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6" name="Oval 624"/>
              <p:cNvSpPr>
                <a:spLocks noChangeArrowheads="1"/>
              </p:cNvSpPr>
              <p:nvPr/>
            </p:nvSpPr>
            <p:spPr bwMode="auto">
              <a:xfrm>
                <a:off x="2879"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7" name="Oval 625"/>
              <p:cNvSpPr>
                <a:spLocks noChangeArrowheads="1"/>
              </p:cNvSpPr>
              <p:nvPr/>
            </p:nvSpPr>
            <p:spPr bwMode="auto">
              <a:xfrm>
                <a:off x="2841"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8" name="Oval 626"/>
              <p:cNvSpPr>
                <a:spLocks noChangeArrowheads="1"/>
              </p:cNvSpPr>
              <p:nvPr/>
            </p:nvSpPr>
            <p:spPr bwMode="auto">
              <a:xfrm>
                <a:off x="2147"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9" name="Oval 627"/>
              <p:cNvSpPr>
                <a:spLocks noChangeArrowheads="1"/>
              </p:cNvSpPr>
              <p:nvPr/>
            </p:nvSpPr>
            <p:spPr bwMode="auto">
              <a:xfrm>
                <a:off x="2108"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0" name="Oval 628"/>
              <p:cNvSpPr>
                <a:spLocks noChangeArrowheads="1"/>
              </p:cNvSpPr>
              <p:nvPr/>
            </p:nvSpPr>
            <p:spPr bwMode="auto">
              <a:xfrm>
                <a:off x="1877"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1" name="Oval 629"/>
              <p:cNvSpPr>
                <a:spLocks noChangeArrowheads="1"/>
              </p:cNvSpPr>
              <p:nvPr/>
            </p:nvSpPr>
            <p:spPr bwMode="auto">
              <a:xfrm>
                <a:off x="1838"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2" name="Freeform 630"/>
              <p:cNvSpPr>
                <a:spLocks/>
              </p:cNvSpPr>
              <p:nvPr/>
            </p:nvSpPr>
            <p:spPr bwMode="auto">
              <a:xfrm>
                <a:off x="1800" y="1199"/>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3" name="Oval 631"/>
              <p:cNvSpPr>
                <a:spLocks noChangeArrowheads="1"/>
              </p:cNvSpPr>
              <p:nvPr/>
            </p:nvSpPr>
            <p:spPr bwMode="auto">
              <a:xfrm>
                <a:off x="1761"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4" name="Oval 632"/>
              <p:cNvSpPr>
                <a:spLocks noChangeArrowheads="1"/>
              </p:cNvSpPr>
              <p:nvPr/>
            </p:nvSpPr>
            <p:spPr bwMode="auto">
              <a:xfrm>
                <a:off x="1607"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5" name="Oval 633"/>
              <p:cNvSpPr>
                <a:spLocks noChangeArrowheads="1"/>
              </p:cNvSpPr>
              <p:nvPr/>
            </p:nvSpPr>
            <p:spPr bwMode="auto">
              <a:xfrm>
                <a:off x="1569"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6" name="Oval 634"/>
              <p:cNvSpPr>
                <a:spLocks noChangeArrowheads="1"/>
              </p:cNvSpPr>
              <p:nvPr/>
            </p:nvSpPr>
            <p:spPr bwMode="auto">
              <a:xfrm>
                <a:off x="1530"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7" name="Oval 635"/>
              <p:cNvSpPr>
                <a:spLocks noChangeArrowheads="1"/>
              </p:cNvSpPr>
              <p:nvPr/>
            </p:nvSpPr>
            <p:spPr bwMode="auto">
              <a:xfrm>
                <a:off x="1491"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8" name="Oval 636"/>
              <p:cNvSpPr>
                <a:spLocks noChangeArrowheads="1"/>
              </p:cNvSpPr>
              <p:nvPr/>
            </p:nvSpPr>
            <p:spPr bwMode="auto">
              <a:xfrm>
                <a:off x="1453"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9" name="Oval 637"/>
              <p:cNvSpPr>
                <a:spLocks noChangeArrowheads="1"/>
              </p:cNvSpPr>
              <p:nvPr/>
            </p:nvSpPr>
            <p:spPr bwMode="auto">
              <a:xfrm>
                <a:off x="1414"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0" name="Oval 638"/>
              <p:cNvSpPr>
                <a:spLocks noChangeArrowheads="1"/>
              </p:cNvSpPr>
              <p:nvPr/>
            </p:nvSpPr>
            <p:spPr bwMode="auto">
              <a:xfrm>
                <a:off x="1376"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1" name="Oval 639"/>
              <p:cNvSpPr>
                <a:spLocks noChangeArrowheads="1"/>
              </p:cNvSpPr>
              <p:nvPr/>
            </p:nvSpPr>
            <p:spPr bwMode="auto">
              <a:xfrm>
                <a:off x="1337"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2" name="Oval 640"/>
              <p:cNvSpPr>
                <a:spLocks noChangeArrowheads="1"/>
              </p:cNvSpPr>
              <p:nvPr/>
            </p:nvSpPr>
            <p:spPr bwMode="auto">
              <a:xfrm>
                <a:off x="1299"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3" name="Oval 641"/>
              <p:cNvSpPr>
                <a:spLocks noChangeArrowheads="1"/>
              </p:cNvSpPr>
              <p:nvPr/>
            </p:nvSpPr>
            <p:spPr bwMode="auto">
              <a:xfrm>
                <a:off x="1260"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4" name="Oval 642"/>
              <p:cNvSpPr>
                <a:spLocks noChangeArrowheads="1"/>
              </p:cNvSpPr>
              <p:nvPr/>
            </p:nvSpPr>
            <p:spPr bwMode="auto">
              <a:xfrm>
                <a:off x="1222"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5" name="Oval 643"/>
              <p:cNvSpPr>
                <a:spLocks noChangeArrowheads="1"/>
              </p:cNvSpPr>
              <p:nvPr/>
            </p:nvSpPr>
            <p:spPr bwMode="auto">
              <a:xfrm>
                <a:off x="1183"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6" name="Oval 644"/>
              <p:cNvSpPr>
                <a:spLocks noChangeArrowheads="1"/>
              </p:cNvSpPr>
              <p:nvPr/>
            </p:nvSpPr>
            <p:spPr bwMode="auto">
              <a:xfrm>
                <a:off x="1144"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7" name="Oval 645"/>
              <p:cNvSpPr>
                <a:spLocks noChangeArrowheads="1"/>
              </p:cNvSpPr>
              <p:nvPr/>
            </p:nvSpPr>
            <p:spPr bwMode="auto">
              <a:xfrm>
                <a:off x="1106"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8" name="Oval 646"/>
              <p:cNvSpPr>
                <a:spLocks noChangeArrowheads="1"/>
              </p:cNvSpPr>
              <p:nvPr/>
            </p:nvSpPr>
            <p:spPr bwMode="auto">
              <a:xfrm>
                <a:off x="1067"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9" name="Oval 647"/>
              <p:cNvSpPr>
                <a:spLocks noChangeArrowheads="1"/>
              </p:cNvSpPr>
              <p:nvPr/>
            </p:nvSpPr>
            <p:spPr bwMode="auto">
              <a:xfrm>
                <a:off x="1029"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0" name="Oval 648"/>
              <p:cNvSpPr>
                <a:spLocks noChangeArrowheads="1"/>
              </p:cNvSpPr>
              <p:nvPr/>
            </p:nvSpPr>
            <p:spPr bwMode="auto">
              <a:xfrm>
                <a:off x="990"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1" name="Oval 649"/>
              <p:cNvSpPr>
                <a:spLocks noChangeArrowheads="1"/>
              </p:cNvSpPr>
              <p:nvPr/>
            </p:nvSpPr>
            <p:spPr bwMode="auto">
              <a:xfrm>
                <a:off x="952"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2" name="Oval 650"/>
              <p:cNvSpPr>
                <a:spLocks noChangeArrowheads="1"/>
              </p:cNvSpPr>
              <p:nvPr/>
            </p:nvSpPr>
            <p:spPr bwMode="auto">
              <a:xfrm>
                <a:off x="913"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3" name="Oval 651"/>
              <p:cNvSpPr>
                <a:spLocks noChangeArrowheads="1"/>
              </p:cNvSpPr>
              <p:nvPr/>
            </p:nvSpPr>
            <p:spPr bwMode="auto">
              <a:xfrm>
                <a:off x="875"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4" name="Oval 652"/>
              <p:cNvSpPr>
                <a:spLocks noChangeArrowheads="1"/>
              </p:cNvSpPr>
              <p:nvPr/>
            </p:nvSpPr>
            <p:spPr bwMode="auto">
              <a:xfrm>
                <a:off x="836"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5" name="Oval 653"/>
              <p:cNvSpPr>
                <a:spLocks noChangeArrowheads="1"/>
              </p:cNvSpPr>
              <p:nvPr/>
            </p:nvSpPr>
            <p:spPr bwMode="auto">
              <a:xfrm>
                <a:off x="798"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6" name="Oval 654"/>
              <p:cNvSpPr>
                <a:spLocks noChangeArrowheads="1"/>
              </p:cNvSpPr>
              <p:nvPr/>
            </p:nvSpPr>
            <p:spPr bwMode="auto">
              <a:xfrm>
                <a:off x="759"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7" name="Oval 655"/>
              <p:cNvSpPr>
                <a:spLocks noChangeArrowheads="1"/>
              </p:cNvSpPr>
              <p:nvPr/>
            </p:nvSpPr>
            <p:spPr bwMode="auto">
              <a:xfrm>
                <a:off x="720"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8" name="Oval 656"/>
              <p:cNvSpPr>
                <a:spLocks noChangeArrowheads="1"/>
              </p:cNvSpPr>
              <p:nvPr/>
            </p:nvSpPr>
            <p:spPr bwMode="auto">
              <a:xfrm>
                <a:off x="682"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9" name="Oval 657"/>
              <p:cNvSpPr>
                <a:spLocks noChangeArrowheads="1"/>
              </p:cNvSpPr>
              <p:nvPr/>
            </p:nvSpPr>
            <p:spPr bwMode="auto">
              <a:xfrm>
                <a:off x="643"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0" name="Oval 658"/>
              <p:cNvSpPr>
                <a:spLocks noChangeArrowheads="1"/>
              </p:cNvSpPr>
              <p:nvPr/>
            </p:nvSpPr>
            <p:spPr bwMode="auto">
              <a:xfrm>
                <a:off x="605"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1" name="Oval 659"/>
              <p:cNvSpPr>
                <a:spLocks noChangeArrowheads="1"/>
              </p:cNvSpPr>
              <p:nvPr/>
            </p:nvSpPr>
            <p:spPr bwMode="auto">
              <a:xfrm>
                <a:off x="566" y="119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2" name="Oval 660"/>
              <p:cNvSpPr>
                <a:spLocks noChangeArrowheads="1"/>
              </p:cNvSpPr>
              <p:nvPr/>
            </p:nvSpPr>
            <p:spPr bwMode="auto">
              <a:xfrm>
                <a:off x="528" y="119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3" name="Oval 661"/>
              <p:cNvSpPr>
                <a:spLocks noChangeArrowheads="1"/>
              </p:cNvSpPr>
              <p:nvPr/>
            </p:nvSpPr>
            <p:spPr bwMode="auto">
              <a:xfrm>
                <a:off x="5077"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4" name="Oval 662"/>
              <p:cNvSpPr>
                <a:spLocks noChangeArrowheads="1"/>
              </p:cNvSpPr>
              <p:nvPr/>
            </p:nvSpPr>
            <p:spPr bwMode="auto">
              <a:xfrm>
                <a:off x="5000"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5" name="Oval 663"/>
              <p:cNvSpPr>
                <a:spLocks noChangeArrowheads="1"/>
              </p:cNvSpPr>
              <p:nvPr/>
            </p:nvSpPr>
            <p:spPr bwMode="auto">
              <a:xfrm>
                <a:off x="4961"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6" name="Oval 664"/>
              <p:cNvSpPr>
                <a:spLocks noChangeArrowheads="1"/>
              </p:cNvSpPr>
              <p:nvPr/>
            </p:nvSpPr>
            <p:spPr bwMode="auto">
              <a:xfrm>
                <a:off x="4922"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7" name="Oval 665"/>
              <p:cNvSpPr>
                <a:spLocks noChangeArrowheads="1"/>
              </p:cNvSpPr>
              <p:nvPr/>
            </p:nvSpPr>
            <p:spPr bwMode="auto">
              <a:xfrm>
                <a:off x="4884"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8" name="Oval 666"/>
              <p:cNvSpPr>
                <a:spLocks noChangeArrowheads="1"/>
              </p:cNvSpPr>
              <p:nvPr/>
            </p:nvSpPr>
            <p:spPr bwMode="auto">
              <a:xfrm>
                <a:off x="4845"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9" name="Oval 667"/>
              <p:cNvSpPr>
                <a:spLocks noChangeArrowheads="1"/>
              </p:cNvSpPr>
              <p:nvPr/>
            </p:nvSpPr>
            <p:spPr bwMode="auto">
              <a:xfrm>
                <a:off x="4807"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0" name="Oval 668"/>
              <p:cNvSpPr>
                <a:spLocks noChangeArrowheads="1"/>
              </p:cNvSpPr>
              <p:nvPr/>
            </p:nvSpPr>
            <p:spPr bwMode="auto">
              <a:xfrm>
                <a:off x="4768"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1" name="Oval 669"/>
              <p:cNvSpPr>
                <a:spLocks noChangeArrowheads="1"/>
              </p:cNvSpPr>
              <p:nvPr/>
            </p:nvSpPr>
            <p:spPr bwMode="auto">
              <a:xfrm>
                <a:off x="4730"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2" name="Oval 670"/>
              <p:cNvSpPr>
                <a:spLocks noChangeArrowheads="1"/>
              </p:cNvSpPr>
              <p:nvPr/>
            </p:nvSpPr>
            <p:spPr bwMode="auto">
              <a:xfrm>
                <a:off x="4691"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3" name="Oval 671"/>
              <p:cNvSpPr>
                <a:spLocks noChangeArrowheads="1"/>
              </p:cNvSpPr>
              <p:nvPr/>
            </p:nvSpPr>
            <p:spPr bwMode="auto">
              <a:xfrm>
                <a:off x="4653"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4" name="Oval 672"/>
              <p:cNvSpPr>
                <a:spLocks noChangeArrowheads="1"/>
              </p:cNvSpPr>
              <p:nvPr/>
            </p:nvSpPr>
            <p:spPr bwMode="auto">
              <a:xfrm>
                <a:off x="4614"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5" name="Oval 673"/>
              <p:cNvSpPr>
                <a:spLocks noChangeArrowheads="1"/>
              </p:cNvSpPr>
              <p:nvPr/>
            </p:nvSpPr>
            <p:spPr bwMode="auto">
              <a:xfrm>
                <a:off x="4576"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6" name="Oval 674"/>
              <p:cNvSpPr>
                <a:spLocks noChangeArrowheads="1"/>
              </p:cNvSpPr>
              <p:nvPr/>
            </p:nvSpPr>
            <p:spPr bwMode="auto">
              <a:xfrm>
                <a:off x="4537"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7" name="Oval 675"/>
              <p:cNvSpPr>
                <a:spLocks noChangeArrowheads="1"/>
              </p:cNvSpPr>
              <p:nvPr/>
            </p:nvSpPr>
            <p:spPr bwMode="auto">
              <a:xfrm>
                <a:off x="4498"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8" name="Oval 676"/>
              <p:cNvSpPr>
                <a:spLocks noChangeArrowheads="1"/>
              </p:cNvSpPr>
              <p:nvPr/>
            </p:nvSpPr>
            <p:spPr bwMode="auto">
              <a:xfrm>
                <a:off x="4460"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9" name="Oval 677"/>
              <p:cNvSpPr>
                <a:spLocks noChangeArrowheads="1"/>
              </p:cNvSpPr>
              <p:nvPr/>
            </p:nvSpPr>
            <p:spPr bwMode="auto">
              <a:xfrm>
                <a:off x="4421"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0" name="Oval 678"/>
              <p:cNvSpPr>
                <a:spLocks noChangeArrowheads="1"/>
              </p:cNvSpPr>
              <p:nvPr/>
            </p:nvSpPr>
            <p:spPr bwMode="auto">
              <a:xfrm>
                <a:off x="4383"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1" name="Oval 679"/>
              <p:cNvSpPr>
                <a:spLocks noChangeArrowheads="1"/>
              </p:cNvSpPr>
              <p:nvPr/>
            </p:nvSpPr>
            <p:spPr bwMode="auto">
              <a:xfrm>
                <a:off x="4344"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2" name="Oval 680"/>
              <p:cNvSpPr>
                <a:spLocks noChangeArrowheads="1"/>
              </p:cNvSpPr>
              <p:nvPr/>
            </p:nvSpPr>
            <p:spPr bwMode="auto">
              <a:xfrm>
                <a:off x="4306"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3" name="Oval 681"/>
              <p:cNvSpPr>
                <a:spLocks noChangeArrowheads="1"/>
              </p:cNvSpPr>
              <p:nvPr/>
            </p:nvSpPr>
            <p:spPr bwMode="auto">
              <a:xfrm>
                <a:off x="4267"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4" name="Freeform 682"/>
              <p:cNvSpPr>
                <a:spLocks/>
              </p:cNvSpPr>
              <p:nvPr/>
            </p:nvSpPr>
            <p:spPr bwMode="auto">
              <a:xfrm>
                <a:off x="4229" y="1238"/>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5" name="Oval 683"/>
              <p:cNvSpPr>
                <a:spLocks noChangeArrowheads="1"/>
              </p:cNvSpPr>
              <p:nvPr/>
            </p:nvSpPr>
            <p:spPr bwMode="auto">
              <a:xfrm>
                <a:off x="4190"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6" name="Oval 684"/>
              <p:cNvSpPr>
                <a:spLocks noChangeArrowheads="1"/>
              </p:cNvSpPr>
              <p:nvPr/>
            </p:nvSpPr>
            <p:spPr bwMode="auto">
              <a:xfrm>
                <a:off x="4151"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7" name="Oval 685"/>
              <p:cNvSpPr>
                <a:spLocks noChangeArrowheads="1"/>
              </p:cNvSpPr>
              <p:nvPr/>
            </p:nvSpPr>
            <p:spPr bwMode="auto">
              <a:xfrm>
                <a:off x="4113"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8" name="Oval 686"/>
              <p:cNvSpPr>
                <a:spLocks noChangeArrowheads="1"/>
              </p:cNvSpPr>
              <p:nvPr/>
            </p:nvSpPr>
            <p:spPr bwMode="auto">
              <a:xfrm>
                <a:off x="4074"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9" name="Oval 687"/>
              <p:cNvSpPr>
                <a:spLocks noChangeArrowheads="1"/>
              </p:cNvSpPr>
              <p:nvPr/>
            </p:nvSpPr>
            <p:spPr bwMode="auto">
              <a:xfrm>
                <a:off x="4036"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0" name="Oval 688"/>
              <p:cNvSpPr>
                <a:spLocks noChangeArrowheads="1"/>
              </p:cNvSpPr>
              <p:nvPr/>
            </p:nvSpPr>
            <p:spPr bwMode="auto">
              <a:xfrm>
                <a:off x="3997"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1" name="Oval 689"/>
              <p:cNvSpPr>
                <a:spLocks noChangeArrowheads="1"/>
              </p:cNvSpPr>
              <p:nvPr/>
            </p:nvSpPr>
            <p:spPr bwMode="auto">
              <a:xfrm>
                <a:off x="3959"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2" name="Oval 690"/>
              <p:cNvSpPr>
                <a:spLocks noChangeArrowheads="1"/>
              </p:cNvSpPr>
              <p:nvPr/>
            </p:nvSpPr>
            <p:spPr bwMode="auto">
              <a:xfrm>
                <a:off x="3920"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3" name="Oval 691"/>
              <p:cNvSpPr>
                <a:spLocks noChangeArrowheads="1"/>
              </p:cNvSpPr>
              <p:nvPr/>
            </p:nvSpPr>
            <p:spPr bwMode="auto">
              <a:xfrm>
                <a:off x="3882"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4" name="Oval 692"/>
              <p:cNvSpPr>
                <a:spLocks noChangeArrowheads="1"/>
              </p:cNvSpPr>
              <p:nvPr/>
            </p:nvSpPr>
            <p:spPr bwMode="auto">
              <a:xfrm>
                <a:off x="3843"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5" name="Oval 693"/>
              <p:cNvSpPr>
                <a:spLocks noChangeArrowheads="1"/>
              </p:cNvSpPr>
              <p:nvPr/>
            </p:nvSpPr>
            <p:spPr bwMode="auto">
              <a:xfrm>
                <a:off x="3804"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6" name="Oval 694"/>
              <p:cNvSpPr>
                <a:spLocks noChangeArrowheads="1"/>
              </p:cNvSpPr>
              <p:nvPr/>
            </p:nvSpPr>
            <p:spPr bwMode="auto">
              <a:xfrm>
                <a:off x="3766"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7" name="Oval 695"/>
              <p:cNvSpPr>
                <a:spLocks noChangeArrowheads="1"/>
              </p:cNvSpPr>
              <p:nvPr/>
            </p:nvSpPr>
            <p:spPr bwMode="auto">
              <a:xfrm>
                <a:off x="3727"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8" name="Oval 696"/>
              <p:cNvSpPr>
                <a:spLocks noChangeArrowheads="1"/>
              </p:cNvSpPr>
              <p:nvPr/>
            </p:nvSpPr>
            <p:spPr bwMode="auto">
              <a:xfrm>
                <a:off x="3689"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9" name="Oval 697"/>
              <p:cNvSpPr>
                <a:spLocks noChangeArrowheads="1"/>
              </p:cNvSpPr>
              <p:nvPr/>
            </p:nvSpPr>
            <p:spPr bwMode="auto">
              <a:xfrm>
                <a:off x="3650"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0" name="Oval 698"/>
              <p:cNvSpPr>
                <a:spLocks noChangeArrowheads="1"/>
              </p:cNvSpPr>
              <p:nvPr/>
            </p:nvSpPr>
            <p:spPr bwMode="auto">
              <a:xfrm>
                <a:off x="3612"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1" name="Oval 699"/>
              <p:cNvSpPr>
                <a:spLocks noChangeArrowheads="1"/>
              </p:cNvSpPr>
              <p:nvPr/>
            </p:nvSpPr>
            <p:spPr bwMode="auto">
              <a:xfrm>
                <a:off x="3573"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2" name="Oval 700"/>
              <p:cNvSpPr>
                <a:spLocks noChangeArrowheads="1"/>
              </p:cNvSpPr>
              <p:nvPr/>
            </p:nvSpPr>
            <p:spPr bwMode="auto">
              <a:xfrm>
                <a:off x="3535"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3" name="Oval 701"/>
              <p:cNvSpPr>
                <a:spLocks noChangeArrowheads="1"/>
              </p:cNvSpPr>
              <p:nvPr/>
            </p:nvSpPr>
            <p:spPr bwMode="auto">
              <a:xfrm>
                <a:off x="3496"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4" name="Oval 702"/>
              <p:cNvSpPr>
                <a:spLocks noChangeArrowheads="1"/>
              </p:cNvSpPr>
              <p:nvPr/>
            </p:nvSpPr>
            <p:spPr bwMode="auto">
              <a:xfrm>
                <a:off x="3458"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5" name="Oval 703"/>
              <p:cNvSpPr>
                <a:spLocks noChangeArrowheads="1"/>
              </p:cNvSpPr>
              <p:nvPr/>
            </p:nvSpPr>
            <p:spPr bwMode="auto">
              <a:xfrm>
                <a:off x="3419"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6" name="Oval 704"/>
              <p:cNvSpPr>
                <a:spLocks noChangeArrowheads="1"/>
              </p:cNvSpPr>
              <p:nvPr/>
            </p:nvSpPr>
            <p:spPr bwMode="auto">
              <a:xfrm>
                <a:off x="3380"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7" name="Oval 705"/>
              <p:cNvSpPr>
                <a:spLocks noChangeArrowheads="1"/>
              </p:cNvSpPr>
              <p:nvPr/>
            </p:nvSpPr>
            <p:spPr bwMode="auto">
              <a:xfrm>
                <a:off x="3342"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8" name="Oval 706"/>
              <p:cNvSpPr>
                <a:spLocks noChangeArrowheads="1"/>
              </p:cNvSpPr>
              <p:nvPr/>
            </p:nvSpPr>
            <p:spPr bwMode="auto">
              <a:xfrm>
                <a:off x="3303"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9" name="Freeform 707"/>
              <p:cNvSpPr>
                <a:spLocks/>
              </p:cNvSpPr>
              <p:nvPr/>
            </p:nvSpPr>
            <p:spPr bwMode="auto">
              <a:xfrm>
                <a:off x="3265" y="1238"/>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0" name="Oval 708"/>
              <p:cNvSpPr>
                <a:spLocks noChangeArrowheads="1"/>
              </p:cNvSpPr>
              <p:nvPr/>
            </p:nvSpPr>
            <p:spPr bwMode="auto">
              <a:xfrm>
                <a:off x="3226"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1" name="Oval 709"/>
              <p:cNvSpPr>
                <a:spLocks noChangeArrowheads="1"/>
              </p:cNvSpPr>
              <p:nvPr/>
            </p:nvSpPr>
            <p:spPr bwMode="auto">
              <a:xfrm>
                <a:off x="3188"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2" name="Oval 710"/>
              <p:cNvSpPr>
                <a:spLocks noChangeArrowheads="1"/>
              </p:cNvSpPr>
              <p:nvPr/>
            </p:nvSpPr>
            <p:spPr bwMode="auto">
              <a:xfrm>
                <a:off x="3149"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3" name="Oval 711"/>
              <p:cNvSpPr>
                <a:spLocks noChangeArrowheads="1"/>
              </p:cNvSpPr>
              <p:nvPr/>
            </p:nvSpPr>
            <p:spPr bwMode="auto">
              <a:xfrm>
                <a:off x="3111"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4" name="Oval 712"/>
              <p:cNvSpPr>
                <a:spLocks noChangeArrowheads="1"/>
              </p:cNvSpPr>
              <p:nvPr/>
            </p:nvSpPr>
            <p:spPr bwMode="auto">
              <a:xfrm>
                <a:off x="3072"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5" name="Oval 713"/>
              <p:cNvSpPr>
                <a:spLocks noChangeArrowheads="1"/>
              </p:cNvSpPr>
              <p:nvPr/>
            </p:nvSpPr>
            <p:spPr bwMode="auto">
              <a:xfrm>
                <a:off x="3033"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6" name="Oval 714"/>
              <p:cNvSpPr>
                <a:spLocks noChangeArrowheads="1"/>
              </p:cNvSpPr>
              <p:nvPr/>
            </p:nvSpPr>
            <p:spPr bwMode="auto">
              <a:xfrm>
                <a:off x="2995"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7" name="Oval 715"/>
              <p:cNvSpPr>
                <a:spLocks noChangeArrowheads="1"/>
              </p:cNvSpPr>
              <p:nvPr/>
            </p:nvSpPr>
            <p:spPr bwMode="auto">
              <a:xfrm>
                <a:off x="2956"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8" name="Oval 716"/>
              <p:cNvSpPr>
                <a:spLocks noChangeArrowheads="1"/>
              </p:cNvSpPr>
              <p:nvPr/>
            </p:nvSpPr>
            <p:spPr bwMode="auto">
              <a:xfrm>
                <a:off x="2918"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9" name="Oval 717"/>
              <p:cNvSpPr>
                <a:spLocks noChangeArrowheads="1"/>
              </p:cNvSpPr>
              <p:nvPr/>
            </p:nvSpPr>
            <p:spPr bwMode="auto">
              <a:xfrm>
                <a:off x="2879"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0" name="Oval 718"/>
              <p:cNvSpPr>
                <a:spLocks noChangeArrowheads="1"/>
              </p:cNvSpPr>
              <p:nvPr/>
            </p:nvSpPr>
            <p:spPr bwMode="auto">
              <a:xfrm>
                <a:off x="2841"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1" name="Oval 719"/>
              <p:cNvSpPr>
                <a:spLocks noChangeArrowheads="1"/>
              </p:cNvSpPr>
              <p:nvPr/>
            </p:nvSpPr>
            <p:spPr bwMode="auto">
              <a:xfrm>
                <a:off x="2802"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2" name="Oval 720"/>
              <p:cNvSpPr>
                <a:spLocks noChangeArrowheads="1"/>
              </p:cNvSpPr>
              <p:nvPr/>
            </p:nvSpPr>
            <p:spPr bwMode="auto">
              <a:xfrm>
                <a:off x="1838"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3" name="Freeform 721"/>
              <p:cNvSpPr>
                <a:spLocks/>
              </p:cNvSpPr>
              <p:nvPr/>
            </p:nvSpPr>
            <p:spPr bwMode="auto">
              <a:xfrm>
                <a:off x="1800" y="1238"/>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4" name="Oval 722"/>
              <p:cNvSpPr>
                <a:spLocks noChangeArrowheads="1"/>
              </p:cNvSpPr>
              <p:nvPr/>
            </p:nvSpPr>
            <p:spPr bwMode="auto">
              <a:xfrm>
                <a:off x="1761"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5" name="Oval 723"/>
              <p:cNvSpPr>
                <a:spLocks noChangeArrowheads="1"/>
              </p:cNvSpPr>
              <p:nvPr/>
            </p:nvSpPr>
            <p:spPr bwMode="auto">
              <a:xfrm>
                <a:off x="1723"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6" name="Oval 724"/>
              <p:cNvSpPr>
                <a:spLocks noChangeArrowheads="1"/>
              </p:cNvSpPr>
              <p:nvPr/>
            </p:nvSpPr>
            <p:spPr bwMode="auto">
              <a:xfrm>
                <a:off x="1684"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7" name="Oval 725"/>
              <p:cNvSpPr>
                <a:spLocks noChangeArrowheads="1"/>
              </p:cNvSpPr>
              <p:nvPr/>
            </p:nvSpPr>
            <p:spPr bwMode="auto">
              <a:xfrm>
                <a:off x="1607"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8" name="Oval 726"/>
              <p:cNvSpPr>
                <a:spLocks noChangeArrowheads="1"/>
              </p:cNvSpPr>
              <p:nvPr/>
            </p:nvSpPr>
            <p:spPr bwMode="auto">
              <a:xfrm>
                <a:off x="1569"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9" name="Oval 727"/>
              <p:cNvSpPr>
                <a:spLocks noChangeArrowheads="1"/>
              </p:cNvSpPr>
              <p:nvPr/>
            </p:nvSpPr>
            <p:spPr bwMode="auto">
              <a:xfrm>
                <a:off x="1530"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0" name="Oval 728"/>
              <p:cNvSpPr>
                <a:spLocks noChangeArrowheads="1"/>
              </p:cNvSpPr>
              <p:nvPr/>
            </p:nvSpPr>
            <p:spPr bwMode="auto">
              <a:xfrm>
                <a:off x="1491"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1" name="Oval 729"/>
              <p:cNvSpPr>
                <a:spLocks noChangeArrowheads="1"/>
              </p:cNvSpPr>
              <p:nvPr/>
            </p:nvSpPr>
            <p:spPr bwMode="auto">
              <a:xfrm>
                <a:off x="1453"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2" name="Oval 730"/>
              <p:cNvSpPr>
                <a:spLocks noChangeArrowheads="1"/>
              </p:cNvSpPr>
              <p:nvPr/>
            </p:nvSpPr>
            <p:spPr bwMode="auto">
              <a:xfrm>
                <a:off x="1414"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3" name="Oval 731"/>
              <p:cNvSpPr>
                <a:spLocks noChangeArrowheads="1"/>
              </p:cNvSpPr>
              <p:nvPr/>
            </p:nvSpPr>
            <p:spPr bwMode="auto">
              <a:xfrm>
                <a:off x="1376"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4" name="Oval 732"/>
              <p:cNvSpPr>
                <a:spLocks noChangeArrowheads="1"/>
              </p:cNvSpPr>
              <p:nvPr/>
            </p:nvSpPr>
            <p:spPr bwMode="auto">
              <a:xfrm>
                <a:off x="1337"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5" name="Oval 733"/>
              <p:cNvSpPr>
                <a:spLocks noChangeArrowheads="1"/>
              </p:cNvSpPr>
              <p:nvPr/>
            </p:nvSpPr>
            <p:spPr bwMode="auto">
              <a:xfrm>
                <a:off x="1299"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6" name="Oval 734"/>
              <p:cNvSpPr>
                <a:spLocks noChangeArrowheads="1"/>
              </p:cNvSpPr>
              <p:nvPr/>
            </p:nvSpPr>
            <p:spPr bwMode="auto">
              <a:xfrm>
                <a:off x="1260"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7" name="Oval 735"/>
              <p:cNvSpPr>
                <a:spLocks noChangeArrowheads="1"/>
              </p:cNvSpPr>
              <p:nvPr/>
            </p:nvSpPr>
            <p:spPr bwMode="auto">
              <a:xfrm>
                <a:off x="1222"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8" name="Oval 736"/>
              <p:cNvSpPr>
                <a:spLocks noChangeArrowheads="1"/>
              </p:cNvSpPr>
              <p:nvPr/>
            </p:nvSpPr>
            <p:spPr bwMode="auto">
              <a:xfrm>
                <a:off x="1183"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9" name="Oval 737"/>
              <p:cNvSpPr>
                <a:spLocks noChangeArrowheads="1"/>
              </p:cNvSpPr>
              <p:nvPr/>
            </p:nvSpPr>
            <p:spPr bwMode="auto">
              <a:xfrm>
                <a:off x="1144"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0" name="Oval 738"/>
              <p:cNvSpPr>
                <a:spLocks noChangeArrowheads="1"/>
              </p:cNvSpPr>
              <p:nvPr/>
            </p:nvSpPr>
            <p:spPr bwMode="auto">
              <a:xfrm>
                <a:off x="1106"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1" name="Oval 739"/>
              <p:cNvSpPr>
                <a:spLocks noChangeArrowheads="1"/>
              </p:cNvSpPr>
              <p:nvPr/>
            </p:nvSpPr>
            <p:spPr bwMode="auto">
              <a:xfrm>
                <a:off x="1067"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2" name="Oval 740"/>
              <p:cNvSpPr>
                <a:spLocks noChangeArrowheads="1"/>
              </p:cNvSpPr>
              <p:nvPr/>
            </p:nvSpPr>
            <p:spPr bwMode="auto">
              <a:xfrm>
                <a:off x="1029"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3" name="Oval 741"/>
              <p:cNvSpPr>
                <a:spLocks noChangeArrowheads="1"/>
              </p:cNvSpPr>
              <p:nvPr/>
            </p:nvSpPr>
            <p:spPr bwMode="auto">
              <a:xfrm>
                <a:off x="990"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4" name="Oval 742"/>
              <p:cNvSpPr>
                <a:spLocks noChangeArrowheads="1"/>
              </p:cNvSpPr>
              <p:nvPr/>
            </p:nvSpPr>
            <p:spPr bwMode="auto">
              <a:xfrm>
                <a:off x="952"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5" name="Oval 743"/>
              <p:cNvSpPr>
                <a:spLocks noChangeArrowheads="1"/>
              </p:cNvSpPr>
              <p:nvPr/>
            </p:nvSpPr>
            <p:spPr bwMode="auto">
              <a:xfrm>
                <a:off x="913"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6" name="Oval 744"/>
              <p:cNvSpPr>
                <a:spLocks noChangeArrowheads="1"/>
              </p:cNvSpPr>
              <p:nvPr/>
            </p:nvSpPr>
            <p:spPr bwMode="auto">
              <a:xfrm>
                <a:off x="875"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7" name="Oval 745"/>
              <p:cNvSpPr>
                <a:spLocks noChangeArrowheads="1"/>
              </p:cNvSpPr>
              <p:nvPr/>
            </p:nvSpPr>
            <p:spPr bwMode="auto">
              <a:xfrm>
                <a:off x="836"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8" name="Oval 746"/>
              <p:cNvSpPr>
                <a:spLocks noChangeArrowheads="1"/>
              </p:cNvSpPr>
              <p:nvPr/>
            </p:nvSpPr>
            <p:spPr bwMode="auto">
              <a:xfrm>
                <a:off x="798"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9" name="Oval 747"/>
              <p:cNvSpPr>
                <a:spLocks noChangeArrowheads="1"/>
              </p:cNvSpPr>
              <p:nvPr/>
            </p:nvSpPr>
            <p:spPr bwMode="auto">
              <a:xfrm>
                <a:off x="759"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0" name="Oval 748"/>
              <p:cNvSpPr>
                <a:spLocks noChangeArrowheads="1"/>
              </p:cNvSpPr>
              <p:nvPr/>
            </p:nvSpPr>
            <p:spPr bwMode="auto">
              <a:xfrm>
                <a:off x="720"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1" name="Oval 749"/>
              <p:cNvSpPr>
                <a:spLocks noChangeArrowheads="1"/>
              </p:cNvSpPr>
              <p:nvPr/>
            </p:nvSpPr>
            <p:spPr bwMode="auto">
              <a:xfrm>
                <a:off x="682"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2" name="Oval 750"/>
              <p:cNvSpPr>
                <a:spLocks noChangeArrowheads="1"/>
              </p:cNvSpPr>
              <p:nvPr/>
            </p:nvSpPr>
            <p:spPr bwMode="auto">
              <a:xfrm>
                <a:off x="643"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3" name="Oval 751"/>
              <p:cNvSpPr>
                <a:spLocks noChangeArrowheads="1"/>
              </p:cNvSpPr>
              <p:nvPr/>
            </p:nvSpPr>
            <p:spPr bwMode="auto">
              <a:xfrm>
                <a:off x="605"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4" name="Oval 752"/>
              <p:cNvSpPr>
                <a:spLocks noChangeArrowheads="1"/>
              </p:cNvSpPr>
              <p:nvPr/>
            </p:nvSpPr>
            <p:spPr bwMode="auto">
              <a:xfrm>
                <a:off x="566" y="12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5" name="Oval 753"/>
              <p:cNvSpPr>
                <a:spLocks noChangeArrowheads="1"/>
              </p:cNvSpPr>
              <p:nvPr/>
            </p:nvSpPr>
            <p:spPr bwMode="auto">
              <a:xfrm>
                <a:off x="528" y="123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6" name="Oval 754"/>
              <p:cNvSpPr>
                <a:spLocks noChangeArrowheads="1"/>
              </p:cNvSpPr>
              <p:nvPr/>
            </p:nvSpPr>
            <p:spPr bwMode="auto">
              <a:xfrm>
                <a:off x="5000"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7" name="Oval 755"/>
              <p:cNvSpPr>
                <a:spLocks noChangeArrowheads="1"/>
              </p:cNvSpPr>
              <p:nvPr/>
            </p:nvSpPr>
            <p:spPr bwMode="auto">
              <a:xfrm>
                <a:off x="4961"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8" name="Oval 756"/>
              <p:cNvSpPr>
                <a:spLocks noChangeArrowheads="1"/>
              </p:cNvSpPr>
              <p:nvPr/>
            </p:nvSpPr>
            <p:spPr bwMode="auto">
              <a:xfrm>
                <a:off x="4922"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9" name="Oval 757"/>
              <p:cNvSpPr>
                <a:spLocks noChangeArrowheads="1"/>
              </p:cNvSpPr>
              <p:nvPr/>
            </p:nvSpPr>
            <p:spPr bwMode="auto">
              <a:xfrm>
                <a:off x="4884"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0" name="Oval 758"/>
              <p:cNvSpPr>
                <a:spLocks noChangeArrowheads="1"/>
              </p:cNvSpPr>
              <p:nvPr/>
            </p:nvSpPr>
            <p:spPr bwMode="auto">
              <a:xfrm>
                <a:off x="4845"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1" name="Oval 759"/>
              <p:cNvSpPr>
                <a:spLocks noChangeArrowheads="1"/>
              </p:cNvSpPr>
              <p:nvPr/>
            </p:nvSpPr>
            <p:spPr bwMode="auto">
              <a:xfrm>
                <a:off x="4807"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2" name="Oval 760"/>
              <p:cNvSpPr>
                <a:spLocks noChangeArrowheads="1"/>
              </p:cNvSpPr>
              <p:nvPr/>
            </p:nvSpPr>
            <p:spPr bwMode="auto">
              <a:xfrm>
                <a:off x="4768"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3" name="Oval 761"/>
              <p:cNvSpPr>
                <a:spLocks noChangeArrowheads="1"/>
              </p:cNvSpPr>
              <p:nvPr/>
            </p:nvSpPr>
            <p:spPr bwMode="auto">
              <a:xfrm>
                <a:off x="4730"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4" name="Oval 762"/>
              <p:cNvSpPr>
                <a:spLocks noChangeArrowheads="1"/>
              </p:cNvSpPr>
              <p:nvPr/>
            </p:nvSpPr>
            <p:spPr bwMode="auto">
              <a:xfrm>
                <a:off x="4691"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5" name="Oval 763"/>
              <p:cNvSpPr>
                <a:spLocks noChangeArrowheads="1"/>
              </p:cNvSpPr>
              <p:nvPr/>
            </p:nvSpPr>
            <p:spPr bwMode="auto">
              <a:xfrm>
                <a:off x="4653"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6" name="Oval 764"/>
              <p:cNvSpPr>
                <a:spLocks noChangeArrowheads="1"/>
              </p:cNvSpPr>
              <p:nvPr/>
            </p:nvSpPr>
            <p:spPr bwMode="auto">
              <a:xfrm>
                <a:off x="4614"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7" name="Oval 765"/>
              <p:cNvSpPr>
                <a:spLocks noChangeArrowheads="1"/>
              </p:cNvSpPr>
              <p:nvPr/>
            </p:nvSpPr>
            <p:spPr bwMode="auto">
              <a:xfrm>
                <a:off x="4576"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8" name="Oval 766"/>
              <p:cNvSpPr>
                <a:spLocks noChangeArrowheads="1"/>
              </p:cNvSpPr>
              <p:nvPr/>
            </p:nvSpPr>
            <p:spPr bwMode="auto">
              <a:xfrm>
                <a:off x="4537"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9" name="Oval 767"/>
              <p:cNvSpPr>
                <a:spLocks noChangeArrowheads="1"/>
              </p:cNvSpPr>
              <p:nvPr/>
            </p:nvSpPr>
            <p:spPr bwMode="auto">
              <a:xfrm>
                <a:off x="4498"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0" name="Oval 768"/>
              <p:cNvSpPr>
                <a:spLocks noChangeArrowheads="1"/>
              </p:cNvSpPr>
              <p:nvPr/>
            </p:nvSpPr>
            <p:spPr bwMode="auto">
              <a:xfrm>
                <a:off x="4460"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1" name="Oval 769"/>
              <p:cNvSpPr>
                <a:spLocks noChangeArrowheads="1"/>
              </p:cNvSpPr>
              <p:nvPr/>
            </p:nvSpPr>
            <p:spPr bwMode="auto">
              <a:xfrm>
                <a:off x="4421"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2" name="Oval 770"/>
              <p:cNvSpPr>
                <a:spLocks noChangeArrowheads="1"/>
              </p:cNvSpPr>
              <p:nvPr/>
            </p:nvSpPr>
            <p:spPr bwMode="auto">
              <a:xfrm>
                <a:off x="4383"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3" name="Oval 771"/>
              <p:cNvSpPr>
                <a:spLocks noChangeArrowheads="1"/>
              </p:cNvSpPr>
              <p:nvPr/>
            </p:nvSpPr>
            <p:spPr bwMode="auto">
              <a:xfrm>
                <a:off x="4344"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4" name="Oval 772"/>
              <p:cNvSpPr>
                <a:spLocks noChangeArrowheads="1"/>
              </p:cNvSpPr>
              <p:nvPr/>
            </p:nvSpPr>
            <p:spPr bwMode="auto">
              <a:xfrm>
                <a:off x="4306"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5" name="Oval 773"/>
              <p:cNvSpPr>
                <a:spLocks noChangeArrowheads="1"/>
              </p:cNvSpPr>
              <p:nvPr/>
            </p:nvSpPr>
            <p:spPr bwMode="auto">
              <a:xfrm>
                <a:off x="4267"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6" name="Freeform 774"/>
              <p:cNvSpPr>
                <a:spLocks/>
              </p:cNvSpPr>
              <p:nvPr/>
            </p:nvSpPr>
            <p:spPr bwMode="auto">
              <a:xfrm>
                <a:off x="4229" y="1277"/>
                <a:ext cx="27" cy="27"/>
              </a:xfrm>
              <a:custGeom>
                <a:avLst/>
                <a:gdLst>
                  <a:gd name="T0" fmla="*/ 80 w 159"/>
                  <a:gd name="T1" fmla="*/ 0 h 159"/>
                  <a:gd name="T2" fmla="*/ 159 w 159"/>
                  <a:gd name="T3" fmla="*/ 79 h 159"/>
                  <a:gd name="T4" fmla="*/ 79 w 159"/>
                  <a:gd name="T5" fmla="*/ 159 h 159"/>
                  <a:gd name="T6" fmla="*/ 0 w 159"/>
                  <a:gd name="T7" fmla="*/ 79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5"/>
                      <a:pt x="159" y="79"/>
                    </a:cubicBezTo>
                    <a:cubicBezTo>
                      <a:pt x="159" y="124"/>
                      <a:pt x="124" y="159"/>
                      <a:pt x="79" y="159"/>
                    </a:cubicBezTo>
                    <a:cubicBezTo>
                      <a:pt x="35" y="159"/>
                      <a:pt x="0" y="124"/>
                      <a:pt x="0" y="79"/>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7" name="Oval 775"/>
              <p:cNvSpPr>
                <a:spLocks noChangeArrowheads="1"/>
              </p:cNvSpPr>
              <p:nvPr/>
            </p:nvSpPr>
            <p:spPr bwMode="auto">
              <a:xfrm>
                <a:off x="4190"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8" name="Oval 776"/>
              <p:cNvSpPr>
                <a:spLocks noChangeArrowheads="1"/>
              </p:cNvSpPr>
              <p:nvPr/>
            </p:nvSpPr>
            <p:spPr bwMode="auto">
              <a:xfrm>
                <a:off x="4151"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9" name="Oval 777"/>
              <p:cNvSpPr>
                <a:spLocks noChangeArrowheads="1"/>
              </p:cNvSpPr>
              <p:nvPr/>
            </p:nvSpPr>
            <p:spPr bwMode="auto">
              <a:xfrm>
                <a:off x="4113"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0" name="Oval 778"/>
              <p:cNvSpPr>
                <a:spLocks noChangeArrowheads="1"/>
              </p:cNvSpPr>
              <p:nvPr/>
            </p:nvSpPr>
            <p:spPr bwMode="auto">
              <a:xfrm>
                <a:off x="4074"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1" name="Oval 779"/>
              <p:cNvSpPr>
                <a:spLocks noChangeArrowheads="1"/>
              </p:cNvSpPr>
              <p:nvPr/>
            </p:nvSpPr>
            <p:spPr bwMode="auto">
              <a:xfrm>
                <a:off x="4036"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2" name="Oval 780"/>
              <p:cNvSpPr>
                <a:spLocks noChangeArrowheads="1"/>
              </p:cNvSpPr>
              <p:nvPr/>
            </p:nvSpPr>
            <p:spPr bwMode="auto">
              <a:xfrm>
                <a:off x="3997"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3" name="Oval 781"/>
              <p:cNvSpPr>
                <a:spLocks noChangeArrowheads="1"/>
              </p:cNvSpPr>
              <p:nvPr/>
            </p:nvSpPr>
            <p:spPr bwMode="auto">
              <a:xfrm>
                <a:off x="3959"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4" name="Oval 782"/>
              <p:cNvSpPr>
                <a:spLocks noChangeArrowheads="1"/>
              </p:cNvSpPr>
              <p:nvPr/>
            </p:nvSpPr>
            <p:spPr bwMode="auto">
              <a:xfrm>
                <a:off x="3920"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5" name="Oval 783"/>
              <p:cNvSpPr>
                <a:spLocks noChangeArrowheads="1"/>
              </p:cNvSpPr>
              <p:nvPr/>
            </p:nvSpPr>
            <p:spPr bwMode="auto">
              <a:xfrm>
                <a:off x="3882"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6" name="Oval 784"/>
              <p:cNvSpPr>
                <a:spLocks noChangeArrowheads="1"/>
              </p:cNvSpPr>
              <p:nvPr/>
            </p:nvSpPr>
            <p:spPr bwMode="auto">
              <a:xfrm>
                <a:off x="3843"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7" name="Oval 785"/>
              <p:cNvSpPr>
                <a:spLocks noChangeArrowheads="1"/>
              </p:cNvSpPr>
              <p:nvPr/>
            </p:nvSpPr>
            <p:spPr bwMode="auto">
              <a:xfrm>
                <a:off x="3804"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8" name="Oval 786"/>
              <p:cNvSpPr>
                <a:spLocks noChangeArrowheads="1"/>
              </p:cNvSpPr>
              <p:nvPr/>
            </p:nvSpPr>
            <p:spPr bwMode="auto">
              <a:xfrm>
                <a:off x="3766"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9" name="Oval 787"/>
              <p:cNvSpPr>
                <a:spLocks noChangeArrowheads="1"/>
              </p:cNvSpPr>
              <p:nvPr/>
            </p:nvSpPr>
            <p:spPr bwMode="auto">
              <a:xfrm>
                <a:off x="3727"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0" name="Oval 788"/>
              <p:cNvSpPr>
                <a:spLocks noChangeArrowheads="1"/>
              </p:cNvSpPr>
              <p:nvPr/>
            </p:nvSpPr>
            <p:spPr bwMode="auto">
              <a:xfrm>
                <a:off x="3689"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1" name="Oval 789"/>
              <p:cNvSpPr>
                <a:spLocks noChangeArrowheads="1"/>
              </p:cNvSpPr>
              <p:nvPr/>
            </p:nvSpPr>
            <p:spPr bwMode="auto">
              <a:xfrm>
                <a:off x="3650"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2" name="Oval 790"/>
              <p:cNvSpPr>
                <a:spLocks noChangeArrowheads="1"/>
              </p:cNvSpPr>
              <p:nvPr/>
            </p:nvSpPr>
            <p:spPr bwMode="auto">
              <a:xfrm>
                <a:off x="3612"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3" name="Oval 791"/>
              <p:cNvSpPr>
                <a:spLocks noChangeArrowheads="1"/>
              </p:cNvSpPr>
              <p:nvPr/>
            </p:nvSpPr>
            <p:spPr bwMode="auto">
              <a:xfrm>
                <a:off x="3573"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4" name="Oval 792"/>
              <p:cNvSpPr>
                <a:spLocks noChangeArrowheads="1"/>
              </p:cNvSpPr>
              <p:nvPr/>
            </p:nvSpPr>
            <p:spPr bwMode="auto">
              <a:xfrm>
                <a:off x="3535"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5" name="Oval 793"/>
              <p:cNvSpPr>
                <a:spLocks noChangeArrowheads="1"/>
              </p:cNvSpPr>
              <p:nvPr/>
            </p:nvSpPr>
            <p:spPr bwMode="auto">
              <a:xfrm>
                <a:off x="3496"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6" name="Oval 794"/>
              <p:cNvSpPr>
                <a:spLocks noChangeArrowheads="1"/>
              </p:cNvSpPr>
              <p:nvPr/>
            </p:nvSpPr>
            <p:spPr bwMode="auto">
              <a:xfrm>
                <a:off x="3458"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7" name="Oval 795"/>
              <p:cNvSpPr>
                <a:spLocks noChangeArrowheads="1"/>
              </p:cNvSpPr>
              <p:nvPr/>
            </p:nvSpPr>
            <p:spPr bwMode="auto">
              <a:xfrm>
                <a:off x="3419"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8" name="Oval 796"/>
              <p:cNvSpPr>
                <a:spLocks noChangeArrowheads="1"/>
              </p:cNvSpPr>
              <p:nvPr/>
            </p:nvSpPr>
            <p:spPr bwMode="auto">
              <a:xfrm>
                <a:off x="3380"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9" name="Oval 797"/>
              <p:cNvSpPr>
                <a:spLocks noChangeArrowheads="1"/>
              </p:cNvSpPr>
              <p:nvPr/>
            </p:nvSpPr>
            <p:spPr bwMode="auto">
              <a:xfrm>
                <a:off x="3342"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0" name="Oval 798"/>
              <p:cNvSpPr>
                <a:spLocks noChangeArrowheads="1"/>
              </p:cNvSpPr>
              <p:nvPr/>
            </p:nvSpPr>
            <p:spPr bwMode="auto">
              <a:xfrm>
                <a:off x="3303"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1" name="Freeform 799"/>
              <p:cNvSpPr>
                <a:spLocks/>
              </p:cNvSpPr>
              <p:nvPr/>
            </p:nvSpPr>
            <p:spPr bwMode="auto">
              <a:xfrm>
                <a:off x="3265" y="1277"/>
                <a:ext cx="27" cy="27"/>
              </a:xfrm>
              <a:custGeom>
                <a:avLst/>
                <a:gdLst>
                  <a:gd name="T0" fmla="*/ 79 w 159"/>
                  <a:gd name="T1" fmla="*/ 0 h 159"/>
                  <a:gd name="T2" fmla="*/ 159 w 159"/>
                  <a:gd name="T3" fmla="*/ 79 h 159"/>
                  <a:gd name="T4" fmla="*/ 79 w 159"/>
                  <a:gd name="T5" fmla="*/ 159 h 159"/>
                  <a:gd name="T6" fmla="*/ 0 w 159"/>
                  <a:gd name="T7" fmla="*/ 79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5"/>
                      <a:pt x="159" y="79"/>
                    </a:cubicBezTo>
                    <a:cubicBezTo>
                      <a:pt x="159" y="124"/>
                      <a:pt x="123" y="159"/>
                      <a:pt x="79" y="159"/>
                    </a:cubicBezTo>
                    <a:cubicBezTo>
                      <a:pt x="35" y="159"/>
                      <a:pt x="0" y="124"/>
                      <a:pt x="0" y="79"/>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2" name="Oval 800"/>
              <p:cNvSpPr>
                <a:spLocks noChangeArrowheads="1"/>
              </p:cNvSpPr>
              <p:nvPr/>
            </p:nvSpPr>
            <p:spPr bwMode="auto">
              <a:xfrm>
                <a:off x="3226"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3" name="Oval 801"/>
              <p:cNvSpPr>
                <a:spLocks noChangeArrowheads="1"/>
              </p:cNvSpPr>
              <p:nvPr/>
            </p:nvSpPr>
            <p:spPr bwMode="auto">
              <a:xfrm>
                <a:off x="3188"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4" name="Oval 802"/>
              <p:cNvSpPr>
                <a:spLocks noChangeArrowheads="1"/>
              </p:cNvSpPr>
              <p:nvPr/>
            </p:nvSpPr>
            <p:spPr bwMode="auto">
              <a:xfrm>
                <a:off x="3149"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5" name="Oval 803"/>
              <p:cNvSpPr>
                <a:spLocks noChangeArrowheads="1"/>
              </p:cNvSpPr>
              <p:nvPr/>
            </p:nvSpPr>
            <p:spPr bwMode="auto">
              <a:xfrm>
                <a:off x="3111"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6" name="Oval 804"/>
              <p:cNvSpPr>
                <a:spLocks noChangeArrowheads="1"/>
              </p:cNvSpPr>
              <p:nvPr/>
            </p:nvSpPr>
            <p:spPr bwMode="auto">
              <a:xfrm>
                <a:off x="3072"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7" name="Oval 805"/>
              <p:cNvSpPr>
                <a:spLocks noChangeArrowheads="1"/>
              </p:cNvSpPr>
              <p:nvPr/>
            </p:nvSpPr>
            <p:spPr bwMode="auto">
              <a:xfrm>
                <a:off x="3033"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8" name="Oval 806"/>
              <p:cNvSpPr>
                <a:spLocks noChangeArrowheads="1"/>
              </p:cNvSpPr>
              <p:nvPr/>
            </p:nvSpPr>
            <p:spPr bwMode="auto">
              <a:xfrm>
                <a:off x="2995"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9" name="Oval 807"/>
              <p:cNvSpPr>
                <a:spLocks noChangeArrowheads="1"/>
              </p:cNvSpPr>
              <p:nvPr/>
            </p:nvSpPr>
            <p:spPr bwMode="auto">
              <a:xfrm>
                <a:off x="2956"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0" name="Oval 808"/>
              <p:cNvSpPr>
                <a:spLocks noChangeArrowheads="1"/>
              </p:cNvSpPr>
              <p:nvPr/>
            </p:nvSpPr>
            <p:spPr bwMode="auto">
              <a:xfrm>
                <a:off x="2879"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1" name="Oval 809"/>
              <p:cNvSpPr>
                <a:spLocks noChangeArrowheads="1"/>
              </p:cNvSpPr>
              <p:nvPr/>
            </p:nvSpPr>
            <p:spPr bwMode="auto">
              <a:xfrm>
                <a:off x="2841"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2" name="Oval 810"/>
              <p:cNvSpPr>
                <a:spLocks noChangeArrowheads="1"/>
              </p:cNvSpPr>
              <p:nvPr/>
            </p:nvSpPr>
            <p:spPr bwMode="auto">
              <a:xfrm>
                <a:off x="2802"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3" name="Oval 811"/>
              <p:cNvSpPr>
                <a:spLocks noChangeArrowheads="1"/>
              </p:cNvSpPr>
              <p:nvPr/>
            </p:nvSpPr>
            <p:spPr bwMode="auto">
              <a:xfrm>
                <a:off x="2764"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4" name="Oval 812"/>
              <p:cNvSpPr>
                <a:spLocks noChangeArrowheads="1"/>
              </p:cNvSpPr>
              <p:nvPr/>
            </p:nvSpPr>
            <p:spPr bwMode="auto">
              <a:xfrm>
                <a:off x="1838"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5" name="Freeform 813"/>
              <p:cNvSpPr>
                <a:spLocks/>
              </p:cNvSpPr>
              <p:nvPr/>
            </p:nvSpPr>
            <p:spPr bwMode="auto">
              <a:xfrm>
                <a:off x="1800" y="1277"/>
                <a:ext cx="28" cy="27"/>
              </a:xfrm>
              <a:custGeom>
                <a:avLst/>
                <a:gdLst>
                  <a:gd name="T0" fmla="*/ 80 w 160"/>
                  <a:gd name="T1" fmla="*/ 0 h 159"/>
                  <a:gd name="T2" fmla="*/ 159 w 160"/>
                  <a:gd name="T3" fmla="*/ 79 h 159"/>
                  <a:gd name="T4" fmla="*/ 80 w 160"/>
                  <a:gd name="T5" fmla="*/ 159 h 159"/>
                  <a:gd name="T6" fmla="*/ 0 w 160"/>
                  <a:gd name="T7" fmla="*/ 79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79"/>
                    </a:cubicBezTo>
                    <a:cubicBezTo>
                      <a:pt x="160" y="124"/>
                      <a:pt x="124" y="159"/>
                      <a:pt x="80" y="159"/>
                    </a:cubicBezTo>
                    <a:cubicBezTo>
                      <a:pt x="36" y="159"/>
                      <a:pt x="0" y="124"/>
                      <a:pt x="0" y="79"/>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1015"/>
            <p:cNvGrpSpPr>
              <a:grpSpLocks/>
            </p:cNvGrpSpPr>
            <p:nvPr/>
          </p:nvGrpSpPr>
          <p:grpSpPr bwMode="auto">
            <a:xfrm>
              <a:off x="566" y="1277"/>
              <a:ext cx="4346" cy="143"/>
              <a:chOff x="566" y="1277"/>
              <a:chExt cx="4346" cy="143"/>
            </a:xfrm>
            <a:grpFill/>
          </p:grpSpPr>
          <p:sp>
            <p:nvSpPr>
              <p:cNvPr id="1616" name="Oval 815"/>
              <p:cNvSpPr>
                <a:spLocks noChangeArrowheads="1"/>
              </p:cNvSpPr>
              <p:nvPr/>
            </p:nvSpPr>
            <p:spPr bwMode="auto">
              <a:xfrm>
                <a:off x="1723"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7" name="Oval 816"/>
              <p:cNvSpPr>
                <a:spLocks noChangeArrowheads="1"/>
              </p:cNvSpPr>
              <p:nvPr/>
            </p:nvSpPr>
            <p:spPr bwMode="auto">
              <a:xfrm>
                <a:off x="1684"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8" name="Oval 817"/>
              <p:cNvSpPr>
                <a:spLocks noChangeArrowheads="1"/>
              </p:cNvSpPr>
              <p:nvPr/>
            </p:nvSpPr>
            <p:spPr bwMode="auto">
              <a:xfrm>
                <a:off x="1607"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9" name="Oval 818"/>
              <p:cNvSpPr>
                <a:spLocks noChangeArrowheads="1"/>
              </p:cNvSpPr>
              <p:nvPr/>
            </p:nvSpPr>
            <p:spPr bwMode="auto">
              <a:xfrm>
                <a:off x="1491"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0" name="Oval 819"/>
              <p:cNvSpPr>
                <a:spLocks noChangeArrowheads="1"/>
              </p:cNvSpPr>
              <p:nvPr/>
            </p:nvSpPr>
            <p:spPr bwMode="auto">
              <a:xfrm>
                <a:off x="1453"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1" name="Oval 820"/>
              <p:cNvSpPr>
                <a:spLocks noChangeArrowheads="1"/>
              </p:cNvSpPr>
              <p:nvPr/>
            </p:nvSpPr>
            <p:spPr bwMode="auto">
              <a:xfrm>
                <a:off x="1414"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2" name="Oval 821"/>
              <p:cNvSpPr>
                <a:spLocks noChangeArrowheads="1"/>
              </p:cNvSpPr>
              <p:nvPr/>
            </p:nvSpPr>
            <p:spPr bwMode="auto">
              <a:xfrm>
                <a:off x="1376"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3" name="Oval 822"/>
              <p:cNvSpPr>
                <a:spLocks noChangeArrowheads="1"/>
              </p:cNvSpPr>
              <p:nvPr/>
            </p:nvSpPr>
            <p:spPr bwMode="auto">
              <a:xfrm>
                <a:off x="1337"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4" name="Oval 823"/>
              <p:cNvSpPr>
                <a:spLocks noChangeArrowheads="1"/>
              </p:cNvSpPr>
              <p:nvPr/>
            </p:nvSpPr>
            <p:spPr bwMode="auto">
              <a:xfrm>
                <a:off x="1299"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5" name="Oval 824"/>
              <p:cNvSpPr>
                <a:spLocks noChangeArrowheads="1"/>
              </p:cNvSpPr>
              <p:nvPr/>
            </p:nvSpPr>
            <p:spPr bwMode="auto">
              <a:xfrm>
                <a:off x="1260"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6" name="Oval 825"/>
              <p:cNvSpPr>
                <a:spLocks noChangeArrowheads="1"/>
              </p:cNvSpPr>
              <p:nvPr/>
            </p:nvSpPr>
            <p:spPr bwMode="auto">
              <a:xfrm>
                <a:off x="1222"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7" name="Oval 826"/>
              <p:cNvSpPr>
                <a:spLocks noChangeArrowheads="1"/>
              </p:cNvSpPr>
              <p:nvPr/>
            </p:nvSpPr>
            <p:spPr bwMode="auto">
              <a:xfrm>
                <a:off x="1183"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8" name="Oval 827"/>
              <p:cNvSpPr>
                <a:spLocks noChangeArrowheads="1"/>
              </p:cNvSpPr>
              <p:nvPr/>
            </p:nvSpPr>
            <p:spPr bwMode="auto">
              <a:xfrm>
                <a:off x="1144"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9" name="Oval 828"/>
              <p:cNvSpPr>
                <a:spLocks noChangeArrowheads="1"/>
              </p:cNvSpPr>
              <p:nvPr/>
            </p:nvSpPr>
            <p:spPr bwMode="auto">
              <a:xfrm>
                <a:off x="1106"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0" name="Oval 829"/>
              <p:cNvSpPr>
                <a:spLocks noChangeArrowheads="1"/>
              </p:cNvSpPr>
              <p:nvPr/>
            </p:nvSpPr>
            <p:spPr bwMode="auto">
              <a:xfrm>
                <a:off x="1067"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1" name="Oval 830"/>
              <p:cNvSpPr>
                <a:spLocks noChangeArrowheads="1"/>
              </p:cNvSpPr>
              <p:nvPr/>
            </p:nvSpPr>
            <p:spPr bwMode="auto">
              <a:xfrm>
                <a:off x="1029"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2" name="Oval 831"/>
              <p:cNvSpPr>
                <a:spLocks noChangeArrowheads="1"/>
              </p:cNvSpPr>
              <p:nvPr/>
            </p:nvSpPr>
            <p:spPr bwMode="auto">
              <a:xfrm>
                <a:off x="990"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3" name="Oval 832"/>
              <p:cNvSpPr>
                <a:spLocks noChangeArrowheads="1"/>
              </p:cNvSpPr>
              <p:nvPr/>
            </p:nvSpPr>
            <p:spPr bwMode="auto">
              <a:xfrm>
                <a:off x="952"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4" name="Oval 833"/>
              <p:cNvSpPr>
                <a:spLocks noChangeArrowheads="1"/>
              </p:cNvSpPr>
              <p:nvPr/>
            </p:nvSpPr>
            <p:spPr bwMode="auto">
              <a:xfrm>
                <a:off x="913"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5" name="Oval 834"/>
              <p:cNvSpPr>
                <a:spLocks noChangeArrowheads="1"/>
              </p:cNvSpPr>
              <p:nvPr/>
            </p:nvSpPr>
            <p:spPr bwMode="auto">
              <a:xfrm>
                <a:off x="875"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6" name="Oval 835"/>
              <p:cNvSpPr>
                <a:spLocks noChangeArrowheads="1"/>
              </p:cNvSpPr>
              <p:nvPr/>
            </p:nvSpPr>
            <p:spPr bwMode="auto">
              <a:xfrm>
                <a:off x="836"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7" name="Oval 836"/>
              <p:cNvSpPr>
                <a:spLocks noChangeArrowheads="1"/>
              </p:cNvSpPr>
              <p:nvPr/>
            </p:nvSpPr>
            <p:spPr bwMode="auto">
              <a:xfrm>
                <a:off x="798"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8" name="Oval 837"/>
              <p:cNvSpPr>
                <a:spLocks noChangeArrowheads="1"/>
              </p:cNvSpPr>
              <p:nvPr/>
            </p:nvSpPr>
            <p:spPr bwMode="auto">
              <a:xfrm>
                <a:off x="759"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9" name="Oval 838"/>
              <p:cNvSpPr>
                <a:spLocks noChangeArrowheads="1"/>
              </p:cNvSpPr>
              <p:nvPr/>
            </p:nvSpPr>
            <p:spPr bwMode="auto">
              <a:xfrm>
                <a:off x="720"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0" name="Oval 839"/>
              <p:cNvSpPr>
                <a:spLocks noChangeArrowheads="1"/>
              </p:cNvSpPr>
              <p:nvPr/>
            </p:nvSpPr>
            <p:spPr bwMode="auto">
              <a:xfrm>
                <a:off x="682"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1" name="Oval 840"/>
              <p:cNvSpPr>
                <a:spLocks noChangeArrowheads="1"/>
              </p:cNvSpPr>
              <p:nvPr/>
            </p:nvSpPr>
            <p:spPr bwMode="auto">
              <a:xfrm>
                <a:off x="643"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2" name="Oval 841"/>
              <p:cNvSpPr>
                <a:spLocks noChangeArrowheads="1"/>
              </p:cNvSpPr>
              <p:nvPr/>
            </p:nvSpPr>
            <p:spPr bwMode="auto">
              <a:xfrm>
                <a:off x="605" y="1277"/>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3" name="Oval 842"/>
              <p:cNvSpPr>
                <a:spLocks noChangeArrowheads="1"/>
              </p:cNvSpPr>
              <p:nvPr/>
            </p:nvSpPr>
            <p:spPr bwMode="auto">
              <a:xfrm>
                <a:off x="566" y="1277"/>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4" name="Oval 843"/>
              <p:cNvSpPr>
                <a:spLocks noChangeArrowheads="1"/>
              </p:cNvSpPr>
              <p:nvPr/>
            </p:nvSpPr>
            <p:spPr bwMode="auto">
              <a:xfrm>
                <a:off x="4884"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5" name="Oval 844"/>
              <p:cNvSpPr>
                <a:spLocks noChangeArrowheads="1"/>
              </p:cNvSpPr>
              <p:nvPr/>
            </p:nvSpPr>
            <p:spPr bwMode="auto">
              <a:xfrm>
                <a:off x="4845"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6" name="Oval 845"/>
              <p:cNvSpPr>
                <a:spLocks noChangeArrowheads="1"/>
              </p:cNvSpPr>
              <p:nvPr/>
            </p:nvSpPr>
            <p:spPr bwMode="auto">
              <a:xfrm>
                <a:off x="4807"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7" name="Oval 846"/>
              <p:cNvSpPr>
                <a:spLocks noChangeArrowheads="1"/>
              </p:cNvSpPr>
              <p:nvPr/>
            </p:nvSpPr>
            <p:spPr bwMode="auto">
              <a:xfrm>
                <a:off x="4768"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8" name="Oval 847"/>
              <p:cNvSpPr>
                <a:spLocks noChangeArrowheads="1"/>
              </p:cNvSpPr>
              <p:nvPr/>
            </p:nvSpPr>
            <p:spPr bwMode="auto">
              <a:xfrm>
                <a:off x="4730"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9" name="Oval 848"/>
              <p:cNvSpPr>
                <a:spLocks noChangeArrowheads="1"/>
              </p:cNvSpPr>
              <p:nvPr/>
            </p:nvSpPr>
            <p:spPr bwMode="auto">
              <a:xfrm>
                <a:off x="4691"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0" name="Oval 849"/>
              <p:cNvSpPr>
                <a:spLocks noChangeArrowheads="1"/>
              </p:cNvSpPr>
              <p:nvPr/>
            </p:nvSpPr>
            <p:spPr bwMode="auto">
              <a:xfrm>
                <a:off x="4653"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1" name="Oval 850"/>
              <p:cNvSpPr>
                <a:spLocks noChangeArrowheads="1"/>
              </p:cNvSpPr>
              <p:nvPr/>
            </p:nvSpPr>
            <p:spPr bwMode="auto">
              <a:xfrm>
                <a:off x="4614"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2" name="Oval 851"/>
              <p:cNvSpPr>
                <a:spLocks noChangeArrowheads="1"/>
              </p:cNvSpPr>
              <p:nvPr/>
            </p:nvSpPr>
            <p:spPr bwMode="auto">
              <a:xfrm>
                <a:off x="4576"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3" name="Oval 852"/>
              <p:cNvSpPr>
                <a:spLocks noChangeArrowheads="1"/>
              </p:cNvSpPr>
              <p:nvPr/>
            </p:nvSpPr>
            <p:spPr bwMode="auto">
              <a:xfrm>
                <a:off x="4537"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4" name="Oval 853"/>
              <p:cNvSpPr>
                <a:spLocks noChangeArrowheads="1"/>
              </p:cNvSpPr>
              <p:nvPr/>
            </p:nvSpPr>
            <p:spPr bwMode="auto">
              <a:xfrm>
                <a:off x="4498"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5" name="Oval 854"/>
              <p:cNvSpPr>
                <a:spLocks noChangeArrowheads="1"/>
              </p:cNvSpPr>
              <p:nvPr/>
            </p:nvSpPr>
            <p:spPr bwMode="auto">
              <a:xfrm>
                <a:off x="4460"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6" name="Oval 855"/>
              <p:cNvSpPr>
                <a:spLocks noChangeArrowheads="1"/>
              </p:cNvSpPr>
              <p:nvPr/>
            </p:nvSpPr>
            <p:spPr bwMode="auto">
              <a:xfrm>
                <a:off x="4421"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7" name="Oval 856"/>
              <p:cNvSpPr>
                <a:spLocks noChangeArrowheads="1"/>
              </p:cNvSpPr>
              <p:nvPr/>
            </p:nvSpPr>
            <p:spPr bwMode="auto">
              <a:xfrm>
                <a:off x="4383"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8" name="Oval 857"/>
              <p:cNvSpPr>
                <a:spLocks noChangeArrowheads="1"/>
              </p:cNvSpPr>
              <p:nvPr/>
            </p:nvSpPr>
            <p:spPr bwMode="auto">
              <a:xfrm>
                <a:off x="4344"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9" name="Oval 858"/>
              <p:cNvSpPr>
                <a:spLocks noChangeArrowheads="1"/>
              </p:cNvSpPr>
              <p:nvPr/>
            </p:nvSpPr>
            <p:spPr bwMode="auto">
              <a:xfrm>
                <a:off x="4306"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0" name="Oval 859"/>
              <p:cNvSpPr>
                <a:spLocks noChangeArrowheads="1"/>
              </p:cNvSpPr>
              <p:nvPr/>
            </p:nvSpPr>
            <p:spPr bwMode="auto">
              <a:xfrm>
                <a:off x="4267"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1" name="Freeform 860"/>
              <p:cNvSpPr>
                <a:spLocks/>
              </p:cNvSpPr>
              <p:nvPr/>
            </p:nvSpPr>
            <p:spPr bwMode="auto">
              <a:xfrm>
                <a:off x="4229" y="1315"/>
                <a:ext cx="27" cy="28"/>
              </a:xfrm>
              <a:custGeom>
                <a:avLst/>
                <a:gdLst>
                  <a:gd name="T0" fmla="*/ 80 w 159"/>
                  <a:gd name="T1" fmla="*/ 0 h 159"/>
                  <a:gd name="T2" fmla="*/ 159 w 159"/>
                  <a:gd name="T3" fmla="*/ 80 h 159"/>
                  <a:gd name="T4" fmla="*/ 79 w 159"/>
                  <a:gd name="T5" fmla="*/ 159 h 159"/>
                  <a:gd name="T6" fmla="*/ 0 w 159"/>
                  <a:gd name="T7" fmla="*/ 80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6"/>
                      <a:pt x="159" y="80"/>
                    </a:cubicBezTo>
                    <a:cubicBezTo>
                      <a:pt x="159" y="124"/>
                      <a:pt x="124" y="159"/>
                      <a:pt x="79" y="159"/>
                    </a:cubicBezTo>
                    <a:cubicBezTo>
                      <a:pt x="35" y="159"/>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2" name="Oval 861"/>
              <p:cNvSpPr>
                <a:spLocks noChangeArrowheads="1"/>
              </p:cNvSpPr>
              <p:nvPr/>
            </p:nvSpPr>
            <p:spPr bwMode="auto">
              <a:xfrm>
                <a:off x="4190"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3" name="Oval 862"/>
              <p:cNvSpPr>
                <a:spLocks noChangeArrowheads="1"/>
              </p:cNvSpPr>
              <p:nvPr/>
            </p:nvSpPr>
            <p:spPr bwMode="auto">
              <a:xfrm>
                <a:off x="4151"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4" name="Oval 863"/>
              <p:cNvSpPr>
                <a:spLocks noChangeArrowheads="1"/>
              </p:cNvSpPr>
              <p:nvPr/>
            </p:nvSpPr>
            <p:spPr bwMode="auto">
              <a:xfrm>
                <a:off x="4113"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5" name="Oval 864"/>
              <p:cNvSpPr>
                <a:spLocks noChangeArrowheads="1"/>
              </p:cNvSpPr>
              <p:nvPr/>
            </p:nvSpPr>
            <p:spPr bwMode="auto">
              <a:xfrm>
                <a:off x="4074"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6" name="Oval 865"/>
              <p:cNvSpPr>
                <a:spLocks noChangeArrowheads="1"/>
              </p:cNvSpPr>
              <p:nvPr/>
            </p:nvSpPr>
            <p:spPr bwMode="auto">
              <a:xfrm>
                <a:off x="4036"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7" name="Oval 866"/>
              <p:cNvSpPr>
                <a:spLocks noChangeArrowheads="1"/>
              </p:cNvSpPr>
              <p:nvPr/>
            </p:nvSpPr>
            <p:spPr bwMode="auto">
              <a:xfrm>
                <a:off x="3997"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8" name="Oval 867"/>
              <p:cNvSpPr>
                <a:spLocks noChangeArrowheads="1"/>
              </p:cNvSpPr>
              <p:nvPr/>
            </p:nvSpPr>
            <p:spPr bwMode="auto">
              <a:xfrm>
                <a:off x="3959"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9" name="Oval 868"/>
              <p:cNvSpPr>
                <a:spLocks noChangeArrowheads="1"/>
              </p:cNvSpPr>
              <p:nvPr/>
            </p:nvSpPr>
            <p:spPr bwMode="auto">
              <a:xfrm>
                <a:off x="3920"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0" name="Oval 869"/>
              <p:cNvSpPr>
                <a:spLocks noChangeArrowheads="1"/>
              </p:cNvSpPr>
              <p:nvPr/>
            </p:nvSpPr>
            <p:spPr bwMode="auto">
              <a:xfrm>
                <a:off x="3882"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1" name="Oval 870"/>
              <p:cNvSpPr>
                <a:spLocks noChangeArrowheads="1"/>
              </p:cNvSpPr>
              <p:nvPr/>
            </p:nvSpPr>
            <p:spPr bwMode="auto">
              <a:xfrm>
                <a:off x="3843"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2" name="Oval 871"/>
              <p:cNvSpPr>
                <a:spLocks noChangeArrowheads="1"/>
              </p:cNvSpPr>
              <p:nvPr/>
            </p:nvSpPr>
            <p:spPr bwMode="auto">
              <a:xfrm>
                <a:off x="3804"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3" name="Oval 872"/>
              <p:cNvSpPr>
                <a:spLocks noChangeArrowheads="1"/>
              </p:cNvSpPr>
              <p:nvPr/>
            </p:nvSpPr>
            <p:spPr bwMode="auto">
              <a:xfrm>
                <a:off x="3766"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4" name="Oval 873"/>
              <p:cNvSpPr>
                <a:spLocks noChangeArrowheads="1"/>
              </p:cNvSpPr>
              <p:nvPr/>
            </p:nvSpPr>
            <p:spPr bwMode="auto">
              <a:xfrm>
                <a:off x="3727"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5" name="Oval 874"/>
              <p:cNvSpPr>
                <a:spLocks noChangeArrowheads="1"/>
              </p:cNvSpPr>
              <p:nvPr/>
            </p:nvSpPr>
            <p:spPr bwMode="auto">
              <a:xfrm>
                <a:off x="3689"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6" name="Oval 875"/>
              <p:cNvSpPr>
                <a:spLocks noChangeArrowheads="1"/>
              </p:cNvSpPr>
              <p:nvPr/>
            </p:nvSpPr>
            <p:spPr bwMode="auto">
              <a:xfrm>
                <a:off x="3650"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7" name="Oval 876"/>
              <p:cNvSpPr>
                <a:spLocks noChangeArrowheads="1"/>
              </p:cNvSpPr>
              <p:nvPr/>
            </p:nvSpPr>
            <p:spPr bwMode="auto">
              <a:xfrm>
                <a:off x="3612"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8" name="Oval 877"/>
              <p:cNvSpPr>
                <a:spLocks noChangeArrowheads="1"/>
              </p:cNvSpPr>
              <p:nvPr/>
            </p:nvSpPr>
            <p:spPr bwMode="auto">
              <a:xfrm>
                <a:off x="3573"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9" name="Oval 878"/>
              <p:cNvSpPr>
                <a:spLocks noChangeArrowheads="1"/>
              </p:cNvSpPr>
              <p:nvPr/>
            </p:nvSpPr>
            <p:spPr bwMode="auto">
              <a:xfrm>
                <a:off x="3535"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0" name="Oval 879"/>
              <p:cNvSpPr>
                <a:spLocks noChangeArrowheads="1"/>
              </p:cNvSpPr>
              <p:nvPr/>
            </p:nvSpPr>
            <p:spPr bwMode="auto">
              <a:xfrm>
                <a:off x="3496"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Oval 880"/>
              <p:cNvSpPr>
                <a:spLocks noChangeArrowheads="1"/>
              </p:cNvSpPr>
              <p:nvPr/>
            </p:nvSpPr>
            <p:spPr bwMode="auto">
              <a:xfrm>
                <a:off x="3458"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Oval 881"/>
              <p:cNvSpPr>
                <a:spLocks noChangeArrowheads="1"/>
              </p:cNvSpPr>
              <p:nvPr/>
            </p:nvSpPr>
            <p:spPr bwMode="auto">
              <a:xfrm>
                <a:off x="3419"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Oval 882"/>
              <p:cNvSpPr>
                <a:spLocks noChangeArrowheads="1"/>
              </p:cNvSpPr>
              <p:nvPr/>
            </p:nvSpPr>
            <p:spPr bwMode="auto">
              <a:xfrm>
                <a:off x="3380"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Oval 883"/>
              <p:cNvSpPr>
                <a:spLocks noChangeArrowheads="1"/>
              </p:cNvSpPr>
              <p:nvPr/>
            </p:nvSpPr>
            <p:spPr bwMode="auto">
              <a:xfrm>
                <a:off x="3342"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Oval 884"/>
              <p:cNvSpPr>
                <a:spLocks noChangeArrowheads="1"/>
              </p:cNvSpPr>
              <p:nvPr/>
            </p:nvSpPr>
            <p:spPr bwMode="auto">
              <a:xfrm>
                <a:off x="3303"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885"/>
              <p:cNvSpPr>
                <a:spLocks/>
              </p:cNvSpPr>
              <p:nvPr/>
            </p:nvSpPr>
            <p:spPr bwMode="auto">
              <a:xfrm>
                <a:off x="3265" y="1315"/>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3" y="159"/>
                      <a:pt x="79" y="159"/>
                    </a:cubicBezTo>
                    <a:cubicBezTo>
                      <a:pt x="35" y="159"/>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Oval 886"/>
              <p:cNvSpPr>
                <a:spLocks noChangeArrowheads="1"/>
              </p:cNvSpPr>
              <p:nvPr/>
            </p:nvSpPr>
            <p:spPr bwMode="auto">
              <a:xfrm>
                <a:off x="3226"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Oval 887"/>
              <p:cNvSpPr>
                <a:spLocks noChangeArrowheads="1"/>
              </p:cNvSpPr>
              <p:nvPr/>
            </p:nvSpPr>
            <p:spPr bwMode="auto">
              <a:xfrm>
                <a:off x="3188"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Oval 888"/>
              <p:cNvSpPr>
                <a:spLocks noChangeArrowheads="1"/>
              </p:cNvSpPr>
              <p:nvPr/>
            </p:nvSpPr>
            <p:spPr bwMode="auto">
              <a:xfrm>
                <a:off x="3149"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0" name="Oval 889"/>
              <p:cNvSpPr>
                <a:spLocks noChangeArrowheads="1"/>
              </p:cNvSpPr>
              <p:nvPr/>
            </p:nvSpPr>
            <p:spPr bwMode="auto">
              <a:xfrm>
                <a:off x="3111"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Oval 890"/>
              <p:cNvSpPr>
                <a:spLocks noChangeArrowheads="1"/>
              </p:cNvSpPr>
              <p:nvPr/>
            </p:nvSpPr>
            <p:spPr bwMode="auto">
              <a:xfrm>
                <a:off x="3072"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2" name="Oval 891"/>
              <p:cNvSpPr>
                <a:spLocks noChangeArrowheads="1"/>
              </p:cNvSpPr>
              <p:nvPr/>
            </p:nvSpPr>
            <p:spPr bwMode="auto">
              <a:xfrm>
                <a:off x="3033"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Oval 892"/>
              <p:cNvSpPr>
                <a:spLocks noChangeArrowheads="1"/>
              </p:cNvSpPr>
              <p:nvPr/>
            </p:nvSpPr>
            <p:spPr bwMode="auto">
              <a:xfrm>
                <a:off x="2995"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4" name="Oval 893"/>
              <p:cNvSpPr>
                <a:spLocks noChangeArrowheads="1"/>
              </p:cNvSpPr>
              <p:nvPr/>
            </p:nvSpPr>
            <p:spPr bwMode="auto">
              <a:xfrm>
                <a:off x="2918"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Oval 894"/>
              <p:cNvSpPr>
                <a:spLocks noChangeArrowheads="1"/>
              </p:cNvSpPr>
              <p:nvPr/>
            </p:nvSpPr>
            <p:spPr bwMode="auto">
              <a:xfrm>
                <a:off x="2879"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6" name="Oval 895"/>
              <p:cNvSpPr>
                <a:spLocks noChangeArrowheads="1"/>
              </p:cNvSpPr>
              <p:nvPr/>
            </p:nvSpPr>
            <p:spPr bwMode="auto">
              <a:xfrm>
                <a:off x="2841"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Oval 896"/>
              <p:cNvSpPr>
                <a:spLocks noChangeArrowheads="1"/>
              </p:cNvSpPr>
              <p:nvPr/>
            </p:nvSpPr>
            <p:spPr bwMode="auto">
              <a:xfrm>
                <a:off x="2802"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8" name="Oval 897"/>
              <p:cNvSpPr>
                <a:spLocks noChangeArrowheads="1"/>
              </p:cNvSpPr>
              <p:nvPr/>
            </p:nvSpPr>
            <p:spPr bwMode="auto">
              <a:xfrm>
                <a:off x="2764"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Oval 898"/>
              <p:cNvSpPr>
                <a:spLocks noChangeArrowheads="1"/>
              </p:cNvSpPr>
              <p:nvPr/>
            </p:nvSpPr>
            <p:spPr bwMode="auto">
              <a:xfrm>
                <a:off x="1761"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0" name="Oval 899"/>
              <p:cNvSpPr>
                <a:spLocks noChangeArrowheads="1"/>
              </p:cNvSpPr>
              <p:nvPr/>
            </p:nvSpPr>
            <p:spPr bwMode="auto">
              <a:xfrm>
                <a:off x="1723"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Oval 900"/>
              <p:cNvSpPr>
                <a:spLocks noChangeArrowheads="1"/>
              </p:cNvSpPr>
              <p:nvPr/>
            </p:nvSpPr>
            <p:spPr bwMode="auto">
              <a:xfrm>
                <a:off x="1684"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2" name="Oval 901"/>
              <p:cNvSpPr>
                <a:spLocks noChangeArrowheads="1"/>
              </p:cNvSpPr>
              <p:nvPr/>
            </p:nvSpPr>
            <p:spPr bwMode="auto">
              <a:xfrm>
                <a:off x="1453"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Oval 902"/>
              <p:cNvSpPr>
                <a:spLocks noChangeArrowheads="1"/>
              </p:cNvSpPr>
              <p:nvPr/>
            </p:nvSpPr>
            <p:spPr bwMode="auto">
              <a:xfrm>
                <a:off x="1414"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4" name="Oval 903"/>
              <p:cNvSpPr>
                <a:spLocks noChangeArrowheads="1"/>
              </p:cNvSpPr>
              <p:nvPr/>
            </p:nvSpPr>
            <p:spPr bwMode="auto">
              <a:xfrm>
                <a:off x="1376"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Oval 904"/>
              <p:cNvSpPr>
                <a:spLocks noChangeArrowheads="1"/>
              </p:cNvSpPr>
              <p:nvPr/>
            </p:nvSpPr>
            <p:spPr bwMode="auto">
              <a:xfrm>
                <a:off x="1337"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Oval 905"/>
              <p:cNvSpPr>
                <a:spLocks noChangeArrowheads="1"/>
              </p:cNvSpPr>
              <p:nvPr/>
            </p:nvSpPr>
            <p:spPr bwMode="auto">
              <a:xfrm>
                <a:off x="1299"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Oval 906"/>
              <p:cNvSpPr>
                <a:spLocks noChangeArrowheads="1"/>
              </p:cNvSpPr>
              <p:nvPr/>
            </p:nvSpPr>
            <p:spPr bwMode="auto">
              <a:xfrm>
                <a:off x="1260"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Oval 907"/>
              <p:cNvSpPr>
                <a:spLocks noChangeArrowheads="1"/>
              </p:cNvSpPr>
              <p:nvPr/>
            </p:nvSpPr>
            <p:spPr bwMode="auto">
              <a:xfrm>
                <a:off x="1222"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Oval 908"/>
              <p:cNvSpPr>
                <a:spLocks noChangeArrowheads="1"/>
              </p:cNvSpPr>
              <p:nvPr/>
            </p:nvSpPr>
            <p:spPr bwMode="auto">
              <a:xfrm>
                <a:off x="1183"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Oval 909"/>
              <p:cNvSpPr>
                <a:spLocks noChangeArrowheads="1"/>
              </p:cNvSpPr>
              <p:nvPr/>
            </p:nvSpPr>
            <p:spPr bwMode="auto">
              <a:xfrm>
                <a:off x="1144"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Oval 910"/>
              <p:cNvSpPr>
                <a:spLocks noChangeArrowheads="1"/>
              </p:cNvSpPr>
              <p:nvPr/>
            </p:nvSpPr>
            <p:spPr bwMode="auto">
              <a:xfrm>
                <a:off x="1106"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Oval 911"/>
              <p:cNvSpPr>
                <a:spLocks noChangeArrowheads="1"/>
              </p:cNvSpPr>
              <p:nvPr/>
            </p:nvSpPr>
            <p:spPr bwMode="auto">
              <a:xfrm>
                <a:off x="1067"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Oval 912"/>
              <p:cNvSpPr>
                <a:spLocks noChangeArrowheads="1"/>
              </p:cNvSpPr>
              <p:nvPr/>
            </p:nvSpPr>
            <p:spPr bwMode="auto">
              <a:xfrm>
                <a:off x="1029"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4" name="Oval 913"/>
              <p:cNvSpPr>
                <a:spLocks noChangeArrowheads="1"/>
              </p:cNvSpPr>
              <p:nvPr/>
            </p:nvSpPr>
            <p:spPr bwMode="auto">
              <a:xfrm>
                <a:off x="990"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Oval 914"/>
              <p:cNvSpPr>
                <a:spLocks noChangeArrowheads="1"/>
              </p:cNvSpPr>
              <p:nvPr/>
            </p:nvSpPr>
            <p:spPr bwMode="auto">
              <a:xfrm>
                <a:off x="952"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6" name="Oval 915"/>
              <p:cNvSpPr>
                <a:spLocks noChangeArrowheads="1"/>
              </p:cNvSpPr>
              <p:nvPr/>
            </p:nvSpPr>
            <p:spPr bwMode="auto">
              <a:xfrm>
                <a:off x="913"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Oval 916"/>
              <p:cNvSpPr>
                <a:spLocks noChangeArrowheads="1"/>
              </p:cNvSpPr>
              <p:nvPr/>
            </p:nvSpPr>
            <p:spPr bwMode="auto">
              <a:xfrm>
                <a:off x="875"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Oval 917"/>
              <p:cNvSpPr>
                <a:spLocks noChangeArrowheads="1"/>
              </p:cNvSpPr>
              <p:nvPr/>
            </p:nvSpPr>
            <p:spPr bwMode="auto">
              <a:xfrm>
                <a:off x="836"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Oval 918"/>
              <p:cNvSpPr>
                <a:spLocks noChangeArrowheads="1"/>
              </p:cNvSpPr>
              <p:nvPr/>
            </p:nvSpPr>
            <p:spPr bwMode="auto">
              <a:xfrm>
                <a:off x="798"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Oval 919"/>
              <p:cNvSpPr>
                <a:spLocks noChangeArrowheads="1"/>
              </p:cNvSpPr>
              <p:nvPr/>
            </p:nvSpPr>
            <p:spPr bwMode="auto">
              <a:xfrm>
                <a:off x="759"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Oval 920"/>
              <p:cNvSpPr>
                <a:spLocks noChangeArrowheads="1"/>
              </p:cNvSpPr>
              <p:nvPr/>
            </p:nvSpPr>
            <p:spPr bwMode="auto">
              <a:xfrm>
                <a:off x="720"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Oval 921"/>
              <p:cNvSpPr>
                <a:spLocks noChangeArrowheads="1"/>
              </p:cNvSpPr>
              <p:nvPr/>
            </p:nvSpPr>
            <p:spPr bwMode="auto">
              <a:xfrm>
                <a:off x="682"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Oval 922"/>
              <p:cNvSpPr>
                <a:spLocks noChangeArrowheads="1"/>
              </p:cNvSpPr>
              <p:nvPr/>
            </p:nvSpPr>
            <p:spPr bwMode="auto">
              <a:xfrm>
                <a:off x="643"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Oval 923"/>
              <p:cNvSpPr>
                <a:spLocks noChangeArrowheads="1"/>
              </p:cNvSpPr>
              <p:nvPr/>
            </p:nvSpPr>
            <p:spPr bwMode="auto">
              <a:xfrm>
                <a:off x="605" y="131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Oval 924"/>
              <p:cNvSpPr>
                <a:spLocks noChangeArrowheads="1"/>
              </p:cNvSpPr>
              <p:nvPr/>
            </p:nvSpPr>
            <p:spPr bwMode="auto">
              <a:xfrm>
                <a:off x="566" y="131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6" name="Oval 925"/>
              <p:cNvSpPr>
                <a:spLocks noChangeArrowheads="1"/>
              </p:cNvSpPr>
              <p:nvPr/>
            </p:nvSpPr>
            <p:spPr bwMode="auto">
              <a:xfrm>
                <a:off x="4768"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Oval 926"/>
              <p:cNvSpPr>
                <a:spLocks noChangeArrowheads="1"/>
              </p:cNvSpPr>
              <p:nvPr/>
            </p:nvSpPr>
            <p:spPr bwMode="auto">
              <a:xfrm>
                <a:off x="4730"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Oval 927"/>
              <p:cNvSpPr>
                <a:spLocks noChangeArrowheads="1"/>
              </p:cNvSpPr>
              <p:nvPr/>
            </p:nvSpPr>
            <p:spPr bwMode="auto">
              <a:xfrm>
                <a:off x="4498"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Oval 928"/>
              <p:cNvSpPr>
                <a:spLocks noChangeArrowheads="1"/>
              </p:cNvSpPr>
              <p:nvPr/>
            </p:nvSpPr>
            <p:spPr bwMode="auto">
              <a:xfrm>
                <a:off x="4460"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Oval 929"/>
              <p:cNvSpPr>
                <a:spLocks noChangeArrowheads="1"/>
              </p:cNvSpPr>
              <p:nvPr/>
            </p:nvSpPr>
            <p:spPr bwMode="auto">
              <a:xfrm>
                <a:off x="4421"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Oval 930"/>
              <p:cNvSpPr>
                <a:spLocks noChangeArrowheads="1"/>
              </p:cNvSpPr>
              <p:nvPr/>
            </p:nvSpPr>
            <p:spPr bwMode="auto">
              <a:xfrm>
                <a:off x="4383"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Oval 931"/>
              <p:cNvSpPr>
                <a:spLocks noChangeArrowheads="1"/>
              </p:cNvSpPr>
              <p:nvPr/>
            </p:nvSpPr>
            <p:spPr bwMode="auto">
              <a:xfrm>
                <a:off x="4344"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Oval 932"/>
              <p:cNvSpPr>
                <a:spLocks noChangeArrowheads="1"/>
              </p:cNvSpPr>
              <p:nvPr/>
            </p:nvSpPr>
            <p:spPr bwMode="auto">
              <a:xfrm>
                <a:off x="4306"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Oval 933"/>
              <p:cNvSpPr>
                <a:spLocks noChangeArrowheads="1"/>
              </p:cNvSpPr>
              <p:nvPr/>
            </p:nvSpPr>
            <p:spPr bwMode="auto">
              <a:xfrm>
                <a:off x="4267"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934"/>
              <p:cNvSpPr>
                <a:spLocks/>
              </p:cNvSpPr>
              <p:nvPr/>
            </p:nvSpPr>
            <p:spPr bwMode="auto">
              <a:xfrm>
                <a:off x="4229" y="1354"/>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6" name="Oval 935"/>
              <p:cNvSpPr>
                <a:spLocks noChangeArrowheads="1"/>
              </p:cNvSpPr>
              <p:nvPr/>
            </p:nvSpPr>
            <p:spPr bwMode="auto">
              <a:xfrm>
                <a:off x="4190"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Oval 936"/>
              <p:cNvSpPr>
                <a:spLocks noChangeArrowheads="1"/>
              </p:cNvSpPr>
              <p:nvPr/>
            </p:nvSpPr>
            <p:spPr bwMode="auto">
              <a:xfrm>
                <a:off x="4151"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8" name="Oval 937"/>
              <p:cNvSpPr>
                <a:spLocks noChangeArrowheads="1"/>
              </p:cNvSpPr>
              <p:nvPr/>
            </p:nvSpPr>
            <p:spPr bwMode="auto">
              <a:xfrm>
                <a:off x="4113"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Oval 938"/>
              <p:cNvSpPr>
                <a:spLocks noChangeArrowheads="1"/>
              </p:cNvSpPr>
              <p:nvPr/>
            </p:nvSpPr>
            <p:spPr bwMode="auto">
              <a:xfrm>
                <a:off x="4074"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0" name="Oval 939"/>
              <p:cNvSpPr>
                <a:spLocks noChangeArrowheads="1"/>
              </p:cNvSpPr>
              <p:nvPr/>
            </p:nvSpPr>
            <p:spPr bwMode="auto">
              <a:xfrm>
                <a:off x="4036"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Oval 940"/>
              <p:cNvSpPr>
                <a:spLocks noChangeArrowheads="1"/>
              </p:cNvSpPr>
              <p:nvPr/>
            </p:nvSpPr>
            <p:spPr bwMode="auto">
              <a:xfrm>
                <a:off x="3997"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2" name="Oval 941"/>
              <p:cNvSpPr>
                <a:spLocks noChangeArrowheads="1"/>
              </p:cNvSpPr>
              <p:nvPr/>
            </p:nvSpPr>
            <p:spPr bwMode="auto">
              <a:xfrm>
                <a:off x="3959"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Oval 942"/>
              <p:cNvSpPr>
                <a:spLocks noChangeArrowheads="1"/>
              </p:cNvSpPr>
              <p:nvPr/>
            </p:nvSpPr>
            <p:spPr bwMode="auto">
              <a:xfrm>
                <a:off x="3920"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4" name="Oval 943"/>
              <p:cNvSpPr>
                <a:spLocks noChangeArrowheads="1"/>
              </p:cNvSpPr>
              <p:nvPr/>
            </p:nvSpPr>
            <p:spPr bwMode="auto">
              <a:xfrm>
                <a:off x="3882"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Oval 944"/>
              <p:cNvSpPr>
                <a:spLocks noChangeArrowheads="1"/>
              </p:cNvSpPr>
              <p:nvPr/>
            </p:nvSpPr>
            <p:spPr bwMode="auto">
              <a:xfrm>
                <a:off x="3843"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6" name="Oval 945"/>
              <p:cNvSpPr>
                <a:spLocks noChangeArrowheads="1"/>
              </p:cNvSpPr>
              <p:nvPr/>
            </p:nvSpPr>
            <p:spPr bwMode="auto">
              <a:xfrm>
                <a:off x="3804"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Oval 946"/>
              <p:cNvSpPr>
                <a:spLocks noChangeArrowheads="1"/>
              </p:cNvSpPr>
              <p:nvPr/>
            </p:nvSpPr>
            <p:spPr bwMode="auto">
              <a:xfrm>
                <a:off x="3766"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8" name="Oval 947"/>
              <p:cNvSpPr>
                <a:spLocks noChangeArrowheads="1"/>
              </p:cNvSpPr>
              <p:nvPr/>
            </p:nvSpPr>
            <p:spPr bwMode="auto">
              <a:xfrm>
                <a:off x="3727"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Oval 948"/>
              <p:cNvSpPr>
                <a:spLocks noChangeArrowheads="1"/>
              </p:cNvSpPr>
              <p:nvPr/>
            </p:nvSpPr>
            <p:spPr bwMode="auto">
              <a:xfrm>
                <a:off x="3689"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Oval 949"/>
              <p:cNvSpPr>
                <a:spLocks noChangeArrowheads="1"/>
              </p:cNvSpPr>
              <p:nvPr/>
            </p:nvSpPr>
            <p:spPr bwMode="auto">
              <a:xfrm>
                <a:off x="3650"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Oval 950"/>
              <p:cNvSpPr>
                <a:spLocks noChangeArrowheads="1"/>
              </p:cNvSpPr>
              <p:nvPr/>
            </p:nvSpPr>
            <p:spPr bwMode="auto">
              <a:xfrm>
                <a:off x="3612"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Oval 951"/>
              <p:cNvSpPr>
                <a:spLocks noChangeArrowheads="1"/>
              </p:cNvSpPr>
              <p:nvPr/>
            </p:nvSpPr>
            <p:spPr bwMode="auto">
              <a:xfrm>
                <a:off x="3573"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Oval 952"/>
              <p:cNvSpPr>
                <a:spLocks noChangeArrowheads="1"/>
              </p:cNvSpPr>
              <p:nvPr/>
            </p:nvSpPr>
            <p:spPr bwMode="auto">
              <a:xfrm>
                <a:off x="3535"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Oval 953"/>
              <p:cNvSpPr>
                <a:spLocks noChangeArrowheads="1"/>
              </p:cNvSpPr>
              <p:nvPr/>
            </p:nvSpPr>
            <p:spPr bwMode="auto">
              <a:xfrm>
                <a:off x="3496"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Oval 954"/>
              <p:cNvSpPr>
                <a:spLocks noChangeArrowheads="1"/>
              </p:cNvSpPr>
              <p:nvPr/>
            </p:nvSpPr>
            <p:spPr bwMode="auto">
              <a:xfrm>
                <a:off x="3458"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Oval 955"/>
              <p:cNvSpPr>
                <a:spLocks noChangeArrowheads="1"/>
              </p:cNvSpPr>
              <p:nvPr/>
            </p:nvSpPr>
            <p:spPr bwMode="auto">
              <a:xfrm>
                <a:off x="3419"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Oval 956"/>
              <p:cNvSpPr>
                <a:spLocks noChangeArrowheads="1"/>
              </p:cNvSpPr>
              <p:nvPr/>
            </p:nvSpPr>
            <p:spPr bwMode="auto">
              <a:xfrm>
                <a:off x="3380"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8" name="Oval 957"/>
              <p:cNvSpPr>
                <a:spLocks noChangeArrowheads="1"/>
              </p:cNvSpPr>
              <p:nvPr/>
            </p:nvSpPr>
            <p:spPr bwMode="auto">
              <a:xfrm>
                <a:off x="3342"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Oval 958"/>
              <p:cNvSpPr>
                <a:spLocks noChangeArrowheads="1"/>
              </p:cNvSpPr>
              <p:nvPr/>
            </p:nvSpPr>
            <p:spPr bwMode="auto">
              <a:xfrm>
                <a:off x="3303"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0" name="Freeform 959"/>
              <p:cNvSpPr>
                <a:spLocks/>
              </p:cNvSpPr>
              <p:nvPr/>
            </p:nvSpPr>
            <p:spPr bwMode="auto">
              <a:xfrm>
                <a:off x="3265" y="1354"/>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1" name="Oval 960"/>
              <p:cNvSpPr>
                <a:spLocks noChangeArrowheads="1"/>
              </p:cNvSpPr>
              <p:nvPr/>
            </p:nvSpPr>
            <p:spPr bwMode="auto">
              <a:xfrm>
                <a:off x="3226"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2" name="Oval 961"/>
              <p:cNvSpPr>
                <a:spLocks noChangeArrowheads="1"/>
              </p:cNvSpPr>
              <p:nvPr/>
            </p:nvSpPr>
            <p:spPr bwMode="auto">
              <a:xfrm>
                <a:off x="3188"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3" name="Oval 962"/>
              <p:cNvSpPr>
                <a:spLocks noChangeArrowheads="1"/>
              </p:cNvSpPr>
              <p:nvPr/>
            </p:nvSpPr>
            <p:spPr bwMode="auto">
              <a:xfrm>
                <a:off x="3149"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4" name="Oval 963"/>
              <p:cNvSpPr>
                <a:spLocks noChangeArrowheads="1"/>
              </p:cNvSpPr>
              <p:nvPr/>
            </p:nvSpPr>
            <p:spPr bwMode="auto">
              <a:xfrm>
                <a:off x="3111"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5" name="Oval 964"/>
              <p:cNvSpPr>
                <a:spLocks noChangeArrowheads="1"/>
              </p:cNvSpPr>
              <p:nvPr/>
            </p:nvSpPr>
            <p:spPr bwMode="auto">
              <a:xfrm>
                <a:off x="3072"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6" name="Oval 965"/>
              <p:cNvSpPr>
                <a:spLocks noChangeArrowheads="1"/>
              </p:cNvSpPr>
              <p:nvPr/>
            </p:nvSpPr>
            <p:spPr bwMode="auto">
              <a:xfrm>
                <a:off x="3033"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7" name="Oval 966"/>
              <p:cNvSpPr>
                <a:spLocks noChangeArrowheads="1"/>
              </p:cNvSpPr>
              <p:nvPr/>
            </p:nvSpPr>
            <p:spPr bwMode="auto">
              <a:xfrm>
                <a:off x="2995"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8" name="Oval 967"/>
              <p:cNvSpPr>
                <a:spLocks noChangeArrowheads="1"/>
              </p:cNvSpPr>
              <p:nvPr/>
            </p:nvSpPr>
            <p:spPr bwMode="auto">
              <a:xfrm>
                <a:off x="2879"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9" name="Oval 968"/>
              <p:cNvSpPr>
                <a:spLocks noChangeArrowheads="1"/>
              </p:cNvSpPr>
              <p:nvPr/>
            </p:nvSpPr>
            <p:spPr bwMode="auto">
              <a:xfrm>
                <a:off x="2841"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0" name="Oval 969"/>
              <p:cNvSpPr>
                <a:spLocks noChangeArrowheads="1"/>
              </p:cNvSpPr>
              <p:nvPr/>
            </p:nvSpPr>
            <p:spPr bwMode="auto">
              <a:xfrm>
                <a:off x="2802"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1" name="Oval 970"/>
              <p:cNvSpPr>
                <a:spLocks noChangeArrowheads="1"/>
              </p:cNvSpPr>
              <p:nvPr/>
            </p:nvSpPr>
            <p:spPr bwMode="auto">
              <a:xfrm>
                <a:off x="2764"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2" name="Oval 971"/>
              <p:cNvSpPr>
                <a:spLocks noChangeArrowheads="1"/>
              </p:cNvSpPr>
              <p:nvPr/>
            </p:nvSpPr>
            <p:spPr bwMode="auto">
              <a:xfrm>
                <a:off x="1838"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3" name="Freeform 972"/>
              <p:cNvSpPr>
                <a:spLocks/>
              </p:cNvSpPr>
              <p:nvPr/>
            </p:nvSpPr>
            <p:spPr bwMode="auto">
              <a:xfrm>
                <a:off x="1800" y="1354"/>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4" name="Oval 973"/>
              <p:cNvSpPr>
                <a:spLocks noChangeArrowheads="1"/>
              </p:cNvSpPr>
              <p:nvPr/>
            </p:nvSpPr>
            <p:spPr bwMode="auto">
              <a:xfrm>
                <a:off x="1761"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5" name="Oval 974"/>
              <p:cNvSpPr>
                <a:spLocks noChangeArrowheads="1"/>
              </p:cNvSpPr>
              <p:nvPr/>
            </p:nvSpPr>
            <p:spPr bwMode="auto">
              <a:xfrm>
                <a:off x="1723"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6" name="Oval 975"/>
              <p:cNvSpPr>
                <a:spLocks noChangeArrowheads="1"/>
              </p:cNvSpPr>
              <p:nvPr/>
            </p:nvSpPr>
            <p:spPr bwMode="auto">
              <a:xfrm>
                <a:off x="1684"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7" name="Oval 976"/>
              <p:cNvSpPr>
                <a:spLocks noChangeArrowheads="1"/>
              </p:cNvSpPr>
              <p:nvPr/>
            </p:nvSpPr>
            <p:spPr bwMode="auto">
              <a:xfrm>
                <a:off x="1491"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8" name="Oval 977"/>
              <p:cNvSpPr>
                <a:spLocks noChangeArrowheads="1"/>
              </p:cNvSpPr>
              <p:nvPr/>
            </p:nvSpPr>
            <p:spPr bwMode="auto">
              <a:xfrm>
                <a:off x="1453"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9" name="Oval 978"/>
              <p:cNvSpPr>
                <a:spLocks noChangeArrowheads="1"/>
              </p:cNvSpPr>
              <p:nvPr/>
            </p:nvSpPr>
            <p:spPr bwMode="auto">
              <a:xfrm>
                <a:off x="1414"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0" name="Oval 979"/>
              <p:cNvSpPr>
                <a:spLocks noChangeArrowheads="1"/>
              </p:cNvSpPr>
              <p:nvPr/>
            </p:nvSpPr>
            <p:spPr bwMode="auto">
              <a:xfrm>
                <a:off x="1376"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1" name="Oval 980"/>
              <p:cNvSpPr>
                <a:spLocks noChangeArrowheads="1"/>
              </p:cNvSpPr>
              <p:nvPr/>
            </p:nvSpPr>
            <p:spPr bwMode="auto">
              <a:xfrm>
                <a:off x="1337"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2" name="Oval 981"/>
              <p:cNvSpPr>
                <a:spLocks noChangeArrowheads="1"/>
              </p:cNvSpPr>
              <p:nvPr/>
            </p:nvSpPr>
            <p:spPr bwMode="auto">
              <a:xfrm>
                <a:off x="1299"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3" name="Oval 982"/>
              <p:cNvSpPr>
                <a:spLocks noChangeArrowheads="1"/>
              </p:cNvSpPr>
              <p:nvPr/>
            </p:nvSpPr>
            <p:spPr bwMode="auto">
              <a:xfrm>
                <a:off x="1260"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4" name="Oval 983"/>
              <p:cNvSpPr>
                <a:spLocks noChangeArrowheads="1"/>
              </p:cNvSpPr>
              <p:nvPr/>
            </p:nvSpPr>
            <p:spPr bwMode="auto">
              <a:xfrm>
                <a:off x="1222"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5" name="Oval 984"/>
              <p:cNvSpPr>
                <a:spLocks noChangeArrowheads="1"/>
              </p:cNvSpPr>
              <p:nvPr/>
            </p:nvSpPr>
            <p:spPr bwMode="auto">
              <a:xfrm>
                <a:off x="1183"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6" name="Oval 985"/>
              <p:cNvSpPr>
                <a:spLocks noChangeArrowheads="1"/>
              </p:cNvSpPr>
              <p:nvPr/>
            </p:nvSpPr>
            <p:spPr bwMode="auto">
              <a:xfrm>
                <a:off x="1144"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7" name="Oval 986"/>
              <p:cNvSpPr>
                <a:spLocks noChangeArrowheads="1"/>
              </p:cNvSpPr>
              <p:nvPr/>
            </p:nvSpPr>
            <p:spPr bwMode="auto">
              <a:xfrm>
                <a:off x="1106"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8" name="Oval 987"/>
              <p:cNvSpPr>
                <a:spLocks noChangeArrowheads="1"/>
              </p:cNvSpPr>
              <p:nvPr/>
            </p:nvSpPr>
            <p:spPr bwMode="auto">
              <a:xfrm>
                <a:off x="1067"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9" name="Oval 988"/>
              <p:cNvSpPr>
                <a:spLocks noChangeArrowheads="1"/>
              </p:cNvSpPr>
              <p:nvPr/>
            </p:nvSpPr>
            <p:spPr bwMode="auto">
              <a:xfrm>
                <a:off x="1029"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0" name="Oval 989"/>
              <p:cNvSpPr>
                <a:spLocks noChangeArrowheads="1"/>
              </p:cNvSpPr>
              <p:nvPr/>
            </p:nvSpPr>
            <p:spPr bwMode="auto">
              <a:xfrm>
                <a:off x="990"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1" name="Oval 990"/>
              <p:cNvSpPr>
                <a:spLocks noChangeArrowheads="1"/>
              </p:cNvSpPr>
              <p:nvPr/>
            </p:nvSpPr>
            <p:spPr bwMode="auto">
              <a:xfrm>
                <a:off x="952"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2" name="Oval 991"/>
              <p:cNvSpPr>
                <a:spLocks noChangeArrowheads="1"/>
              </p:cNvSpPr>
              <p:nvPr/>
            </p:nvSpPr>
            <p:spPr bwMode="auto">
              <a:xfrm>
                <a:off x="913"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3" name="Oval 992"/>
              <p:cNvSpPr>
                <a:spLocks noChangeArrowheads="1"/>
              </p:cNvSpPr>
              <p:nvPr/>
            </p:nvSpPr>
            <p:spPr bwMode="auto">
              <a:xfrm>
                <a:off x="720"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4" name="Oval 993"/>
              <p:cNvSpPr>
                <a:spLocks noChangeArrowheads="1"/>
              </p:cNvSpPr>
              <p:nvPr/>
            </p:nvSpPr>
            <p:spPr bwMode="auto">
              <a:xfrm>
                <a:off x="682"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5" name="Oval 994"/>
              <p:cNvSpPr>
                <a:spLocks noChangeArrowheads="1"/>
              </p:cNvSpPr>
              <p:nvPr/>
            </p:nvSpPr>
            <p:spPr bwMode="auto">
              <a:xfrm>
                <a:off x="643" y="135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6" name="Oval 995"/>
              <p:cNvSpPr>
                <a:spLocks noChangeArrowheads="1"/>
              </p:cNvSpPr>
              <p:nvPr/>
            </p:nvSpPr>
            <p:spPr bwMode="auto">
              <a:xfrm>
                <a:off x="605" y="135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7" name="Oval 996"/>
              <p:cNvSpPr>
                <a:spLocks noChangeArrowheads="1"/>
              </p:cNvSpPr>
              <p:nvPr/>
            </p:nvSpPr>
            <p:spPr bwMode="auto">
              <a:xfrm>
                <a:off x="4768"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8" name="Oval 997"/>
              <p:cNvSpPr>
                <a:spLocks noChangeArrowheads="1"/>
              </p:cNvSpPr>
              <p:nvPr/>
            </p:nvSpPr>
            <p:spPr bwMode="auto">
              <a:xfrm>
                <a:off x="4730"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9" name="Oval 998"/>
              <p:cNvSpPr>
                <a:spLocks noChangeArrowheads="1"/>
              </p:cNvSpPr>
              <p:nvPr/>
            </p:nvSpPr>
            <p:spPr bwMode="auto">
              <a:xfrm>
                <a:off x="4460"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0" name="Oval 999"/>
              <p:cNvSpPr>
                <a:spLocks noChangeArrowheads="1"/>
              </p:cNvSpPr>
              <p:nvPr/>
            </p:nvSpPr>
            <p:spPr bwMode="auto">
              <a:xfrm>
                <a:off x="4421"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1" name="Oval 1000"/>
              <p:cNvSpPr>
                <a:spLocks noChangeArrowheads="1"/>
              </p:cNvSpPr>
              <p:nvPr/>
            </p:nvSpPr>
            <p:spPr bwMode="auto">
              <a:xfrm>
                <a:off x="4383"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2" name="Oval 1001"/>
              <p:cNvSpPr>
                <a:spLocks noChangeArrowheads="1"/>
              </p:cNvSpPr>
              <p:nvPr/>
            </p:nvSpPr>
            <p:spPr bwMode="auto">
              <a:xfrm>
                <a:off x="4344"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3" name="Oval 1002"/>
              <p:cNvSpPr>
                <a:spLocks noChangeArrowheads="1"/>
              </p:cNvSpPr>
              <p:nvPr/>
            </p:nvSpPr>
            <p:spPr bwMode="auto">
              <a:xfrm>
                <a:off x="4306"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4" name="Oval 1003"/>
              <p:cNvSpPr>
                <a:spLocks noChangeArrowheads="1"/>
              </p:cNvSpPr>
              <p:nvPr/>
            </p:nvSpPr>
            <p:spPr bwMode="auto">
              <a:xfrm>
                <a:off x="4267"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5" name="Freeform 1004"/>
              <p:cNvSpPr>
                <a:spLocks/>
              </p:cNvSpPr>
              <p:nvPr/>
            </p:nvSpPr>
            <p:spPr bwMode="auto">
              <a:xfrm>
                <a:off x="4229" y="1392"/>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6" name="Oval 1005"/>
              <p:cNvSpPr>
                <a:spLocks noChangeArrowheads="1"/>
              </p:cNvSpPr>
              <p:nvPr/>
            </p:nvSpPr>
            <p:spPr bwMode="auto">
              <a:xfrm>
                <a:off x="4190"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7" name="Oval 1006"/>
              <p:cNvSpPr>
                <a:spLocks noChangeArrowheads="1"/>
              </p:cNvSpPr>
              <p:nvPr/>
            </p:nvSpPr>
            <p:spPr bwMode="auto">
              <a:xfrm>
                <a:off x="4151"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8" name="Oval 1007"/>
              <p:cNvSpPr>
                <a:spLocks noChangeArrowheads="1"/>
              </p:cNvSpPr>
              <p:nvPr/>
            </p:nvSpPr>
            <p:spPr bwMode="auto">
              <a:xfrm>
                <a:off x="4113"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9" name="Oval 1008"/>
              <p:cNvSpPr>
                <a:spLocks noChangeArrowheads="1"/>
              </p:cNvSpPr>
              <p:nvPr/>
            </p:nvSpPr>
            <p:spPr bwMode="auto">
              <a:xfrm>
                <a:off x="4074"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0" name="Oval 1009"/>
              <p:cNvSpPr>
                <a:spLocks noChangeArrowheads="1"/>
              </p:cNvSpPr>
              <p:nvPr/>
            </p:nvSpPr>
            <p:spPr bwMode="auto">
              <a:xfrm>
                <a:off x="4036"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1" name="Oval 1010"/>
              <p:cNvSpPr>
                <a:spLocks noChangeArrowheads="1"/>
              </p:cNvSpPr>
              <p:nvPr/>
            </p:nvSpPr>
            <p:spPr bwMode="auto">
              <a:xfrm>
                <a:off x="3997"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2" name="Oval 1011"/>
              <p:cNvSpPr>
                <a:spLocks noChangeArrowheads="1"/>
              </p:cNvSpPr>
              <p:nvPr/>
            </p:nvSpPr>
            <p:spPr bwMode="auto">
              <a:xfrm>
                <a:off x="3959"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3" name="Oval 1012"/>
              <p:cNvSpPr>
                <a:spLocks noChangeArrowheads="1"/>
              </p:cNvSpPr>
              <p:nvPr/>
            </p:nvSpPr>
            <p:spPr bwMode="auto">
              <a:xfrm>
                <a:off x="3920"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4" name="Oval 1013"/>
              <p:cNvSpPr>
                <a:spLocks noChangeArrowheads="1"/>
              </p:cNvSpPr>
              <p:nvPr/>
            </p:nvSpPr>
            <p:spPr bwMode="auto">
              <a:xfrm>
                <a:off x="3882"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5" name="Oval 1014"/>
              <p:cNvSpPr>
                <a:spLocks noChangeArrowheads="1"/>
              </p:cNvSpPr>
              <p:nvPr/>
            </p:nvSpPr>
            <p:spPr bwMode="auto">
              <a:xfrm>
                <a:off x="3843"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216"/>
            <p:cNvGrpSpPr>
              <a:grpSpLocks/>
            </p:cNvGrpSpPr>
            <p:nvPr/>
          </p:nvGrpSpPr>
          <p:grpSpPr bwMode="auto">
            <a:xfrm>
              <a:off x="528" y="1392"/>
              <a:ext cx="4268" cy="144"/>
              <a:chOff x="528" y="1392"/>
              <a:chExt cx="4268" cy="144"/>
            </a:xfrm>
            <a:grpFill/>
          </p:grpSpPr>
          <p:sp>
            <p:nvSpPr>
              <p:cNvPr id="1416" name="Oval 1016"/>
              <p:cNvSpPr>
                <a:spLocks noChangeArrowheads="1"/>
              </p:cNvSpPr>
              <p:nvPr/>
            </p:nvSpPr>
            <p:spPr bwMode="auto">
              <a:xfrm>
                <a:off x="3804"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Oval 1017"/>
              <p:cNvSpPr>
                <a:spLocks noChangeArrowheads="1"/>
              </p:cNvSpPr>
              <p:nvPr/>
            </p:nvSpPr>
            <p:spPr bwMode="auto">
              <a:xfrm>
                <a:off x="3766"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Oval 1018"/>
              <p:cNvSpPr>
                <a:spLocks noChangeArrowheads="1"/>
              </p:cNvSpPr>
              <p:nvPr/>
            </p:nvSpPr>
            <p:spPr bwMode="auto">
              <a:xfrm>
                <a:off x="3727"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Oval 1019"/>
              <p:cNvSpPr>
                <a:spLocks noChangeArrowheads="1"/>
              </p:cNvSpPr>
              <p:nvPr/>
            </p:nvSpPr>
            <p:spPr bwMode="auto">
              <a:xfrm>
                <a:off x="3689"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Oval 1020"/>
              <p:cNvSpPr>
                <a:spLocks noChangeArrowheads="1"/>
              </p:cNvSpPr>
              <p:nvPr/>
            </p:nvSpPr>
            <p:spPr bwMode="auto">
              <a:xfrm>
                <a:off x="3650"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Oval 1021"/>
              <p:cNvSpPr>
                <a:spLocks noChangeArrowheads="1"/>
              </p:cNvSpPr>
              <p:nvPr/>
            </p:nvSpPr>
            <p:spPr bwMode="auto">
              <a:xfrm>
                <a:off x="3612"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Oval 1022"/>
              <p:cNvSpPr>
                <a:spLocks noChangeArrowheads="1"/>
              </p:cNvSpPr>
              <p:nvPr/>
            </p:nvSpPr>
            <p:spPr bwMode="auto">
              <a:xfrm>
                <a:off x="3573"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Oval 1023"/>
              <p:cNvSpPr>
                <a:spLocks noChangeArrowheads="1"/>
              </p:cNvSpPr>
              <p:nvPr/>
            </p:nvSpPr>
            <p:spPr bwMode="auto">
              <a:xfrm>
                <a:off x="3535"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Oval 1024"/>
              <p:cNvSpPr>
                <a:spLocks noChangeArrowheads="1"/>
              </p:cNvSpPr>
              <p:nvPr/>
            </p:nvSpPr>
            <p:spPr bwMode="auto">
              <a:xfrm>
                <a:off x="3496"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Oval 1025"/>
              <p:cNvSpPr>
                <a:spLocks noChangeArrowheads="1"/>
              </p:cNvSpPr>
              <p:nvPr/>
            </p:nvSpPr>
            <p:spPr bwMode="auto">
              <a:xfrm>
                <a:off x="3458"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Oval 1026"/>
              <p:cNvSpPr>
                <a:spLocks noChangeArrowheads="1"/>
              </p:cNvSpPr>
              <p:nvPr/>
            </p:nvSpPr>
            <p:spPr bwMode="auto">
              <a:xfrm>
                <a:off x="3419"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Oval 1027"/>
              <p:cNvSpPr>
                <a:spLocks noChangeArrowheads="1"/>
              </p:cNvSpPr>
              <p:nvPr/>
            </p:nvSpPr>
            <p:spPr bwMode="auto">
              <a:xfrm>
                <a:off x="3380"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Oval 1028"/>
              <p:cNvSpPr>
                <a:spLocks noChangeArrowheads="1"/>
              </p:cNvSpPr>
              <p:nvPr/>
            </p:nvSpPr>
            <p:spPr bwMode="auto">
              <a:xfrm>
                <a:off x="3342"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Oval 1029"/>
              <p:cNvSpPr>
                <a:spLocks noChangeArrowheads="1"/>
              </p:cNvSpPr>
              <p:nvPr/>
            </p:nvSpPr>
            <p:spPr bwMode="auto">
              <a:xfrm>
                <a:off x="3303"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1030"/>
              <p:cNvSpPr>
                <a:spLocks/>
              </p:cNvSpPr>
              <p:nvPr/>
            </p:nvSpPr>
            <p:spPr bwMode="auto">
              <a:xfrm>
                <a:off x="3265" y="1392"/>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Oval 1031"/>
              <p:cNvSpPr>
                <a:spLocks noChangeArrowheads="1"/>
              </p:cNvSpPr>
              <p:nvPr/>
            </p:nvSpPr>
            <p:spPr bwMode="auto">
              <a:xfrm>
                <a:off x="3226"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Oval 1032"/>
              <p:cNvSpPr>
                <a:spLocks noChangeArrowheads="1"/>
              </p:cNvSpPr>
              <p:nvPr/>
            </p:nvSpPr>
            <p:spPr bwMode="auto">
              <a:xfrm>
                <a:off x="3188"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Oval 1033"/>
              <p:cNvSpPr>
                <a:spLocks noChangeArrowheads="1"/>
              </p:cNvSpPr>
              <p:nvPr/>
            </p:nvSpPr>
            <p:spPr bwMode="auto">
              <a:xfrm>
                <a:off x="3149"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Oval 1034"/>
              <p:cNvSpPr>
                <a:spLocks noChangeArrowheads="1"/>
              </p:cNvSpPr>
              <p:nvPr/>
            </p:nvSpPr>
            <p:spPr bwMode="auto">
              <a:xfrm>
                <a:off x="3111"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Oval 1035"/>
              <p:cNvSpPr>
                <a:spLocks noChangeArrowheads="1"/>
              </p:cNvSpPr>
              <p:nvPr/>
            </p:nvSpPr>
            <p:spPr bwMode="auto">
              <a:xfrm>
                <a:off x="3072"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Oval 1036"/>
              <p:cNvSpPr>
                <a:spLocks noChangeArrowheads="1"/>
              </p:cNvSpPr>
              <p:nvPr/>
            </p:nvSpPr>
            <p:spPr bwMode="auto">
              <a:xfrm>
                <a:off x="3033"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Oval 1037"/>
              <p:cNvSpPr>
                <a:spLocks noChangeArrowheads="1"/>
              </p:cNvSpPr>
              <p:nvPr/>
            </p:nvSpPr>
            <p:spPr bwMode="auto">
              <a:xfrm>
                <a:off x="2995"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Oval 1038"/>
              <p:cNvSpPr>
                <a:spLocks noChangeArrowheads="1"/>
              </p:cNvSpPr>
              <p:nvPr/>
            </p:nvSpPr>
            <p:spPr bwMode="auto">
              <a:xfrm>
                <a:off x="2956"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Oval 1039"/>
              <p:cNvSpPr>
                <a:spLocks noChangeArrowheads="1"/>
              </p:cNvSpPr>
              <p:nvPr/>
            </p:nvSpPr>
            <p:spPr bwMode="auto">
              <a:xfrm>
                <a:off x="2879"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Oval 1040"/>
              <p:cNvSpPr>
                <a:spLocks noChangeArrowheads="1"/>
              </p:cNvSpPr>
              <p:nvPr/>
            </p:nvSpPr>
            <p:spPr bwMode="auto">
              <a:xfrm>
                <a:off x="2802"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Oval 1041"/>
              <p:cNvSpPr>
                <a:spLocks noChangeArrowheads="1"/>
              </p:cNvSpPr>
              <p:nvPr/>
            </p:nvSpPr>
            <p:spPr bwMode="auto">
              <a:xfrm>
                <a:off x="1877"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Oval 1042"/>
              <p:cNvSpPr>
                <a:spLocks noChangeArrowheads="1"/>
              </p:cNvSpPr>
              <p:nvPr/>
            </p:nvSpPr>
            <p:spPr bwMode="auto">
              <a:xfrm>
                <a:off x="1838"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1043"/>
              <p:cNvSpPr>
                <a:spLocks/>
              </p:cNvSpPr>
              <p:nvPr/>
            </p:nvSpPr>
            <p:spPr bwMode="auto">
              <a:xfrm>
                <a:off x="1800" y="1392"/>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Oval 1044"/>
              <p:cNvSpPr>
                <a:spLocks noChangeArrowheads="1"/>
              </p:cNvSpPr>
              <p:nvPr/>
            </p:nvSpPr>
            <p:spPr bwMode="auto">
              <a:xfrm>
                <a:off x="1761"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Oval 1045"/>
              <p:cNvSpPr>
                <a:spLocks noChangeArrowheads="1"/>
              </p:cNvSpPr>
              <p:nvPr/>
            </p:nvSpPr>
            <p:spPr bwMode="auto">
              <a:xfrm>
                <a:off x="1723"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Oval 1046"/>
              <p:cNvSpPr>
                <a:spLocks noChangeArrowheads="1"/>
              </p:cNvSpPr>
              <p:nvPr/>
            </p:nvSpPr>
            <p:spPr bwMode="auto">
              <a:xfrm>
                <a:off x="1530"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Oval 1047"/>
              <p:cNvSpPr>
                <a:spLocks noChangeArrowheads="1"/>
              </p:cNvSpPr>
              <p:nvPr/>
            </p:nvSpPr>
            <p:spPr bwMode="auto">
              <a:xfrm>
                <a:off x="1491"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Oval 1048"/>
              <p:cNvSpPr>
                <a:spLocks noChangeArrowheads="1"/>
              </p:cNvSpPr>
              <p:nvPr/>
            </p:nvSpPr>
            <p:spPr bwMode="auto">
              <a:xfrm>
                <a:off x="1453"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Oval 1049"/>
              <p:cNvSpPr>
                <a:spLocks noChangeArrowheads="1"/>
              </p:cNvSpPr>
              <p:nvPr/>
            </p:nvSpPr>
            <p:spPr bwMode="auto">
              <a:xfrm>
                <a:off x="1414"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Oval 1050"/>
              <p:cNvSpPr>
                <a:spLocks noChangeArrowheads="1"/>
              </p:cNvSpPr>
              <p:nvPr/>
            </p:nvSpPr>
            <p:spPr bwMode="auto">
              <a:xfrm>
                <a:off x="1376"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Oval 1051"/>
              <p:cNvSpPr>
                <a:spLocks noChangeArrowheads="1"/>
              </p:cNvSpPr>
              <p:nvPr/>
            </p:nvSpPr>
            <p:spPr bwMode="auto">
              <a:xfrm>
                <a:off x="1337"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Oval 1052"/>
              <p:cNvSpPr>
                <a:spLocks noChangeArrowheads="1"/>
              </p:cNvSpPr>
              <p:nvPr/>
            </p:nvSpPr>
            <p:spPr bwMode="auto">
              <a:xfrm>
                <a:off x="1299"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Oval 1053"/>
              <p:cNvSpPr>
                <a:spLocks noChangeArrowheads="1"/>
              </p:cNvSpPr>
              <p:nvPr/>
            </p:nvSpPr>
            <p:spPr bwMode="auto">
              <a:xfrm>
                <a:off x="1260"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Oval 1054"/>
              <p:cNvSpPr>
                <a:spLocks noChangeArrowheads="1"/>
              </p:cNvSpPr>
              <p:nvPr/>
            </p:nvSpPr>
            <p:spPr bwMode="auto">
              <a:xfrm>
                <a:off x="1222"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Oval 1055"/>
              <p:cNvSpPr>
                <a:spLocks noChangeArrowheads="1"/>
              </p:cNvSpPr>
              <p:nvPr/>
            </p:nvSpPr>
            <p:spPr bwMode="auto">
              <a:xfrm>
                <a:off x="1183"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Oval 1056"/>
              <p:cNvSpPr>
                <a:spLocks noChangeArrowheads="1"/>
              </p:cNvSpPr>
              <p:nvPr/>
            </p:nvSpPr>
            <p:spPr bwMode="auto">
              <a:xfrm>
                <a:off x="1144"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Oval 1057"/>
              <p:cNvSpPr>
                <a:spLocks noChangeArrowheads="1"/>
              </p:cNvSpPr>
              <p:nvPr/>
            </p:nvSpPr>
            <p:spPr bwMode="auto">
              <a:xfrm>
                <a:off x="1106"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Oval 1058"/>
              <p:cNvSpPr>
                <a:spLocks noChangeArrowheads="1"/>
              </p:cNvSpPr>
              <p:nvPr/>
            </p:nvSpPr>
            <p:spPr bwMode="auto">
              <a:xfrm>
                <a:off x="1067"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Oval 1059"/>
              <p:cNvSpPr>
                <a:spLocks noChangeArrowheads="1"/>
              </p:cNvSpPr>
              <p:nvPr/>
            </p:nvSpPr>
            <p:spPr bwMode="auto">
              <a:xfrm>
                <a:off x="1029"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Oval 1060"/>
              <p:cNvSpPr>
                <a:spLocks noChangeArrowheads="1"/>
              </p:cNvSpPr>
              <p:nvPr/>
            </p:nvSpPr>
            <p:spPr bwMode="auto">
              <a:xfrm>
                <a:off x="990"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Oval 1061"/>
              <p:cNvSpPr>
                <a:spLocks noChangeArrowheads="1"/>
              </p:cNvSpPr>
              <p:nvPr/>
            </p:nvSpPr>
            <p:spPr bwMode="auto">
              <a:xfrm>
                <a:off x="952"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Oval 1062"/>
              <p:cNvSpPr>
                <a:spLocks noChangeArrowheads="1"/>
              </p:cNvSpPr>
              <p:nvPr/>
            </p:nvSpPr>
            <p:spPr bwMode="auto">
              <a:xfrm>
                <a:off x="682"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Oval 1063"/>
              <p:cNvSpPr>
                <a:spLocks noChangeArrowheads="1"/>
              </p:cNvSpPr>
              <p:nvPr/>
            </p:nvSpPr>
            <p:spPr bwMode="auto">
              <a:xfrm>
                <a:off x="643" y="1392"/>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Oval 1064"/>
              <p:cNvSpPr>
                <a:spLocks noChangeArrowheads="1"/>
              </p:cNvSpPr>
              <p:nvPr/>
            </p:nvSpPr>
            <p:spPr bwMode="auto">
              <a:xfrm>
                <a:off x="605" y="1392"/>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Oval 1065"/>
              <p:cNvSpPr>
                <a:spLocks noChangeArrowheads="1"/>
              </p:cNvSpPr>
              <p:nvPr/>
            </p:nvSpPr>
            <p:spPr bwMode="auto">
              <a:xfrm>
                <a:off x="4768"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Oval 1066"/>
              <p:cNvSpPr>
                <a:spLocks noChangeArrowheads="1"/>
              </p:cNvSpPr>
              <p:nvPr/>
            </p:nvSpPr>
            <p:spPr bwMode="auto">
              <a:xfrm>
                <a:off x="4730"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Oval 1067"/>
              <p:cNvSpPr>
                <a:spLocks noChangeArrowheads="1"/>
              </p:cNvSpPr>
              <p:nvPr/>
            </p:nvSpPr>
            <p:spPr bwMode="auto">
              <a:xfrm>
                <a:off x="4691"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Oval 1068"/>
              <p:cNvSpPr>
                <a:spLocks noChangeArrowheads="1"/>
              </p:cNvSpPr>
              <p:nvPr/>
            </p:nvSpPr>
            <p:spPr bwMode="auto">
              <a:xfrm>
                <a:off x="4498"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Oval 1069"/>
              <p:cNvSpPr>
                <a:spLocks noChangeArrowheads="1"/>
              </p:cNvSpPr>
              <p:nvPr/>
            </p:nvSpPr>
            <p:spPr bwMode="auto">
              <a:xfrm>
                <a:off x="4460"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Oval 1070"/>
              <p:cNvSpPr>
                <a:spLocks noChangeArrowheads="1"/>
              </p:cNvSpPr>
              <p:nvPr/>
            </p:nvSpPr>
            <p:spPr bwMode="auto">
              <a:xfrm>
                <a:off x="4421"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Oval 1071"/>
              <p:cNvSpPr>
                <a:spLocks noChangeArrowheads="1"/>
              </p:cNvSpPr>
              <p:nvPr/>
            </p:nvSpPr>
            <p:spPr bwMode="auto">
              <a:xfrm>
                <a:off x="4383"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Oval 1072"/>
              <p:cNvSpPr>
                <a:spLocks noChangeArrowheads="1"/>
              </p:cNvSpPr>
              <p:nvPr/>
            </p:nvSpPr>
            <p:spPr bwMode="auto">
              <a:xfrm>
                <a:off x="4344"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Oval 1073"/>
              <p:cNvSpPr>
                <a:spLocks noChangeArrowheads="1"/>
              </p:cNvSpPr>
              <p:nvPr/>
            </p:nvSpPr>
            <p:spPr bwMode="auto">
              <a:xfrm>
                <a:off x="4306"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Oval 1074"/>
              <p:cNvSpPr>
                <a:spLocks noChangeArrowheads="1"/>
              </p:cNvSpPr>
              <p:nvPr/>
            </p:nvSpPr>
            <p:spPr bwMode="auto">
              <a:xfrm>
                <a:off x="4267"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1075"/>
              <p:cNvSpPr>
                <a:spLocks/>
              </p:cNvSpPr>
              <p:nvPr/>
            </p:nvSpPr>
            <p:spPr bwMode="auto">
              <a:xfrm>
                <a:off x="4229" y="1431"/>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Oval 1076"/>
              <p:cNvSpPr>
                <a:spLocks noChangeArrowheads="1"/>
              </p:cNvSpPr>
              <p:nvPr/>
            </p:nvSpPr>
            <p:spPr bwMode="auto">
              <a:xfrm>
                <a:off x="4190"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7" name="Oval 1077"/>
              <p:cNvSpPr>
                <a:spLocks noChangeArrowheads="1"/>
              </p:cNvSpPr>
              <p:nvPr/>
            </p:nvSpPr>
            <p:spPr bwMode="auto">
              <a:xfrm>
                <a:off x="4151"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8" name="Oval 1078"/>
              <p:cNvSpPr>
                <a:spLocks noChangeArrowheads="1"/>
              </p:cNvSpPr>
              <p:nvPr/>
            </p:nvSpPr>
            <p:spPr bwMode="auto">
              <a:xfrm>
                <a:off x="4113"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9" name="Oval 1079"/>
              <p:cNvSpPr>
                <a:spLocks noChangeArrowheads="1"/>
              </p:cNvSpPr>
              <p:nvPr/>
            </p:nvSpPr>
            <p:spPr bwMode="auto">
              <a:xfrm>
                <a:off x="4074"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0" name="Oval 1080"/>
              <p:cNvSpPr>
                <a:spLocks noChangeArrowheads="1"/>
              </p:cNvSpPr>
              <p:nvPr/>
            </p:nvSpPr>
            <p:spPr bwMode="auto">
              <a:xfrm>
                <a:off x="4036"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1" name="Oval 1081"/>
              <p:cNvSpPr>
                <a:spLocks noChangeArrowheads="1"/>
              </p:cNvSpPr>
              <p:nvPr/>
            </p:nvSpPr>
            <p:spPr bwMode="auto">
              <a:xfrm>
                <a:off x="3997"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2" name="Oval 1082"/>
              <p:cNvSpPr>
                <a:spLocks noChangeArrowheads="1"/>
              </p:cNvSpPr>
              <p:nvPr/>
            </p:nvSpPr>
            <p:spPr bwMode="auto">
              <a:xfrm>
                <a:off x="3959"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3" name="Oval 1083"/>
              <p:cNvSpPr>
                <a:spLocks noChangeArrowheads="1"/>
              </p:cNvSpPr>
              <p:nvPr/>
            </p:nvSpPr>
            <p:spPr bwMode="auto">
              <a:xfrm>
                <a:off x="3920"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Oval 1084"/>
              <p:cNvSpPr>
                <a:spLocks noChangeArrowheads="1"/>
              </p:cNvSpPr>
              <p:nvPr/>
            </p:nvSpPr>
            <p:spPr bwMode="auto">
              <a:xfrm>
                <a:off x="3882"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Oval 1085"/>
              <p:cNvSpPr>
                <a:spLocks noChangeArrowheads="1"/>
              </p:cNvSpPr>
              <p:nvPr/>
            </p:nvSpPr>
            <p:spPr bwMode="auto">
              <a:xfrm>
                <a:off x="3843"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6" name="Oval 1086"/>
              <p:cNvSpPr>
                <a:spLocks noChangeArrowheads="1"/>
              </p:cNvSpPr>
              <p:nvPr/>
            </p:nvSpPr>
            <p:spPr bwMode="auto">
              <a:xfrm>
                <a:off x="3804"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7" name="Oval 1087"/>
              <p:cNvSpPr>
                <a:spLocks noChangeArrowheads="1"/>
              </p:cNvSpPr>
              <p:nvPr/>
            </p:nvSpPr>
            <p:spPr bwMode="auto">
              <a:xfrm>
                <a:off x="3766"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8" name="Oval 1088"/>
              <p:cNvSpPr>
                <a:spLocks noChangeArrowheads="1"/>
              </p:cNvSpPr>
              <p:nvPr/>
            </p:nvSpPr>
            <p:spPr bwMode="auto">
              <a:xfrm>
                <a:off x="3727"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9" name="Oval 1089"/>
              <p:cNvSpPr>
                <a:spLocks noChangeArrowheads="1"/>
              </p:cNvSpPr>
              <p:nvPr/>
            </p:nvSpPr>
            <p:spPr bwMode="auto">
              <a:xfrm>
                <a:off x="3689"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0" name="Oval 1090"/>
              <p:cNvSpPr>
                <a:spLocks noChangeArrowheads="1"/>
              </p:cNvSpPr>
              <p:nvPr/>
            </p:nvSpPr>
            <p:spPr bwMode="auto">
              <a:xfrm>
                <a:off x="3650"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Oval 1091"/>
              <p:cNvSpPr>
                <a:spLocks noChangeArrowheads="1"/>
              </p:cNvSpPr>
              <p:nvPr/>
            </p:nvSpPr>
            <p:spPr bwMode="auto">
              <a:xfrm>
                <a:off x="3612"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Oval 1092"/>
              <p:cNvSpPr>
                <a:spLocks noChangeArrowheads="1"/>
              </p:cNvSpPr>
              <p:nvPr/>
            </p:nvSpPr>
            <p:spPr bwMode="auto">
              <a:xfrm>
                <a:off x="3573"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Oval 1093"/>
              <p:cNvSpPr>
                <a:spLocks noChangeArrowheads="1"/>
              </p:cNvSpPr>
              <p:nvPr/>
            </p:nvSpPr>
            <p:spPr bwMode="auto">
              <a:xfrm>
                <a:off x="3535"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Oval 1094"/>
              <p:cNvSpPr>
                <a:spLocks noChangeArrowheads="1"/>
              </p:cNvSpPr>
              <p:nvPr/>
            </p:nvSpPr>
            <p:spPr bwMode="auto">
              <a:xfrm>
                <a:off x="3496"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Oval 1095"/>
              <p:cNvSpPr>
                <a:spLocks noChangeArrowheads="1"/>
              </p:cNvSpPr>
              <p:nvPr/>
            </p:nvSpPr>
            <p:spPr bwMode="auto">
              <a:xfrm>
                <a:off x="3458"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6" name="Oval 1096"/>
              <p:cNvSpPr>
                <a:spLocks noChangeArrowheads="1"/>
              </p:cNvSpPr>
              <p:nvPr/>
            </p:nvSpPr>
            <p:spPr bwMode="auto">
              <a:xfrm>
                <a:off x="3419"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7" name="Oval 1097"/>
              <p:cNvSpPr>
                <a:spLocks noChangeArrowheads="1"/>
              </p:cNvSpPr>
              <p:nvPr/>
            </p:nvSpPr>
            <p:spPr bwMode="auto">
              <a:xfrm>
                <a:off x="3380"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Oval 1098"/>
              <p:cNvSpPr>
                <a:spLocks noChangeArrowheads="1"/>
              </p:cNvSpPr>
              <p:nvPr/>
            </p:nvSpPr>
            <p:spPr bwMode="auto">
              <a:xfrm>
                <a:off x="3342"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Oval 1099"/>
              <p:cNvSpPr>
                <a:spLocks noChangeArrowheads="1"/>
              </p:cNvSpPr>
              <p:nvPr/>
            </p:nvSpPr>
            <p:spPr bwMode="auto">
              <a:xfrm>
                <a:off x="3303"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Freeform 1100"/>
              <p:cNvSpPr>
                <a:spLocks/>
              </p:cNvSpPr>
              <p:nvPr/>
            </p:nvSpPr>
            <p:spPr bwMode="auto">
              <a:xfrm>
                <a:off x="3265" y="1431"/>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1" name="Oval 1101"/>
              <p:cNvSpPr>
                <a:spLocks noChangeArrowheads="1"/>
              </p:cNvSpPr>
              <p:nvPr/>
            </p:nvSpPr>
            <p:spPr bwMode="auto">
              <a:xfrm>
                <a:off x="3226"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2" name="Oval 1102"/>
              <p:cNvSpPr>
                <a:spLocks noChangeArrowheads="1"/>
              </p:cNvSpPr>
              <p:nvPr/>
            </p:nvSpPr>
            <p:spPr bwMode="auto">
              <a:xfrm>
                <a:off x="3188"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Oval 1103"/>
              <p:cNvSpPr>
                <a:spLocks noChangeArrowheads="1"/>
              </p:cNvSpPr>
              <p:nvPr/>
            </p:nvSpPr>
            <p:spPr bwMode="auto">
              <a:xfrm>
                <a:off x="3149"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4" name="Oval 1104"/>
              <p:cNvSpPr>
                <a:spLocks noChangeArrowheads="1"/>
              </p:cNvSpPr>
              <p:nvPr/>
            </p:nvSpPr>
            <p:spPr bwMode="auto">
              <a:xfrm>
                <a:off x="3111"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5" name="Oval 1105"/>
              <p:cNvSpPr>
                <a:spLocks noChangeArrowheads="1"/>
              </p:cNvSpPr>
              <p:nvPr/>
            </p:nvSpPr>
            <p:spPr bwMode="auto">
              <a:xfrm>
                <a:off x="3072"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6" name="Oval 1106"/>
              <p:cNvSpPr>
                <a:spLocks noChangeArrowheads="1"/>
              </p:cNvSpPr>
              <p:nvPr/>
            </p:nvSpPr>
            <p:spPr bwMode="auto">
              <a:xfrm>
                <a:off x="3033"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7" name="Oval 1107"/>
              <p:cNvSpPr>
                <a:spLocks noChangeArrowheads="1"/>
              </p:cNvSpPr>
              <p:nvPr/>
            </p:nvSpPr>
            <p:spPr bwMode="auto">
              <a:xfrm>
                <a:off x="2995"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8" name="Oval 1108"/>
              <p:cNvSpPr>
                <a:spLocks noChangeArrowheads="1"/>
              </p:cNvSpPr>
              <p:nvPr/>
            </p:nvSpPr>
            <p:spPr bwMode="auto">
              <a:xfrm>
                <a:off x="2956"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9" name="Oval 1109"/>
              <p:cNvSpPr>
                <a:spLocks noChangeArrowheads="1"/>
              </p:cNvSpPr>
              <p:nvPr/>
            </p:nvSpPr>
            <p:spPr bwMode="auto">
              <a:xfrm>
                <a:off x="2918"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0" name="Oval 1110"/>
              <p:cNvSpPr>
                <a:spLocks noChangeArrowheads="1"/>
              </p:cNvSpPr>
              <p:nvPr/>
            </p:nvSpPr>
            <p:spPr bwMode="auto">
              <a:xfrm>
                <a:off x="2879"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1" name="Oval 1111"/>
              <p:cNvSpPr>
                <a:spLocks noChangeArrowheads="1"/>
              </p:cNvSpPr>
              <p:nvPr/>
            </p:nvSpPr>
            <p:spPr bwMode="auto">
              <a:xfrm>
                <a:off x="2841"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2" name="Oval 1112"/>
              <p:cNvSpPr>
                <a:spLocks noChangeArrowheads="1"/>
              </p:cNvSpPr>
              <p:nvPr/>
            </p:nvSpPr>
            <p:spPr bwMode="auto">
              <a:xfrm>
                <a:off x="2802"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3" name="Oval 1113"/>
              <p:cNvSpPr>
                <a:spLocks noChangeArrowheads="1"/>
              </p:cNvSpPr>
              <p:nvPr/>
            </p:nvSpPr>
            <p:spPr bwMode="auto">
              <a:xfrm>
                <a:off x="1915"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4" name="Oval 1114"/>
              <p:cNvSpPr>
                <a:spLocks noChangeArrowheads="1"/>
              </p:cNvSpPr>
              <p:nvPr/>
            </p:nvSpPr>
            <p:spPr bwMode="auto">
              <a:xfrm>
                <a:off x="1877"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5" name="Oval 1115"/>
              <p:cNvSpPr>
                <a:spLocks noChangeArrowheads="1"/>
              </p:cNvSpPr>
              <p:nvPr/>
            </p:nvSpPr>
            <p:spPr bwMode="auto">
              <a:xfrm>
                <a:off x="1838"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6" name="Freeform 1116"/>
              <p:cNvSpPr>
                <a:spLocks/>
              </p:cNvSpPr>
              <p:nvPr/>
            </p:nvSpPr>
            <p:spPr bwMode="auto">
              <a:xfrm>
                <a:off x="1800" y="1431"/>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7" name="Oval 1117"/>
              <p:cNvSpPr>
                <a:spLocks noChangeArrowheads="1"/>
              </p:cNvSpPr>
              <p:nvPr/>
            </p:nvSpPr>
            <p:spPr bwMode="auto">
              <a:xfrm>
                <a:off x="1761"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8" name="Oval 1118"/>
              <p:cNvSpPr>
                <a:spLocks noChangeArrowheads="1"/>
              </p:cNvSpPr>
              <p:nvPr/>
            </p:nvSpPr>
            <p:spPr bwMode="auto">
              <a:xfrm>
                <a:off x="1723"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9" name="Oval 1119"/>
              <p:cNvSpPr>
                <a:spLocks noChangeArrowheads="1"/>
              </p:cNvSpPr>
              <p:nvPr/>
            </p:nvSpPr>
            <p:spPr bwMode="auto">
              <a:xfrm>
                <a:off x="1684"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0" name="Oval 1120"/>
              <p:cNvSpPr>
                <a:spLocks noChangeArrowheads="1"/>
              </p:cNvSpPr>
              <p:nvPr/>
            </p:nvSpPr>
            <p:spPr bwMode="auto">
              <a:xfrm>
                <a:off x="1607"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1" name="Oval 1121"/>
              <p:cNvSpPr>
                <a:spLocks noChangeArrowheads="1"/>
              </p:cNvSpPr>
              <p:nvPr/>
            </p:nvSpPr>
            <p:spPr bwMode="auto">
              <a:xfrm>
                <a:off x="1569"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2" name="Oval 1122"/>
              <p:cNvSpPr>
                <a:spLocks noChangeArrowheads="1"/>
              </p:cNvSpPr>
              <p:nvPr/>
            </p:nvSpPr>
            <p:spPr bwMode="auto">
              <a:xfrm>
                <a:off x="1530"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3" name="Oval 1123"/>
              <p:cNvSpPr>
                <a:spLocks noChangeArrowheads="1"/>
              </p:cNvSpPr>
              <p:nvPr/>
            </p:nvSpPr>
            <p:spPr bwMode="auto">
              <a:xfrm>
                <a:off x="1491"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Oval 1124"/>
              <p:cNvSpPr>
                <a:spLocks noChangeArrowheads="1"/>
              </p:cNvSpPr>
              <p:nvPr/>
            </p:nvSpPr>
            <p:spPr bwMode="auto">
              <a:xfrm>
                <a:off x="1453"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Oval 1125"/>
              <p:cNvSpPr>
                <a:spLocks noChangeArrowheads="1"/>
              </p:cNvSpPr>
              <p:nvPr/>
            </p:nvSpPr>
            <p:spPr bwMode="auto">
              <a:xfrm>
                <a:off x="1414"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Oval 1126"/>
              <p:cNvSpPr>
                <a:spLocks noChangeArrowheads="1"/>
              </p:cNvSpPr>
              <p:nvPr/>
            </p:nvSpPr>
            <p:spPr bwMode="auto">
              <a:xfrm>
                <a:off x="1376"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Oval 1127"/>
              <p:cNvSpPr>
                <a:spLocks noChangeArrowheads="1"/>
              </p:cNvSpPr>
              <p:nvPr/>
            </p:nvSpPr>
            <p:spPr bwMode="auto">
              <a:xfrm>
                <a:off x="1337"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Oval 1128"/>
              <p:cNvSpPr>
                <a:spLocks noChangeArrowheads="1"/>
              </p:cNvSpPr>
              <p:nvPr/>
            </p:nvSpPr>
            <p:spPr bwMode="auto">
              <a:xfrm>
                <a:off x="1299"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Oval 1129"/>
              <p:cNvSpPr>
                <a:spLocks noChangeArrowheads="1"/>
              </p:cNvSpPr>
              <p:nvPr/>
            </p:nvSpPr>
            <p:spPr bwMode="auto">
              <a:xfrm>
                <a:off x="1260"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Oval 1130"/>
              <p:cNvSpPr>
                <a:spLocks noChangeArrowheads="1"/>
              </p:cNvSpPr>
              <p:nvPr/>
            </p:nvSpPr>
            <p:spPr bwMode="auto">
              <a:xfrm>
                <a:off x="1222"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Oval 1131"/>
              <p:cNvSpPr>
                <a:spLocks noChangeArrowheads="1"/>
              </p:cNvSpPr>
              <p:nvPr/>
            </p:nvSpPr>
            <p:spPr bwMode="auto">
              <a:xfrm>
                <a:off x="1183"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Oval 1132"/>
              <p:cNvSpPr>
                <a:spLocks noChangeArrowheads="1"/>
              </p:cNvSpPr>
              <p:nvPr/>
            </p:nvSpPr>
            <p:spPr bwMode="auto">
              <a:xfrm>
                <a:off x="1144"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Oval 1133"/>
              <p:cNvSpPr>
                <a:spLocks noChangeArrowheads="1"/>
              </p:cNvSpPr>
              <p:nvPr/>
            </p:nvSpPr>
            <p:spPr bwMode="auto">
              <a:xfrm>
                <a:off x="1106"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Oval 1134"/>
              <p:cNvSpPr>
                <a:spLocks noChangeArrowheads="1"/>
              </p:cNvSpPr>
              <p:nvPr/>
            </p:nvSpPr>
            <p:spPr bwMode="auto">
              <a:xfrm>
                <a:off x="1067"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5" name="Oval 1135"/>
              <p:cNvSpPr>
                <a:spLocks noChangeArrowheads="1"/>
              </p:cNvSpPr>
              <p:nvPr/>
            </p:nvSpPr>
            <p:spPr bwMode="auto">
              <a:xfrm>
                <a:off x="1029"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6" name="Oval 1136"/>
              <p:cNvSpPr>
                <a:spLocks noChangeArrowheads="1"/>
              </p:cNvSpPr>
              <p:nvPr/>
            </p:nvSpPr>
            <p:spPr bwMode="auto">
              <a:xfrm>
                <a:off x="990"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Oval 1137"/>
              <p:cNvSpPr>
                <a:spLocks noChangeArrowheads="1"/>
              </p:cNvSpPr>
              <p:nvPr/>
            </p:nvSpPr>
            <p:spPr bwMode="auto">
              <a:xfrm>
                <a:off x="952"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8" name="Oval 1138"/>
              <p:cNvSpPr>
                <a:spLocks noChangeArrowheads="1"/>
              </p:cNvSpPr>
              <p:nvPr/>
            </p:nvSpPr>
            <p:spPr bwMode="auto">
              <a:xfrm>
                <a:off x="605"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9" name="Oval 1139"/>
              <p:cNvSpPr>
                <a:spLocks noChangeArrowheads="1"/>
              </p:cNvSpPr>
              <p:nvPr/>
            </p:nvSpPr>
            <p:spPr bwMode="auto">
              <a:xfrm>
                <a:off x="566" y="143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Oval 1140"/>
              <p:cNvSpPr>
                <a:spLocks noChangeArrowheads="1"/>
              </p:cNvSpPr>
              <p:nvPr/>
            </p:nvSpPr>
            <p:spPr bwMode="auto">
              <a:xfrm>
                <a:off x="528" y="143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Oval 1141"/>
              <p:cNvSpPr>
                <a:spLocks noChangeArrowheads="1"/>
              </p:cNvSpPr>
              <p:nvPr/>
            </p:nvSpPr>
            <p:spPr bwMode="auto">
              <a:xfrm>
                <a:off x="4730"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2" name="Oval 1142"/>
              <p:cNvSpPr>
                <a:spLocks noChangeArrowheads="1"/>
              </p:cNvSpPr>
              <p:nvPr/>
            </p:nvSpPr>
            <p:spPr bwMode="auto">
              <a:xfrm>
                <a:off x="4537"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3" name="Oval 1143"/>
              <p:cNvSpPr>
                <a:spLocks noChangeArrowheads="1"/>
              </p:cNvSpPr>
              <p:nvPr/>
            </p:nvSpPr>
            <p:spPr bwMode="auto">
              <a:xfrm>
                <a:off x="4498"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Oval 1144"/>
              <p:cNvSpPr>
                <a:spLocks noChangeArrowheads="1"/>
              </p:cNvSpPr>
              <p:nvPr/>
            </p:nvSpPr>
            <p:spPr bwMode="auto">
              <a:xfrm>
                <a:off x="4460"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Oval 1145"/>
              <p:cNvSpPr>
                <a:spLocks noChangeArrowheads="1"/>
              </p:cNvSpPr>
              <p:nvPr/>
            </p:nvSpPr>
            <p:spPr bwMode="auto">
              <a:xfrm>
                <a:off x="4421"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6" name="Oval 1146"/>
              <p:cNvSpPr>
                <a:spLocks noChangeArrowheads="1"/>
              </p:cNvSpPr>
              <p:nvPr/>
            </p:nvSpPr>
            <p:spPr bwMode="auto">
              <a:xfrm>
                <a:off x="4383"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7" name="Oval 1147"/>
              <p:cNvSpPr>
                <a:spLocks noChangeArrowheads="1"/>
              </p:cNvSpPr>
              <p:nvPr/>
            </p:nvSpPr>
            <p:spPr bwMode="auto">
              <a:xfrm>
                <a:off x="4344"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Oval 1148"/>
              <p:cNvSpPr>
                <a:spLocks noChangeArrowheads="1"/>
              </p:cNvSpPr>
              <p:nvPr/>
            </p:nvSpPr>
            <p:spPr bwMode="auto">
              <a:xfrm>
                <a:off x="4306"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9" name="Oval 1149"/>
              <p:cNvSpPr>
                <a:spLocks noChangeArrowheads="1"/>
              </p:cNvSpPr>
              <p:nvPr/>
            </p:nvSpPr>
            <p:spPr bwMode="auto">
              <a:xfrm>
                <a:off x="4267"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0" name="Freeform 1150"/>
              <p:cNvSpPr>
                <a:spLocks/>
              </p:cNvSpPr>
              <p:nvPr/>
            </p:nvSpPr>
            <p:spPr bwMode="auto">
              <a:xfrm>
                <a:off x="4229" y="1470"/>
                <a:ext cx="27" cy="27"/>
              </a:xfrm>
              <a:custGeom>
                <a:avLst/>
                <a:gdLst>
                  <a:gd name="T0" fmla="*/ 80 w 159"/>
                  <a:gd name="T1" fmla="*/ 0 h 159"/>
                  <a:gd name="T2" fmla="*/ 159 w 159"/>
                  <a:gd name="T3" fmla="*/ 79 h 159"/>
                  <a:gd name="T4" fmla="*/ 79 w 159"/>
                  <a:gd name="T5" fmla="*/ 159 h 159"/>
                  <a:gd name="T6" fmla="*/ 0 w 159"/>
                  <a:gd name="T7" fmla="*/ 79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5"/>
                      <a:pt x="159" y="79"/>
                    </a:cubicBezTo>
                    <a:cubicBezTo>
                      <a:pt x="159" y="124"/>
                      <a:pt x="124" y="159"/>
                      <a:pt x="79" y="159"/>
                    </a:cubicBezTo>
                    <a:cubicBezTo>
                      <a:pt x="35" y="159"/>
                      <a:pt x="0" y="124"/>
                      <a:pt x="0" y="79"/>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1" name="Oval 1151"/>
              <p:cNvSpPr>
                <a:spLocks noChangeArrowheads="1"/>
              </p:cNvSpPr>
              <p:nvPr/>
            </p:nvSpPr>
            <p:spPr bwMode="auto">
              <a:xfrm>
                <a:off x="4190"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2" name="Oval 1152"/>
              <p:cNvSpPr>
                <a:spLocks noChangeArrowheads="1"/>
              </p:cNvSpPr>
              <p:nvPr/>
            </p:nvSpPr>
            <p:spPr bwMode="auto">
              <a:xfrm>
                <a:off x="4151"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Oval 1153"/>
              <p:cNvSpPr>
                <a:spLocks noChangeArrowheads="1"/>
              </p:cNvSpPr>
              <p:nvPr/>
            </p:nvSpPr>
            <p:spPr bwMode="auto">
              <a:xfrm>
                <a:off x="4113"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4" name="Oval 1154"/>
              <p:cNvSpPr>
                <a:spLocks noChangeArrowheads="1"/>
              </p:cNvSpPr>
              <p:nvPr/>
            </p:nvSpPr>
            <p:spPr bwMode="auto">
              <a:xfrm>
                <a:off x="4074"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5" name="Oval 1155"/>
              <p:cNvSpPr>
                <a:spLocks noChangeArrowheads="1"/>
              </p:cNvSpPr>
              <p:nvPr/>
            </p:nvSpPr>
            <p:spPr bwMode="auto">
              <a:xfrm>
                <a:off x="4036"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6" name="Oval 1156"/>
              <p:cNvSpPr>
                <a:spLocks noChangeArrowheads="1"/>
              </p:cNvSpPr>
              <p:nvPr/>
            </p:nvSpPr>
            <p:spPr bwMode="auto">
              <a:xfrm>
                <a:off x="3997"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7" name="Oval 1157"/>
              <p:cNvSpPr>
                <a:spLocks noChangeArrowheads="1"/>
              </p:cNvSpPr>
              <p:nvPr/>
            </p:nvSpPr>
            <p:spPr bwMode="auto">
              <a:xfrm>
                <a:off x="3959"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8" name="Oval 1158"/>
              <p:cNvSpPr>
                <a:spLocks noChangeArrowheads="1"/>
              </p:cNvSpPr>
              <p:nvPr/>
            </p:nvSpPr>
            <p:spPr bwMode="auto">
              <a:xfrm>
                <a:off x="3920"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Oval 1159"/>
              <p:cNvSpPr>
                <a:spLocks noChangeArrowheads="1"/>
              </p:cNvSpPr>
              <p:nvPr/>
            </p:nvSpPr>
            <p:spPr bwMode="auto">
              <a:xfrm>
                <a:off x="3882"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0" name="Oval 1160"/>
              <p:cNvSpPr>
                <a:spLocks noChangeArrowheads="1"/>
              </p:cNvSpPr>
              <p:nvPr/>
            </p:nvSpPr>
            <p:spPr bwMode="auto">
              <a:xfrm>
                <a:off x="3843"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1" name="Oval 1161"/>
              <p:cNvSpPr>
                <a:spLocks noChangeArrowheads="1"/>
              </p:cNvSpPr>
              <p:nvPr/>
            </p:nvSpPr>
            <p:spPr bwMode="auto">
              <a:xfrm>
                <a:off x="3804"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2" name="Oval 1162"/>
              <p:cNvSpPr>
                <a:spLocks noChangeArrowheads="1"/>
              </p:cNvSpPr>
              <p:nvPr/>
            </p:nvSpPr>
            <p:spPr bwMode="auto">
              <a:xfrm>
                <a:off x="3766"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3" name="Oval 1163"/>
              <p:cNvSpPr>
                <a:spLocks noChangeArrowheads="1"/>
              </p:cNvSpPr>
              <p:nvPr/>
            </p:nvSpPr>
            <p:spPr bwMode="auto">
              <a:xfrm>
                <a:off x="3727"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4" name="Oval 1164"/>
              <p:cNvSpPr>
                <a:spLocks noChangeArrowheads="1"/>
              </p:cNvSpPr>
              <p:nvPr/>
            </p:nvSpPr>
            <p:spPr bwMode="auto">
              <a:xfrm>
                <a:off x="3689"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Oval 1165"/>
              <p:cNvSpPr>
                <a:spLocks noChangeArrowheads="1"/>
              </p:cNvSpPr>
              <p:nvPr/>
            </p:nvSpPr>
            <p:spPr bwMode="auto">
              <a:xfrm>
                <a:off x="3650"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6" name="Oval 1166"/>
              <p:cNvSpPr>
                <a:spLocks noChangeArrowheads="1"/>
              </p:cNvSpPr>
              <p:nvPr/>
            </p:nvSpPr>
            <p:spPr bwMode="auto">
              <a:xfrm>
                <a:off x="3612"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7" name="Oval 1167"/>
              <p:cNvSpPr>
                <a:spLocks noChangeArrowheads="1"/>
              </p:cNvSpPr>
              <p:nvPr/>
            </p:nvSpPr>
            <p:spPr bwMode="auto">
              <a:xfrm>
                <a:off x="3573"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8" name="Oval 1168"/>
              <p:cNvSpPr>
                <a:spLocks noChangeArrowheads="1"/>
              </p:cNvSpPr>
              <p:nvPr/>
            </p:nvSpPr>
            <p:spPr bwMode="auto">
              <a:xfrm>
                <a:off x="3535"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9" name="Oval 1169"/>
              <p:cNvSpPr>
                <a:spLocks noChangeArrowheads="1"/>
              </p:cNvSpPr>
              <p:nvPr/>
            </p:nvSpPr>
            <p:spPr bwMode="auto">
              <a:xfrm>
                <a:off x="3496"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0" name="Oval 1170"/>
              <p:cNvSpPr>
                <a:spLocks noChangeArrowheads="1"/>
              </p:cNvSpPr>
              <p:nvPr/>
            </p:nvSpPr>
            <p:spPr bwMode="auto">
              <a:xfrm>
                <a:off x="3458"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1" name="Oval 1171"/>
              <p:cNvSpPr>
                <a:spLocks noChangeArrowheads="1"/>
              </p:cNvSpPr>
              <p:nvPr/>
            </p:nvSpPr>
            <p:spPr bwMode="auto">
              <a:xfrm>
                <a:off x="3419"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2" name="Oval 1172"/>
              <p:cNvSpPr>
                <a:spLocks noChangeArrowheads="1"/>
              </p:cNvSpPr>
              <p:nvPr/>
            </p:nvSpPr>
            <p:spPr bwMode="auto">
              <a:xfrm>
                <a:off x="3380"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3" name="Oval 1173"/>
              <p:cNvSpPr>
                <a:spLocks noChangeArrowheads="1"/>
              </p:cNvSpPr>
              <p:nvPr/>
            </p:nvSpPr>
            <p:spPr bwMode="auto">
              <a:xfrm>
                <a:off x="3342"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Oval 1174"/>
              <p:cNvSpPr>
                <a:spLocks noChangeArrowheads="1"/>
              </p:cNvSpPr>
              <p:nvPr/>
            </p:nvSpPr>
            <p:spPr bwMode="auto">
              <a:xfrm>
                <a:off x="3303"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5" name="Freeform 1175"/>
              <p:cNvSpPr>
                <a:spLocks/>
              </p:cNvSpPr>
              <p:nvPr/>
            </p:nvSpPr>
            <p:spPr bwMode="auto">
              <a:xfrm>
                <a:off x="3265" y="1470"/>
                <a:ext cx="27" cy="27"/>
              </a:xfrm>
              <a:custGeom>
                <a:avLst/>
                <a:gdLst>
                  <a:gd name="T0" fmla="*/ 79 w 159"/>
                  <a:gd name="T1" fmla="*/ 0 h 159"/>
                  <a:gd name="T2" fmla="*/ 159 w 159"/>
                  <a:gd name="T3" fmla="*/ 79 h 159"/>
                  <a:gd name="T4" fmla="*/ 79 w 159"/>
                  <a:gd name="T5" fmla="*/ 159 h 159"/>
                  <a:gd name="T6" fmla="*/ 0 w 159"/>
                  <a:gd name="T7" fmla="*/ 79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5"/>
                      <a:pt x="159" y="79"/>
                    </a:cubicBezTo>
                    <a:cubicBezTo>
                      <a:pt x="159" y="124"/>
                      <a:pt x="123" y="159"/>
                      <a:pt x="79" y="159"/>
                    </a:cubicBezTo>
                    <a:cubicBezTo>
                      <a:pt x="35" y="159"/>
                      <a:pt x="0" y="124"/>
                      <a:pt x="0" y="79"/>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6" name="Oval 1176"/>
              <p:cNvSpPr>
                <a:spLocks noChangeArrowheads="1"/>
              </p:cNvSpPr>
              <p:nvPr/>
            </p:nvSpPr>
            <p:spPr bwMode="auto">
              <a:xfrm>
                <a:off x="3226"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7" name="Oval 1177"/>
              <p:cNvSpPr>
                <a:spLocks noChangeArrowheads="1"/>
              </p:cNvSpPr>
              <p:nvPr/>
            </p:nvSpPr>
            <p:spPr bwMode="auto">
              <a:xfrm>
                <a:off x="3188"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8" name="Oval 1178"/>
              <p:cNvSpPr>
                <a:spLocks noChangeArrowheads="1"/>
              </p:cNvSpPr>
              <p:nvPr/>
            </p:nvSpPr>
            <p:spPr bwMode="auto">
              <a:xfrm>
                <a:off x="3149"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9" name="Oval 1179"/>
              <p:cNvSpPr>
                <a:spLocks noChangeArrowheads="1"/>
              </p:cNvSpPr>
              <p:nvPr/>
            </p:nvSpPr>
            <p:spPr bwMode="auto">
              <a:xfrm>
                <a:off x="3111"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Oval 1180"/>
              <p:cNvSpPr>
                <a:spLocks noChangeArrowheads="1"/>
              </p:cNvSpPr>
              <p:nvPr/>
            </p:nvSpPr>
            <p:spPr bwMode="auto">
              <a:xfrm>
                <a:off x="3072"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1" name="Oval 1181"/>
              <p:cNvSpPr>
                <a:spLocks noChangeArrowheads="1"/>
              </p:cNvSpPr>
              <p:nvPr/>
            </p:nvSpPr>
            <p:spPr bwMode="auto">
              <a:xfrm>
                <a:off x="3033"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2" name="Oval 1182"/>
              <p:cNvSpPr>
                <a:spLocks noChangeArrowheads="1"/>
              </p:cNvSpPr>
              <p:nvPr/>
            </p:nvSpPr>
            <p:spPr bwMode="auto">
              <a:xfrm>
                <a:off x="2995"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3" name="Oval 1183"/>
              <p:cNvSpPr>
                <a:spLocks noChangeArrowheads="1"/>
              </p:cNvSpPr>
              <p:nvPr/>
            </p:nvSpPr>
            <p:spPr bwMode="auto">
              <a:xfrm>
                <a:off x="2956"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4" name="Oval 1184"/>
              <p:cNvSpPr>
                <a:spLocks noChangeArrowheads="1"/>
              </p:cNvSpPr>
              <p:nvPr/>
            </p:nvSpPr>
            <p:spPr bwMode="auto">
              <a:xfrm>
                <a:off x="2918"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5" name="Oval 1185"/>
              <p:cNvSpPr>
                <a:spLocks noChangeArrowheads="1"/>
              </p:cNvSpPr>
              <p:nvPr/>
            </p:nvSpPr>
            <p:spPr bwMode="auto">
              <a:xfrm>
                <a:off x="2879"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6" name="Oval 1186"/>
              <p:cNvSpPr>
                <a:spLocks noChangeArrowheads="1"/>
              </p:cNvSpPr>
              <p:nvPr/>
            </p:nvSpPr>
            <p:spPr bwMode="auto">
              <a:xfrm>
                <a:off x="2841"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Oval 1187"/>
              <p:cNvSpPr>
                <a:spLocks noChangeArrowheads="1"/>
              </p:cNvSpPr>
              <p:nvPr/>
            </p:nvSpPr>
            <p:spPr bwMode="auto">
              <a:xfrm>
                <a:off x="2802"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8" name="Oval 1188"/>
              <p:cNvSpPr>
                <a:spLocks noChangeArrowheads="1"/>
              </p:cNvSpPr>
              <p:nvPr/>
            </p:nvSpPr>
            <p:spPr bwMode="auto">
              <a:xfrm>
                <a:off x="2764"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9" name="Oval 1189"/>
              <p:cNvSpPr>
                <a:spLocks noChangeArrowheads="1"/>
              </p:cNvSpPr>
              <p:nvPr/>
            </p:nvSpPr>
            <p:spPr bwMode="auto">
              <a:xfrm>
                <a:off x="1954"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0" name="Oval 1190"/>
              <p:cNvSpPr>
                <a:spLocks noChangeArrowheads="1"/>
              </p:cNvSpPr>
              <p:nvPr/>
            </p:nvSpPr>
            <p:spPr bwMode="auto">
              <a:xfrm>
                <a:off x="1915"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1" name="Oval 1191"/>
              <p:cNvSpPr>
                <a:spLocks noChangeArrowheads="1"/>
              </p:cNvSpPr>
              <p:nvPr/>
            </p:nvSpPr>
            <p:spPr bwMode="auto">
              <a:xfrm>
                <a:off x="1877"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2" name="Oval 1192"/>
              <p:cNvSpPr>
                <a:spLocks noChangeArrowheads="1"/>
              </p:cNvSpPr>
              <p:nvPr/>
            </p:nvSpPr>
            <p:spPr bwMode="auto">
              <a:xfrm>
                <a:off x="1838"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3" name="Freeform 1193"/>
              <p:cNvSpPr>
                <a:spLocks/>
              </p:cNvSpPr>
              <p:nvPr/>
            </p:nvSpPr>
            <p:spPr bwMode="auto">
              <a:xfrm>
                <a:off x="1800" y="1470"/>
                <a:ext cx="28" cy="27"/>
              </a:xfrm>
              <a:custGeom>
                <a:avLst/>
                <a:gdLst>
                  <a:gd name="T0" fmla="*/ 80 w 160"/>
                  <a:gd name="T1" fmla="*/ 0 h 159"/>
                  <a:gd name="T2" fmla="*/ 159 w 160"/>
                  <a:gd name="T3" fmla="*/ 79 h 159"/>
                  <a:gd name="T4" fmla="*/ 80 w 160"/>
                  <a:gd name="T5" fmla="*/ 159 h 159"/>
                  <a:gd name="T6" fmla="*/ 0 w 160"/>
                  <a:gd name="T7" fmla="*/ 79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79"/>
                    </a:cubicBezTo>
                    <a:cubicBezTo>
                      <a:pt x="160" y="124"/>
                      <a:pt x="124" y="159"/>
                      <a:pt x="80" y="159"/>
                    </a:cubicBezTo>
                    <a:cubicBezTo>
                      <a:pt x="36" y="159"/>
                      <a:pt x="0" y="124"/>
                      <a:pt x="0" y="79"/>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4" name="Oval 1194"/>
              <p:cNvSpPr>
                <a:spLocks noChangeArrowheads="1"/>
              </p:cNvSpPr>
              <p:nvPr/>
            </p:nvSpPr>
            <p:spPr bwMode="auto">
              <a:xfrm>
                <a:off x="1761"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5" name="Oval 1195"/>
              <p:cNvSpPr>
                <a:spLocks noChangeArrowheads="1"/>
              </p:cNvSpPr>
              <p:nvPr/>
            </p:nvSpPr>
            <p:spPr bwMode="auto">
              <a:xfrm>
                <a:off x="1723"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6" name="Oval 1196"/>
              <p:cNvSpPr>
                <a:spLocks noChangeArrowheads="1"/>
              </p:cNvSpPr>
              <p:nvPr/>
            </p:nvSpPr>
            <p:spPr bwMode="auto">
              <a:xfrm>
                <a:off x="1684"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7" name="Oval 1197"/>
              <p:cNvSpPr>
                <a:spLocks noChangeArrowheads="1"/>
              </p:cNvSpPr>
              <p:nvPr/>
            </p:nvSpPr>
            <p:spPr bwMode="auto">
              <a:xfrm>
                <a:off x="1607"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8" name="Oval 1198"/>
              <p:cNvSpPr>
                <a:spLocks noChangeArrowheads="1"/>
              </p:cNvSpPr>
              <p:nvPr/>
            </p:nvSpPr>
            <p:spPr bwMode="auto">
              <a:xfrm>
                <a:off x="1569"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9" name="Oval 1199"/>
              <p:cNvSpPr>
                <a:spLocks noChangeArrowheads="1"/>
              </p:cNvSpPr>
              <p:nvPr/>
            </p:nvSpPr>
            <p:spPr bwMode="auto">
              <a:xfrm>
                <a:off x="1530"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0" name="Oval 1200"/>
              <p:cNvSpPr>
                <a:spLocks noChangeArrowheads="1"/>
              </p:cNvSpPr>
              <p:nvPr/>
            </p:nvSpPr>
            <p:spPr bwMode="auto">
              <a:xfrm>
                <a:off x="1491"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1" name="Oval 1201"/>
              <p:cNvSpPr>
                <a:spLocks noChangeArrowheads="1"/>
              </p:cNvSpPr>
              <p:nvPr/>
            </p:nvSpPr>
            <p:spPr bwMode="auto">
              <a:xfrm>
                <a:off x="1453"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2" name="Oval 1202"/>
              <p:cNvSpPr>
                <a:spLocks noChangeArrowheads="1"/>
              </p:cNvSpPr>
              <p:nvPr/>
            </p:nvSpPr>
            <p:spPr bwMode="auto">
              <a:xfrm>
                <a:off x="1414"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3" name="Oval 1203"/>
              <p:cNvSpPr>
                <a:spLocks noChangeArrowheads="1"/>
              </p:cNvSpPr>
              <p:nvPr/>
            </p:nvSpPr>
            <p:spPr bwMode="auto">
              <a:xfrm>
                <a:off x="1376"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4" name="Oval 1204"/>
              <p:cNvSpPr>
                <a:spLocks noChangeArrowheads="1"/>
              </p:cNvSpPr>
              <p:nvPr/>
            </p:nvSpPr>
            <p:spPr bwMode="auto">
              <a:xfrm>
                <a:off x="1337"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5" name="Oval 1205"/>
              <p:cNvSpPr>
                <a:spLocks noChangeArrowheads="1"/>
              </p:cNvSpPr>
              <p:nvPr/>
            </p:nvSpPr>
            <p:spPr bwMode="auto">
              <a:xfrm>
                <a:off x="1299"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6" name="Oval 1206"/>
              <p:cNvSpPr>
                <a:spLocks noChangeArrowheads="1"/>
              </p:cNvSpPr>
              <p:nvPr/>
            </p:nvSpPr>
            <p:spPr bwMode="auto">
              <a:xfrm>
                <a:off x="1260"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7" name="Oval 1207"/>
              <p:cNvSpPr>
                <a:spLocks noChangeArrowheads="1"/>
              </p:cNvSpPr>
              <p:nvPr/>
            </p:nvSpPr>
            <p:spPr bwMode="auto">
              <a:xfrm>
                <a:off x="1222"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8" name="Oval 1208"/>
              <p:cNvSpPr>
                <a:spLocks noChangeArrowheads="1"/>
              </p:cNvSpPr>
              <p:nvPr/>
            </p:nvSpPr>
            <p:spPr bwMode="auto">
              <a:xfrm>
                <a:off x="1183"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9" name="Oval 1209"/>
              <p:cNvSpPr>
                <a:spLocks noChangeArrowheads="1"/>
              </p:cNvSpPr>
              <p:nvPr/>
            </p:nvSpPr>
            <p:spPr bwMode="auto">
              <a:xfrm>
                <a:off x="1144"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0" name="Oval 1210"/>
              <p:cNvSpPr>
                <a:spLocks noChangeArrowheads="1"/>
              </p:cNvSpPr>
              <p:nvPr/>
            </p:nvSpPr>
            <p:spPr bwMode="auto">
              <a:xfrm>
                <a:off x="1106"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1" name="Oval 1211"/>
              <p:cNvSpPr>
                <a:spLocks noChangeArrowheads="1"/>
              </p:cNvSpPr>
              <p:nvPr/>
            </p:nvSpPr>
            <p:spPr bwMode="auto">
              <a:xfrm>
                <a:off x="1067" y="1470"/>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2" name="Oval 1212"/>
              <p:cNvSpPr>
                <a:spLocks noChangeArrowheads="1"/>
              </p:cNvSpPr>
              <p:nvPr/>
            </p:nvSpPr>
            <p:spPr bwMode="auto">
              <a:xfrm>
                <a:off x="1029"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3" name="Oval 1213"/>
              <p:cNvSpPr>
                <a:spLocks noChangeArrowheads="1"/>
              </p:cNvSpPr>
              <p:nvPr/>
            </p:nvSpPr>
            <p:spPr bwMode="auto">
              <a:xfrm>
                <a:off x="528" y="1470"/>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4" name="Oval 1214"/>
              <p:cNvSpPr>
                <a:spLocks noChangeArrowheads="1"/>
              </p:cNvSpPr>
              <p:nvPr/>
            </p:nvSpPr>
            <p:spPr bwMode="auto">
              <a:xfrm>
                <a:off x="4537"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5" name="Oval 1215"/>
              <p:cNvSpPr>
                <a:spLocks noChangeArrowheads="1"/>
              </p:cNvSpPr>
              <p:nvPr/>
            </p:nvSpPr>
            <p:spPr bwMode="auto">
              <a:xfrm>
                <a:off x="4498"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417"/>
            <p:cNvGrpSpPr>
              <a:grpSpLocks/>
            </p:cNvGrpSpPr>
            <p:nvPr/>
          </p:nvGrpSpPr>
          <p:grpSpPr bwMode="auto">
            <a:xfrm>
              <a:off x="1029" y="1508"/>
              <a:ext cx="3536" cy="105"/>
              <a:chOff x="1029" y="1508"/>
              <a:chExt cx="3536" cy="105"/>
            </a:xfrm>
            <a:grpFill/>
          </p:grpSpPr>
          <p:sp>
            <p:nvSpPr>
              <p:cNvPr id="1216" name="Oval 1217"/>
              <p:cNvSpPr>
                <a:spLocks noChangeArrowheads="1"/>
              </p:cNvSpPr>
              <p:nvPr/>
            </p:nvSpPr>
            <p:spPr bwMode="auto">
              <a:xfrm>
                <a:off x="4460"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Oval 1218"/>
              <p:cNvSpPr>
                <a:spLocks noChangeArrowheads="1"/>
              </p:cNvSpPr>
              <p:nvPr/>
            </p:nvSpPr>
            <p:spPr bwMode="auto">
              <a:xfrm>
                <a:off x="4421"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Oval 1219"/>
              <p:cNvSpPr>
                <a:spLocks noChangeArrowheads="1"/>
              </p:cNvSpPr>
              <p:nvPr/>
            </p:nvSpPr>
            <p:spPr bwMode="auto">
              <a:xfrm>
                <a:off x="4383"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Oval 1220"/>
              <p:cNvSpPr>
                <a:spLocks noChangeArrowheads="1"/>
              </p:cNvSpPr>
              <p:nvPr/>
            </p:nvSpPr>
            <p:spPr bwMode="auto">
              <a:xfrm>
                <a:off x="4344"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Oval 1221"/>
              <p:cNvSpPr>
                <a:spLocks noChangeArrowheads="1"/>
              </p:cNvSpPr>
              <p:nvPr/>
            </p:nvSpPr>
            <p:spPr bwMode="auto">
              <a:xfrm>
                <a:off x="4306"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Oval 1222"/>
              <p:cNvSpPr>
                <a:spLocks noChangeArrowheads="1"/>
              </p:cNvSpPr>
              <p:nvPr/>
            </p:nvSpPr>
            <p:spPr bwMode="auto">
              <a:xfrm>
                <a:off x="4267"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223"/>
              <p:cNvSpPr>
                <a:spLocks/>
              </p:cNvSpPr>
              <p:nvPr/>
            </p:nvSpPr>
            <p:spPr bwMode="auto">
              <a:xfrm>
                <a:off x="4229" y="1508"/>
                <a:ext cx="27" cy="28"/>
              </a:xfrm>
              <a:custGeom>
                <a:avLst/>
                <a:gdLst>
                  <a:gd name="T0" fmla="*/ 80 w 159"/>
                  <a:gd name="T1" fmla="*/ 0 h 159"/>
                  <a:gd name="T2" fmla="*/ 159 w 159"/>
                  <a:gd name="T3" fmla="*/ 80 h 159"/>
                  <a:gd name="T4" fmla="*/ 79 w 159"/>
                  <a:gd name="T5" fmla="*/ 159 h 159"/>
                  <a:gd name="T6" fmla="*/ 0 w 159"/>
                  <a:gd name="T7" fmla="*/ 80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6"/>
                      <a:pt x="159" y="80"/>
                    </a:cubicBezTo>
                    <a:cubicBezTo>
                      <a:pt x="159" y="124"/>
                      <a:pt x="124" y="159"/>
                      <a:pt x="79" y="159"/>
                    </a:cubicBezTo>
                    <a:cubicBezTo>
                      <a:pt x="35" y="159"/>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Oval 1224"/>
              <p:cNvSpPr>
                <a:spLocks noChangeArrowheads="1"/>
              </p:cNvSpPr>
              <p:nvPr/>
            </p:nvSpPr>
            <p:spPr bwMode="auto">
              <a:xfrm>
                <a:off x="4190"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Oval 1225"/>
              <p:cNvSpPr>
                <a:spLocks noChangeArrowheads="1"/>
              </p:cNvSpPr>
              <p:nvPr/>
            </p:nvSpPr>
            <p:spPr bwMode="auto">
              <a:xfrm>
                <a:off x="4151"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Oval 1226"/>
              <p:cNvSpPr>
                <a:spLocks noChangeArrowheads="1"/>
              </p:cNvSpPr>
              <p:nvPr/>
            </p:nvSpPr>
            <p:spPr bwMode="auto">
              <a:xfrm>
                <a:off x="4113"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Oval 1227"/>
              <p:cNvSpPr>
                <a:spLocks noChangeArrowheads="1"/>
              </p:cNvSpPr>
              <p:nvPr/>
            </p:nvSpPr>
            <p:spPr bwMode="auto">
              <a:xfrm>
                <a:off x="4074"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Oval 1228"/>
              <p:cNvSpPr>
                <a:spLocks noChangeArrowheads="1"/>
              </p:cNvSpPr>
              <p:nvPr/>
            </p:nvSpPr>
            <p:spPr bwMode="auto">
              <a:xfrm>
                <a:off x="4036"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Oval 1229"/>
              <p:cNvSpPr>
                <a:spLocks noChangeArrowheads="1"/>
              </p:cNvSpPr>
              <p:nvPr/>
            </p:nvSpPr>
            <p:spPr bwMode="auto">
              <a:xfrm>
                <a:off x="3997"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Oval 1230"/>
              <p:cNvSpPr>
                <a:spLocks noChangeArrowheads="1"/>
              </p:cNvSpPr>
              <p:nvPr/>
            </p:nvSpPr>
            <p:spPr bwMode="auto">
              <a:xfrm>
                <a:off x="3959"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Oval 1231"/>
              <p:cNvSpPr>
                <a:spLocks noChangeArrowheads="1"/>
              </p:cNvSpPr>
              <p:nvPr/>
            </p:nvSpPr>
            <p:spPr bwMode="auto">
              <a:xfrm>
                <a:off x="3920"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Oval 1232"/>
              <p:cNvSpPr>
                <a:spLocks noChangeArrowheads="1"/>
              </p:cNvSpPr>
              <p:nvPr/>
            </p:nvSpPr>
            <p:spPr bwMode="auto">
              <a:xfrm>
                <a:off x="3882"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Oval 1233"/>
              <p:cNvSpPr>
                <a:spLocks noChangeArrowheads="1"/>
              </p:cNvSpPr>
              <p:nvPr/>
            </p:nvSpPr>
            <p:spPr bwMode="auto">
              <a:xfrm>
                <a:off x="3843"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Oval 1234"/>
              <p:cNvSpPr>
                <a:spLocks noChangeArrowheads="1"/>
              </p:cNvSpPr>
              <p:nvPr/>
            </p:nvSpPr>
            <p:spPr bwMode="auto">
              <a:xfrm>
                <a:off x="3804"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Oval 1235"/>
              <p:cNvSpPr>
                <a:spLocks noChangeArrowheads="1"/>
              </p:cNvSpPr>
              <p:nvPr/>
            </p:nvSpPr>
            <p:spPr bwMode="auto">
              <a:xfrm>
                <a:off x="3766"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Oval 1236"/>
              <p:cNvSpPr>
                <a:spLocks noChangeArrowheads="1"/>
              </p:cNvSpPr>
              <p:nvPr/>
            </p:nvSpPr>
            <p:spPr bwMode="auto">
              <a:xfrm>
                <a:off x="3727"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Oval 1237"/>
              <p:cNvSpPr>
                <a:spLocks noChangeArrowheads="1"/>
              </p:cNvSpPr>
              <p:nvPr/>
            </p:nvSpPr>
            <p:spPr bwMode="auto">
              <a:xfrm>
                <a:off x="3689"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Oval 1238"/>
              <p:cNvSpPr>
                <a:spLocks noChangeArrowheads="1"/>
              </p:cNvSpPr>
              <p:nvPr/>
            </p:nvSpPr>
            <p:spPr bwMode="auto">
              <a:xfrm>
                <a:off x="3650"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Oval 1239"/>
              <p:cNvSpPr>
                <a:spLocks noChangeArrowheads="1"/>
              </p:cNvSpPr>
              <p:nvPr/>
            </p:nvSpPr>
            <p:spPr bwMode="auto">
              <a:xfrm>
                <a:off x="3612"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Oval 1240"/>
              <p:cNvSpPr>
                <a:spLocks noChangeArrowheads="1"/>
              </p:cNvSpPr>
              <p:nvPr/>
            </p:nvSpPr>
            <p:spPr bwMode="auto">
              <a:xfrm>
                <a:off x="3573"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Oval 1241"/>
              <p:cNvSpPr>
                <a:spLocks noChangeArrowheads="1"/>
              </p:cNvSpPr>
              <p:nvPr/>
            </p:nvSpPr>
            <p:spPr bwMode="auto">
              <a:xfrm>
                <a:off x="3535"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Oval 1242"/>
              <p:cNvSpPr>
                <a:spLocks noChangeArrowheads="1"/>
              </p:cNvSpPr>
              <p:nvPr/>
            </p:nvSpPr>
            <p:spPr bwMode="auto">
              <a:xfrm>
                <a:off x="3496"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Oval 1243"/>
              <p:cNvSpPr>
                <a:spLocks noChangeArrowheads="1"/>
              </p:cNvSpPr>
              <p:nvPr/>
            </p:nvSpPr>
            <p:spPr bwMode="auto">
              <a:xfrm>
                <a:off x="3458"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Oval 1244"/>
              <p:cNvSpPr>
                <a:spLocks noChangeArrowheads="1"/>
              </p:cNvSpPr>
              <p:nvPr/>
            </p:nvSpPr>
            <p:spPr bwMode="auto">
              <a:xfrm>
                <a:off x="3419"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Oval 1245"/>
              <p:cNvSpPr>
                <a:spLocks noChangeArrowheads="1"/>
              </p:cNvSpPr>
              <p:nvPr/>
            </p:nvSpPr>
            <p:spPr bwMode="auto">
              <a:xfrm>
                <a:off x="3380"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Oval 1246"/>
              <p:cNvSpPr>
                <a:spLocks noChangeArrowheads="1"/>
              </p:cNvSpPr>
              <p:nvPr/>
            </p:nvSpPr>
            <p:spPr bwMode="auto">
              <a:xfrm>
                <a:off x="3342"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Oval 1247"/>
              <p:cNvSpPr>
                <a:spLocks noChangeArrowheads="1"/>
              </p:cNvSpPr>
              <p:nvPr/>
            </p:nvSpPr>
            <p:spPr bwMode="auto">
              <a:xfrm>
                <a:off x="3303"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Freeform 1248"/>
              <p:cNvSpPr>
                <a:spLocks/>
              </p:cNvSpPr>
              <p:nvPr/>
            </p:nvSpPr>
            <p:spPr bwMode="auto">
              <a:xfrm>
                <a:off x="3265" y="1508"/>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3" y="159"/>
                      <a:pt x="79" y="159"/>
                    </a:cubicBezTo>
                    <a:cubicBezTo>
                      <a:pt x="35" y="159"/>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Oval 1249"/>
              <p:cNvSpPr>
                <a:spLocks noChangeArrowheads="1"/>
              </p:cNvSpPr>
              <p:nvPr/>
            </p:nvSpPr>
            <p:spPr bwMode="auto">
              <a:xfrm>
                <a:off x="3226"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9" name="Oval 1250"/>
              <p:cNvSpPr>
                <a:spLocks noChangeArrowheads="1"/>
              </p:cNvSpPr>
              <p:nvPr/>
            </p:nvSpPr>
            <p:spPr bwMode="auto">
              <a:xfrm>
                <a:off x="3188"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Oval 1251"/>
              <p:cNvSpPr>
                <a:spLocks noChangeArrowheads="1"/>
              </p:cNvSpPr>
              <p:nvPr/>
            </p:nvSpPr>
            <p:spPr bwMode="auto">
              <a:xfrm>
                <a:off x="3149"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Oval 1252"/>
              <p:cNvSpPr>
                <a:spLocks noChangeArrowheads="1"/>
              </p:cNvSpPr>
              <p:nvPr/>
            </p:nvSpPr>
            <p:spPr bwMode="auto">
              <a:xfrm>
                <a:off x="3111"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Oval 1253"/>
              <p:cNvSpPr>
                <a:spLocks noChangeArrowheads="1"/>
              </p:cNvSpPr>
              <p:nvPr/>
            </p:nvSpPr>
            <p:spPr bwMode="auto">
              <a:xfrm>
                <a:off x="3072"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Oval 1254"/>
              <p:cNvSpPr>
                <a:spLocks noChangeArrowheads="1"/>
              </p:cNvSpPr>
              <p:nvPr/>
            </p:nvSpPr>
            <p:spPr bwMode="auto">
              <a:xfrm>
                <a:off x="3033"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Oval 1255"/>
              <p:cNvSpPr>
                <a:spLocks noChangeArrowheads="1"/>
              </p:cNvSpPr>
              <p:nvPr/>
            </p:nvSpPr>
            <p:spPr bwMode="auto">
              <a:xfrm>
                <a:off x="2995"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Oval 1256"/>
              <p:cNvSpPr>
                <a:spLocks noChangeArrowheads="1"/>
              </p:cNvSpPr>
              <p:nvPr/>
            </p:nvSpPr>
            <p:spPr bwMode="auto">
              <a:xfrm>
                <a:off x="2956"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Oval 1257"/>
              <p:cNvSpPr>
                <a:spLocks noChangeArrowheads="1"/>
              </p:cNvSpPr>
              <p:nvPr/>
            </p:nvSpPr>
            <p:spPr bwMode="auto">
              <a:xfrm>
                <a:off x="2918"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Oval 1258"/>
              <p:cNvSpPr>
                <a:spLocks noChangeArrowheads="1"/>
              </p:cNvSpPr>
              <p:nvPr/>
            </p:nvSpPr>
            <p:spPr bwMode="auto">
              <a:xfrm>
                <a:off x="2879"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Oval 1259"/>
              <p:cNvSpPr>
                <a:spLocks noChangeArrowheads="1"/>
              </p:cNvSpPr>
              <p:nvPr/>
            </p:nvSpPr>
            <p:spPr bwMode="auto">
              <a:xfrm>
                <a:off x="2841"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Oval 1260"/>
              <p:cNvSpPr>
                <a:spLocks noChangeArrowheads="1"/>
              </p:cNvSpPr>
              <p:nvPr/>
            </p:nvSpPr>
            <p:spPr bwMode="auto">
              <a:xfrm>
                <a:off x="2802"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Oval 1261"/>
              <p:cNvSpPr>
                <a:spLocks noChangeArrowheads="1"/>
              </p:cNvSpPr>
              <p:nvPr/>
            </p:nvSpPr>
            <p:spPr bwMode="auto">
              <a:xfrm>
                <a:off x="2764"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Oval 1262"/>
              <p:cNvSpPr>
                <a:spLocks noChangeArrowheads="1"/>
              </p:cNvSpPr>
              <p:nvPr/>
            </p:nvSpPr>
            <p:spPr bwMode="auto">
              <a:xfrm>
                <a:off x="2725"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Oval 1263"/>
              <p:cNvSpPr>
                <a:spLocks noChangeArrowheads="1"/>
              </p:cNvSpPr>
              <p:nvPr/>
            </p:nvSpPr>
            <p:spPr bwMode="auto">
              <a:xfrm>
                <a:off x="2687"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Oval 1264"/>
              <p:cNvSpPr>
                <a:spLocks noChangeArrowheads="1"/>
              </p:cNvSpPr>
              <p:nvPr/>
            </p:nvSpPr>
            <p:spPr bwMode="auto">
              <a:xfrm>
                <a:off x="1954"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1265"/>
              <p:cNvSpPr>
                <a:spLocks/>
              </p:cNvSpPr>
              <p:nvPr/>
            </p:nvSpPr>
            <p:spPr bwMode="auto">
              <a:xfrm>
                <a:off x="1800" y="1508"/>
                <a:ext cx="28" cy="28"/>
              </a:xfrm>
              <a:custGeom>
                <a:avLst/>
                <a:gdLst>
                  <a:gd name="T0" fmla="*/ 80 w 160"/>
                  <a:gd name="T1" fmla="*/ 0 h 159"/>
                  <a:gd name="T2" fmla="*/ 159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6"/>
                      <a:pt x="159" y="80"/>
                    </a:cubicBezTo>
                    <a:cubicBezTo>
                      <a:pt x="160" y="124"/>
                      <a:pt x="124" y="159"/>
                      <a:pt x="80" y="159"/>
                    </a:cubicBezTo>
                    <a:cubicBezTo>
                      <a:pt x="36" y="159"/>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Oval 1266"/>
              <p:cNvSpPr>
                <a:spLocks noChangeArrowheads="1"/>
              </p:cNvSpPr>
              <p:nvPr/>
            </p:nvSpPr>
            <p:spPr bwMode="auto">
              <a:xfrm>
                <a:off x="1761"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Oval 1267"/>
              <p:cNvSpPr>
                <a:spLocks noChangeArrowheads="1"/>
              </p:cNvSpPr>
              <p:nvPr/>
            </p:nvSpPr>
            <p:spPr bwMode="auto">
              <a:xfrm>
                <a:off x="1723"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Oval 1268"/>
              <p:cNvSpPr>
                <a:spLocks noChangeArrowheads="1"/>
              </p:cNvSpPr>
              <p:nvPr/>
            </p:nvSpPr>
            <p:spPr bwMode="auto">
              <a:xfrm>
                <a:off x="1684"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Oval 1269"/>
              <p:cNvSpPr>
                <a:spLocks noChangeArrowheads="1"/>
              </p:cNvSpPr>
              <p:nvPr/>
            </p:nvSpPr>
            <p:spPr bwMode="auto">
              <a:xfrm>
                <a:off x="1646"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Oval 1270"/>
              <p:cNvSpPr>
                <a:spLocks noChangeArrowheads="1"/>
              </p:cNvSpPr>
              <p:nvPr/>
            </p:nvSpPr>
            <p:spPr bwMode="auto">
              <a:xfrm>
                <a:off x="1607"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Oval 1271"/>
              <p:cNvSpPr>
                <a:spLocks noChangeArrowheads="1"/>
              </p:cNvSpPr>
              <p:nvPr/>
            </p:nvSpPr>
            <p:spPr bwMode="auto">
              <a:xfrm>
                <a:off x="1569"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Oval 1272"/>
              <p:cNvSpPr>
                <a:spLocks noChangeArrowheads="1"/>
              </p:cNvSpPr>
              <p:nvPr/>
            </p:nvSpPr>
            <p:spPr bwMode="auto">
              <a:xfrm>
                <a:off x="1530"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Oval 1273"/>
              <p:cNvSpPr>
                <a:spLocks noChangeArrowheads="1"/>
              </p:cNvSpPr>
              <p:nvPr/>
            </p:nvSpPr>
            <p:spPr bwMode="auto">
              <a:xfrm>
                <a:off x="1491"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Oval 1274"/>
              <p:cNvSpPr>
                <a:spLocks noChangeArrowheads="1"/>
              </p:cNvSpPr>
              <p:nvPr/>
            </p:nvSpPr>
            <p:spPr bwMode="auto">
              <a:xfrm>
                <a:off x="1453"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Oval 1275"/>
              <p:cNvSpPr>
                <a:spLocks noChangeArrowheads="1"/>
              </p:cNvSpPr>
              <p:nvPr/>
            </p:nvSpPr>
            <p:spPr bwMode="auto">
              <a:xfrm>
                <a:off x="1414"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Oval 1276"/>
              <p:cNvSpPr>
                <a:spLocks noChangeArrowheads="1"/>
              </p:cNvSpPr>
              <p:nvPr/>
            </p:nvSpPr>
            <p:spPr bwMode="auto">
              <a:xfrm>
                <a:off x="1376"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Oval 1277"/>
              <p:cNvSpPr>
                <a:spLocks noChangeArrowheads="1"/>
              </p:cNvSpPr>
              <p:nvPr/>
            </p:nvSpPr>
            <p:spPr bwMode="auto">
              <a:xfrm>
                <a:off x="1337"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Oval 1278"/>
              <p:cNvSpPr>
                <a:spLocks noChangeArrowheads="1"/>
              </p:cNvSpPr>
              <p:nvPr/>
            </p:nvSpPr>
            <p:spPr bwMode="auto">
              <a:xfrm>
                <a:off x="1299"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Oval 1279"/>
              <p:cNvSpPr>
                <a:spLocks noChangeArrowheads="1"/>
              </p:cNvSpPr>
              <p:nvPr/>
            </p:nvSpPr>
            <p:spPr bwMode="auto">
              <a:xfrm>
                <a:off x="1260"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Oval 1280"/>
              <p:cNvSpPr>
                <a:spLocks noChangeArrowheads="1"/>
              </p:cNvSpPr>
              <p:nvPr/>
            </p:nvSpPr>
            <p:spPr bwMode="auto">
              <a:xfrm>
                <a:off x="1222"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Oval 1281"/>
              <p:cNvSpPr>
                <a:spLocks noChangeArrowheads="1"/>
              </p:cNvSpPr>
              <p:nvPr/>
            </p:nvSpPr>
            <p:spPr bwMode="auto">
              <a:xfrm>
                <a:off x="1183"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Oval 1282"/>
              <p:cNvSpPr>
                <a:spLocks noChangeArrowheads="1"/>
              </p:cNvSpPr>
              <p:nvPr/>
            </p:nvSpPr>
            <p:spPr bwMode="auto">
              <a:xfrm>
                <a:off x="1144"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Oval 1283"/>
              <p:cNvSpPr>
                <a:spLocks noChangeArrowheads="1"/>
              </p:cNvSpPr>
              <p:nvPr/>
            </p:nvSpPr>
            <p:spPr bwMode="auto">
              <a:xfrm>
                <a:off x="1106"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Oval 1284"/>
              <p:cNvSpPr>
                <a:spLocks noChangeArrowheads="1"/>
              </p:cNvSpPr>
              <p:nvPr/>
            </p:nvSpPr>
            <p:spPr bwMode="auto">
              <a:xfrm>
                <a:off x="1067" y="150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Oval 1285"/>
              <p:cNvSpPr>
                <a:spLocks noChangeArrowheads="1"/>
              </p:cNvSpPr>
              <p:nvPr/>
            </p:nvSpPr>
            <p:spPr bwMode="auto">
              <a:xfrm>
                <a:off x="1029" y="150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Oval 1286"/>
              <p:cNvSpPr>
                <a:spLocks noChangeArrowheads="1"/>
              </p:cNvSpPr>
              <p:nvPr/>
            </p:nvSpPr>
            <p:spPr bwMode="auto">
              <a:xfrm>
                <a:off x="4537"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Oval 1287"/>
              <p:cNvSpPr>
                <a:spLocks noChangeArrowheads="1"/>
              </p:cNvSpPr>
              <p:nvPr/>
            </p:nvSpPr>
            <p:spPr bwMode="auto">
              <a:xfrm>
                <a:off x="4498"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Oval 1288"/>
              <p:cNvSpPr>
                <a:spLocks noChangeArrowheads="1"/>
              </p:cNvSpPr>
              <p:nvPr/>
            </p:nvSpPr>
            <p:spPr bwMode="auto">
              <a:xfrm>
                <a:off x="4460"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Oval 1289"/>
              <p:cNvSpPr>
                <a:spLocks noChangeArrowheads="1"/>
              </p:cNvSpPr>
              <p:nvPr/>
            </p:nvSpPr>
            <p:spPr bwMode="auto">
              <a:xfrm>
                <a:off x="4421"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Oval 1290"/>
              <p:cNvSpPr>
                <a:spLocks noChangeArrowheads="1"/>
              </p:cNvSpPr>
              <p:nvPr/>
            </p:nvSpPr>
            <p:spPr bwMode="auto">
              <a:xfrm>
                <a:off x="4383"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Oval 1291"/>
              <p:cNvSpPr>
                <a:spLocks noChangeArrowheads="1"/>
              </p:cNvSpPr>
              <p:nvPr/>
            </p:nvSpPr>
            <p:spPr bwMode="auto">
              <a:xfrm>
                <a:off x="4344"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Oval 1292"/>
              <p:cNvSpPr>
                <a:spLocks noChangeArrowheads="1"/>
              </p:cNvSpPr>
              <p:nvPr/>
            </p:nvSpPr>
            <p:spPr bwMode="auto">
              <a:xfrm>
                <a:off x="4306"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Oval 1293"/>
              <p:cNvSpPr>
                <a:spLocks noChangeArrowheads="1"/>
              </p:cNvSpPr>
              <p:nvPr/>
            </p:nvSpPr>
            <p:spPr bwMode="auto">
              <a:xfrm>
                <a:off x="4267"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Freeform 1294"/>
              <p:cNvSpPr>
                <a:spLocks/>
              </p:cNvSpPr>
              <p:nvPr/>
            </p:nvSpPr>
            <p:spPr bwMode="auto">
              <a:xfrm>
                <a:off x="4229" y="1547"/>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Oval 1295"/>
              <p:cNvSpPr>
                <a:spLocks noChangeArrowheads="1"/>
              </p:cNvSpPr>
              <p:nvPr/>
            </p:nvSpPr>
            <p:spPr bwMode="auto">
              <a:xfrm>
                <a:off x="4190"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Oval 1296"/>
              <p:cNvSpPr>
                <a:spLocks noChangeArrowheads="1"/>
              </p:cNvSpPr>
              <p:nvPr/>
            </p:nvSpPr>
            <p:spPr bwMode="auto">
              <a:xfrm>
                <a:off x="4151"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Oval 1297"/>
              <p:cNvSpPr>
                <a:spLocks noChangeArrowheads="1"/>
              </p:cNvSpPr>
              <p:nvPr/>
            </p:nvSpPr>
            <p:spPr bwMode="auto">
              <a:xfrm>
                <a:off x="4113"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Oval 1298"/>
              <p:cNvSpPr>
                <a:spLocks noChangeArrowheads="1"/>
              </p:cNvSpPr>
              <p:nvPr/>
            </p:nvSpPr>
            <p:spPr bwMode="auto">
              <a:xfrm>
                <a:off x="4074"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Oval 1299"/>
              <p:cNvSpPr>
                <a:spLocks noChangeArrowheads="1"/>
              </p:cNvSpPr>
              <p:nvPr/>
            </p:nvSpPr>
            <p:spPr bwMode="auto">
              <a:xfrm>
                <a:off x="4036"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Oval 1300"/>
              <p:cNvSpPr>
                <a:spLocks noChangeArrowheads="1"/>
              </p:cNvSpPr>
              <p:nvPr/>
            </p:nvSpPr>
            <p:spPr bwMode="auto">
              <a:xfrm>
                <a:off x="3997"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Oval 1301"/>
              <p:cNvSpPr>
                <a:spLocks noChangeArrowheads="1"/>
              </p:cNvSpPr>
              <p:nvPr/>
            </p:nvSpPr>
            <p:spPr bwMode="auto">
              <a:xfrm>
                <a:off x="3959"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Oval 1302"/>
              <p:cNvSpPr>
                <a:spLocks noChangeArrowheads="1"/>
              </p:cNvSpPr>
              <p:nvPr/>
            </p:nvSpPr>
            <p:spPr bwMode="auto">
              <a:xfrm>
                <a:off x="3920"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Oval 1303"/>
              <p:cNvSpPr>
                <a:spLocks noChangeArrowheads="1"/>
              </p:cNvSpPr>
              <p:nvPr/>
            </p:nvSpPr>
            <p:spPr bwMode="auto">
              <a:xfrm>
                <a:off x="3882"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Oval 1304"/>
              <p:cNvSpPr>
                <a:spLocks noChangeArrowheads="1"/>
              </p:cNvSpPr>
              <p:nvPr/>
            </p:nvSpPr>
            <p:spPr bwMode="auto">
              <a:xfrm>
                <a:off x="3843"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Oval 1305"/>
              <p:cNvSpPr>
                <a:spLocks noChangeArrowheads="1"/>
              </p:cNvSpPr>
              <p:nvPr/>
            </p:nvSpPr>
            <p:spPr bwMode="auto">
              <a:xfrm>
                <a:off x="3804"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Oval 1306"/>
              <p:cNvSpPr>
                <a:spLocks noChangeArrowheads="1"/>
              </p:cNvSpPr>
              <p:nvPr/>
            </p:nvSpPr>
            <p:spPr bwMode="auto">
              <a:xfrm>
                <a:off x="3766"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Oval 1307"/>
              <p:cNvSpPr>
                <a:spLocks noChangeArrowheads="1"/>
              </p:cNvSpPr>
              <p:nvPr/>
            </p:nvSpPr>
            <p:spPr bwMode="auto">
              <a:xfrm>
                <a:off x="3727"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Oval 1308"/>
              <p:cNvSpPr>
                <a:spLocks noChangeArrowheads="1"/>
              </p:cNvSpPr>
              <p:nvPr/>
            </p:nvSpPr>
            <p:spPr bwMode="auto">
              <a:xfrm>
                <a:off x="3689"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Oval 1309"/>
              <p:cNvSpPr>
                <a:spLocks noChangeArrowheads="1"/>
              </p:cNvSpPr>
              <p:nvPr/>
            </p:nvSpPr>
            <p:spPr bwMode="auto">
              <a:xfrm>
                <a:off x="3650"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Oval 1310"/>
              <p:cNvSpPr>
                <a:spLocks noChangeArrowheads="1"/>
              </p:cNvSpPr>
              <p:nvPr/>
            </p:nvSpPr>
            <p:spPr bwMode="auto">
              <a:xfrm>
                <a:off x="3612"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Oval 1311"/>
              <p:cNvSpPr>
                <a:spLocks noChangeArrowheads="1"/>
              </p:cNvSpPr>
              <p:nvPr/>
            </p:nvSpPr>
            <p:spPr bwMode="auto">
              <a:xfrm>
                <a:off x="3573"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Oval 1312"/>
              <p:cNvSpPr>
                <a:spLocks noChangeArrowheads="1"/>
              </p:cNvSpPr>
              <p:nvPr/>
            </p:nvSpPr>
            <p:spPr bwMode="auto">
              <a:xfrm>
                <a:off x="3535"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Oval 1313"/>
              <p:cNvSpPr>
                <a:spLocks noChangeArrowheads="1"/>
              </p:cNvSpPr>
              <p:nvPr/>
            </p:nvSpPr>
            <p:spPr bwMode="auto">
              <a:xfrm>
                <a:off x="3496"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Oval 1314"/>
              <p:cNvSpPr>
                <a:spLocks noChangeArrowheads="1"/>
              </p:cNvSpPr>
              <p:nvPr/>
            </p:nvSpPr>
            <p:spPr bwMode="auto">
              <a:xfrm>
                <a:off x="3458"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Oval 1315"/>
              <p:cNvSpPr>
                <a:spLocks noChangeArrowheads="1"/>
              </p:cNvSpPr>
              <p:nvPr/>
            </p:nvSpPr>
            <p:spPr bwMode="auto">
              <a:xfrm>
                <a:off x="3419"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Oval 1316"/>
              <p:cNvSpPr>
                <a:spLocks noChangeArrowheads="1"/>
              </p:cNvSpPr>
              <p:nvPr/>
            </p:nvSpPr>
            <p:spPr bwMode="auto">
              <a:xfrm>
                <a:off x="3380"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Oval 1317"/>
              <p:cNvSpPr>
                <a:spLocks noChangeArrowheads="1"/>
              </p:cNvSpPr>
              <p:nvPr/>
            </p:nvSpPr>
            <p:spPr bwMode="auto">
              <a:xfrm>
                <a:off x="3342"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Oval 1318"/>
              <p:cNvSpPr>
                <a:spLocks noChangeArrowheads="1"/>
              </p:cNvSpPr>
              <p:nvPr/>
            </p:nvSpPr>
            <p:spPr bwMode="auto">
              <a:xfrm>
                <a:off x="3303"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Freeform 1319"/>
              <p:cNvSpPr>
                <a:spLocks/>
              </p:cNvSpPr>
              <p:nvPr/>
            </p:nvSpPr>
            <p:spPr bwMode="auto">
              <a:xfrm>
                <a:off x="3265" y="1547"/>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Oval 1320"/>
              <p:cNvSpPr>
                <a:spLocks noChangeArrowheads="1"/>
              </p:cNvSpPr>
              <p:nvPr/>
            </p:nvSpPr>
            <p:spPr bwMode="auto">
              <a:xfrm>
                <a:off x="3226"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Oval 1321"/>
              <p:cNvSpPr>
                <a:spLocks noChangeArrowheads="1"/>
              </p:cNvSpPr>
              <p:nvPr/>
            </p:nvSpPr>
            <p:spPr bwMode="auto">
              <a:xfrm>
                <a:off x="3188"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Oval 1322"/>
              <p:cNvSpPr>
                <a:spLocks noChangeArrowheads="1"/>
              </p:cNvSpPr>
              <p:nvPr/>
            </p:nvSpPr>
            <p:spPr bwMode="auto">
              <a:xfrm>
                <a:off x="3149"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Oval 1323"/>
              <p:cNvSpPr>
                <a:spLocks noChangeArrowheads="1"/>
              </p:cNvSpPr>
              <p:nvPr/>
            </p:nvSpPr>
            <p:spPr bwMode="auto">
              <a:xfrm>
                <a:off x="3111"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Oval 1324"/>
              <p:cNvSpPr>
                <a:spLocks noChangeArrowheads="1"/>
              </p:cNvSpPr>
              <p:nvPr/>
            </p:nvSpPr>
            <p:spPr bwMode="auto">
              <a:xfrm>
                <a:off x="3072"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4" name="Oval 1325"/>
              <p:cNvSpPr>
                <a:spLocks noChangeArrowheads="1"/>
              </p:cNvSpPr>
              <p:nvPr/>
            </p:nvSpPr>
            <p:spPr bwMode="auto">
              <a:xfrm>
                <a:off x="3033"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Oval 1326"/>
              <p:cNvSpPr>
                <a:spLocks noChangeArrowheads="1"/>
              </p:cNvSpPr>
              <p:nvPr/>
            </p:nvSpPr>
            <p:spPr bwMode="auto">
              <a:xfrm>
                <a:off x="2995"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Oval 1327"/>
              <p:cNvSpPr>
                <a:spLocks noChangeArrowheads="1"/>
              </p:cNvSpPr>
              <p:nvPr/>
            </p:nvSpPr>
            <p:spPr bwMode="auto">
              <a:xfrm>
                <a:off x="2956"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Oval 1328"/>
              <p:cNvSpPr>
                <a:spLocks noChangeArrowheads="1"/>
              </p:cNvSpPr>
              <p:nvPr/>
            </p:nvSpPr>
            <p:spPr bwMode="auto">
              <a:xfrm>
                <a:off x="2918"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8" name="Oval 1329"/>
              <p:cNvSpPr>
                <a:spLocks noChangeArrowheads="1"/>
              </p:cNvSpPr>
              <p:nvPr/>
            </p:nvSpPr>
            <p:spPr bwMode="auto">
              <a:xfrm>
                <a:off x="2879"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Oval 1330"/>
              <p:cNvSpPr>
                <a:spLocks noChangeArrowheads="1"/>
              </p:cNvSpPr>
              <p:nvPr/>
            </p:nvSpPr>
            <p:spPr bwMode="auto">
              <a:xfrm>
                <a:off x="2841"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Oval 1331"/>
              <p:cNvSpPr>
                <a:spLocks noChangeArrowheads="1"/>
              </p:cNvSpPr>
              <p:nvPr/>
            </p:nvSpPr>
            <p:spPr bwMode="auto">
              <a:xfrm>
                <a:off x="2802"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Oval 1332"/>
              <p:cNvSpPr>
                <a:spLocks noChangeArrowheads="1"/>
              </p:cNvSpPr>
              <p:nvPr/>
            </p:nvSpPr>
            <p:spPr bwMode="auto">
              <a:xfrm>
                <a:off x="2764"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Oval 1333"/>
              <p:cNvSpPr>
                <a:spLocks noChangeArrowheads="1"/>
              </p:cNvSpPr>
              <p:nvPr/>
            </p:nvSpPr>
            <p:spPr bwMode="auto">
              <a:xfrm>
                <a:off x="2725"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Oval 1334"/>
              <p:cNvSpPr>
                <a:spLocks noChangeArrowheads="1"/>
              </p:cNvSpPr>
              <p:nvPr/>
            </p:nvSpPr>
            <p:spPr bwMode="auto">
              <a:xfrm>
                <a:off x="2687"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Oval 1335"/>
              <p:cNvSpPr>
                <a:spLocks noChangeArrowheads="1"/>
              </p:cNvSpPr>
              <p:nvPr/>
            </p:nvSpPr>
            <p:spPr bwMode="auto">
              <a:xfrm>
                <a:off x="1993"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Oval 1336"/>
              <p:cNvSpPr>
                <a:spLocks noChangeArrowheads="1"/>
              </p:cNvSpPr>
              <p:nvPr/>
            </p:nvSpPr>
            <p:spPr bwMode="auto">
              <a:xfrm>
                <a:off x="1954"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Oval 1337"/>
              <p:cNvSpPr>
                <a:spLocks noChangeArrowheads="1"/>
              </p:cNvSpPr>
              <p:nvPr/>
            </p:nvSpPr>
            <p:spPr bwMode="auto">
              <a:xfrm>
                <a:off x="1915"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Oval 1338"/>
              <p:cNvSpPr>
                <a:spLocks noChangeArrowheads="1"/>
              </p:cNvSpPr>
              <p:nvPr/>
            </p:nvSpPr>
            <p:spPr bwMode="auto">
              <a:xfrm>
                <a:off x="1838"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1339"/>
              <p:cNvSpPr>
                <a:spLocks/>
              </p:cNvSpPr>
              <p:nvPr/>
            </p:nvSpPr>
            <p:spPr bwMode="auto">
              <a:xfrm>
                <a:off x="1800" y="1547"/>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Oval 1340"/>
              <p:cNvSpPr>
                <a:spLocks noChangeArrowheads="1"/>
              </p:cNvSpPr>
              <p:nvPr/>
            </p:nvSpPr>
            <p:spPr bwMode="auto">
              <a:xfrm>
                <a:off x="1761"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Oval 1341"/>
              <p:cNvSpPr>
                <a:spLocks noChangeArrowheads="1"/>
              </p:cNvSpPr>
              <p:nvPr/>
            </p:nvSpPr>
            <p:spPr bwMode="auto">
              <a:xfrm>
                <a:off x="1723"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Oval 1342"/>
              <p:cNvSpPr>
                <a:spLocks noChangeArrowheads="1"/>
              </p:cNvSpPr>
              <p:nvPr/>
            </p:nvSpPr>
            <p:spPr bwMode="auto">
              <a:xfrm>
                <a:off x="1684"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Oval 1343"/>
              <p:cNvSpPr>
                <a:spLocks noChangeArrowheads="1"/>
              </p:cNvSpPr>
              <p:nvPr/>
            </p:nvSpPr>
            <p:spPr bwMode="auto">
              <a:xfrm>
                <a:off x="1646"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Oval 1344"/>
              <p:cNvSpPr>
                <a:spLocks noChangeArrowheads="1"/>
              </p:cNvSpPr>
              <p:nvPr/>
            </p:nvSpPr>
            <p:spPr bwMode="auto">
              <a:xfrm>
                <a:off x="1607"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Oval 1345"/>
              <p:cNvSpPr>
                <a:spLocks noChangeArrowheads="1"/>
              </p:cNvSpPr>
              <p:nvPr/>
            </p:nvSpPr>
            <p:spPr bwMode="auto">
              <a:xfrm>
                <a:off x="1569"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Oval 1346"/>
              <p:cNvSpPr>
                <a:spLocks noChangeArrowheads="1"/>
              </p:cNvSpPr>
              <p:nvPr/>
            </p:nvSpPr>
            <p:spPr bwMode="auto">
              <a:xfrm>
                <a:off x="1530"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Oval 1347"/>
              <p:cNvSpPr>
                <a:spLocks noChangeArrowheads="1"/>
              </p:cNvSpPr>
              <p:nvPr/>
            </p:nvSpPr>
            <p:spPr bwMode="auto">
              <a:xfrm>
                <a:off x="1491"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Oval 1348"/>
              <p:cNvSpPr>
                <a:spLocks noChangeArrowheads="1"/>
              </p:cNvSpPr>
              <p:nvPr/>
            </p:nvSpPr>
            <p:spPr bwMode="auto">
              <a:xfrm>
                <a:off x="1453"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Oval 1349"/>
              <p:cNvSpPr>
                <a:spLocks noChangeArrowheads="1"/>
              </p:cNvSpPr>
              <p:nvPr/>
            </p:nvSpPr>
            <p:spPr bwMode="auto">
              <a:xfrm>
                <a:off x="1414"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Oval 1350"/>
              <p:cNvSpPr>
                <a:spLocks noChangeArrowheads="1"/>
              </p:cNvSpPr>
              <p:nvPr/>
            </p:nvSpPr>
            <p:spPr bwMode="auto">
              <a:xfrm>
                <a:off x="1376"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Oval 1351"/>
              <p:cNvSpPr>
                <a:spLocks noChangeArrowheads="1"/>
              </p:cNvSpPr>
              <p:nvPr/>
            </p:nvSpPr>
            <p:spPr bwMode="auto">
              <a:xfrm>
                <a:off x="1337"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Oval 1352"/>
              <p:cNvSpPr>
                <a:spLocks noChangeArrowheads="1"/>
              </p:cNvSpPr>
              <p:nvPr/>
            </p:nvSpPr>
            <p:spPr bwMode="auto">
              <a:xfrm>
                <a:off x="1299"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Oval 1353"/>
              <p:cNvSpPr>
                <a:spLocks noChangeArrowheads="1"/>
              </p:cNvSpPr>
              <p:nvPr/>
            </p:nvSpPr>
            <p:spPr bwMode="auto">
              <a:xfrm>
                <a:off x="1260"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Oval 1354"/>
              <p:cNvSpPr>
                <a:spLocks noChangeArrowheads="1"/>
              </p:cNvSpPr>
              <p:nvPr/>
            </p:nvSpPr>
            <p:spPr bwMode="auto">
              <a:xfrm>
                <a:off x="1222" y="154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Oval 1355"/>
              <p:cNvSpPr>
                <a:spLocks noChangeArrowheads="1"/>
              </p:cNvSpPr>
              <p:nvPr/>
            </p:nvSpPr>
            <p:spPr bwMode="auto">
              <a:xfrm>
                <a:off x="1183"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Oval 1356"/>
              <p:cNvSpPr>
                <a:spLocks noChangeArrowheads="1"/>
              </p:cNvSpPr>
              <p:nvPr/>
            </p:nvSpPr>
            <p:spPr bwMode="auto">
              <a:xfrm>
                <a:off x="1144"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Oval 1357"/>
              <p:cNvSpPr>
                <a:spLocks noChangeArrowheads="1"/>
              </p:cNvSpPr>
              <p:nvPr/>
            </p:nvSpPr>
            <p:spPr bwMode="auto">
              <a:xfrm>
                <a:off x="1106" y="154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Oval 1358"/>
              <p:cNvSpPr>
                <a:spLocks noChangeArrowheads="1"/>
              </p:cNvSpPr>
              <p:nvPr/>
            </p:nvSpPr>
            <p:spPr bwMode="auto">
              <a:xfrm>
                <a:off x="4537"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Oval 1359"/>
              <p:cNvSpPr>
                <a:spLocks noChangeArrowheads="1"/>
              </p:cNvSpPr>
              <p:nvPr/>
            </p:nvSpPr>
            <p:spPr bwMode="auto">
              <a:xfrm>
                <a:off x="4498"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Oval 1360"/>
              <p:cNvSpPr>
                <a:spLocks noChangeArrowheads="1"/>
              </p:cNvSpPr>
              <p:nvPr/>
            </p:nvSpPr>
            <p:spPr bwMode="auto">
              <a:xfrm>
                <a:off x="4460"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Oval 1361"/>
              <p:cNvSpPr>
                <a:spLocks noChangeArrowheads="1"/>
              </p:cNvSpPr>
              <p:nvPr/>
            </p:nvSpPr>
            <p:spPr bwMode="auto">
              <a:xfrm>
                <a:off x="4421"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Oval 1362"/>
              <p:cNvSpPr>
                <a:spLocks noChangeArrowheads="1"/>
              </p:cNvSpPr>
              <p:nvPr/>
            </p:nvSpPr>
            <p:spPr bwMode="auto">
              <a:xfrm>
                <a:off x="4383"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Oval 1363"/>
              <p:cNvSpPr>
                <a:spLocks noChangeArrowheads="1"/>
              </p:cNvSpPr>
              <p:nvPr/>
            </p:nvSpPr>
            <p:spPr bwMode="auto">
              <a:xfrm>
                <a:off x="4344"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Oval 1364"/>
              <p:cNvSpPr>
                <a:spLocks noChangeArrowheads="1"/>
              </p:cNvSpPr>
              <p:nvPr/>
            </p:nvSpPr>
            <p:spPr bwMode="auto">
              <a:xfrm>
                <a:off x="4306"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Oval 1365"/>
              <p:cNvSpPr>
                <a:spLocks noChangeArrowheads="1"/>
              </p:cNvSpPr>
              <p:nvPr/>
            </p:nvSpPr>
            <p:spPr bwMode="auto">
              <a:xfrm>
                <a:off x="4267"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1366"/>
              <p:cNvSpPr>
                <a:spLocks/>
              </p:cNvSpPr>
              <p:nvPr/>
            </p:nvSpPr>
            <p:spPr bwMode="auto">
              <a:xfrm>
                <a:off x="4229" y="1585"/>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Oval 1367"/>
              <p:cNvSpPr>
                <a:spLocks noChangeArrowheads="1"/>
              </p:cNvSpPr>
              <p:nvPr/>
            </p:nvSpPr>
            <p:spPr bwMode="auto">
              <a:xfrm>
                <a:off x="4190"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Oval 1368"/>
              <p:cNvSpPr>
                <a:spLocks noChangeArrowheads="1"/>
              </p:cNvSpPr>
              <p:nvPr/>
            </p:nvSpPr>
            <p:spPr bwMode="auto">
              <a:xfrm>
                <a:off x="4151"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Oval 1369"/>
              <p:cNvSpPr>
                <a:spLocks noChangeArrowheads="1"/>
              </p:cNvSpPr>
              <p:nvPr/>
            </p:nvSpPr>
            <p:spPr bwMode="auto">
              <a:xfrm>
                <a:off x="4113"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Oval 1370"/>
              <p:cNvSpPr>
                <a:spLocks noChangeArrowheads="1"/>
              </p:cNvSpPr>
              <p:nvPr/>
            </p:nvSpPr>
            <p:spPr bwMode="auto">
              <a:xfrm>
                <a:off x="4074"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Oval 1371"/>
              <p:cNvSpPr>
                <a:spLocks noChangeArrowheads="1"/>
              </p:cNvSpPr>
              <p:nvPr/>
            </p:nvSpPr>
            <p:spPr bwMode="auto">
              <a:xfrm>
                <a:off x="4036"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Oval 1372"/>
              <p:cNvSpPr>
                <a:spLocks noChangeArrowheads="1"/>
              </p:cNvSpPr>
              <p:nvPr/>
            </p:nvSpPr>
            <p:spPr bwMode="auto">
              <a:xfrm>
                <a:off x="3997"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Oval 1373"/>
              <p:cNvSpPr>
                <a:spLocks noChangeArrowheads="1"/>
              </p:cNvSpPr>
              <p:nvPr/>
            </p:nvSpPr>
            <p:spPr bwMode="auto">
              <a:xfrm>
                <a:off x="3959"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Oval 1374"/>
              <p:cNvSpPr>
                <a:spLocks noChangeArrowheads="1"/>
              </p:cNvSpPr>
              <p:nvPr/>
            </p:nvSpPr>
            <p:spPr bwMode="auto">
              <a:xfrm>
                <a:off x="3920"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Oval 1375"/>
              <p:cNvSpPr>
                <a:spLocks noChangeArrowheads="1"/>
              </p:cNvSpPr>
              <p:nvPr/>
            </p:nvSpPr>
            <p:spPr bwMode="auto">
              <a:xfrm>
                <a:off x="3882"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Oval 1376"/>
              <p:cNvSpPr>
                <a:spLocks noChangeArrowheads="1"/>
              </p:cNvSpPr>
              <p:nvPr/>
            </p:nvSpPr>
            <p:spPr bwMode="auto">
              <a:xfrm>
                <a:off x="3843"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Oval 1377"/>
              <p:cNvSpPr>
                <a:spLocks noChangeArrowheads="1"/>
              </p:cNvSpPr>
              <p:nvPr/>
            </p:nvSpPr>
            <p:spPr bwMode="auto">
              <a:xfrm>
                <a:off x="3804"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Oval 1378"/>
              <p:cNvSpPr>
                <a:spLocks noChangeArrowheads="1"/>
              </p:cNvSpPr>
              <p:nvPr/>
            </p:nvSpPr>
            <p:spPr bwMode="auto">
              <a:xfrm>
                <a:off x="3766"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Oval 1379"/>
              <p:cNvSpPr>
                <a:spLocks noChangeArrowheads="1"/>
              </p:cNvSpPr>
              <p:nvPr/>
            </p:nvSpPr>
            <p:spPr bwMode="auto">
              <a:xfrm>
                <a:off x="3727"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Oval 1380"/>
              <p:cNvSpPr>
                <a:spLocks noChangeArrowheads="1"/>
              </p:cNvSpPr>
              <p:nvPr/>
            </p:nvSpPr>
            <p:spPr bwMode="auto">
              <a:xfrm>
                <a:off x="3689"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Oval 1381"/>
              <p:cNvSpPr>
                <a:spLocks noChangeArrowheads="1"/>
              </p:cNvSpPr>
              <p:nvPr/>
            </p:nvSpPr>
            <p:spPr bwMode="auto">
              <a:xfrm>
                <a:off x="3650"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Oval 1382"/>
              <p:cNvSpPr>
                <a:spLocks noChangeArrowheads="1"/>
              </p:cNvSpPr>
              <p:nvPr/>
            </p:nvSpPr>
            <p:spPr bwMode="auto">
              <a:xfrm>
                <a:off x="3612"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Oval 1383"/>
              <p:cNvSpPr>
                <a:spLocks noChangeArrowheads="1"/>
              </p:cNvSpPr>
              <p:nvPr/>
            </p:nvSpPr>
            <p:spPr bwMode="auto">
              <a:xfrm>
                <a:off x="3573"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Oval 1384"/>
              <p:cNvSpPr>
                <a:spLocks noChangeArrowheads="1"/>
              </p:cNvSpPr>
              <p:nvPr/>
            </p:nvSpPr>
            <p:spPr bwMode="auto">
              <a:xfrm>
                <a:off x="3535"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Oval 1385"/>
              <p:cNvSpPr>
                <a:spLocks noChangeArrowheads="1"/>
              </p:cNvSpPr>
              <p:nvPr/>
            </p:nvSpPr>
            <p:spPr bwMode="auto">
              <a:xfrm>
                <a:off x="3496"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Oval 1386"/>
              <p:cNvSpPr>
                <a:spLocks noChangeArrowheads="1"/>
              </p:cNvSpPr>
              <p:nvPr/>
            </p:nvSpPr>
            <p:spPr bwMode="auto">
              <a:xfrm>
                <a:off x="3458"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6" name="Oval 1387"/>
              <p:cNvSpPr>
                <a:spLocks noChangeArrowheads="1"/>
              </p:cNvSpPr>
              <p:nvPr/>
            </p:nvSpPr>
            <p:spPr bwMode="auto">
              <a:xfrm>
                <a:off x="3419"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Oval 1388"/>
              <p:cNvSpPr>
                <a:spLocks noChangeArrowheads="1"/>
              </p:cNvSpPr>
              <p:nvPr/>
            </p:nvSpPr>
            <p:spPr bwMode="auto">
              <a:xfrm>
                <a:off x="3380"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8" name="Oval 1389"/>
              <p:cNvSpPr>
                <a:spLocks noChangeArrowheads="1"/>
              </p:cNvSpPr>
              <p:nvPr/>
            </p:nvSpPr>
            <p:spPr bwMode="auto">
              <a:xfrm>
                <a:off x="3342"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Oval 1390"/>
              <p:cNvSpPr>
                <a:spLocks noChangeArrowheads="1"/>
              </p:cNvSpPr>
              <p:nvPr/>
            </p:nvSpPr>
            <p:spPr bwMode="auto">
              <a:xfrm>
                <a:off x="3303"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0" name="Freeform 1391"/>
              <p:cNvSpPr>
                <a:spLocks/>
              </p:cNvSpPr>
              <p:nvPr/>
            </p:nvSpPr>
            <p:spPr bwMode="auto">
              <a:xfrm>
                <a:off x="3265" y="1585"/>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1" name="Oval 1392"/>
              <p:cNvSpPr>
                <a:spLocks noChangeArrowheads="1"/>
              </p:cNvSpPr>
              <p:nvPr/>
            </p:nvSpPr>
            <p:spPr bwMode="auto">
              <a:xfrm>
                <a:off x="3226"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2" name="Oval 1393"/>
              <p:cNvSpPr>
                <a:spLocks noChangeArrowheads="1"/>
              </p:cNvSpPr>
              <p:nvPr/>
            </p:nvSpPr>
            <p:spPr bwMode="auto">
              <a:xfrm>
                <a:off x="3188"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Oval 1394"/>
              <p:cNvSpPr>
                <a:spLocks noChangeArrowheads="1"/>
              </p:cNvSpPr>
              <p:nvPr/>
            </p:nvSpPr>
            <p:spPr bwMode="auto">
              <a:xfrm>
                <a:off x="3149"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Oval 1395"/>
              <p:cNvSpPr>
                <a:spLocks noChangeArrowheads="1"/>
              </p:cNvSpPr>
              <p:nvPr/>
            </p:nvSpPr>
            <p:spPr bwMode="auto">
              <a:xfrm>
                <a:off x="3111"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Oval 1396"/>
              <p:cNvSpPr>
                <a:spLocks noChangeArrowheads="1"/>
              </p:cNvSpPr>
              <p:nvPr/>
            </p:nvSpPr>
            <p:spPr bwMode="auto">
              <a:xfrm>
                <a:off x="3072"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Oval 1397"/>
              <p:cNvSpPr>
                <a:spLocks noChangeArrowheads="1"/>
              </p:cNvSpPr>
              <p:nvPr/>
            </p:nvSpPr>
            <p:spPr bwMode="auto">
              <a:xfrm>
                <a:off x="3033"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Oval 1398"/>
              <p:cNvSpPr>
                <a:spLocks noChangeArrowheads="1"/>
              </p:cNvSpPr>
              <p:nvPr/>
            </p:nvSpPr>
            <p:spPr bwMode="auto">
              <a:xfrm>
                <a:off x="2995"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Oval 1399"/>
              <p:cNvSpPr>
                <a:spLocks noChangeArrowheads="1"/>
              </p:cNvSpPr>
              <p:nvPr/>
            </p:nvSpPr>
            <p:spPr bwMode="auto">
              <a:xfrm>
                <a:off x="2956"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Oval 1400"/>
              <p:cNvSpPr>
                <a:spLocks noChangeArrowheads="1"/>
              </p:cNvSpPr>
              <p:nvPr/>
            </p:nvSpPr>
            <p:spPr bwMode="auto">
              <a:xfrm>
                <a:off x="2918"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Oval 1401"/>
              <p:cNvSpPr>
                <a:spLocks noChangeArrowheads="1"/>
              </p:cNvSpPr>
              <p:nvPr/>
            </p:nvSpPr>
            <p:spPr bwMode="auto">
              <a:xfrm>
                <a:off x="2879"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Oval 1402"/>
              <p:cNvSpPr>
                <a:spLocks noChangeArrowheads="1"/>
              </p:cNvSpPr>
              <p:nvPr/>
            </p:nvSpPr>
            <p:spPr bwMode="auto">
              <a:xfrm>
                <a:off x="2841"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Oval 1403"/>
              <p:cNvSpPr>
                <a:spLocks noChangeArrowheads="1"/>
              </p:cNvSpPr>
              <p:nvPr/>
            </p:nvSpPr>
            <p:spPr bwMode="auto">
              <a:xfrm>
                <a:off x="2802"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Oval 1404"/>
              <p:cNvSpPr>
                <a:spLocks noChangeArrowheads="1"/>
              </p:cNvSpPr>
              <p:nvPr/>
            </p:nvSpPr>
            <p:spPr bwMode="auto">
              <a:xfrm>
                <a:off x="2764"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Oval 1405"/>
              <p:cNvSpPr>
                <a:spLocks noChangeArrowheads="1"/>
              </p:cNvSpPr>
              <p:nvPr/>
            </p:nvSpPr>
            <p:spPr bwMode="auto">
              <a:xfrm>
                <a:off x="2725"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Oval 1406"/>
              <p:cNvSpPr>
                <a:spLocks noChangeArrowheads="1"/>
              </p:cNvSpPr>
              <p:nvPr/>
            </p:nvSpPr>
            <p:spPr bwMode="auto">
              <a:xfrm>
                <a:off x="2687"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Oval 1407"/>
              <p:cNvSpPr>
                <a:spLocks noChangeArrowheads="1"/>
              </p:cNvSpPr>
              <p:nvPr/>
            </p:nvSpPr>
            <p:spPr bwMode="auto">
              <a:xfrm>
                <a:off x="1877"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Oval 1408"/>
              <p:cNvSpPr>
                <a:spLocks noChangeArrowheads="1"/>
              </p:cNvSpPr>
              <p:nvPr/>
            </p:nvSpPr>
            <p:spPr bwMode="auto">
              <a:xfrm>
                <a:off x="1838"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1409"/>
              <p:cNvSpPr>
                <a:spLocks/>
              </p:cNvSpPr>
              <p:nvPr/>
            </p:nvSpPr>
            <p:spPr bwMode="auto">
              <a:xfrm>
                <a:off x="1800" y="1585"/>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Oval 1410"/>
              <p:cNvSpPr>
                <a:spLocks noChangeArrowheads="1"/>
              </p:cNvSpPr>
              <p:nvPr/>
            </p:nvSpPr>
            <p:spPr bwMode="auto">
              <a:xfrm>
                <a:off x="1761"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Oval 1411"/>
              <p:cNvSpPr>
                <a:spLocks noChangeArrowheads="1"/>
              </p:cNvSpPr>
              <p:nvPr/>
            </p:nvSpPr>
            <p:spPr bwMode="auto">
              <a:xfrm>
                <a:off x="1723"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Oval 1412"/>
              <p:cNvSpPr>
                <a:spLocks noChangeArrowheads="1"/>
              </p:cNvSpPr>
              <p:nvPr/>
            </p:nvSpPr>
            <p:spPr bwMode="auto">
              <a:xfrm>
                <a:off x="1684"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Oval 1413"/>
              <p:cNvSpPr>
                <a:spLocks noChangeArrowheads="1"/>
              </p:cNvSpPr>
              <p:nvPr/>
            </p:nvSpPr>
            <p:spPr bwMode="auto">
              <a:xfrm>
                <a:off x="1646"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Oval 1414"/>
              <p:cNvSpPr>
                <a:spLocks noChangeArrowheads="1"/>
              </p:cNvSpPr>
              <p:nvPr/>
            </p:nvSpPr>
            <p:spPr bwMode="auto">
              <a:xfrm>
                <a:off x="1607"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Oval 1415"/>
              <p:cNvSpPr>
                <a:spLocks noChangeArrowheads="1"/>
              </p:cNvSpPr>
              <p:nvPr/>
            </p:nvSpPr>
            <p:spPr bwMode="auto">
              <a:xfrm>
                <a:off x="1569"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Oval 1416"/>
              <p:cNvSpPr>
                <a:spLocks noChangeArrowheads="1"/>
              </p:cNvSpPr>
              <p:nvPr/>
            </p:nvSpPr>
            <p:spPr bwMode="auto">
              <a:xfrm>
                <a:off x="1530"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618"/>
            <p:cNvGrpSpPr>
              <a:grpSpLocks/>
            </p:cNvGrpSpPr>
            <p:nvPr/>
          </p:nvGrpSpPr>
          <p:grpSpPr bwMode="auto">
            <a:xfrm>
              <a:off x="1106" y="1585"/>
              <a:ext cx="3459" cy="183"/>
              <a:chOff x="1106" y="1585"/>
              <a:chExt cx="3459" cy="183"/>
            </a:xfrm>
            <a:grpFill/>
          </p:grpSpPr>
          <p:sp>
            <p:nvSpPr>
              <p:cNvPr id="1016" name="Oval 1418"/>
              <p:cNvSpPr>
                <a:spLocks noChangeArrowheads="1"/>
              </p:cNvSpPr>
              <p:nvPr/>
            </p:nvSpPr>
            <p:spPr bwMode="auto">
              <a:xfrm>
                <a:off x="1491"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7" name="Oval 1419"/>
              <p:cNvSpPr>
                <a:spLocks noChangeArrowheads="1"/>
              </p:cNvSpPr>
              <p:nvPr/>
            </p:nvSpPr>
            <p:spPr bwMode="auto">
              <a:xfrm>
                <a:off x="1453"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Oval 1420"/>
              <p:cNvSpPr>
                <a:spLocks noChangeArrowheads="1"/>
              </p:cNvSpPr>
              <p:nvPr/>
            </p:nvSpPr>
            <p:spPr bwMode="auto">
              <a:xfrm>
                <a:off x="1414"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Oval 1421"/>
              <p:cNvSpPr>
                <a:spLocks noChangeArrowheads="1"/>
              </p:cNvSpPr>
              <p:nvPr/>
            </p:nvSpPr>
            <p:spPr bwMode="auto">
              <a:xfrm>
                <a:off x="1376"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Oval 1422"/>
              <p:cNvSpPr>
                <a:spLocks noChangeArrowheads="1"/>
              </p:cNvSpPr>
              <p:nvPr/>
            </p:nvSpPr>
            <p:spPr bwMode="auto">
              <a:xfrm>
                <a:off x="1337"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1" name="Oval 1423"/>
              <p:cNvSpPr>
                <a:spLocks noChangeArrowheads="1"/>
              </p:cNvSpPr>
              <p:nvPr/>
            </p:nvSpPr>
            <p:spPr bwMode="auto">
              <a:xfrm>
                <a:off x="1299"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Oval 1424"/>
              <p:cNvSpPr>
                <a:spLocks noChangeArrowheads="1"/>
              </p:cNvSpPr>
              <p:nvPr/>
            </p:nvSpPr>
            <p:spPr bwMode="auto">
              <a:xfrm>
                <a:off x="1260"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3" name="Oval 1425"/>
              <p:cNvSpPr>
                <a:spLocks noChangeArrowheads="1"/>
              </p:cNvSpPr>
              <p:nvPr/>
            </p:nvSpPr>
            <p:spPr bwMode="auto">
              <a:xfrm>
                <a:off x="1222" y="1585"/>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Oval 1426"/>
              <p:cNvSpPr>
                <a:spLocks noChangeArrowheads="1"/>
              </p:cNvSpPr>
              <p:nvPr/>
            </p:nvSpPr>
            <p:spPr bwMode="auto">
              <a:xfrm>
                <a:off x="1183"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5" name="Oval 1427"/>
              <p:cNvSpPr>
                <a:spLocks noChangeArrowheads="1"/>
              </p:cNvSpPr>
              <p:nvPr/>
            </p:nvSpPr>
            <p:spPr bwMode="auto">
              <a:xfrm>
                <a:off x="1144"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Oval 1428"/>
              <p:cNvSpPr>
                <a:spLocks noChangeArrowheads="1"/>
              </p:cNvSpPr>
              <p:nvPr/>
            </p:nvSpPr>
            <p:spPr bwMode="auto">
              <a:xfrm>
                <a:off x="1106" y="1585"/>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Oval 1429"/>
              <p:cNvSpPr>
                <a:spLocks noChangeArrowheads="1"/>
              </p:cNvSpPr>
              <p:nvPr/>
            </p:nvSpPr>
            <p:spPr bwMode="auto">
              <a:xfrm>
                <a:off x="4537"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Oval 1430"/>
              <p:cNvSpPr>
                <a:spLocks noChangeArrowheads="1"/>
              </p:cNvSpPr>
              <p:nvPr/>
            </p:nvSpPr>
            <p:spPr bwMode="auto">
              <a:xfrm>
                <a:off x="4498"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Oval 1431"/>
              <p:cNvSpPr>
                <a:spLocks noChangeArrowheads="1"/>
              </p:cNvSpPr>
              <p:nvPr/>
            </p:nvSpPr>
            <p:spPr bwMode="auto">
              <a:xfrm>
                <a:off x="4421"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Oval 1432"/>
              <p:cNvSpPr>
                <a:spLocks noChangeArrowheads="1"/>
              </p:cNvSpPr>
              <p:nvPr/>
            </p:nvSpPr>
            <p:spPr bwMode="auto">
              <a:xfrm>
                <a:off x="4383"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Oval 1433"/>
              <p:cNvSpPr>
                <a:spLocks noChangeArrowheads="1"/>
              </p:cNvSpPr>
              <p:nvPr/>
            </p:nvSpPr>
            <p:spPr bwMode="auto">
              <a:xfrm>
                <a:off x="4344"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Oval 1434"/>
              <p:cNvSpPr>
                <a:spLocks noChangeArrowheads="1"/>
              </p:cNvSpPr>
              <p:nvPr/>
            </p:nvSpPr>
            <p:spPr bwMode="auto">
              <a:xfrm>
                <a:off x="4306"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Oval 1435"/>
              <p:cNvSpPr>
                <a:spLocks noChangeArrowheads="1"/>
              </p:cNvSpPr>
              <p:nvPr/>
            </p:nvSpPr>
            <p:spPr bwMode="auto">
              <a:xfrm>
                <a:off x="4267"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1436"/>
              <p:cNvSpPr>
                <a:spLocks/>
              </p:cNvSpPr>
              <p:nvPr/>
            </p:nvSpPr>
            <p:spPr bwMode="auto">
              <a:xfrm>
                <a:off x="4229" y="1624"/>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Oval 1437"/>
              <p:cNvSpPr>
                <a:spLocks noChangeArrowheads="1"/>
              </p:cNvSpPr>
              <p:nvPr/>
            </p:nvSpPr>
            <p:spPr bwMode="auto">
              <a:xfrm>
                <a:off x="4190"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Oval 1438"/>
              <p:cNvSpPr>
                <a:spLocks noChangeArrowheads="1"/>
              </p:cNvSpPr>
              <p:nvPr/>
            </p:nvSpPr>
            <p:spPr bwMode="auto">
              <a:xfrm>
                <a:off x="4151"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Oval 1439"/>
              <p:cNvSpPr>
                <a:spLocks noChangeArrowheads="1"/>
              </p:cNvSpPr>
              <p:nvPr/>
            </p:nvSpPr>
            <p:spPr bwMode="auto">
              <a:xfrm>
                <a:off x="4113"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Oval 1440"/>
              <p:cNvSpPr>
                <a:spLocks noChangeArrowheads="1"/>
              </p:cNvSpPr>
              <p:nvPr/>
            </p:nvSpPr>
            <p:spPr bwMode="auto">
              <a:xfrm>
                <a:off x="4074"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Oval 1441"/>
              <p:cNvSpPr>
                <a:spLocks noChangeArrowheads="1"/>
              </p:cNvSpPr>
              <p:nvPr/>
            </p:nvSpPr>
            <p:spPr bwMode="auto">
              <a:xfrm>
                <a:off x="4036"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Oval 1442"/>
              <p:cNvSpPr>
                <a:spLocks noChangeArrowheads="1"/>
              </p:cNvSpPr>
              <p:nvPr/>
            </p:nvSpPr>
            <p:spPr bwMode="auto">
              <a:xfrm>
                <a:off x="3997"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Oval 1443"/>
              <p:cNvSpPr>
                <a:spLocks noChangeArrowheads="1"/>
              </p:cNvSpPr>
              <p:nvPr/>
            </p:nvSpPr>
            <p:spPr bwMode="auto">
              <a:xfrm>
                <a:off x="3959"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Oval 1444"/>
              <p:cNvSpPr>
                <a:spLocks noChangeArrowheads="1"/>
              </p:cNvSpPr>
              <p:nvPr/>
            </p:nvSpPr>
            <p:spPr bwMode="auto">
              <a:xfrm>
                <a:off x="3920"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Oval 1445"/>
              <p:cNvSpPr>
                <a:spLocks noChangeArrowheads="1"/>
              </p:cNvSpPr>
              <p:nvPr/>
            </p:nvSpPr>
            <p:spPr bwMode="auto">
              <a:xfrm>
                <a:off x="3882"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Oval 1446"/>
              <p:cNvSpPr>
                <a:spLocks noChangeArrowheads="1"/>
              </p:cNvSpPr>
              <p:nvPr/>
            </p:nvSpPr>
            <p:spPr bwMode="auto">
              <a:xfrm>
                <a:off x="3843"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Oval 1447"/>
              <p:cNvSpPr>
                <a:spLocks noChangeArrowheads="1"/>
              </p:cNvSpPr>
              <p:nvPr/>
            </p:nvSpPr>
            <p:spPr bwMode="auto">
              <a:xfrm>
                <a:off x="3804"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Oval 1448"/>
              <p:cNvSpPr>
                <a:spLocks noChangeArrowheads="1"/>
              </p:cNvSpPr>
              <p:nvPr/>
            </p:nvSpPr>
            <p:spPr bwMode="auto">
              <a:xfrm>
                <a:off x="3766"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Oval 1449"/>
              <p:cNvSpPr>
                <a:spLocks noChangeArrowheads="1"/>
              </p:cNvSpPr>
              <p:nvPr/>
            </p:nvSpPr>
            <p:spPr bwMode="auto">
              <a:xfrm>
                <a:off x="3727"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Oval 1450"/>
              <p:cNvSpPr>
                <a:spLocks noChangeArrowheads="1"/>
              </p:cNvSpPr>
              <p:nvPr/>
            </p:nvSpPr>
            <p:spPr bwMode="auto">
              <a:xfrm>
                <a:off x="3689"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Oval 1451"/>
              <p:cNvSpPr>
                <a:spLocks noChangeArrowheads="1"/>
              </p:cNvSpPr>
              <p:nvPr/>
            </p:nvSpPr>
            <p:spPr bwMode="auto">
              <a:xfrm>
                <a:off x="3650"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Oval 1452"/>
              <p:cNvSpPr>
                <a:spLocks noChangeArrowheads="1"/>
              </p:cNvSpPr>
              <p:nvPr/>
            </p:nvSpPr>
            <p:spPr bwMode="auto">
              <a:xfrm>
                <a:off x="3612"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Oval 1453"/>
              <p:cNvSpPr>
                <a:spLocks noChangeArrowheads="1"/>
              </p:cNvSpPr>
              <p:nvPr/>
            </p:nvSpPr>
            <p:spPr bwMode="auto">
              <a:xfrm>
                <a:off x="3573"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Oval 1454"/>
              <p:cNvSpPr>
                <a:spLocks noChangeArrowheads="1"/>
              </p:cNvSpPr>
              <p:nvPr/>
            </p:nvSpPr>
            <p:spPr bwMode="auto">
              <a:xfrm>
                <a:off x="3535"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Oval 1455"/>
              <p:cNvSpPr>
                <a:spLocks noChangeArrowheads="1"/>
              </p:cNvSpPr>
              <p:nvPr/>
            </p:nvSpPr>
            <p:spPr bwMode="auto">
              <a:xfrm>
                <a:off x="3496"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Oval 1456"/>
              <p:cNvSpPr>
                <a:spLocks noChangeArrowheads="1"/>
              </p:cNvSpPr>
              <p:nvPr/>
            </p:nvSpPr>
            <p:spPr bwMode="auto">
              <a:xfrm>
                <a:off x="3458"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Oval 1457"/>
              <p:cNvSpPr>
                <a:spLocks noChangeArrowheads="1"/>
              </p:cNvSpPr>
              <p:nvPr/>
            </p:nvSpPr>
            <p:spPr bwMode="auto">
              <a:xfrm>
                <a:off x="3419"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Oval 1458"/>
              <p:cNvSpPr>
                <a:spLocks noChangeArrowheads="1"/>
              </p:cNvSpPr>
              <p:nvPr/>
            </p:nvSpPr>
            <p:spPr bwMode="auto">
              <a:xfrm>
                <a:off x="3380"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7" name="Oval 1459"/>
              <p:cNvSpPr>
                <a:spLocks noChangeArrowheads="1"/>
              </p:cNvSpPr>
              <p:nvPr/>
            </p:nvSpPr>
            <p:spPr bwMode="auto">
              <a:xfrm>
                <a:off x="3342"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Oval 1460"/>
              <p:cNvSpPr>
                <a:spLocks noChangeArrowheads="1"/>
              </p:cNvSpPr>
              <p:nvPr/>
            </p:nvSpPr>
            <p:spPr bwMode="auto">
              <a:xfrm>
                <a:off x="3303"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1461"/>
              <p:cNvSpPr>
                <a:spLocks/>
              </p:cNvSpPr>
              <p:nvPr/>
            </p:nvSpPr>
            <p:spPr bwMode="auto">
              <a:xfrm>
                <a:off x="3265" y="1624"/>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Oval 1462"/>
              <p:cNvSpPr>
                <a:spLocks noChangeArrowheads="1"/>
              </p:cNvSpPr>
              <p:nvPr/>
            </p:nvSpPr>
            <p:spPr bwMode="auto">
              <a:xfrm>
                <a:off x="3226"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1" name="Oval 1463"/>
              <p:cNvSpPr>
                <a:spLocks noChangeArrowheads="1"/>
              </p:cNvSpPr>
              <p:nvPr/>
            </p:nvSpPr>
            <p:spPr bwMode="auto">
              <a:xfrm>
                <a:off x="3033"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Oval 1464"/>
              <p:cNvSpPr>
                <a:spLocks noChangeArrowheads="1"/>
              </p:cNvSpPr>
              <p:nvPr/>
            </p:nvSpPr>
            <p:spPr bwMode="auto">
              <a:xfrm>
                <a:off x="2995"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Oval 1465"/>
              <p:cNvSpPr>
                <a:spLocks noChangeArrowheads="1"/>
              </p:cNvSpPr>
              <p:nvPr/>
            </p:nvSpPr>
            <p:spPr bwMode="auto">
              <a:xfrm>
                <a:off x="2956"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Oval 1466"/>
              <p:cNvSpPr>
                <a:spLocks noChangeArrowheads="1"/>
              </p:cNvSpPr>
              <p:nvPr/>
            </p:nvSpPr>
            <p:spPr bwMode="auto">
              <a:xfrm>
                <a:off x="2918"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Oval 1467"/>
              <p:cNvSpPr>
                <a:spLocks noChangeArrowheads="1"/>
              </p:cNvSpPr>
              <p:nvPr/>
            </p:nvSpPr>
            <p:spPr bwMode="auto">
              <a:xfrm>
                <a:off x="2841"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Oval 1468"/>
              <p:cNvSpPr>
                <a:spLocks noChangeArrowheads="1"/>
              </p:cNvSpPr>
              <p:nvPr/>
            </p:nvSpPr>
            <p:spPr bwMode="auto">
              <a:xfrm>
                <a:off x="2802"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Oval 1469"/>
              <p:cNvSpPr>
                <a:spLocks noChangeArrowheads="1"/>
              </p:cNvSpPr>
              <p:nvPr/>
            </p:nvSpPr>
            <p:spPr bwMode="auto">
              <a:xfrm>
                <a:off x="2764"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Oval 1470"/>
              <p:cNvSpPr>
                <a:spLocks noChangeArrowheads="1"/>
              </p:cNvSpPr>
              <p:nvPr/>
            </p:nvSpPr>
            <p:spPr bwMode="auto">
              <a:xfrm>
                <a:off x="2725"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Oval 1471"/>
              <p:cNvSpPr>
                <a:spLocks noChangeArrowheads="1"/>
              </p:cNvSpPr>
              <p:nvPr/>
            </p:nvSpPr>
            <p:spPr bwMode="auto">
              <a:xfrm>
                <a:off x="2687"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Oval 1472"/>
              <p:cNvSpPr>
                <a:spLocks noChangeArrowheads="1"/>
              </p:cNvSpPr>
              <p:nvPr/>
            </p:nvSpPr>
            <p:spPr bwMode="auto">
              <a:xfrm>
                <a:off x="2648"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Oval 1473"/>
              <p:cNvSpPr>
                <a:spLocks noChangeArrowheads="1"/>
              </p:cNvSpPr>
              <p:nvPr/>
            </p:nvSpPr>
            <p:spPr bwMode="auto">
              <a:xfrm>
                <a:off x="2609"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Oval 1474"/>
              <p:cNvSpPr>
                <a:spLocks noChangeArrowheads="1"/>
              </p:cNvSpPr>
              <p:nvPr/>
            </p:nvSpPr>
            <p:spPr bwMode="auto">
              <a:xfrm>
                <a:off x="2571"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Oval 1475"/>
              <p:cNvSpPr>
                <a:spLocks noChangeArrowheads="1"/>
              </p:cNvSpPr>
              <p:nvPr/>
            </p:nvSpPr>
            <p:spPr bwMode="auto">
              <a:xfrm>
                <a:off x="1761"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Oval 1476"/>
              <p:cNvSpPr>
                <a:spLocks noChangeArrowheads="1"/>
              </p:cNvSpPr>
              <p:nvPr/>
            </p:nvSpPr>
            <p:spPr bwMode="auto">
              <a:xfrm>
                <a:off x="1723"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5" name="Oval 1477"/>
              <p:cNvSpPr>
                <a:spLocks noChangeArrowheads="1"/>
              </p:cNvSpPr>
              <p:nvPr/>
            </p:nvSpPr>
            <p:spPr bwMode="auto">
              <a:xfrm>
                <a:off x="1684"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Oval 1478"/>
              <p:cNvSpPr>
                <a:spLocks noChangeArrowheads="1"/>
              </p:cNvSpPr>
              <p:nvPr/>
            </p:nvSpPr>
            <p:spPr bwMode="auto">
              <a:xfrm>
                <a:off x="1646"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Oval 1479"/>
              <p:cNvSpPr>
                <a:spLocks noChangeArrowheads="1"/>
              </p:cNvSpPr>
              <p:nvPr/>
            </p:nvSpPr>
            <p:spPr bwMode="auto">
              <a:xfrm>
                <a:off x="1607"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Oval 1480"/>
              <p:cNvSpPr>
                <a:spLocks noChangeArrowheads="1"/>
              </p:cNvSpPr>
              <p:nvPr/>
            </p:nvSpPr>
            <p:spPr bwMode="auto">
              <a:xfrm>
                <a:off x="1569"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Oval 1481"/>
              <p:cNvSpPr>
                <a:spLocks noChangeArrowheads="1"/>
              </p:cNvSpPr>
              <p:nvPr/>
            </p:nvSpPr>
            <p:spPr bwMode="auto">
              <a:xfrm>
                <a:off x="1530"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Oval 1482"/>
              <p:cNvSpPr>
                <a:spLocks noChangeArrowheads="1"/>
              </p:cNvSpPr>
              <p:nvPr/>
            </p:nvSpPr>
            <p:spPr bwMode="auto">
              <a:xfrm>
                <a:off x="1491"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Oval 1483"/>
              <p:cNvSpPr>
                <a:spLocks noChangeArrowheads="1"/>
              </p:cNvSpPr>
              <p:nvPr/>
            </p:nvSpPr>
            <p:spPr bwMode="auto">
              <a:xfrm>
                <a:off x="1453"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Oval 1484"/>
              <p:cNvSpPr>
                <a:spLocks noChangeArrowheads="1"/>
              </p:cNvSpPr>
              <p:nvPr/>
            </p:nvSpPr>
            <p:spPr bwMode="auto">
              <a:xfrm>
                <a:off x="1414"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Oval 1485"/>
              <p:cNvSpPr>
                <a:spLocks noChangeArrowheads="1"/>
              </p:cNvSpPr>
              <p:nvPr/>
            </p:nvSpPr>
            <p:spPr bwMode="auto">
              <a:xfrm>
                <a:off x="1376"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Oval 1486"/>
              <p:cNvSpPr>
                <a:spLocks noChangeArrowheads="1"/>
              </p:cNvSpPr>
              <p:nvPr/>
            </p:nvSpPr>
            <p:spPr bwMode="auto">
              <a:xfrm>
                <a:off x="1337"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Oval 1487"/>
              <p:cNvSpPr>
                <a:spLocks noChangeArrowheads="1"/>
              </p:cNvSpPr>
              <p:nvPr/>
            </p:nvSpPr>
            <p:spPr bwMode="auto">
              <a:xfrm>
                <a:off x="1299"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Oval 1488"/>
              <p:cNvSpPr>
                <a:spLocks noChangeArrowheads="1"/>
              </p:cNvSpPr>
              <p:nvPr/>
            </p:nvSpPr>
            <p:spPr bwMode="auto">
              <a:xfrm>
                <a:off x="1260"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Oval 1489"/>
              <p:cNvSpPr>
                <a:spLocks noChangeArrowheads="1"/>
              </p:cNvSpPr>
              <p:nvPr/>
            </p:nvSpPr>
            <p:spPr bwMode="auto">
              <a:xfrm>
                <a:off x="1222" y="162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Oval 1490"/>
              <p:cNvSpPr>
                <a:spLocks noChangeArrowheads="1"/>
              </p:cNvSpPr>
              <p:nvPr/>
            </p:nvSpPr>
            <p:spPr bwMode="auto">
              <a:xfrm>
                <a:off x="1183"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Oval 1491"/>
              <p:cNvSpPr>
                <a:spLocks noChangeArrowheads="1"/>
              </p:cNvSpPr>
              <p:nvPr/>
            </p:nvSpPr>
            <p:spPr bwMode="auto">
              <a:xfrm>
                <a:off x="1144"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Oval 1492"/>
              <p:cNvSpPr>
                <a:spLocks noChangeArrowheads="1"/>
              </p:cNvSpPr>
              <p:nvPr/>
            </p:nvSpPr>
            <p:spPr bwMode="auto">
              <a:xfrm>
                <a:off x="1106" y="162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Oval 1493"/>
              <p:cNvSpPr>
                <a:spLocks noChangeArrowheads="1"/>
              </p:cNvSpPr>
              <p:nvPr/>
            </p:nvSpPr>
            <p:spPr bwMode="auto">
              <a:xfrm>
                <a:off x="4498"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Oval 1494"/>
              <p:cNvSpPr>
                <a:spLocks noChangeArrowheads="1"/>
              </p:cNvSpPr>
              <p:nvPr/>
            </p:nvSpPr>
            <p:spPr bwMode="auto">
              <a:xfrm>
                <a:off x="4344"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Oval 1495"/>
              <p:cNvSpPr>
                <a:spLocks noChangeArrowheads="1"/>
              </p:cNvSpPr>
              <p:nvPr/>
            </p:nvSpPr>
            <p:spPr bwMode="auto">
              <a:xfrm>
                <a:off x="4306"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Oval 1496"/>
              <p:cNvSpPr>
                <a:spLocks noChangeArrowheads="1"/>
              </p:cNvSpPr>
              <p:nvPr/>
            </p:nvSpPr>
            <p:spPr bwMode="auto">
              <a:xfrm>
                <a:off x="4267"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497"/>
              <p:cNvSpPr>
                <a:spLocks/>
              </p:cNvSpPr>
              <p:nvPr/>
            </p:nvSpPr>
            <p:spPr bwMode="auto">
              <a:xfrm>
                <a:off x="4229" y="1663"/>
                <a:ext cx="27" cy="27"/>
              </a:xfrm>
              <a:custGeom>
                <a:avLst/>
                <a:gdLst>
                  <a:gd name="T0" fmla="*/ 80 w 159"/>
                  <a:gd name="T1" fmla="*/ 0 h 159"/>
                  <a:gd name="T2" fmla="*/ 159 w 159"/>
                  <a:gd name="T3" fmla="*/ 79 h 159"/>
                  <a:gd name="T4" fmla="*/ 79 w 159"/>
                  <a:gd name="T5" fmla="*/ 159 h 159"/>
                  <a:gd name="T6" fmla="*/ 0 w 159"/>
                  <a:gd name="T7" fmla="*/ 79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5"/>
                      <a:pt x="159" y="79"/>
                    </a:cubicBezTo>
                    <a:cubicBezTo>
                      <a:pt x="159" y="124"/>
                      <a:pt x="124" y="159"/>
                      <a:pt x="79" y="159"/>
                    </a:cubicBezTo>
                    <a:cubicBezTo>
                      <a:pt x="35" y="159"/>
                      <a:pt x="0" y="124"/>
                      <a:pt x="0" y="79"/>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Oval 1498"/>
              <p:cNvSpPr>
                <a:spLocks noChangeArrowheads="1"/>
              </p:cNvSpPr>
              <p:nvPr/>
            </p:nvSpPr>
            <p:spPr bwMode="auto">
              <a:xfrm>
                <a:off x="4190"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Oval 1499"/>
              <p:cNvSpPr>
                <a:spLocks noChangeArrowheads="1"/>
              </p:cNvSpPr>
              <p:nvPr/>
            </p:nvSpPr>
            <p:spPr bwMode="auto">
              <a:xfrm>
                <a:off x="4151"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Oval 1500"/>
              <p:cNvSpPr>
                <a:spLocks noChangeArrowheads="1"/>
              </p:cNvSpPr>
              <p:nvPr/>
            </p:nvSpPr>
            <p:spPr bwMode="auto">
              <a:xfrm>
                <a:off x="4113"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Oval 1501"/>
              <p:cNvSpPr>
                <a:spLocks noChangeArrowheads="1"/>
              </p:cNvSpPr>
              <p:nvPr/>
            </p:nvSpPr>
            <p:spPr bwMode="auto">
              <a:xfrm>
                <a:off x="4074"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Oval 1502"/>
              <p:cNvSpPr>
                <a:spLocks noChangeArrowheads="1"/>
              </p:cNvSpPr>
              <p:nvPr/>
            </p:nvSpPr>
            <p:spPr bwMode="auto">
              <a:xfrm>
                <a:off x="4036"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Oval 1503"/>
              <p:cNvSpPr>
                <a:spLocks noChangeArrowheads="1"/>
              </p:cNvSpPr>
              <p:nvPr/>
            </p:nvSpPr>
            <p:spPr bwMode="auto">
              <a:xfrm>
                <a:off x="3997"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Oval 1504"/>
              <p:cNvSpPr>
                <a:spLocks noChangeArrowheads="1"/>
              </p:cNvSpPr>
              <p:nvPr/>
            </p:nvSpPr>
            <p:spPr bwMode="auto">
              <a:xfrm>
                <a:off x="3959"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Oval 1505"/>
              <p:cNvSpPr>
                <a:spLocks noChangeArrowheads="1"/>
              </p:cNvSpPr>
              <p:nvPr/>
            </p:nvSpPr>
            <p:spPr bwMode="auto">
              <a:xfrm>
                <a:off x="3920"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Oval 1506"/>
              <p:cNvSpPr>
                <a:spLocks noChangeArrowheads="1"/>
              </p:cNvSpPr>
              <p:nvPr/>
            </p:nvSpPr>
            <p:spPr bwMode="auto">
              <a:xfrm>
                <a:off x="3882"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Oval 1507"/>
              <p:cNvSpPr>
                <a:spLocks noChangeArrowheads="1"/>
              </p:cNvSpPr>
              <p:nvPr/>
            </p:nvSpPr>
            <p:spPr bwMode="auto">
              <a:xfrm>
                <a:off x="3843"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Oval 1508"/>
              <p:cNvSpPr>
                <a:spLocks noChangeArrowheads="1"/>
              </p:cNvSpPr>
              <p:nvPr/>
            </p:nvSpPr>
            <p:spPr bwMode="auto">
              <a:xfrm>
                <a:off x="3804"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Oval 1509"/>
              <p:cNvSpPr>
                <a:spLocks noChangeArrowheads="1"/>
              </p:cNvSpPr>
              <p:nvPr/>
            </p:nvSpPr>
            <p:spPr bwMode="auto">
              <a:xfrm>
                <a:off x="3766"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Oval 1510"/>
              <p:cNvSpPr>
                <a:spLocks noChangeArrowheads="1"/>
              </p:cNvSpPr>
              <p:nvPr/>
            </p:nvSpPr>
            <p:spPr bwMode="auto">
              <a:xfrm>
                <a:off x="3727"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Oval 1511"/>
              <p:cNvSpPr>
                <a:spLocks noChangeArrowheads="1"/>
              </p:cNvSpPr>
              <p:nvPr/>
            </p:nvSpPr>
            <p:spPr bwMode="auto">
              <a:xfrm>
                <a:off x="3689"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Oval 1512"/>
              <p:cNvSpPr>
                <a:spLocks noChangeArrowheads="1"/>
              </p:cNvSpPr>
              <p:nvPr/>
            </p:nvSpPr>
            <p:spPr bwMode="auto">
              <a:xfrm>
                <a:off x="3650"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Oval 1513"/>
              <p:cNvSpPr>
                <a:spLocks noChangeArrowheads="1"/>
              </p:cNvSpPr>
              <p:nvPr/>
            </p:nvSpPr>
            <p:spPr bwMode="auto">
              <a:xfrm>
                <a:off x="3612"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Oval 1514"/>
              <p:cNvSpPr>
                <a:spLocks noChangeArrowheads="1"/>
              </p:cNvSpPr>
              <p:nvPr/>
            </p:nvSpPr>
            <p:spPr bwMode="auto">
              <a:xfrm>
                <a:off x="3573"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Oval 1515"/>
              <p:cNvSpPr>
                <a:spLocks noChangeArrowheads="1"/>
              </p:cNvSpPr>
              <p:nvPr/>
            </p:nvSpPr>
            <p:spPr bwMode="auto">
              <a:xfrm>
                <a:off x="3535"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Oval 1516"/>
              <p:cNvSpPr>
                <a:spLocks noChangeArrowheads="1"/>
              </p:cNvSpPr>
              <p:nvPr/>
            </p:nvSpPr>
            <p:spPr bwMode="auto">
              <a:xfrm>
                <a:off x="3496"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Oval 1517"/>
              <p:cNvSpPr>
                <a:spLocks noChangeArrowheads="1"/>
              </p:cNvSpPr>
              <p:nvPr/>
            </p:nvSpPr>
            <p:spPr bwMode="auto">
              <a:xfrm>
                <a:off x="3458"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Oval 1518"/>
              <p:cNvSpPr>
                <a:spLocks noChangeArrowheads="1"/>
              </p:cNvSpPr>
              <p:nvPr/>
            </p:nvSpPr>
            <p:spPr bwMode="auto">
              <a:xfrm>
                <a:off x="3419"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Oval 1519"/>
              <p:cNvSpPr>
                <a:spLocks noChangeArrowheads="1"/>
              </p:cNvSpPr>
              <p:nvPr/>
            </p:nvSpPr>
            <p:spPr bwMode="auto">
              <a:xfrm>
                <a:off x="3380"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Oval 1520"/>
              <p:cNvSpPr>
                <a:spLocks noChangeArrowheads="1"/>
              </p:cNvSpPr>
              <p:nvPr/>
            </p:nvSpPr>
            <p:spPr bwMode="auto">
              <a:xfrm>
                <a:off x="3342"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Oval 1521"/>
              <p:cNvSpPr>
                <a:spLocks noChangeArrowheads="1"/>
              </p:cNvSpPr>
              <p:nvPr/>
            </p:nvSpPr>
            <p:spPr bwMode="auto">
              <a:xfrm>
                <a:off x="3303"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522"/>
              <p:cNvSpPr>
                <a:spLocks/>
              </p:cNvSpPr>
              <p:nvPr/>
            </p:nvSpPr>
            <p:spPr bwMode="auto">
              <a:xfrm>
                <a:off x="3265" y="1663"/>
                <a:ext cx="27" cy="27"/>
              </a:xfrm>
              <a:custGeom>
                <a:avLst/>
                <a:gdLst>
                  <a:gd name="T0" fmla="*/ 79 w 159"/>
                  <a:gd name="T1" fmla="*/ 0 h 159"/>
                  <a:gd name="T2" fmla="*/ 159 w 159"/>
                  <a:gd name="T3" fmla="*/ 79 h 159"/>
                  <a:gd name="T4" fmla="*/ 79 w 159"/>
                  <a:gd name="T5" fmla="*/ 159 h 159"/>
                  <a:gd name="T6" fmla="*/ 0 w 159"/>
                  <a:gd name="T7" fmla="*/ 79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5"/>
                      <a:pt x="159" y="79"/>
                    </a:cubicBezTo>
                    <a:cubicBezTo>
                      <a:pt x="159" y="124"/>
                      <a:pt x="123" y="159"/>
                      <a:pt x="79" y="159"/>
                    </a:cubicBezTo>
                    <a:cubicBezTo>
                      <a:pt x="35" y="159"/>
                      <a:pt x="0" y="124"/>
                      <a:pt x="0" y="79"/>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Oval 1523"/>
              <p:cNvSpPr>
                <a:spLocks noChangeArrowheads="1"/>
              </p:cNvSpPr>
              <p:nvPr/>
            </p:nvSpPr>
            <p:spPr bwMode="auto">
              <a:xfrm>
                <a:off x="3226"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Oval 1524"/>
              <p:cNvSpPr>
                <a:spLocks noChangeArrowheads="1"/>
              </p:cNvSpPr>
              <p:nvPr/>
            </p:nvSpPr>
            <p:spPr bwMode="auto">
              <a:xfrm>
                <a:off x="3188"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Oval 1525"/>
              <p:cNvSpPr>
                <a:spLocks noChangeArrowheads="1"/>
              </p:cNvSpPr>
              <p:nvPr/>
            </p:nvSpPr>
            <p:spPr bwMode="auto">
              <a:xfrm>
                <a:off x="3149"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Oval 1526"/>
              <p:cNvSpPr>
                <a:spLocks noChangeArrowheads="1"/>
              </p:cNvSpPr>
              <p:nvPr/>
            </p:nvSpPr>
            <p:spPr bwMode="auto">
              <a:xfrm>
                <a:off x="3111"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Oval 1527"/>
              <p:cNvSpPr>
                <a:spLocks noChangeArrowheads="1"/>
              </p:cNvSpPr>
              <p:nvPr/>
            </p:nvSpPr>
            <p:spPr bwMode="auto">
              <a:xfrm>
                <a:off x="3072"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Oval 1528"/>
              <p:cNvSpPr>
                <a:spLocks noChangeArrowheads="1"/>
              </p:cNvSpPr>
              <p:nvPr/>
            </p:nvSpPr>
            <p:spPr bwMode="auto">
              <a:xfrm>
                <a:off x="3033"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Oval 1529"/>
              <p:cNvSpPr>
                <a:spLocks noChangeArrowheads="1"/>
              </p:cNvSpPr>
              <p:nvPr/>
            </p:nvSpPr>
            <p:spPr bwMode="auto">
              <a:xfrm>
                <a:off x="2995"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Oval 1530"/>
              <p:cNvSpPr>
                <a:spLocks noChangeArrowheads="1"/>
              </p:cNvSpPr>
              <p:nvPr/>
            </p:nvSpPr>
            <p:spPr bwMode="auto">
              <a:xfrm>
                <a:off x="2956"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Oval 1531"/>
              <p:cNvSpPr>
                <a:spLocks noChangeArrowheads="1"/>
              </p:cNvSpPr>
              <p:nvPr/>
            </p:nvSpPr>
            <p:spPr bwMode="auto">
              <a:xfrm>
                <a:off x="2879"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Oval 1532"/>
              <p:cNvSpPr>
                <a:spLocks noChangeArrowheads="1"/>
              </p:cNvSpPr>
              <p:nvPr/>
            </p:nvSpPr>
            <p:spPr bwMode="auto">
              <a:xfrm>
                <a:off x="2802"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Oval 1533"/>
              <p:cNvSpPr>
                <a:spLocks noChangeArrowheads="1"/>
              </p:cNvSpPr>
              <p:nvPr/>
            </p:nvSpPr>
            <p:spPr bwMode="auto">
              <a:xfrm>
                <a:off x="2687"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Oval 1534"/>
              <p:cNvSpPr>
                <a:spLocks noChangeArrowheads="1"/>
              </p:cNvSpPr>
              <p:nvPr/>
            </p:nvSpPr>
            <p:spPr bwMode="auto">
              <a:xfrm>
                <a:off x="2648"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Oval 1535"/>
              <p:cNvSpPr>
                <a:spLocks noChangeArrowheads="1"/>
              </p:cNvSpPr>
              <p:nvPr/>
            </p:nvSpPr>
            <p:spPr bwMode="auto">
              <a:xfrm>
                <a:off x="2609"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Oval 1536"/>
              <p:cNvSpPr>
                <a:spLocks noChangeArrowheads="1"/>
              </p:cNvSpPr>
              <p:nvPr/>
            </p:nvSpPr>
            <p:spPr bwMode="auto">
              <a:xfrm>
                <a:off x="2571"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Oval 1537"/>
              <p:cNvSpPr>
                <a:spLocks noChangeArrowheads="1"/>
              </p:cNvSpPr>
              <p:nvPr/>
            </p:nvSpPr>
            <p:spPr bwMode="auto">
              <a:xfrm>
                <a:off x="1723"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Oval 1538"/>
              <p:cNvSpPr>
                <a:spLocks noChangeArrowheads="1"/>
              </p:cNvSpPr>
              <p:nvPr/>
            </p:nvSpPr>
            <p:spPr bwMode="auto">
              <a:xfrm>
                <a:off x="1684"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Oval 1539"/>
              <p:cNvSpPr>
                <a:spLocks noChangeArrowheads="1"/>
              </p:cNvSpPr>
              <p:nvPr/>
            </p:nvSpPr>
            <p:spPr bwMode="auto">
              <a:xfrm>
                <a:off x="1646"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Oval 1540"/>
              <p:cNvSpPr>
                <a:spLocks noChangeArrowheads="1"/>
              </p:cNvSpPr>
              <p:nvPr/>
            </p:nvSpPr>
            <p:spPr bwMode="auto">
              <a:xfrm>
                <a:off x="1607"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Oval 1541"/>
              <p:cNvSpPr>
                <a:spLocks noChangeArrowheads="1"/>
              </p:cNvSpPr>
              <p:nvPr/>
            </p:nvSpPr>
            <p:spPr bwMode="auto">
              <a:xfrm>
                <a:off x="1569"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Oval 1542"/>
              <p:cNvSpPr>
                <a:spLocks noChangeArrowheads="1"/>
              </p:cNvSpPr>
              <p:nvPr/>
            </p:nvSpPr>
            <p:spPr bwMode="auto">
              <a:xfrm>
                <a:off x="1530"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Oval 1543"/>
              <p:cNvSpPr>
                <a:spLocks noChangeArrowheads="1"/>
              </p:cNvSpPr>
              <p:nvPr/>
            </p:nvSpPr>
            <p:spPr bwMode="auto">
              <a:xfrm>
                <a:off x="1491"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Oval 1544"/>
              <p:cNvSpPr>
                <a:spLocks noChangeArrowheads="1"/>
              </p:cNvSpPr>
              <p:nvPr/>
            </p:nvSpPr>
            <p:spPr bwMode="auto">
              <a:xfrm>
                <a:off x="1453"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3" name="Oval 1545"/>
              <p:cNvSpPr>
                <a:spLocks noChangeArrowheads="1"/>
              </p:cNvSpPr>
              <p:nvPr/>
            </p:nvSpPr>
            <p:spPr bwMode="auto">
              <a:xfrm>
                <a:off x="1414"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Oval 1546"/>
              <p:cNvSpPr>
                <a:spLocks noChangeArrowheads="1"/>
              </p:cNvSpPr>
              <p:nvPr/>
            </p:nvSpPr>
            <p:spPr bwMode="auto">
              <a:xfrm>
                <a:off x="1376"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5" name="Oval 1547"/>
              <p:cNvSpPr>
                <a:spLocks noChangeArrowheads="1"/>
              </p:cNvSpPr>
              <p:nvPr/>
            </p:nvSpPr>
            <p:spPr bwMode="auto">
              <a:xfrm>
                <a:off x="1337"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Oval 1548"/>
              <p:cNvSpPr>
                <a:spLocks noChangeArrowheads="1"/>
              </p:cNvSpPr>
              <p:nvPr/>
            </p:nvSpPr>
            <p:spPr bwMode="auto">
              <a:xfrm>
                <a:off x="1299"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7" name="Oval 1549"/>
              <p:cNvSpPr>
                <a:spLocks noChangeArrowheads="1"/>
              </p:cNvSpPr>
              <p:nvPr/>
            </p:nvSpPr>
            <p:spPr bwMode="auto">
              <a:xfrm>
                <a:off x="1260"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Oval 1550"/>
              <p:cNvSpPr>
                <a:spLocks noChangeArrowheads="1"/>
              </p:cNvSpPr>
              <p:nvPr/>
            </p:nvSpPr>
            <p:spPr bwMode="auto">
              <a:xfrm>
                <a:off x="1222" y="166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9" name="Oval 1551"/>
              <p:cNvSpPr>
                <a:spLocks noChangeArrowheads="1"/>
              </p:cNvSpPr>
              <p:nvPr/>
            </p:nvSpPr>
            <p:spPr bwMode="auto">
              <a:xfrm>
                <a:off x="1183"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Oval 1552"/>
              <p:cNvSpPr>
                <a:spLocks noChangeArrowheads="1"/>
              </p:cNvSpPr>
              <p:nvPr/>
            </p:nvSpPr>
            <p:spPr bwMode="auto">
              <a:xfrm>
                <a:off x="1144"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Oval 1553"/>
              <p:cNvSpPr>
                <a:spLocks noChangeArrowheads="1"/>
              </p:cNvSpPr>
              <p:nvPr/>
            </p:nvSpPr>
            <p:spPr bwMode="auto">
              <a:xfrm>
                <a:off x="1106" y="166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Oval 1554"/>
              <p:cNvSpPr>
                <a:spLocks noChangeArrowheads="1"/>
              </p:cNvSpPr>
              <p:nvPr/>
            </p:nvSpPr>
            <p:spPr bwMode="auto">
              <a:xfrm>
                <a:off x="4498"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Oval 1555"/>
              <p:cNvSpPr>
                <a:spLocks noChangeArrowheads="1"/>
              </p:cNvSpPr>
              <p:nvPr/>
            </p:nvSpPr>
            <p:spPr bwMode="auto">
              <a:xfrm>
                <a:off x="4460"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Oval 1556"/>
              <p:cNvSpPr>
                <a:spLocks noChangeArrowheads="1"/>
              </p:cNvSpPr>
              <p:nvPr/>
            </p:nvSpPr>
            <p:spPr bwMode="auto">
              <a:xfrm>
                <a:off x="4344"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Oval 1557"/>
              <p:cNvSpPr>
                <a:spLocks noChangeArrowheads="1"/>
              </p:cNvSpPr>
              <p:nvPr/>
            </p:nvSpPr>
            <p:spPr bwMode="auto">
              <a:xfrm>
                <a:off x="4306"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Freeform 1558"/>
              <p:cNvSpPr>
                <a:spLocks/>
              </p:cNvSpPr>
              <p:nvPr/>
            </p:nvSpPr>
            <p:spPr bwMode="auto">
              <a:xfrm>
                <a:off x="4229" y="1701"/>
                <a:ext cx="27" cy="28"/>
              </a:xfrm>
              <a:custGeom>
                <a:avLst/>
                <a:gdLst>
                  <a:gd name="T0" fmla="*/ 80 w 159"/>
                  <a:gd name="T1" fmla="*/ 0 h 159"/>
                  <a:gd name="T2" fmla="*/ 159 w 159"/>
                  <a:gd name="T3" fmla="*/ 80 h 159"/>
                  <a:gd name="T4" fmla="*/ 79 w 159"/>
                  <a:gd name="T5" fmla="*/ 159 h 159"/>
                  <a:gd name="T6" fmla="*/ 0 w 159"/>
                  <a:gd name="T7" fmla="*/ 80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6"/>
                      <a:pt x="159" y="80"/>
                    </a:cubicBezTo>
                    <a:cubicBezTo>
                      <a:pt x="159" y="124"/>
                      <a:pt x="124" y="159"/>
                      <a:pt x="79" y="159"/>
                    </a:cubicBezTo>
                    <a:cubicBezTo>
                      <a:pt x="35" y="159"/>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Oval 1559"/>
              <p:cNvSpPr>
                <a:spLocks noChangeArrowheads="1"/>
              </p:cNvSpPr>
              <p:nvPr/>
            </p:nvSpPr>
            <p:spPr bwMode="auto">
              <a:xfrm>
                <a:off x="4190"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Oval 1560"/>
              <p:cNvSpPr>
                <a:spLocks noChangeArrowheads="1"/>
              </p:cNvSpPr>
              <p:nvPr/>
            </p:nvSpPr>
            <p:spPr bwMode="auto">
              <a:xfrm>
                <a:off x="4151"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9" name="Oval 1561"/>
              <p:cNvSpPr>
                <a:spLocks noChangeArrowheads="1"/>
              </p:cNvSpPr>
              <p:nvPr/>
            </p:nvSpPr>
            <p:spPr bwMode="auto">
              <a:xfrm>
                <a:off x="4113"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Oval 1562"/>
              <p:cNvSpPr>
                <a:spLocks noChangeArrowheads="1"/>
              </p:cNvSpPr>
              <p:nvPr/>
            </p:nvSpPr>
            <p:spPr bwMode="auto">
              <a:xfrm>
                <a:off x="4074"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1" name="Oval 1563"/>
              <p:cNvSpPr>
                <a:spLocks noChangeArrowheads="1"/>
              </p:cNvSpPr>
              <p:nvPr/>
            </p:nvSpPr>
            <p:spPr bwMode="auto">
              <a:xfrm>
                <a:off x="4036"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Oval 1564"/>
              <p:cNvSpPr>
                <a:spLocks noChangeArrowheads="1"/>
              </p:cNvSpPr>
              <p:nvPr/>
            </p:nvSpPr>
            <p:spPr bwMode="auto">
              <a:xfrm>
                <a:off x="3997"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3" name="Oval 1565"/>
              <p:cNvSpPr>
                <a:spLocks noChangeArrowheads="1"/>
              </p:cNvSpPr>
              <p:nvPr/>
            </p:nvSpPr>
            <p:spPr bwMode="auto">
              <a:xfrm>
                <a:off x="3959"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Oval 1566"/>
              <p:cNvSpPr>
                <a:spLocks noChangeArrowheads="1"/>
              </p:cNvSpPr>
              <p:nvPr/>
            </p:nvSpPr>
            <p:spPr bwMode="auto">
              <a:xfrm>
                <a:off x="3920"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Oval 1567"/>
              <p:cNvSpPr>
                <a:spLocks noChangeArrowheads="1"/>
              </p:cNvSpPr>
              <p:nvPr/>
            </p:nvSpPr>
            <p:spPr bwMode="auto">
              <a:xfrm>
                <a:off x="3882"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Oval 1568"/>
              <p:cNvSpPr>
                <a:spLocks noChangeArrowheads="1"/>
              </p:cNvSpPr>
              <p:nvPr/>
            </p:nvSpPr>
            <p:spPr bwMode="auto">
              <a:xfrm>
                <a:off x="3843"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Oval 1569"/>
              <p:cNvSpPr>
                <a:spLocks noChangeArrowheads="1"/>
              </p:cNvSpPr>
              <p:nvPr/>
            </p:nvSpPr>
            <p:spPr bwMode="auto">
              <a:xfrm>
                <a:off x="3804"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Oval 1570"/>
              <p:cNvSpPr>
                <a:spLocks noChangeArrowheads="1"/>
              </p:cNvSpPr>
              <p:nvPr/>
            </p:nvSpPr>
            <p:spPr bwMode="auto">
              <a:xfrm>
                <a:off x="3766"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Oval 1571"/>
              <p:cNvSpPr>
                <a:spLocks noChangeArrowheads="1"/>
              </p:cNvSpPr>
              <p:nvPr/>
            </p:nvSpPr>
            <p:spPr bwMode="auto">
              <a:xfrm>
                <a:off x="3727"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Oval 1572"/>
              <p:cNvSpPr>
                <a:spLocks noChangeArrowheads="1"/>
              </p:cNvSpPr>
              <p:nvPr/>
            </p:nvSpPr>
            <p:spPr bwMode="auto">
              <a:xfrm>
                <a:off x="3689"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Oval 1573"/>
              <p:cNvSpPr>
                <a:spLocks noChangeArrowheads="1"/>
              </p:cNvSpPr>
              <p:nvPr/>
            </p:nvSpPr>
            <p:spPr bwMode="auto">
              <a:xfrm>
                <a:off x="3650"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Oval 1574"/>
              <p:cNvSpPr>
                <a:spLocks noChangeArrowheads="1"/>
              </p:cNvSpPr>
              <p:nvPr/>
            </p:nvSpPr>
            <p:spPr bwMode="auto">
              <a:xfrm>
                <a:off x="3612"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3" name="Oval 1575"/>
              <p:cNvSpPr>
                <a:spLocks noChangeArrowheads="1"/>
              </p:cNvSpPr>
              <p:nvPr/>
            </p:nvSpPr>
            <p:spPr bwMode="auto">
              <a:xfrm>
                <a:off x="3573"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Oval 1576"/>
              <p:cNvSpPr>
                <a:spLocks noChangeArrowheads="1"/>
              </p:cNvSpPr>
              <p:nvPr/>
            </p:nvSpPr>
            <p:spPr bwMode="auto">
              <a:xfrm>
                <a:off x="3535"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Oval 1577"/>
              <p:cNvSpPr>
                <a:spLocks noChangeArrowheads="1"/>
              </p:cNvSpPr>
              <p:nvPr/>
            </p:nvSpPr>
            <p:spPr bwMode="auto">
              <a:xfrm>
                <a:off x="3496"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Oval 1578"/>
              <p:cNvSpPr>
                <a:spLocks noChangeArrowheads="1"/>
              </p:cNvSpPr>
              <p:nvPr/>
            </p:nvSpPr>
            <p:spPr bwMode="auto">
              <a:xfrm>
                <a:off x="3458"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Oval 1579"/>
              <p:cNvSpPr>
                <a:spLocks noChangeArrowheads="1"/>
              </p:cNvSpPr>
              <p:nvPr/>
            </p:nvSpPr>
            <p:spPr bwMode="auto">
              <a:xfrm>
                <a:off x="3419"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Oval 1580"/>
              <p:cNvSpPr>
                <a:spLocks noChangeArrowheads="1"/>
              </p:cNvSpPr>
              <p:nvPr/>
            </p:nvSpPr>
            <p:spPr bwMode="auto">
              <a:xfrm>
                <a:off x="3380"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Oval 1581"/>
              <p:cNvSpPr>
                <a:spLocks noChangeArrowheads="1"/>
              </p:cNvSpPr>
              <p:nvPr/>
            </p:nvSpPr>
            <p:spPr bwMode="auto">
              <a:xfrm>
                <a:off x="3342"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Oval 1582"/>
              <p:cNvSpPr>
                <a:spLocks noChangeArrowheads="1"/>
              </p:cNvSpPr>
              <p:nvPr/>
            </p:nvSpPr>
            <p:spPr bwMode="auto">
              <a:xfrm>
                <a:off x="3303"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1583"/>
              <p:cNvSpPr>
                <a:spLocks/>
              </p:cNvSpPr>
              <p:nvPr/>
            </p:nvSpPr>
            <p:spPr bwMode="auto">
              <a:xfrm>
                <a:off x="3265" y="1701"/>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6"/>
                      <a:pt x="159" y="80"/>
                    </a:cubicBezTo>
                    <a:cubicBezTo>
                      <a:pt x="159" y="124"/>
                      <a:pt x="123" y="159"/>
                      <a:pt x="79" y="159"/>
                    </a:cubicBezTo>
                    <a:cubicBezTo>
                      <a:pt x="35" y="159"/>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Oval 1584"/>
              <p:cNvSpPr>
                <a:spLocks noChangeArrowheads="1"/>
              </p:cNvSpPr>
              <p:nvPr/>
            </p:nvSpPr>
            <p:spPr bwMode="auto">
              <a:xfrm>
                <a:off x="3226"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3" name="Oval 1585"/>
              <p:cNvSpPr>
                <a:spLocks noChangeArrowheads="1"/>
              </p:cNvSpPr>
              <p:nvPr/>
            </p:nvSpPr>
            <p:spPr bwMode="auto">
              <a:xfrm>
                <a:off x="3188"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Oval 1586"/>
              <p:cNvSpPr>
                <a:spLocks noChangeArrowheads="1"/>
              </p:cNvSpPr>
              <p:nvPr/>
            </p:nvSpPr>
            <p:spPr bwMode="auto">
              <a:xfrm>
                <a:off x="3149"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5" name="Oval 1587"/>
              <p:cNvSpPr>
                <a:spLocks noChangeArrowheads="1"/>
              </p:cNvSpPr>
              <p:nvPr/>
            </p:nvSpPr>
            <p:spPr bwMode="auto">
              <a:xfrm>
                <a:off x="3111"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Oval 1588"/>
              <p:cNvSpPr>
                <a:spLocks noChangeArrowheads="1"/>
              </p:cNvSpPr>
              <p:nvPr/>
            </p:nvSpPr>
            <p:spPr bwMode="auto">
              <a:xfrm>
                <a:off x="3072"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7" name="Oval 1589"/>
              <p:cNvSpPr>
                <a:spLocks noChangeArrowheads="1"/>
              </p:cNvSpPr>
              <p:nvPr/>
            </p:nvSpPr>
            <p:spPr bwMode="auto">
              <a:xfrm>
                <a:off x="3033"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Oval 1590"/>
              <p:cNvSpPr>
                <a:spLocks noChangeArrowheads="1"/>
              </p:cNvSpPr>
              <p:nvPr/>
            </p:nvSpPr>
            <p:spPr bwMode="auto">
              <a:xfrm>
                <a:off x="2995"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9" name="Oval 1591"/>
              <p:cNvSpPr>
                <a:spLocks noChangeArrowheads="1"/>
              </p:cNvSpPr>
              <p:nvPr/>
            </p:nvSpPr>
            <p:spPr bwMode="auto">
              <a:xfrm>
                <a:off x="2956"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Oval 1592"/>
              <p:cNvSpPr>
                <a:spLocks noChangeArrowheads="1"/>
              </p:cNvSpPr>
              <p:nvPr/>
            </p:nvSpPr>
            <p:spPr bwMode="auto">
              <a:xfrm>
                <a:off x="2879"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1" name="Oval 1593"/>
              <p:cNvSpPr>
                <a:spLocks noChangeArrowheads="1"/>
              </p:cNvSpPr>
              <p:nvPr/>
            </p:nvSpPr>
            <p:spPr bwMode="auto">
              <a:xfrm>
                <a:off x="2841"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Oval 1594"/>
              <p:cNvSpPr>
                <a:spLocks noChangeArrowheads="1"/>
              </p:cNvSpPr>
              <p:nvPr/>
            </p:nvSpPr>
            <p:spPr bwMode="auto">
              <a:xfrm>
                <a:off x="2648"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3" name="Oval 1595"/>
              <p:cNvSpPr>
                <a:spLocks noChangeArrowheads="1"/>
              </p:cNvSpPr>
              <p:nvPr/>
            </p:nvSpPr>
            <p:spPr bwMode="auto">
              <a:xfrm>
                <a:off x="2609"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Oval 1596"/>
              <p:cNvSpPr>
                <a:spLocks noChangeArrowheads="1"/>
              </p:cNvSpPr>
              <p:nvPr/>
            </p:nvSpPr>
            <p:spPr bwMode="auto">
              <a:xfrm>
                <a:off x="2571"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5" name="Oval 1597"/>
              <p:cNvSpPr>
                <a:spLocks noChangeArrowheads="1"/>
              </p:cNvSpPr>
              <p:nvPr/>
            </p:nvSpPr>
            <p:spPr bwMode="auto">
              <a:xfrm>
                <a:off x="1684"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Oval 1598"/>
              <p:cNvSpPr>
                <a:spLocks noChangeArrowheads="1"/>
              </p:cNvSpPr>
              <p:nvPr/>
            </p:nvSpPr>
            <p:spPr bwMode="auto">
              <a:xfrm>
                <a:off x="1646"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7" name="Oval 1599"/>
              <p:cNvSpPr>
                <a:spLocks noChangeArrowheads="1"/>
              </p:cNvSpPr>
              <p:nvPr/>
            </p:nvSpPr>
            <p:spPr bwMode="auto">
              <a:xfrm>
                <a:off x="1607"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Oval 1600"/>
              <p:cNvSpPr>
                <a:spLocks noChangeArrowheads="1"/>
              </p:cNvSpPr>
              <p:nvPr/>
            </p:nvSpPr>
            <p:spPr bwMode="auto">
              <a:xfrm>
                <a:off x="1569"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Oval 1601"/>
              <p:cNvSpPr>
                <a:spLocks noChangeArrowheads="1"/>
              </p:cNvSpPr>
              <p:nvPr/>
            </p:nvSpPr>
            <p:spPr bwMode="auto">
              <a:xfrm>
                <a:off x="1530"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Oval 1602"/>
              <p:cNvSpPr>
                <a:spLocks noChangeArrowheads="1"/>
              </p:cNvSpPr>
              <p:nvPr/>
            </p:nvSpPr>
            <p:spPr bwMode="auto">
              <a:xfrm>
                <a:off x="1491"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Oval 1603"/>
              <p:cNvSpPr>
                <a:spLocks noChangeArrowheads="1"/>
              </p:cNvSpPr>
              <p:nvPr/>
            </p:nvSpPr>
            <p:spPr bwMode="auto">
              <a:xfrm>
                <a:off x="1453"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Oval 1604"/>
              <p:cNvSpPr>
                <a:spLocks noChangeArrowheads="1"/>
              </p:cNvSpPr>
              <p:nvPr/>
            </p:nvSpPr>
            <p:spPr bwMode="auto">
              <a:xfrm>
                <a:off x="1414"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Oval 1605"/>
              <p:cNvSpPr>
                <a:spLocks noChangeArrowheads="1"/>
              </p:cNvSpPr>
              <p:nvPr/>
            </p:nvSpPr>
            <p:spPr bwMode="auto">
              <a:xfrm>
                <a:off x="1376"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Oval 1606"/>
              <p:cNvSpPr>
                <a:spLocks noChangeArrowheads="1"/>
              </p:cNvSpPr>
              <p:nvPr/>
            </p:nvSpPr>
            <p:spPr bwMode="auto">
              <a:xfrm>
                <a:off x="1337"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Oval 1607"/>
              <p:cNvSpPr>
                <a:spLocks noChangeArrowheads="1"/>
              </p:cNvSpPr>
              <p:nvPr/>
            </p:nvSpPr>
            <p:spPr bwMode="auto">
              <a:xfrm>
                <a:off x="1299"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Oval 1608"/>
              <p:cNvSpPr>
                <a:spLocks noChangeArrowheads="1"/>
              </p:cNvSpPr>
              <p:nvPr/>
            </p:nvSpPr>
            <p:spPr bwMode="auto">
              <a:xfrm>
                <a:off x="1260"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Oval 1609"/>
              <p:cNvSpPr>
                <a:spLocks noChangeArrowheads="1"/>
              </p:cNvSpPr>
              <p:nvPr/>
            </p:nvSpPr>
            <p:spPr bwMode="auto">
              <a:xfrm>
                <a:off x="1222" y="170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Oval 1610"/>
              <p:cNvSpPr>
                <a:spLocks noChangeArrowheads="1"/>
              </p:cNvSpPr>
              <p:nvPr/>
            </p:nvSpPr>
            <p:spPr bwMode="auto">
              <a:xfrm>
                <a:off x="1183"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Oval 1611"/>
              <p:cNvSpPr>
                <a:spLocks noChangeArrowheads="1"/>
              </p:cNvSpPr>
              <p:nvPr/>
            </p:nvSpPr>
            <p:spPr bwMode="auto">
              <a:xfrm>
                <a:off x="1144"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Oval 1612"/>
              <p:cNvSpPr>
                <a:spLocks noChangeArrowheads="1"/>
              </p:cNvSpPr>
              <p:nvPr/>
            </p:nvSpPr>
            <p:spPr bwMode="auto">
              <a:xfrm>
                <a:off x="1106" y="170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Oval 1613"/>
              <p:cNvSpPr>
                <a:spLocks noChangeArrowheads="1"/>
              </p:cNvSpPr>
              <p:nvPr/>
            </p:nvSpPr>
            <p:spPr bwMode="auto">
              <a:xfrm>
                <a:off x="4498"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Oval 1614"/>
              <p:cNvSpPr>
                <a:spLocks noChangeArrowheads="1"/>
              </p:cNvSpPr>
              <p:nvPr/>
            </p:nvSpPr>
            <p:spPr bwMode="auto">
              <a:xfrm>
                <a:off x="4460"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Oval 1615"/>
              <p:cNvSpPr>
                <a:spLocks noChangeArrowheads="1"/>
              </p:cNvSpPr>
              <p:nvPr/>
            </p:nvSpPr>
            <p:spPr bwMode="auto">
              <a:xfrm>
                <a:off x="4421"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Oval 1616"/>
              <p:cNvSpPr>
                <a:spLocks noChangeArrowheads="1"/>
              </p:cNvSpPr>
              <p:nvPr/>
            </p:nvSpPr>
            <p:spPr bwMode="auto">
              <a:xfrm>
                <a:off x="4383"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Oval 1617"/>
              <p:cNvSpPr>
                <a:spLocks noChangeArrowheads="1"/>
              </p:cNvSpPr>
              <p:nvPr/>
            </p:nvSpPr>
            <p:spPr bwMode="auto">
              <a:xfrm>
                <a:off x="4344"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819"/>
            <p:cNvGrpSpPr>
              <a:grpSpLocks/>
            </p:cNvGrpSpPr>
            <p:nvPr/>
          </p:nvGrpSpPr>
          <p:grpSpPr bwMode="auto">
            <a:xfrm>
              <a:off x="1144" y="1740"/>
              <a:ext cx="3266" cy="143"/>
              <a:chOff x="1144" y="1740"/>
              <a:chExt cx="3266" cy="143"/>
            </a:xfrm>
            <a:grpFill/>
          </p:grpSpPr>
          <p:sp>
            <p:nvSpPr>
              <p:cNvPr id="816" name="Freeform 1619"/>
              <p:cNvSpPr>
                <a:spLocks/>
              </p:cNvSpPr>
              <p:nvPr/>
            </p:nvSpPr>
            <p:spPr bwMode="auto">
              <a:xfrm>
                <a:off x="4229" y="1740"/>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Oval 1620"/>
              <p:cNvSpPr>
                <a:spLocks noChangeArrowheads="1"/>
              </p:cNvSpPr>
              <p:nvPr/>
            </p:nvSpPr>
            <p:spPr bwMode="auto">
              <a:xfrm>
                <a:off x="4190"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Oval 1621"/>
              <p:cNvSpPr>
                <a:spLocks noChangeArrowheads="1"/>
              </p:cNvSpPr>
              <p:nvPr/>
            </p:nvSpPr>
            <p:spPr bwMode="auto">
              <a:xfrm>
                <a:off x="4151"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Oval 1622"/>
              <p:cNvSpPr>
                <a:spLocks noChangeArrowheads="1"/>
              </p:cNvSpPr>
              <p:nvPr/>
            </p:nvSpPr>
            <p:spPr bwMode="auto">
              <a:xfrm>
                <a:off x="4113"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Oval 1623"/>
              <p:cNvSpPr>
                <a:spLocks noChangeArrowheads="1"/>
              </p:cNvSpPr>
              <p:nvPr/>
            </p:nvSpPr>
            <p:spPr bwMode="auto">
              <a:xfrm>
                <a:off x="4074"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Oval 1624"/>
              <p:cNvSpPr>
                <a:spLocks noChangeArrowheads="1"/>
              </p:cNvSpPr>
              <p:nvPr/>
            </p:nvSpPr>
            <p:spPr bwMode="auto">
              <a:xfrm>
                <a:off x="4036"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Oval 1625"/>
              <p:cNvSpPr>
                <a:spLocks noChangeArrowheads="1"/>
              </p:cNvSpPr>
              <p:nvPr/>
            </p:nvSpPr>
            <p:spPr bwMode="auto">
              <a:xfrm>
                <a:off x="3997"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Oval 1626"/>
              <p:cNvSpPr>
                <a:spLocks noChangeArrowheads="1"/>
              </p:cNvSpPr>
              <p:nvPr/>
            </p:nvSpPr>
            <p:spPr bwMode="auto">
              <a:xfrm>
                <a:off x="3959"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Oval 1627"/>
              <p:cNvSpPr>
                <a:spLocks noChangeArrowheads="1"/>
              </p:cNvSpPr>
              <p:nvPr/>
            </p:nvSpPr>
            <p:spPr bwMode="auto">
              <a:xfrm>
                <a:off x="3920"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Oval 1628"/>
              <p:cNvSpPr>
                <a:spLocks noChangeArrowheads="1"/>
              </p:cNvSpPr>
              <p:nvPr/>
            </p:nvSpPr>
            <p:spPr bwMode="auto">
              <a:xfrm>
                <a:off x="3882"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Oval 1629"/>
              <p:cNvSpPr>
                <a:spLocks noChangeArrowheads="1"/>
              </p:cNvSpPr>
              <p:nvPr/>
            </p:nvSpPr>
            <p:spPr bwMode="auto">
              <a:xfrm>
                <a:off x="3843"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Oval 1630"/>
              <p:cNvSpPr>
                <a:spLocks noChangeArrowheads="1"/>
              </p:cNvSpPr>
              <p:nvPr/>
            </p:nvSpPr>
            <p:spPr bwMode="auto">
              <a:xfrm>
                <a:off x="3804"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Oval 1631"/>
              <p:cNvSpPr>
                <a:spLocks noChangeArrowheads="1"/>
              </p:cNvSpPr>
              <p:nvPr/>
            </p:nvSpPr>
            <p:spPr bwMode="auto">
              <a:xfrm>
                <a:off x="3766"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Oval 1632"/>
              <p:cNvSpPr>
                <a:spLocks noChangeArrowheads="1"/>
              </p:cNvSpPr>
              <p:nvPr/>
            </p:nvSpPr>
            <p:spPr bwMode="auto">
              <a:xfrm>
                <a:off x="3727"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Oval 1633"/>
              <p:cNvSpPr>
                <a:spLocks noChangeArrowheads="1"/>
              </p:cNvSpPr>
              <p:nvPr/>
            </p:nvSpPr>
            <p:spPr bwMode="auto">
              <a:xfrm>
                <a:off x="3689"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Oval 1634"/>
              <p:cNvSpPr>
                <a:spLocks noChangeArrowheads="1"/>
              </p:cNvSpPr>
              <p:nvPr/>
            </p:nvSpPr>
            <p:spPr bwMode="auto">
              <a:xfrm>
                <a:off x="3650"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Oval 1635"/>
              <p:cNvSpPr>
                <a:spLocks noChangeArrowheads="1"/>
              </p:cNvSpPr>
              <p:nvPr/>
            </p:nvSpPr>
            <p:spPr bwMode="auto">
              <a:xfrm>
                <a:off x="3612"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Oval 1636"/>
              <p:cNvSpPr>
                <a:spLocks noChangeArrowheads="1"/>
              </p:cNvSpPr>
              <p:nvPr/>
            </p:nvSpPr>
            <p:spPr bwMode="auto">
              <a:xfrm>
                <a:off x="3573"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Oval 1637"/>
              <p:cNvSpPr>
                <a:spLocks noChangeArrowheads="1"/>
              </p:cNvSpPr>
              <p:nvPr/>
            </p:nvSpPr>
            <p:spPr bwMode="auto">
              <a:xfrm>
                <a:off x="3535"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Oval 1638"/>
              <p:cNvSpPr>
                <a:spLocks noChangeArrowheads="1"/>
              </p:cNvSpPr>
              <p:nvPr/>
            </p:nvSpPr>
            <p:spPr bwMode="auto">
              <a:xfrm>
                <a:off x="3496"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Oval 1639"/>
              <p:cNvSpPr>
                <a:spLocks noChangeArrowheads="1"/>
              </p:cNvSpPr>
              <p:nvPr/>
            </p:nvSpPr>
            <p:spPr bwMode="auto">
              <a:xfrm>
                <a:off x="3458"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Oval 1640"/>
              <p:cNvSpPr>
                <a:spLocks noChangeArrowheads="1"/>
              </p:cNvSpPr>
              <p:nvPr/>
            </p:nvSpPr>
            <p:spPr bwMode="auto">
              <a:xfrm>
                <a:off x="3419"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Oval 1641"/>
              <p:cNvSpPr>
                <a:spLocks noChangeArrowheads="1"/>
              </p:cNvSpPr>
              <p:nvPr/>
            </p:nvSpPr>
            <p:spPr bwMode="auto">
              <a:xfrm>
                <a:off x="3380"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Oval 1642"/>
              <p:cNvSpPr>
                <a:spLocks noChangeArrowheads="1"/>
              </p:cNvSpPr>
              <p:nvPr/>
            </p:nvSpPr>
            <p:spPr bwMode="auto">
              <a:xfrm>
                <a:off x="3342"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Oval 1643"/>
              <p:cNvSpPr>
                <a:spLocks noChangeArrowheads="1"/>
              </p:cNvSpPr>
              <p:nvPr/>
            </p:nvSpPr>
            <p:spPr bwMode="auto">
              <a:xfrm>
                <a:off x="3303"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1644"/>
              <p:cNvSpPr>
                <a:spLocks/>
              </p:cNvSpPr>
              <p:nvPr/>
            </p:nvSpPr>
            <p:spPr bwMode="auto">
              <a:xfrm>
                <a:off x="3265" y="1740"/>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Oval 1645"/>
              <p:cNvSpPr>
                <a:spLocks noChangeArrowheads="1"/>
              </p:cNvSpPr>
              <p:nvPr/>
            </p:nvSpPr>
            <p:spPr bwMode="auto">
              <a:xfrm>
                <a:off x="3226"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Oval 1646"/>
              <p:cNvSpPr>
                <a:spLocks noChangeArrowheads="1"/>
              </p:cNvSpPr>
              <p:nvPr/>
            </p:nvSpPr>
            <p:spPr bwMode="auto">
              <a:xfrm>
                <a:off x="3188"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Oval 1647"/>
              <p:cNvSpPr>
                <a:spLocks noChangeArrowheads="1"/>
              </p:cNvSpPr>
              <p:nvPr/>
            </p:nvSpPr>
            <p:spPr bwMode="auto">
              <a:xfrm>
                <a:off x="3149"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Oval 1648"/>
              <p:cNvSpPr>
                <a:spLocks noChangeArrowheads="1"/>
              </p:cNvSpPr>
              <p:nvPr/>
            </p:nvSpPr>
            <p:spPr bwMode="auto">
              <a:xfrm>
                <a:off x="3111"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Oval 1649"/>
              <p:cNvSpPr>
                <a:spLocks noChangeArrowheads="1"/>
              </p:cNvSpPr>
              <p:nvPr/>
            </p:nvSpPr>
            <p:spPr bwMode="auto">
              <a:xfrm>
                <a:off x="2802"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Oval 1650"/>
              <p:cNvSpPr>
                <a:spLocks noChangeArrowheads="1"/>
              </p:cNvSpPr>
              <p:nvPr/>
            </p:nvSpPr>
            <p:spPr bwMode="auto">
              <a:xfrm>
                <a:off x="2764"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8" name="Oval 1651"/>
              <p:cNvSpPr>
                <a:spLocks noChangeArrowheads="1"/>
              </p:cNvSpPr>
              <p:nvPr/>
            </p:nvSpPr>
            <p:spPr bwMode="auto">
              <a:xfrm>
                <a:off x="2725"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9" name="Oval 1652"/>
              <p:cNvSpPr>
                <a:spLocks noChangeArrowheads="1"/>
              </p:cNvSpPr>
              <p:nvPr/>
            </p:nvSpPr>
            <p:spPr bwMode="auto">
              <a:xfrm>
                <a:off x="2687"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Oval 1653"/>
              <p:cNvSpPr>
                <a:spLocks noChangeArrowheads="1"/>
              </p:cNvSpPr>
              <p:nvPr/>
            </p:nvSpPr>
            <p:spPr bwMode="auto">
              <a:xfrm>
                <a:off x="2648"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Oval 1654"/>
              <p:cNvSpPr>
                <a:spLocks noChangeArrowheads="1"/>
              </p:cNvSpPr>
              <p:nvPr/>
            </p:nvSpPr>
            <p:spPr bwMode="auto">
              <a:xfrm>
                <a:off x="2609"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Oval 1655"/>
              <p:cNvSpPr>
                <a:spLocks noChangeArrowheads="1"/>
              </p:cNvSpPr>
              <p:nvPr/>
            </p:nvSpPr>
            <p:spPr bwMode="auto">
              <a:xfrm>
                <a:off x="1684"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Oval 1656"/>
              <p:cNvSpPr>
                <a:spLocks noChangeArrowheads="1"/>
              </p:cNvSpPr>
              <p:nvPr/>
            </p:nvSpPr>
            <p:spPr bwMode="auto">
              <a:xfrm>
                <a:off x="1646"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Oval 1657"/>
              <p:cNvSpPr>
                <a:spLocks noChangeArrowheads="1"/>
              </p:cNvSpPr>
              <p:nvPr/>
            </p:nvSpPr>
            <p:spPr bwMode="auto">
              <a:xfrm>
                <a:off x="1607"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Oval 1658"/>
              <p:cNvSpPr>
                <a:spLocks noChangeArrowheads="1"/>
              </p:cNvSpPr>
              <p:nvPr/>
            </p:nvSpPr>
            <p:spPr bwMode="auto">
              <a:xfrm>
                <a:off x="1569"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Oval 1659"/>
              <p:cNvSpPr>
                <a:spLocks noChangeArrowheads="1"/>
              </p:cNvSpPr>
              <p:nvPr/>
            </p:nvSpPr>
            <p:spPr bwMode="auto">
              <a:xfrm>
                <a:off x="1530"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Oval 1660"/>
              <p:cNvSpPr>
                <a:spLocks noChangeArrowheads="1"/>
              </p:cNvSpPr>
              <p:nvPr/>
            </p:nvSpPr>
            <p:spPr bwMode="auto">
              <a:xfrm>
                <a:off x="1491"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Oval 1661"/>
              <p:cNvSpPr>
                <a:spLocks noChangeArrowheads="1"/>
              </p:cNvSpPr>
              <p:nvPr/>
            </p:nvSpPr>
            <p:spPr bwMode="auto">
              <a:xfrm>
                <a:off x="1453"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Oval 1662"/>
              <p:cNvSpPr>
                <a:spLocks noChangeArrowheads="1"/>
              </p:cNvSpPr>
              <p:nvPr/>
            </p:nvSpPr>
            <p:spPr bwMode="auto">
              <a:xfrm>
                <a:off x="1414"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Oval 1663"/>
              <p:cNvSpPr>
                <a:spLocks noChangeArrowheads="1"/>
              </p:cNvSpPr>
              <p:nvPr/>
            </p:nvSpPr>
            <p:spPr bwMode="auto">
              <a:xfrm>
                <a:off x="1376"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Oval 1664"/>
              <p:cNvSpPr>
                <a:spLocks noChangeArrowheads="1"/>
              </p:cNvSpPr>
              <p:nvPr/>
            </p:nvSpPr>
            <p:spPr bwMode="auto">
              <a:xfrm>
                <a:off x="1337"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Oval 1665"/>
              <p:cNvSpPr>
                <a:spLocks noChangeArrowheads="1"/>
              </p:cNvSpPr>
              <p:nvPr/>
            </p:nvSpPr>
            <p:spPr bwMode="auto">
              <a:xfrm>
                <a:off x="1299"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Oval 1666"/>
              <p:cNvSpPr>
                <a:spLocks noChangeArrowheads="1"/>
              </p:cNvSpPr>
              <p:nvPr/>
            </p:nvSpPr>
            <p:spPr bwMode="auto">
              <a:xfrm>
                <a:off x="1260"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Oval 1667"/>
              <p:cNvSpPr>
                <a:spLocks noChangeArrowheads="1"/>
              </p:cNvSpPr>
              <p:nvPr/>
            </p:nvSpPr>
            <p:spPr bwMode="auto">
              <a:xfrm>
                <a:off x="1222" y="174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Oval 1668"/>
              <p:cNvSpPr>
                <a:spLocks noChangeArrowheads="1"/>
              </p:cNvSpPr>
              <p:nvPr/>
            </p:nvSpPr>
            <p:spPr bwMode="auto">
              <a:xfrm>
                <a:off x="1183"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Oval 1669"/>
              <p:cNvSpPr>
                <a:spLocks noChangeArrowheads="1"/>
              </p:cNvSpPr>
              <p:nvPr/>
            </p:nvSpPr>
            <p:spPr bwMode="auto">
              <a:xfrm>
                <a:off x="1144" y="174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Oval 1670"/>
              <p:cNvSpPr>
                <a:spLocks noChangeArrowheads="1"/>
              </p:cNvSpPr>
              <p:nvPr/>
            </p:nvSpPr>
            <p:spPr bwMode="auto">
              <a:xfrm>
                <a:off x="4383"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1671"/>
              <p:cNvSpPr>
                <a:spLocks/>
              </p:cNvSpPr>
              <p:nvPr/>
            </p:nvSpPr>
            <p:spPr bwMode="auto">
              <a:xfrm>
                <a:off x="4229" y="1778"/>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Oval 1672"/>
              <p:cNvSpPr>
                <a:spLocks noChangeArrowheads="1"/>
              </p:cNvSpPr>
              <p:nvPr/>
            </p:nvSpPr>
            <p:spPr bwMode="auto">
              <a:xfrm>
                <a:off x="4190"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Oval 1673"/>
              <p:cNvSpPr>
                <a:spLocks noChangeArrowheads="1"/>
              </p:cNvSpPr>
              <p:nvPr/>
            </p:nvSpPr>
            <p:spPr bwMode="auto">
              <a:xfrm>
                <a:off x="4151"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Oval 1674"/>
              <p:cNvSpPr>
                <a:spLocks noChangeArrowheads="1"/>
              </p:cNvSpPr>
              <p:nvPr/>
            </p:nvSpPr>
            <p:spPr bwMode="auto">
              <a:xfrm>
                <a:off x="4113"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Oval 1675"/>
              <p:cNvSpPr>
                <a:spLocks noChangeArrowheads="1"/>
              </p:cNvSpPr>
              <p:nvPr/>
            </p:nvSpPr>
            <p:spPr bwMode="auto">
              <a:xfrm>
                <a:off x="4074"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Oval 1676"/>
              <p:cNvSpPr>
                <a:spLocks noChangeArrowheads="1"/>
              </p:cNvSpPr>
              <p:nvPr/>
            </p:nvSpPr>
            <p:spPr bwMode="auto">
              <a:xfrm>
                <a:off x="4036"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Oval 1677"/>
              <p:cNvSpPr>
                <a:spLocks noChangeArrowheads="1"/>
              </p:cNvSpPr>
              <p:nvPr/>
            </p:nvSpPr>
            <p:spPr bwMode="auto">
              <a:xfrm>
                <a:off x="3997"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Oval 1678"/>
              <p:cNvSpPr>
                <a:spLocks noChangeArrowheads="1"/>
              </p:cNvSpPr>
              <p:nvPr/>
            </p:nvSpPr>
            <p:spPr bwMode="auto">
              <a:xfrm>
                <a:off x="3959"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Oval 1679"/>
              <p:cNvSpPr>
                <a:spLocks noChangeArrowheads="1"/>
              </p:cNvSpPr>
              <p:nvPr/>
            </p:nvSpPr>
            <p:spPr bwMode="auto">
              <a:xfrm>
                <a:off x="3920"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Oval 1680"/>
              <p:cNvSpPr>
                <a:spLocks noChangeArrowheads="1"/>
              </p:cNvSpPr>
              <p:nvPr/>
            </p:nvSpPr>
            <p:spPr bwMode="auto">
              <a:xfrm>
                <a:off x="3882"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Oval 1681"/>
              <p:cNvSpPr>
                <a:spLocks noChangeArrowheads="1"/>
              </p:cNvSpPr>
              <p:nvPr/>
            </p:nvSpPr>
            <p:spPr bwMode="auto">
              <a:xfrm>
                <a:off x="3843"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Oval 1682"/>
              <p:cNvSpPr>
                <a:spLocks noChangeArrowheads="1"/>
              </p:cNvSpPr>
              <p:nvPr/>
            </p:nvSpPr>
            <p:spPr bwMode="auto">
              <a:xfrm>
                <a:off x="3804"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Oval 1683"/>
              <p:cNvSpPr>
                <a:spLocks noChangeArrowheads="1"/>
              </p:cNvSpPr>
              <p:nvPr/>
            </p:nvSpPr>
            <p:spPr bwMode="auto">
              <a:xfrm>
                <a:off x="3766"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Oval 1684"/>
              <p:cNvSpPr>
                <a:spLocks noChangeArrowheads="1"/>
              </p:cNvSpPr>
              <p:nvPr/>
            </p:nvSpPr>
            <p:spPr bwMode="auto">
              <a:xfrm>
                <a:off x="3727"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Oval 1685"/>
              <p:cNvSpPr>
                <a:spLocks noChangeArrowheads="1"/>
              </p:cNvSpPr>
              <p:nvPr/>
            </p:nvSpPr>
            <p:spPr bwMode="auto">
              <a:xfrm>
                <a:off x="3689"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Oval 1686"/>
              <p:cNvSpPr>
                <a:spLocks noChangeArrowheads="1"/>
              </p:cNvSpPr>
              <p:nvPr/>
            </p:nvSpPr>
            <p:spPr bwMode="auto">
              <a:xfrm>
                <a:off x="3650"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Oval 1687"/>
              <p:cNvSpPr>
                <a:spLocks noChangeArrowheads="1"/>
              </p:cNvSpPr>
              <p:nvPr/>
            </p:nvSpPr>
            <p:spPr bwMode="auto">
              <a:xfrm>
                <a:off x="3612"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Oval 1688"/>
              <p:cNvSpPr>
                <a:spLocks noChangeArrowheads="1"/>
              </p:cNvSpPr>
              <p:nvPr/>
            </p:nvSpPr>
            <p:spPr bwMode="auto">
              <a:xfrm>
                <a:off x="3573"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Oval 1689"/>
              <p:cNvSpPr>
                <a:spLocks noChangeArrowheads="1"/>
              </p:cNvSpPr>
              <p:nvPr/>
            </p:nvSpPr>
            <p:spPr bwMode="auto">
              <a:xfrm>
                <a:off x="3535"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Oval 1690"/>
              <p:cNvSpPr>
                <a:spLocks noChangeArrowheads="1"/>
              </p:cNvSpPr>
              <p:nvPr/>
            </p:nvSpPr>
            <p:spPr bwMode="auto">
              <a:xfrm>
                <a:off x="3496"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Oval 1691"/>
              <p:cNvSpPr>
                <a:spLocks noChangeArrowheads="1"/>
              </p:cNvSpPr>
              <p:nvPr/>
            </p:nvSpPr>
            <p:spPr bwMode="auto">
              <a:xfrm>
                <a:off x="3458"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Oval 1692"/>
              <p:cNvSpPr>
                <a:spLocks noChangeArrowheads="1"/>
              </p:cNvSpPr>
              <p:nvPr/>
            </p:nvSpPr>
            <p:spPr bwMode="auto">
              <a:xfrm>
                <a:off x="3419"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Oval 1693"/>
              <p:cNvSpPr>
                <a:spLocks noChangeArrowheads="1"/>
              </p:cNvSpPr>
              <p:nvPr/>
            </p:nvSpPr>
            <p:spPr bwMode="auto">
              <a:xfrm>
                <a:off x="3380"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Oval 1694"/>
              <p:cNvSpPr>
                <a:spLocks noChangeArrowheads="1"/>
              </p:cNvSpPr>
              <p:nvPr/>
            </p:nvSpPr>
            <p:spPr bwMode="auto">
              <a:xfrm>
                <a:off x="3342"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Oval 1695"/>
              <p:cNvSpPr>
                <a:spLocks noChangeArrowheads="1"/>
              </p:cNvSpPr>
              <p:nvPr/>
            </p:nvSpPr>
            <p:spPr bwMode="auto">
              <a:xfrm>
                <a:off x="3303"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1696"/>
              <p:cNvSpPr>
                <a:spLocks/>
              </p:cNvSpPr>
              <p:nvPr/>
            </p:nvSpPr>
            <p:spPr bwMode="auto">
              <a:xfrm>
                <a:off x="3265" y="1778"/>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Oval 1697"/>
              <p:cNvSpPr>
                <a:spLocks noChangeArrowheads="1"/>
              </p:cNvSpPr>
              <p:nvPr/>
            </p:nvSpPr>
            <p:spPr bwMode="auto">
              <a:xfrm>
                <a:off x="3226"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Oval 1698"/>
              <p:cNvSpPr>
                <a:spLocks noChangeArrowheads="1"/>
              </p:cNvSpPr>
              <p:nvPr/>
            </p:nvSpPr>
            <p:spPr bwMode="auto">
              <a:xfrm>
                <a:off x="3188"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Oval 1699"/>
              <p:cNvSpPr>
                <a:spLocks noChangeArrowheads="1"/>
              </p:cNvSpPr>
              <p:nvPr/>
            </p:nvSpPr>
            <p:spPr bwMode="auto">
              <a:xfrm>
                <a:off x="3149"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Oval 1700"/>
              <p:cNvSpPr>
                <a:spLocks noChangeArrowheads="1"/>
              </p:cNvSpPr>
              <p:nvPr/>
            </p:nvSpPr>
            <p:spPr bwMode="auto">
              <a:xfrm>
                <a:off x="2995"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Oval 1701"/>
              <p:cNvSpPr>
                <a:spLocks noChangeArrowheads="1"/>
              </p:cNvSpPr>
              <p:nvPr/>
            </p:nvSpPr>
            <p:spPr bwMode="auto">
              <a:xfrm>
                <a:off x="2956"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Oval 1702"/>
              <p:cNvSpPr>
                <a:spLocks noChangeArrowheads="1"/>
              </p:cNvSpPr>
              <p:nvPr/>
            </p:nvSpPr>
            <p:spPr bwMode="auto">
              <a:xfrm>
                <a:off x="2841"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Oval 1703"/>
              <p:cNvSpPr>
                <a:spLocks noChangeArrowheads="1"/>
              </p:cNvSpPr>
              <p:nvPr/>
            </p:nvSpPr>
            <p:spPr bwMode="auto">
              <a:xfrm>
                <a:off x="2802"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Oval 1704"/>
              <p:cNvSpPr>
                <a:spLocks noChangeArrowheads="1"/>
              </p:cNvSpPr>
              <p:nvPr/>
            </p:nvSpPr>
            <p:spPr bwMode="auto">
              <a:xfrm>
                <a:off x="2764"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Oval 1705"/>
              <p:cNvSpPr>
                <a:spLocks noChangeArrowheads="1"/>
              </p:cNvSpPr>
              <p:nvPr/>
            </p:nvSpPr>
            <p:spPr bwMode="auto">
              <a:xfrm>
                <a:off x="2725"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Oval 1706"/>
              <p:cNvSpPr>
                <a:spLocks noChangeArrowheads="1"/>
              </p:cNvSpPr>
              <p:nvPr/>
            </p:nvSpPr>
            <p:spPr bwMode="auto">
              <a:xfrm>
                <a:off x="2687"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Oval 1707"/>
              <p:cNvSpPr>
                <a:spLocks noChangeArrowheads="1"/>
              </p:cNvSpPr>
              <p:nvPr/>
            </p:nvSpPr>
            <p:spPr bwMode="auto">
              <a:xfrm>
                <a:off x="2648"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Oval 1708"/>
              <p:cNvSpPr>
                <a:spLocks noChangeArrowheads="1"/>
              </p:cNvSpPr>
              <p:nvPr/>
            </p:nvSpPr>
            <p:spPr bwMode="auto">
              <a:xfrm>
                <a:off x="2609"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Oval 1709"/>
              <p:cNvSpPr>
                <a:spLocks noChangeArrowheads="1"/>
              </p:cNvSpPr>
              <p:nvPr/>
            </p:nvSpPr>
            <p:spPr bwMode="auto">
              <a:xfrm>
                <a:off x="2571"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7" name="Oval 1710"/>
              <p:cNvSpPr>
                <a:spLocks noChangeArrowheads="1"/>
              </p:cNvSpPr>
              <p:nvPr/>
            </p:nvSpPr>
            <p:spPr bwMode="auto">
              <a:xfrm>
                <a:off x="1646"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Oval 1711"/>
              <p:cNvSpPr>
                <a:spLocks noChangeArrowheads="1"/>
              </p:cNvSpPr>
              <p:nvPr/>
            </p:nvSpPr>
            <p:spPr bwMode="auto">
              <a:xfrm>
                <a:off x="1607"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Oval 1712"/>
              <p:cNvSpPr>
                <a:spLocks noChangeArrowheads="1"/>
              </p:cNvSpPr>
              <p:nvPr/>
            </p:nvSpPr>
            <p:spPr bwMode="auto">
              <a:xfrm>
                <a:off x="1569"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Oval 1713"/>
              <p:cNvSpPr>
                <a:spLocks noChangeArrowheads="1"/>
              </p:cNvSpPr>
              <p:nvPr/>
            </p:nvSpPr>
            <p:spPr bwMode="auto">
              <a:xfrm>
                <a:off x="1530"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Oval 1714"/>
              <p:cNvSpPr>
                <a:spLocks noChangeArrowheads="1"/>
              </p:cNvSpPr>
              <p:nvPr/>
            </p:nvSpPr>
            <p:spPr bwMode="auto">
              <a:xfrm>
                <a:off x="1491"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Oval 1715"/>
              <p:cNvSpPr>
                <a:spLocks noChangeArrowheads="1"/>
              </p:cNvSpPr>
              <p:nvPr/>
            </p:nvSpPr>
            <p:spPr bwMode="auto">
              <a:xfrm>
                <a:off x="1453"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Oval 1716"/>
              <p:cNvSpPr>
                <a:spLocks noChangeArrowheads="1"/>
              </p:cNvSpPr>
              <p:nvPr/>
            </p:nvSpPr>
            <p:spPr bwMode="auto">
              <a:xfrm>
                <a:off x="1414"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Oval 1717"/>
              <p:cNvSpPr>
                <a:spLocks noChangeArrowheads="1"/>
              </p:cNvSpPr>
              <p:nvPr/>
            </p:nvSpPr>
            <p:spPr bwMode="auto">
              <a:xfrm>
                <a:off x="1376"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Oval 1718"/>
              <p:cNvSpPr>
                <a:spLocks noChangeArrowheads="1"/>
              </p:cNvSpPr>
              <p:nvPr/>
            </p:nvSpPr>
            <p:spPr bwMode="auto">
              <a:xfrm>
                <a:off x="1337"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Oval 1719"/>
              <p:cNvSpPr>
                <a:spLocks noChangeArrowheads="1"/>
              </p:cNvSpPr>
              <p:nvPr/>
            </p:nvSpPr>
            <p:spPr bwMode="auto">
              <a:xfrm>
                <a:off x="1299"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Oval 1720"/>
              <p:cNvSpPr>
                <a:spLocks noChangeArrowheads="1"/>
              </p:cNvSpPr>
              <p:nvPr/>
            </p:nvSpPr>
            <p:spPr bwMode="auto">
              <a:xfrm>
                <a:off x="1260"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Oval 1721"/>
              <p:cNvSpPr>
                <a:spLocks noChangeArrowheads="1"/>
              </p:cNvSpPr>
              <p:nvPr/>
            </p:nvSpPr>
            <p:spPr bwMode="auto">
              <a:xfrm>
                <a:off x="1222" y="1778"/>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Oval 1722"/>
              <p:cNvSpPr>
                <a:spLocks noChangeArrowheads="1"/>
              </p:cNvSpPr>
              <p:nvPr/>
            </p:nvSpPr>
            <p:spPr bwMode="auto">
              <a:xfrm>
                <a:off x="1183" y="177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Oval 1723"/>
              <p:cNvSpPr>
                <a:spLocks noChangeArrowheads="1"/>
              </p:cNvSpPr>
              <p:nvPr/>
            </p:nvSpPr>
            <p:spPr bwMode="auto">
              <a:xfrm>
                <a:off x="4383"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1724"/>
              <p:cNvSpPr>
                <a:spLocks/>
              </p:cNvSpPr>
              <p:nvPr/>
            </p:nvSpPr>
            <p:spPr bwMode="auto">
              <a:xfrm>
                <a:off x="4229" y="1817"/>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Oval 1725"/>
              <p:cNvSpPr>
                <a:spLocks noChangeArrowheads="1"/>
              </p:cNvSpPr>
              <p:nvPr/>
            </p:nvSpPr>
            <p:spPr bwMode="auto">
              <a:xfrm>
                <a:off x="4190"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Oval 1726"/>
              <p:cNvSpPr>
                <a:spLocks noChangeArrowheads="1"/>
              </p:cNvSpPr>
              <p:nvPr/>
            </p:nvSpPr>
            <p:spPr bwMode="auto">
              <a:xfrm>
                <a:off x="4151"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Oval 1727"/>
              <p:cNvSpPr>
                <a:spLocks noChangeArrowheads="1"/>
              </p:cNvSpPr>
              <p:nvPr/>
            </p:nvSpPr>
            <p:spPr bwMode="auto">
              <a:xfrm>
                <a:off x="4113"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Oval 1728"/>
              <p:cNvSpPr>
                <a:spLocks noChangeArrowheads="1"/>
              </p:cNvSpPr>
              <p:nvPr/>
            </p:nvSpPr>
            <p:spPr bwMode="auto">
              <a:xfrm>
                <a:off x="4074"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Oval 1729"/>
              <p:cNvSpPr>
                <a:spLocks noChangeArrowheads="1"/>
              </p:cNvSpPr>
              <p:nvPr/>
            </p:nvSpPr>
            <p:spPr bwMode="auto">
              <a:xfrm>
                <a:off x="4036"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Oval 1730"/>
              <p:cNvSpPr>
                <a:spLocks noChangeArrowheads="1"/>
              </p:cNvSpPr>
              <p:nvPr/>
            </p:nvSpPr>
            <p:spPr bwMode="auto">
              <a:xfrm>
                <a:off x="3997"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Oval 1731"/>
              <p:cNvSpPr>
                <a:spLocks noChangeArrowheads="1"/>
              </p:cNvSpPr>
              <p:nvPr/>
            </p:nvSpPr>
            <p:spPr bwMode="auto">
              <a:xfrm>
                <a:off x="3959"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Oval 1732"/>
              <p:cNvSpPr>
                <a:spLocks noChangeArrowheads="1"/>
              </p:cNvSpPr>
              <p:nvPr/>
            </p:nvSpPr>
            <p:spPr bwMode="auto">
              <a:xfrm>
                <a:off x="3920"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Oval 1733"/>
              <p:cNvSpPr>
                <a:spLocks noChangeArrowheads="1"/>
              </p:cNvSpPr>
              <p:nvPr/>
            </p:nvSpPr>
            <p:spPr bwMode="auto">
              <a:xfrm>
                <a:off x="3882"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Oval 1734"/>
              <p:cNvSpPr>
                <a:spLocks noChangeArrowheads="1"/>
              </p:cNvSpPr>
              <p:nvPr/>
            </p:nvSpPr>
            <p:spPr bwMode="auto">
              <a:xfrm>
                <a:off x="3843"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Oval 1735"/>
              <p:cNvSpPr>
                <a:spLocks noChangeArrowheads="1"/>
              </p:cNvSpPr>
              <p:nvPr/>
            </p:nvSpPr>
            <p:spPr bwMode="auto">
              <a:xfrm>
                <a:off x="3804"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Oval 1736"/>
              <p:cNvSpPr>
                <a:spLocks noChangeArrowheads="1"/>
              </p:cNvSpPr>
              <p:nvPr/>
            </p:nvSpPr>
            <p:spPr bwMode="auto">
              <a:xfrm>
                <a:off x="3766"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Oval 1737"/>
              <p:cNvSpPr>
                <a:spLocks noChangeArrowheads="1"/>
              </p:cNvSpPr>
              <p:nvPr/>
            </p:nvSpPr>
            <p:spPr bwMode="auto">
              <a:xfrm>
                <a:off x="3727"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Oval 1738"/>
              <p:cNvSpPr>
                <a:spLocks noChangeArrowheads="1"/>
              </p:cNvSpPr>
              <p:nvPr/>
            </p:nvSpPr>
            <p:spPr bwMode="auto">
              <a:xfrm>
                <a:off x="3689"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Oval 1739"/>
              <p:cNvSpPr>
                <a:spLocks noChangeArrowheads="1"/>
              </p:cNvSpPr>
              <p:nvPr/>
            </p:nvSpPr>
            <p:spPr bwMode="auto">
              <a:xfrm>
                <a:off x="3650"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Oval 1740"/>
              <p:cNvSpPr>
                <a:spLocks noChangeArrowheads="1"/>
              </p:cNvSpPr>
              <p:nvPr/>
            </p:nvSpPr>
            <p:spPr bwMode="auto">
              <a:xfrm>
                <a:off x="3612"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Oval 1741"/>
              <p:cNvSpPr>
                <a:spLocks noChangeArrowheads="1"/>
              </p:cNvSpPr>
              <p:nvPr/>
            </p:nvSpPr>
            <p:spPr bwMode="auto">
              <a:xfrm>
                <a:off x="3573"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Oval 1742"/>
              <p:cNvSpPr>
                <a:spLocks noChangeArrowheads="1"/>
              </p:cNvSpPr>
              <p:nvPr/>
            </p:nvSpPr>
            <p:spPr bwMode="auto">
              <a:xfrm>
                <a:off x="3535"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Oval 1743"/>
              <p:cNvSpPr>
                <a:spLocks noChangeArrowheads="1"/>
              </p:cNvSpPr>
              <p:nvPr/>
            </p:nvSpPr>
            <p:spPr bwMode="auto">
              <a:xfrm>
                <a:off x="3496"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Oval 1744"/>
              <p:cNvSpPr>
                <a:spLocks noChangeArrowheads="1"/>
              </p:cNvSpPr>
              <p:nvPr/>
            </p:nvSpPr>
            <p:spPr bwMode="auto">
              <a:xfrm>
                <a:off x="3458"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Oval 1745"/>
              <p:cNvSpPr>
                <a:spLocks noChangeArrowheads="1"/>
              </p:cNvSpPr>
              <p:nvPr/>
            </p:nvSpPr>
            <p:spPr bwMode="auto">
              <a:xfrm>
                <a:off x="3419"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Oval 1746"/>
              <p:cNvSpPr>
                <a:spLocks noChangeArrowheads="1"/>
              </p:cNvSpPr>
              <p:nvPr/>
            </p:nvSpPr>
            <p:spPr bwMode="auto">
              <a:xfrm>
                <a:off x="3380"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Oval 1747"/>
              <p:cNvSpPr>
                <a:spLocks noChangeArrowheads="1"/>
              </p:cNvSpPr>
              <p:nvPr/>
            </p:nvSpPr>
            <p:spPr bwMode="auto">
              <a:xfrm>
                <a:off x="3342"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Oval 1748"/>
              <p:cNvSpPr>
                <a:spLocks noChangeArrowheads="1"/>
              </p:cNvSpPr>
              <p:nvPr/>
            </p:nvSpPr>
            <p:spPr bwMode="auto">
              <a:xfrm>
                <a:off x="3303"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1749"/>
              <p:cNvSpPr>
                <a:spLocks/>
              </p:cNvSpPr>
              <p:nvPr/>
            </p:nvSpPr>
            <p:spPr bwMode="auto">
              <a:xfrm>
                <a:off x="3265" y="1817"/>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Oval 1750"/>
              <p:cNvSpPr>
                <a:spLocks noChangeArrowheads="1"/>
              </p:cNvSpPr>
              <p:nvPr/>
            </p:nvSpPr>
            <p:spPr bwMode="auto">
              <a:xfrm>
                <a:off x="3226"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Oval 1751"/>
              <p:cNvSpPr>
                <a:spLocks noChangeArrowheads="1"/>
              </p:cNvSpPr>
              <p:nvPr/>
            </p:nvSpPr>
            <p:spPr bwMode="auto">
              <a:xfrm>
                <a:off x="3188"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Oval 1752"/>
              <p:cNvSpPr>
                <a:spLocks noChangeArrowheads="1"/>
              </p:cNvSpPr>
              <p:nvPr/>
            </p:nvSpPr>
            <p:spPr bwMode="auto">
              <a:xfrm>
                <a:off x="3149"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Oval 1753"/>
              <p:cNvSpPr>
                <a:spLocks noChangeArrowheads="1"/>
              </p:cNvSpPr>
              <p:nvPr/>
            </p:nvSpPr>
            <p:spPr bwMode="auto">
              <a:xfrm>
                <a:off x="3111"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Oval 1754"/>
              <p:cNvSpPr>
                <a:spLocks noChangeArrowheads="1"/>
              </p:cNvSpPr>
              <p:nvPr/>
            </p:nvSpPr>
            <p:spPr bwMode="auto">
              <a:xfrm>
                <a:off x="3072"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Oval 1755"/>
              <p:cNvSpPr>
                <a:spLocks noChangeArrowheads="1"/>
              </p:cNvSpPr>
              <p:nvPr/>
            </p:nvSpPr>
            <p:spPr bwMode="auto">
              <a:xfrm>
                <a:off x="3033"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Oval 1756"/>
              <p:cNvSpPr>
                <a:spLocks noChangeArrowheads="1"/>
              </p:cNvSpPr>
              <p:nvPr/>
            </p:nvSpPr>
            <p:spPr bwMode="auto">
              <a:xfrm>
                <a:off x="2995"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Oval 1757"/>
              <p:cNvSpPr>
                <a:spLocks noChangeArrowheads="1"/>
              </p:cNvSpPr>
              <p:nvPr/>
            </p:nvSpPr>
            <p:spPr bwMode="auto">
              <a:xfrm>
                <a:off x="2956"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Oval 1758"/>
              <p:cNvSpPr>
                <a:spLocks noChangeArrowheads="1"/>
              </p:cNvSpPr>
              <p:nvPr/>
            </p:nvSpPr>
            <p:spPr bwMode="auto">
              <a:xfrm>
                <a:off x="2918"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Oval 1759"/>
              <p:cNvSpPr>
                <a:spLocks noChangeArrowheads="1"/>
              </p:cNvSpPr>
              <p:nvPr/>
            </p:nvSpPr>
            <p:spPr bwMode="auto">
              <a:xfrm>
                <a:off x="2879"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Oval 1760"/>
              <p:cNvSpPr>
                <a:spLocks noChangeArrowheads="1"/>
              </p:cNvSpPr>
              <p:nvPr/>
            </p:nvSpPr>
            <p:spPr bwMode="auto">
              <a:xfrm>
                <a:off x="2841"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Oval 1761"/>
              <p:cNvSpPr>
                <a:spLocks noChangeArrowheads="1"/>
              </p:cNvSpPr>
              <p:nvPr/>
            </p:nvSpPr>
            <p:spPr bwMode="auto">
              <a:xfrm>
                <a:off x="2802"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Oval 1762"/>
              <p:cNvSpPr>
                <a:spLocks noChangeArrowheads="1"/>
              </p:cNvSpPr>
              <p:nvPr/>
            </p:nvSpPr>
            <p:spPr bwMode="auto">
              <a:xfrm>
                <a:off x="2764"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Oval 1763"/>
              <p:cNvSpPr>
                <a:spLocks noChangeArrowheads="1"/>
              </p:cNvSpPr>
              <p:nvPr/>
            </p:nvSpPr>
            <p:spPr bwMode="auto">
              <a:xfrm>
                <a:off x="2725"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Oval 1764"/>
              <p:cNvSpPr>
                <a:spLocks noChangeArrowheads="1"/>
              </p:cNvSpPr>
              <p:nvPr/>
            </p:nvSpPr>
            <p:spPr bwMode="auto">
              <a:xfrm>
                <a:off x="2687"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Oval 1765"/>
              <p:cNvSpPr>
                <a:spLocks noChangeArrowheads="1"/>
              </p:cNvSpPr>
              <p:nvPr/>
            </p:nvSpPr>
            <p:spPr bwMode="auto">
              <a:xfrm>
                <a:off x="2648"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Oval 1766"/>
              <p:cNvSpPr>
                <a:spLocks noChangeArrowheads="1"/>
              </p:cNvSpPr>
              <p:nvPr/>
            </p:nvSpPr>
            <p:spPr bwMode="auto">
              <a:xfrm>
                <a:off x="2609"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Oval 1767"/>
              <p:cNvSpPr>
                <a:spLocks noChangeArrowheads="1"/>
              </p:cNvSpPr>
              <p:nvPr/>
            </p:nvSpPr>
            <p:spPr bwMode="auto">
              <a:xfrm>
                <a:off x="2571"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Oval 1768"/>
              <p:cNvSpPr>
                <a:spLocks noChangeArrowheads="1"/>
              </p:cNvSpPr>
              <p:nvPr/>
            </p:nvSpPr>
            <p:spPr bwMode="auto">
              <a:xfrm>
                <a:off x="1646"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Oval 1769"/>
              <p:cNvSpPr>
                <a:spLocks noChangeArrowheads="1"/>
              </p:cNvSpPr>
              <p:nvPr/>
            </p:nvSpPr>
            <p:spPr bwMode="auto">
              <a:xfrm>
                <a:off x="1607"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7" name="Oval 1770"/>
              <p:cNvSpPr>
                <a:spLocks noChangeArrowheads="1"/>
              </p:cNvSpPr>
              <p:nvPr/>
            </p:nvSpPr>
            <p:spPr bwMode="auto">
              <a:xfrm>
                <a:off x="1569"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Oval 1771"/>
              <p:cNvSpPr>
                <a:spLocks noChangeArrowheads="1"/>
              </p:cNvSpPr>
              <p:nvPr/>
            </p:nvSpPr>
            <p:spPr bwMode="auto">
              <a:xfrm>
                <a:off x="1530"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Oval 1772"/>
              <p:cNvSpPr>
                <a:spLocks noChangeArrowheads="1"/>
              </p:cNvSpPr>
              <p:nvPr/>
            </p:nvSpPr>
            <p:spPr bwMode="auto">
              <a:xfrm>
                <a:off x="1491"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Oval 1773"/>
              <p:cNvSpPr>
                <a:spLocks noChangeArrowheads="1"/>
              </p:cNvSpPr>
              <p:nvPr/>
            </p:nvSpPr>
            <p:spPr bwMode="auto">
              <a:xfrm>
                <a:off x="1453"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Oval 1774"/>
              <p:cNvSpPr>
                <a:spLocks noChangeArrowheads="1"/>
              </p:cNvSpPr>
              <p:nvPr/>
            </p:nvSpPr>
            <p:spPr bwMode="auto">
              <a:xfrm>
                <a:off x="1414"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Oval 1775"/>
              <p:cNvSpPr>
                <a:spLocks noChangeArrowheads="1"/>
              </p:cNvSpPr>
              <p:nvPr/>
            </p:nvSpPr>
            <p:spPr bwMode="auto">
              <a:xfrm>
                <a:off x="1376"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Oval 1776"/>
              <p:cNvSpPr>
                <a:spLocks noChangeArrowheads="1"/>
              </p:cNvSpPr>
              <p:nvPr/>
            </p:nvSpPr>
            <p:spPr bwMode="auto">
              <a:xfrm>
                <a:off x="1337"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Oval 1777"/>
              <p:cNvSpPr>
                <a:spLocks noChangeArrowheads="1"/>
              </p:cNvSpPr>
              <p:nvPr/>
            </p:nvSpPr>
            <p:spPr bwMode="auto">
              <a:xfrm>
                <a:off x="1299"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Oval 1778"/>
              <p:cNvSpPr>
                <a:spLocks noChangeArrowheads="1"/>
              </p:cNvSpPr>
              <p:nvPr/>
            </p:nvSpPr>
            <p:spPr bwMode="auto">
              <a:xfrm>
                <a:off x="1260" y="181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Oval 1779"/>
              <p:cNvSpPr>
                <a:spLocks noChangeArrowheads="1"/>
              </p:cNvSpPr>
              <p:nvPr/>
            </p:nvSpPr>
            <p:spPr bwMode="auto">
              <a:xfrm>
                <a:off x="1222" y="181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Oval 1780"/>
              <p:cNvSpPr>
                <a:spLocks noChangeArrowheads="1"/>
              </p:cNvSpPr>
              <p:nvPr/>
            </p:nvSpPr>
            <p:spPr bwMode="auto">
              <a:xfrm>
                <a:off x="4344"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1781"/>
              <p:cNvSpPr>
                <a:spLocks/>
              </p:cNvSpPr>
              <p:nvPr/>
            </p:nvSpPr>
            <p:spPr bwMode="auto">
              <a:xfrm>
                <a:off x="4229" y="1856"/>
                <a:ext cx="27" cy="27"/>
              </a:xfrm>
              <a:custGeom>
                <a:avLst/>
                <a:gdLst>
                  <a:gd name="T0" fmla="*/ 80 w 159"/>
                  <a:gd name="T1" fmla="*/ 0 h 159"/>
                  <a:gd name="T2" fmla="*/ 159 w 159"/>
                  <a:gd name="T3" fmla="*/ 79 h 159"/>
                  <a:gd name="T4" fmla="*/ 79 w 159"/>
                  <a:gd name="T5" fmla="*/ 159 h 159"/>
                  <a:gd name="T6" fmla="*/ 0 w 159"/>
                  <a:gd name="T7" fmla="*/ 79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5"/>
                      <a:pt x="159" y="79"/>
                    </a:cubicBezTo>
                    <a:cubicBezTo>
                      <a:pt x="159" y="124"/>
                      <a:pt x="124" y="159"/>
                      <a:pt x="79" y="159"/>
                    </a:cubicBezTo>
                    <a:cubicBezTo>
                      <a:pt x="35" y="159"/>
                      <a:pt x="0" y="124"/>
                      <a:pt x="0" y="79"/>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Oval 1782"/>
              <p:cNvSpPr>
                <a:spLocks noChangeArrowheads="1"/>
              </p:cNvSpPr>
              <p:nvPr/>
            </p:nvSpPr>
            <p:spPr bwMode="auto">
              <a:xfrm>
                <a:off x="4190"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Oval 1783"/>
              <p:cNvSpPr>
                <a:spLocks noChangeArrowheads="1"/>
              </p:cNvSpPr>
              <p:nvPr/>
            </p:nvSpPr>
            <p:spPr bwMode="auto">
              <a:xfrm>
                <a:off x="4151"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Oval 1784"/>
              <p:cNvSpPr>
                <a:spLocks noChangeArrowheads="1"/>
              </p:cNvSpPr>
              <p:nvPr/>
            </p:nvSpPr>
            <p:spPr bwMode="auto">
              <a:xfrm>
                <a:off x="4113"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Oval 1785"/>
              <p:cNvSpPr>
                <a:spLocks noChangeArrowheads="1"/>
              </p:cNvSpPr>
              <p:nvPr/>
            </p:nvSpPr>
            <p:spPr bwMode="auto">
              <a:xfrm>
                <a:off x="4074"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Oval 1786"/>
              <p:cNvSpPr>
                <a:spLocks noChangeArrowheads="1"/>
              </p:cNvSpPr>
              <p:nvPr/>
            </p:nvSpPr>
            <p:spPr bwMode="auto">
              <a:xfrm>
                <a:off x="4036"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Oval 1787"/>
              <p:cNvSpPr>
                <a:spLocks noChangeArrowheads="1"/>
              </p:cNvSpPr>
              <p:nvPr/>
            </p:nvSpPr>
            <p:spPr bwMode="auto">
              <a:xfrm>
                <a:off x="3997"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Oval 1788"/>
              <p:cNvSpPr>
                <a:spLocks noChangeArrowheads="1"/>
              </p:cNvSpPr>
              <p:nvPr/>
            </p:nvSpPr>
            <p:spPr bwMode="auto">
              <a:xfrm>
                <a:off x="3959"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Oval 1789"/>
              <p:cNvSpPr>
                <a:spLocks noChangeArrowheads="1"/>
              </p:cNvSpPr>
              <p:nvPr/>
            </p:nvSpPr>
            <p:spPr bwMode="auto">
              <a:xfrm>
                <a:off x="3920"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Oval 1790"/>
              <p:cNvSpPr>
                <a:spLocks noChangeArrowheads="1"/>
              </p:cNvSpPr>
              <p:nvPr/>
            </p:nvSpPr>
            <p:spPr bwMode="auto">
              <a:xfrm>
                <a:off x="3882"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Oval 1791"/>
              <p:cNvSpPr>
                <a:spLocks noChangeArrowheads="1"/>
              </p:cNvSpPr>
              <p:nvPr/>
            </p:nvSpPr>
            <p:spPr bwMode="auto">
              <a:xfrm>
                <a:off x="3843"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Oval 1792"/>
              <p:cNvSpPr>
                <a:spLocks noChangeArrowheads="1"/>
              </p:cNvSpPr>
              <p:nvPr/>
            </p:nvSpPr>
            <p:spPr bwMode="auto">
              <a:xfrm>
                <a:off x="3804"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Oval 1793"/>
              <p:cNvSpPr>
                <a:spLocks noChangeArrowheads="1"/>
              </p:cNvSpPr>
              <p:nvPr/>
            </p:nvSpPr>
            <p:spPr bwMode="auto">
              <a:xfrm>
                <a:off x="3766"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Oval 1794"/>
              <p:cNvSpPr>
                <a:spLocks noChangeArrowheads="1"/>
              </p:cNvSpPr>
              <p:nvPr/>
            </p:nvSpPr>
            <p:spPr bwMode="auto">
              <a:xfrm>
                <a:off x="3727"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Oval 1795"/>
              <p:cNvSpPr>
                <a:spLocks noChangeArrowheads="1"/>
              </p:cNvSpPr>
              <p:nvPr/>
            </p:nvSpPr>
            <p:spPr bwMode="auto">
              <a:xfrm>
                <a:off x="3689"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Oval 1796"/>
              <p:cNvSpPr>
                <a:spLocks noChangeArrowheads="1"/>
              </p:cNvSpPr>
              <p:nvPr/>
            </p:nvSpPr>
            <p:spPr bwMode="auto">
              <a:xfrm>
                <a:off x="3650"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Oval 1797"/>
              <p:cNvSpPr>
                <a:spLocks noChangeArrowheads="1"/>
              </p:cNvSpPr>
              <p:nvPr/>
            </p:nvSpPr>
            <p:spPr bwMode="auto">
              <a:xfrm>
                <a:off x="3612"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Oval 1798"/>
              <p:cNvSpPr>
                <a:spLocks noChangeArrowheads="1"/>
              </p:cNvSpPr>
              <p:nvPr/>
            </p:nvSpPr>
            <p:spPr bwMode="auto">
              <a:xfrm>
                <a:off x="3573"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Oval 1799"/>
              <p:cNvSpPr>
                <a:spLocks noChangeArrowheads="1"/>
              </p:cNvSpPr>
              <p:nvPr/>
            </p:nvSpPr>
            <p:spPr bwMode="auto">
              <a:xfrm>
                <a:off x="3535"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Oval 1800"/>
              <p:cNvSpPr>
                <a:spLocks noChangeArrowheads="1"/>
              </p:cNvSpPr>
              <p:nvPr/>
            </p:nvSpPr>
            <p:spPr bwMode="auto">
              <a:xfrm>
                <a:off x="3496"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Oval 1801"/>
              <p:cNvSpPr>
                <a:spLocks noChangeArrowheads="1"/>
              </p:cNvSpPr>
              <p:nvPr/>
            </p:nvSpPr>
            <p:spPr bwMode="auto">
              <a:xfrm>
                <a:off x="3458"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Oval 1802"/>
              <p:cNvSpPr>
                <a:spLocks noChangeArrowheads="1"/>
              </p:cNvSpPr>
              <p:nvPr/>
            </p:nvSpPr>
            <p:spPr bwMode="auto">
              <a:xfrm>
                <a:off x="3419"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Oval 1803"/>
              <p:cNvSpPr>
                <a:spLocks noChangeArrowheads="1"/>
              </p:cNvSpPr>
              <p:nvPr/>
            </p:nvSpPr>
            <p:spPr bwMode="auto">
              <a:xfrm>
                <a:off x="3380"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Oval 1804"/>
              <p:cNvSpPr>
                <a:spLocks noChangeArrowheads="1"/>
              </p:cNvSpPr>
              <p:nvPr/>
            </p:nvSpPr>
            <p:spPr bwMode="auto">
              <a:xfrm>
                <a:off x="3303"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1805"/>
              <p:cNvSpPr>
                <a:spLocks/>
              </p:cNvSpPr>
              <p:nvPr/>
            </p:nvSpPr>
            <p:spPr bwMode="auto">
              <a:xfrm>
                <a:off x="3265" y="1856"/>
                <a:ext cx="27" cy="27"/>
              </a:xfrm>
              <a:custGeom>
                <a:avLst/>
                <a:gdLst>
                  <a:gd name="T0" fmla="*/ 79 w 159"/>
                  <a:gd name="T1" fmla="*/ 0 h 159"/>
                  <a:gd name="T2" fmla="*/ 159 w 159"/>
                  <a:gd name="T3" fmla="*/ 79 h 159"/>
                  <a:gd name="T4" fmla="*/ 79 w 159"/>
                  <a:gd name="T5" fmla="*/ 159 h 159"/>
                  <a:gd name="T6" fmla="*/ 0 w 159"/>
                  <a:gd name="T7" fmla="*/ 79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5"/>
                      <a:pt x="159" y="79"/>
                    </a:cubicBezTo>
                    <a:cubicBezTo>
                      <a:pt x="159" y="124"/>
                      <a:pt x="123" y="159"/>
                      <a:pt x="79" y="159"/>
                    </a:cubicBezTo>
                    <a:cubicBezTo>
                      <a:pt x="35" y="159"/>
                      <a:pt x="0" y="124"/>
                      <a:pt x="0" y="79"/>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Oval 1806"/>
              <p:cNvSpPr>
                <a:spLocks noChangeArrowheads="1"/>
              </p:cNvSpPr>
              <p:nvPr/>
            </p:nvSpPr>
            <p:spPr bwMode="auto">
              <a:xfrm>
                <a:off x="3226"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Oval 1807"/>
              <p:cNvSpPr>
                <a:spLocks noChangeArrowheads="1"/>
              </p:cNvSpPr>
              <p:nvPr/>
            </p:nvSpPr>
            <p:spPr bwMode="auto">
              <a:xfrm>
                <a:off x="3188"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Oval 1808"/>
              <p:cNvSpPr>
                <a:spLocks noChangeArrowheads="1"/>
              </p:cNvSpPr>
              <p:nvPr/>
            </p:nvSpPr>
            <p:spPr bwMode="auto">
              <a:xfrm>
                <a:off x="3149"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Oval 1809"/>
              <p:cNvSpPr>
                <a:spLocks noChangeArrowheads="1"/>
              </p:cNvSpPr>
              <p:nvPr/>
            </p:nvSpPr>
            <p:spPr bwMode="auto">
              <a:xfrm>
                <a:off x="3111"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7" name="Oval 1810"/>
              <p:cNvSpPr>
                <a:spLocks noChangeArrowheads="1"/>
              </p:cNvSpPr>
              <p:nvPr/>
            </p:nvSpPr>
            <p:spPr bwMode="auto">
              <a:xfrm>
                <a:off x="3072"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Oval 1811"/>
              <p:cNvSpPr>
                <a:spLocks noChangeArrowheads="1"/>
              </p:cNvSpPr>
              <p:nvPr/>
            </p:nvSpPr>
            <p:spPr bwMode="auto">
              <a:xfrm>
                <a:off x="3033"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9" name="Oval 1812"/>
              <p:cNvSpPr>
                <a:spLocks noChangeArrowheads="1"/>
              </p:cNvSpPr>
              <p:nvPr/>
            </p:nvSpPr>
            <p:spPr bwMode="auto">
              <a:xfrm>
                <a:off x="2995"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Oval 1813"/>
              <p:cNvSpPr>
                <a:spLocks noChangeArrowheads="1"/>
              </p:cNvSpPr>
              <p:nvPr/>
            </p:nvSpPr>
            <p:spPr bwMode="auto">
              <a:xfrm>
                <a:off x="2956"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1" name="Oval 1814"/>
              <p:cNvSpPr>
                <a:spLocks noChangeArrowheads="1"/>
              </p:cNvSpPr>
              <p:nvPr/>
            </p:nvSpPr>
            <p:spPr bwMode="auto">
              <a:xfrm>
                <a:off x="2918"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Oval 1815"/>
              <p:cNvSpPr>
                <a:spLocks noChangeArrowheads="1"/>
              </p:cNvSpPr>
              <p:nvPr/>
            </p:nvSpPr>
            <p:spPr bwMode="auto">
              <a:xfrm>
                <a:off x="2879"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3" name="Oval 1816"/>
              <p:cNvSpPr>
                <a:spLocks noChangeArrowheads="1"/>
              </p:cNvSpPr>
              <p:nvPr/>
            </p:nvSpPr>
            <p:spPr bwMode="auto">
              <a:xfrm>
                <a:off x="2841"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Oval 1817"/>
              <p:cNvSpPr>
                <a:spLocks noChangeArrowheads="1"/>
              </p:cNvSpPr>
              <p:nvPr/>
            </p:nvSpPr>
            <p:spPr bwMode="auto">
              <a:xfrm>
                <a:off x="2802"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5" name="Oval 1818"/>
              <p:cNvSpPr>
                <a:spLocks noChangeArrowheads="1"/>
              </p:cNvSpPr>
              <p:nvPr/>
            </p:nvSpPr>
            <p:spPr bwMode="auto">
              <a:xfrm>
                <a:off x="2764"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2020"/>
            <p:cNvGrpSpPr>
              <a:grpSpLocks/>
            </p:cNvGrpSpPr>
            <p:nvPr/>
          </p:nvGrpSpPr>
          <p:grpSpPr bwMode="auto">
            <a:xfrm>
              <a:off x="1222" y="1856"/>
              <a:ext cx="3111" cy="220"/>
              <a:chOff x="1222" y="1856"/>
              <a:chExt cx="3111" cy="220"/>
            </a:xfrm>
            <a:grpFill/>
          </p:grpSpPr>
          <p:sp>
            <p:nvSpPr>
              <p:cNvPr id="616" name="Oval 1820"/>
              <p:cNvSpPr>
                <a:spLocks noChangeArrowheads="1"/>
              </p:cNvSpPr>
              <p:nvPr/>
            </p:nvSpPr>
            <p:spPr bwMode="auto">
              <a:xfrm>
                <a:off x="2725"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Oval 1821"/>
              <p:cNvSpPr>
                <a:spLocks noChangeArrowheads="1"/>
              </p:cNvSpPr>
              <p:nvPr/>
            </p:nvSpPr>
            <p:spPr bwMode="auto">
              <a:xfrm>
                <a:off x="2687"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Oval 1822"/>
              <p:cNvSpPr>
                <a:spLocks noChangeArrowheads="1"/>
              </p:cNvSpPr>
              <p:nvPr/>
            </p:nvSpPr>
            <p:spPr bwMode="auto">
              <a:xfrm>
                <a:off x="2648"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Oval 1823"/>
              <p:cNvSpPr>
                <a:spLocks noChangeArrowheads="1"/>
              </p:cNvSpPr>
              <p:nvPr/>
            </p:nvSpPr>
            <p:spPr bwMode="auto">
              <a:xfrm>
                <a:off x="2609"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Oval 1824"/>
              <p:cNvSpPr>
                <a:spLocks noChangeArrowheads="1"/>
              </p:cNvSpPr>
              <p:nvPr/>
            </p:nvSpPr>
            <p:spPr bwMode="auto">
              <a:xfrm>
                <a:off x="2571"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Oval 1825"/>
              <p:cNvSpPr>
                <a:spLocks noChangeArrowheads="1"/>
              </p:cNvSpPr>
              <p:nvPr/>
            </p:nvSpPr>
            <p:spPr bwMode="auto">
              <a:xfrm>
                <a:off x="2532"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Oval 1826"/>
              <p:cNvSpPr>
                <a:spLocks noChangeArrowheads="1"/>
              </p:cNvSpPr>
              <p:nvPr/>
            </p:nvSpPr>
            <p:spPr bwMode="auto">
              <a:xfrm>
                <a:off x="1646"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Oval 1827"/>
              <p:cNvSpPr>
                <a:spLocks noChangeArrowheads="1"/>
              </p:cNvSpPr>
              <p:nvPr/>
            </p:nvSpPr>
            <p:spPr bwMode="auto">
              <a:xfrm>
                <a:off x="1414"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Oval 1828"/>
              <p:cNvSpPr>
                <a:spLocks noChangeArrowheads="1"/>
              </p:cNvSpPr>
              <p:nvPr/>
            </p:nvSpPr>
            <p:spPr bwMode="auto">
              <a:xfrm>
                <a:off x="1376"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Oval 1829"/>
              <p:cNvSpPr>
                <a:spLocks noChangeArrowheads="1"/>
              </p:cNvSpPr>
              <p:nvPr/>
            </p:nvSpPr>
            <p:spPr bwMode="auto">
              <a:xfrm>
                <a:off x="1337"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Oval 1830"/>
              <p:cNvSpPr>
                <a:spLocks noChangeArrowheads="1"/>
              </p:cNvSpPr>
              <p:nvPr/>
            </p:nvSpPr>
            <p:spPr bwMode="auto">
              <a:xfrm>
                <a:off x="1299"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Oval 1831"/>
              <p:cNvSpPr>
                <a:spLocks noChangeArrowheads="1"/>
              </p:cNvSpPr>
              <p:nvPr/>
            </p:nvSpPr>
            <p:spPr bwMode="auto">
              <a:xfrm>
                <a:off x="1260" y="185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Oval 1832"/>
              <p:cNvSpPr>
                <a:spLocks noChangeArrowheads="1"/>
              </p:cNvSpPr>
              <p:nvPr/>
            </p:nvSpPr>
            <p:spPr bwMode="auto">
              <a:xfrm>
                <a:off x="1222" y="185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833"/>
              <p:cNvSpPr>
                <a:spLocks/>
              </p:cNvSpPr>
              <p:nvPr/>
            </p:nvSpPr>
            <p:spPr bwMode="auto">
              <a:xfrm>
                <a:off x="4229" y="1894"/>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Oval 1834"/>
              <p:cNvSpPr>
                <a:spLocks noChangeArrowheads="1"/>
              </p:cNvSpPr>
              <p:nvPr/>
            </p:nvSpPr>
            <p:spPr bwMode="auto">
              <a:xfrm>
                <a:off x="4190"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Oval 1835"/>
              <p:cNvSpPr>
                <a:spLocks noChangeArrowheads="1"/>
              </p:cNvSpPr>
              <p:nvPr/>
            </p:nvSpPr>
            <p:spPr bwMode="auto">
              <a:xfrm>
                <a:off x="4151"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Oval 1836"/>
              <p:cNvSpPr>
                <a:spLocks noChangeArrowheads="1"/>
              </p:cNvSpPr>
              <p:nvPr/>
            </p:nvSpPr>
            <p:spPr bwMode="auto">
              <a:xfrm>
                <a:off x="4113"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Oval 1837"/>
              <p:cNvSpPr>
                <a:spLocks noChangeArrowheads="1"/>
              </p:cNvSpPr>
              <p:nvPr/>
            </p:nvSpPr>
            <p:spPr bwMode="auto">
              <a:xfrm>
                <a:off x="4074"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Oval 1838"/>
              <p:cNvSpPr>
                <a:spLocks noChangeArrowheads="1"/>
              </p:cNvSpPr>
              <p:nvPr/>
            </p:nvSpPr>
            <p:spPr bwMode="auto">
              <a:xfrm>
                <a:off x="4036"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5" name="Oval 1839"/>
              <p:cNvSpPr>
                <a:spLocks noChangeArrowheads="1"/>
              </p:cNvSpPr>
              <p:nvPr/>
            </p:nvSpPr>
            <p:spPr bwMode="auto">
              <a:xfrm>
                <a:off x="3997"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Oval 1840"/>
              <p:cNvSpPr>
                <a:spLocks noChangeArrowheads="1"/>
              </p:cNvSpPr>
              <p:nvPr/>
            </p:nvSpPr>
            <p:spPr bwMode="auto">
              <a:xfrm>
                <a:off x="3959"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Oval 1841"/>
              <p:cNvSpPr>
                <a:spLocks noChangeArrowheads="1"/>
              </p:cNvSpPr>
              <p:nvPr/>
            </p:nvSpPr>
            <p:spPr bwMode="auto">
              <a:xfrm>
                <a:off x="3920"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Oval 1842"/>
              <p:cNvSpPr>
                <a:spLocks noChangeArrowheads="1"/>
              </p:cNvSpPr>
              <p:nvPr/>
            </p:nvSpPr>
            <p:spPr bwMode="auto">
              <a:xfrm>
                <a:off x="3882"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9" name="Oval 1843"/>
              <p:cNvSpPr>
                <a:spLocks noChangeArrowheads="1"/>
              </p:cNvSpPr>
              <p:nvPr/>
            </p:nvSpPr>
            <p:spPr bwMode="auto">
              <a:xfrm>
                <a:off x="3843"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Oval 1844"/>
              <p:cNvSpPr>
                <a:spLocks noChangeArrowheads="1"/>
              </p:cNvSpPr>
              <p:nvPr/>
            </p:nvSpPr>
            <p:spPr bwMode="auto">
              <a:xfrm>
                <a:off x="3804"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1" name="Oval 1845"/>
              <p:cNvSpPr>
                <a:spLocks noChangeArrowheads="1"/>
              </p:cNvSpPr>
              <p:nvPr/>
            </p:nvSpPr>
            <p:spPr bwMode="auto">
              <a:xfrm>
                <a:off x="3766"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Oval 1846"/>
              <p:cNvSpPr>
                <a:spLocks noChangeArrowheads="1"/>
              </p:cNvSpPr>
              <p:nvPr/>
            </p:nvSpPr>
            <p:spPr bwMode="auto">
              <a:xfrm>
                <a:off x="3727"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3" name="Oval 1847"/>
              <p:cNvSpPr>
                <a:spLocks noChangeArrowheads="1"/>
              </p:cNvSpPr>
              <p:nvPr/>
            </p:nvSpPr>
            <p:spPr bwMode="auto">
              <a:xfrm>
                <a:off x="3689"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4" name="Oval 1848"/>
              <p:cNvSpPr>
                <a:spLocks noChangeArrowheads="1"/>
              </p:cNvSpPr>
              <p:nvPr/>
            </p:nvSpPr>
            <p:spPr bwMode="auto">
              <a:xfrm>
                <a:off x="3650"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5" name="Oval 1849"/>
              <p:cNvSpPr>
                <a:spLocks noChangeArrowheads="1"/>
              </p:cNvSpPr>
              <p:nvPr/>
            </p:nvSpPr>
            <p:spPr bwMode="auto">
              <a:xfrm>
                <a:off x="3612"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6" name="Oval 1850"/>
              <p:cNvSpPr>
                <a:spLocks noChangeArrowheads="1"/>
              </p:cNvSpPr>
              <p:nvPr/>
            </p:nvSpPr>
            <p:spPr bwMode="auto">
              <a:xfrm>
                <a:off x="3573"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7" name="Oval 1851"/>
              <p:cNvSpPr>
                <a:spLocks noChangeArrowheads="1"/>
              </p:cNvSpPr>
              <p:nvPr/>
            </p:nvSpPr>
            <p:spPr bwMode="auto">
              <a:xfrm>
                <a:off x="3342"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8" name="Oval 1852"/>
              <p:cNvSpPr>
                <a:spLocks noChangeArrowheads="1"/>
              </p:cNvSpPr>
              <p:nvPr/>
            </p:nvSpPr>
            <p:spPr bwMode="auto">
              <a:xfrm>
                <a:off x="3303"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9" name="Freeform 1853"/>
              <p:cNvSpPr>
                <a:spLocks/>
              </p:cNvSpPr>
              <p:nvPr/>
            </p:nvSpPr>
            <p:spPr bwMode="auto">
              <a:xfrm>
                <a:off x="3265" y="1894"/>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0" name="Oval 1854"/>
              <p:cNvSpPr>
                <a:spLocks noChangeArrowheads="1"/>
              </p:cNvSpPr>
              <p:nvPr/>
            </p:nvSpPr>
            <p:spPr bwMode="auto">
              <a:xfrm>
                <a:off x="3226"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1" name="Oval 1855"/>
              <p:cNvSpPr>
                <a:spLocks noChangeArrowheads="1"/>
              </p:cNvSpPr>
              <p:nvPr/>
            </p:nvSpPr>
            <p:spPr bwMode="auto">
              <a:xfrm>
                <a:off x="3188"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2" name="Oval 1856"/>
              <p:cNvSpPr>
                <a:spLocks noChangeArrowheads="1"/>
              </p:cNvSpPr>
              <p:nvPr/>
            </p:nvSpPr>
            <p:spPr bwMode="auto">
              <a:xfrm>
                <a:off x="3111"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3" name="Oval 1857"/>
              <p:cNvSpPr>
                <a:spLocks noChangeArrowheads="1"/>
              </p:cNvSpPr>
              <p:nvPr/>
            </p:nvSpPr>
            <p:spPr bwMode="auto">
              <a:xfrm>
                <a:off x="3072"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4" name="Oval 1858"/>
              <p:cNvSpPr>
                <a:spLocks noChangeArrowheads="1"/>
              </p:cNvSpPr>
              <p:nvPr/>
            </p:nvSpPr>
            <p:spPr bwMode="auto">
              <a:xfrm>
                <a:off x="3033"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5" name="Oval 1859"/>
              <p:cNvSpPr>
                <a:spLocks noChangeArrowheads="1"/>
              </p:cNvSpPr>
              <p:nvPr/>
            </p:nvSpPr>
            <p:spPr bwMode="auto">
              <a:xfrm>
                <a:off x="2995"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6" name="Oval 1860"/>
              <p:cNvSpPr>
                <a:spLocks noChangeArrowheads="1"/>
              </p:cNvSpPr>
              <p:nvPr/>
            </p:nvSpPr>
            <p:spPr bwMode="auto">
              <a:xfrm>
                <a:off x="2956"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7" name="Oval 1861"/>
              <p:cNvSpPr>
                <a:spLocks noChangeArrowheads="1"/>
              </p:cNvSpPr>
              <p:nvPr/>
            </p:nvSpPr>
            <p:spPr bwMode="auto">
              <a:xfrm>
                <a:off x="2918"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8" name="Oval 1862"/>
              <p:cNvSpPr>
                <a:spLocks noChangeArrowheads="1"/>
              </p:cNvSpPr>
              <p:nvPr/>
            </p:nvSpPr>
            <p:spPr bwMode="auto">
              <a:xfrm>
                <a:off x="2879"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9" name="Oval 1863"/>
              <p:cNvSpPr>
                <a:spLocks noChangeArrowheads="1"/>
              </p:cNvSpPr>
              <p:nvPr/>
            </p:nvSpPr>
            <p:spPr bwMode="auto">
              <a:xfrm>
                <a:off x="2841"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0" name="Oval 1864"/>
              <p:cNvSpPr>
                <a:spLocks noChangeArrowheads="1"/>
              </p:cNvSpPr>
              <p:nvPr/>
            </p:nvSpPr>
            <p:spPr bwMode="auto">
              <a:xfrm>
                <a:off x="2802"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Oval 1865"/>
              <p:cNvSpPr>
                <a:spLocks noChangeArrowheads="1"/>
              </p:cNvSpPr>
              <p:nvPr/>
            </p:nvSpPr>
            <p:spPr bwMode="auto">
              <a:xfrm>
                <a:off x="2764"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2" name="Oval 1866"/>
              <p:cNvSpPr>
                <a:spLocks noChangeArrowheads="1"/>
              </p:cNvSpPr>
              <p:nvPr/>
            </p:nvSpPr>
            <p:spPr bwMode="auto">
              <a:xfrm>
                <a:off x="2725"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Oval 1867"/>
              <p:cNvSpPr>
                <a:spLocks noChangeArrowheads="1"/>
              </p:cNvSpPr>
              <p:nvPr/>
            </p:nvSpPr>
            <p:spPr bwMode="auto">
              <a:xfrm>
                <a:off x="2687"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4" name="Oval 1868"/>
              <p:cNvSpPr>
                <a:spLocks noChangeArrowheads="1"/>
              </p:cNvSpPr>
              <p:nvPr/>
            </p:nvSpPr>
            <p:spPr bwMode="auto">
              <a:xfrm>
                <a:off x="2648"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5" name="Oval 1869"/>
              <p:cNvSpPr>
                <a:spLocks noChangeArrowheads="1"/>
              </p:cNvSpPr>
              <p:nvPr/>
            </p:nvSpPr>
            <p:spPr bwMode="auto">
              <a:xfrm>
                <a:off x="2609"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6" name="Oval 1870"/>
              <p:cNvSpPr>
                <a:spLocks noChangeArrowheads="1"/>
              </p:cNvSpPr>
              <p:nvPr/>
            </p:nvSpPr>
            <p:spPr bwMode="auto">
              <a:xfrm>
                <a:off x="2571"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Oval 1871"/>
              <p:cNvSpPr>
                <a:spLocks noChangeArrowheads="1"/>
              </p:cNvSpPr>
              <p:nvPr/>
            </p:nvSpPr>
            <p:spPr bwMode="auto">
              <a:xfrm>
                <a:off x="2532"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Oval 1872"/>
              <p:cNvSpPr>
                <a:spLocks noChangeArrowheads="1"/>
              </p:cNvSpPr>
              <p:nvPr/>
            </p:nvSpPr>
            <p:spPr bwMode="auto">
              <a:xfrm>
                <a:off x="2494"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Oval 1873"/>
              <p:cNvSpPr>
                <a:spLocks noChangeArrowheads="1"/>
              </p:cNvSpPr>
              <p:nvPr/>
            </p:nvSpPr>
            <p:spPr bwMode="auto">
              <a:xfrm>
                <a:off x="1414"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Oval 1874"/>
              <p:cNvSpPr>
                <a:spLocks noChangeArrowheads="1"/>
              </p:cNvSpPr>
              <p:nvPr/>
            </p:nvSpPr>
            <p:spPr bwMode="auto">
              <a:xfrm>
                <a:off x="1376"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Oval 1875"/>
              <p:cNvSpPr>
                <a:spLocks noChangeArrowheads="1"/>
              </p:cNvSpPr>
              <p:nvPr/>
            </p:nvSpPr>
            <p:spPr bwMode="auto">
              <a:xfrm>
                <a:off x="1337"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2" name="Oval 1876"/>
              <p:cNvSpPr>
                <a:spLocks noChangeArrowheads="1"/>
              </p:cNvSpPr>
              <p:nvPr/>
            </p:nvSpPr>
            <p:spPr bwMode="auto">
              <a:xfrm>
                <a:off x="1299" y="189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3" name="Oval 1877"/>
              <p:cNvSpPr>
                <a:spLocks noChangeArrowheads="1"/>
              </p:cNvSpPr>
              <p:nvPr/>
            </p:nvSpPr>
            <p:spPr bwMode="auto">
              <a:xfrm>
                <a:off x="1260" y="189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4" name="Oval 1878"/>
              <p:cNvSpPr>
                <a:spLocks noChangeArrowheads="1"/>
              </p:cNvSpPr>
              <p:nvPr/>
            </p:nvSpPr>
            <p:spPr bwMode="auto">
              <a:xfrm>
                <a:off x="4113"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5" name="Oval 1879"/>
              <p:cNvSpPr>
                <a:spLocks noChangeArrowheads="1"/>
              </p:cNvSpPr>
              <p:nvPr/>
            </p:nvSpPr>
            <p:spPr bwMode="auto">
              <a:xfrm>
                <a:off x="4074"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Oval 1880"/>
              <p:cNvSpPr>
                <a:spLocks noChangeArrowheads="1"/>
              </p:cNvSpPr>
              <p:nvPr/>
            </p:nvSpPr>
            <p:spPr bwMode="auto">
              <a:xfrm>
                <a:off x="4036"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Oval 1881"/>
              <p:cNvSpPr>
                <a:spLocks noChangeArrowheads="1"/>
              </p:cNvSpPr>
              <p:nvPr/>
            </p:nvSpPr>
            <p:spPr bwMode="auto">
              <a:xfrm>
                <a:off x="3997"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Oval 1882"/>
              <p:cNvSpPr>
                <a:spLocks noChangeArrowheads="1"/>
              </p:cNvSpPr>
              <p:nvPr/>
            </p:nvSpPr>
            <p:spPr bwMode="auto">
              <a:xfrm>
                <a:off x="3959"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Oval 1883"/>
              <p:cNvSpPr>
                <a:spLocks noChangeArrowheads="1"/>
              </p:cNvSpPr>
              <p:nvPr/>
            </p:nvSpPr>
            <p:spPr bwMode="auto">
              <a:xfrm>
                <a:off x="3920"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Oval 1884"/>
              <p:cNvSpPr>
                <a:spLocks noChangeArrowheads="1"/>
              </p:cNvSpPr>
              <p:nvPr/>
            </p:nvSpPr>
            <p:spPr bwMode="auto">
              <a:xfrm>
                <a:off x="3882"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Oval 1885"/>
              <p:cNvSpPr>
                <a:spLocks noChangeArrowheads="1"/>
              </p:cNvSpPr>
              <p:nvPr/>
            </p:nvSpPr>
            <p:spPr bwMode="auto">
              <a:xfrm>
                <a:off x="3843"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Oval 1886"/>
              <p:cNvSpPr>
                <a:spLocks noChangeArrowheads="1"/>
              </p:cNvSpPr>
              <p:nvPr/>
            </p:nvSpPr>
            <p:spPr bwMode="auto">
              <a:xfrm>
                <a:off x="3804"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3" name="Oval 1887"/>
              <p:cNvSpPr>
                <a:spLocks noChangeArrowheads="1"/>
              </p:cNvSpPr>
              <p:nvPr/>
            </p:nvSpPr>
            <p:spPr bwMode="auto">
              <a:xfrm>
                <a:off x="3766"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Oval 1888"/>
              <p:cNvSpPr>
                <a:spLocks noChangeArrowheads="1"/>
              </p:cNvSpPr>
              <p:nvPr/>
            </p:nvSpPr>
            <p:spPr bwMode="auto">
              <a:xfrm>
                <a:off x="3727"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Oval 1889"/>
              <p:cNvSpPr>
                <a:spLocks noChangeArrowheads="1"/>
              </p:cNvSpPr>
              <p:nvPr/>
            </p:nvSpPr>
            <p:spPr bwMode="auto">
              <a:xfrm>
                <a:off x="3689"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Oval 1890"/>
              <p:cNvSpPr>
                <a:spLocks noChangeArrowheads="1"/>
              </p:cNvSpPr>
              <p:nvPr/>
            </p:nvSpPr>
            <p:spPr bwMode="auto">
              <a:xfrm>
                <a:off x="3650"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Oval 1891"/>
              <p:cNvSpPr>
                <a:spLocks noChangeArrowheads="1"/>
              </p:cNvSpPr>
              <p:nvPr/>
            </p:nvSpPr>
            <p:spPr bwMode="auto">
              <a:xfrm>
                <a:off x="3612"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Oval 1892"/>
              <p:cNvSpPr>
                <a:spLocks noChangeArrowheads="1"/>
              </p:cNvSpPr>
              <p:nvPr/>
            </p:nvSpPr>
            <p:spPr bwMode="auto">
              <a:xfrm>
                <a:off x="3573"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Oval 1893"/>
              <p:cNvSpPr>
                <a:spLocks noChangeArrowheads="1"/>
              </p:cNvSpPr>
              <p:nvPr/>
            </p:nvSpPr>
            <p:spPr bwMode="auto">
              <a:xfrm>
                <a:off x="3419"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Oval 1894"/>
              <p:cNvSpPr>
                <a:spLocks noChangeArrowheads="1"/>
              </p:cNvSpPr>
              <p:nvPr/>
            </p:nvSpPr>
            <p:spPr bwMode="auto">
              <a:xfrm>
                <a:off x="3380"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Oval 1895"/>
              <p:cNvSpPr>
                <a:spLocks noChangeArrowheads="1"/>
              </p:cNvSpPr>
              <p:nvPr/>
            </p:nvSpPr>
            <p:spPr bwMode="auto">
              <a:xfrm>
                <a:off x="3342"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Oval 1896"/>
              <p:cNvSpPr>
                <a:spLocks noChangeArrowheads="1"/>
              </p:cNvSpPr>
              <p:nvPr/>
            </p:nvSpPr>
            <p:spPr bwMode="auto">
              <a:xfrm>
                <a:off x="3303"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897"/>
              <p:cNvSpPr>
                <a:spLocks/>
              </p:cNvSpPr>
              <p:nvPr/>
            </p:nvSpPr>
            <p:spPr bwMode="auto">
              <a:xfrm>
                <a:off x="3265" y="1933"/>
                <a:ext cx="27" cy="27"/>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Oval 1898"/>
              <p:cNvSpPr>
                <a:spLocks noChangeArrowheads="1"/>
              </p:cNvSpPr>
              <p:nvPr/>
            </p:nvSpPr>
            <p:spPr bwMode="auto">
              <a:xfrm>
                <a:off x="3226"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Oval 1899"/>
              <p:cNvSpPr>
                <a:spLocks noChangeArrowheads="1"/>
              </p:cNvSpPr>
              <p:nvPr/>
            </p:nvSpPr>
            <p:spPr bwMode="auto">
              <a:xfrm>
                <a:off x="3188"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Oval 1900"/>
              <p:cNvSpPr>
                <a:spLocks noChangeArrowheads="1"/>
              </p:cNvSpPr>
              <p:nvPr/>
            </p:nvSpPr>
            <p:spPr bwMode="auto">
              <a:xfrm>
                <a:off x="3149"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7" name="Oval 1901"/>
              <p:cNvSpPr>
                <a:spLocks noChangeArrowheads="1"/>
              </p:cNvSpPr>
              <p:nvPr/>
            </p:nvSpPr>
            <p:spPr bwMode="auto">
              <a:xfrm>
                <a:off x="3111"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Oval 1902"/>
              <p:cNvSpPr>
                <a:spLocks noChangeArrowheads="1"/>
              </p:cNvSpPr>
              <p:nvPr/>
            </p:nvSpPr>
            <p:spPr bwMode="auto">
              <a:xfrm>
                <a:off x="3072"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Oval 1903"/>
              <p:cNvSpPr>
                <a:spLocks noChangeArrowheads="1"/>
              </p:cNvSpPr>
              <p:nvPr/>
            </p:nvSpPr>
            <p:spPr bwMode="auto">
              <a:xfrm>
                <a:off x="3033"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Oval 1904"/>
              <p:cNvSpPr>
                <a:spLocks noChangeArrowheads="1"/>
              </p:cNvSpPr>
              <p:nvPr/>
            </p:nvSpPr>
            <p:spPr bwMode="auto">
              <a:xfrm>
                <a:off x="2995"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Oval 1905"/>
              <p:cNvSpPr>
                <a:spLocks noChangeArrowheads="1"/>
              </p:cNvSpPr>
              <p:nvPr/>
            </p:nvSpPr>
            <p:spPr bwMode="auto">
              <a:xfrm>
                <a:off x="2956"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Oval 1906"/>
              <p:cNvSpPr>
                <a:spLocks noChangeArrowheads="1"/>
              </p:cNvSpPr>
              <p:nvPr/>
            </p:nvSpPr>
            <p:spPr bwMode="auto">
              <a:xfrm>
                <a:off x="2918"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Oval 1907"/>
              <p:cNvSpPr>
                <a:spLocks noChangeArrowheads="1"/>
              </p:cNvSpPr>
              <p:nvPr/>
            </p:nvSpPr>
            <p:spPr bwMode="auto">
              <a:xfrm>
                <a:off x="2879"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Oval 1908"/>
              <p:cNvSpPr>
                <a:spLocks noChangeArrowheads="1"/>
              </p:cNvSpPr>
              <p:nvPr/>
            </p:nvSpPr>
            <p:spPr bwMode="auto">
              <a:xfrm>
                <a:off x="2841"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5" name="Oval 1909"/>
              <p:cNvSpPr>
                <a:spLocks noChangeArrowheads="1"/>
              </p:cNvSpPr>
              <p:nvPr/>
            </p:nvSpPr>
            <p:spPr bwMode="auto">
              <a:xfrm>
                <a:off x="2802"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Oval 1910"/>
              <p:cNvSpPr>
                <a:spLocks noChangeArrowheads="1"/>
              </p:cNvSpPr>
              <p:nvPr/>
            </p:nvSpPr>
            <p:spPr bwMode="auto">
              <a:xfrm>
                <a:off x="2764"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Oval 1911"/>
              <p:cNvSpPr>
                <a:spLocks noChangeArrowheads="1"/>
              </p:cNvSpPr>
              <p:nvPr/>
            </p:nvSpPr>
            <p:spPr bwMode="auto">
              <a:xfrm>
                <a:off x="2725"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Oval 1912"/>
              <p:cNvSpPr>
                <a:spLocks noChangeArrowheads="1"/>
              </p:cNvSpPr>
              <p:nvPr/>
            </p:nvSpPr>
            <p:spPr bwMode="auto">
              <a:xfrm>
                <a:off x="2687"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Oval 1913"/>
              <p:cNvSpPr>
                <a:spLocks noChangeArrowheads="1"/>
              </p:cNvSpPr>
              <p:nvPr/>
            </p:nvSpPr>
            <p:spPr bwMode="auto">
              <a:xfrm>
                <a:off x="2648"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Oval 1914"/>
              <p:cNvSpPr>
                <a:spLocks noChangeArrowheads="1"/>
              </p:cNvSpPr>
              <p:nvPr/>
            </p:nvSpPr>
            <p:spPr bwMode="auto">
              <a:xfrm>
                <a:off x="2609"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Oval 1915"/>
              <p:cNvSpPr>
                <a:spLocks noChangeArrowheads="1"/>
              </p:cNvSpPr>
              <p:nvPr/>
            </p:nvSpPr>
            <p:spPr bwMode="auto">
              <a:xfrm>
                <a:off x="2571"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Oval 1916"/>
              <p:cNvSpPr>
                <a:spLocks noChangeArrowheads="1"/>
              </p:cNvSpPr>
              <p:nvPr/>
            </p:nvSpPr>
            <p:spPr bwMode="auto">
              <a:xfrm>
                <a:off x="2532"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Oval 1917"/>
              <p:cNvSpPr>
                <a:spLocks noChangeArrowheads="1"/>
              </p:cNvSpPr>
              <p:nvPr/>
            </p:nvSpPr>
            <p:spPr bwMode="auto">
              <a:xfrm>
                <a:off x="2494"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Oval 1918"/>
              <p:cNvSpPr>
                <a:spLocks noChangeArrowheads="1"/>
              </p:cNvSpPr>
              <p:nvPr/>
            </p:nvSpPr>
            <p:spPr bwMode="auto">
              <a:xfrm>
                <a:off x="2455"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Oval 1919"/>
              <p:cNvSpPr>
                <a:spLocks noChangeArrowheads="1"/>
              </p:cNvSpPr>
              <p:nvPr/>
            </p:nvSpPr>
            <p:spPr bwMode="auto">
              <a:xfrm>
                <a:off x="1761"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Oval 1920"/>
              <p:cNvSpPr>
                <a:spLocks noChangeArrowheads="1"/>
              </p:cNvSpPr>
              <p:nvPr/>
            </p:nvSpPr>
            <p:spPr bwMode="auto">
              <a:xfrm>
                <a:off x="1723"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Oval 1921"/>
              <p:cNvSpPr>
                <a:spLocks noChangeArrowheads="1"/>
              </p:cNvSpPr>
              <p:nvPr/>
            </p:nvSpPr>
            <p:spPr bwMode="auto">
              <a:xfrm>
                <a:off x="1684"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Oval 1922"/>
              <p:cNvSpPr>
                <a:spLocks noChangeArrowheads="1"/>
              </p:cNvSpPr>
              <p:nvPr/>
            </p:nvSpPr>
            <p:spPr bwMode="auto">
              <a:xfrm>
                <a:off x="1646"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Oval 1923"/>
              <p:cNvSpPr>
                <a:spLocks noChangeArrowheads="1"/>
              </p:cNvSpPr>
              <p:nvPr/>
            </p:nvSpPr>
            <p:spPr bwMode="auto">
              <a:xfrm>
                <a:off x="1569"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Oval 1924"/>
              <p:cNvSpPr>
                <a:spLocks noChangeArrowheads="1"/>
              </p:cNvSpPr>
              <p:nvPr/>
            </p:nvSpPr>
            <p:spPr bwMode="auto">
              <a:xfrm>
                <a:off x="1530"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Oval 1925"/>
              <p:cNvSpPr>
                <a:spLocks noChangeArrowheads="1"/>
              </p:cNvSpPr>
              <p:nvPr/>
            </p:nvSpPr>
            <p:spPr bwMode="auto">
              <a:xfrm>
                <a:off x="1414"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Oval 1926"/>
              <p:cNvSpPr>
                <a:spLocks noChangeArrowheads="1"/>
              </p:cNvSpPr>
              <p:nvPr/>
            </p:nvSpPr>
            <p:spPr bwMode="auto">
              <a:xfrm>
                <a:off x="1376" y="1933"/>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Oval 1927"/>
              <p:cNvSpPr>
                <a:spLocks noChangeArrowheads="1"/>
              </p:cNvSpPr>
              <p:nvPr/>
            </p:nvSpPr>
            <p:spPr bwMode="auto">
              <a:xfrm>
                <a:off x="1337" y="1933"/>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Oval 1928"/>
              <p:cNvSpPr>
                <a:spLocks noChangeArrowheads="1"/>
              </p:cNvSpPr>
              <p:nvPr/>
            </p:nvSpPr>
            <p:spPr bwMode="auto">
              <a:xfrm>
                <a:off x="4267"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1929"/>
              <p:cNvSpPr>
                <a:spLocks/>
              </p:cNvSpPr>
              <p:nvPr/>
            </p:nvSpPr>
            <p:spPr bwMode="auto">
              <a:xfrm>
                <a:off x="4229" y="1971"/>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Oval 1930"/>
              <p:cNvSpPr>
                <a:spLocks noChangeArrowheads="1"/>
              </p:cNvSpPr>
              <p:nvPr/>
            </p:nvSpPr>
            <p:spPr bwMode="auto">
              <a:xfrm>
                <a:off x="4113"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Oval 1931"/>
              <p:cNvSpPr>
                <a:spLocks noChangeArrowheads="1"/>
              </p:cNvSpPr>
              <p:nvPr/>
            </p:nvSpPr>
            <p:spPr bwMode="auto">
              <a:xfrm>
                <a:off x="4074"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Oval 1932"/>
              <p:cNvSpPr>
                <a:spLocks noChangeArrowheads="1"/>
              </p:cNvSpPr>
              <p:nvPr/>
            </p:nvSpPr>
            <p:spPr bwMode="auto">
              <a:xfrm>
                <a:off x="4036"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9" name="Oval 1933"/>
              <p:cNvSpPr>
                <a:spLocks noChangeArrowheads="1"/>
              </p:cNvSpPr>
              <p:nvPr/>
            </p:nvSpPr>
            <p:spPr bwMode="auto">
              <a:xfrm>
                <a:off x="3997"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0" name="Oval 1934"/>
              <p:cNvSpPr>
                <a:spLocks noChangeArrowheads="1"/>
              </p:cNvSpPr>
              <p:nvPr/>
            </p:nvSpPr>
            <p:spPr bwMode="auto">
              <a:xfrm>
                <a:off x="3959"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Oval 1935"/>
              <p:cNvSpPr>
                <a:spLocks noChangeArrowheads="1"/>
              </p:cNvSpPr>
              <p:nvPr/>
            </p:nvSpPr>
            <p:spPr bwMode="auto">
              <a:xfrm>
                <a:off x="3920"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Oval 1936"/>
              <p:cNvSpPr>
                <a:spLocks noChangeArrowheads="1"/>
              </p:cNvSpPr>
              <p:nvPr/>
            </p:nvSpPr>
            <p:spPr bwMode="auto">
              <a:xfrm>
                <a:off x="3766"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Oval 1937"/>
              <p:cNvSpPr>
                <a:spLocks noChangeArrowheads="1"/>
              </p:cNvSpPr>
              <p:nvPr/>
            </p:nvSpPr>
            <p:spPr bwMode="auto">
              <a:xfrm>
                <a:off x="3727"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Oval 1938"/>
              <p:cNvSpPr>
                <a:spLocks noChangeArrowheads="1"/>
              </p:cNvSpPr>
              <p:nvPr/>
            </p:nvSpPr>
            <p:spPr bwMode="auto">
              <a:xfrm>
                <a:off x="3689"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Oval 1939"/>
              <p:cNvSpPr>
                <a:spLocks noChangeArrowheads="1"/>
              </p:cNvSpPr>
              <p:nvPr/>
            </p:nvSpPr>
            <p:spPr bwMode="auto">
              <a:xfrm>
                <a:off x="3650"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Oval 1940"/>
              <p:cNvSpPr>
                <a:spLocks noChangeArrowheads="1"/>
              </p:cNvSpPr>
              <p:nvPr/>
            </p:nvSpPr>
            <p:spPr bwMode="auto">
              <a:xfrm>
                <a:off x="3380"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Oval 1941"/>
              <p:cNvSpPr>
                <a:spLocks noChangeArrowheads="1"/>
              </p:cNvSpPr>
              <p:nvPr/>
            </p:nvSpPr>
            <p:spPr bwMode="auto">
              <a:xfrm>
                <a:off x="3342"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Oval 1942"/>
              <p:cNvSpPr>
                <a:spLocks noChangeArrowheads="1"/>
              </p:cNvSpPr>
              <p:nvPr/>
            </p:nvSpPr>
            <p:spPr bwMode="auto">
              <a:xfrm>
                <a:off x="3303"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1943"/>
              <p:cNvSpPr>
                <a:spLocks/>
              </p:cNvSpPr>
              <p:nvPr/>
            </p:nvSpPr>
            <p:spPr bwMode="auto">
              <a:xfrm>
                <a:off x="3265" y="1971"/>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Oval 1944"/>
              <p:cNvSpPr>
                <a:spLocks noChangeArrowheads="1"/>
              </p:cNvSpPr>
              <p:nvPr/>
            </p:nvSpPr>
            <p:spPr bwMode="auto">
              <a:xfrm>
                <a:off x="3226"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Oval 1945"/>
              <p:cNvSpPr>
                <a:spLocks noChangeArrowheads="1"/>
              </p:cNvSpPr>
              <p:nvPr/>
            </p:nvSpPr>
            <p:spPr bwMode="auto">
              <a:xfrm>
                <a:off x="3149"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Oval 1946"/>
              <p:cNvSpPr>
                <a:spLocks noChangeArrowheads="1"/>
              </p:cNvSpPr>
              <p:nvPr/>
            </p:nvSpPr>
            <p:spPr bwMode="auto">
              <a:xfrm>
                <a:off x="3111"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Oval 1947"/>
              <p:cNvSpPr>
                <a:spLocks noChangeArrowheads="1"/>
              </p:cNvSpPr>
              <p:nvPr/>
            </p:nvSpPr>
            <p:spPr bwMode="auto">
              <a:xfrm>
                <a:off x="3072"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Oval 1948"/>
              <p:cNvSpPr>
                <a:spLocks noChangeArrowheads="1"/>
              </p:cNvSpPr>
              <p:nvPr/>
            </p:nvSpPr>
            <p:spPr bwMode="auto">
              <a:xfrm>
                <a:off x="3033"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Oval 1949"/>
              <p:cNvSpPr>
                <a:spLocks noChangeArrowheads="1"/>
              </p:cNvSpPr>
              <p:nvPr/>
            </p:nvSpPr>
            <p:spPr bwMode="auto">
              <a:xfrm>
                <a:off x="2995"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Oval 1950"/>
              <p:cNvSpPr>
                <a:spLocks noChangeArrowheads="1"/>
              </p:cNvSpPr>
              <p:nvPr/>
            </p:nvSpPr>
            <p:spPr bwMode="auto">
              <a:xfrm>
                <a:off x="2956"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Oval 1951"/>
              <p:cNvSpPr>
                <a:spLocks noChangeArrowheads="1"/>
              </p:cNvSpPr>
              <p:nvPr/>
            </p:nvSpPr>
            <p:spPr bwMode="auto">
              <a:xfrm>
                <a:off x="2918"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Oval 1952"/>
              <p:cNvSpPr>
                <a:spLocks noChangeArrowheads="1"/>
              </p:cNvSpPr>
              <p:nvPr/>
            </p:nvSpPr>
            <p:spPr bwMode="auto">
              <a:xfrm>
                <a:off x="2879"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Oval 1953"/>
              <p:cNvSpPr>
                <a:spLocks noChangeArrowheads="1"/>
              </p:cNvSpPr>
              <p:nvPr/>
            </p:nvSpPr>
            <p:spPr bwMode="auto">
              <a:xfrm>
                <a:off x="2841"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Oval 1954"/>
              <p:cNvSpPr>
                <a:spLocks noChangeArrowheads="1"/>
              </p:cNvSpPr>
              <p:nvPr/>
            </p:nvSpPr>
            <p:spPr bwMode="auto">
              <a:xfrm>
                <a:off x="2802"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Oval 1955"/>
              <p:cNvSpPr>
                <a:spLocks noChangeArrowheads="1"/>
              </p:cNvSpPr>
              <p:nvPr/>
            </p:nvSpPr>
            <p:spPr bwMode="auto">
              <a:xfrm>
                <a:off x="2764"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Oval 1956"/>
              <p:cNvSpPr>
                <a:spLocks noChangeArrowheads="1"/>
              </p:cNvSpPr>
              <p:nvPr/>
            </p:nvSpPr>
            <p:spPr bwMode="auto">
              <a:xfrm>
                <a:off x="2725"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Oval 1957"/>
              <p:cNvSpPr>
                <a:spLocks noChangeArrowheads="1"/>
              </p:cNvSpPr>
              <p:nvPr/>
            </p:nvSpPr>
            <p:spPr bwMode="auto">
              <a:xfrm>
                <a:off x="2687"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Oval 1958"/>
              <p:cNvSpPr>
                <a:spLocks noChangeArrowheads="1"/>
              </p:cNvSpPr>
              <p:nvPr/>
            </p:nvSpPr>
            <p:spPr bwMode="auto">
              <a:xfrm>
                <a:off x="2648"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Oval 1959"/>
              <p:cNvSpPr>
                <a:spLocks noChangeArrowheads="1"/>
              </p:cNvSpPr>
              <p:nvPr/>
            </p:nvSpPr>
            <p:spPr bwMode="auto">
              <a:xfrm>
                <a:off x="2609"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Oval 1960"/>
              <p:cNvSpPr>
                <a:spLocks noChangeArrowheads="1"/>
              </p:cNvSpPr>
              <p:nvPr/>
            </p:nvSpPr>
            <p:spPr bwMode="auto">
              <a:xfrm>
                <a:off x="2571"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Oval 1961"/>
              <p:cNvSpPr>
                <a:spLocks noChangeArrowheads="1"/>
              </p:cNvSpPr>
              <p:nvPr/>
            </p:nvSpPr>
            <p:spPr bwMode="auto">
              <a:xfrm>
                <a:off x="2532"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Oval 1962"/>
              <p:cNvSpPr>
                <a:spLocks noChangeArrowheads="1"/>
              </p:cNvSpPr>
              <p:nvPr/>
            </p:nvSpPr>
            <p:spPr bwMode="auto">
              <a:xfrm>
                <a:off x="2494"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Oval 1963"/>
              <p:cNvSpPr>
                <a:spLocks noChangeArrowheads="1"/>
              </p:cNvSpPr>
              <p:nvPr/>
            </p:nvSpPr>
            <p:spPr bwMode="auto">
              <a:xfrm>
                <a:off x="1838"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1964"/>
              <p:cNvSpPr>
                <a:spLocks/>
              </p:cNvSpPr>
              <p:nvPr/>
            </p:nvSpPr>
            <p:spPr bwMode="auto">
              <a:xfrm>
                <a:off x="1800" y="1971"/>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Oval 1965"/>
              <p:cNvSpPr>
                <a:spLocks noChangeArrowheads="1"/>
              </p:cNvSpPr>
              <p:nvPr/>
            </p:nvSpPr>
            <p:spPr bwMode="auto">
              <a:xfrm>
                <a:off x="1761"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Oval 1966"/>
              <p:cNvSpPr>
                <a:spLocks noChangeArrowheads="1"/>
              </p:cNvSpPr>
              <p:nvPr/>
            </p:nvSpPr>
            <p:spPr bwMode="auto">
              <a:xfrm>
                <a:off x="1723"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Oval 1967"/>
              <p:cNvSpPr>
                <a:spLocks noChangeArrowheads="1"/>
              </p:cNvSpPr>
              <p:nvPr/>
            </p:nvSpPr>
            <p:spPr bwMode="auto">
              <a:xfrm>
                <a:off x="1684"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Oval 1968"/>
              <p:cNvSpPr>
                <a:spLocks noChangeArrowheads="1"/>
              </p:cNvSpPr>
              <p:nvPr/>
            </p:nvSpPr>
            <p:spPr bwMode="auto">
              <a:xfrm>
                <a:off x="1530"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Oval 1969"/>
              <p:cNvSpPr>
                <a:spLocks noChangeArrowheads="1"/>
              </p:cNvSpPr>
              <p:nvPr/>
            </p:nvSpPr>
            <p:spPr bwMode="auto">
              <a:xfrm>
                <a:off x="1491"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Oval 1970"/>
              <p:cNvSpPr>
                <a:spLocks noChangeArrowheads="1"/>
              </p:cNvSpPr>
              <p:nvPr/>
            </p:nvSpPr>
            <p:spPr bwMode="auto">
              <a:xfrm>
                <a:off x="1453"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Oval 1971"/>
              <p:cNvSpPr>
                <a:spLocks noChangeArrowheads="1"/>
              </p:cNvSpPr>
              <p:nvPr/>
            </p:nvSpPr>
            <p:spPr bwMode="auto">
              <a:xfrm>
                <a:off x="1414"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Oval 1972"/>
              <p:cNvSpPr>
                <a:spLocks noChangeArrowheads="1"/>
              </p:cNvSpPr>
              <p:nvPr/>
            </p:nvSpPr>
            <p:spPr bwMode="auto">
              <a:xfrm>
                <a:off x="1376" y="197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Oval 1973"/>
              <p:cNvSpPr>
                <a:spLocks noChangeArrowheads="1"/>
              </p:cNvSpPr>
              <p:nvPr/>
            </p:nvSpPr>
            <p:spPr bwMode="auto">
              <a:xfrm>
                <a:off x="1337" y="197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Oval 1974"/>
              <p:cNvSpPr>
                <a:spLocks noChangeArrowheads="1"/>
              </p:cNvSpPr>
              <p:nvPr/>
            </p:nvSpPr>
            <p:spPr bwMode="auto">
              <a:xfrm>
                <a:off x="4267"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1975"/>
              <p:cNvSpPr>
                <a:spLocks/>
              </p:cNvSpPr>
              <p:nvPr/>
            </p:nvSpPr>
            <p:spPr bwMode="auto">
              <a:xfrm>
                <a:off x="4229" y="2010"/>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Oval 1976"/>
              <p:cNvSpPr>
                <a:spLocks noChangeArrowheads="1"/>
              </p:cNvSpPr>
              <p:nvPr/>
            </p:nvSpPr>
            <p:spPr bwMode="auto">
              <a:xfrm>
                <a:off x="4074"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Oval 1977"/>
              <p:cNvSpPr>
                <a:spLocks noChangeArrowheads="1"/>
              </p:cNvSpPr>
              <p:nvPr/>
            </p:nvSpPr>
            <p:spPr bwMode="auto">
              <a:xfrm>
                <a:off x="4036"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Oval 1978"/>
              <p:cNvSpPr>
                <a:spLocks noChangeArrowheads="1"/>
              </p:cNvSpPr>
              <p:nvPr/>
            </p:nvSpPr>
            <p:spPr bwMode="auto">
              <a:xfrm>
                <a:off x="3997"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Oval 1979"/>
              <p:cNvSpPr>
                <a:spLocks noChangeArrowheads="1"/>
              </p:cNvSpPr>
              <p:nvPr/>
            </p:nvSpPr>
            <p:spPr bwMode="auto">
              <a:xfrm>
                <a:off x="3959"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Oval 1980"/>
              <p:cNvSpPr>
                <a:spLocks noChangeArrowheads="1"/>
              </p:cNvSpPr>
              <p:nvPr/>
            </p:nvSpPr>
            <p:spPr bwMode="auto">
              <a:xfrm>
                <a:off x="3727"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Oval 1981"/>
              <p:cNvSpPr>
                <a:spLocks noChangeArrowheads="1"/>
              </p:cNvSpPr>
              <p:nvPr/>
            </p:nvSpPr>
            <p:spPr bwMode="auto">
              <a:xfrm>
                <a:off x="3689"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Oval 1982"/>
              <p:cNvSpPr>
                <a:spLocks noChangeArrowheads="1"/>
              </p:cNvSpPr>
              <p:nvPr/>
            </p:nvSpPr>
            <p:spPr bwMode="auto">
              <a:xfrm>
                <a:off x="3650"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Oval 1983"/>
              <p:cNvSpPr>
                <a:spLocks noChangeArrowheads="1"/>
              </p:cNvSpPr>
              <p:nvPr/>
            </p:nvSpPr>
            <p:spPr bwMode="auto">
              <a:xfrm>
                <a:off x="3342"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Oval 1984"/>
              <p:cNvSpPr>
                <a:spLocks noChangeArrowheads="1"/>
              </p:cNvSpPr>
              <p:nvPr/>
            </p:nvSpPr>
            <p:spPr bwMode="auto">
              <a:xfrm>
                <a:off x="3303"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1985"/>
              <p:cNvSpPr>
                <a:spLocks/>
              </p:cNvSpPr>
              <p:nvPr/>
            </p:nvSpPr>
            <p:spPr bwMode="auto">
              <a:xfrm>
                <a:off x="3265" y="2010"/>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Oval 1986"/>
              <p:cNvSpPr>
                <a:spLocks noChangeArrowheads="1"/>
              </p:cNvSpPr>
              <p:nvPr/>
            </p:nvSpPr>
            <p:spPr bwMode="auto">
              <a:xfrm>
                <a:off x="3188"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Oval 1987"/>
              <p:cNvSpPr>
                <a:spLocks noChangeArrowheads="1"/>
              </p:cNvSpPr>
              <p:nvPr/>
            </p:nvSpPr>
            <p:spPr bwMode="auto">
              <a:xfrm>
                <a:off x="3149"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Oval 1988"/>
              <p:cNvSpPr>
                <a:spLocks noChangeArrowheads="1"/>
              </p:cNvSpPr>
              <p:nvPr/>
            </p:nvSpPr>
            <p:spPr bwMode="auto">
              <a:xfrm>
                <a:off x="3111"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Oval 1989"/>
              <p:cNvSpPr>
                <a:spLocks noChangeArrowheads="1"/>
              </p:cNvSpPr>
              <p:nvPr/>
            </p:nvSpPr>
            <p:spPr bwMode="auto">
              <a:xfrm>
                <a:off x="3072"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Oval 1990"/>
              <p:cNvSpPr>
                <a:spLocks noChangeArrowheads="1"/>
              </p:cNvSpPr>
              <p:nvPr/>
            </p:nvSpPr>
            <p:spPr bwMode="auto">
              <a:xfrm>
                <a:off x="3033"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Oval 1991"/>
              <p:cNvSpPr>
                <a:spLocks noChangeArrowheads="1"/>
              </p:cNvSpPr>
              <p:nvPr/>
            </p:nvSpPr>
            <p:spPr bwMode="auto">
              <a:xfrm>
                <a:off x="2995"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Oval 1992"/>
              <p:cNvSpPr>
                <a:spLocks noChangeArrowheads="1"/>
              </p:cNvSpPr>
              <p:nvPr/>
            </p:nvSpPr>
            <p:spPr bwMode="auto">
              <a:xfrm>
                <a:off x="2956"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9" name="Oval 1993"/>
              <p:cNvSpPr>
                <a:spLocks noChangeArrowheads="1"/>
              </p:cNvSpPr>
              <p:nvPr/>
            </p:nvSpPr>
            <p:spPr bwMode="auto">
              <a:xfrm>
                <a:off x="2918"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0" name="Oval 1994"/>
              <p:cNvSpPr>
                <a:spLocks noChangeArrowheads="1"/>
              </p:cNvSpPr>
              <p:nvPr/>
            </p:nvSpPr>
            <p:spPr bwMode="auto">
              <a:xfrm>
                <a:off x="2879"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Oval 1995"/>
              <p:cNvSpPr>
                <a:spLocks noChangeArrowheads="1"/>
              </p:cNvSpPr>
              <p:nvPr/>
            </p:nvSpPr>
            <p:spPr bwMode="auto">
              <a:xfrm>
                <a:off x="2841"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Oval 1996"/>
              <p:cNvSpPr>
                <a:spLocks noChangeArrowheads="1"/>
              </p:cNvSpPr>
              <p:nvPr/>
            </p:nvSpPr>
            <p:spPr bwMode="auto">
              <a:xfrm>
                <a:off x="2802"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Oval 1997"/>
              <p:cNvSpPr>
                <a:spLocks noChangeArrowheads="1"/>
              </p:cNvSpPr>
              <p:nvPr/>
            </p:nvSpPr>
            <p:spPr bwMode="auto">
              <a:xfrm>
                <a:off x="2764"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Oval 1998"/>
              <p:cNvSpPr>
                <a:spLocks noChangeArrowheads="1"/>
              </p:cNvSpPr>
              <p:nvPr/>
            </p:nvSpPr>
            <p:spPr bwMode="auto">
              <a:xfrm>
                <a:off x="2725"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Oval 1999"/>
              <p:cNvSpPr>
                <a:spLocks noChangeArrowheads="1"/>
              </p:cNvSpPr>
              <p:nvPr/>
            </p:nvSpPr>
            <p:spPr bwMode="auto">
              <a:xfrm>
                <a:off x="2687"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Oval 2000"/>
              <p:cNvSpPr>
                <a:spLocks noChangeArrowheads="1"/>
              </p:cNvSpPr>
              <p:nvPr/>
            </p:nvSpPr>
            <p:spPr bwMode="auto">
              <a:xfrm>
                <a:off x="2648"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Oval 2001"/>
              <p:cNvSpPr>
                <a:spLocks noChangeArrowheads="1"/>
              </p:cNvSpPr>
              <p:nvPr/>
            </p:nvSpPr>
            <p:spPr bwMode="auto">
              <a:xfrm>
                <a:off x="2609"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Oval 2002"/>
              <p:cNvSpPr>
                <a:spLocks noChangeArrowheads="1"/>
              </p:cNvSpPr>
              <p:nvPr/>
            </p:nvSpPr>
            <p:spPr bwMode="auto">
              <a:xfrm>
                <a:off x="2571"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Oval 2003"/>
              <p:cNvSpPr>
                <a:spLocks noChangeArrowheads="1"/>
              </p:cNvSpPr>
              <p:nvPr/>
            </p:nvSpPr>
            <p:spPr bwMode="auto">
              <a:xfrm>
                <a:off x="2532"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Oval 2004"/>
              <p:cNvSpPr>
                <a:spLocks noChangeArrowheads="1"/>
              </p:cNvSpPr>
              <p:nvPr/>
            </p:nvSpPr>
            <p:spPr bwMode="auto">
              <a:xfrm>
                <a:off x="2494"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Oval 2005"/>
              <p:cNvSpPr>
                <a:spLocks noChangeArrowheads="1"/>
              </p:cNvSpPr>
              <p:nvPr/>
            </p:nvSpPr>
            <p:spPr bwMode="auto">
              <a:xfrm>
                <a:off x="1607"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Oval 2006"/>
              <p:cNvSpPr>
                <a:spLocks noChangeArrowheads="1"/>
              </p:cNvSpPr>
              <p:nvPr/>
            </p:nvSpPr>
            <p:spPr bwMode="auto">
              <a:xfrm>
                <a:off x="1569" y="201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Oval 2007"/>
              <p:cNvSpPr>
                <a:spLocks noChangeArrowheads="1"/>
              </p:cNvSpPr>
              <p:nvPr/>
            </p:nvSpPr>
            <p:spPr bwMode="auto">
              <a:xfrm>
                <a:off x="1530"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Oval 2008"/>
              <p:cNvSpPr>
                <a:spLocks noChangeArrowheads="1"/>
              </p:cNvSpPr>
              <p:nvPr/>
            </p:nvSpPr>
            <p:spPr bwMode="auto">
              <a:xfrm>
                <a:off x="1491"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Oval 2009"/>
              <p:cNvSpPr>
                <a:spLocks noChangeArrowheads="1"/>
              </p:cNvSpPr>
              <p:nvPr/>
            </p:nvSpPr>
            <p:spPr bwMode="auto">
              <a:xfrm>
                <a:off x="1453"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Oval 2010"/>
              <p:cNvSpPr>
                <a:spLocks noChangeArrowheads="1"/>
              </p:cNvSpPr>
              <p:nvPr/>
            </p:nvSpPr>
            <p:spPr bwMode="auto">
              <a:xfrm>
                <a:off x="1414" y="201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Oval 2011"/>
              <p:cNvSpPr>
                <a:spLocks noChangeArrowheads="1"/>
              </p:cNvSpPr>
              <p:nvPr/>
            </p:nvSpPr>
            <p:spPr bwMode="auto">
              <a:xfrm>
                <a:off x="4306"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Oval 2012"/>
              <p:cNvSpPr>
                <a:spLocks noChangeArrowheads="1"/>
              </p:cNvSpPr>
              <p:nvPr/>
            </p:nvSpPr>
            <p:spPr bwMode="auto">
              <a:xfrm>
                <a:off x="4267"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2013"/>
              <p:cNvSpPr>
                <a:spLocks/>
              </p:cNvSpPr>
              <p:nvPr/>
            </p:nvSpPr>
            <p:spPr bwMode="auto">
              <a:xfrm>
                <a:off x="4229" y="2049"/>
                <a:ext cx="27" cy="27"/>
              </a:xfrm>
              <a:custGeom>
                <a:avLst/>
                <a:gdLst>
                  <a:gd name="T0" fmla="*/ 80 w 159"/>
                  <a:gd name="T1" fmla="*/ 0 h 159"/>
                  <a:gd name="T2" fmla="*/ 159 w 159"/>
                  <a:gd name="T3" fmla="*/ 80 h 159"/>
                  <a:gd name="T4" fmla="*/ 79 w 159"/>
                  <a:gd name="T5" fmla="*/ 159 h 159"/>
                  <a:gd name="T6" fmla="*/ 0 w 159"/>
                  <a:gd name="T7" fmla="*/ 80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5"/>
                      <a:pt x="159" y="80"/>
                    </a:cubicBezTo>
                    <a:cubicBezTo>
                      <a:pt x="159" y="124"/>
                      <a:pt x="124" y="159"/>
                      <a:pt x="79" y="159"/>
                    </a:cubicBezTo>
                    <a:cubicBezTo>
                      <a:pt x="35" y="159"/>
                      <a:pt x="0" y="124"/>
                      <a:pt x="0" y="80"/>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Oval 2014"/>
              <p:cNvSpPr>
                <a:spLocks noChangeArrowheads="1"/>
              </p:cNvSpPr>
              <p:nvPr/>
            </p:nvSpPr>
            <p:spPr bwMode="auto">
              <a:xfrm>
                <a:off x="4074"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Oval 2015"/>
              <p:cNvSpPr>
                <a:spLocks noChangeArrowheads="1"/>
              </p:cNvSpPr>
              <p:nvPr/>
            </p:nvSpPr>
            <p:spPr bwMode="auto">
              <a:xfrm>
                <a:off x="4036"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Oval 2016"/>
              <p:cNvSpPr>
                <a:spLocks noChangeArrowheads="1"/>
              </p:cNvSpPr>
              <p:nvPr/>
            </p:nvSpPr>
            <p:spPr bwMode="auto">
              <a:xfrm>
                <a:off x="3997"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Oval 2017"/>
              <p:cNvSpPr>
                <a:spLocks noChangeArrowheads="1"/>
              </p:cNvSpPr>
              <p:nvPr/>
            </p:nvSpPr>
            <p:spPr bwMode="auto">
              <a:xfrm>
                <a:off x="3959"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Oval 2018"/>
              <p:cNvSpPr>
                <a:spLocks noChangeArrowheads="1"/>
              </p:cNvSpPr>
              <p:nvPr/>
            </p:nvSpPr>
            <p:spPr bwMode="auto">
              <a:xfrm>
                <a:off x="3727"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Oval 2019"/>
              <p:cNvSpPr>
                <a:spLocks noChangeArrowheads="1"/>
              </p:cNvSpPr>
              <p:nvPr/>
            </p:nvSpPr>
            <p:spPr bwMode="auto">
              <a:xfrm>
                <a:off x="3689"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 name="Group 2221"/>
            <p:cNvGrpSpPr>
              <a:grpSpLocks/>
            </p:cNvGrpSpPr>
            <p:nvPr/>
          </p:nvGrpSpPr>
          <p:grpSpPr bwMode="auto">
            <a:xfrm>
              <a:off x="1530" y="2049"/>
              <a:ext cx="3150" cy="259"/>
              <a:chOff x="1530" y="2049"/>
              <a:chExt cx="3150" cy="259"/>
            </a:xfrm>
            <a:grpFill/>
          </p:grpSpPr>
          <p:sp>
            <p:nvSpPr>
              <p:cNvPr id="416" name="Oval 2021"/>
              <p:cNvSpPr>
                <a:spLocks noChangeArrowheads="1"/>
              </p:cNvSpPr>
              <p:nvPr/>
            </p:nvSpPr>
            <p:spPr bwMode="auto">
              <a:xfrm>
                <a:off x="3650"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2022"/>
              <p:cNvSpPr>
                <a:spLocks/>
              </p:cNvSpPr>
              <p:nvPr/>
            </p:nvSpPr>
            <p:spPr bwMode="auto">
              <a:xfrm>
                <a:off x="3265" y="2049"/>
                <a:ext cx="27" cy="27"/>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5"/>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Oval 2023"/>
              <p:cNvSpPr>
                <a:spLocks noChangeArrowheads="1"/>
              </p:cNvSpPr>
              <p:nvPr/>
            </p:nvSpPr>
            <p:spPr bwMode="auto">
              <a:xfrm>
                <a:off x="3226"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Oval 2024"/>
              <p:cNvSpPr>
                <a:spLocks noChangeArrowheads="1"/>
              </p:cNvSpPr>
              <p:nvPr/>
            </p:nvSpPr>
            <p:spPr bwMode="auto">
              <a:xfrm>
                <a:off x="3188"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Oval 2025"/>
              <p:cNvSpPr>
                <a:spLocks noChangeArrowheads="1"/>
              </p:cNvSpPr>
              <p:nvPr/>
            </p:nvSpPr>
            <p:spPr bwMode="auto">
              <a:xfrm>
                <a:off x="3149"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Oval 2026"/>
              <p:cNvSpPr>
                <a:spLocks noChangeArrowheads="1"/>
              </p:cNvSpPr>
              <p:nvPr/>
            </p:nvSpPr>
            <p:spPr bwMode="auto">
              <a:xfrm>
                <a:off x="3111"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Oval 2027"/>
              <p:cNvSpPr>
                <a:spLocks noChangeArrowheads="1"/>
              </p:cNvSpPr>
              <p:nvPr/>
            </p:nvSpPr>
            <p:spPr bwMode="auto">
              <a:xfrm>
                <a:off x="3072"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Oval 2028"/>
              <p:cNvSpPr>
                <a:spLocks noChangeArrowheads="1"/>
              </p:cNvSpPr>
              <p:nvPr/>
            </p:nvSpPr>
            <p:spPr bwMode="auto">
              <a:xfrm>
                <a:off x="3033"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Oval 2029"/>
              <p:cNvSpPr>
                <a:spLocks noChangeArrowheads="1"/>
              </p:cNvSpPr>
              <p:nvPr/>
            </p:nvSpPr>
            <p:spPr bwMode="auto">
              <a:xfrm>
                <a:off x="2995"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Oval 2030"/>
              <p:cNvSpPr>
                <a:spLocks noChangeArrowheads="1"/>
              </p:cNvSpPr>
              <p:nvPr/>
            </p:nvSpPr>
            <p:spPr bwMode="auto">
              <a:xfrm>
                <a:off x="2956"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Oval 2031"/>
              <p:cNvSpPr>
                <a:spLocks noChangeArrowheads="1"/>
              </p:cNvSpPr>
              <p:nvPr/>
            </p:nvSpPr>
            <p:spPr bwMode="auto">
              <a:xfrm>
                <a:off x="2918"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Oval 2032"/>
              <p:cNvSpPr>
                <a:spLocks noChangeArrowheads="1"/>
              </p:cNvSpPr>
              <p:nvPr/>
            </p:nvSpPr>
            <p:spPr bwMode="auto">
              <a:xfrm>
                <a:off x="2879"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Oval 2033"/>
              <p:cNvSpPr>
                <a:spLocks noChangeArrowheads="1"/>
              </p:cNvSpPr>
              <p:nvPr/>
            </p:nvSpPr>
            <p:spPr bwMode="auto">
              <a:xfrm>
                <a:off x="2841"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Oval 2034"/>
              <p:cNvSpPr>
                <a:spLocks noChangeArrowheads="1"/>
              </p:cNvSpPr>
              <p:nvPr/>
            </p:nvSpPr>
            <p:spPr bwMode="auto">
              <a:xfrm>
                <a:off x="2802"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Oval 2035"/>
              <p:cNvSpPr>
                <a:spLocks noChangeArrowheads="1"/>
              </p:cNvSpPr>
              <p:nvPr/>
            </p:nvSpPr>
            <p:spPr bwMode="auto">
              <a:xfrm>
                <a:off x="2764"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Oval 2036"/>
              <p:cNvSpPr>
                <a:spLocks noChangeArrowheads="1"/>
              </p:cNvSpPr>
              <p:nvPr/>
            </p:nvSpPr>
            <p:spPr bwMode="auto">
              <a:xfrm>
                <a:off x="2725"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Oval 2037"/>
              <p:cNvSpPr>
                <a:spLocks noChangeArrowheads="1"/>
              </p:cNvSpPr>
              <p:nvPr/>
            </p:nvSpPr>
            <p:spPr bwMode="auto">
              <a:xfrm>
                <a:off x="2687"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Oval 2038"/>
              <p:cNvSpPr>
                <a:spLocks noChangeArrowheads="1"/>
              </p:cNvSpPr>
              <p:nvPr/>
            </p:nvSpPr>
            <p:spPr bwMode="auto">
              <a:xfrm>
                <a:off x="2648"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Oval 2039"/>
              <p:cNvSpPr>
                <a:spLocks noChangeArrowheads="1"/>
              </p:cNvSpPr>
              <p:nvPr/>
            </p:nvSpPr>
            <p:spPr bwMode="auto">
              <a:xfrm>
                <a:off x="2609"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Oval 2040"/>
              <p:cNvSpPr>
                <a:spLocks noChangeArrowheads="1"/>
              </p:cNvSpPr>
              <p:nvPr/>
            </p:nvSpPr>
            <p:spPr bwMode="auto">
              <a:xfrm>
                <a:off x="2571"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Oval 2041"/>
              <p:cNvSpPr>
                <a:spLocks noChangeArrowheads="1"/>
              </p:cNvSpPr>
              <p:nvPr/>
            </p:nvSpPr>
            <p:spPr bwMode="auto">
              <a:xfrm>
                <a:off x="2532"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Oval 2042"/>
              <p:cNvSpPr>
                <a:spLocks noChangeArrowheads="1"/>
              </p:cNvSpPr>
              <p:nvPr/>
            </p:nvSpPr>
            <p:spPr bwMode="auto">
              <a:xfrm>
                <a:off x="2494"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Oval 2043"/>
              <p:cNvSpPr>
                <a:spLocks noChangeArrowheads="1"/>
              </p:cNvSpPr>
              <p:nvPr/>
            </p:nvSpPr>
            <p:spPr bwMode="auto">
              <a:xfrm>
                <a:off x="1761"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Oval 2044"/>
              <p:cNvSpPr>
                <a:spLocks noChangeArrowheads="1"/>
              </p:cNvSpPr>
              <p:nvPr/>
            </p:nvSpPr>
            <p:spPr bwMode="auto">
              <a:xfrm>
                <a:off x="1607"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Oval 2045"/>
              <p:cNvSpPr>
                <a:spLocks noChangeArrowheads="1"/>
              </p:cNvSpPr>
              <p:nvPr/>
            </p:nvSpPr>
            <p:spPr bwMode="auto">
              <a:xfrm>
                <a:off x="1569" y="204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Oval 2046"/>
              <p:cNvSpPr>
                <a:spLocks noChangeArrowheads="1"/>
              </p:cNvSpPr>
              <p:nvPr/>
            </p:nvSpPr>
            <p:spPr bwMode="auto">
              <a:xfrm>
                <a:off x="1530" y="204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Oval 2047"/>
              <p:cNvSpPr>
                <a:spLocks noChangeArrowheads="1"/>
              </p:cNvSpPr>
              <p:nvPr/>
            </p:nvSpPr>
            <p:spPr bwMode="auto">
              <a:xfrm>
                <a:off x="4306"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Oval 2048"/>
              <p:cNvSpPr>
                <a:spLocks noChangeArrowheads="1"/>
              </p:cNvSpPr>
              <p:nvPr/>
            </p:nvSpPr>
            <p:spPr bwMode="auto">
              <a:xfrm>
                <a:off x="4267"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Oval 2049"/>
              <p:cNvSpPr>
                <a:spLocks noChangeArrowheads="1"/>
              </p:cNvSpPr>
              <p:nvPr/>
            </p:nvSpPr>
            <p:spPr bwMode="auto">
              <a:xfrm>
                <a:off x="4036"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Oval 2050"/>
              <p:cNvSpPr>
                <a:spLocks noChangeArrowheads="1"/>
              </p:cNvSpPr>
              <p:nvPr/>
            </p:nvSpPr>
            <p:spPr bwMode="auto">
              <a:xfrm>
                <a:off x="3959"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Oval 2051"/>
              <p:cNvSpPr>
                <a:spLocks noChangeArrowheads="1"/>
              </p:cNvSpPr>
              <p:nvPr/>
            </p:nvSpPr>
            <p:spPr bwMode="auto">
              <a:xfrm>
                <a:off x="3689"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Oval 2052"/>
              <p:cNvSpPr>
                <a:spLocks noChangeArrowheads="1"/>
              </p:cNvSpPr>
              <p:nvPr/>
            </p:nvSpPr>
            <p:spPr bwMode="auto">
              <a:xfrm>
                <a:off x="3342"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Oval 2053"/>
              <p:cNvSpPr>
                <a:spLocks noChangeArrowheads="1"/>
              </p:cNvSpPr>
              <p:nvPr/>
            </p:nvSpPr>
            <p:spPr bwMode="auto">
              <a:xfrm>
                <a:off x="3303"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2054"/>
              <p:cNvSpPr>
                <a:spLocks/>
              </p:cNvSpPr>
              <p:nvPr/>
            </p:nvSpPr>
            <p:spPr bwMode="auto">
              <a:xfrm>
                <a:off x="3265" y="2087"/>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Oval 2055"/>
              <p:cNvSpPr>
                <a:spLocks noChangeArrowheads="1"/>
              </p:cNvSpPr>
              <p:nvPr/>
            </p:nvSpPr>
            <p:spPr bwMode="auto">
              <a:xfrm>
                <a:off x="3226"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Oval 2056"/>
              <p:cNvSpPr>
                <a:spLocks noChangeArrowheads="1"/>
              </p:cNvSpPr>
              <p:nvPr/>
            </p:nvSpPr>
            <p:spPr bwMode="auto">
              <a:xfrm>
                <a:off x="3188"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Oval 2057"/>
              <p:cNvSpPr>
                <a:spLocks noChangeArrowheads="1"/>
              </p:cNvSpPr>
              <p:nvPr/>
            </p:nvSpPr>
            <p:spPr bwMode="auto">
              <a:xfrm>
                <a:off x="3149"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Oval 2058"/>
              <p:cNvSpPr>
                <a:spLocks noChangeArrowheads="1"/>
              </p:cNvSpPr>
              <p:nvPr/>
            </p:nvSpPr>
            <p:spPr bwMode="auto">
              <a:xfrm>
                <a:off x="3111"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Oval 2059"/>
              <p:cNvSpPr>
                <a:spLocks noChangeArrowheads="1"/>
              </p:cNvSpPr>
              <p:nvPr/>
            </p:nvSpPr>
            <p:spPr bwMode="auto">
              <a:xfrm>
                <a:off x="3072"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Oval 2060"/>
              <p:cNvSpPr>
                <a:spLocks noChangeArrowheads="1"/>
              </p:cNvSpPr>
              <p:nvPr/>
            </p:nvSpPr>
            <p:spPr bwMode="auto">
              <a:xfrm>
                <a:off x="3033"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Oval 2061"/>
              <p:cNvSpPr>
                <a:spLocks noChangeArrowheads="1"/>
              </p:cNvSpPr>
              <p:nvPr/>
            </p:nvSpPr>
            <p:spPr bwMode="auto">
              <a:xfrm>
                <a:off x="2995"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Oval 2062"/>
              <p:cNvSpPr>
                <a:spLocks noChangeArrowheads="1"/>
              </p:cNvSpPr>
              <p:nvPr/>
            </p:nvSpPr>
            <p:spPr bwMode="auto">
              <a:xfrm>
                <a:off x="2956"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Oval 2063"/>
              <p:cNvSpPr>
                <a:spLocks noChangeArrowheads="1"/>
              </p:cNvSpPr>
              <p:nvPr/>
            </p:nvSpPr>
            <p:spPr bwMode="auto">
              <a:xfrm>
                <a:off x="2918"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Oval 2064"/>
              <p:cNvSpPr>
                <a:spLocks noChangeArrowheads="1"/>
              </p:cNvSpPr>
              <p:nvPr/>
            </p:nvSpPr>
            <p:spPr bwMode="auto">
              <a:xfrm>
                <a:off x="2879"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Oval 2065"/>
              <p:cNvSpPr>
                <a:spLocks noChangeArrowheads="1"/>
              </p:cNvSpPr>
              <p:nvPr/>
            </p:nvSpPr>
            <p:spPr bwMode="auto">
              <a:xfrm>
                <a:off x="2841"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Oval 2066"/>
              <p:cNvSpPr>
                <a:spLocks noChangeArrowheads="1"/>
              </p:cNvSpPr>
              <p:nvPr/>
            </p:nvSpPr>
            <p:spPr bwMode="auto">
              <a:xfrm>
                <a:off x="2802"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Oval 2067"/>
              <p:cNvSpPr>
                <a:spLocks noChangeArrowheads="1"/>
              </p:cNvSpPr>
              <p:nvPr/>
            </p:nvSpPr>
            <p:spPr bwMode="auto">
              <a:xfrm>
                <a:off x="2764"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Oval 2068"/>
              <p:cNvSpPr>
                <a:spLocks noChangeArrowheads="1"/>
              </p:cNvSpPr>
              <p:nvPr/>
            </p:nvSpPr>
            <p:spPr bwMode="auto">
              <a:xfrm>
                <a:off x="2725"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Oval 2069"/>
              <p:cNvSpPr>
                <a:spLocks noChangeArrowheads="1"/>
              </p:cNvSpPr>
              <p:nvPr/>
            </p:nvSpPr>
            <p:spPr bwMode="auto">
              <a:xfrm>
                <a:off x="2687"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Oval 2070"/>
              <p:cNvSpPr>
                <a:spLocks noChangeArrowheads="1"/>
              </p:cNvSpPr>
              <p:nvPr/>
            </p:nvSpPr>
            <p:spPr bwMode="auto">
              <a:xfrm>
                <a:off x="2648"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Oval 2071"/>
              <p:cNvSpPr>
                <a:spLocks noChangeArrowheads="1"/>
              </p:cNvSpPr>
              <p:nvPr/>
            </p:nvSpPr>
            <p:spPr bwMode="auto">
              <a:xfrm>
                <a:off x="2609"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Oval 2072"/>
              <p:cNvSpPr>
                <a:spLocks noChangeArrowheads="1"/>
              </p:cNvSpPr>
              <p:nvPr/>
            </p:nvSpPr>
            <p:spPr bwMode="auto">
              <a:xfrm>
                <a:off x="2571"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Oval 2073"/>
              <p:cNvSpPr>
                <a:spLocks noChangeArrowheads="1"/>
              </p:cNvSpPr>
              <p:nvPr/>
            </p:nvSpPr>
            <p:spPr bwMode="auto">
              <a:xfrm>
                <a:off x="2532"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Oval 2074"/>
              <p:cNvSpPr>
                <a:spLocks noChangeArrowheads="1"/>
              </p:cNvSpPr>
              <p:nvPr/>
            </p:nvSpPr>
            <p:spPr bwMode="auto">
              <a:xfrm>
                <a:off x="1877"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Oval 2075"/>
              <p:cNvSpPr>
                <a:spLocks noChangeArrowheads="1"/>
              </p:cNvSpPr>
              <p:nvPr/>
            </p:nvSpPr>
            <p:spPr bwMode="auto">
              <a:xfrm>
                <a:off x="1838"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2076"/>
              <p:cNvSpPr>
                <a:spLocks/>
              </p:cNvSpPr>
              <p:nvPr/>
            </p:nvSpPr>
            <p:spPr bwMode="auto">
              <a:xfrm>
                <a:off x="1800" y="2087"/>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Oval 2077"/>
              <p:cNvSpPr>
                <a:spLocks noChangeArrowheads="1"/>
              </p:cNvSpPr>
              <p:nvPr/>
            </p:nvSpPr>
            <p:spPr bwMode="auto">
              <a:xfrm>
                <a:off x="1761"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Oval 2078"/>
              <p:cNvSpPr>
                <a:spLocks noChangeArrowheads="1"/>
              </p:cNvSpPr>
              <p:nvPr/>
            </p:nvSpPr>
            <p:spPr bwMode="auto">
              <a:xfrm>
                <a:off x="1723"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Oval 2079"/>
              <p:cNvSpPr>
                <a:spLocks noChangeArrowheads="1"/>
              </p:cNvSpPr>
              <p:nvPr/>
            </p:nvSpPr>
            <p:spPr bwMode="auto">
              <a:xfrm>
                <a:off x="1684"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Oval 2080"/>
              <p:cNvSpPr>
                <a:spLocks noChangeArrowheads="1"/>
              </p:cNvSpPr>
              <p:nvPr/>
            </p:nvSpPr>
            <p:spPr bwMode="auto">
              <a:xfrm>
                <a:off x="1646"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Oval 2081"/>
              <p:cNvSpPr>
                <a:spLocks noChangeArrowheads="1"/>
              </p:cNvSpPr>
              <p:nvPr/>
            </p:nvSpPr>
            <p:spPr bwMode="auto">
              <a:xfrm>
                <a:off x="1607" y="208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Oval 2082"/>
              <p:cNvSpPr>
                <a:spLocks noChangeArrowheads="1"/>
              </p:cNvSpPr>
              <p:nvPr/>
            </p:nvSpPr>
            <p:spPr bwMode="auto">
              <a:xfrm>
                <a:off x="1569" y="208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Oval 2083"/>
              <p:cNvSpPr>
                <a:spLocks noChangeArrowheads="1"/>
              </p:cNvSpPr>
              <p:nvPr/>
            </p:nvSpPr>
            <p:spPr bwMode="auto">
              <a:xfrm>
                <a:off x="4306"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Oval 2084"/>
              <p:cNvSpPr>
                <a:spLocks noChangeArrowheads="1"/>
              </p:cNvSpPr>
              <p:nvPr/>
            </p:nvSpPr>
            <p:spPr bwMode="auto">
              <a:xfrm>
                <a:off x="4267"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Oval 2085"/>
              <p:cNvSpPr>
                <a:spLocks noChangeArrowheads="1"/>
              </p:cNvSpPr>
              <p:nvPr/>
            </p:nvSpPr>
            <p:spPr bwMode="auto">
              <a:xfrm>
                <a:off x="4190"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Oval 2086"/>
              <p:cNvSpPr>
                <a:spLocks noChangeArrowheads="1"/>
              </p:cNvSpPr>
              <p:nvPr/>
            </p:nvSpPr>
            <p:spPr bwMode="auto">
              <a:xfrm>
                <a:off x="3997"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Oval 2087"/>
              <p:cNvSpPr>
                <a:spLocks noChangeArrowheads="1"/>
              </p:cNvSpPr>
              <p:nvPr/>
            </p:nvSpPr>
            <p:spPr bwMode="auto">
              <a:xfrm>
                <a:off x="3959"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Oval 2088"/>
              <p:cNvSpPr>
                <a:spLocks noChangeArrowheads="1"/>
              </p:cNvSpPr>
              <p:nvPr/>
            </p:nvSpPr>
            <p:spPr bwMode="auto">
              <a:xfrm>
                <a:off x="3727"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Oval 2089"/>
              <p:cNvSpPr>
                <a:spLocks noChangeArrowheads="1"/>
              </p:cNvSpPr>
              <p:nvPr/>
            </p:nvSpPr>
            <p:spPr bwMode="auto">
              <a:xfrm>
                <a:off x="3342"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Oval 2090"/>
              <p:cNvSpPr>
                <a:spLocks noChangeArrowheads="1"/>
              </p:cNvSpPr>
              <p:nvPr/>
            </p:nvSpPr>
            <p:spPr bwMode="auto">
              <a:xfrm>
                <a:off x="3303"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2091"/>
              <p:cNvSpPr>
                <a:spLocks/>
              </p:cNvSpPr>
              <p:nvPr/>
            </p:nvSpPr>
            <p:spPr bwMode="auto">
              <a:xfrm>
                <a:off x="3265" y="2126"/>
                <a:ext cx="27" cy="27"/>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Oval 2092"/>
              <p:cNvSpPr>
                <a:spLocks noChangeArrowheads="1"/>
              </p:cNvSpPr>
              <p:nvPr/>
            </p:nvSpPr>
            <p:spPr bwMode="auto">
              <a:xfrm>
                <a:off x="3226"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Oval 2093"/>
              <p:cNvSpPr>
                <a:spLocks noChangeArrowheads="1"/>
              </p:cNvSpPr>
              <p:nvPr/>
            </p:nvSpPr>
            <p:spPr bwMode="auto">
              <a:xfrm>
                <a:off x="3188"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Oval 2094"/>
              <p:cNvSpPr>
                <a:spLocks noChangeArrowheads="1"/>
              </p:cNvSpPr>
              <p:nvPr/>
            </p:nvSpPr>
            <p:spPr bwMode="auto">
              <a:xfrm>
                <a:off x="3149"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Oval 2095"/>
              <p:cNvSpPr>
                <a:spLocks noChangeArrowheads="1"/>
              </p:cNvSpPr>
              <p:nvPr/>
            </p:nvSpPr>
            <p:spPr bwMode="auto">
              <a:xfrm>
                <a:off x="3111"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Oval 2096"/>
              <p:cNvSpPr>
                <a:spLocks noChangeArrowheads="1"/>
              </p:cNvSpPr>
              <p:nvPr/>
            </p:nvSpPr>
            <p:spPr bwMode="auto">
              <a:xfrm>
                <a:off x="3072"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Oval 2097"/>
              <p:cNvSpPr>
                <a:spLocks noChangeArrowheads="1"/>
              </p:cNvSpPr>
              <p:nvPr/>
            </p:nvSpPr>
            <p:spPr bwMode="auto">
              <a:xfrm>
                <a:off x="3033"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Oval 2098"/>
              <p:cNvSpPr>
                <a:spLocks noChangeArrowheads="1"/>
              </p:cNvSpPr>
              <p:nvPr/>
            </p:nvSpPr>
            <p:spPr bwMode="auto">
              <a:xfrm>
                <a:off x="2995"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Oval 2099"/>
              <p:cNvSpPr>
                <a:spLocks noChangeArrowheads="1"/>
              </p:cNvSpPr>
              <p:nvPr/>
            </p:nvSpPr>
            <p:spPr bwMode="auto">
              <a:xfrm>
                <a:off x="2956"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Oval 2100"/>
              <p:cNvSpPr>
                <a:spLocks noChangeArrowheads="1"/>
              </p:cNvSpPr>
              <p:nvPr/>
            </p:nvSpPr>
            <p:spPr bwMode="auto">
              <a:xfrm>
                <a:off x="2918"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Oval 2101"/>
              <p:cNvSpPr>
                <a:spLocks noChangeArrowheads="1"/>
              </p:cNvSpPr>
              <p:nvPr/>
            </p:nvSpPr>
            <p:spPr bwMode="auto">
              <a:xfrm>
                <a:off x="2879"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Oval 2102"/>
              <p:cNvSpPr>
                <a:spLocks noChangeArrowheads="1"/>
              </p:cNvSpPr>
              <p:nvPr/>
            </p:nvSpPr>
            <p:spPr bwMode="auto">
              <a:xfrm>
                <a:off x="2841"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Oval 2103"/>
              <p:cNvSpPr>
                <a:spLocks noChangeArrowheads="1"/>
              </p:cNvSpPr>
              <p:nvPr/>
            </p:nvSpPr>
            <p:spPr bwMode="auto">
              <a:xfrm>
                <a:off x="2802"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Oval 2104"/>
              <p:cNvSpPr>
                <a:spLocks noChangeArrowheads="1"/>
              </p:cNvSpPr>
              <p:nvPr/>
            </p:nvSpPr>
            <p:spPr bwMode="auto">
              <a:xfrm>
                <a:off x="2764"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Oval 2105"/>
              <p:cNvSpPr>
                <a:spLocks noChangeArrowheads="1"/>
              </p:cNvSpPr>
              <p:nvPr/>
            </p:nvSpPr>
            <p:spPr bwMode="auto">
              <a:xfrm>
                <a:off x="2725"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Oval 2106"/>
              <p:cNvSpPr>
                <a:spLocks noChangeArrowheads="1"/>
              </p:cNvSpPr>
              <p:nvPr/>
            </p:nvSpPr>
            <p:spPr bwMode="auto">
              <a:xfrm>
                <a:off x="2687"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Oval 2107"/>
              <p:cNvSpPr>
                <a:spLocks noChangeArrowheads="1"/>
              </p:cNvSpPr>
              <p:nvPr/>
            </p:nvSpPr>
            <p:spPr bwMode="auto">
              <a:xfrm>
                <a:off x="2648"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Oval 2108"/>
              <p:cNvSpPr>
                <a:spLocks noChangeArrowheads="1"/>
              </p:cNvSpPr>
              <p:nvPr/>
            </p:nvSpPr>
            <p:spPr bwMode="auto">
              <a:xfrm>
                <a:off x="2609"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Oval 2109"/>
              <p:cNvSpPr>
                <a:spLocks noChangeArrowheads="1"/>
              </p:cNvSpPr>
              <p:nvPr/>
            </p:nvSpPr>
            <p:spPr bwMode="auto">
              <a:xfrm>
                <a:off x="2571"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Oval 2110"/>
              <p:cNvSpPr>
                <a:spLocks noChangeArrowheads="1"/>
              </p:cNvSpPr>
              <p:nvPr/>
            </p:nvSpPr>
            <p:spPr bwMode="auto">
              <a:xfrm>
                <a:off x="2532"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Oval 2111"/>
              <p:cNvSpPr>
                <a:spLocks noChangeArrowheads="1"/>
              </p:cNvSpPr>
              <p:nvPr/>
            </p:nvSpPr>
            <p:spPr bwMode="auto">
              <a:xfrm>
                <a:off x="1915"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7" name="Oval 2112"/>
              <p:cNvSpPr>
                <a:spLocks noChangeArrowheads="1"/>
              </p:cNvSpPr>
              <p:nvPr/>
            </p:nvSpPr>
            <p:spPr bwMode="auto">
              <a:xfrm>
                <a:off x="1877"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Oval 2113"/>
              <p:cNvSpPr>
                <a:spLocks noChangeArrowheads="1"/>
              </p:cNvSpPr>
              <p:nvPr/>
            </p:nvSpPr>
            <p:spPr bwMode="auto">
              <a:xfrm>
                <a:off x="1838"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9" name="Freeform 2114"/>
              <p:cNvSpPr>
                <a:spLocks/>
              </p:cNvSpPr>
              <p:nvPr/>
            </p:nvSpPr>
            <p:spPr bwMode="auto">
              <a:xfrm>
                <a:off x="1800" y="2126"/>
                <a:ext cx="28" cy="27"/>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Oval 2115"/>
              <p:cNvSpPr>
                <a:spLocks noChangeArrowheads="1"/>
              </p:cNvSpPr>
              <p:nvPr/>
            </p:nvSpPr>
            <p:spPr bwMode="auto">
              <a:xfrm>
                <a:off x="1761"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1" name="Oval 2116"/>
              <p:cNvSpPr>
                <a:spLocks noChangeArrowheads="1"/>
              </p:cNvSpPr>
              <p:nvPr/>
            </p:nvSpPr>
            <p:spPr bwMode="auto">
              <a:xfrm>
                <a:off x="1723"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Oval 2117"/>
              <p:cNvSpPr>
                <a:spLocks noChangeArrowheads="1"/>
              </p:cNvSpPr>
              <p:nvPr/>
            </p:nvSpPr>
            <p:spPr bwMode="auto">
              <a:xfrm>
                <a:off x="1684" y="212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3" name="Oval 2118"/>
              <p:cNvSpPr>
                <a:spLocks noChangeArrowheads="1"/>
              </p:cNvSpPr>
              <p:nvPr/>
            </p:nvSpPr>
            <p:spPr bwMode="auto">
              <a:xfrm>
                <a:off x="1646" y="212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Oval 2119"/>
              <p:cNvSpPr>
                <a:spLocks noChangeArrowheads="1"/>
              </p:cNvSpPr>
              <p:nvPr/>
            </p:nvSpPr>
            <p:spPr bwMode="auto">
              <a:xfrm>
                <a:off x="4190"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Oval 2120"/>
              <p:cNvSpPr>
                <a:spLocks noChangeArrowheads="1"/>
              </p:cNvSpPr>
              <p:nvPr/>
            </p:nvSpPr>
            <p:spPr bwMode="auto">
              <a:xfrm>
                <a:off x="4151"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Oval 2121"/>
              <p:cNvSpPr>
                <a:spLocks noChangeArrowheads="1"/>
              </p:cNvSpPr>
              <p:nvPr/>
            </p:nvSpPr>
            <p:spPr bwMode="auto">
              <a:xfrm>
                <a:off x="4036" y="216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Oval 2122"/>
              <p:cNvSpPr>
                <a:spLocks noChangeArrowheads="1"/>
              </p:cNvSpPr>
              <p:nvPr/>
            </p:nvSpPr>
            <p:spPr bwMode="auto">
              <a:xfrm>
                <a:off x="3997"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Oval 2123"/>
              <p:cNvSpPr>
                <a:spLocks noChangeArrowheads="1"/>
              </p:cNvSpPr>
              <p:nvPr/>
            </p:nvSpPr>
            <p:spPr bwMode="auto">
              <a:xfrm>
                <a:off x="3959" y="216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Oval 2124"/>
              <p:cNvSpPr>
                <a:spLocks noChangeArrowheads="1"/>
              </p:cNvSpPr>
              <p:nvPr/>
            </p:nvSpPr>
            <p:spPr bwMode="auto">
              <a:xfrm>
                <a:off x="3920"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2125"/>
              <p:cNvSpPr>
                <a:spLocks/>
              </p:cNvSpPr>
              <p:nvPr/>
            </p:nvSpPr>
            <p:spPr bwMode="auto">
              <a:xfrm>
                <a:off x="3265" y="2164"/>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Oval 2126"/>
              <p:cNvSpPr>
                <a:spLocks noChangeArrowheads="1"/>
              </p:cNvSpPr>
              <p:nvPr/>
            </p:nvSpPr>
            <p:spPr bwMode="auto">
              <a:xfrm>
                <a:off x="3226"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Oval 2127"/>
              <p:cNvSpPr>
                <a:spLocks noChangeArrowheads="1"/>
              </p:cNvSpPr>
              <p:nvPr/>
            </p:nvSpPr>
            <p:spPr bwMode="auto">
              <a:xfrm>
                <a:off x="3188" y="216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3" name="Oval 2128"/>
              <p:cNvSpPr>
                <a:spLocks noChangeArrowheads="1"/>
              </p:cNvSpPr>
              <p:nvPr/>
            </p:nvSpPr>
            <p:spPr bwMode="auto">
              <a:xfrm>
                <a:off x="3149"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Oval 2129"/>
              <p:cNvSpPr>
                <a:spLocks noChangeArrowheads="1"/>
              </p:cNvSpPr>
              <p:nvPr/>
            </p:nvSpPr>
            <p:spPr bwMode="auto">
              <a:xfrm>
                <a:off x="3111" y="216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5" name="Oval 2130"/>
              <p:cNvSpPr>
                <a:spLocks noChangeArrowheads="1"/>
              </p:cNvSpPr>
              <p:nvPr/>
            </p:nvSpPr>
            <p:spPr bwMode="auto">
              <a:xfrm>
                <a:off x="3072"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Oval 2131"/>
              <p:cNvSpPr>
                <a:spLocks noChangeArrowheads="1"/>
              </p:cNvSpPr>
              <p:nvPr/>
            </p:nvSpPr>
            <p:spPr bwMode="auto">
              <a:xfrm>
                <a:off x="3033"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7" name="Oval 2132"/>
              <p:cNvSpPr>
                <a:spLocks noChangeArrowheads="1"/>
              </p:cNvSpPr>
              <p:nvPr/>
            </p:nvSpPr>
            <p:spPr bwMode="auto">
              <a:xfrm>
                <a:off x="2995"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Oval 2133"/>
              <p:cNvSpPr>
                <a:spLocks noChangeArrowheads="1"/>
              </p:cNvSpPr>
              <p:nvPr/>
            </p:nvSpPr>
            <p:spPr bwMode="auto">
              <a:xfrm>
                <a:off x="2956"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Oval 2134"/>
              <p:cNvSpPr>
                <a:spLocks noChangeArrowheads="1"/>
              </p:cNvSpPr>
              <p:nvPr/>
            </p:nvSpPr>
            <p:spPr bwMode="auto">
              <a:xfrm>
                <a:off x="2918" y="216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Oval 2135"/>
              <p:cNvSpPr>
                <a:spLocks noChangeArrowheads="1"/>
              </p:cNvSpPr>
              <p:nvPr/>
            </p:nvSpPr>
            <p:spPr bwMode="auto">
              <a:xfrm>
                <a:off x="2879"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Oval 2136"/>
              <p:cNvSpPr>
                <a:spLocks noChangeArrowheads="1"/>
              </p:cNvSpPr>
              <p:nvPr/>
            </p:nvSpPr>
            <p:spPr bwMode="auto">
              <a:xfrm>
                <a:off x="2841" y="216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Oval 2137"/>
              <p:cNvSpPr>
                <a:spLocks noChangeArrowheads="1"/>
              </p:cNvSpPr>
              <p:nvPr/>
            </p:nvSpPr>
            <p:spPr bwMode="auto">
              <a:xfrm>
                <a:off x="2802"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Oval 2138"/>
              <p:cNvSpPr>
                <a:spLocks noChangeArrowheads="1"/>
              </p:cNvSpPr>
              <p:nvPr/>
            </p:nvSpPr>
            <p:spPr bwMode="auto">
              <a:xfrm>
                <a:off x="2609"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Oval 2139"/>
              <p:cNvSpPr>
                <a:spLocks noChangeArrowheads="1"/>
              </p:cNvSpPr>
              <p:nvPr/>
            </p:nvSpPr>
            <p:spPr bwMode="auto">
              <a:xfrm>
                <a:off x="2571"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Oval 2140"/>
              <p:cNvSpPr>
                <a:spLocks noChangeArrowheads="1"/>
              </p:cNvSpPr>
              <p:nvPr/>
            </p:nvSpPr>
            <p:spPr bwMode="auto">
              <a:xfrm>
                <a:off x="2031"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Oval 2141"/>
              <p:cNvSpPr>
                <a:spLocks noChangeArrowheads="1"/>
              </p:cNvSpPr>
              <p:nvPr/>
            </p:nvSpPr>
            <p:spPr bwMode="auto">
              <a:xfrm>
                <a:off x="1993" y="216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7" name="Oval 2142"/>
              <p:cNvSpPr>
                <a:spLocks noChangeArrowheads="1"/>
              </p:cNvSpPr>
              <p:nvPr/>
            </p:nvSpPr>
            <p:spPr bwMode="auto">
              <a:xfrm>
                <a:off x="1954"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Oval 2143"/>
              <p:cNvSpPr>
                <a:spLocks noChangeArrowheads="1"/>
              </p:cNvSpPr>
              <p:nvPr/>
            </p:nvSpPr>
            <p:spPr bwMode="auto">
              <a:xfrm>
                <a:off x="1915"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Oval 2144"/>
              <p:cNvSpPr>
                <a:spLocks noChangeArrowheads="1"/>
              </p:cNvSpPr>
              <p:nvPr/>
            </p:nvSpPr>
            <p:spPr bwMode="auto">
              <a:xfrm>
                <a:off x="1877"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Oval 2145"/>
              <p:cNvSpPr>
                <a:spLocks noChangeArrowheads="1"/>
              </p:cNvSpPr>
              <p:nvPr/>
            </p:nvSpPr>
            <p:spPr bwMode="auto">
              <a:xfrm>
                <a:off x="1838"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2146"/>
              <p:cNvSpPr>
                <a:spLocks/>
              </p:cNvSpPr>
              <p:nvPr/>
            </p:nvSpPr>
            <p:spPr bwMode="auto">
              <a:xfrm>
                <a:off x="1800" y="2164"/>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Oval 2147"/>
              <p:cNvSpPr>
                <a:spLocks noChangeArrowheads="1"/>
              </p:cNvSpPr>
              <p:nvPr/>
            </p:nvSpPr>
            <p:spPr bwMode="auto">
              <a:xfrm>
                <a:off x="1761"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Oval 2148"/>
              <p:cNvSpPr>
                <a:spLocks noChangeArrowheads="1"/>
              </p:cNvSpPr>
              <p:nvPr/>
            </p:nvSpPr>
            <p:spPr bwMode="auto">
              <a:xfrm>
                <a:off x="1723" y="216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Oval 2149"/>
              <p:cNvSpPr>
                <a:spLocks noChangeArrowheads="1"/>
              </p:cNvSpPr>
              <p:nvPr/>
            </p:nvSpPr>
            <p:spPr bwMode="auto">
              <a:xfrm>
                <a:off x="1684" y="216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Oval 2150"/>
              <p:cNvSpPr>
                <a:spLocks noChangeArrowheads="1"/>
              </p:cNvSpPr>
              <p:nvPr/>
            </p:nvSpPr>
            <p:spPr bwMode="auto">
              <a:xfrm>
                <a:off x="4344"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Oval 2151"/>
              <p:cNvSpPr>
                <a:spLocks noChangeArrowheads="1"/>
              </p:cNvSpPr>
              <p:nvPr/>
            </p:nvSpPr>
            <p:spPr bwMode="auto">
              <a:xfrm>
                <a:off x="4306"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7" name="Oval 2152"/>
              <p:cNvSpPr>
                <a:spLocks noChangeArrowheads="1"/>
              </p:cNvSpPr>
              <p:nvPr/>
            </p:nvSpPr>
            <p:spPr bwMode="auto">
              <a:xfrm>
                <a:off x="4267"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2153"/>
              <p:cNvSpPr>
                <a:spLocks/>
              </p:cNvSpPr>
              <p:nvPr/>
            </p:nvSpPr>
            <p:spPr bwMode="auto">
              <a:xfrm>
                <a:off x="4229" y="2203"/>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9" name="Oval 2154"/>
              <p:cNvSpPr>
                <a:spLocks noChangeArrowheads="1"/>
              </p:cNvSpPr>
              <p:nvPr/>
            </p:nvSpPr>
            <p:spPr bwMode="auto">
              <a:xfrm>
                <a:off x="4190"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Oval 2155"/>
              <p:cNvSpPr>
                <a:spLocks noChangeArrowheads="1"/>
              </p:cNvSpPr>
              <p:nvPr/>
            </p:nvSpPr>
            <p:spPr bwMode="auto">
              <a:xfrm>
                <a:off x="4151"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1" name="Oval 2156"/>
              <p:cNvSpPr>
                <a:spLocks noChangeArrowheads="1"/>
              </p:cNvSpPr>
              <p:nvPr/>
            </p:nvSpPr>
            <p:spPr bwMode="auto">
              <a:xfrm>
                <a:off x="4113"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Oval 2157"/>
              <p:cNvSpPr>
                <a:spLocks noChangeArrowheads="1"/>
              </p:cNvSpPr>
              <p:nvPr/>
            </p:nvSpPr>
            <p:spPr bwMode="auto">
              <a:xfrm>
                <a:off x="4036"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3" name="Oval 2158"/>
              <p:cNvSpPr>
                <a:spLocks noChangeArrowheads="1"/>
              </p:cNvSpPr>
              <p:nvPr/>
            </p:nvSpPr>
            <p:spPr bwMode="auto">
              <a:xfrm>
                <a:off x="3997"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Oval 2159"/>
              <p:cNvSpPr>
                <a:spLocks noChangeArrowheads="1"/>
              </p:cNvSpPr>
              <p:nvPr/>
            </p:nvSpPr>
            <p:spPr bwMode="auto">
              <a:xfrm>
                <a:off x="3959"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5" name="Oval 2160"/>
              <p:cNvSpPr>
                <a:spLocks noChangeArrowheads="1"/>
              </p:cNvSpPr>
              <p:nvPr/>
            </p:nvSpPr>
            <p:spPr bwMode="auto">
              <a:xfrm>
                <a:off x="3226"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Oval 2161"/>
              <p:cNvSpPr>
                <a:spLocks noChangeArrowheads="1"/>
              </p:cNvSpPr>
              <p:nvPr/>
            </p:nvSpPr>
            <p:spPr bwMode="auto">
              <a:xfrm>
                <a:off x="3188"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7" name="Oval 2162"/>
              <p:cNvSpPr>
                <a:spLocks noChangeArrowheads="1"/>
              </p:cNvSpPr>
              <p:nvPr/>
            </p:nvSpPr>
            <p:spPr bwMode="auto">
              <a:xfrm>
                <a:off x="3149"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Oval 2163"/>
              <p:cNvSpPr>
                <a:spLocks noChangeArrowheads="1"/>
              </p:cNvSpPr>
              <p:nvPr/>
            </p:nvSpPr>
            <p:spPr bwMode="auto">
              <a:xfrm>
                <a:off x="3111"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9" name="Oval 2164"/>
              <p:cNvSpPr>
                <a:spLocks noChangeArrowheads="1"/>
              </p:cNvSpPr>
              <p:nvPr/>
            </p:nvSpPr>
            <p:spPr bwMode="auto">
              <a:xfrm>
                <a:off x="3072"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Oval 2165"/>
              <p:cNvSpPr>
                <a:spLocks noChangeArrowheads="1"/>
              </p:cNvSpPr>
              <p:nvPr/>
            </p:nvSpPr>
            <p:spPr bwMode="auto">
              <a:xfrm>
                <a:off x="3033"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1" name="Oval 2166"/>
              <p:cNvSpPr>
                <a:spLocks noChangeArrowheads="1"/>
              </p:cNvSpPr>
              <p:nvPr/>
            </p:nvSpPr>
            <p:spPr bwMode="auto">
              <a:xfrm>
                <a:off x="2995"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Oval 2167"/>
              <p:cNvSpPr>
                <a:spLocks noChangeArrowheads="1"/>
              </p:cNvSpPr>
              <p:nvPr/>
            </p:nvSpPr>
            <p:spPr bwMode="auto">
              <a:xfrm>
                <a:off x="2956"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Oval 2168"/>
              <p:cNvSpPr>
                <a:spLocks noChangeArrowheads="1"/>
              </p:cNvSpPr>
              <p:nvPr/>
            </p:nvSpPr>
            <p:spPr bwMode="auto">
              <a:xfrm>
                <a:off x="2918"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Oval 2169"/>
              <p:cNvSpPr>
                <a:spLocks noChangeArrowheads="1"/>
              </p:cNvSpPr>
              <p:nvPr/>
            </p:nvSpPr>
            <p:spPr bwMode="auto">
              <a:xfrm>
                <a:off x="2879"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Oval 2170"/>
              <p:cNvSpPr>
                <a:spLocks noChangeArrowheads="1"/>
              </p:cNvSpPr>
              <p:nvPr/>
            </p:nvSpPr>
            <p:spPr bwMode="auto">
              <a:xfrm>
                <a:off x="2841"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Oval 2171"/>
              <p:cNvSpPr>
                <a:spLocks noChangeArrowheads="1"/>
              </p:cNvSpPr>
              <p:nvPr/>
            </p:nvSpPr>
            <p:spPr bwMode="auto">
              <a:xfrm>
                <a:off x="2802"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Oval 2172"/>
              <p:cNvSpPr>
                <a:spLocks noChangeArrowheads="1"/>
              </p:cNvSpPr>
              <p:nvPr/>
            </p:nvSpPr>
            <p:spPr bwMode="auto">
              <a:xfrm>
                <a:off x="2031"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Oval 2173"/>
              <p:cNvSpPr>
                <a:spLocks noChangeArrowheads="1"/>
              </p:cNvSpPr>
              <p:nvPr/>
            </p:nvSpPr>
            <p:spPr bwMode="auto">
              <a:xfrm>
                <a:off x="1993"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Oval 2174"/>
              <p:cNvSpPr>
                <a:spLocks noChangeArrowheads="1"/>
              </p:cNvSpPr>
              <p:nvPr/>
            </p:nvSpPr>
            <p:spPr bwMode="auto">
              <a:xfrm>
                <a:off x="1954"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Oval 2175"/>
              <p:cNvSpPr>
                <a:spLocks noChangeArrowheads="1"/>
              </p:cNvSpPr>
              <p:nvPr/>
            </p:nvSpPr>
            <p:spPr bwMode="auto">
              <a:xfrm>
                <a:off x="1915"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Oval 2176"/>
              <p:cNvSpPr>
                <a:spLocks noChangeArrowheads="1"/>
              </p:cNvSpPr>
              <p:nvPr/>
            </p:nvSpPr>
            <p:spPr bwMode="auto">
              <a:xfrm>
                <a:off x="1877"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Oval 2177"/>
              <p:cNvSpPr>
                <a:spLocks noChangeArrowheads="1"/>
              </p:cNvSpPr>
              <p:nvPr/>
            </p:nvSpPr>
            <p:spPr bwMode="auto">
              <a:xfrm>
                <a:off x="1838"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2178"/>
              <p:cNvSpPr>
                <a:spLocks/>
              </p:cNvSpPr>
              <p:nvPr/>
            </p:nvSpPr>
            <p:spPr bwMode="auto">
              <a:xfrm>
                <a:off x="1800" y="2203"/>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Oval 2179"/>
              <p:cNvSpPr>
                <a:spLocks noChangeArrowheads="1"/>
              </p:cNvSpPr>
              <p:nvPr/>
            </p:nvSpPr>
            <p:spPr bwMode="auto">
              <a:xfrm>
                <a:off x="1761"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Oval 2180"/>
              <p:cNvSpPr>
                <a:spLocks noChangeArrowheads="1"/>
              </p:cNvSpPr>
              <p:nvPr/>
            </p:nvSpPr>
            <p:spPr bwMode="auto">
              <a:xfrm>
                <a:off x="1723"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Oval 2181"/>
              <p:cNvSpPr>
                <a:spLocks noChangeArrowheads="1"/>
              </p:cNvSpPr>
              <p:nvPr/>
            </p:nvSpPr>
            <p:spPr bwMode="auto">
              <a:xfrm>
                <a:off x="1684" y="220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Oval 2182"/>
              <p:cNvSpPr>
                <a:spLocks noChangeArrowheads="1"/>
              </p:cNvSpPr>
              <p:nvPr/>
            </p:nvSpPr>
            <p:spPr bwMode="auto">
              <a:xfrm>
                <a:off x="1646" y="220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Oval 2183"/>
              <p:cNvSpPr>
                <a:spLocks noChangeArrowheads="1"/>
              </p:cNvSpPr>
              <p:nvPr/>
            </p:nvSpPr>
            <p:spPr bwMode="auto">
              <a:xfrm>
                <a:off x="4498"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Oval 2184"/>
              <p:cNvSpPr>
                <a:spLocks noChangeArrowheads="1"/>
              </p:cNvSpPr>
              <p:nvPr/>
            </p:nvSpPr>
            <p:spPr bwMode="auto">
              <a:xfrm>
                <a:off x="4460"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Oval 2185"/>
              <p:cNvSpPr>
                <a:spLocks noChangeArrowheads="1"/>
              </p:cNvSpPr>
              <p:nvPr/>
            </p:nvSpPr>
            <p:spPr bwMode="auto">
              <a:xfrm>
                <a:off x="4421"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Oval 2186"/>
              <p:cNvSpPr>
                <a:spLocks noChangeArrowheads="1"/>
              </p:cNvSpPr>
              <p:nvPr/>
            </p:nvSpPr>
            <p:spPr bwMode="auto">
              <a:xfrm>
                <a:off x="4383"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Oval 2187"/>
              <p:cNvSpPr>
                <a:spLocks noChangeArrowheads="1"/>
              </p:cNvSpPr>
              <p:nvPr/>
            </p:nvSpPr>
            <p:spPr bwMode="auto">
              <a:xfrm>
                <a:off x="4344"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Oval 2188"/>
              <p:cNvSpPr>
                <a:spLocks noChangeArrowheads="1"/>
              </p:cNvSpPr>
              <p:nvPr/>
            </p:nvSpPr>
            <p:spPr bwMode="auto">
              <a:xfrm>
                <a:off x="4306"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Oval 2189"/>
              <p:cNvSpPr>
                <a:spLocks noChangeArrowheads="1"/>
              </p:cNvSpPr>
              <p:nvPr/>
            </p:nvSpPr>
            <p:spPr bwMode="auto">
              <a:xfrm>
                <a:off x="4267"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2190"/>
              <p:cNvSpPr>
                <a:spLocks/>
              </p:cNvSpPr>
              <p:nvPr/>
            </p:nvSpPr>
            <p:spPr bwMode="auto">
              <a:xfrm>
                <a:off x="4229" y="2241"/>
                <a:ext cx="27" cy="28"/>
              </a:xfrm>
              <a:custGeom>
                <a:avLst/>
                <a:gdLst>
                  <a:gd name="T0" fmla="*/ 80 w 159"/>
                  <a:gd name="T1" fmla="*/ 0 h 159"/>
                  <a:gd name="T2" fmla="*/ 159 w 159"/>
                  <a:gd name="T3" fmla="*/ 80 h 159"/>
                  <a:gd name="T4" fmla="*/ 79 w 159"/>
                  <a:gd name="T5" fmla="*/ 159 h 159"/>
                  <a:gd name="T6" fmla="*/ 0 w 159"/>
                  <a:gd name="T7" fmla="*/ 80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5"/>
                      <a:pt x="159" y="80"/>
                    </a:cubicBezTo>
                    <a:cubicBezTo>
                      <a:pt x="159" y="124"/>
                      <a:pt x="124" y="159"/>
                      <a:pt x="79" y="159"/>
                    </a:cubicBezTo>
                    <a:cubicBezTo>
                      <a:pt x="35" y="159"/>
                      <a:pt x="0" y="124"/>
                      <a:pt x="0" y="80"/>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Oval 2191"/>
              <p:cNvSpPr>
                <a:spLocks noChangeArrowheads="1"/>
              </p:cNvSpPr>
              <p:nvPr/>
            </p:nvSpPr>
            <p:spPr bwMode="auto">
              <a:xfrm>
                <a:off x="4190"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Oval 2192"/>
              <p:cNvSpPr>
                <a:spLocks noChangeArrowheads="1"/>
              </p:cNvSpPr>
              <p:nvPr/>
            </p:nvSpPr>
            <p:spPr bwMode="auto">
              <a:xfrm>
                <a:off x="4151"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Oval 2193"/>
              <p:cNvSpPr>
                <a:spLocks noChangeArrowheads="1"/>
              </p:cNvSpPr>
              <p:nvPr/>
            </p:nvSpPr>
            <p:spPr bwMode="auto">
              <a:xfrm>
                <a:off x="4113"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Oval 2194"/>
              <p:cNvSpPr>
                <a:spLocks noChangeArrowheads="1"/>
              </p:cNvSpPr>
              <p:nvPr/>
            </p:nvSpPr>
            <p:spPr bwMode="auto">
              <a:xfrm>
                <a:off x="4036"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Oval 2195"/>
              <p:cNvSpPr>
                <a:spLocks noChangeArrowheads="1"/>
              </p:cNvSpPr>
              <p:nvPr/>
            </p:nvSpPr>
            <p:spPr bwMode="auto">
              <a:xfrm>
                <a:off x="3997"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Oval 2196"/>
              <p:cNvSpPr>
                <a:spLocks noChangeArrowheads="1"/>
              </p:cNvSpPr>
              <p:nvPr/>
            </p:nvSpPr>
            <p:spPr bwMode="auto">
              <a:xfrm>
                <a:off x="3188"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Oval 2197"/>
              <p:cNvSpPr>
                <a:spLocks noChangeArrowheads="1"/>
              </p:cNvSpPr>
              <p:nvPr/>
            </p:nvSpPr>
            <p:spPr bwMode="auto">
              <a:xfrm>
                <a:off x="3149"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Oval 2198"/>
              <p:cNvSpPr>
                <a:spLocks noChangeArrowheads="1"/>
              </p:cNvSpPr>
              <p:nvPr/>
            </p:nvSpPr>
            <p:spPr bwMode="auto">
              <a:xfrm>
                <a:off x="3111"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Oval 2199"/>
              <p:cNvSpPr>
                <a:spLocks noChangeArrowheads="1"/>
              </p:cNvSpPr>
              <p:nvPr/>
            </p:nvSpPr>
            <p:spPr bwMode="auto">
              <a:xfrm>
                <a:off x="3072"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Oval 2200"/>
              <p:cNvSpPr>
                <a:spLocks noChangeArrowheads="1"/>
              </p:cNvSpPr>
              <p:nvPr/>
            </p:nvSpPr>
            <p:spPr bwMode="auto">
              <a:xfrm>
                <a:off x="3033"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Oval 2201"/>
              <p:cNvSpPr>
                <a:spLocks noChangeArrowheads="1"/>
              </p:cNvSpPr>
              <p:nvPr/>
            </p:nvSpPr>
            <p:spPr bwMode="auto">
              <a:xfrm>
                <a:off x="2995"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Oval 2202"/>
              <p:cNvSpPr>
                <a:spLocks noChangeArrowheads="1"/>
              </p:cNvSpPr>
              <p:nvPr/>
            </p:nvSpPr>
            <p:spPr bwMode="auto">
              <a:xfrm>
                <a:off x="2956"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Oval 2203"/>
              <p:cNvSpPr>
                <a:spLocks noChangeArrowheads="1"/>
              </p:cNvSpPr>
              <p:nvPr/>
            </p:nvSpPr>
            <p:spPr bwMode="auto">
              <a:xfrm>
                <a:off x="2918"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Oval 2204"/>
              <p:cNvSpPr>
                <a:spLocks noChangeArrowheads="1"/>
              </p:cNvSpPr>
              <p:nvPr/>
            </p:nvSpPr>
            <p:spPr bwMode="auto">
              <a:xfrm>
                <a:off x="2879"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Oval 2205"/>
              <p:cNvSpPr>
                <a:spLocks noChangeArrowheads="1"/>
              </p:cNvSpPr>
              <p:nvPr/>
            </p:nvSpPr>
            <p:spPr bwMode="auto">
              <a:xfrm>
                <a:off x="2841"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Oval 2206"/>
              <p:cNvSpPr>
                <a:spLocks noChangeArrowheads="1"/>
              </p:cNvSpPr>
              <p:nvPr/>
            </p:nvSpPr>
            <p:spPr bwMode="auto">
              <a:xfrm>
                <a:off x="2802"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Oval 2207"/>
              <p:cNvSpPr>
                <a:spLocks noChangeArrowheads="1"/>
              </p:cNvSpPr>
              <p:nvPr/>
            </p:nvSpPr>
            <p:spPr bwMode="auto">
              <a:xfrm>
                <a:off x="2108"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Oval 2208"/>
              <p:cNvSpPr>
                <a:spLocks noChangeArrowheads="1"/>
              </p:cNvSpPr>
              <p:nvPr/>
            </p:nvSpPr>
            <p:spPr bwMode="auto">
              <a:xfrm>
                <a:off x="2070"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Oval 2209"/>
              <p:cNvSpPr>
                <a:spLocks noChangeArrowheads="1"/>
              </p:cNvSpPr>
              <p:nvPr/>
            </p:nvSpPr>
            <p:spPr bwMode="auto">
              <a:xfrm>
                <a:off x="2031"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Oval 2210"/>
              <p:cNvSpPr>
                <a:spLocks noChangeArrowheads="1"/>
              </p:cNvSpPr>
              <p:nvPr/>
            </p:nvSpPr>
            <p:spPr bwMode="auto">
              <a:xfrm>
                <a:off x="1993"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Oval 2211"/>
              <p:cNvSpPr>
                <a:spLocks noChangeArrowheads="1"/>
              </p:cNvSpPr>
              <p:nvPr/>
            </p:nvSpPr>
            <p:spPr bwMode="auto">
              <a:xfrm>
                <a:off x="1954"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Oval 2212"/>
              <p:cNvSpPr>
                <a:spLocks noChangeArrowheads="1"/>
              </p:cNvSpPr>
              <p:nvPr/>
            </p:nvSpPr>
            <p:spPr bwMode="auto">
              <a:xfrm>
                <a:off x="1915"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Oval 2213"/>
              <p:cNvSpPr>
                <a:spLocks noChangeArrowheads="1"/>
              </p:cNvSpPr>
              <p:nvPr/>
            </p:nvSpPr>
            <p:spPr bwMode="auto">
              <a:xfrm>
                <a:off x="1877"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Oval 2214"/>
              <p:cNvSpPr>
                <a:spLocks noChangeArrowheads="1"/>
              </p:cNvSpPr>
              <p:nvPr/>
            </p:nvSpPr>
            <p:spPr bwMode="auto">
              <a:xfrm>
                <a:off x="1838"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2215"/>
              <p:cNvSpPr>
                <a:spLocks/>
              </p:cNvSpPr>
              <p:nvPr/>
            </p:nvSpPr>
            <p:spPr bwMode="auto">
              <a:xfrm>
                <a:off x="1800" y="2241"/>
                <a:ext cx="28" cy="28"/>
              </a:xfrm>
              <a:custGeom>
                <a:avLst/>
                <a:gdLst>
                  <a:gd name="T0" fmla="*/ 80 w 160"/>
                  <a:gd name="T1" fmla="*/ 0 h 159"/>
                  <a:gd name="T2" fmla="*/ 159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Oval 2216"/>
              <p:cNvSpPr>
                <a:spLocks noChangeArrowheads="1"/>
              </p:cNvSpPr>
              <p:nvPr/>
            </p:nvSpPr>
            <p:spPr bwMode="auto">
              <a:xfrm>
                <a:off x="1761"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Oval 2217"/>
              <p:cNvSpPr>
                <a:spLocks noChangeArrowheads="1"/>
              </p:cNvSpPr>
              <p:nvPr/>
            </p:nvSpPr>
            <p:spPr bwMode="auto">
              <a:xfrm>
                <a:off x="1723"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Oval 2218"/>
              <p:cNvSpPr>
                <a:spLocks noChangeArrowheads="1"/>
              </p:cNvSpPr>
              <p:nvPr/>
            </p:nvSpPr>
            <p:spPr bwMode="auto">
              <a:xfrm>
                <a:off x="1684" y="2241"/>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Oval 2219"/>
              <p:cNvSpPr>
                <a:spLocks noChangeArrowheads="1"/>
              </p:cNvSpPr>
              <p:nvPr/>
            </p:nvSpPr>
            <p:spPr bwMode="auto">
              <a:xfrm>
                <a:off x="1646" y="2241"/>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Oval 2220"/>
              <p:cNvSpPr>
                <a:spLocks noChangeArrowheads="1"/>
              </p:cNvSpPr>
              <p:nvPr/>
            </p:nvSpPr>
            <p:spPr bwMode="auto">
              <a:xfrm>
                <a:off x="4653"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2422"/>
            <p:cNvGrpSpPr>
              <a:grpSpLocks/>
            </p:cNvGrpSpPr>
            <p:nvPr/>
          </p:nvGrpSpPr>
          <p:grpSpPr bwMode="auto">
            <a:xfrm>
              <a:off x="1646" y="2280"/>
              <a:ext cx="3227" cy="259"/>
              <a:chOff x="1646" y="2280"/>
              <a:chExt cx="3227" cy="259"/>
            </a:xfrm>
            <a:grpFill/>
          </p:grpSpPr>
          <p:sp>
            <p:nvSpPr>
              <p:cNvPr id="216" name="Oval 2222"/>
              <p:cNvSpPr>
                <a:spLocks noChangeArrowheads="1"/>
              </p:cNvSpPr>
              <p:nvPr/>
            </p:nvSpPr>
            <p:spPr bwMode="auto">
              <a:xfrm>
                <a:off x="4614"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2223"/>
              <p:cNvSpPr>
                <a:spLocks noChangeArrowheads="1"/>
              </p:cNvSpPr>
              <p:nvPr/>
            </p:nvSpPr>
            <p:spPr bwMode="auto">
              <a:xfrm>
                <a:off x="4576"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Oval 2224"/>
              <p:cNvSpPr>
                <a:spLocks noChangeArrowheads="1"/>
              </p:cNvSpPr>
              <p:nvPr/>
            </p:nvSpPr>
            <p:spPr bwMode="auto">
              <a:xfrm>
                <a:off x="4537"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2225"/>
              <p:cNvSpPr>
                <a:spLocks noChangeArrowheads="1"/>
              </p:cNvSpPr>
              <p:nvPr/>
            </p:nvSpPr>
            <p:spPr bwMode="auto">
              <a:xfrm>
                <a:off x="4498"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2226"/>
              <p:cNvSpPr>
                <a:spLocks noChangeArrowheads="1"/>
              </p:cNvSpPr>
              <p:nvPr/>
            </p:nvSpPr>
            <p:spPr bwMode="auto">
              <a:xfrm>
                <a:off x="4460"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2227"/>
              <p:cNvSpPr>
                <a:spLocks noChangeArrowheads="1"/>
              </p:cNvSpPr>
              <p:nvPr/>
            </p:nvSpPr>
            <p:spPr bwMode="auto">
              <a:xfrm>
                <a:off x="4421"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2228"/>
              <p:cNvSpPr>
                <a:spLocks noChangeArrowheads="1"/>
              </p:cNvSpPr>
              <p:nvPr/>
            </p:nvSpPr>
            <p:spPr bwMode="auto">
              <a:xfrm>
                <a:off x="4306"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2229"/>
              <p:cNvSpPr>
                <a:spLocks noChangeArrowheads="1"/>
              </p:cNvSpPr>
              <p:nvPr/>
            </p:nvSpPr>
            <p:spPr bwMode="auto">
              <a:xfrm>
                <a:off x="4267"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2230"/>
              <p:cNvSpPr>
                <a:spLocks/>
              </p:cNvSpPr>
              <p:nvPr/>
            </p:nvSpPr>
            <p:spPr bwMode="auto">
              <a:xfrm>
                <a:off x="4229" y="2280"/>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2231"/>
              <p:cNvSpPr>
                <a:spLocks noChangeArrowheads="1"/>
              </p:cNvSpPr>
              <p:nvPr/>
            </p:nvSpPr>
            <p:spPr bwMode="auto">
              <a:xfrm>
                <a:off x="4074"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2232"/>
              <p:cNvSpPr>
                <a:spLocks noChangeArrowheads="1"/>
              </p:cNvSpPr>
              <p:nvPr/>
            </p:nvSpPr>
            <p:spPr bwMode="auto">
              <a:xfrm>
                <a:off x="4036"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2233"/>
              <p:cNvSpPr>
                <a:spLocks noChangeArrowheads="1"/>
              </p:cNvSpPr>
              <p:nvPr/>
            </p:nvSpPr>
            <p:spPr bwMode="auto">
              <a:xfrm>
                <a:off x="3188"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Oval 2234"/>
              <p:cNvSpPr>
                <a:spLocks noChangeArrowheads="1"/>
              </p:cNvSpPr>
              <p:nvPr/>
            </p:nvSpPr>
            <p:spPr bwMode="auto">
              <a:xfrm>
                <a:off x="3149"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Oval 2235"/>
              <p:cNvSpPr>
                <a:spLocks noChangeArrowheads="1"/>
              </p:cNvSpPr>
              <p:nvPr/>
            </p:nvSpPr>
            <p:spPr bwMode="auto">
              <a:xfrm>
                <a:off x="3111"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Oval 2236"/>
              <p:cNvSpPr>
                <a:spLocks noChangeArrowheads="1"/>
              </p:cNvSpPr>
              <p:nvPr/>
            </p:nvSpPr>
            <p:spPr bwMode="auto">
              <a:xfrm>
                <a:off x="3072"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Oval 2237"/>
              <p:cNvSpPr>
                <a:spLocks noChangeArrowheads="1"/>
              </p:cNvSpPr>
              <p:nvPr/>
            </p:nvSpPr>
            <p:spPr bwMode="auto">
              <a:xfrm>
                <a:off x="3033"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Oval 2238"/>
              <p:cNvSpPr>
                <a:spLocks noChangeArrowheads="1"/>
              </p:cNvSpPr>
              <p:nvPr/>
            </p:nvSpPr>
            <p:spPr bwMode="auto">
              <a:xfrm>
                <a:off x="2995"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Oval 2239"/>
              <p:cNvSpPr>
                <a:spLocks noChangeArrowheads="1"/>
              </p:cNvSpPr>
              <p:nvPr/>
            </p:nvSpPr>
            <p:spPr bwMode="auto">
              <a:xfrm>
                <a:off x="2956"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Oval 2240"/>
              <p:cNvSpPr>
                <a:spLocks noChangeArrowheads="1"/>
              </p:cNvSpPr>
              <p:nvPr/>
            </p:nvSpPr>
            <p:spPr bwMode="auto">
              <a:xfrm>
                <a:off x="2918"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Oval 2241"/>
              <p:cNvSpPr>
                <a:spLocks noChangeArrowheads="1"/>
              </p:cNvSpPr>
              <p:nvPr/>
            </p:nvSpPr>
            <p:spPr bwMode="auto">
              <a:xfrm>
                <a:off x="2879"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Oval 2242"/>
              <p:cNvSpPr>
                <a:spLocks noChangeArrowheads="1"/>
              </p:cNvSpPr>
              <p:nvPr/>
            </p:nvSpPr>
            <p:spPr bwMode="auto">
              <a:xfrm>
                <a:off x="2841"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Oval 2243"/>
              <p:cNvSpPr>
                <a:spLocks noChangeArrowheads="1"/>
              </p:cNvSpPr>
              <p:nvPr/>
            </p:nvSpPr>
            <p:spPr bwMode="auto">
              <a:xfrm>
                <a:off x="2224"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Oval 2244"/>
              <p:cNvSpPr>
                <a:spLocks noChangeArrowheads="1"/>
              </p:cNvSpPr>
              <p:nvPr/>
            </p:nvSpPr>
            <p:spPr bwMode="auto">
              <a:xfrm>
                <a:off x="2185"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Oval 2245"/>
              <p:cNvSpPr>
                <a:spLocks noChangeArrowheads="1"/>
              </p:cNvSpPr>
              <p:nvPr/>
            </p:nvSpPr>
            <p:spPr bwMode="auto">
              <a:xfrm>
                <a:off x="2147"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Oval 2246"/>
              <p:cNvSpPr>
                <a:spLocks noChangeArrowheads="1"/>
              </p:cNvSpPr>
              <p:nvPr/>
            </p:nvSpPr>
            <p:spPr bwMode="auto">
              <a:xfrm>
                <a:off x="2108"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Oval 2247"/>
              <p:cNvSpPr>
                <a:spLocks noChangeArrowheads="1"/>
              </p:cNvSpPr>
              <p:nvPr/>
            </p:nvSpPr>
            <p:spPr bwMode="auto">
              <a:xfrm>
                <a:off x="2070"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Oval 2248"/>
              <p:cNvSpPr>
                <a:spLocks noChangeArrowheads="1"/>
              </p:cNvSpPr>
              <p:nvPr/>
            </p:nvSpPr>
            <p:spPr bwMode="auto">
              <a:xfrm>
                <a:off x="2031"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Oval 2249"/>
              <p:cNvSpPr>
                <a:spLocks noChangeArrowheads="1"/>
              </p:cNvSpPr>
              <p:nvPr/>
            </p:nvSpPr>
            <p:spPr bwMode="auto">
              <a:xfrm>
                <a:off x="1993"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Oval 2250"/>
              <p:cNvSpPr>
                <a:spLocks noChangeArrowheads="1"/>
              </p:cNvSpPr>
              <p:nvPr/>
            </p:nvSpPr>
            <p:spPr bwMode="auto">
              <a:xfrm>
                <a:off x="1954"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Oval 2251"/>
              <p:cNvSpPr>
                <a:spLocks noChangeArrowheads="1"/>
              </p:cNvSpPr>
              <p:nvPr/>
            </p:nvSpPr>
            <p:spPr bwMode="auto">
              <a:xfrm>
                <a:off x="1915"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Oval 2252"/>
              <p:cNvSpPr>
                <a:spLocks noChangeArrowheads="1"/>
              </p:cNvSpPr>
              <p:nvPr/>
            </p:nvSpPr>
            <p:spPr bwMode="auto">
              <a:xfrm>
                <a:off x="1877"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Oval 2253"/>
              <p:cNvSpPr>
                <a:spLocks noChangeArrowheads="1"/>
              </p:cNvSpPr>
              <p:nvPr/>
            </p:nvSpPr>
            <p:spPr bwMode="auto">
              <a:xfrm>
                <a:off x="1838"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2254"/>
              <p:cNvSpPr>
                <a:spLocks/>
              </p:cNvSpPr>
              <p:nvPr/>
            </p:nvSpPr>
            <p:spPr bwMode="auto">
              <a:xfrm>
                <a:off x="1800" y="2280"/>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Oval 2255"/>
              <p:cNvSpPr>
                <a:spLocks noChangeArrowheads="1"/>
              </p:cNvSpPr>
              <p:nvPr/>
            </p:nvSpPr>
            <p:spPr bwMode="auto">
              <a:xfrm>
                <a:off x="1761"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Oval 2256"/>
              <p:cNvSpPr>
                <a:spLocks noChangeArrowheads="1"/>
              </p:cNvSpPr>
              <p:nvPr/>
            </p:nvSpPr>
            <p:spPr bwMode="auto">
              <a:xfrm>
                <a:off x="1723"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Oval 2257"/>
              <p:cNvSpPr>
                <a:spLocks noChangeArrowheads="1"/>
              </p:cNvSpPr>
              <p:nvPr/>
            </p:nvSpPr>
            <p:spPr bwMode="auto">
              <a:xfrm>
                <a:off x="1684" y="228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Oval 2258"/>
              <p:cNvSpPr>
                <a:spLocks noChangeArrowheads="1"/>
              </p:cNvSpPr>
              <p:nvPr/>
            </p:nvSpPr>
            <p:spPr bwMode="auto">
              <a:xfrm>
                <a:off x="1646" y="228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Oval 2259"/>
              <p:cNvSpPr>
                <a:spLocks noChangeArrowheads="1"/>
              </p:cNvSpPr>
              <p:nvPr/>
            </p:nvSpPr>
            <p:spPr bwMode="auto">
              <a:xfrm>
                <a:off x="4730"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Oval 2260"/>
              <p:cNvSpPr>
                <a:spLocks noChangeArrowheads="1"/>
              </p:cNvSpPr>
              <p:nvPr/>
            </p:nvSpPr>
            <p:spPr bwMode="auto">
              <a:xfrm>
                <a:off x="4691"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Oval 2261"/>
              <p:cNvSpPr>
                <a:spLocks noChangeArrowheads="1"/>
              </p:cNvSpPr>
              <p:nvPr/>
            </p:nvSpPr>
            <p:spPr bwMode="auto">
              <a:xfrm>
                <a:off x="4576"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Oval 2262"/>
              <p:cNvSpPr>
                <a:spLocks noChangeArrowheads="1"/>
              </p:cNvSpPr>
              <p:nvPr/>
            </p:nvSpPr>
            <p:spPr bwMode="auto">
              <a:xfrm>
                <a:off x="4537"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Oval 2263"/>
              <p:cNvSpPr>
                <a:spLocks noChangeArrowheads="1"/>
              </p:cNvSpPr>
              <p:nvPr/>
            </p:nvSpPr>
            <p:spPr bwMode="auto">
              <a:xfrm>
                <a:off x="4498"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Oval 2264"/>
              <p:cNvSpPr>
                <a:spLocks noChangeArrowheads="1"/>
              </p:cNvSpPr>
              <p:nvPr/>
            </p:nvSpPr>
            <p:spPr bwMode="auto">
              <a:xfrm>
                <a:off x="4460"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Oval 2265"/>
              <p:cNvSpPr>
                <a:spLocks noChangeArrowheads="1"/>
              </p:cNvSpPr>
              <p:nvPr/>
            </p:nvSpPr>
            <p:spPr bwMode="auto">
              <a:xfrm>
                <a:off x="4421"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2266"/>
              <p:cNvSpPr>
                <a:spLocks noChangeArrowheads="1"/>
              </p:cNvSpPr>
              <p:nvPr/>
            </p:nvSpPr>
            <p:spPr bwMode="auto">
              <a:xfrm>
                <a:off x="4383"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Oval 2267"/>
              <p:cNvSpPr>
                <a:spLocks noChangeArrowheads="1"/>
              </p:cNvSpPr>
              <p:nvPr/>
            </p:nvSpPr>
            <p:spPr bwMode="auto">
              <a:xfrm>
                <a:off x="4306"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Oval 2268"/>
              <p:cNvSpPr>
                <a:spLocks noChangeArrowheads="1"/>
              </p:cNvSpPr>
              <p:nvPr/>
            </p:nvSpPr>
            <p:spPr bwMode="auto">
              <a:xfrm>
                <a:off x="4267"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2269"/>
              <p:cNvSpPr>
                <a:spLocks/>
              </p:cNvSpPr>
              <p:nvPr/>
            </p:nvSpPr>
            <p:spPr bwMode="auto">
              <a:xfrm>
                <a:off x="4229" y="2319"/>
                <a:ext cx="27" cy="27"/>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Oval 2270"/>
              <p:cNvSpPr>
                <a:spLocks noChangeArrowheads="1"/>
              </p:cNvSpPr>
              <p:nvPr/>
            </p:nvSpPr>
            <p:spPr bwMode="auto">
              <a:xfrm>
                <a:off x="4190"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Oval 2271"/>
              <p:cNvSpPr>
                <a:spLocks noChangeArrowheads="1"/>
              </p:cNvSpPr>
              <p:nvPr/>
            </p:nvSpPr>
            <p:spPr bwMode="auto">
              <a:xfrm>
                <a:off x="4151"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Oval 2272"/>
              <p:cNvSpPr>
                <a:spLocks noChangeArrowheads="1"/>
              </p:cNvSpPr>
              <p:nvPr/>
            </p:nvSpPr>
            <p:spPr bwMode="auto">
              <a:xfrm>
                <a:off x="4113"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Oval 2273"/>
              <p:cNvSpPr>
                <a:spLocks noChangeArrowheads="1"/>
              </p:cNvSpPr>
              <p:nvPr/>
            </p:nvSpPr>
            <p:spPr bwMode="auto">
              <a:xfrm>
                <a:off x="4074"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Oval 2274"/>
              <p:cNvSpPr>
                <a:spLocks noChangeArrowheads="1"/>
              </p:cNvSpPr>
              <p:nvPr/>
            </p:nvSpPr>
            <p:spPr bwMode="auto">
              <a:xfrm>
                <a:off x="3188"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Oval 2275"/>
              <p:cNvSpPr>
                <a:spLocks noChangeArrowheads="1"/>
              </p:cNvSpPr>
              <p:nvPr/>
            </p:nvSpPr>
            <p:spPr bwMode="auto">
              <a:xfrm>
                <a:off x="3149"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Oval 2276"/>
              <p:cNvSpPr>
                <a:spLocks noChangeArrowheads="1"/>
              </p:cNvSpPr>
              <p:nvPr/>
            </p:nvSpPr>
            <p:spPr bwMode="auto">
              <a:xfrm>
                <a:off x="3111"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Oval 2277"/>
              <p:cNvSpPr>
                <a:spLocks noChangeArrowheads="1"/>
              </p:cNvSpPr>
              <p:nvPr/>
            </p:nvSpPr>
            <p:spPr bwMode="auto">
              <a:xfrm>
                <a:off x="3072"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Oval 2278"/>
              <p:cNvSpPr>
                <a:spLocks noChangeArrowheads="1"/>
              </p:cNvSpPr>
              <p:nvPr/>
            </p:nvSpPr>
            <p:spPr bwMode="auto">
              <a:xfrm>
                <a:off x="3033"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Oval 2279"/>
              <p:cNvSpPr>
                <a:spLocks noChangeArrowheads="1"/>
              </p:cNvSpPr>
              <p:nvPr/>
            </p:nvSpPr>
            <p:spPr bwMode="auto">
              <a:xfrm>
                <a:off x="2995"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Oval 2280"/>
              <p:cNvSpPr>
                <a:spLocks noChangeArrowheads="1"/>
              </p:cNvSpPr>
              <p:nvPr/>
            </p:nvSpPr>
            <p:spPr bwMode="auto">
              <a:xfrm>
                <a:off x="2956"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Oval 2281"/>
              <p:cNvSpPr>
                <a:spLocks noChangeArrowheads="1"/>
              </p:cNvSpPr>
              <p:nvPr/>
            </p:nvSpPr>
            <p:spPr bwMode="auto">
              <a:xfrm>
                <a:off x="2918"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Oval 2282"/>
              <p:cNvSpPr>
                <a:spLocks noChangeArrowheads="1"/>
              </p:cNvSpPr>
              <p:nvPr/>
            </p:nvSpPr>
            <p:spPr bwMode="auto">
              <a:xfrm>
                <a:off x="2879"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Oval 2283"/>
              <p:cNvSpPr>
                <a:spLocks noChangeArrowheads="1"/>
              </p:cNvSpPr>
              <p:nvPr/>
            </p:nvSpPr>
            <p:spPr bwMode="auto">
              <a:xfrm>
                <a:off x="2224"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Oval 2284"/>
              <p:cNvSpPr>
                <a:spLocks noChangeArrowheads="1"/>
              </p:cNvSpPr>
              <p:nvPr/>
            </p:nvSpPr>
            <p:spPr bwMode="auto">
              <a:xfrm>
                <a:off x="2185"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Oval 2285"/>
              <p:cNvSpPr>
                <a:spLocks noChangeArrowheads="1"/>
              </p:cNvSpPr>
              <p:nvPr/>
            </p:nvSpPr>
            <p:spPr bwMode="auto">
              <a:xfrm>
                <a:off x="2147"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Oval 2286"/>
              <p:cNvSpPr>
                <a:spLocks noChangeArrowheads="1"/>
              </p:cNvSpPr>
              <p:nvPr/>
            </p:nvSpPr>
            <p:spPr bwMode="auto">
              <a:xfrm>
                <a:off x="2108"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Oval 2287"/>
              <p:cNvSpPr>
                <a:spLocks noChangeArrowheads="1"/>
              </p:cNvSpPr>
              <p:nvPr/>
            </p:nvSpPr>
            <p:spPr bwMode="auto">
              <a:xfrm>
                <a:off x="2070"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Oval 2288"/>
              <p:cNvSpPr>
                <a:spLocks noChangeArrowheads="1"/>
              </p:cNvSpPr>
              <p:nvPr/>
            </p:nvSpPr>
            <p:spPr bwMode="auto">
              <a:xfrm>
                <a:off x="2031"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Oval 2289"/>
              <p:cNvSpPr>
                <a:spLocks noChangeArrowheads="1"/>
              </p:cNvSpPr>
              <p:nvPr/>
            </p:nvSpPr>
            <p:spPr bwMode="auto">
              <a:xfrm>
                <a:off x="1993"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Oval 2290"/>
              <p:cNvSpPr>
                <a:spLocks noChangeArrowheads="1"/>
              </p:cNvSpPr>
              <p:nvPr/>
            </p:nvSpPr>
            <p:spPr bwMode="auto">
              <a:xfrm>
                <a:off x="1954"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Oval 2291"/>
              <p:cNvSpPr>
                <a:spLocks noChangeArrowheads="1"/>
              </p:cNvSpPr>
              <p:nvPr/>
            </p:nvSpPr>
            <p:spPr bwMode="auto">
              <a:xfrm>
                <a:off x="1915"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Oval 2292"/>
              <p:cNvSpPr>
                <a:spLocks noChangeArrowheads="1"/>
              </p:cNvSpPr>
              <p:nvPr/>
            </p:nvSpPr>
            <p:spPr bwMode="auto">
              <a:xfrm>
                <a:off x="1877"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Oval 2293"/>
              <p:cNvSpPr>
                <a:spLocks noChangeArrowheads="1"/>
              </p:cNvSpPr>
              <p:nvPr/>
            </p:nvSpPr>
            <p:spPr bwMode="auto">
              <a:xfrm>
                <a:off x="1838"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294"/>
              <p:cNvSpPr>
                <a:spLocks/>
              </p:cNvSpPr>
              <p:nvPr/>
            </p:nvSpPr>
            <p:spPr bwMode="auto">
              <a:xfrm>
                <a:off x="1800" y="2319"/>
                <a:ext cx="28" cy="27"/>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Oval 2295"/>
              <p:cNvSpPr>
                <a:spLocks noChangeArrowheads="1"/>
              </p:cNvSpPr>
              <p:nvPr/>
            </p:nvSpPr>
            <p:spPr bwMode="auto">
              <a:xfrm>
                <a:off x="1761"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Oval 2296"/>
              <p:cNvSpPr>
                <a:spLocks noChangeArrowheads="1"/>
              </p:cNvSpPr>
              <p:nvPr/>
            </p:nvSpPr>
            <p:spPr bwMode="auto">
              <a:xfrm>
                <a:off x="1723" y="231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Oval 2297"/>
              <p:cNvSpPr>
                <a:spLocks noChangeArrowheads="1"/>
              </p:cNvSpPr>
              <p:nvPr/>
            </p:nvSpPr>
            <p:spPr bwMode="auto">
              <a:xfrm>
                <a:off x="1684" y="231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Oval 2298"/>
              <p:cNvSpPr>
                <a:spLocks noChangeArrowheads="1"/>
              </p:cNvSpPr>
              <p:nvPr/>
            </p:nvSpPr>
            <p:spPr bwMode="auto">
              <a:xfrm>
                <a:off x="4614"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Oval 2299"/>
              <p:cNvSpPr>
                <a:spLocks noChangeArrowheads="1"/>
              </p:cNvSpPr>
              <p:nvPr/>
            </p:nvSpPr>
            <p:spPr bwMode="auto">
              <a:xfrm>
                <a:off x="4383" y="235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Oval 2300"/>
              <p:cNvSpPr>
                <a:spLocks noChangeArrowheads="1"/>
              </p:cNvSpPr>
              <p:nvPr/>
            </p:nvSpPr>
            <p:spPr bwMode="auto">
              <a:xfrm>
                <a:off x="4267"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2301"/>
              <p:cNvSpPr>
                <a:spLocks/>
              </p:cNvSpPr>
              <p:nvPr/>
            </p:nvSpPr>
            <p:spPr bwMode="auto">
              <a:xfrm>
                <a:off x="4229" y="2357"/>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Oval 2302"/>
              <p:cNvSpPr>
                <a:spLocks noChangeArrowheads="1"/>
              </p:cNvSpPr>
              <p:nvPr/>
            </p:nvSpPr>
            <p:spPr bwMode="auto">
              <a:xfrm>
                <a:off x="3188" y="235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Oval 2303"/>
              <p:cNvSpPr>
                <a:spLocks noChangeArrowheads="1"/>
              </p:cNvSpPr>
              <p:nvPr/>
            </p:nvSpPr>
            <p:spPr bwMode="auto">
              <a:xfrm>
                <a:off x="3149"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Oval 2304"/>
              <p:cNvSpPr>
                <a:spLocks noChangeArrowheads="1"/>
              </p:cNvSpPr>
              <p:nvPr/>
            </p:nvSpPr>
            <p:spPr bwMode="auto">
              <a:xfrm>
                <a:off x="3111" y="235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Oval 2305"/>
              <p:cNvSpPr>
                <a:spLocks noChangeArrowheads="1"/>
              </p:cNvSpPr>
              <p:nvPr/>
            </p:nvSpPr>
            <p:spPr bwMode="auto">
              <a:xfrm>
                <a:off x="3072"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2306"/>
              <p:cNvSpPr>
                <a:spLocks noChangeArrowheads="1"/>
              </p:cNvSpPr>
              <p:nvPr/>
            </p:nvSpPr>
            <p:spPr bwMode="auto">
              <a:xfrm>
                <a:off x="3033"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Oval 2307"/>
              <p:cNvSpPr>
                <a:spLocks noChangeArrowheads="1"/>
              </p:cNvSpPr>
              <p:nvPr/>
            </p:nvSpPr>
            <p:spPr bwMode="auto">
              <a:xfrm>
                <a:off x="2995"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2308"/>
              <p:cNvSpPr>
                <a:spLocks noChangeArrowheads="1"/>
              </p:cNvSpPr>
              <p:nvPr/>
            </p:nvSpPr>
            <p:spPr bwMode="auto">
              <a:xfrm>
                <a:off x="2956"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Oval 2309"/>
              <p:cNvSpPr>
                <a:spLocks noChangeArrowheads="1"/>
              </p:cNvSpPr>
              <p:nvPr/>
            </p:nvSpPr>
            <p:spPr bwMode="auto">
              <a:xfrm>
                <a:off x="2918" y="235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Oval 2310"/>
              <p:cNvSpPr>
                <a:spLocks noChangeArrowheads="1"/>
              </p:cNvSpPr>
              <p:nvPr/>
            </p:nvSpPr>
            <p:spPr bwMode="auto">
              <a:xfrm>
                <a:off x="2879"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Oval 2311"/>
              <p:cNvSpPr>
                <a:spLocks noChangeArrowheads="1"/>
              </p:cNvSpPr>
              <p:nvPr/>
            </p:nvSpPr>
            <p:spPr bwMode="auto">
              <a:xfrm>
                <a:off x="2185"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Oval 2312"/>
              <p:cNvSpPr>
                <a:spLocks noChangeArrowheads="1"/>
              </p:cNvSpPr>
              <p:nvPr/>
            </p:nvSpPr>
            <p:spPr bwMode="auto">
              <a:xfrm>
                <a:off x="2147" y="235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Oval 2313"/>
              <p:cNvSpPr>
                <a:spLocks noChangeArrowheads="1"/>
              </p:cNvSpPr>
              <p:nvPr/>
            </p:nvSpPr>
            <p:spPr bwMode="auto">
              <a:xfrm>
                <a:off x="2108"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Oval 2314"/>
              <p:cNvSpPr>
                <a:spLocks noChangeArrowheads="1"/>
              </p:cNvSpPr>
              <p:nvPr/>
            </p:nvSpPr>
            <p:spPr bwMode="auto">
              <a:xfrm>
                <a:off x="2070" y="235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Oval 2315"/>
              <p:cNvSpPr>
                <a:spLocks noChangeArrowheads="1"/>
              </p:cNvSpPr>
              <p:nvPr/>
            </p:nvSpPr>
            <p:spPr bwMode="auto">
              <a:xfrm>
                <a:off x="2031"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Oval 2316"/>
              <p:cNvSpPr>
                <a:spLocks noChangeArrowheads="1"/>
              </p:cNvSpPr>
              <p:nvPr/>
            </p:nvSpPr>
            <p:spPr bwMode="auto">
              <a:xfrm>
                <a:off x="1993" y="235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Oval 2317"/>
              <p:cNvSpPr>
                <a:spLocks noChangeArrowheads="1"/>
              </p:cNvSpPr>
              <p:nvPr/>
            </p:nvSpPr>
            <p:spPr bwMode="auto">
              <a:xfrm>
                <a:off x="1954"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Oval 2318"/>
              <p:cNvSpPr>
                <a:spLocks noChangeArrowheads="1"/>
              </p:cNvSpPr>
              <p:nvPr/>
            </p:nvSpPr>
            <p:spPr bwMode="auto">
              <a:xfrm>
                <a:off x="1915"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Oval 2319"/>
              <p:cNvSpPr>
                <a:spLocks noChangeArrowheads="1"/>
              </p:cNvSpPr>
              <p:nvPr/>
            </p:nvSpPr>
            <p:spPr bwMode="auto">
              <a:xfrm>
                <a:off x="1877"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Oval 2320"/>
              <p:cNvSpPr>
                <a:spLocks noChangeArrowheads="1"/>
              </p:cNvSpPr>
              <p:nvPr/>
            </p:nvSpPr>
            <p:spPr bwMode="auto">
              <a:xfrm>
                <a:off x="1838"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2321"/>
              <p:cNvSpPr>
                <a:spLocks/>
              </p:cNvSpPr>
              <p:nvPr/>
            </p:nvSpPr>
            <p:spPr bwMode="auto">
              <a:xfrm>
                <a:off x="1800" y="2357"/>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Oval 2322"/>
              <p:cNvSpPr>
                <a:spLocks noChangeArrowheads="1"/>
              </p:cNvSpPr>
              <p:nvPr/>
            </p:nvSpPr>
            <p:spPr bwMode="auto">
              <a:xfrm>
                <a:off x="1761"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Oval 2323"/>
              <p:cNvSpPr>
                <a:spLocks noChangeArrowheads="1"/>
              </p:cNvSpPr>
              <p:nvPr/>
            </p:nvSpPr>
            <p:spPr bwMode="auto">
              <a:xfrm>
                <a:off x="1723" y="235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Oval 2324"/>
              <p:cNvSpPr>
                <a:spLocks noChangeArrowheads="1"/>
              </p:cNvSpPr>
              <p:nvPr/>
            </p:nvSpPr>
            <p:spPr bwMode="auto">
              <a:xfrm>
                <a:off x="1684" y="235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Oval 2325"/>
              <p:cNvSpPr>
                <a:spLocks noChangeArrowheads="1"/>
              </p:cNvSpPr>
              <p:nvPr/>
            </p:nvSpPr>
            <p:spPr bwMode="auto">
              <a:xfrm>
                <a:off x="4537"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Oval 2326"/>
              <p:cNvSpPr>
                <a:spLocks noChangeArrowheads="1"/>
              </p:cNvSpPr>
              <p:nvPr/>
            </p:nvSpPr>
            <p:spPr bwMode="auto">
              <a:xfrm>
                <a:off x="4421"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Oval 2327"/>
              <p:cNvSpPr>
                <a:spLocks noChangeArrowheads="1"/>
              </p:cNvSpPr>
              <p:nvPr/>
            </p:nvSpPr>
            <p:spPr bwMode="auto">
              <a:xfrm>
                <a:off x="4383"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Oval 2328"/>
              <p:cNvSpPr>
                <a:spLocks noChangeArrowheads="1"/>
              </p:cNvSpPr>
              <p:nvPr/>
            </p:nvSpPr>
            <p:spPr bwMode="auto">
              <a:xfrm>
                <a:off x="4344"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Oval 2329"/>
              <p:cNvSpPr>
                <a:spLocks noChangeArrowheads="1"/>
              </p:cNvSpPr>
              <p:nvPr/>
            </p:nvSpPr>
            <p:spPr bwMode="auto">
              <a:xfrm>
                <a:off x="4306"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Oval 2330"/>
              <p:cNvSpPr>
                <a:spLocks noChangeArrowheads="1"/>
              </p:cNvSpPr>
              <p:nvPr/>
            </p:nvSpPr>
            <p:spPr bwMode="auto">
              <a:xfrm>
                <a:off x="3342"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Oval 2331"/>
              <p:cNvSpPr>
                <a:spLocks noChangeArrowheads="1"/>
              </p:cNvSpPr>
              <p:nvPr/>
            </p:nvSpPr>
            <p:spPr bwMode="auto">
              <a:xfrm>
                <a:off x="3303"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Oval 2332"/>
              <p:cNvSpPr>
                <a:spLocks noChangeArrowheads="1"/>
              </p:cNvSpPr>
              <p:nvPr/>
            </p:nvSpPr>
            <p:spPr bwMode="auto">
              <a:xfrm>
                <a:off x="3188"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Oval 2333"/>
              <p:cNvSpPr>
                <a:spLocks noChangeArrowheads="1"/>
              </p:cNvSpPr>
              <p:nvPr/>
            </p:nvSpPr>
            <p:spPr bwMode="auto">
              <a:xfrm>
                <a:off x="3149"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Oval 2334"/>
              <p:cNvSpPr>
                <a:spLocks noChangeArrowheads="1"/>
              </p:cNvSpPr>
              <p:nvPr/>
            </p:nvSpPr>
            <p:spPr bwMode="auto">
              <a:xfrm>
                <a:off x="3111"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Oval 2335"/>
              <p:cNvSpPr>
                <a:spLocks noChangeArrowheads="1"/>
              </p:cNvSpPr>
              <p:nvPr/>
            </p:nvSpPr>
            <p:spPr bwMode="auto">
              <a:xfrm>
                <a:off x="3072"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Oval 2336"/>
              <p:cNvSpPr>
                <a:spLocks noChangeArrowheads="1"/>
              </p:cNvSpPr>
              <p:nvPr/>
            </p:nvSpPr>
            <p:spPr bwMode="auto">
              <a:xfrm>
                <a:off x="3033"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Oval 2337"/>
              <p:cNvSpPr>
                <a:spLocks noChangeArrowheads="1"/>
              </p:cNvSpPr>
              <p:nvPr/>
            </p:nvSpPr>
            <p:spPr bwMode="auto">
              <a:xfrm>
                <a:off x="2995"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Oval 2338"/>
              <p:cNvSpPr>
                <a:spLocks noChangeArrowheads="1"/>
              </p:cNvSpPr>
              <p:nvPr/>
            </p:nvSpPr>
            <p:spPr bwMode="auto">
              <a:xfrm>
                <a:off x="2956"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Oval 2339"/>
              <p:cNvSpPr>
                <a:spLocks noChangeArrowheads="1"/>
              </p:cNvSpPr>
              <p:nvPr/>
            </p:nvSpPr>
            <p:spPr bwMode="auto">
              <a:xfrm>
                <a:off x="2918"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Oval 2340"/>
              <p:cNvSpPr>
                <a:spLocks noChangeArrowheads="1"/>
              </p:cNvSpPr>
              <p:nvPr/>
            </p:nvSpPr>
            <p:spPr bwMode="auto">
              <a:xfrm>
                <a:off x="2879"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Oval 2341"/>
              <p:cNvSpPr>
                <a:spLocks noChangeArrowheads="1"/>
              </p:cNvSpPr>
              <p:nvPr/>
            </p:nvSpPr>
            <p:spPr bwMode="auto">
              <a:xfrm>
                <a:off x="2841"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Oval 2342"/>
              <p:cNvSpPr>
                <a:spLocks noChangeArrowheads="1"/>
              </p:cNvSpPr>
              <p:nvPr/>
            </p:nvSpPr>
            <p:spPr bwMode="auto">
              <a:xfrm>
                <a:off x="2185"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Oval 2343"/>
              <p:cNvSpPr>
                <a:spLocks noChangeArrowheads="1"/>
              </p:cNvSpPr>
              <p:nvPr/>
            </p:nvSpPr>
            <p:spPr bwMode="auto">
              <a:xfrm>
                <a:off x="2147"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Oval 2344"/>
              <p:cNvSpPr>
                <a:spLocks noChangeArrowheads="1"/>
              </p:cNvSpPr>
              <p:nvPr/>
            </p:nvSpPr>
            <p:spPr bwMode="auto">
              <a:xfrm>
                <a:off x="2108"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Oval 2345"/>
              <p:cNvSpPr>
                <a:spLocks noChangeArrowheads="1"/>
              </p:cNvSpPr>
              <p:nvPr/>
            </p:nvSpPr>
            <p:spPr bwMode="auto">
              <a:xfrm>
                <a:off x="2070"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Oval 2346"/>
              <p:cNvSpPr>
                <a:spLocks noChangeArrowheads="1"/>
              </p:cNvSpPr>
              <p:nvPr/>
            </p:nvSpPr>
            <p:spPr bwMode="auto">
              <a:xfrm>
                <a:off x="2031"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Oval 2347"/>
              <p:cNvSpPr>
                <a:spLocks noChangeArrowheads="1"/>
              </p:cNvSpPr>
              <p:nvPr/>
            </p:nvSpPr>
            <p:spPr bwMode="auto">
              <a:xfrm>
                <a:off x="1993"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Oval 2348"/>
              <p:cNvSpPr>
                <a:spLocks noChangeArrowheads="1"/>
              </p:cNvSpPr>
              <p:nvPr/>
            </p:nvSpPr>
            <p:spPr bwMode="auto">
              <a:xfrm>
                <a:off x="1954"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Oval 2349"/>
              <p:cNvSpPr>
                <a:spLocks noChangeArrowheads="1"/>
              </p:cNvSpPr>
              <p:nvPr/>
            </p:nvSpPr>
            <p:spPr bwMode="auto">
              <a:xfrm>
                <a:off x="1915"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Oval 2350"/>
              <p:cNvSpPr>
                <a:spLocks noChangeArrowheads="1"/>
              </p:cNvSpPr>
              <p:nvPr/>
            </p:nvSpPr>
            <p:spPr bwMode="auto">
              <a:xfrm>
                <a:off x="1877"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Oval 2351"/>
              <p:cNvSpPr>
                <a:spLocks noChangeArrowheads="1"/>
              </p:cNvSpPr>
              <p:nvPr/>
            </p:nvSpPr>
            <p:spPr bwMode="auto">
              <a:xfrm>
                <a:off x="1838"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352"/>
              <p:cNvSpPr>
                <a:spLocks/>
              </p:cNvSpPr>
              <p:nvPr/>
            </p:nvSpPr>
            <p:spPr bwMode="auto">
              <a:xfrm>
                <a:off x="1800" y="2396"/>
                <a:ext cx="28" cy="27"/>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Oval 2353"/>
              <p:cNvSpPr>
                <a:spLocks noChangeArrowheads="1"/>
              </p:cNvSpPr>
              <p:nvPr/>
            </p:nvSpPr>
            <p:spPr bwMode="auto">
              <a:xfrm>
                <a:off x="1761" y="2396"/>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Oval 2354"/>
              <p:cNvSpPr>
                <a:spLocks noChangeArrowheads="1"/>
              </p:cNvSpPr>
              <p:nvPr/>
            </p:nvSpPr>
            <p:spPr bwMode="auto">
              <a:xfrm>
                <a:off x="1723" y="2396"/>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Oval 2355"/>
              <p:cNvSpPr>
                <a:spLocks noChangeArrowheads="1"/>
              </p:cNvSpPr>
              <p:nvPr/>
            </p:nvSpPr>
            <p:spPr bwMode="auto">
              <a:xfrm>
                <a:off x="4576"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Oval 2356"/>
              <p:cNvSpPr>
                <a:spLocks noChangeArrowheads="1"/>
              </p:cNvSpPr>
              <p:nvPr/>
            </p:nvSpPr>
            <p:spPr bwMode="auto">
              <a:xfrm>
                <a:off x="4537"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Oval 2357"/>
              <p:cNvSpPr>
                <a:spLocks noChangeArrowheads="1"/>
              </p:cNvSpPr>
              <p:nvPr/>
            </p:nvSpPr>
            <p:spPr bwMode="auto">
              <a:xfrm>
                <a:off x="4498"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Oval 2358"/>
              <p:cNvSpPr>
                <a:spLocks noChangeArrowheads="1"/>
              </p:cNvSpPr>
              <p:nvPr/>
            </p:nvSpPr>
            <p:spPr bwMode="auto">
              <a:xfrm>
                <a:off x="4460"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Oval 2359"/>
              <p:cNvSpPr>
                <a:spLocks noChangeArrowheads="1"/>
              </p:cNvSpPr>
              <p:nvPr/>
            </p:nvSpPr>
            <p:spPr bwMode="auto">
              <a:xfrm>
                <a:off x="4421"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Oval 2360"/>
              <p:cNvSpPr>
                <a:spLocks noChangeArrowheads="1"/>
              </p:cNvSpPr>
              <p:nvPr/>
            </p:nvSpPr>
            <p:spPr bwMode="auto">
              <a:xfrm>
                <a:off x="4383"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Oval 2361"/>
              <p:cNvSpPr>
                <a:spLocks noChangeArrowheads="1"/>
              </p:cNvSpPr>
              <p:nvPr/>
            </p:nvSpPr>
            <p:spPr bwMode="auto">
              <a:xfrm>
                <a:off x="4344"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Oval 2362"/>
              <p:cNvSpPr>
                <a:spLocks noChangeArrowheads="1"/>
              </p:cNvSpPr>
              <p:nvPr/>
            </p:nvSpPr>
            <p:spPr bwMode="auto">
              <a:xfrm>
                <a:off x="4306"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Oval 2363"/>
              <p:cNvSpPr>
                <a:spLocks noChangeArrowheads="1"/>
              </p:cNvSpPr>
              <p:nvPr/>
            </p:nvSpPr>
            <p:spPr bwMode="auto">
              <a:xfrm>
                <a:off x="4267"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2364"/>
              <p:cNvSpPr>
                <a:spLocks/>
              </p:cNvSpPr>
              <p:nvPr/>
            </p:nvSpPr>
            <p:spPr bwMode="auto">
              <a:xfrm>
                <a:off x="4229" y="2434"/>
                <a:ext cx="27" cy="28"/>
              </a:xfrm>
              <a:custGeom>
                <a:avLst/>
                <a:gdLst>
                  <a:gd name="T0" fmla="*/ 80 w 159"/>
                  <a:gd name="T1" fmla="*/ 0 h 159"/>
                  <a:gd name="T2" fmla="*/ 159 w 159"/>
                  <a:gd name="T3" fmla="*/ 80 h 159"/>
                  <a:gd name="T4" fmla="*/ 79 w 159"/>
                  <a:gd name="T5" fmla="*/ 159 h 159"/>
                  <a:gd name="T6" fmla="*/ 0 w 159"/>
                  <a:gd name="T7" fmla="*/ 80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5"/>
                      <a:pt x="159" y="80"/>
                    </a:cubicBezTo>
                    <a:cubicBezTo>
                      <a:pt x="159" y="124"/>
                      <a:pt x="124" y="159"/>
                      <a:pt x="79" y="159"/>
                    </a:cubicBezTo>
                    <a:cubicBezTo>
                      <a:pt x="35" y="159"/>
                      <a:pt x="0" y="124"/>
                      <a:pt x="0" y="80"/>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Oval 2365"/>
              <p:cNvSpPr>
                <a:spLocks noChangeArrowheads="1"/>
              </p:cNvSpPr>
              <p:nvPr/>
            </p:nvSpPr>
            <p:spPr bwMode="auto">
              <a:xfrm>
                <a:off x="3303"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366"/>
              <p:cNvSpPr>
                <a:spLocks/>
              </p:cNvSpPr>
              <p:nvPr/>
            </p:nvSpPr>
            <p:spPr bwMode="auto">
              <a:xfrm>
                <a:off x="3265" y="2434"/>
                <a:ext cx="27" cy="28"/>
              </a:xfrm>
              <a:custGeom>
                <a:avLst/>
                <a:gdLst>
                  <a:gd name="T0" fmla="*/ 79 w 159"/>
                  <a:gd name="T1" fmla="*/ 0 h 159"/>
                  <a:gd name="T2" fmla="*/ 159 w 159"/>
                  <a:gd name="T3" fmla="*/ 80 h 159"/>
                  <a:gd name="T4" fmla="*/ 79 w 159"/>
                  <a:gd name="T5" fmla="*/ 159 h 159"/>
                  <a:gd name="T6" fmla="*/ 0 w 159"/>
                  <a:gd name="T7" fmla="*/ 80 h 159"/>
                  <a:gd name="T8" fmla="*/ 79 w 159"/>
                  <a:gd name="T9" fmla="*/ 0 h 159"/>
                </a:gdLst>
                <a:ahLst/>
                <a:cxnLst>
                  <a:cxn ang="0">
                    <a:pos x="T0" y="T1"/>
                  </a:cxn>
                  <a:cxn ang="0">
                    <a:pos x="T2" y="T3"/>
                  </a:cxn>
                  <a:cxn ang="0">
                    <a:pos x="T4" y="T5"/>
                  </a:cxn>
                  <a:cxn ang="0">
                    <a:pos x="T6" y="T7"/>
                  </a:cxn>
                  <a:cxn ang="0">
                    <a:pos x="T8" y="T9"/>
                  </a:cxn>
                </a:cxnLst>
                <a:rect l="0" t="0" r="r" b="b"/>
                <a:pathLst>
                  <a:path w="159" h="159">
                    <a:moveTo>
                      <a:pt x="79" y="0"/>
                    </a:moveTo>
                    <a:cubicBezTo>
                      <a:pt x="124" y="0"/>
                      <a:pt x="159" y="35"/>
                      <a:pt x="159" y="80"/>
                    </a:cubicBezTo>
                    <a:cubicBezTo>
                      <a:pt x="159" y="124"/>
                      <a:pt x="123" y="159"/>
                      <a:pt x="79" y="159"/>
                    </a:cubicBezTo>
                    <a:cubicBezTo>
                      <a:pt x="35" y="159"/>
                      <a:pt x="0" y="124"/>
                      <a:pt x="0" y="80"/>
                    </a:cubicBezTo>
                    <a:cubicBezTo>
                      <a:pt x="0" y="35"/>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Oval 2367"/>
              <p:cNvSpPr>
                <a:spLocks noChangeArrowheads="1"/>
              </p:cNvSpPr>
              <p:nvPr/>
            </p:nvSpPr>
            <p:spPr bwMode="auto">
              <a:xfrm>
                <a:off x="3188"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Oval 2368"/>
              <p:cNvSpPr>
                <a:spLocks noChangeArrowheads="1"/>
              </p:cNvSpPr>
              <p:nvPr/>
            </p:nvSpPr>
            <p:spPr bwMode="auto">
              <a:xfrm>
                <a:off x="3149"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Oval 2369"/>
              <p:cNvSpPr>
                <a:spLocks noChangeArrowheads="1"/>
              </p:cNvSpPr>
              <p:nvPr/>
            </p:nvSpPr>
            <p:spPr bwMode="auto">
              <a:xfrm>
                <a:off x="3111"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Oval 2370"/>
              <p:cNvSpPr>
                <a:spLocks noChangeArrowheads="1"/>
              </p:cNvSpPr>
              <p:nvPr/>
            </p:nvSpPr>
            <p:spPr bwMode="auto">
              <a:xfrm>
                <a:off x="3072"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Oval 2371"/>
              <p:cNvSpPr>
                <a:spLocks noChangeArrowheads="1"/>
              </p:cNvSpPr>
              <p:nvPr/>
            </p:nvSpPr>
            <p:spPr bwMode="auto">
              <a:xfrm>
                <a:off x="3033"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Oval 2372"/>
              <p:cNvSpPr>
                <a:spLocks noChangeArrowheads="1"/>
              </p:cNvSpPr>
              <p:nvPr/>
            </p:nvSpPr>
            <p:spPr bwMode="auto">
              <a:xfrm>
                <a:off x="2995"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Oval 2373"/>
              <p:cNvSpPr>
                <a:spLocks noChangeArrowheads="1"/>
              </p:cNvSpPr>
              <p:nvPr/>
            </p:nvSpPr>
            <p:spPr bwMode="auto">
              <a:xfrm>
                <a:off x="2956"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Oval 2374"/>
              <p:cNvSpPr>
                <a:spLocks noChangeArrowheads="1"/>
              </p:cNvSpPr>
              <p:nvPr/>
            </p:nvSpPr>
            <p:spPr bwMode="auto">
              <a:xfrm>
                <a:off x="2918"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Oval 2375"/>
              <p:cNvSpPr>
                <a:spLocks noChangeArrowheads="1"/>
              </p:cNvSpPr>
              <p:nvPr/>
            </p:nvSpPr>
            <p:spPr bwMode="auto">
              <a:xfrm>
                <a:off x="2879"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Oval 2376"/>
              <p:cNvSpPr>
                <a:spLocks noChangeArrowheads="1"/>
              </p:cNvSpPr>
              <p:nvPr/>
            </p:nvSpPr>
            <p:spPr bwMode="auto">
              <a:xfrm>
                <a:off x="2841"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Oval 2377"/>
              <p:cNvSpPr>
                <a:spLocks noChangeArrowheads="1"/>
              </p:cNvSpPr>
              <p:nvPr/>
            </p:nvSpPr>
            <p:spPr bwMode="auto">
              <a:xfrm>
                <a:off x="2185"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Oval 2378"/>
              <p:cNvSpPr>
                <a:spLocks noChangeArrowheads="1"/>
              </p:cNvSpPr>
              <p:nvPr/>
            </p:nvSpPr>
            <p:spPr bwMode="auto">
              <a:xfrm>
                <a:off x="2147"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Oval 2379"/>
              <p:cNvSpPr>
                <a:spLocks noChangeArrowheads="1"/>
              </p:cNvSpPr>
              <p:nvPr/>
            </p:nvSpPr>
            <p:spPr bwMode="auto">
              <a:xfrm>
                <a:off x="2108"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Oval 2380"/>
              <p:cNvSpPr>
                <a:spLocks noChangeArrowheads="1"/>
              </p:cNvSpPr>
              <p:nvPr/>
            </p:nvSpPr>
            <p:spPr bwMode="auto">
              <a:xfrm>
                <a:off x="2070"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Oval 2381"/>
              <p:cNvSpPr>
                <a:spLocks noChangeArrowheads="1"/>
              </p:cNvSpPr>
              <p:nvPr/>
            </p:nvSpPr>
            <p:spPr bwMode="auto">
              <a:xfrm>
                <a:off x="2031"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Oval 2382"/>
              <p:cNvSpPr>
                <a:spLocks noChangeArrowheads="1"/>
              </p:cNvSpPr>
              <p:nvPr/>
            </p:nvSpPr>
            <p:spPr bwMode="auto">
              <a:xfrm>
                <a:off x="1993" y="243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Oval 2383"/>
              <p:cNvSpPr>
                <a:spLocks noChangeArrowheads="1"/>
              </p:cNvSpPr>
              <p:nvPr/>
            </p:nvSpPr>
            <p:spPr bwMode="auto">
              <a:xfrm>
                <a:off x="1954"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Oval 2384"/>
              <p:cNvSpPr>
                <a:spLocks noChangeArrowheads="1"/>
              </p:cNvSpPr>
              <p:nvPr/>
            </p:nvSpPr>
            <p:spPr bwMode="auto">
              <a:xfrm>
                <a:off x="1915"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Oval 2385"/>
              <p:cNvSpPr>
                <a:spLocks noChangeArrowheads="1"/>
              </p:cNvSpPr>
              <p:nvPr/>
            </p:nvSpPr>
            <p:spPr bwMode="auto">
              <a:xfrm>
                <a:off x="1877"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Oval 2386"/>
              <p:cNvSpPr>
                <a:spLocks noChangeArrowheads="1"/>
              </p:cNvSpPr>
              <p:nvPr/>
            </p:nvSpPr>
            <p:spPr bwMode="auto">
              <a:xfrm>
                <a:off x="1838"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2387"/>
              <p:cNvSpPr>
                <a:spLocks/>
              </p:cNvSpPr>
              <p:nvPr/>
            </p:nvSpPr>
            <p:spPr bwMode="auto">
              <a:xfrm>
                <a:off x="1800" y="2434"/>
                <a:ext cx="28" cy="28"/>
              </a:xfrm>
              <a:custGeom>
                <a:avLst/>
                <a:gdLst>
                  <a:gd name="T0" fmla="*/ 80 w 160"/>
                  <a:gd name="T1" fmla="*/ 0 h 159"/>
                  <a:gd name="T2" fmla="*/ 159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Oval 2388"/>
              <p:cNvSpPr>
                <a:spLocks noChangeArrowheads="1"/>
              </p:cNvSpPr>
              <p:nvPr/>
            </p:nvSpPr>
            <p:spPr bwMode="auto">
              <a:xfrm>
                <a:off x="1761" y="243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Oval 2389"/>
              <p:cNvSpPr>
                <a:spLocks noChangeArrowheads="1"/>
              </p:cNvSpPr>
              <p:nvPr/>
            </p:nvSpPr>
            <p:spPr bwMode="auto">
              <a:xfrm>
                <a:off x="4845"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Oval 2390"/>
              <p:cNvSpPr>
                <a:spLocks noChangeArrowheads="1"/>
              </p:cNvSpPr>
              <p:nvPr/>
            </p:nvSpPr>
            <p:spPr bwMode="auto">
              <a:xfrm>
                <a:off x="4807" y="247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Oval 2391"/>
              <p:cNvSpPr>
                <a:spLocks noChangeArrowheads="1"/>
              </p:cNvSpPr>
              <p:nvPr/>
            </p:nvSpPr>
            <p:spPr bwMode="auto">
              <a:xfrm>
                <a:off x="4576" y="247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Oval 2392"/>
              <p:cNvSpPr>
                <a:spLocks noChangeArrowheads="1"/>
              </p:cNvSpPr>
              <p:nvPr/>
            </p:nvSpPr>
            <p:spPr bwMode="auto">
              <a:xfrm>
                <a:off x="4537"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Oval 2393"/>
              <p:cNvSpPr>
                <a:spLocks noChangeArrowheads="1"/>
              </p:cNvSpPr>
              <p:nvPr/>
            </p:nvSpPr>
            <p:spPr bwMode="auto">
              <a:xfrm>
                <a:off x="4498"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Oval 2394"/>
              <p:cNvSpPr>
                <a:spLocks noChangeArrowheads="1"/>
              </p:cNvSpPr>
              <p:nvPr/>
            </p:nvSpPr>
            <p:spPr bwMode="auto">
              <a:xfrm>
                <a:off x="4460"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2395"/>
              <p:cNvSpPr>
                <a:spLocks noChangeArrowheads="1"/>
              </p:cNvSpPr>
              <p:nvPr/>
            </p:nvSpPr>
            <p:spPr bwMode="auto">
              <a:xfrm>
                <a:off x="4421"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Oval 2396"/>
              <p:cNvSpPr>
                <a:spLocks noChangeArrowheads="1"/>
              </p:cNvSpPr>
              <p:nvPr/>
            </p:nvSpPr>
            <p:spPr bwMode="auto">
              <a:xfrm>
                <a:off x="4383" y="247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Oval 2397"/>
              <p:cNvSpPr>
                <a:spLocks noChangeArrowheads="1"/>
              </p:cNvSpPr>
              <p:nvPr/>
            </p:nvSpPr>
            <p:spPr bwMode="auto">
              <a:xfrm>
                <a:off x="4344"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Oval 2398"/>
              <p:cNvSpPr>
                <a:spLocks noChangeArrowheads="1"/>
              </p:cNvSpPr>
              <p:nvPr/>
            </p:nvSpPr>
            <p:spPr bwMode="auto">
              <a:xfrm>
                <a:off x="4306" y="247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Oval 2399"/>
              <p:cNvSpPr>
                <a:spLocks noChangeArrowheads="1"/>
              </p:cNvSpPr>
              <p:nvPr/>
            </p:nvSpPr>
            <p:spPr bwMode="auto">
              <a:xfrm>
                <a:off x="4267"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400"/>
              <p:cNvSpPr>
                <a:spLocks/>
              </p:cNvSpPr>
              <p:nvPr/>
            </p:nvSpPr>
            <p:spPr bwMode="auto">
              <a:xfrm>
                <a:off x="4229" y="2473"/>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Oval 2401"/>
              <p:cNvSpPr>
                <a:spLocks noChangeArrowheads="1"/>
              </p:cNvSpPr>
              <p:nvPr/>
            </p:nvSpPr>
            <p:spPr bwMode="auto">
              <a:xfrm>
                <a:off x="3303"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2402"/>
              <p:cNvSpPr>
                <a:spLocks/>
              </p:cNvSpPr>
              <p:nvPr/>
            </p:nvSpPr>
            <p:spPr bwMode="auto">
              <a:xfrm>
                <a:off x="3265" y="2473"/>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Oval 2403"/>
              <p:cNvSpPr>
                <a:spLocks noChangeArrowheads="1"/>
              </p:cNvSpPr>
              <p:nvPr/>
            </p:nvSpPr>
            <p:spPr bwMode="auto">
              <a:xfrm>
                <a:off x="3149"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Oval 2404"/>
              <p:cNvSpPr>
                <a:spLocks noChangeArrowheads="1"/>
              </p:cNvSpPr>
              <p:nvPr/>
            </p:nvSpPr>
            <p:spPr bwMode="auto">
              <a:xfrm>
                <a:off x="3111" y="247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Oval 2405"/>
              <p:cNvSpPr>
                <a:spLocks noChangeArrowheads="1"/>
              </p:cNvSpPr>
              <p:nvPr/>
            </p:nvSpPr>
            <p:spPr bwMode="auto">
              <a:xfrm>
                <a:off x="3072"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Oval 2406"/>
              <p:cNvSpPr>
                <a:spLocks noChangeArrowheads="1"/>
              </p:cNvSpPr>
              <p:nvPr/>
            </p:nvSpPr>
            <p:spPr bwMode="auto">
              <a:xfrm>
                <a:off x="3033"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Oval 2407"/>
              <p:cNvSpPr>
                <a:spLocks noChangeArrowheads="1"/>
              </p:cNvSpPr>
              <p:nvPr/>
            </p:nvSpPr>
            <p:spPr bwMode="auto">
              <a:xfrm>
                <a:off x="2995"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Oval 2408"/>
              <p:cNvSpPr>
                <a:spLocks noChangeArrowheads="1"/>
              </p:cNvSpPr>
              <p:nvPr/>
            </p:nvSpPr>
            <p:spPr bwMode="auto">
              <a:xfrm>
                <a:off x="2956"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Oval 2409"/>
              <p:cNvSpPr>
                <a:spLocks noChangeArrowheads="1"/>
              </p:cNvSpPr>
              <p:nvPr/>
            </p:nvSpPr>
            <p:spPr bwMode="auto">
              <a:xfrm>
                <a:off x="2918" y="247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Oval 2410"/>
              <p:cNvSpPr>
                <a:spLocks noChangeArrowheads="1"/>
              </p:cNvSpPr>
              <p:nvPr/>
            </p:nvSpPr>
            <p:spPr bwMode="auto">
              <a:xfrm>
                <a:off x="2879"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Oval 2411"/>
              <p:cNvSpPr>
                <a:spLocks noChangeArrowheads="1"/>
              </p:cNvSpPr>
              <p:nvPr/>
            </p:nvSpPr>
            <p:spPr bwMode="auto">
              <a:xfrm>
                <a:off x="2147" y="247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Oval 2412"/>
              <p:cNvSpPr>
                <a:spLocks noChangeArrowheads="1"/>
              </p:cNvSpPr>
              <p:nvPr/>
            </p:nvSpPr>
            <p:spPr bwMode="auto">
              <a:xfrm>
                <a:off x="2108"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Oval 2413"/>
              <p:cNvSpPr>
                <a:spLocks noChangeArrowheads="1"/>
              </p:cNvSpPr>
              <p:nvPr/>
            </p:nvSpPr>
            <p:spPr bwMode="auto">
              <a:xfrm>
                <a:off x="2070" y="247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Oval 2414"/>
              <p:cNvSpPr>
                <a:spLocks noChangeArrowheads="1"/>
              </p:cNvSpPr>
              <p:nvPr/>
            </p:nvSpPr>
            <p:spPr bwMode="auto">
              <a:xfrm>
                <a:off x="2031"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Oval 2415"/>
              <p:cNvSpPr>
                <a:spLocks noChangeArrowheads="1"/>
              </p:cNvSpPr>
              <p:nvPr/>
            </p:nvSpPr>
            <p:spPr bwMode="auto">
              <a:xfrm>
                <a:off x="1993" y="247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Oval 2416"/>
              <p:cNvSpPr>
                <a:spLocks noChangeArrowheads="1"/>
              </p:cNvSpPr>
              <p:nvPr/>
            </p:nvSpPr>
            <p:spPr bwMode="auto">
              <a:xfrm>
                <a:off x="1954"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Oval 2417"/>
              <p:cNvSpPr>
                <a:spLocks noChangeArrowheads="1"/>
              </p:cNvSpPr>
              <p:nvPr/>
            </p:nvSpPr>
            <p:spPr bwMode="auto">
              <a:xfrm>
                <a:off x="1915"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Oval 2418"/>
              <p:cNvSpPr>
                <a:spLocks noChangeArrowheads="1"/>
              </p:cNvSpPr>
              <p:nvPr/>
            </p:nvSpPr>
            <p:spPr bwMode="auto">
              <a:xfrm>
                <a:off x="1877"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Oval 2419"/>
              <p:cNvSpPr>
                <a:spLocks noChangeArrowheads="1"/>
              </p:cNvSpPr>
              <p:nvPr/>
            </p:nvSpPr>
            <p:spPr bwMode="auto">
              <a:xfrm>
                <a:off x="1838" y="247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2420"/>
              <p:cNvSpPr>
                <a:spLocks/>
              </p:cNvSpPr>
              <p:nvPr/>
            </p:nvSpPr>
            <p:spPr bwMode="auto">
              <a:xfrm>
                <a:off x="1800" y="2473"/>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Oval 2421"/>
              <p:cNvSpPr>
                <a:spLocks noChangeArrowheads="1"/>
              </p:cNvSpPr>
              <p:nvPr/>
            </p:nvSpPr>
            <p:spPr bwMode="auto">
              <a:xfrm>
                <a:off x="4845"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Oval 2423"/>
            <p:cNvSpPr>
              <a:spLocks noChangeArrowheads="1"/>
            </p:cNvSpPr>
            <p:nvPr/>
          </p:nvSpPr>
          <p:spPr bwMode="auto">
            <a:xfrm>
              <a:off x="4807" y="251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Oval 2424"/>
            <p:cNvSpPr>
              <a:spLocks noChangeArrowheads="1"/>
            </p:cNvSpPr>
            <p:nvPr/>
          </p:nvSpPr>
          <p:spPr bwMode="auto">
            <a:xfrm>
              <a:off x="4614"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Oval 2425"/>
            <p:cNvSpPr>
              <a:spLocks noChangeArrowheads="1"/>
            </p:cNvSpPr>
            <p:nvPr/>
          </p:nvSpPr>
          <p:spPr bwMode="auto">
            <a:xfrm>
              <a:off x="4576" y="251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Oval 2426"/>
            <p:cNvSpPr>
              <a:spLocks noChangeArrowheads="1"/>
            </p:cNvSpPr>
            <p:nvPr/>
          </p:nvSpPr>
          <p:spPr bwMode="auto">
            <a:xfrm>
              <a:off x="4537"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Oval 2427"/>
            <p:cNvSpPr>
              <a:spLocks noChangeArrowheads="1"/>
            </p:cNvSpPr>
            <p:nvPr/>
          </p:nvSpPr>
          <p:spPr bwMode="auto">
            <a:xfrm>
              <a:off x="4498"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Oval 2428"/>
            <p:cNvSpPr>
              <a:spLocks noChangeArrowheads="1"/>
            </p:cNvSpPr>
            <p:nvPr/>
          </p:nvSpPr>
          <p:spPr bwMode="auto">
            <a:xfrm>
              <a:off x="4460"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Oval 2429"/>
            <p:cNvSpPr>
              <a:spLocks noChangeArrowheads="1"/>
            </p:cNvSpPr>
            <p:nvPr/>
          </p:nvSpPr>
          <p:spPr bwMode="auto">
            <a:xfrm>
              <a:off x="4421"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Oval 2430"/>
            <p:cNvSpPr>
              <a:spLocks noChangeArrowheads="1"/>
            </p:cNvSpPr>
            <p:nvPr/>
          </p:nvSpPr>
          <p:spPr bwMode="auto">
            <a:xfrm>
              <a:off x="4383" y="251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Oval 2431"/>
            <p:cNvSpPr>
              <a:spLocks noChangeArrowheads="1"/>
            </p:cNvSpPr>
            <p:nvPr/>
          </p:nvSpPr>
          <p:spPr bwMode="auto">
            <a:xfrm>
              <a:off x="4344"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2432"/>
            <p:cNvSpPr>
              <a:spLocks noChangeArrowheads="1"/>
            </p:cNvSpPr>
            <p:nvPr/>
          </p:nvSpPr>
          <p:spPr bwMode="auto">
            <a:xfrm>
              <a:off x="4306" y="251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Oval 2433"/>
            <p:cNvSpPr>
              <a:spLocks noChangeArrowheads="1"/>
            </p:cNvSpPr>
            <p:nvPr/>
          </p:nvSpPr>
          <p:spPr bwMode="auto">
            <a:xfrm>
              <a:off x="4267"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34"/>
            <p:cNvSpPr>
              <a:spLocks/>
            </p:cNvSpPr>
            <p:nvPr/>
          </p:nvSpPr>
          <p:spPr bwMode="auto">
            <a:xfrm>
              <a:off x="4229" y="2512"/>
              <a:ext cx="27" cy="27"/>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2435"/>
            <p:cNvSpPr>
              <a:spLocks noChangeArrowheads="1"/>
            </p:cNvSpPr>
            <p:nvPr/>
          </p:nvSpPr>
          <p:spPr bwMode="auto">
            <a:xfrm>
              <a:off x="4190"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2436"/>
            <p:cNvSpPr>
              <a:spLocks noChangeArrowheads="1"/>
            </p:cNvSpPr>
            <p:nvPr/>
          </p:nvSpPr>
          <p:spPr bwMode="auto">
            <a:xfrm>
              <a:off x="4151"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2437"/>
            <p:cNvSpPr>
              <a:spLocks noChangeArrowheads="1"/>
            </p:cNvSpPr>
            <p:nvPr/>
          </p:nvSpPr>
          <p:spPr bwMode="auto">
            <a:xfrm>
              <a:off x="3303"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438"/>
            <p:cNvSpPr>
              <a:spLocks/>
            </p:cNvSpPr>
            <p:nvPr/>
          </p:nvSpPr>
          <p:spPr bwMode="auto">
            <a:xfrm>
              <a:off x="3265" y="2512"/>
              <a:ext cx="27" cy="27"/>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2439"/>
            <p:cNvSpPr>
              <a:spLocks noChangeArrowheads="1"/>
            </p:cNvSpPr>
            <p:nvPr/>
          </p:nvSpPr>
          <p:spPr bwMode="auto">
            <a:xfrm>
              <a:off x="3149"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2440"/>
            <p:cNvSpPr>
              <a:spLocks noChangeArrowheads="1"/>
            </p:cNvSpPr>
            <p:nvPr/>
          </p:nvSpPr>
          <p:spPr bwMode="auto">
            <a:xfrm>
              <a:off x="3111" y="251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2441"/>
            <p:cNvSpPr>
              <a:spLocks noChangeArrowheads="1"/>
            </p:cNvSpPr>
            <p:nvPr/>
          </p:nvSpPr>
          <p:spPr bwMode="auto">
            <a:xfrm>
              <a:off x="3072"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2442"/>
            <p:cNvSpPr>
              <a:spLocks noChangeArrowheads="1"/>
            </p:cNvSpPr>
            <p:nvPr/>
          </p:nvSpPr>
          <p:spPr bwMode="auto">
            <a:xfrm>
              <a:off x="3033"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2443"/>
            <p:cNvSpPr>
              <a:spLocks noChangeArrowheads="1"/>
            </p:cNvSpPr>
            <p:nvPr/>
          </p:nvSpPr>
          <p:spPr bwMode="auto">
            <a:xfrm>
              <a:off x="2995"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2444"/>
            <p:cNvSpPr>
              <a:spLocks noChangeArrowheads="1"/>
            </p:cNvSpPr>
            <p:nvPr/>
          </p:nvSpPr>
          <p:spPr bwMode="auto">
            <a:xfrm>
              <a:off x="2956"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2445"/>
            <p:cNvSpPr>
              <a:spLocks noChangeArrowheads="1"/>
            </p:cNvSpPr>
            <p:nvPr/>
          </p:nvSpPr>
          <p:spPr bwMode="auto">
            <a:xfrm>
              <a:off x="2918" y="251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2446"/>
            <p:cNvSpPr>
              <a:spLocks noChangeArrowheads="1"/>
            </p:cNvSpPr>
            <p:nvPr/>
          </p:nvSpPr>
          <p:spPr bwMode="auto">
            <a:xfrm>
              <a:off x="2879"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2447"/>
            <p:cNvSpPr>
              <a:spLocks noChangeArrowheads="1"/>
            </p:cNvSpPr>
            <p:nvPr/>
          </p:nvSpPr>
          <p:spPr bwMode="auto">
            <a:xfrm>
              <a:off x="2147" y="251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2448"/>
            <p:cNvSpPr>
              <a:spLocks noChangeArrowheads="1"/>
            </p:cNvSpPr>
            <p:nvPr/>
          </p:nvSpPr>
          <p:spPr bwMode="auto">
            <a:xfrm>
              <a:off x="2108"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2449"/>
            <p:cNvSpPr>
              <a:spLocks noChangeArrowheads="1"/>
            </p:cNvSpPr>
            <p:nvPr/>
          </p:nvSpPr>
          <p:spPr bwMode="auto">
            <a:xfrm>
              <a:off x="2070" y="251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2450"/>
            <p:cNvSpPr>
              <a:spLocks noChangeArrowheads="1"/>
            </p:cNvSpPr>
            <p:nvPr/>
          </p:nvSpPr>
          <p:spPr bwMode="auto">
            <a:xfrm>
              <a:off x="2031"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2451"/>
            <p:cNvSpPr>
              <a:spLocks noChangeArrowheads="1"/>
            </p:cNvSpPr>
            <p:nvPr/>
          </p:nvSpPr>
          <p:spPr bwMode="auto">
            <a:xfrm>
              <a:off x="1993" y="251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2452"/>
            <p:cNvSpPr>
              <a:spLocks noChangeArrowheads="1"/>
            </p:cNvSpPr>
            <p:nvPr/>
          </p:nvSpPr>
          <p:spPr bwMode="auto">
            <a:xfrm>
              <a:off x="1954"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2453"/>
            <p:cNvSpPr>
              <a:spLocks noChangeArrowheads="1"/>
            </p:cNvSpPr>
            <p:nvPr/>
          </p:nvSpPr>
          <p:spPr bwMode="auto">
            <a:xfrm>
              <a:off x="1915"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2454"/>
            <p:cNvSpPr>
              <a:spLocks noChangeArrowheads="1"/>
            </p:cNvSpPr>
            <p:nvPr/>
          </p:nvSpPr>
          <p:spPr bwMode="auto">
            <a:xfrm>
              <a:off x="1877"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2455"/>
            <p:cNvSpPr>
              <a:spLocks noChangeArrowheads="1"/>
            </p:cNvSpPr>
            <p:nvPr/>
          </p:nvSpPr>
          <p:spPr bwMode="auto">
            <a:xfrm>
              <a:off x="1838" y="251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56"/>
            <p:cNvSpPr>
              <a:spLocks/>
            </p:cNvSpPr>
            <p:nvPr/>
          </p:nvSpPr>
          <p:spPr bwMode="auto">
            <a:xfrm>
              <a:off x="1800" y="2512"/>
              <a:ext cx="28" cy="27"/>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2457"/>
            <p:cNvSpPr>
              <a:spLocks noChangeArrowheads="1"/>
            </p:cNvSpPr>
            <p:nvPr/>
          </p:nvSpPr>
          <p:spPr bwMode="auto">
            <a:xfrm>
              <a:off x="4653" y="255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2458"/>
            <p:cNvSpPr>
              <a:spLocks noChangeArrowheads="1"/>
            </p:cNvSpPr>
            <p:nvPr/>
          </p:nvSpPr>
          <p:spPr bwMode="auto">
            <a:xfrm>
              <a:off x="4614"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2459"/>
            <p:cNvSpPr>
              <a:spLocks noChangeArrowheads="1"/>
            </p:cNvSpPr>
            <p:nvPr/>
          </p:nvSpPr>
          <p:spPr bwMode="auto">
            <a:xfrm>
              <a:off x="4576" y="255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2460"/>
            <p:cNvSpPr>
              <a:spLocks noChangeArrowheads="1"/>
            </p:cNvSpPr>
            <p:nvPr/>
          </p:nvSpPr>
          <p:spPr bwMode="auto">
            <a:xfrm>
              <a:off x="4537"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2461"/>
            <p:cNvSpPr>
              <a:spLocks noChangeArrowheads="1"/>
            </p:cNvSpPr>
            <p:nvPr/>
          </p:nvSpPr>
          <p:spPr bwMode="auto">
            <a:xfrm>
              <a:off x="4498"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2462"/>
            <p:cNvSpPr>
              <a:spLocks noChangeArrowheads="1"/>
            </p:cNvSpPr>
            <p:nvPr/>
          </p:nvSpPr>
          <p:spPr bwMode="auto">
            <a:xfrm>
              <a:off x="4460"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2463"/>
            <p:cNvSpPr>
              <a:spLocks noChangeArrowheads="1"/>
            </p:cNvSpPr>
            <p:nvPr/>
          </p:nvSpPr>
          <p:spPr bwMode="auto">
            <a:xfrm>
              <a:off x="4421"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2464"/>
            <p:cNvSpPr>
              <a:spLocks noChangeArrowheads="1"/>
            </p:cNvSpPr>
            <p:nvPr/>
          </p:nvSpPr>
          <p:spPr bwMode="auto">
            <a:xfrm>
              <a:off x="4383" y="255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2465"/>
            <p:cNvSpPr>
              <a:spLocks noChangeArrowheads="1"/>
            </p:cNvSpPr>
            <p:nvPr/>
          </p:nvSpPr>
          <p:spPr bwMode="auto">
            <a:xfrm>
              <a:off x="4344"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2466"/>
            <p:cNvSpPr>
              <a:spLocks noChangeArrowheads="1"/>
            </p:cNvSpPr>
            <p:nvPr/>
          </p:nvSpPr>
          <p:spPr bwMode="auto">
            <a:xfrm>
              <a:off x="4306" y="255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2467"/>
            <p:cNvSpPr>
              <a:spLocks noChangeArrowheads="1"/>
            </p:cNvSpPr>
            <p:nvPr/>
          </p:nvSpPr>
          <p:spPr bwMode="auto">
            <a:xfrm>
              <a:off x="4267"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468"/>
            <p:cNvSpPr>
              <a:spLocks/>
            </p:cNvSpPr>
            <p:nvPr/>
          </p:nvSpPr>
          <p:spPr bwMode="auto">
            <a:xfrm>
              <a:off x="4229" y="2550"/>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2469"/>
            <p:cNvSpPr>
              <a:spLocks noChangeArrowheads="1"/>
            </p:cNvSpPr>
            <p:nvPr/>
          </p:nvSpPr>
          <p:spPr bwMode="auto">
            <a:xfrm>
              <a:off x="4190"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2470"/>
            <p:cNvSpPr>
              <a:spLocks noChangeArrowheads="1"/>
            </p:cNvSpPr>
            <p:nvPr/>
          </p:nvSpPr>
          <p:spPr bwMode="auto">
            <a:xfrm>
              <a:off x="4151"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2471"/>
            <p:cNvSpPr>
              <a:spLocks/>
            </p:cNvSpPr>
            <p:nvPr/>
          </p:nvSpPr>
          <p:spPr bwMode="auto">
            <a:xfrm>
              <a:off x="3265" y="2550"/>
              <a:ext cx="27" cy="28"/>
            </a:xfrm>
            <a:custGeom>
              <a:avLst/>
              <a:gdLst>
                <a:gd name="T0" fmla="*/ 79 w 159"/>
                <a:gd name="T1" fmla="*/ 0 h 160"/>
                <a:gd name="T2" fmla="*/ 159 w 159"/>
                <a:gd name="T3" fmla="*/ 80 h 160"/>
                <a:gd name="T4" fmla="*/ 79 w 159"/>
                <a:gd name="T5" fmla="*/ 160 h 160"/>
                <a:gd name="T6" fmla="*/ 0 w 159"/>
                <a:gd name="T7" fmla="*/ 80 h 160"/>
                <a:gd name="T8" fmla="*/ 79 w 159"/>
                <a:gd name="T9" fmla="*/ 0 h 160"/>
              </a:gdLst>
              <a:ahLst/>
              <a:cxnLst>
                <a:cxn ang="0">
                  <a:pos x="T0" y="T1"/>
                </a:cxn>
                <a:cxn ang="0">
                  <a:pos x="T2" y="T3"/>
                </a:cxn>
                <a:cxn ang="0">
                  <a:pos x="T4" y="T5"/>
                </a:cxn>
                <a:cxn ang="0">
                  <a:pos x="T6" y="T7"/>
                </a:cxn>
                <a:cxn ang="0">
                  <a:pos x="T8" y="T9"/>
                </a:cxn>
              </a:cxnLst>
              <a:rect l="0" t="0" r="r" b="b"/>
              <a:pathLst>
                <a:path w="159" h="160">
                  <a:moveTo>
                    <a:pt x="79" y="0"/>
                  </a:moveTo>
                  <a:cubicBezTo>
                    <a:pt x="124" y="0"/>
                    <a:pt x="159" y="36"/>
                    <a:pt x="159" y="80"/>
                  </a:cubicBezTo>
                  <a:cubicBezTo>
                    <a:pt x="159" y="124"/>
                    <a:pt x="123" y="160"/>
                    <a:pt x="79" y="160"/>
                  </a:cubicBezTo>
                  <a:cubicBezTo>
                    <a:pt x="35" y="160"/>
                    <a:pt x="0" y="124"/>
                    <a:pt x="0" y="80"/>
                  </a:cubicBezTo>
                  <a:cubicBezTo>
                    <a:pt x="0" y="36"/>
                    <a:pt x="35" y="0"/>
                    <a:pt x="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2472"/>
            <p:cNvSpPr>
              <a:spLocks noChangeArrowheads="1"/>
            </p:cNvSpPr>
            <p:nvPr/>
          </p:nvSpPr>
          <p:spPr bwMode="auto">
            <a:xfrm>
              <a:off x="3149"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2473"/>
            <p:cNvSpPr>
              <a:spLocks noChangeArrowheads="1"/>
            </p:cNvSpPr>
            <p:nvPr/>
          </p:nvSpPr>
          <p:spPr bwMode="auto">
            <a:xfrm>
              <a:off x="3111" y="255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2474"/>
            <p:cNvSpPr>
              <a:spLocks noChangeArrowheads="1"/>
            </p:cNvSpPr>
            <p:nvPr/>
          </p:nvSpPr>
          <p:spPr bwMode="auto">
            <a:xfrm>
              <a:off x="3072"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2475"/>
            <p:cNvSpPr>
              <a:spLocks noChangeArrowheads="1"/>
            </p:cNvSpPr>
            <p:nvPr/>
          </p:nvSpPr>
          <p:spPr bwMode="auto">
            <a:xfrm>
              <a:off x="3033"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2476"/>
            <p:cNvSpPr>
              <a:spLocks noChangeArrowheads="1"/>
            </p:cNvSpPr>
            <p:nvPr/>
          </p:nvSpPr>
          <p:spPr bwMode="auto">
            <a:xfrm>
              <a:off x="2995"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2477"/>
            <p:cNvSpPr>
              <a:spLocks noChangeArrowheads="1"/>
            </p:cNvSpPr>
            <p:nvPr/>
          </p:nvSpPr>
          <p:spPr bwMode="auto">
            <a:xfrm>
              <a:off x="2956"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2478"/>
            <p:cNvSpPr>
              <a:spLocks noChangeArrowheads="1"/>
            </p:cNvSpPr>
            <p:nvPr/>
          </p:nvSpPr>
          <p:spPr bwMode="auto">
            <a:xfrm>
              <a:off x="2918" y="255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2479"/>
            <p:cNvSpPr>
              <a:spLocks noChangeArrowheads="1"/>
            </p:cNvSpPr>
            <p:nvPr/>
          </p:nvSpPr>
          <p:spPr bwMode="auto">
            <a:xfrm>
              <a:off x="2879"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2480"/>
            <p:cNvSpPr>
              <a:spLocks noChangeArrowheads="1"/>
            </p:cNvSpPr>
            <p:nvPr/>
          </p:nvSpPr>
          <p:spPr bwMode="auto">
            <a:xfrm>
              <a:off x="2070" y="255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2481"/>
            <p:cNvSpPr>
              <a:spLocks noChangeArrowheads="1"/>
            </p:cNvSpPr>
            <p:nvPr/>
          </p:nvSpPr>
          <p:spPr bwMode="auto">
            <a:xfrm>
              <a:off x="2031"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2482"/>
            <p:cNvSpPr>
              <a:spLocks noChangeArrowheads="1"/>
            </p:cNvSpPr>
            <p:nvPr/>
          </p:nvSpPr>
          <p:spPr bwMode="auto">
            <a:xfrm>
              <a:off x="1993" y="255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2483"/>
            <p:cNvSpPr>
              <a:spLocks noChangeArrowheads="1"/>
            </p:cNvSpPr>
            <p:nvPr/>
          </p:nvSpPr>
          <p:spPr bwMode="auto">
            <a:xfrm>
              <a:off x="1954"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2484"/>
            <p:cNvSpPr>
              <a:spLocks noChangeArrowheads="1"/>
            </p:cNvSpPr>
            <p:nvPr/>
          </p:nvSpPr>
          <p:spPr bwMode="auto">
            <a:xfrm>
              <a:off x="1915"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2485"/>
            <p:cNvSpPr>
              <a:spLocks noChangeArrowheads="1"/>
            </p:cNvSpPr>
            <p:nvPr/>
          </p:nvSpPr>
          <p:spPr bwMode="auto">
            <a:xfrm>
              <a:off x="1877"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2486"/>
            <p:cNvSpPr>
              <a:spLocks noChangeArrowheads="1"/>
            </p:cNvSpPr>
            <p:nvPr/>
          </p:nvSpPr>
          <p:spPr bwMode="auto">
            <a:xfrm>
              <a:off x="1838" y="255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487"/>
            <p:cNvSpPr>
              <a:spLocks/>
            </p:cNvSpPr>
            <p:nvPr/>
          </p:nvSpPr>
          <p:spPr bwMode="auto">
            <a:xfrm>
              <a:off x="1800" y="2550"/>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2488"/>
            <p:cNvSpPr>
              <a:spLocks noChangeArrowheads="1"/>
            </p:cNvSpPr>
            <p:nvPr/>
          </p:nvSpPr>
          <p:spPr bwMode="auto">
            <a:xfrm>
              <a:off x="4653" y="258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2489"/>
            <p:cNvSpPr>
              <a:spLocks noChangeArrowheads="1"/>
            </p:cNvSpPr>
            <p:nvPr/>
          </p:nvSpPr>
          <p:spPr bwMode="auto">
            <a:xfrm>
              <a:off x="4614"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2490"/>
            <p:cNvSpPr>
              <a:spLocks noChangeArrowheads="1"/>
            </p:cNvSpPr>
            <p:nvPr/>
          </p:nvSpPr>
          <p:spPr bwMode="auto">
            <a:xfrm>
              <a:off x="4576" y="258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2491"/>
            <p:cNvSpPr>
              <a:spLocks noChangeArrowheads="1"/>
            </p:cNvSpPr>
            <p:nvPr/>
          </p:nvSpPr>
          <p:spPr bwMode="auto">
            <a:xfrm>
              <a:off x="4537"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2492"/>
            <p:cNvSpPr>
              <a:spLocks noChangeArrowheads="1"/>
            </p:cNvSpPr>
            <p:nvPr/>
          </p:nvSpPr>
          <p:spPr bwMode="auto">
            <a:xfrm>
              <a:off x="4498"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2493"/>
            <p:cNvSpPr>
              <a:spLocks noChangeArrowheads="1"/>
            </p:cNvSpPr>
            <p:nvPr/>
          </p:nvSpPr>
          <p:spPr bwMode="auto">
            <a:xfrm>
              <a:off x="4460"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2494"/>
            <p:cNvSpPr>
              <a:spLocks noChangeArrowheads="1"/>
            </p:cNvSpPr>
            <p:nvPr/>
          </p:nvSpPr>
          <p:spPr bwMode="auto">
            <a:xfrm>
              <a:off x="4421"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2495"/>
            <p:cNvSpPr>
              <a:spLocks noChangeArrowheads="1"/>
            </p:cNvSpPr>
            <p:nvPr/>
          </p:nvSpPr>
          <p:spPr bwMode="auto">
            <a:xfrm>
              <a:off x="4383" y="258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2496"/>
            <p:cNvSpPr>
              <a:spLocks noChangeArrowheads="1"/>
            </p:cNvSpPr>
            <p:nvPr/>
          </p:nvSpPr>
          <p:spPr bwMode="auto">
            <a:xfrm>
              <a:off x="4344"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2497"/>
            <p:cNvSpPr>
              <a:spLocks noChangeArrowheads="1"/>
            </p:cNvSpPr>
            <p:nvPr/>
          </p:nvSpPr>
          <p:spPr bwMode="auto">
            <a:xfrm>
              <a:off x="4306" y="258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2498"/>
            <p:cNvSpPr>
              <a:spLocks noChangeArrowheads="1"/>
            </p:cNvSpPr>
            <p:nvPr/>
          </p:nvSpPr>
          <p:spPr bwMode="auto">
            <a:xfrm>
              <a:off x="4267"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499"/>
            <p:cNvSpPr>
              <a:spLocks/>
            </p:cNvSpPr>
            <p:nvPr/>
          </p:nvSpPr>
          <p:spPr bwMode="auto">
            <a:xfrm>
              <a:off x="4229" y="2589"/>
              <a:ext cx="27" cy="27"/>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2500"/>
            <p:cNvSpPr>
              <a:spLocks noChangeArrowheads="1"/>
            </p:cNvSpPr>
            <p:nvPr/>
          </p:nvSpPr>
          <p:spPr bwMode="auto">
            <a:xfrm>
              <a:off x="4190"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2501"/>
            <p:cNvSpPr>
              <a:spLocks noChangeArrowheads="1"/>
            </p:cNvSpPr>
            <p:nvPr/>
          </p:nvSpPr>
          <p:spPr bwMode="auto">
            <a:xfrm>
              <a:off x="4151"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2502"/>
            <p:cNvSpPr>
              <a:spLocks noChangeArrowheads="1"/>
            </p:cNvSpPr>
            <p:nvPr/>
          </p:nvSpPr>
          <p:spPr bwMode="auto">
            <a:xfrm>
              <a:off x="3072"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2503"/>
            <p:cNvSpPr>
              <a:spLocks noChangeArrowheads="1"/>
            </p:cNvSpPr>
            <p:nvPr/>
          </p:nvSpPr>
          <p:spPr bwMode="auto">
            <a:xfrm>
              <a:off x="3033"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2504"/>
            <p:cNvSpPr>
              <a:spLocks noChangeArrowheads="1"/>
            </p:cNvSpPr>
            <p:nvPr/>
          </p:nvSpPr>
          <p:spPr bwMode="auto">
            <a:xfrm>
              <a:off x="2995"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2505"/>
            <p:cNvSpPr>
              <a:spLocks noChangeArrowheads="1"/>
            </p:cNvSpPr>
            <p:nvPr/>
          </p:nvSpPr>
          <p:spPr bwMode="auto">
            <a:xfrm>
              <a:off x="2956"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2506"/>
            <p:cNvSpPr>
              <a:spLocks noChangeArrowheads="1"/>
            </p:cNvSpPr>
            <p:nvPr/>
          </p:nvSpPr>
          <p:spPr bwMode="auto">
            <a:xfrm>
              <a:off x="2918" y="258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2507"/>
            <p:cNvSpPr>
              <a:spLocks noChangeArrowheads="1"/>
            </p:cNvSpPr>
            <p:nvPr/>
          </p:nvSpPr>
          <p:spPr bwMode="auto">
            <a:xfrm>
              <a:off x="2031"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2508"/>
            <p:cNvSpPr>
              <a:spLocks noChangeArrowheads="1"/>
            </p:cNvSpPr>
            <p:nvPr/>
          </p:nvSpPr>
          <p:spPr bwMode="auto">
            <a:xfrm>
              <a:off x="1993" y="2589"/>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2509"/>
            <p:cNvSpPr>
              <a:spLocks noChangeArrowheads="1"/>
            </p:cNvSpPr>
            <p:nvPr/>
          </p:nvSpPr>
          <p:spPr bwMode="auto">
            <a:xfrm>
              <a:off x="1954"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2510"/>
            <p:cNvSpPr>
              <a:spLocks noChangeArrowheads="1"/>
            </p:cNvSpPr>
            <p:nvPr/>
          </p:nvSpPr>
          <p:spPr bwMode="auto">
            <a:xfrm>
              <a:off x="1915"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2511"/>
            <p:cNvSpPr>
              <a:spLocks noChangeArrowheads="1"/>
            </p:cNvSpPr>
            <p:nvPr/>
          </p:nvSpPr>
          <p:spPr bwMode="auto">
            <a:xfrm>
              <a:off x="1877"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2512"/>
            <p:cNvSpPr>
              <a:spLocks noChangeArrowheads="1"/>
            </p:cNvSpPr>
            <p:nvPr/>
          </p:nvSpPr>
          <p:spPr bwMode="auto">
            <a:xfrm>
              <a:off x="1838"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2513"/>
            <p:cNvSpPr>
              <a:spLocks/>
            </p:cNvSpPr>
            <p:nvPr/>
          </p:nvSpPr>
          <p:spPr bwMode="auto">
            <a:xfrm>
              <a:off x="1800" y="2589"/>
              <a:ext cx="28" cy="27"/>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2514"/>
            <p:cNvSpPr>
              <a:spLocks noChangeArrowheads="1"/>
            </p:cNvSpPr>
            <p:nvPr/>
          </p:nvSpPr>
          <p:spPr bwMode="auto">
            <a:xfrm>
              <a:off x="1761" y="2589"/>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2515"/>
            <p:cNvSpPr>
              <a:spLocks noChangeArrowheads="1"/>
            </p:cNvSpPr>
            <p:nvPr/>
          </p:nvSpPr>
          <p:spPr bwMode="auto">
            <a:xfrm>
              <a:off x="4653" y="262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2516"/>
            <p:cNvSpPr>
              <a:spLocks noChangeArrowheads="1"/>
            </p:cNvSpPr>
            <p:nvPr/>
          </p:nvSpPr>
          <p:spPr bwMode="auto">
            <a:xfrm>
              <a:off x="4614"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2517"/>
            <p:cNvSpPr>
              <a:spLocks noChangeArrowheads="1"/>
            </p:cNvSpPr>
            <p:nvPr/>
          </p:nvSpPr>
          <p:spPr bwMode="auto">
            <a:xfrm>
              <a:off x="4576" y="262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2518"/>
            <p:cNvSpPr>
              <a:spLocks noChangeArrowheads="1"/>
            </p:cNvSpPr>
            <p:nvPr/>
          </p:nvSpPr>
          <p:spPr bwMode="auto">
            <a:xfrm>
              <a:off x="4537"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2519"/>
            <p:cNvSpPr>
              <a:spLocks noChangeArrowheads="1"/>
            </p:cNvSpPr>
            <p:nvPr/>
          </p:nvSpPr>
          <p:spPr bwMode="auto">
            <a:xfrm>
              <a:off x="4498"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2520"/>
            <p:cNvSpPr>
              <a:spLocks noChangeArrowheads="1"/>
            </p:cNvSpPr>
            <p:nvPr/>
          </p:nvSpPr>
          <p:spPr bwMode="auto">
            <a:xfrm>
              <a:off x="4460"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2521"/>
            <p:cNvSpPr>
              <a:spLocks noChangeArrowheads="1"/>
            </p:cNvSpPr>
            <p:nvPr/>
          </p:nvSpPr>
          <p:spPr bwMode="auto">
            <a:xfrm>
              <a:off x="4421"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2522"/>
            <p:cNvSpPr>
              <a:spLocks noChangeArrowheads="1"/>
            </p:cNvSpPr>
            <p:nvPr/>
          </p:nvSpPr>
          <p:spPr bwMode="auto">
            <a:xfrm>
              <a:off x="4383" y="262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2523"/>
            <p:cNvSpPr>
              <a:spLocks noChangeArrowheads="1"/>
            </p:cNvSpPr>
            <p:nvPr/>
          </p:nvSpPr>
          <p:spPr bwMode="auto">
            <a:xfrm>
              <a:off x="4344"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2524"/>
            <p:cNvSpPr>
              <a:spLocks noChangeArrowheads="1"/>
            </p:cNvSpPr>
            <p:nvPr/>
          </p:nvSpPr>
          <p:spPr bwMode="auto">
            <a:xfrm>
              <a:off x="4306" y="262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2525"/>
            <p:cNvSpPr>
              <a:spLocks noChangeArrowheads="1"/>
            </p:cNvSpPr>
            <p:nvPr/>
          </p:nvSpPr>
          <p:spPr bwMode="auto">
            <a:xfrm>
              <a:off x="4267"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526"/>
            <p:cNvSpPr>
              <a:spLocks/>
            </p:cNvSpPr>
            <p:nvPr/>
          </p:nvSpPr>
          <p:spPr bwMode="auto">
            <a:xfrm>
              <a:off x="4229" y="2627"/>
              <a:ext cx="27" cy="28"/>
            </a:xfrm>
            <a:custGeom>
              <a:avLst/>
              <a:gdLst>
                <a:gd name="T0" fmla="*/ 80 w 159"/>
                <a:gd name="T1" fmla="*/ 0 h 159"/>
                <a:gd name="T2" fmla="*/ 159 w 159"/>
                <a:gd name="T3" fmla="*/ 80 h 159"/>
                <a:gd name="T4" fmla="*/ 79 w 159"/>
                <a:gd name="T5" fmla="*/ 159 h 159"/>
                <a:gd name="T6" fmla="*/ 0 w 159"/>
                <a:gd name="T7" fmla="*/ 80 h 159"/>
                <a:gd name="T8" fmla="*/ 79 w 159"/>
                <a:gd name="T9" fmla="*/ 0 h 159"/>
                <a:gd name="T10" fmla="*/ 80 w 159"/>
                <a:gd name="T11" fmla="*/ 0 h 159"/>
              </a:gdLst>
              <a:ahLst/>
              <a:cxnLst>
                <a:cxn ang="0">
                  <a:pos x="T0" y="T1"/>
                </a:cxn>
                <a:cxn ang="0">
                  <a:pos x="T2" y="T3"/>
                </a:cxn>
                <a:cxn ang="0">
                  <a:pos x="T4" y="T5"/>
                </a:cxn>
                <a:cxn ang="0">
                  <a:pos x="T6" y="T7"/>
                </a:cxn>
                <a:cxn ang="0">
                  <a:pos x="T8" y="T9"/>
                </a:cxn>
                <a:cxn ang="0">
                  <a:pos x="T10" y="T11"/>
                </a:cxn>
              </a:cxnLst>
              <a:rect l="0" t="0" r="r" b="b"/>
              <a:pathLst>
                <a:path w="159" h="159">
                  <a:moveTo>
                    <a:pt x="80" y="0"/>
                  </a:moveTo>
                  <a:cubicBezTo>
                    <a:pt x="124" y="0"/>
                    <a:pt x="159" y="35"/>
                    <a:pt x="159" y="80"/>
                  </a:cubicBezTo>
                  <a:cubicBezTo>
                    <a:pt x="159" y="124"/>
                    <a:pt x="124" y="159"/>
                    <a:pt x="79" y="159"/>
                  </a:cubicBezTo>
                  <a:cubicBezTo>
                    <a:pt x="35" y="159"/>
                    <a:pt x="0" y="124"/>
                    <a:pt x="0" y="80"/>
                  </a:cubicBezTo>
                  <a:cubicBezTo>
                    <a:pt x="0" y="35"/>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2527"/>
            <p:cNvSpPr>
              <a:spLocks noChangeArrowheads="1"/>
            </p:cNvSpPr>
            <p:nvPr/>
          </p:nvSpPr>
          <p:spPr bwMode="auto">
            <a:xfrm>
              <a:off x="4190"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2528"/>
            <p:cNvSpPr>
              <a:spLocks noChangeArrowheads="1"/>
            </p:cNvSpPr>
            <p:nvPr/>
          </p:nvSpPr>
          <p:spPr bwMode="auto">
            <a:xfrm>
              <a:off x="3072"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2529"/>
            <p:cNvSpPr>
              <a:spLocks noChangeArrowheads="1"/>
            </p:cNvSpPr>
            <p:nvPr/>
          </p:nvSpPr>
          <p:spPr bwMode="auto">
            <a:xfrm>
              <a:off x="3033"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2530"/>
            <p:cNvSpPr>
              <a:spLocks noChangeArrowheads="1"/>
            </p:cNvSpPr>
            <p:nvPr/>
          </p:nvSpPr>
          <p:spPr bwMode="auto">
            <a:xfrm>
              <a:off x="2995"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2531"/>
            <p:cNvSpPr>
              <a:spLocks noChangeArrowheads="1"/>
            </p:cNvSpPr>
            <p:nvPr/>
          </p:nvSpPr>
          <p:spPr bwMode="auto">
            <a:xfrm>
              <a:off x="2956"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2532"/>
            <p:cNvSpPr>
              <a:spLocks noChangeArrowheads="1"/>
            </p:cNvSpPr>
            <p:nvPr/>
          </p:nvSpPr>
          <p:spPr bwMode="auto">
            <a:xfrm>
              <a:off x="2918" y="262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2533"/>
            <p:cNvSpPr>
              <a:spLocks noChangeArrowheads="1"/>
            </p:cNvSpPr>
            <p:nvPr/>
          </p:nvSpPr>
          <p:spPr bwMode="auto">
            <a:xfrm>
              <a:off x="2031"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2534"/>
            <p:cNvSpPr>
              <a:spLocks noChangeArrowheads="1"/>
            </p:cNvSpPr>
            <p:nvPr/>
          </p:nvSpPr>
          <p:spPr bwMode="auto">
            <a:xfrm>
              <a:off x="1993" y="262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2535"/>
            <p:cNvSpPr>
              <a:spLocks noChangeArrowheads="1"/>
            </p:cNvSpPr>
            <p:nvPr/>
          </p:nvSpPr>
          <p:spPr bwMode="auto">
            <a:xfrm>
              <a:off x="1954"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2536"/>
            <p:cNvSpPr>
              <a:spLocks noChangeArrowheads="1"/>
            </p:cNvSpPr>
            <p:nvPr/>
          </p:nvSpPr>
          <p:spPr bwMode="auto">
            <a:xfrm>
              <a:off x="1915"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2537"/>
            <p:cNvSpPr>
              <a:spLocks noChangeArrowheads="1"/>
            </p:cNvSpPr>
            <p:nvPr/>
          </p:nvSpPr>
          <p:spPr bwMode="auto">
            <a:xfrm>
              <a:off x="1877"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2538"/>
            <p:cNvSpPr>
              <a:spLocks noChangeArrowheads="1"/>
            </p:cNvSpPr>
            <p:nvPr/>
          </p:nvSpPr>
          <p:spPr bwMode="auto">
            <a:xfrm>
              <a:off x="1838"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2539"/>
            <p:cNvSpPr>
              <a:spLocks/>
            </p:cNvSpPr>
            <p:nvPr/>
          </p:nvSpPr>
          <p:spPr bwMode="auto">
            <a:xfrm>
              <a:off x="1800" y="2627"/>
              <a:ext cx="28" cy="28"/>
            </a:xfrm>
            <a:custGeom>
              <a:avLst/>
              <a:gdLst>
                <a:gd name="T0" fmla="*/ 80 w 160"/>
                <a:gd name="T1" fmla="*/ 0 h 159"/>
                <a:gd name="T2" fmla="*/ 159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2540"/>
            <p:cNvSpPr>
              <a:spLocks noChangeArrowheads="1"/>
            </p:cNvSpPr>
            <p:nvPr/>
          </p:nvSpPr>
          <p:spPr bwMode="auto">
            <a:xfrm>
              <a:off x="1761" y="262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2541"/>
            <p:cNvSpPr>
              <a:spLocks noChangeArrowheads="1"/>
            </p:cNvSpPr>
            <p:nvPr/>
          </p:nvSpPr>
          <p:spPr bwMode="auto">
            <a:xfrm>
              <a:off x="4922"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2542"/>
            <p:cNvSpPr>
              <a:spLocks noChangeArrowheads="1"/>
            </p:cNvSpPr>
            <p:nvPr/>
          </p:nvSpPr>
          <p:spPr bwMode="auto">
            <a:xfrm>
              <a:off x="4614"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2543"/>
            <p:cNvSpPr>
              <a:spLocks noChangeArrowheads="1"/>
            </p:cNvSpPr>
            <p:nvPr/>
          </p:nvSpPr>
          <p:spPr bwMode="auto">
            <a:xfrm>
              <a:off x="4576" y="266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2544"/>
            <p:cNvSpPr>
              <a:spLocks noChangeArrowheads="1"/>
            </p:cNvSpPr>
            <p:nvPr/>
          </p:nvSpPr>
          <p:spPr bwMode="auto">
            <a:xfrm>
              <a:off x="4537"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2545"/>
            <p:cNvSpPr>
              <a:spLocks noChangeArrowheads="1"/>
            </p:cNvSpPr>
            <p:nvPr/>
          </p:nvSpPr>
          <p:spPr bwMode="auto">
            <a:xfrm>
              <a:off x="4498"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2546"/>
            <p:cNvSpPr>
              <a:spLocks noChangeArrowheads="1"/>
            </p:cNvSpPr>
            <p:nvPr/>
          </p:nvSpPr>
          <p:spPr bwMode="auto">
            <a:xfrm>
              <a:off x="4460"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2547"/>
            <p:cNvSpPr>
              <a:spLocks noChangeArrowheads="1"/>
            </p:cNvSpPr>
            <p:nvPr/>
          </p:nvSpPr>
          <p:spPr bwMode="auto">
            <a:xfrm>
              <a:off x="4421"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2548"/>
            <p:cNvSpPr>
              <a:spLocks noChangeArrowheads="1"/>
            </p:cNvSpPr>
            <p:nvPr/>
          </p:nvSpPr>
          <p:spPr bwMode="auto">
            <a:xfrm>
              <a:off x="4267"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2549"/>
            <p:cNvSpPr>
              <a:spLocks/>
            </p:cNvSpPr>
            <p:nvPr/>
          </p:nvSpPr>
          <p:spPr bwMode="auto">
            <a:xfrm>
              <a:off x="4229" y="2666"/>
              <a:ext cx="27" cy="28"/>
            </a:xfrm>
            <a:custGeom>
              <a:avLst/>
              <a:gdLst>
                <a:gd name="T0" fmla="*/ 80 w 159"/>
                <a:gd name="T1" fmla="*/ 0 h 160"/>
                <a:gd name="T2" fmla="*/ 159 w 159"/>
                <a:gd name="T3" fmla="*/ 80 h 160"/>
                <a:gd name="T4" fmla="*/ 79 w 159"/>
                <a:gd name="T5" fmla="*/ 160 h 160"/>
                <a:gd name="T6" fmla="*/ 0 w 159"/>
                <a:gd name="T7" fmla="*/ 80 h 160"/>
                <a:gd name="T8" fmla="*/ 79 w 159"/>
                <a:gd name="T9" fmla="*/ 0 h 160"/>
                <a:gd name="T10" fmla="*/ 80 w 159"/>
                <a:gd name="T11" fmla="*/ 0 h 160"/>
              </a:gdLst>
              <a:ahLst/>
              <a:cxnLst>
                <a:cxn ang="0">
                  <a:pos x="T0" y="T1"/>
                </a:cxn>
                <a:cxn ang="0">
                  <a:pos x="T2" y="T3"/>
                </a:cxn>
                <a:cxn ang="0">
                  <a:pos x="T4" y="T5"/>
                </a:cxn>
                <a:cxn ang="0">
                  <a:pos x="T6" y="T7"/>
                </a:cxn>
                <a:cxn ang="0">
                  <a:pos x="T8" y="T9"/>
                </a:cxn>
                <a:cxn ang="0">
                  <a:pos x="T10" y="T11"/>
                </a:cxn>
              </a:cxnLst>
              <a:rect l="0" t="0" r="r" b="b"/>
              <a:pathLst>
                <a:path w="159" h="160">
                  <a:moveTo>
                    <a:pt x="80" y="0"/>
                  </a:moveTo>
                  <a:cubicBezTo>
                    <a:pt x="124" y="0"/>
                    <a:pt x="159" y="36"/>
                    <a:pt x="159" y="80"/>
                  </a:cubicBezTo>
                  <a:cubicBezTo>
                    <a:pt x="159" y="124"/>
                    <a:pt x="124" y="160"/>
                    <a:pt x="79" y="160"/>
                  </a:cubicBezTo>
                  <a:cubicBezTo>
                    <a:pt x="35" y="160"/>
                    <a:pt x="0" y="124"/>
                    <a:pt x="0" y="80"/>
                  </a:cubicBezTo>
                  <a:cubicBezTo>
                    <a:pt x="0" y="36"/>
                    <a:pt x="35" y="0"/>
                    <a:pt x="79" y="0"/>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2550"/>
            <p:cNvSpPr>
              <a:spLocks noChangeArrowheads="1"/>
            </p:cNvSpPr>
            <p:nvPr/>
          </p:nvSpPr>
          <p:spPr bwMode="auto">
            <a:xfrm>
              <a:off x="4190"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2551"/>
            <p:cNvSpPr>
              <a:spLocks noChangeArrowheads="1"/>
            </p:cNvSpPr>
            <p:nvPr/>
          </p:nvSpPr>
          <p:spPr bwMode="auto">
            <a:xfrm>
              <a:off x="3033"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2552"/>
            <p:cNvSpPr>
              <a:spLocks noChangeArrowheads="1"/>
            </p:cNvSpPr>
            <p:nvPr/>
          </p:nvSpPr>
          <p:spPr bwMode="auto">
            <a:xfrm>
              <a:off x="2995"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2553"/>
            <p:cNvSpPr>
              <a:spLocks noChangeArrowheads="1"/>
            </p:cNvSpPr>
            <p:nvPr/>
          </p:nvSpPr>
          <p:spPr bwMode="auto">
            <a:xfrm>
              <a:off x="2956"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2554"/>
            <p:cNvSpPr>
              <a:spLocks noChangeArrowheads="1"/>
            </p:cNvSpPr>
            <p:nvPr/>
          </p:nvSpPr>
          <p:spPr bwMode="auto">
            <a:xfrm>
              <a:off x="2918" y="266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2555"/>
            <p:cNvSpPr>
              <a:spLocks noChangeArrowheads="1"/>
            </p:cNvSpPr>
            <p:nvPr/>
          </p:nvSpPr>
          <p:spPr bwMode="auto">
            <a:xfrm>
              <a:off x="1993" y="266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2556"/>
            <p:cNvSpPr>
              <a:spLocks noChangeArrowheads="1"/>
            </p:cNvSpPr>
            <p:nvPr/>
          </p:nvSpPr>
          <p:spPr bwMode="auto">
            <a:xfrm>
              <a:off x="1954"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2557"/>
            <p:cNvSpPr>
              <a:spLocks noChangeArrowheads="1"/>
            </p:cNvSpPr>
            <p:nvPr/>
          </p:nvSpPr>
          <p:spPr bwMode="auto">
            <a:xfrm>
              <a:off x="1915"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2558"/>
            <p:cNvSpPr>
              <a:spLocks noChangeArrowheads="1"/>
            </p:cNvSpPr>
            <p:nvPr/>
          </p:nvSpPr>
          <p:spPr bwMode="auto">
            <a:xfrm>
              <a:off x="1877"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2559"/>
            <p:cNvSpPr>
              <a:spLocks noChangeArrowheads="1"/>
            </p:cNvSpPr>
            <p:nvPr/>
          </p:nvSpPr>
          <p:spPr bwMode="auto">
            <a:xfrm>
              <a:off x="1838"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560"/>
            <p:cNvSpPr>
              <a:spLocks/>
            </p:cNvSpPr>
            <p:nvPr/>
          </p:nvSpPr>
          <p:spPr bwMode="auto">
            <a:xfrm>
              <a:off x="1800" y="2666"/>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2561"/>
            <p:cNvSpPr>
              <a:spLocks noChangeArrowheads="1"/>
            </p:cNvSpPr>
            <p:nvPr/>
          </p:nvSpPr>
          <p:spPr bwMode="auto">
            <a:xfrm>
              <a:off x="1761" y="266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2562"/>
            <p:cNvSpPr>
              <a:spLocks noChangeArrowheads="1"/>
            </p:cNvSpPr>
            <p:nvPr/>
          </p:nvSpPr>
          <p:spPr bwMode="auto">
            <a:xfrm>
              <a:off x="4961"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2563"/>
            <p:cNvSpPr>
              <a:spLocks noChangeArrowheads="1"/>
            </p:cNvSpPr>
            <p:nvPr/>
          </p:nvSpPr>
          <p:spPr bwMode="auto">
            <a:xfrm>
              <a:off x="4922"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2564"/>
            <p:cNvSpPr>
              <a:spLocks noChangeArrowheads="1"/>
            </p:cNvSpPr>
            <p:nvPr/>
          </p:nvSpPr>
          <p:spPr bwMode="auto">
            <a:xfrm>
              <a:off x="4614"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2565"/>
            <p:cNvSpPr>
              <a:spLocks noChangeArrowheads="1"/>
            </p:cNvSpPr>
            <p:nvPr/>
          </p:nvSpPr>
          <p:spPr bwMode="auto">
            <a:xfrm>
              <a:off x="4576" y="270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2566"/>
            <p:cNvSpPr>
              <a:spLocks noChangeArrowheads="1"/>
            </p:cNvSpPr>
            <p:nvPr/>
          </p:nvSpPr>
          <p:spPr bwMode="auto">
            <a:xfrm>
              <a:off x="4537"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2567"/>
            <p:cNvSpPr>
              <a:spLocks noChangeArrowheads="1"/>
            </p:cNvSpPr>
            <p:nvPr/>
          </p:nvSpPr>
          <p:spPr bwMode="auto">
            <a:xfrm>
              <a:off x="4498"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2568"/>
            <p:cNvSpPr>
              <a:spLocks noChangeArrowheads="1"/>
            </p:cNvSpPr>
            <p:nvPr/>
          </p:nvSpPr>
          <p:spPr bwMode="auto">
            <a:xfrm>
              <a:off x="2995"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2569"/>
            <p:cNvSpPr>
              <a:spLocks noChangeArrowheads="1"/>
            </p:cNvSpPr>
            <p:nvPr/>
          </p:nvSpPr>
          <p:spPr bwMode="auto">
            <a:xfrm>
              <a:off x="2956"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2570"/>
            <p:cNvSpPr>
              <a:spLocks noChangeArrowheads="1"/>
            </p:cNvSpPr>
            <p:nvPr/>
          </p:nvSpPr>
          <p:spPr bwMode="auto">
            <a:xfrm>
              <a:off x="2918" y="2704"/>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2571"/>
            <p:cNvSpPr>
              <a:spLocks noChangeArrowheads="1"/>
            </p:cNvSpPr>
            <p:nvPr/>
          </p:nvSpPr>
          <p:spPr bwMode="auto">
            <a:xfrm>
              <a:off x="1954"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2572"/>
            <p:cNvSpPr>
              <a:spLocks noChangeArrowheads="1"/>
            </p:cNvSpPr>
            <p:nvPr/>
          </p:nvSpPr>
          <p:spPr bwMode="auto">
            <a:xfrm>
              <a:off x="1915"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2573"/>
            <p:cNvSpPr>
              <a:spLocks noChangeArrowheads="1"/>
            </p:cNvSpPr>
            <p:nvPr/>
          </p:nvSpPr>
          <p:spPr bwMode="auto">
            <a:xfrm>
              <a:off x="1877"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2574"/>
            <p:cNvSpPr>
              <a:spLocks noChangeArrowheads="1"/>
            </p:cNvSpPr>
            <p:nvPr/>
          </p:nvSpPr>
          <p:spPr bwMode="auto">
            <a:xfrm>
              <a:off x="1838"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575"/>
            <p:cNvSpPr>
              <a:spLocks/>
            </p:cNvSpPr>
            <p:nvPr/>
          </p:nvSpPr>
          <p:spPr bwMode="auto">
            <a:xfrm>
              <a:off x="1800" y="2704"/>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2576"/>
            <p:cNvSpPr>
              <a:spLocks noChangeArrowheads="1"/>
            </p:cNvSpPr>
            <p:nvPr/>
          </p:nvSpPr>
          <p:spPr bwMode="auto">
            <a:xfrm>
              <a:off x="1761" y="2704"/>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2577"/>
            <p:cNvSpPr>
              <a:spLocks noChangeArrowheads="1"/>
            </p:cNvSpPr>
            <p:nvPr/>
          </p:nvSpPr>
          <p:spPr bwMode="auto">
            <a:xfrm>
              <a:off x="5000" y="274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2578"/>
            <p:cNvSpPr>
              <a:spLocks noChangeArrowheads="1"/>
            </p:cNvSpPr>
            <p:nvPr/>
          </p:nvSpPr>
          <p:spPr bwMode="auto">
            <a:xfrm>
              <a:off x="4961" y="274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2579"/>
            <p:cNvSpPr>
              <a:spLocks noChangeArrowheads="1"/>
            </p:cNvSpPr>
            <p:nvPr/>
          </p:nvSpPr>
          <p:spPr bwMode="auto">
            <a:xfrm>
              <a:off x="4922" y="274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2580"/>
            <p:cNvSpPr>
              <a:spLocks noChangeArrowheads="1"/>
            </p:cNvSpPr>
            <p:nvPr/>
          </p:nvSpPr>
          <p:spPr bwMode="auto">
            <a:xfrm>
              <a:off x="4576" y="274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2581"/>
            <p:cNvSpPr>
              <a:spLocks noChangeArrowheads="1"/>
            </p:cNvSpPr>
            <p:nvPr/>
          </p:nvSpPr>
          <p:spPr bwMode="auto">
            <a:xfrm>
              <a:off x="4537" y="274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2582"/>
            <p:cNvSpPr>
              <a:spLocks noChangeArrowheads="1"/>
            </p:cNvSpPr>
            <p:nvPr/>
          </p:nvSpPr>
          <p:spPr bwMode="auto">
            <a:xfrm>
              <a:off x="2956" y="274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2583"/>
            <p:cNvSpPr>
              <a:spLocks noChangeArrowheads="1"/>
            </p:cNvSpPr>
            <p:nvPr/>
          </p:nvSpPr>
          <p:spPr bwMode="auto">
            <a:xfrm>
              <a:off x="2918" y="2743"/>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2584"/>
            <p:cNvSpPr>
              <a:spLocks noChangeArrowheads="1"/>
            </p:cNvSpPr>
            <p:nvPr/>
          </p:nvSpPr>
          <p:spPr bwMode="auto">
            <a:xfrm>
              <a:off x="1915" y="274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2585"/>
            <p:cNvSpPr>
              <a:spLocks noChangeArrowheads="1"/>
            </p:cNvSpPr>
            <p:nvPr/>
          </p:nvSpPr>
          <p:spPr bwMode="auto">
            <a:xfrm>
              <a:off x="1877" y="274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2586"/>
            <p:cNvSpPr>
              <a:spLocks noChangeArrowheads="1"/>
            </p:cNvSpPr>
            <p:nvPr/>
          </p:nvSpPr>
          <p:spPr bwMode="auto">
            <a:xfrm>
              <a:off x="1838" y="274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587"/>
            <p:cNvSpPr>
              <a:spLocks/>
            </p:cNvSpPr>
            <p:nvPr/>
          </p:nvSpPr>
          <p:spPr bwMode="auto">
            <a:xfrm>
              <a:off x="1800" y="2743"/>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2588"/>
            <p:cNvSpPr>
              <a:spLocks noChangeArrowheads="1"/>
            </p:cNvSpPr>
            <p:nvPr/>
          </p:nvSpPr>
          <p:spPr bwMode="auto">
            <a:xfrm>
              <a:off x="1761" y="274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2589"/>
            <p:cNvSpPr>
              <a:spLocks noChangeArrowheads="1"/>
            </p:cNvSpPr>
            <p:nvPr/>
          </p:nvSpPr>
          <p:spPr bwMode="auto">
            <a:xfrm>
              <a:off x="4961" y="278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2590"/>
            <p:cNvSpPr>
              <a:spLocks noChangeArrowheads="1"/>
            </p:cNvSpPr>
            <p:nvPr/>
          </p:nvSpPr>
          <p:spPr bwMode="auto">
            <a:xfrm>
              <a:off x="4922" y="278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2591"/>
            <p:cNvSpPr>
              <a:spLocks noChangeArrowheads="1"/>
            </p:cNvSpPr>
            <p:nvPr/>
          </p:nvSpPr>
          <p:spPr bwMode="auto">
            <a:xfrm>
              <a:off x="4576" y="278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2592"/>
            <p:cNvSpPr>
              <a:spLocks noChangeArrowheads="1"/>
            </p:cNvSpPr>
            <p:nvPr/>
          </p:nvSpPr>
          <p:spPr bwMode="auto">
            <a:xfrm>
              <a:off x="2918" y="278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2593"/>
            <p:cNvSpPr>
              <a:spLocks noChangeArrowheads="1"/>
            </p:cNvSpPr>
            <p:nvPr/>
          </p:nvSpPr>
          <p:spPr bwMode="auto">
            <a:xfrm>
              <a:off x="1877" y="278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2594"/>
            <p:cNvSpPr>
              <a:spLocks noChangeArrowheads="1"/>
            </p:cNvSpPr>
            <p:nvPr/>
          </p:nvSpPr>
          <p:spPr bwMode="auto">
            <a:xfrm>
              <a:off x="1838" y="278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2595"/>
            <p:cNvSpPr>
              <a:spLocks/>
            </p:cNvSpPr>
            <p:nvPr/>
          </p:nvSpPr>
          <p:spPr bwMode="auto">
            <a:xfrm>
              <a:off x="1800" y="2782"/>
              <a:ext cx="28" cy="27"/>
            </a:xfrm>
            <a:custGeom>
              <a:avLst/>
              <a:gdLst>
                <a:gd name="T0" fmla="*/ 80 w 160"/>
                <a:gd name="T1" fmla="*/ 0 h 159"/>
                <a:gd name="T2" fmla="*/ 159 w 160"/>
                <a:gd name="T3" fmla="*/ 79 h 159"/>
                <a:gd name="T4" fmla="*/ 80 w 160"/>
                <a:gd name="T5" fmla="*/ 159 h 159"/>
                <a:gd name="T6" fmla="*/ 0 w 160"/>
                <a:gd name="T7" fmla="*/ 79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79"/>
                  </a:cubicBezTo>
                  <a:cubicBezTo>
                    <a:pt x="160" y="123"/>
                    <a:pt x="124" y="159"/>
                    <a:pt x="80" y="159"/>
                  </a:cubicBezTo>
                  <a:cubicBezTo>
                    <a:pt x="36" y="159"/>
                    <a:pt x="0" y="123"/>
                    <a:pt x="0" y="79"/>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2596"/>
            <p:cNvSpPr>
              <a:spLocks noChangeArrowheads="1"/>
            </p:cNvSpPr>
            <p:nvPr/>
          </p:nvSpPr>
          <p:spPr bwMode="auto">
            <a:xfrm>
              <a:off x="1761" y="2782"/>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2597"/>
            <p:cNvSpPr>
              <a:spLocks noChangeArrowheads="1"/>
            </p:cNvSpPr>
            <p:nvPr/>
          </p:nvSpPr>
          <p:spPr bwMode="auto">
            <a:xfrm>
              <a:off x="1723" y="2782"/>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2598"/>
            <p:cNvSpPr>
              <a:spLocks noChangeArrowheads="1"/>
            </p:cNvSpPr>
            <p:nvPr/>
          </p:nvSpPr>
          <p:spPr bwMode="auto">
            <a:xfrm>
              <a:off x="4922" y="282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2599"/>
            <p:cNvSpPr>
              <a:spLocks noChangeArrowheads="1"/>
            </p:cNvSpPr>
            <p:nvPr/>
          </p:nvSpPr>
          <p:spPr bwMode="auto">
            <a:xfrm>
              <a:off x="4884" y="282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2600"/>
            <p:cNvSpPr>
              <a:spLocks noChangeArrowheads="1"/>
            </p:cNvSpPr>
            <p:nvPr/>
          </p:nvSpPr>
          <p:spPr bwMode="auto">
            <a:xfrm>
              <a:off x="4845" y="282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2601"/>
            <p:cNvSpPr>
              <a:spLocks noChangeArrowheads="1"/>
            </p:cNvSpPr>
            <p:nvPr/>
          </p:nvSpPr>
          <p:spPr bwMode="auto">
            <a:xfrm>
              <a:off x="1838" y="282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2602"/>
            <p:cNvSpPr>
              <a:spLocks/>
            </p:cNvSpPr>
            <p:nvPr/>
          </p:nvSpPr>
          <p:spPr bwMode="auto">
            <a:xfrm>
              <a:off x="1800" y="2820"/>
              <a:ext cx="28" cy="28"/>
            </a:xfrm>
            <a:custGeom>
              <a:avLst/>
              <a:gdLst>
                <a:gd name="T0" fmla="*/ 80 w 160"/>
                <a:gd name="T1" fmla="*/ 0 h 159"/>
                <a:gd name="T2" fmla="*/ 159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80"/>
                  </a:cubicBezTo>
                  <a:cubicBezTo>
                    <a:pt x="160" y="124"/>
                    <a:pt x="124" y="159"/>
                    <a:pt x="80" y="159"/>
                  </a:cubicBezTo>
                  <a:cubicBezTo>
                    <a:pt x="36" y="159"/>
                    <a:pt x="0" y="124"/>
                    <a:pt x="0" y="80"/>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2603"/>
            <p:cNvSpPr>
              <a:spLocks noChangeArrowheads="1"/>
            </p:cNvSpPr>
            <p:nvPr/>
          </p:nvSpPr>
          <p:spPr bwMode="auto">
            <a:xfrm>
              <a:off x="1761" y="282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2604"/>
            <p:cNvSpPr>
              <a:spLocks noChangeArrowheads="1"/>
            </p:cNvSpPr>
            <p:nvPr/>
          </p:nvSpPr>
          <p:spPr bwMode="auto">
            <a:xfrm>
              <a:off x="1723" y="2820"/>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2605"/>
            <p:cNvSpPr>
              <a:spLocks noChangeArrowheads="1"/>
            </p:cNvSpPr>
            <p:nvPr/>
          </p:nvSpPr>
          <p:spPr bwMode="auto">
            <a:xfrm>
              <a:off x="4884" y="28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2606"/>
            <p:cNvSpPr>
              <a:spLocks noChangeArrowheads="1"/>
            </p:cNvSpPr>
            <p:nvPr/>
          </p:nvSpPr>
          <p:spPr bwMode="auto">
            <a:xfrm>
              <a:off x="4845" y="28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607"/>
            <p:cNvSpPr>
              <a:spLocks/>
            </p:cNvSpPr>
            <p:nvPr/>
          </p:nvSpPr>
          <p:spPr bwMode="auto">
            <a:xfrm>
              <a:off x="1800" y="2859"/>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2608"/>
            <p:cNvSpPr>
              <a:spLocks noChangeArrowheads="1"/>
            </p:cNvSpPr>
            <p:nvPr/>
          </p:nvSpPr>
          <p:spPr bwMode="auto">
            <a:xfrm>
              <a:off x="1761" y="285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2609"/>
            <p:cNvSpPr>
              <a:spLocks noChangeArrowheads="1"/>
            </p:cNvSpPr>
            <p:nvPr/>
          </p:nvSpPr>
          <p:spPr bwMode="auto">
            <a:xfrm>
              <a:off x="1723" y="2859"/>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610"/>
            <p:cNvSpPr>
              <a:spLocks/>
            </p:cNvSpPr>
            <p:nvPr/>
          </p:nvSpPr>
          <p:spPr bwMode="auto">
            <a:xfrm>
              <a:off x="1800" y="2897"/>
              <a:ext cx="28" cy="28"/>
            </a:xfrm>
            <a:custGeom>
              <a:avLst/>
              <a:gdLst>
                <a:gd name="T0" fmla="*/ 80 w 160"/>
                <a:gd name="T1" fmla="*/ 0 h 160"/>
                <a:gd name="T2" fmla="*/ 159 w 160"/>
                <a:gd name="T3" fmla="*/ 80 h 160"/>
                <a:gd name="T4" fmla="*/ 80 w 160"/>
                <a:gd name="T5" fmla="*/ 160 h 160"/>
                <a:gd name="T6" fmla="*/ 0 w 160"/>
                <a:gd name="T7" fmla="*/ 80 h 160"/>
                <a:gd name="T8" fmla="*/ 80 w 160"/>
                <a:gd name="T9" fmla="*/ 0 h 160"/>
              </a:gdLst>
              <a:ahLst/>
              <a:cxnLst>
                <a:cxn ang="0">
                  <a:pos x="T0" y="T1"/>
                </a:cxn>
                <a:cxn ang="0">
                  <a:pos x="T2" y="T3"/>
                </a:cxn>
                <a:cxn ang="0">
                  <a:pos x="T4" y="T5"/>
                </a:cxn>
                <a:cxn ang="0">
                  <a:pos x="T6" y="T7"/>
                </a:cxn>
                <a:cxn ang="0">
                  <a:pos x="T8" y="T9"/>
                </a:cxn>
              </a:cxnLst>
              <a:rect l="0" t="0" r="r" b="b"/>
              <a:pathLst>
                <a:path w="160" h="160">
                  <a:moveTo>
                    <a:pt x="80" y="0"/>
                  </a:moveTo>
                  <a:cubicBezTo>
                    <a:pt x="124" y="0"/>
                    <a:pt x="159" y="36"/>
                    <a:pt x="159" y="80"/>
                  </a:cubicBezTo>
                  <a:cubicBezTo>
                    <a:pt x="160" y="124"/>
                    <a:pt x="124" y="160"/>
                    <a:pt x="80" y="160"/>
                  </a:cubicBezTo>
                  <a:cubicBezTo>
                    <a:pt x="36" y="160"/>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2611"/>
            <p:cNvSpPr>
              <a:spLocks noChangeArrowheads="1"/>
            </p:cNvSpPr>
            <p:nvPr/>
          </p:nvSpPr>
          <p:spPr bwMode="auto">
            <a:xfrm>
              <a:off x="1761" y="2897"/>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2612"/>
            <p:cNvSpPr>
              <a:spLocks noChangeArrowheads="1"/>
            </p:cNvSpPr>
            <p:nvPr/>
          </p:nvSpPr>
          <p:spPr bwMode="auto">
            <a:xfrm>
              <a:off x="1723" y="2897"/>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2613"/>
            <p:cNvSpPr>
              <a:spLocks noChangeArrowheads="1"/>
            </p:cNvSpPr>
            <p:nvPr/>
          </p:nvSpPr>
          <p:spPr bwMode="auto">
            <a:xfrm>
              <a:off x="1761" y="2936"/>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2614"/>
            <p:cNvSpPr>
              <a:spLocks noChangeArrowheads="1"/>
            </p:cNvSpPr>
            <p:nvPr/>
          </p:nvSpPr>
          <p:spPr bwMode="auto">
            <a:xfrm>
              <a:off x="1723" y="2936"/>
              <a:ext cx="27"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615"/>
            <p:cNvSpPr>
              <a:spLocks/>
            </p:cNvSpPr>
            <p:nvPr/>
          </p:nvSpPr>
          <p:spPr bwMode="auto">
            <a:xfrm>
              <a:off x="1800" y="2975"/>
              <a:ext cx="28" cy="27"/>
            </a:xfrm>
            <a:custGeom>
              <a:avLst/>
              <a:gdLst>
                <a:gd name="T0" fmla="*/ 80 w 160"/>
                <a:gd name="T1" fmla="*/ 0 h 159"/>
                <a:gd name="T2" fmla="*/ 159 w 160"/>
                <a:gd name="T3" fmla="*/ 79 h 159"/>
                <a:gd name="T4" fmla="*/ 80 w 160"/>
                <a:gd name="T5" fmla="*/ 159 h 159"/>
                <a:gd name="T6" fmla="*/ 0 w 160"/>
                <a:gd name="T7" fmla="*/ 79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5"/>
                    <a:pt x="159" y="79"/>
                  </a:cubicBezTo>
                  <a:cubicBezTo>
                    <a:pt x="160" y="123"/>
                    <a:pt x="124" y="159"/>
                    <a:pt x="80" y="159"/>
                  </a:cubicBezTo>
                  <a:cubicBezTo>
                    <a:pt x="36" y="159"/>
                    <a:pt x="0" y="123"/>
                    <a:pt x="0" y="79"/>
                  </a:cubicBezTo>
                  <a:cubicBezTo>
                    <a:pt x="0" y="35"/>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2616"/>
            <p:cNvSpPr>
              <a:spLocks noChangeArrowheads="1"/>
            </p:cNvSpPr>
            <p:nvPr/>
          </p:nvSpPr>
          <p:spPr bwMode="auto">
            <a:xfrm>
              <a:off x="1761" y="2975"/>
              <a:ext cx="28"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2617"/>
            <p:cNvSpPr>
              <a:spLocks noChangeArrowheads="1"/>
            </p:cNvSpPr>
            <p:nvPr/>
          </p:nvSpPr>
          <p:spPr bwMode="auto">
            <a:xfrm>
              <a:off x="1723" y="2975"/>
              <a:ext cx="27" cy="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2618"/>
            <p:cNvSpPr>
              <a:spLocks noChangeArrowheads="1"/>
            </p:cNvSpPr>
            <p:nvPr/>
          </p:nvSpPr>
          <p:spPr bwMode="auto">
            <a:xfrm>
              <a:off x="1838" y="301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619"/>
            <p:cNvSpPr>
              <a:spLocks/>
            </p:cNvSpPr>
            <p:nvPr/>
          </p:nvSpPr>
          <p:spPr bwMode="auto">
            <a:xfrm>
              <a:off x="1800" y="3013"/>
              <a:ext cx="28" cy="28"/>
            </a:xfrm>
            <a:custGeom>
              <a:avLst/>
              <a:gdLst>
                <a:gd name="T0" fmla="*/ 80 w 160"/>
                <a:gd name="T1" fmla="*/ 0 h 159"/>
                <a:gd name="T2" fmla="*/ 159 w 160"/>
                <a:gd name="T3" fmla="*/ 80 h 159"/>
                <a:gd name="T4" fmla="*/ 80 w 160"/>
                <a:gd name="T5" fmla="*/ 159 h 159"/>
                <a:gd name="T6" fmla="*/ 0 w 160"/>
                <a:gd name="T7" fmla="*/ 80 h 159"/>
                <a:gd name="T8" fmla="*/ 80 w 160"/>
                <a:gd name="T9" fmla="*/ 0 h 159"/>
              </a:gdLst>
              <a:ahLst/>
              <a:cxnLst>
                <a:cxn ang="0">
                  <a:pos x="T0" y="T1"/>
                </a:cxn>
                <a:cxn ang="0">
                  <a:pos x="T2" y="T3"/>
                </a:cxn>
                <a:cxn ang="0">
                  <a:pos x="T4" y="T5"/>
                </a:cxn>
                <a:cxn ang="0">
                  <a:pos x="T6" y="T7"/>
                </a:cxn>
                <a:cxn ang="0">
                  <a:pos x="T8" y="T9"/>
                </a:cxn>
              </a:cxnLst>
              <a:rect l="0" t="0" r="r" b="b"/>
              <a:pathLst>
                <a:path w="160" h="159">
                  <a:moveTo>
                    <a:pt x="80" y="0"/>
                  </a:moveTo>
                  <a:cubicBezTo>
                    <a:pt x="124" y="0"/>
                    <a:pt x="159" y="36"/>
                    <a:pt x="159" y="80"/>
                  </a:cubicBezTo>
                  <a:cubicBezTo>
                    <a:pt x="160" y="124"/>
                    <a:pt x="124" y="159"/>
                    <a:pt x="80" y="159"/>
                  </a:cubicBezTo>
                  <a:cubicBezTo>
                    <a:pt x="36" y="159"/>
                    <a:pt x="0" y="124"/>
                    <a:pt x="0" y="80"/>
                  </a:cubicBezTo>
                  <a:cubicBezTo>
                    <a:pt x="0" y="36"/>
                    <a:pt x="36" y="0"/>
                    <a:pt x="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2620"/>
            <p:cNvSpPr>
              <a:spLocks noChangeArrowheads="1"/>
            </p:cNvSpPr>
            <p:nvPr/>
          </p:nvSpPr>
          <p:spPr bwMode="auto">
            <a:xfrm>
              <a:off x="1761" y="3013"/>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16" name="Freeform 2615"/>
          <p:cNvSpPr/>
          <p:nvPr/>
        </p:nvSpPr>
        <p:spPr>
          <a:xfrm>
            <a:off x="2860964" y="1384539"/>
            <a:ext cx="3429000" cy="3048000"/>
          </a:xfrm>
          <a:custGeom>
            <a:avLst/>
            <a:gdLst>
              <a:gd name="connsiteX0" fmla="*/ 1714500 w 3429000"/>
              <a:gd name="connsiteY0" fmla="*/ 0 h 3048000"/>
              <a:gd name="connsiteX1" fmla="*/ 3429000 w 3429000"/>
              <a:gd name="connsiteY1" fmla="*/ 1714500 h 3048000"/>
              <a:gd name="connsiteX2" fmla="*/ 2805081 w 3429000"/>
              <a:gd name="connsiteY2" fmla="*/ 3037492 h 3048000"/>
              <a:gd name="connsiteX3" fmla="*/ 2791029 w 3429000"/>
              <a:gd name="connsiteY3" fmla="*/ 3048000 h 3048000"/>
              <a:gd name="connsiteX4" fmla="*/ 2568080 w 3429000"/>
              <a:gd name="connsiteY4" fmla="*/ 3048000 h 3048000"/>
              <a:gd name="connsiteX5" fmla="*/ 2600394 w 3429000"/>
              <a:gd name="connsiteY5" fmla="*/ 3028369 h 3048000"/>
              <a:gd name="connsiteX6" fmla="*/ 3298972 w 3429000"/>
              <a:gd name="connsiteY6" fmla="*/ 1714500 h 3048000"/>
              <a:gd name="connsiteX7" fmla="*/ 1714500 w 3429000"/>
              <a:gd name="connsiteY7" fmla="*/ 130028 h 3048000"/>
              <a:gd name="connsiteX8" fmla="*/ 130028 w 3429000"/>
              <a:gd name="connsiteY8" fmla="*/ 1714500 h 3048000"/>
              <a:gd name="connsiteX9" fmla="*/ 828607 w 3429000"/>
              <a:gd name="connsiteY9" fmla="*/ 3028369 h 3048000"/>
              <a:gd name="connsiteX10" fmla="*/ 860920 w 3429000"/>
              <a:gd name="connsiteY10" fmla="*/ 3048000 h 3048000"/>
              <a:gd name="connsiteX11" fmla="*/ 637972 w 3429000"/>
              <a:gd name="connsiteY11" fmla="*/ 3048000 h 3048000"/>
              <a:gd name="connsiteX12" fmla="*/ 623919 w 3429000"/>
              <a:gd name="connsiteY12" fmla="*/ 3037492 h 3048000"/>
              <a:gd name="connsiteX13" fmla="*/ 0 w 3429000"/>
              <a:gd name="connsiteY13" fmla="*/ 1714500 h 3048000"/>
              <a:gd name="connsiteX14" fmla="*/ 1714500 w 3429000"/>
              <a:gd name="connsiteY14" fmla="*/ 0 h 30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9000" h="3048000">
                <a:moveTo>
                  <a:pt x="1714500" y="0"/>
                </a:moveTo>
                <a:cubicBezTo>
                  <a:pt x="2661392" y="0"/>
                  <a:pt x="3429000" y="767608"/>
                  <a:pt x="3429000" y="1714500"/>
                </a:cubicBezTo>
                <a:cubicBezTo>
                  <a:pt x="3429000" y="2247127"/>
                  <a:pt x="3186124" y="2723027"/>
                  <a:pt x="2805081" y="3037492"/>
                </a:cubicBezTo>
                <a:lnTo>
                  <a:pt x="2791029" y="3048000"/>
                </a:lnTo>
                <a:lnTo>
                  <a:pt x="2568080" y="3048000"/>
                </a:lnTo>
                <a:lnTo>
                  <a:pt x="2600394" y="3028369"/>
                </a:lnTo>
                <a:cubicBezTo>
                  <a:pt x="3021866" y="2743628"/>
                  <a:pt x="3298972" y="2261425"/>
                  <a:pt x="3298972" y="1714500"/>
                </a:cubicBezTo>
                <a:cubicBezTo>
                  <a:pt x="3298972" y="839420"/>
                  <a:pt x="2589580" y="130028"/>
                  <a:pt x="1714500" y="130028"/>
                </a:cubicBezTo>
                <a:cubicBezTo>
                  <a:pt x="839420" y="130028"/>
                  <a:pt x="130028" y="839420"/>
                  <a:pt x="130028" y="1714500"/>
                </a:cubicBezTo>
                <a:cubicBezTo>
                  <a:pt x="130028" y="2261425"/>
                  <a:pt x="407134" y="2743628"/>
                  <a:pt x="828607" y="3028369"/>
                </a:cubicBezTo>
                <a:lnTo>
                  <a:pt x="860920" y="3048000"/>
                </a:lnTo>
                <a:lnTo>
                  <a:pt x="637972" y="3048000"/>
                </a:lnTo>
                <a:lnTo>
                  <a:pt x="623919" y="3037492"/>
                </a:lnTo>
                <a:cubicBezTo>
                  <a:pt x="242876" y="2723027"/>
                  <a:pt x="0" y="2247127"/>
                  <a:pt x="0" y="1714500"/>
                </a:cubicBezTo>
                <a:cubicBezTo>
                  <a:pt x="0" y="767608"/>
                  <a:pt x="767608" y="0"/>
                  <a:pt x="1714500" y="0"/>
                </a:cubicBezTo>
                <a:close/>
              </a:path>
            </a:pathLst>
          </a:custGeom>
          <a:gradFill>
            <a:gsLst>
              <a:gs pos="0">
                <a:srgbClr val="3C9A7D"/>
              </a:gs>
              <a:gs pos="90000">
                <a:srgbClr val="2A96CC"/>
              </a:gs>
            </a:gsLst>
            <a:lin ang="5400000" scaled="1"/>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617" name="Rectangle 2616"/>
          <p:cNvSpPr/>
          <p:nvPr/>
        </p:nvSpPr>
        <p:spPr>
          <a:xfrm>
            <a:off x="1705200" y="4199507"/>
            <a:ext cx="1492716" cy="523220"/>
          </a:xfrm>
          <a:prstGeom prst="rect">
            <a:avLst/>
          </a:prstGeom>
        </p:spPr>
        <p:txBody>
          <a:bodyPr wrap="none">
            <a:spAutoFit/>
          </a:bodyPr>
          <a:lstStyle/>
          <a:p>
            <a:pPr algn="r">
              <a:buClr>
                <a:srgbClr val="000000">
                  <a:lumMod val="65000"/>
                  <a:lumOff val="35000"/>
                </a:srgbClr>
              </a:buClr>
            </a:pPr>
            <a:r>
              <a:rPr lang="en-US" b="1" dirty="0">
                <a:solidFill>
                  <a:schemeClr val="bg1"/>
                </a:solidFill>
              </a:rPr>
              <a:t>Banking </a:t>
            </a:r>
            <a:r>
              <a:rPr lang="en-US" b="1" dirty="0" smtClean="0">
                <a:solidFill>
                  <a:schemeClr val="bg1"/>
                </a:solidFill>
              </a:rPr>
              <a:t>&amp;</a:t>
            </a:r>
            <a:br>
              <a:rPr lang="en-US" b="1" dirty="0" smtClean="0">
                <a:solidFill>
                  <a:schemeClr val="bg1"/>
                </a:solidFill>
              </a:rPr>
            </a:br>
            <a:r>
              <a:rPr lang="en-US" b="1" dirty="0" smtClean="0">
                <a:solidFill>
                  <a:schemeClr val="bg1"/>
                </a:solidFill>
              </a:rPr>
              <a:t>Financial </a:t>
            </a:r>
            <a:r>
              <a:rPr lang="en-US" b="1" dirty="0">
                <a:solidFill>
                  <a:schemeClr val="bg1"/>
                </a:solidFill>
              </a:rPr>
              <a:t>Services</a:t>
            </a:r>
          </a:p>
        </p:txBody>
      </p:sp>
      <p:sp>
        <p:nvSpPr>
          <p:cNvPr id="2618" name="Rectangle 2617"/>
          <p:cNvSpPr/>
          <p:nvPr/>
        </p:nvSpPr>
        <p:spPr>
          <a:xfrm>
            <a:off x="1491052" y="3593717"/>
            <a:ext cx="1304909" cy="461665"/>
          </a:xfrm>
          <a:prstGeom prst="rect">
            <a:avLst/>
          </a:prstGeom>
        </p:spPr>
        <p:txBody>
          <a:bodyPr wrap="none" anchor="ctr">
            <a:noAutofit/>
          </a:bodyPr>
          <a:lstStyle/>
          <a:p>
            <a:pPr algn="r">
              <a:buClr>
                <a:srgbClr val="000000">
                  <a:lumMod val="65000"/>
                  <a:lumOff val="35000"/>
                </a:srgbClr>
              </a:buClr>
            </a:pPr>
            <a:r>
              <a:rPr lang="en-US" b="1" dirty="0">
                <a:solidFill>
                  <a:schemeClr val="bg1"/>
                </a:solidFill>
              </a:rPr>
              <a:t>Insurance</a:t>
            </a:r>
          </a:p>
        </p:txBody>
      </p:sp>
      <p:sp>
        <p:nvSpPr>
          <p:cNvPr id="2619" name="Rectangle 2618"/>
          <p:cNvSpPr/>
          <p:nvPr/>
        </p:nvSpPr>
        <p:spPr>
          <a:xfrm>
            <a:off x="1315792" y="2826002"/>
            <a:ext cx="1304909" cy="461665"/>
          </a:xfrm>
          <a:prstGeom prst="rect">
            <a:avLst/>
          </a:prstGeom>
        </p:spPr>
        <p:txBody>
          <a:bodyPr wrap="none" anchor="ctr">
            <a:noAutofit/>
          </a:bodyPr>
          <a:lstStyle/>
          <a:p>
            <a:pPr algn="r">
              <a:buClr>
                <a:srgbClr val="000000">
                  <a:lumMod val="65000"/>
                  <a:lumOff val="35000"/>
                </a:srgbClr>
              </a:buClr>
            </a:pPr>
            <a:r>
              <a:rPr lang="en-US" b="1" dirty="0">
                <a:solidFill>
                  <a:schemeClr val="bg1"/>
                </a:solidFill>
              </a:rPr>
              <a:t>Manufacturing</a:t>
            </a:r>
          </a:p>
        </p:txBody>
      </p:sp>
      <p:sp>
        <p:nvSpPr>
          <p:cNvPr id="2620" name="Rectangle 2619"/>
          <p:cNvSpPr/>
          <p:nvPr/>
        </p:nvSpPr>
        <p:spPr>
          <a:xfrm>
            <a:off x="1519627" y="2124962"/>
            <a:ext cx="1304909" cy="461665"/>
          </a:xfrm>
          <a:prstGeom prst="rect">
            <a:avLst/>
          </a:prstGeom>
        </p:spPr>
        <p:txBody>
          <a:bodyPr wrap="none" anchor="ctr">
            <a:noAutofit/>
          </a:bodyPr>
          <a:lstStyle/>
          <a:p>
            <a:pPr algn="r">
              <a:buClr>
                <a:srgbClr val="000000">
                  <a:lumMod val="65000"/>
                  <a:lumOff val="35000"/>
                </a:srgbClr>
              </a:buClr>
            </a:pPr>
            <a:r>
              <a:rPr lang="en-US" b="1" dirty="0">
                <a:solidFill>
                  <a:schemeClr val="bg1"/>
                </a:solidFill>
              </a:rPr>
              <a:t>Consumer Goods &amp;</a:t>
            </a:r>
            <a:br>
              <a:rPr lang="en-US" b="1" dirty="0">
                <a:solidFill>
                  <a:schemeClr val="bg1"/>
                </a:solidFill>
              </a:rPr>
            </a:br>
            <a:r>
              <a:rPr lang="en-US" b="1" dirty="0">
                <a:solidFill>
                  <a:schemeClr val="bg1"/>
                </a:solidFill>
              </a:rPr>
              <a:t>Distribution</a:t>
            </a:r>
          </a:p>
        </p:txBody>
      </p:sp>
      <p:sp>
        <p:nvSpPr>
          <p:cNvPr id="2621" name="Rectangle 2620"/>
          <p:cNvSpPr/>
          <p:nvPr/>
        </p:nvSpPr>
        <p:spPr>
          <a:xfrm>
            <a:off x="1942537" y="1503932"/>
            <a:ext cx="1304909" cy="461665"/>
          </a:xfrm>
          <a:prstGeom prst="rect">
            <a:avLst/>
          </a:prstGeom>
        </p:spPr>
        <p:txBody>
          <a:bodyPr wrap="none" anchor="ctr">
            <a:noAutofit/>
          </a:bodyPr>
          <a:lstStyle/>
          <a:p>
            <a:pPr algn="r">
              <a:buClr>
                <a:srgbClr val="000000">
                  <a:lumMod val="65000"/>
                  <a:lumOff val="35000"/>
                </a:srgbClr>
              </a:buClr>
            </a:pPr>
            <a:r>
              <a:rPr lang="en-US" b="1" dirty="0" err="1">
                <a:solidFill>
                  <a:schemeClr val="bg1"/>
                </a:solidFill>
              </a:rPr>
              <a:t>HiTech</a:t>
            </a:r>
            <a:endParaRPr lang="en-US" b="1" dirty="0">
              <a:solidFill>
                <a:schemeClr val="bg1"/>
              </a:solidFill>
            </a:endParaRPr>
          </a:p>
        </p:txBody>
      </p:sp>
      <p:sp>
        <p:nvSpPr>
          <p:cNvPr id="2622" name="Rectangle 2621"/>
          <p:cNvSpPr/>
          <p:nvPr/>
        </p:nvSpPr>
        <p:spPr>
          <a:xfrm>
            <a:off x="2592142" y="961490"/>
            <a:ext cx="1304909" cy="461665"/>
          </a:xfrm>
          <a:prstGeom prst="rect">
            <a:avLst/>
          </a:prstGeom>
        </p:spPr>
        <p:txBody>
          <a:bodyPr wrap="none" anchor="ctr">
            <a:noAutofit/>
          </a:bodyPr>
          <a:lstStyle/>
          <a:p>
            <a:pPr algn="r">
              <a:buClr>
                <a:srgbClr val="000000">
                  <a:lumMod val="65000"/>
                  <a:lumOff val="35000"/>
                </a:srgbClr>
              </a:buClr>
            </a:pPr>
            <a:r>
              <a:rPr lang="en-US" b="1" dirty="0">
                <a:solidFill>
                  <a:schemeClr val="bg1"/>
                </a:solidFill>
              </a:rPr>
              <a:t>Travel</a:t>
            </a:r>
            <a:r>
              <a:rPr lang="en-US" b="1" dirty="0" smtClean="0">
                <a:solidFill>
                  <a:schemeClr val="bg1"/>
                </a:solidFill>
              </a:rPr>
              <a:t>,</a:t>
            </a:r>
            <a:br>
              <a:rPr lang="en-US" b="1" dirty="0" smtClean="0">
                <a:solidFill>
                  <a:schemeClr val="bg1"/>
                </a:solidFill>
              </a:rPr>
            </a:br>
            <a:r>
              <a:rPr lang="en-US" b="1" dirty="0" smtClean="0">
                <a:solidFill>
                  <a:schemeClr val="bg1"/>
                </a:solidFill>
              </a:rPr>
              <a:t>Transportation</a:t>
            </a:r>
            <a:endParaRPr lang="en-US" b="1" dirty="0">
              <a:solidFill>
                <a:schemeClr val="bg1"/>
              </a:solidFill>
            </a:endParaRPr>
          </a:p>
        </p:txBody>
      </p:sp>
      <p:sp>
        <p:nvSpPr>
          <p:cNvPr id="2623" name="Rectangle 2622"/>
          <p:cNvSpPr/>
          <p:nvPr/>
        </p:nvSpPr>
        <p:spPr>
          <a:xfrm>
            <a:off x="5207707" y="961490"/>
            <a:ext cx="1304909" cy="461665"/>
          </a:xfrm>
          <a:prstGeom prst="rect">
            <a:avLst/>
          </a:prstGeom>
        </p:spPr>
        <p:txBody>
          <a:bodyPr wrap="none" anchor="ctr">
            <a:noAutofit/>
          </a:bodyPr>
          <a:lstStyle/>
          <a:p>
            <a:pPr>
              <a:buClr>
                <a:srgbClr val="000000">
                  <a:lumMod val="65000"/>
                  <a:lumOff val="35000"/>
                </a:srgbClr>
              </a:buClr>
            </a:pPr>
            <a:r>
              <a:rPr lang="en-US" b="1" dirty="0" smtClean="0">
                <a:solidFill>
                  <a:schemeClr val="bg1"/>
                </a:solidFill>
              </a:rPr>
              <a:t>Hospitality</a:t>
            </a:r>
            <a:endParaRPr lang="en-US" b="1" dirty="0">
              <a:solidFill>
                <a:schemeClr val="bg1"/>
              </a:solidFill>
            </a:endParaRPr>
          </a:p>
        </p:txBody>
      </p:sp>
      <p:sp>
        <p:nvSpPr>
          <p:cNvPr id="2624" name="Rectangle 2623"/>
          <p:cNvSpPr/>
          <p:nvPr/>
        </p:nvSpPr>
        <p:spPr>
          <a:xfrm>
            <a:off x="5893507" y="1473452"/>
            <a:ext cx="1304909" cy="461665"/>
          </a:xfrm>
          <a:prstGeom prst="rect">
            <a:avLst/>
          </a:prstGeom>
        </p:spPr>
        <p:txBody>
          <a:bodyPr wrap="none" anchor="ctr">
            <a:noAutofit/>
          </a:bodyPr>
          <a:lstStyle/>
          <a:p>
            <a:pPr>
              <a:buClr>
                <a:srgbClr val="000000">
                  <a:lumMod val="65000"/>
                  <a:lumOff val="35000"/>
                </a:srgbClr>
              </a:buClr>
            </a:pPr>
            <a:r>
              <a:rPr lang="en-US" b="1" dirty="0">
                <a:solidFill>
                  <a:schemeClr val="bg1"/>
                </a:solidFill>
              </a:rPr>
              <a:t>Communications</a:t>
            </a:r>
            <a:r>
              <a:rPr lang="en-US" b="1" dirty="0" smtClean="0">
                <a:solidFill>
                  <a:schemeClr val="bg1"/>
                </a:solidFill>
              </a:rPr>
              <a:t>,</a:t>
            </a:r>
            <a:br>
              <a:rPr lang="en-US" b="1" dirty="0" smtClean="0">
                <a:solidFill>
                  <a:schemeClr val="bg1"/>
                </a:solidFill>
              </a:rPr>
            </a:br>
            <a:r>
              <a:rPr lang="en-US" b="1" dirty="0" smtClean="0">
                <a:solidFill>
                  <a:schemeClr val="bg1"/>
                </a:solidFill>
              </a:rPr>
              <a:t>Media </a:t>
            </a:r>
            <a:r>
              <a:rPr lang="en-US" b="1" dirty="0">
                <a:solidFill>
                  <a:schemeClr val="bg1"/>
                </a:solidFill>
              </a:rPr>
              <a:t>&amp; </a:t>
            </a:r>
            <a:r>
              <a:rPr lang="en-US" b="1" dirty="0" smtClean="0">
                <a:solidFill>
                  <a:schemeClr val="bg1"/>
                </a:solidFill>
              </a:rPr>
              <a:t>Technology</a:t>
            </a:r>
            <a:endParaRPr lang="en-US" b="1" dirty="0">
              <a:solidFill>
                <a:schemeClr val="bg1"/>
              </a:solidFill>
            </a:endParaRPr>
          </a:p>
        </p:txBody>
      </p:sp>
      <p:sp>
        <p:nvSpPr>
          <p:cNvPr id="2625" name="Rectangle 2624"/>
          <p:cNvSpPr/>
          <p:nvPr/>
        </p:nvSpPr>
        <p:spPr>
          <a:xfrm>
            <a:off x="6318322" y="2124962"/>
            <a:ext cx="1304909" cy="461665"/>
          </a:xfrm>
          <a:prstGeom prst="rect">
            <a:avLst/>
          </a:prstGeom>
        </p:spPr>
        <p:txBody>
          <a:bodyPr wrap="none" anchor="ctr">
            <a:noAutofit/>
          </a:bodyPr>
          <a:lstStyle/>
          <a:p>
            <a:pPr>
              <a:buClr>
                <a:srgbClr val="000000">
                  <a:lumMod val="65000"/>
                  <a:lumOff val="35000"/>
                </a:srgbClr>
              </a:buClr>
            </a:pPr>
            <a:r>
              <a:rPr lang="en-US" b="1" dirty="0">
                <a:solidFill>
                  <a:schemeClr val="bg1"/>
                </a:solidFill>
              </a:rPr>
              <a:t>Public </a:t>
            </a:r>
            <a:r>
              <a:rPr lang="en-US" b="1" dirty="0" smtClean="0">
                <a:solidFill>
                  <a:schemeClr val="bg1"/>
                </a:solidFill>
              </a:rPr>
              <a:t>Services</a:t>
            </a:r>
            <a:endParaRPr lang="en-US" b="1" dirty="0">
              <a:solidFill>
                <a:schemeClr val="bg1"/>
              </a:solidFill>
            </a:endParaRPr>
          </a:p>
        </p:txBody>
      </p:sp>
      <p:sp>
        <p:nvSpPr>
          <p:cNvPr id="2626" name="Rectangle 2625"/>
          <p:cNvSpPr/>
          <p:nvPr/>
        </p:nvSpPr>
        <p:spPr>
          <a:xfrm>
            <a:off x="6539302" y="2826002"/>
            <a:ext cx="1304909" cy="461665"/>
          </a:xfrm>
          <a:prstGeom prst="rect">
            <a:avLst/>
          </a:prstGeom>
        </p:spPr>
        <p:txBody>
          <a:bodyPr wrap="none" anchor="ctr">
            <a:noAutofit/>
          </a:bodyPr>
          <a:lstStyle/>
          <a:p>
            <a:pPr>
              <a:buClr>
                <a:srgbClr val="000000">
                  <a:lumMod val="65000"/>
                  <a:lumOff val="35000"/>
                </a:srgbClr>
              </a:buClr>
            </a:pPr>
            <a:r>
              <a:rPr lang="en-US" b="1" dirty="0" smtClean="0">
                <a:solidFill>
                  <a:schemeClr val="bg1"/>
                </a:solidFill>
              </a:rPr>
              <a:t>Retail</a:t>
            </a:r>
            <a:endParaRPr lang="en-US" b="1" dirty="0">
              <a:solidFill>
                <a:schemeClr val="bg1"/>
              </a:solidFill>
            </a:endParaRPr>
          </a:p>
        </p:txBody>
      </p:sp>
      <p:sp>
        <p:nvSpPr>
          <p:cNvPr id="2627" name="Rectangle 2626"/>
          <p:cNvSpPr/>
          <p:nvPr/>
        </p:nvSpPr>
        <p:spPr>
          <a:xfrm>
            <a:off x="6390712" y="3570857"/>
            <a:ext cx="1304909" cy="461665"/>
          </a:xfrm>
          <a:prstGeom prst="rect">
            <a:avLst/>
          </a:prstGeom>
        </p:spPr>
        <p:txBody>
          <a:bodyPr wrap="none" anchor="ctr">
            <a:noAutofit/>
          </a:bodyPr>
          <a:lstStyle/>
          <a:p>
            <a:pPr>
              <a:buClr>
                <a:srgbClr val="000000">
                  <a:lumMod val="65000"/>
                  <a:lumOff val="35000"/>
                </a:srgbClr>
              </a:buClr>
            </a:pPr>
            <a:r>
              <a:rPr lang="en-US" b="1" dirty="0">
                <a:solidFill>
                  <a:schemeClr val="bg1"/>
                </a:solidFill>
              </a:rPr>
              <a:t>Energy, </a:t>
            </a:r>
            <a:r>
              <a:rPr lang="en-US" b="1" dirty="0" smtClean="0">
                <a:solidFill>
                  <a:schemeClr val="bg1"/>
                </a:solidFill>
              </a:rPr>
              <a:t>Resources</a:t>
            </a:r>
            <a:br>
              <a:rPr lang="en-US" b="1" dirty="0" smtClean="0">
                <a:solidFill>
                  <a:schemeClr val="bg1"/>
                </a:solidFill>
              </a:rPr>
            </a:br>
            <a:r>
              <a:rPr lang="en-US" b="1" dirty="0" smtClean="0">
                <a:solidFill>
                  <a:schemeClr val="bg1"/>
                </a:solidFill>
              </a:rPr>
              <a:t>&amp; Utilities</a:t>
            </a:r>
            <a:endParaRPr lang="en-US" b="1" dirty="0">
              <a:solidFill>
                <a:schemeClr val="bg1"/>
              </a:solidFill>
            </a:endParaRPr>
          </a:p>
        </p:txBody>
      </p:sp>
      <p:sp>
        <p:nvSpPr>
          <p:cNvPr id="2628" name="Rectangle 2627"/>
          <p:cNvSpPr/>
          <p:nvPr/>
        </p:nvSpPr>
        <p:spPr>
          <a:xfrm>
            <a:off x="5998282" y="4199507"/>
            <a:ext cx="1304909" cy="461665"/>
          </a:xfrm>
          <a:prstGeom prst="rect">
            <a:avLst/>
          </a:prstGeom>
        </p:spPr>
        <p:txBody>
          <a:bodyPr wrap="none" anchor="ctr">
            <a:noAutofit/>
          </a:bodyPr>
          <a:lstStyle/>
          <a:p>
            <a:pPr>
              <a:buClr>
                <a:srgbClr val="000000">
                  <a:lumMod val="65000"/>
                  <a:lumOff val="35000"/>
                </a:srgbClr>
              </a:buClr>
            </a:pPr>
            <a:r>
              <a:rPr lang="en-US" b="1" dirty="0">
                <a:solidFill>
                  <a:schemeClr val="bg1"/>
                </a:solidFill>
              </a:rPr>
              <a:t>Life Sciences </a:t>
            </a:r>
            <a:r>
              <a:rPr lang="en-US" b="1" dirty="0" smtClean="0">
                <a:solidFill>
                  <a:schemeClr val="bg1"/>
                </a:solidFill>
              </a:rPr>
              <a:t>&amp;</a:t>
            </a:r>
            <a:br>
              <a:rPr lang="en-US" b="1" dirty="0" smtClean="0">
                <a:solidFill>
                  <a:schemeClr val="bg1"/>
                </a:solidFill>
              </a:rPr>
            </a:br>
            <a:r>
              <a:rPr lang="en-US" b="1" dirty="0" smtClean="0">
                <a:solidFill>
                  <a:schemeClr val="bg1"/>
                </a:solidFill>
              </a:rPr>
              <a:t>Healthcare</a:t>
            </a:r>
            <a:endParaRPr lang="en-US" b="1" dirty="0">
              <a:solidFill>
                <a:schemeClr val="bg1"/>
              </a:solidFill>
            </a:endParaRPr>
          </a:p>
        </p:txBody>
      </p:sp>
      <p:sp>
        <p:nvSpPr>
          <p:cNvPr id="2629" name="Oval 2628"/>
          <p:cNvSpPr/>
          <p:nvPr/>
        </p:nvSpPr>
        <p:spPr>
          <a:xfrm>
            <a:off x="3932100" y="1227290"/>
            <a:ext cx="570076" cy="570077"/>
          </a:xfrm>
          <a:prstGeom prst="ellipse">
            <a:avLst/>
          </a:prstGeom>
          <a:solidFill>
            <a:srgbClr val="3C9A7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0" name="Oval 2629"/>
          <p:cNvSpPr/>
          <p:nvPr/>
        </p:nvSpPr>
        <p:spPr>
          <a:xfrm>
            <a:off x="4659837" y="1227290"/>
            <a:ext cx="570076" cy="570077"/>
          </a:xfrm>
          <a:prstGeom prst="ellipse">
            <a:avLst/>
          </a:prstGeom>
          <a:solidFill>
            <a:srgbClr val="3B9A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1" name="Oval 2630"/>
          <p:cNvSpPr/>
          <p:nvPr/>
        </p:nvSpPr>
        <p:spPr>
          <a:xfrm>
            <a:off x="3222324" y="4097281"/>
            <a:ext cx="570076" cy="570077"/>
          </a:xfrm>
          <a:prstGeom prst="ellipse">
            <a:avLst/>
          </a:prstGeom>
          <a:solidFill>
            <a:srgbClr val="2A96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2" name="Oval 2631"/>
          <p:cNvSpPr/>
          <p:nvPr/>
        </p:nvSpPr>
        <p:spPr>
          <a:xfrm>
            <a:off x="5354172" y="4097281"/>
            <a:ext cx="570076" cy="570077"/>
          </a:xfrm>
          <a:prstGeom prst="ellipse">
            <a:avLst/>
          </a:prstGeom>
          <a:solidFill>
            <a:srgbClr val="2A96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3" name="Oval 2632"/>
          <p:cNvSpPr/>
          <p:nvPr/>
        </p:nvSpPr>
        <p:spPr>
          <a:xfrm>
            <a:off x="5311267" y="1551880"/>
            <a:ext cx="570076" cy="570077"/>
          </a:xfrm>
          <a:prstGeom prst="ellipse">
            <a:avLst/>
          </a:prstGeom>
          <a:solidFill>
            <a:srgbClr val="38999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4" name="Oval 2633"/>
          <p:cNvSpPr/>
          <p:nvPr/>
        </p:nvSpPr>
        <p:spPr>
          <a:xfrm>
            <a:off x="5762577" y="2108063"/>
            <a:ext cx="570076" cy="570077"/>
          </a:xfrm>
          <a:prstGeom prst="ellipse">
            <a:avLst/>
          </a:prstGeom>
          <a:solidFill>
            <a:srgbClr val="3498A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5" name="Oval 2634"/>
          <p:cNvSpPr/>
          <p:nvPr/>
        </p:nvSpPr>
        <p:spPr>
          <a:xfrm>
            <a:off x="5940727" y="2806765"/>
            <a:ext cx="570076" cy="570077"/>
          </a:xfrm>
          <a:prstGeom prst="ellipse">
            <a:avLst/>
          </a:prstGeom>
          <a:solidFill>
            <a:srgbClr val="2F97B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6" name="Oval 2635"/>
          <p:cNvSpPr/>
          <p:nvPr/>
        </p:nvSpPr>
        <p:spPr>
          <a:xfrm>
            <a:off x="5780392" y="3523282"/>
            <a:ext cx="570076" cy="570077"/>
          </a:xfrm>
          <a:prstGeom prst="ellipse">
            <a:avLst/>
          </a:prstGeom>
          <a:solidFill>
            <a:srgbClr val="2A96C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7" name="Oval 2636"/>
          <p:cNvSpPr/>
          <p:nvPr/>
        </p:nvSpPr>
        <p:spPr>
          <a:xfrm flipH="1">
            <a:off x="3280669" y="1551880"/>
            <a:ext cx="570076" cy="570077"/>
          </a:xfrm>
          <a:prstGeom prst="ellipse">
            <a:avLst/>
          </a:prstGeom>
          <a:solidFill>
            <a:srgbClr val="3A9A8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8" name="Oval 2637"/>
          <p:cNvSpPr/>
          <p:nvPr/>
        </p:nvSpPr>
        <p:spPr>
          <a:xfrm flipH="1">
            <a:off x="2829359" y="2108063"/>
            <a:ext cx="570076" cy="570077"/>
          </a:xfrm>
          <a:prstGeom prst="ellipse">
            <a:avLst/>
          </a:prstGeom>
          <a:solidFill>
            <a:srgbClr val="37999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9" name="Oval 2638"/>
          <p:cNvSpPr/>
          <p:nvPr/>
        </p:nvSpPr>
        <p:spPr>
          <a:xfrm flipH="1">
            <a:off x="2651209" y="2806765"/>
            <a:ext cx="570076" cy="570077"/>
          </a:xfrm>
          <a:prstGeom prst="ellipse">
            <a:avLst/>
          </a:prstGeom>
          <a:solidFill>
            <a:srgbClr val="3398A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0" name="Oval 2639"/>
          <p:cNvSpPr/>
          <p:nvPr/>
        </p:nvSpPr>
        <p:spPr>
          <a:xfrm flipH="1">
            <a:off x="2811543" y="3523282"/>
            <a:ext cx="570076" cy="570077"/>
          </a:xfrm>
          <a:prstGeom prst="ellipse">
            <a:avLst/>
          </a:prstGeom>
          <a:solidFill>
            <a:srgbClr val="2E97B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1" name="Oval 2640"/>
          <p:cNvSpPr/>
          <p:nvPr/>
        </p:nvSpPr>
        <p:spPr>
          <a:xfrm>
            <a:off x="3973178" y="1268369"/>
            <a:ext cx="487920" cy="487919"/>
          </a:xfrm>
          <a:prstGeom prst="ellipse">
            <a:avLst/>
          </a:prstGeom>
          <a:solidFill>
            <a:srgbClr val="3C9A7E"/>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2" name="Oval 2641"/>
          <p:cNvSpPr/>
          <p:nvPr/>
        </p:nvSpPr>
        <p:spPr>
          <a:xfrm>
            <a:off x="4700915" y="1268369"/>
            <a:ext cx="487920" cy="487919"/>
          </a:xfrm>
          <a:prstGeom prst="ellipse">
            <a:avLst/>
          </a:prstGeom>
          <a:solidFill>
            <a:srgbClr val="3B9A82"/>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3" name="Oval 2642"/>
          <p:cNvSpPr/>
          <p:nvPr/>
        </p:nvSpPr>
        <p:spPr>
          <a:xfrm>
            <a:off x="3263403" y="4138361"/>
            <a:ext cx="487920" cy="487919"/>
          </a:xfrm>
          <a:prstGeom prst="ellipse">
            <a:avLst/>
          </a:prstGeom>
          <a:solidFill>
            <a:srgbClr val="2A96CC"/>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4" name="Oval 2643"/>
          <p:cNvSpPr/>
          <p:nvPr/>
        </p:nvSpPr>
        <p:spPr>
          <a:xfrm>
            <a:off x="5395250" y="4138361"/>
            <a:ext cx="487920" cy="487919"/>
          </a:xfrm>
          <a:prstGeom prst="ellipse">
            <a:avLst/>
          </a:prstGeom>
          <a:solidFill>
            <a:srgbClr val="2A96CC"/>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5" name="Oval 2644"/>
          <p:cNvSpPr/>
          <p:nvPr/>
        </p:nvSpPr>
        <p:spPr>
          <a:xfrm>
            <a:off x="5352345" y="1592959"/>
            <a:ext cx="487920" cy="487919"/>
          </a:xfrm>
          <a:prstGeom prst="ellipse">
            <a:avLst/>
          </a:prstGeom>
          <a:solidFill>
            <a:srgbClr val="389990"/>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6" name="Oval 2645"/>
          <p:cNvSpPr/>
          <p:nvPr/>
        </p:nvSpPr>
        <p:spPr>
          <a:xfrm>
            <a:off x="5803655" y="2149142"/>
            <a:ext cx="487920" cy="487919"/>
          </a:xfrm>
          <a:prstGeom prst="ellipse">
            <a:avLst/>
          </a:prstGeom>
          <a:solidFill>
            <a:srgbClr val="3498A1"/>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7" name="Oval 2646"/>
          <p:cNvSpPr/>
          <p:nvPr/>
        </p:nvSpPr>
        <p:spPr>
          <a:xfrm>
            <a:off x="5981805" y="2847844"/>
            <a:ext cx="487920" cy="487919"/>
          </a:xfrm>
          <a:prstGeom prst="ellipse">
            <a:avLst/>
          </a:prstGeom>
          <a:solidFill>
            <a:srgbClr val="2F97B8"/>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8" name="Oval 2647"/>
          <p:cNvSpPr/>
          <p:nvPr/>
        </p:nvSpPr>
        <p:spPr>
          <a:xfrm>
            <a:off x="5821471" y="3564361"/>
            <a:ext cx="487920" cy="487919"/>
          </a:xfrm>
          <a:prstGeom prst="ellipse">
            <a:avLst/>
          </a:prstGeom>
          <a:solidFill>
            <a:srgbClr val="2A96CA"/>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9" name="Oval 2648"/>
          <p:cNvSpPr/>
          <p:nvPr/>
        </p:nvSpPr>
        <p:spPr>
          <a:xfrm flipH="1">
            <a:off x="3321747" y="1592959"/>
            <a:ext cx="487919" cy="487919"/>
          </a:xfrm>
          <a:prstGeom prst="ellipse">
            <a:avLst/>
          </a:prstGeom>
          <a:solidFill>
            <a:srgbClr val="3A9A85"/>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0" name="Oval 2649"/>
          <p:cNvSpPr/>
          <p:nvPr/>
        </p:nvSpPr>
        <p:spPr>
          <a:xfrm flipH="1">
            <a:off x="2870437" y="2149142"/>
            <a:ext cx="487919" cy="487919"/>
          </a:xfrm>
          <a:prstGeom prst="ellipse">
            <a:avLst/>
          </a:prstGeom>
          <a:solidFill>
            <a:srgbClr val="379994"/>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1" name="Oval 2650"/>
          <p:cNvSpPr/>
          <p:nvPr/>
        </p:nvSpPr>
        <p:spPr>
          <a:xfrm flipH="1">
            <a:off x="2692287" y="2847844"/>
            <a:ext cx="487919" cy="487919"/>
          </a:xfrm>
          <a:prstGeom prst="ellipse">
            <a:avLst/>
          </a:prstGeom>
          <a:solidFill>
            <a:srgbClr val="3398A6"/>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2" name="Oval 2651"/>
          <p:cNvSpPr/>
          <p:nvPr/>
        </p:nvSpPr>
        <p:spPr>
          <a:xfrm flipH="1">
            <a:off x="2852622" y="3564361"/>
            <a:ext cx="487919" cy="487919"/>
          </a:xfrm>
          <a:prstGeom prst="ellipse">
            <a:avLst/>
          </a:prstGeom>
          <a:solidFill>
            <a:srgbClr val="2E97BB"/>
          </a:solidFill>
          <a:ln w="9525">
            <a:noFill/>
          </a:ln>
          <a:effectLst>
            <a:outerShdw blurRad="254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53" name="Picture 265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44756" y="4181103"/>
            <a:ext cx="325213" cy="354810"/>
          </a:xfrm>
          <a:prstGeom prst="rect">
            <a:avLst/>
          </a:prstGeom>
        </p:spPr>
      </p:pic>
      <p:pic>
        <p:nvPicPr>
          <p:cNvPr id="2654" name="Picture 265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34541" y="3609037"/>
            <a:ext cx="311104" cy="378920"/>
          </a:xfrm>
          <a:prstGeom prst="rect">
            <a:avLst/>
          </a:prstGeom>
        </p:spPr>
      </p:pic>
      <p:grpSp>
        <p:nvGrpSpPr>
          <p:cNvPr id="2655" name="Group 2623"/>
          <p:cNvGrpSpPr>
            <a:grpSpLocks noChangeAspect="1"/>
          </p:cNvGrpSpPr>
          <p:nvPr/>
        </p:nvGrpSpPr>
        <p:grpSpPr bwMode="auto">
          <a:xfrm>
            <a:off x="2960103" y="2250466"/>
            <a:ext cx="308587" cy="285271"/>
            <a:chOff x="2430" y="1204"/>
            <a:chExt cx="900" cy="832"/>
          </a:xfrm>
        </p:grpSpPr>
        <p:sp>
          <p:nvSpPr>
            <p:cNvPr id="2656" name="AutoShape 2622"/>
            <p:cNvSpPr>
              <a:spLocks noChangeAspect="1" noChangeArrowheads="1" noTextEdit="1"/>
            </p:cNvSpPr>
            <p:nvPr/>
          </p:nvSpPr>
          <p:spPr bwMode="auto">
            <a:xfrm>
              <a:off x="2430" y="1204"/>
              <a:ext cx="900" cy="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7" name="Freeform 2624"/>
            <p:cNvSpPr>
              <a:spLocks noEditPoints="1"/>
            </p:cNvSpPr>
            <p:nvPr/>
          </p:nvSpPr>
          <p:spPr bwMode="auto">
            <a:xfrm>
              <a:off x="2794" y="1213"/>
              <a:ext cx="444" cy="746"/>
            </a:xfrm>
            <a:custGeom>
              <a:avLst/>
              <a:gdLst>
                <a:gd name="T0" fmla="*/ 464 w 1944"/>
                <a:gd name="T1" fmla="*/ 562 h 3267"/>
                <a:gd name="T2" fmla="*/ 963 w 1944"/>
                <a:gd name="T3" fmla="*/ 170 h 3267"/>
                <a:gd name="T4" fmla="*/ 1436 w 1944"/>
                <a:gd name="T5" fmla="*/ 559 h 3267"/>
                <a:gd name="T6" fmla="*/ 464 w 1944"/>
                <a:gd name="T7" fmla="*/ 562 h 3267"/>
                <a:gd name="T8" fmla="*/ 1060 w 1944"/>
                <a:gd name="T9" fmla="*/ 0 h 3267"/>
                <a:gd name="T10" fmla="*/ 859 w 1944"/>
                <a:gd name="T11" fmla="*/ 0 h 3267"/>
                <a:gd name="T12" fmla="*/ 603 w 1944"/>
                <a:gd name="T13" fmla="*/ 101 h 3267"/>
                <a:gd name="T14" fmla="*/ 423 w 1944"/>
                <a:gd name="T15" fmla="*/ 284 h 3267"/>
                <a:gd name="T16" fmla="*/ 0 w 1944"/>
                <a:gd name="T17" fmla="*/ 561 h 3267"/>
                <a:gd name="T18" fmla="*/ 2 w 1944"/>
                <a:gd name="T19" fmla="*/ 1144 h 3267"/>
                <a:gd name="T20" fmla="*/ 182 w 1944"/>
                <a:gd name="T21" fmla="*/ 1282 h 3267"/>
                <a:gd name="T22" fmla="*/ 179 w 1944"/>
                <a:gd name="T23" fmla="*/ 1513 h 3267"/>
                <a:gd name="T24" fmla="*/ 285 w 1944"/>
                <a:gd name="T25" fmla="*/ 2066 h 3267"/>
                <a:gd name="T26" fmla="*/ 270 w 1944"/>
                <a:gd name="T27" fmla="*/ 3058 h 3267"/>
                <a:gd name="T28" fmla="*/ 155 w 1944"/>
                <a:gd name="T29" fmla="*/ 3267 h 3267"/>
                <a:gd name="T30" fmla="*/ 1524 w 1944"/>
                <a:gd name="T31" fmla="*/ 3261 h 3267"/>
                <a:gd name="T32" fmla="*/ 1532 w 1944"/>
                <a:gd name="T33" fmla="*/ 2295 h 3267"/>
                <a:gd name="T34" fmla="*/ 1647 w 1944"/>
                <a:gd name="T35" fmla="*/ 1948 h 3267"/>
                <a:gd name="T36" fmla="*/ 1944 w 1944"/>
                <a:gd name="T37" fmla="*/ 1814 h 3267"/>
                <a:gd name="T38" fmla="*/ 1944 w 1944"/>
                <a:gd name="T39" fmla="*/ 570 h 3267"/>
                <a:gd name="T40" fmla="*/ 1611 w 1944"/>
                <a:gd name="T41" fmla="*/ 558 h 3267"/>
                <a:gd name="T42" fmla="*/ 1527 w 1944"/>
                <a:gd name="T43" fmla="*/ 344 h 3267"/>
                <a:gd name="T44" fmla="*/ 1060 w 1944"/>
                <a:gd name="T45" fmla="*/ 0 h 3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44" h="3267">
                  <a:moveTo>
                    <a:pt x="464" y="562"/>
                  </a:moveTo>
                  <a:cubicBezTo>
                    <a:pt x="479" y="344"/>
                    <a:pt x="743" y="163"/>
                    <a:pt x="963" y="170"/>
                  </a:cubicBezTo>
                  <a:cubicBezTo>
                    <a:pt x="1189" y="177"/>
                    <a:pt x="1400" y="347"/>
                    <a:pt x="1436" y="559"/>
                  </a:cubicBezTo>
                  <a:lnTo>
                    <a:pt x="464" y="562"/>
                  </a:lnTo>
                  <a:close/>
                  <a:moveTo>
                    <a:pt x="1060" y="0"/>
                  </a:moveTo>
                  <a:lnTo>
                    <a:pt x="859" y="0"/>
                  </a:lnTo>
                  <a:cubicBezTo>
                    <a:pt x="783" y="40"/>
                    <a:pt x="681" y="54"/>
                    <a:pt x="603" y="101"/>
                  </a:cubicBezTo>
                  <a:cubicBezTo>
                    <a:pt x="527" y="148"/>
                    <a:pt x="469" y="220"/>
                    <a:pt x="423" y="284"/>
                  </a:cubicBezTo>
                  <a:cubicBezTo>
                    <a:pt x="208" y="583"/>
                    <a:pt x="490" y="561"/>
                    <a:pt x="0" y="561"/>
                  </a:cubicBezTo>
                  <a:lnTo>
                    <a:pt x="2" y="1144"/>
                  </a:lnTo>
                  <a:lnTo>
                    <a:pt x="182" y="1282"/>
                  </a:lnTo>
                  <a:cubicBezTo>
                    <a:pt x="216" y="1410"/>
                    <a:pt x="102" y="1378"/>
                    <a:pt x="179" y="1513"/>
                  </a:cubicBezTo>
                  <a:cubicBezTo>
                    <a:pt x="316" y="1751"/>
                    <a:pt x="285" y="1732"/>
                    <a:pt x="285" y="2066"/>
                  </a:cubicBezTo>
                  <a:cubicBezTo>
                    <a:pt x="285" y="2214"/>
                    <a:pt x="300" y="2946"/>
                    <a:pt x="270" y="3058"/>
                  </a:cubicBezTo>
                  <a:cubicBezTo>
                    <a:pt x="238" y="3183"/>
                    <a:pt x="193" y="3191"/>
                    <a:pt x="155" y="3267"/>
                  </a:cubicBezTo>
                  <a:lnTo>
                    <a:pt x="1524" y="3261"/>
                  </a:lnTo>
                  <a:lnTo>
                    <a:pt x="1532" y="2295"/>
                  </a:lnTo>
                  <a:cubicBezTo>
                    <a:pt x="1544" y="2171"/>
                    <a:pt x="1595" y="2030"/>
                    <a:pt x="1647" y="1948"/>
                  </a:cubicBezTo>
                  <a:cubicBezTo>
                    <a:pt x="1724" y="1828"/>
                    <a:pt x="1807" y="1870"/>
                    <a:pt x="1944" y="1814"/>
                  </a:cubicBezTo>
                  <a:lnTo>
                    <a:pt x="1944" y="570"/>
                  </a:lnTo>
                  <a:lnTo>
                    <a:pt x="1611" y="558"/>
                  </a:lnTo>
                  <a:lnTo>
                    <a:pt x="1527" y="344"/>
                  </a:lnTo>
                  <a:cubicBezTo>
                    <a:pt x="1417" y="106"/>
                    <a:pt x="1136" y="39"/>
                    <a:pt x="1060" y="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8" name="Freeform 2625"/>
            <p:cNvSpPr>
              <a:spLocks noEditPoints="1"/>
            </p:cNvSpPr>
            <p:nvPr/>
          </p:nvSpPr>
          <p:spPr bwMode="auto">
            <a:xfrm>
              <a:off x="2439" y="1242"/>
              <a:ext cx="228" cy="720"/>
            </a:xfrm>
            <a:custGeom>
              <a:avLst/>
              <a:gdLst>
                <a:gd name="T0" fmla="*/ 774 w 1000"/>
                <a:gd name="T1" fmla="*/ 2739 h 3153"/>
                <a:gd name="T2" fmla="*/ 663 w 1000"/>
                <a:gd name="T3" fmla="*/ 2739 h 3153"/>
                <a:gd name="T4" fmla="*/ 651 w 1000"/>
                <a:gd name="T5" fmla="*/ 2698 h 3153"/>
                <a:gd name="T6" fmla="*/ 655 w 1000"/>
                <a:gd name="T7" fmla="*/ 1487 h 3153"/>
                <a:gd name="T8" fmla="*/ 780 w 1000"/>
                <a:gd name="T9" fmla="*/ 1481 h 3153"/>
                <a:gd name="T10" fmla="*/ 774 w 1000"/>
                <a:gd name="T11" fmla="*/ 2739 h 3153"/>
                <a:gd name="T12" fmla="*/ 0 w 1000"/>
                <a:gd name="T13" fmla="*/ 1556 h 3153"/>
                <a:gd name="T14" fmla="*/ 0 w 1000"/>
                <a:gd name="T15" fmla="*/ 2936 h 3153"/>
                <a:gd name="T16" fmla="*/ 327 w 1000"/>
                <a:gd name="T17" fmla="*/ 3134 h 3153"/>
                <a:gd name="T18" fmla="*/ 791 w 1000"/>
                <a:gd name="T19" fmla="*/ 3108 h 3153"/>
                <a:gd name="T20" fmla="*/ 962 w 1000"/>
                <a:gd name="T21" fmla="*/ 2734 h 3153"/>
                <a:gd name="T22" fmla="*/ 960 w 1000"/>
                <a:gd name="T23" fmla="*/ 2169 h 3153"/>
                <a:gd name="T24" fmla="*/ 846 w 1000"/>
                <a:gd name="T25" fmla="*/ 1166 h 3153"/>
                <a:gd name="T26" fmla="*/ 626 w 1000"/>
                <a:gd name="T27" fmla="*/ 279 h 3153"/>
                <a:gd name="T28" fmla="*/ 699 w 1000"/>
                <a:gd name="T29" fmla="*/ 94 h 3153"/>
                <a:gd name="T30" fmla="*/ 274 w 1000"/>
                <a:gd name="T31" fmla="*/ 155 h 3153"/>
                <a:gd name="T32" fmla="*/ 350 w 1000"/>
                <a:gd name="T33" fmla="*/ 262 h 3153"/>
                <a:gd name="T34" fmla="*/ 213 w 1000"/>
                <a:gd name="T35" fmla="*/ 948 h 3153"/>
                <a:gd name="T36" fmla="*/ 98 w 1000"/>
                <a:gd name="T37" fmla="*/ 1239 h 3153"/>
                <a:gd name="T38" fmla="*/ 0 w 1000"/>
                <a:gd name="T39" fmla="*/ 1556 h 3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00" h="3153">
                  <a:moveTo>
                    <a:pt x="774" y="2739"/>
                  </a:moveTo>
                  <a:lnTo>
                    <a:pt x="663" y="2739"/>
                  </a:lnTo>
                  <a:cubicBezTo>
                    <a:pt x="656" y="2723"/>
                    <a:pt x="659" y="2754"/>
                    <a:pt x="651" y="2698"/>
                  </a:cubicBezTo>
                  <a:cubicBezTo>
                    <a:pt x="634" y="2578"/>
                    <a:pt x="652" y="1504"/>
                    <a:pt x="655" y="1487"/>
                  </a:cubicBezTo>
                  <a:lnTo>
                    <a:pt x="780" y="1481"/>
                  </a:lnTo>
                  <a:cubicBezTo>
                    <a:pt x="782" y="1640"/>
                    <a:pt x="809" y="2655"/>
                    <a:pt x="774" y="2739"/>
                  </a:cubicBezTo>
                  <a:close/>
                  <a:moveTo>
                    <a:pt x="0" y="1556"/>
                  </a:moveTo>
                  <a:lnTo>
                    <a:pt x="0" y="2936"/>
                  </a:lnTo>
                  <a:cubicBezTo>
                    <a:pt x="78" y="3072"/>
                    <a:pt x="153" y="3110"/>
                    <a:pt x="327" y="3134"/>
                  </a:cubicBezTo>
                  <a:cubicBezTo>
                    <a:pt x="466" y="3153"/>
                    <a:pt x="665" y="3150"/>
                    <a:pt x="791" y="3108"/>
                  </a:cubicBezTo>
                  <a:cubicBezTo>
                    <a:pt x="960" y="3052"/>
                    <a:pt x="964" y="2956"/>
                    <a:pt x="962" y="2734"/>
                  </a:cubicBezTo>
                  <a:cubicBezTo>
                    <a:pt x="961" y="2545"/>
                    <a:pt x="961" y="2357"/>
                    <a:pt x="960" y="2169"/>
                  </a:cubicBezTo>
                  <a:cubicBezTo>
                    <a:pt x="959" y="1683"/>
                    <a:pt x="1000" y="1586"/>
                    <a:pt x="846" y="1166"/>
                  </a:cubicBezTo>
                  <a:cubicBezTo>
                    <a:pt x="726" y="836"/>
                    <a:pt x="630" y="708"/>
                    <a:pt x="626" y="279"/>
                  </a:cubicBezTo>
                  <a:cubicBezTo>
                    <a:pt x="699" y="217"/>
                    <a:pt x="731" y="239"/>
                    <a:pt x="699" y="94"/>
                  </a:cubicBezTo>
                  <a:cubicBezTo>
                    <a:pt x="486" y="70"/>
                    <a:pt x="271" y="0"/>
                    <a:pt x="274" y="155"/>
                  </a:cubicBezTo>
                  <a:cubicBezTo>
                    <a:pt x="276" y="249"/>
                    <a:pt x="303" y="215"/>
                    <a:pt x="350" y="262"/>
                  </a:cubicBezTo>
                  <a:lnTo>
                    <a:pt x="213" y="948"/>
                  </a:lnTo>
                  <a:cubicBezTo>
                    <a:pt x="170" y="1052"/>
                    <a:pt x="136" y="1134"/>
                    <a:pt x="98" y="1239"/>
                  </a:cubicBezTo>
                  <a:cubicBezTo>
                    <a:pt x="63" y="1339"/>
                    <a:pt x="40" y="1465"/>
                    <a:pt x="0" y="155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9" name="Freeform 2626"/>
            <p:cNvSpPr>
              <a:spLocks noEditPoints="1"/>
            </p:cNvSpPr>
            <p:nvPr/>
          </p:nvSpPr>
          <p:spPr bwMode="auto">
            <a:xfrm>
              <a:off x="2662" y="1473"/>
              <a:ext cx="200" cy="486"/>
            </a:xfrm>
            <a:custGeom>
              <a:avLst/>
              <a:gdLst>
                <a:gd name="T0" fmla="*/ 129 w 876"/>
                <a:gd name="T1" fmla="*/ 634 h 2131"/>
                <a:gd name="T2" fmla="*/ 279 w 876"/>
                <a:gd name="T3" fmla="*/ 369 h 2131"/>
                <a:gd name="T4" fmla="*/ 537 w 876"/>
                <a:gd name="T5" fmla="*/ 367 h 2131"/>
                <a:gd name="T6" fmla="*/ 736 w 876"/>
                <a:gd name="T7" fmla="*/ 628 h 2131"/>
                <a:gd name="T8" fmla="*/ 129 w 876"/>
                <a:gd name="T9" fmla="*/ 634 h 2131"/>
                <a:gd name="T10" fmla="*/ 650 w 876"/>
                <a:gd name="T11" fmla="*/ 243 h 2131"/>
                <a:gd name="T12" fmla="*/ 186 w 876"/>
                <a:gd name="T13" fmla="*/ 190 h 2131"/>
                <a:gd name="T14" fmla="*/ 276 w 876"/>
                <a:gd name="T15" fmla="*/ 256 h 2131"/>
                <a:gd name="T16" fmla="*/ 89 w 876"/>
                <a:gd name="T17" fmla="*/ 1281 h 2131"/>
                <a:gd name="T18" fmla="*/ 429 w 876"/>
                <a:gd name="T19" fmla="*/ 2126 h 2131"/>
                <a:gd name="T20" fmla="*/ 783 w 876"/>
                <a:gd name="T21" fmla="*/ 1299 h 2131"/>
                <a:gd name="T22" fmla="*/ 617 w 876"/>
                <a:gd name="T23" fmla="*/ 275 h 2131"/>
                <a:gd name="T24" fmla="*/ 625 w 876"/>
                <a:gd name="T25" fmla="*/ 267 h 2131"/>
                <a:gd name="T26" fmla="*/ 650 w 876"/>
                <a:gd name="T27" fmla="*/ 243 h 2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6" h="2131">
                  <a:moveTo>
                    <a:pt x="129" y="634"/>
                  </a:moveTo>
                  <a:cubicBezTo>
                    <a:pt x="156" y="567"/>
                    <a:pt x="243" y="422"/>
                    <a:pt x="279" y="369"/>
                  </a:cubicBezTo>
                  <a:lnTo>
                    <a:pt x="537" y="367"/>
                  </a:lnTo>
                  <a:cubicBezTo>
                    <a:pt x="610" y="395"/>
                    <a:pt x="698" y="534"/>
                    <a:pt x="736" y="628"/>
                  </a:cubicBezTo>
                  <a:lnTo>
                    <a:pt x="129" y="634"/>
                  </a:lnTo>
                  <a:close/>
                  <a:moveTo>
                    <a:pt x="650" y="243"/>
                  </a:moveTo>
                  <a:cubicBezTo>
                    <a:pt x="827" y="67"/>
                    <a:pt x="242" y="0"/>
                    <a:pt x="186" y="190"/>
                  </a:cubicBezTo>
                  <a:lnTo>
                    <a:pt x="276" y="256"/>
                  </a:lnTo>
                  <a:cubicBezTo>
                    <a:pt x="21" y="808"/>
                    <a:pt x="89" y="555"/>
                    <a:pt x="89" y="1281"/>
                  </a:cubicBezTo>
                  <a:cubicBezTo>
                    <a:pt x="89" y="1695"/>
                    <a:pt x="0" y="2131"/>
                    <a:pt x="429" y="2126"/>
                  </a:cubicBezTo>
                  <a:cubicBezTo>
                    <a:pt x="876" y="2120"/>
                    <a:pt x="783" y="1744"/>
                    <a:pt x="783" y="1299"/>
                  </a:cubicBezTo>
                  <a:cubicBezTo>
                    <a:pt x="783" y="745"/>
                    <a:pt x="852" y="629"/>
                    <a:pt x="617" y="275"/>
                  </a:cubicBezTo>
                  <a:cubicBezTo>
                    <a:pt x="619" y="272"/>
                    <a:pt x="623" y="268"/>
                    <a:pt x="625" y="267"/>
                  </a:cubicBezTo>
                  <a:lnTo>
                    <a:pt x="650" y="243"/>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0" name="Freeform 2627"/>
            <p:cNvSpPr>
              <a:spLocks/>
            </p:cNvSpPr>
            <p:nvPr/>
          </p:nvSpPr>
          <p:spPr bwMode="auto">
            <a:xfrm>
              <a:off x="3157" y="1647"/>
              <a:ext cx="164" cy="380"/>
            </a:xfrm>
            <a:custGeom>
              <a:avLst/>
              <a:gdLst>
                <a:gd name="T0" fmla="*/ 248 w 715"/>
                <a:gd name="T1" fmla="*/ 1666 h 1666"/>
                <a:gd name="T2" fmla="*/ 460 w 715"/>
                <a:gd name="T3" fmla="*/ 1666 h 1666"/>
                <a:gd name="T4" fmla="*/ 655 w 715"/>
                <a:gd name="T5" fmla="*/ 1526 h 1666"/>
                <a:gd name="T6" fmla="*/ 703 w 715"/>
                <a:gd name="T7" fmla="*/ 1225 h 1666"/>
                <a:gd name="T8" fmla="*/ 715 w 715"/>
                <a:gd name="T9" fmla="*/ 515 h 1666"/>
                <a:gd name="T10" fmla="*/ 715 w 715"/>
                <a:gd name="T11" fmla="*/ 347 h 1666"/>
                <a:gd name="T12" fmla="*/ 313 w 715"/>
                <a:gd name="T13" fmla="*/ 17 h 1666"/>
                <a:gd name="T14" fmla="*/ 89 w 715"/>
                <a:gd name="T15" fmla="*/ 156 h 1666"/>
                <a:gd name="T16" fmla="*/ 2 w 715"/>
                <a:gd name="T17" fmla="*/ 429 h 1666"/>
                <a:gd name="T18" fmla="*/ 2 w 715"/>
                <a:gd name="T19" fmla="*/ 1189 h 1666"/>
                <a:gd name="T20" fmla="*/ 248 w 715"/>
                <a:gd name="T21" fmla="*/ 1666 h 1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5" h="1666">
                  <a:moveTo>
                    <a:pt x="248" y="1666"/>
                  </a:moveTo>
                  <a:lnTo>
                    <a:pt x="460" y="1666"/>
                  </a:lnTo>
                  <a:cubicBezTo>
                    <a:pt x="561" y="1608"/>
                    <a:pt x="602" y="1630"/>
                    <a:pt x="655" y="1526"/>
                  </a:cubicBezTo>
                  <a:cubicBezTo>
                    <a:pt x="702" y="1432"/>
                    <a:pt x="703" y="1339"/>
                    <a:pt x="703" y="1225"/>
                  </a:cubicBezTo>
                  <a:cubicBezTo>
                    <a:pt x="702" y="1064"/>
                    <a:pt x="677" y="632"/>
                    <a:pt x="715" y="515"/>
                  </a:cubicBezTo>
                  <a:lnTo>
                    <a:pt x="715" y="347"/>
                  </a:lnTo>
                  <a:cubicBezTo>
                    <a:pt x="620" y="143"/>
                    <a:pt x="626" y="0"/>
                    <a:pt x="313" y="17"/>
                  </a:cubicBezTo>
                  <a:cubicBezTo>
                    <a:pt x="109" y="28"/>
                    <a:pt x="116" y="107"/>
                    <a:pt x="89" y="156"/>
                  </a:cubicBezTo>
                  <a:cubicBezTo>
                    <a:pt x="33" y="263"/>
                    <a:pt x="3" y="252"/>
                    <a:pt x="2" y="429"/>
                  </a:cubicBezTo>
                  <a:cubicBezTo>
                    <a:pt x="0" y="682"/>
                    <a:pt x="3" y="936"/>
                    <a:pt x="2" y="1189"/>
                  </a:cubicBezTo>
                  <a:cubicBezTo>
                    <a:pt x="2" y="1583"/>
                    <a:pt x="58" y="1580"/>
                    <a:pt x="248" y="166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1" name="Freeform 2631"/>
            <p:cNvSpPr>
              <a:spLocks/>
            </p:cNvSpPr>
            <p:nvPr/>
          </p:nvSpPr>
          <p:spPr bwMode="auto">
            <a:xfrm>
              <a:off x="2584" y="1580"/>
              <a:ext cx="40" cy="291"/>
            </a:xfrm>
            <a:custGeom>
              <a:avLst/>
              <a:gdLst>
                <a:gd name="T0" fmla="*/ 29 w 175"/>
                <a:gd name="T1" fmla="*/ 1258 h 1273"/>
                <a:gd name="T2" fmla="*/ 28 w 175"/>
                <a:gd name="T3" fmla="*/ 13 h 1273"/>
                <a:gd name="T4" fmla="*/ 138 w 175"/>
                <a:gd name="T5" fmla="*/ 12 h 1273"/>
                <a:gd name="T6" fmla="*/ 140 w 175"/>
                <a:gd name="T7" fmla="*/ 1258 h 1273"/>
                <a:gd name="T8" fmla="*/ 146 w 175"/>
                <a:gd name="T9" fmla="*/ 0 h 1273"/>
                <a:gd name="T10" fmla="*/ 21 w 175"/>
                <a:gd name="T11" fmla="*/ 6 h 1273"/>
                <a:gd name="T12" fmla="*/ 17 w 175"/>
                <a:gd name="T13" fmla="*/ 1217 h 1273"/>
                <a:gd name="T14" fmla="*/ 29 w 175"/>
                <a:gd name="T15" fmla="*/ 1258 h 12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1273">
                  <a:moveTo>
                    <a:pt x="29" y="1258"/>
                  </a:moveTo>
                  <a:lnTo>
                    <a:pt x="28" y="13"/>
                  </a:lnTo>
                  <a:lnTo>
                    <a:pt x="138" y="12"/>
                  </a:lnTo>
                  <a:lnTo>
                    <a:pt x="140" y="1258"/>
                  </a:lnTo>
                  <a:cubicBezTo>
                    <a:pt x="175" y="1174"/>
                    <a:pt x="148" y="159"/>
                    <a:pt x="146" y="0"/>
                  </a:cubicBezTo>
                  <a:lnTo>
                    <a:pt x="21" y="6"/>
                  </a:lnTo>
                  <a:cubicBezTo>
                    <a:pt x="18" y="23"/>
                    <a:pt x="0" y="1097"/>
                    <a:pt x="17" y="1217"/>
                  </a:cubicBezTo>
                  <a:cubicBezTo>
                    <a:pt x="25" y="1273"/>
                    <a:pt x="22" y="1242"/>
                    <a:pt x="29" y="1258"/>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2" name="Freeform 2632"/>
            <p:cNvSpPr>
              <a:spLocks/>
            </p:cNvSpPr>
            <p:nvPr/>
          </p:nvSpPr>
          <p:spPr bwMode="auto">
            <a:xfrm>
              <a:off x="3262" y="1764"/>
              <a:ext cx="59" cy="263"/>
            </a:xfrm>
            <a:custGeom>
              <a:avLst/>
              <a:gdLst>
                <a:gd name="T0" fmla="*/ 0 w 255"/>
                <a:gd name="T1" fmla="*/ 1151 h 1151"/>
                <a:gd name="T2" fmla="*/ 255 w 255"/>
                <a:gd name="T3" fmla="*/ 1151 h 1151"/>
                <a:gd name="T4" fmla="*/ 255 w 255"/>
                <a:gd name="T5" fmla="*/ 0 h 1151"/>
                <a:gd name="T6" fmla="*/ 243 w 255"/>
                <a:gd name="T7" fmla="*/ 710 h 1151"/>
                <a:gd name="T8" fmla="*/ 195 w 255"/>
                <a:gd name="T9" fmla="*/ 1011 h 1151"/>
                <a:gd name="T10" fmla="*/ 0 w 255"/>
                <a:gd name="T11" fmla="*/ 1151 h 1151"/>
              </a:gdLst>
              <a:ahLst/>
              <a:cxnLst>
                <a:cxn ang="0">
                  <a:pos x="T0" y="T1"/>
                </a:cxn>
                <a:cxn ang="0">
                  <a:pos x="T2" y="T3"/>
                </a:cxn>
                <a:cxn ang="0">
                  <a:pos x="T4" y="T5"/>
                </a:cxn>
                <a:cxn ang="0">
                  <a:pos x="T6" y="T7"/>
                </a:cxn>
                <a:cxn ang="0">
                  <a:pos x="T8" y="T9"/>
                </a:cxn>
                <a:cxn ang="0">
                  <a:pos x="T10" y="T11"/>
                </a:cxn>
              </a:cxnLst>
              <a:rect l="0" t="0" r="r" b="b"/>
              <a:pathLst>
                <a:path w="255" h="1151">
                  <a:moveTo>
                    <a:pt x="0" y="1151"/>
                  </a:moveTo>
                  <a:lnTo>
                    <a:pt x="255" y="1151"/>
                  </a:lnTo>
                  <a:lnTo>
                    <a:pt x="255" y="0"/>
                  </a:lnTo>
                  <a:cubicBezTo>
                    <a:pt x="217" y="117"/>
                    <a:pt x="242" y="549"/>
                    <a:pt x="243" y="710"/>
                  </a:cubicBezTo>
                  <a:cubicBezTo>
                    <a:pt x="243" y="824"/>
                    <a:pt x="242" y="917"/>
                    <a:pt x="195" y="1011"/>
                  </a:cubicBezTo>
                  <a:cubicBezTo>
                    <a:pt x="142" y="1115"/>
                    <a:pt x="101" y="1093"/>
                    <a:pt x="0" y="1151"/>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663" name="Picture 266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11778" y="1682871"/>
            <a:ext cx="307858" cy="308095"/>
          </a:xfrm>
          <a:prstGeom prst="rect">
            <a:avLst/>
          </a:prstGeom>
        </p:spPr>
      </p:pic>
      <p:pic>
        <p:nvPicPr>
          <p:cNvPr id="2664" name="Picture 266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54377" y="1352068"/>
            <a:ext cx="325524" cy="320522"/>
          </a:xfrm>
          <a:prstGeom prst="rect">
            <a:avLst/>
          </a:prstGeom>
        </p:spPr>
      </p:pic>
      <p:pic>
        <p:nvPicPr>
          <p:cNvPr id="2665" name="Picture 266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70734" y="1355169"/>
            <a:ext cx="348283" cy="315251"/>
          </a:xfrm>
          <a:prstGeom prst="rect">
            <a:avLst/>
          </a:prstGeom>
        </p:spPr>
      </p:pic>
      <p:pic>
        <p:nvPicPr>
          <p:cNvPr id="2666" name="Picture 266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24495" y="1675919"/>
            <a:ext cx="343620" cy="322000"/>
          </a:xfrm>
          <a:prstGeom prst="rect">
            <a:avLst/>
          </a:prstGeom>
        </p:spPr>
      </p:pic>
      <p:pic>
        <p:nvPicPr>
          <p:cNvPr id="2667" name="Picture 26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00219" y="2209318"/>
            <a:ext cx="294794" cy="367568"/>
          </a:xfrm>
          <a:prstGeom prst="rect">
            <a:avLst/>
          </a:prstGeom>
        </p:spPr>
      </p:pic>
      <p:pic>
        <p:nvPicPr>
          <p:cNvPr id="2668" name="Picture 2667"/>
          <p:cNvPicPr>
            <a:picLocks noChangeAspect="1"/>
          </p:cNvPicPr>
          <p:nvPr/>
        </p:nvPicPr>
        <p:blipFill>
          <a:blip r:embed="rId9"/>
          <a:stretch>
            <a:fillRect/>
          </a:stretch>
        </p:blipFill>
        <p:spPr>
          <a:xfrm>
            <a:off x="6071836" y="2937756"/>
            <a:ext cx="307858" cy="308095"/>
          </a:xfrm>
          <a:prstGeom prst="rect">
            <a:avLst/>
          </a:prstGeom>
        </p:spPr>
      </p:pic>
      <p:pic>
        <p:nvPicPr>
          <p:cNvPr id="2669" name="Picture 2668"/>
          <p:cNvPicPr>
            <a:picLocks noChangeAspect="1"/>
          </p:cNvPicPr>
          <p:nvPr/>
        </p:nvPicPr>
        <p:blipFill>
          <a:blip r:embed="rId10"/>
          <a:stretch>
            <a:fillRect/>
          </a:stretch>
        </p:blipFill>
        <p:spPr>
          <a:xfrm>
            <a:off x="5478313" y="4228618"/>
            <a:ext cx="321794" cy="307404"/>
          </a:xfrm>
          <a:prstGeom prst="rect">
            <a:avLst/>
          </a:prstGeom>
        </p:spPr>
      </p:pic>
      <p:pic>
        <p:nvPicPr>
          <p:cNvPr id="2670" name="Picture 2669"/>
          <p:cNvPicPr>
            <a:picLocks noChangeAspect="1"/>
          </p:cNvPicPr>
          <p:nvPr/>
        </p:nvPicPr>
        <p:blipFill>
          <a:blip r:embed="rId11"/>
          <a:stretch>
            <a:fillRect/>
          </a:stretch>
        </p:blipFill>
        <p:spPr>
          <a:xfrm>
            <a:off x="5894368" y="3640769"/>
            <a:ext cx="342126" cy="335104"/>
          </a:xfrm>
          <a:prstGeom prst="rect">
            <a:avLst/>
          </a:prstGeom>
        </p:spPr>
      </p:pic>
      <p:pic>
        <p:nvPicPr>
          <p:cNvPr id="2671" name="Picture 267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738080" y="2907256"/>
            <a:ext cx="396333" cy="369094"/>
          </a:xfrm>
          <a:prstGeom prst="rect">
            <a:avLst/>
          </a:prstGeom>
        </p:spPr>
      </p:pic>
    </p:spTree>
    <p:extLst>
      <p:ext uri="{BB962C8B-B14F-4D97-AF65-F5344CB8AC3E}">
        <p14:creationId xmlns:p14="http://schemas.microsoft.com/office/powerpoint/2010/main" val="6415633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rge Research &amp; Innovation focus since 1981</a:t>
            </a:r>
            <a:endParaRPr lang="en-US" dirty="0"/>
          </a:p>
        </p:txBody>
      </p:sp>
      <p:pic>
        <p:nvPicPr>
          <p:cNvPr id="50" name="Picture 49"/>
          <p:cNvPicPr>
            <a:picLocks noChangeAspect="1"/>
          </p:cNvPicPr>
          <p:nvPr/>
        </p:nvPicPr>
        <p:blipFill>
          <a:blip r:embed="rId2"/>
          <a:stretch>
            <a:fillRect/>
          </a:stretch>
        </p:blipFill>
        <p:spPr>
          <a:xfrm>
            <a:off x="727397" y="1698448"/>
            <a:ext cx="3824055" cy="2943620"/>
          </a:xfrm>
          <a:prstGeom prst="rect">
            <a:avLst/>
          </a:prstGeom>
        </p:spPr>
      </p:pic>
      <p:pic>
        <p:nvPicPr>
          <p:cNvPr id="51" name="Picture 50"/>
          <p:cNvPicPr>
            <a:picLocks noChangeAspect="1"/>
          </p:cNvPicPr>
          <p:nvPr/>
        </p:nvPicPr>
        <p:blipFill>
          <a:blip r:embed="rId3"/>
          <a:stretch>
            <a:fillRect/>
          </a:stretch>
        </p:blipFill>
        <p:spPr>
          <a:xfrm>
            <a:off x="6450992" y="998412"/>
            <a:ext cx="1840253" cy="3610960"/>
          </a:xfrm>
          <a:prstGeom prst="rect">
            <a:avLst/>
          </a:prstGeom>
        </p:spPr>
      </p:pic>
      <p:sp>
        <p:nvSpPr>
          <p:cNvPr id="53" name="Rounded Rectangle 52"/>
          <p:cNvSpPr/>
          <p:nvPr/>
        </p:nvSpPr>
        <p:spPr>
          <a:xfrm>
            <a:off x="650341" y="4742810"/>
            <a:ext cx="3901111" cy="281253"/>
          </a:xfrm>
          <a:prstGeom prst="round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Research Areas</a:t>
            </a:r>
            <a:endParaRPr lang="en-US" b="1" dirty="0"/>
          </a:p>
        </p:txBody>
      </p:sp>
      <p:sp>
        <p:nvSpPr>
          <p:cNvPr id="54" name="Rounded Rectangle 53"/>
          <p:cNvSpPr/>
          <p:nvPr/>
        </p:nvSpPr>
        <p:spPr>
          <a:xfrm>
            <a:off x="6535098" y="4742810"/>
            <a:ext cx="2352048" cy="281253"/>
          </a:xfrm>
          <a:prstGeom prst="roundRect">
            <a:avLst/>
          </a:prstGeom>
          <a:solidFill>
            <a:srgbClr val="6DCF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Focused Research Programs</a:t>
            </a:r>
            <a:endParaRPr lang="en-US" b="1" dirty="0"/>
          </a:p>
        </p:txBody>
      </p:sp>
      <p:sp>
        <p:nvSpPr>
          <p:cNvPr id="55" name="Rectangle 15"/>
          <p:cNvSpPr>
            <a:spLocks noChangeArrowheads="1"/>
          </p:cNvSpPr>
          <p:nvPr/>
        </p:nvSpPr>
        <p:spPr bwMode="auto">
          <a:xfrm>
            <a:off x="1050811" y="584619"/>
            <a:ext cx="2894144" cy="287925"/>
          </a:xfrm>
          <a:prstGeom prst="rect">
            <a:avLst/>
          </a:prstGeom>
          <a:gradFill flip="none" rotWithShape="1">
            <a:gsLst>
              <a:gs pos="100000">
                <a:sysClr val="window" lastClr="FFFFFF">
                  <a:lumMod val="95000"/>
                </a:sysClr>
              </a:gs>
              <a:gs pos="0">
                <a:sysClr val="window" lastClr="FFFFFF">
                  <a:alpha val="0"/>
                </a:sysClr>
              </a:gs>
            </a:gsLst>
            <a:lin ang="10800000" scaled="1"/>
            <a:tileRect/>
          </a:gradFill>
          <a:effectLst/>
          <a:extLst/>
        </p:spPr>
        <p:txBody>
          <a:bodyPr wrap="square" lIns="91234" tIns="45617" rIns="91234" bIns="45617" anchor="ctr">
            <a:noAutofit/>
          </a:bodyPr>
          <a:lstStyle/>
          <a:p>
            <a:pPr defTabSz="912299">
              <a:defRPr/>
            </a:pPr>
            <a:r>
              <a:rPr lang="en-US" sz="1050" b="1" kern="0" dirty="0" smtClean="0">
                <a:solidFill>
                  <a:sysClr val="windowText" lastClr="000000"/>
                </a:solidFill>
              </a:rPr>
              <a:t>Scientists in the Labs</a:t>
            </a:r>
            <a:endParaRPr lang="en-US" sz="1050" b="1" kern="0" dirty="0">
              <a:solidFill>
                <a:sysClr val="windowText" lastClr="000000"/>
              </a:solidFill>
            </a:endParaRPr>
          </a:p>
        </p:txBody>
      </p:sp>
      <p:sp>
        <p:nvSpPr>
          <p:cNvPr id="56" name="Rectangle 1"/>
          <p:cNvSpPr>
            <a:spLocks noChangeArrowheads="1"/>
          </p:cNvSpPr>
          <p:nvPr/>
        </p:nvSpPr>
        <p:spPr bwMode="auto">
          <a:xfrm>
            <a:off x="0" y="584619"/>
            <a:ext cx="825737" cy="287925"/>
          </a:xfrm>
          <a:prstGeom prst="rect">
            <a:avLst/>
          </a:prstGeom>
          <a:noFill/>
          <a:ln w="10000" cap="flat" cmpd="sng" algn="ctr">
            <a:noFill/>
            <a:prstDash val="solid"/>
          </a:ln>
          <a:effectLst/>
          <a:extLst/>
        </p:spPr>
        <p:txBody>
          <a:bodyPr rot="0" spcFirstLastPara="0" vertOverflow="overflow" horzOverflow="overflow" vert="horz" wrap="square" lIns="51321" tIns="25661" rIns="51321" bIns="25661" numCol="1" spcCol="0" rtlCol="0" fromWordArt="0" anchor="ctr" anchorCtr="0" forceAA="0" compatLnSpc="1">
            <a:prstTxWarp prst="textNoShape">
              <a:avLst/>
            </a:prstTxWarp>
            <a:noAutofit/>
          </a:bodyPr>
          <a:lstStyle/>
          <a:p>
            <a:pPr algn="r" defTabSz="912299">
              <a:defRPr/>
            </a:pPr>
            <a:r>
              <a:rPr lang="en-US" sz="1200" b="1" kern="0" dirty="0" smtClean="0">
                <a:solidFill>
                  <a:srgbClr val="0063BE"/>
                </a:solidFill>
                <a:latin typeface="Calibiri"/>
              </a:rPr>
              <a:t>1,500</a:t>
            </a:r>
            <a:endParaRPr lang="en-US" sz="1200" b="1" kern="0" dirty="0">
              <a:solidFill>
                <a:srgbClr val="0063BE"/>
              </a:solidFill>
              <a:latin typeface="Calibiri"/>
            </a:endParaRPr>
          </a:p>
        </p:txBody>
      </p:sp>
      <p:sp>
        <p:nvSpPr>
          <p:cNvPr id="57" name="Rectangle 1"/>
          <p:cNvSpPr>
            <a:spLocks noChangeArrowheads="1"/>
          </p:cNvSpPr>
          <p:nvPr/>
        </p:nvSpPr>
        <p:spPr bwMode="auto">
          <a:xfrm>
            <a:off x="956585" y="584619"/>
            <a:ext cx="46292" cy="287925"/>
          </a:xfrm>
          <a:prstGeom prst="rect">
            <a:avLst/>
          </a:prstGeom>
          <a:solidFill>
            <a:srgbClr val="0063BE"/>
          </a:solidFill>
          <a:ln w="3175" cap="flat" cmpd="sng" algn="ctr">
            <a:solidFill>
              <a:srgbClr val="0063BE"/>
            </a:solidFill>
            <a:prstDash val="solid"/>
            <a:headEnd/>
            <a:tailEnd/>
          </a:ln>
          <a:effectLst/>
          <a:extLst/>
        </p:spPr>
        <p:txBody>
          <a:bodyPr wrap="none" lIns="91234" tIns="45617" rIns="91234" bIns="45617" anchor="ctr"/>
          <a:lstStyle/>
          <a:p>
            <a:pPr defTabSz="912299">
              <a:buSzPct val="150000"/>
              <a:defRPr/>
            </a:pPr>
            <a:endParaRPr lang="en-US" sz="1200" b="1" kern="0" dirty="0">
              <a:solidFill>
                <a:sysClr val="windowText" lastClr="000000">
                  <a:lumMod val="95000"/>
                  <a:lumOff val="5000"/>
                </a:sysClr>
              </a:solidFill>
              <a:latin typeface="Calibiri"/>
            </a:endParaRPr>
          </a:p>
        </p:txBody>
      </p:sp>
      <p:sp>
        <p:nvSpPr>
          <p:cNvPr id="58" name="Rectangle 15"/>
          <p:cNvSpPr>
            <a:spLocks noChangeArrowheads="1"/>
          </p:cNvSpPr>
          <p:nvPr/>
        </p:nvSpPr>
        <p:spPr bwMode="auto">
          <a:xfrm>
            <a:off x="1050811" y="936462"/>
            <a:ext cx="2894144" cy="287925"/>
          </a:xfrm>
          <a:prstGeom prst="rect">
            <a:avLst/>
          </a:prstGeom>
          <a:gradFill flip="none" rotWithShape="1">
            <a:gsLst>
              <a:gs pos="100000">
                <a:sysClr val="window" lastClr="FFFFFF">
                  <a:lumMod val="95000"/>
                </a:sysClr>
              </a:gs>
              <a:gs pos="0">
                <a:sysClr val="window" lastClr="FFFFFF">
                  <a:alpha val="0"/>
                </a:sysClr>
              </a:gs>
            </a:gsLst>
            <a:lin ang="10800000" scaled="1"/>
            <a:tileRect/>
          </a:gradFill>
          <a:effectLst/>
          <a:extLst/>
        </p:spPr>
        <p:txBody>
          <a:bodyPr wrap="square" lIns="91234" tIns="45617" rIns="91234" bIns="45617" anchor="ctr">
            <a:noAutofit/>
          </a:bodyPr>
          <a:lstStyle/>
          <a:p>
            <a:pPr defTabSz="912299">
              <a:defRPr/>
            </a:pPr>
            <a:r>
              <a:rPr lang="en-US" sz="1050" b="1" kern="0" dirty="0" smtClean="0">
                <a:solidFill>
                  <a:sysClr val="windowText" lastClr="000000"/>
                </a:solidFill>
              </a:rPr>
              <a:t>Research Labs across the world</a:t>
            </a:r>
            <a:endParaRPr lang="en-US" sz="1050" b="1" kern="0" dirty="0">
              <a:solidFill>
                <a:sysClr val="windowText" lastClr="000000"/>
              </a:solidFill>
            </a:endParaRPr>
          </a:p>
        </p:txBody>
      </p:sp>
      <p:sp>
        <p:nvSpPr>
          <p:cNvPr id="59" name="Rectangle 1"/>
          <p:cNvSpPr>
            <a:spLocks noChangeArrowheads="1"/>
          </p:cNvSpPr>
          <p:nvPr/>
        </p:nvSpPr>
        <p:spPr bwMode="auto">
          <a:xfrm>
            <a:off x="0" y="936462"/>
            <a:ext cx="825737" cy="287925"/>
          </a:xfrm>
          <a:prstGeom prst="rect">
            <a:avLst/>
          </a:prstGeom>
          <a:noFill/>
          <a:ln w="10000" cap="flat" cmpd="sng" algn="ctr">
            <a:noFill/>
            <a:prstDash val="solid"/>
          </a:ln>
          <a:effectLst/>
          <a:extLst/>
        </p:spPr>
        <p:txBody>
          <a:bodyPr rot="0" spcFirstLastPara="0" vertOverflow="overflow" horzOverflow="overflow" vert="horz" wrap="square" lIns="51321" tIns="25661" rIns="51321" bIns="25661" numCol="1" spcCol="0" rtlCol="0" fromWordArt="0" anchor="ctr" anchorCtr="0" forceAA="0" compatLnSpc="1">
            <a:prstTxWarp prst="textNoShape">
              <a:avLst/>
            </a:prstTxWarp>
            <a:noAutofit/>
          </a:bodyPr>
          <a:lstStyle/>
          <a:p>
            <a:pPr algn="r" defTabSz="912299">
              <a:defRPr/>
            </a:pPr>
            <a:r>
              <a:rPr lang="en-US" sz="1200" b="1" kern="0" dirty="0" smtClean="0">
                <a:solidFill>
                  <a:srgbClr val="0063BE"/>
                </a:solidFill>
                <a:latin typeface="Calibiri"/>
              </a:rPr>
              <a:t>15</a:t>
            </a:r>
            <a:endParaRPr lang="en-US" sz="1200" b="1" kern="0" dirty="0">
              <a:solidFill>
                <a:srgbClr val="0063BE"/>
              </a:solidFill>
              <a:latin typeface="Calibiri"/>
            </a:endParaRPr>
          </a:p>
        </p:txBody>
      </p:sp>
      <p:sp>
        <p:nvSpPr>
          <p:cNvPr id="60" name="Rectangle 1"/>
          <p:cNvSpPr>
            <a:spLocks noChangeArrowheads="1"/>
          </p:cNvSpPr>
          <p:nvPr/>
        </p:nvSpPr>
        <p:spPr bwMode="auto">
          <a:xfrm>
            <a:off x="956585" y="936462"/>
            <a:ext cx="46292" cy="287925"/>
          </a:xfrm>
          <a:prstGeom prst="rect">
            <a:avLst/>
          </a:prstGeom>
          <a:solidFill>
            <a:srgbClr val="0063BE"/>
          </a:solidFill>
          <a:ln w="3175" cap="flat" cmpd="sng" algn="ctr">
            <a:solidFill>
              <a:srgbClr val="0063BE"/>
            </a:solidFill>
            <a:prstDash val="solid"/>
            <a:headEnd/>
            <a:tailEnd/>
          </a:ln>
          <a:effectLst/>
          <a:extLst/>
        </p:spPr>
        <p:txBody>
          <a:bodyPr wrap="none" lIns="91234" tIns="45617" rIns="91234" bIns="45617" anchor="ctr"/>
          <a:lstStyle/>
          <a:p>
            <a:pPr defTabSz="912299">
              <a:buSzPct val="150000"/>
              <a:defRPr/>
            </a:pPr>
            <a:endParaRPr lang="en-US" sz="1200" b="1" kern="0" dirty="0">
              <a:solidFill>
                <a:sysClr val="windowText" lastClr="000000">
                  <a:lumMod val="95000"/>
                  <a:lumOff val="5000"/>
                </a:sysClr>
              </a:solidFill>
              <a:latin typeface="Calibiri"/>
            </a:endParaRPr>
          </a:p>
        </p:txBody>
      </p:sp>
      <p:sp>
        <p:nvSpPr>
          <p:cNvPr id="61" name="Rectangle 15"/>
          <p:cNvSpPr>
            <a:spLocks noChangeArrowheads="1"/>
          </p:cNvSpPr>
          <p:nvPr/>
        </p:nvSpPr>
        <p:spPr bwMode="auto">
          <a:xfrm>
            <a:off x="1050811" y="1296182"/>
            <a:ext cx="2894144" cy="287925"/>
          </a:xfrm>
          <a:prstGeom prst="rect">
            <a:avLst/>
          </a:prstGeom>
          <a:gradFill flip="none" rotWithShape="1">
            <a:gsLst>
              <a:gs pos="100000">
                <a:sysClr val="window" lastClr="FFFFFF">
                  <a:lumMod val="95000"/>
                </a:sysClr>
              </a:gs>
              <a:gs pos="0">
                <a:sysClr val="window" lastClr="FFFFFF">
                  <a:alpha val="0"/>
                </a:sysClr>
              </a:gs>
            </a:gsLst>
            <a:lin ang="10800000" scaled="1"/>
            <a:tileRect/>
          </a:gradFill>
          <a:effectLst/>
          <a:extLst/>
        </p:spPr>
        <p:txBody>
          <a:bodyPr wrap="square" lIns="91234" tIns="45617" rIns="91234" bIns="45617" anchor="ctr">
            <a:noAutofit/>
          </a:bodyPr>
          <a:lstStyle/>
          <a:p>
            <a:pPr defTabSz="912299">
              <a:defRPr/>
            </a:pPr>
            <a:r>
              <a:rPr lang="en-US" sz="1050" b="1" kern="0" dirty="0" smtClean="0">
                <a:solidFill>
                  <a:sysClr val="windowText" lastClr="000000"/>
                </a:solidFill>
              </a:rPr>
              <a:t>Million USD annual Research Spend</a:t>
            </a:r>
            <a:endParaRPr lang="en-US" sz="1050" b="1" kern="0" dirty="0">
              <a:solidFill>
                <a:sysClr val="windowText" lastClr="000000"/>
              </a:solidFill>
            </a:endParaRPr>
          </a:p>
        </p:txBody>
      </p:sp>
      <p:sp>
        <p:nvSpPr>
          <p:cNvPr id="62" name="Rectangle 1"/>
          <p:cNvSpPr>
            <a:spLocks noChangeArrowheads="1"/>
          </p:cNvSpPr>
          <p:nvPr/>
        </p:nvSpPr>
        <p:spPr bwMode="auto">
          <a:xfrm>
            <a:off x="0" y="1296182"/>
            <a:ext cx="825737" cy="287925"/>
          </a:xfrm>
          <a:prstGeom prst="rect">
            <a:avLst/>
          </a:prstGeom>
          <a:noFill/>
          <a:ln w="10000" cap="flat" cmpd="sng" algn="ctr">
            <a:noFill/>
            <a:prstDash val="solid"/>
          </a:ln>
          <a:effectLst/>
          <a:extLst/>
        </p:spPr>
        <p:txBody>
          <a:bodyPr rot="0" spcFirstLastPara="0" vertOverflow="overflow" horzOverflow="overflow" vert="horz" wrap="square" lIns="51321" tIns="25661" rIns="51321" bIns="25661" numCol="1" spcCol="0" rtlCol="0" fromWordArt="0" anchor="ctr" anchorCtr="0" forceAA="0" compatLnSpc="1">
            <a:prstTxWarp prst="textNoShape">
              <a:avLst/>
            </a:prstTxWarp>
            <a:noAutofit/>
          </a:bodyPr>
          <a:lstStyle/>
          <a:p>
            <a:pPr algn="r" defTabSz="912299">
              <a:defRPr/>
            </a:pPr>
            <a:r>
              <a:rPr lang="en-US" sz="1200" b="1" kern="0" dirty="0" smtClean="0">
                <a:solidFill>
                  <a:srgbClr val="0063BE"/>
                </a:solidFill>
                <a:latin typeface="Calibiri"/>
              </a:rPr>
              <a:t>239</a:t>
            </a:r>
            <a:endParaRPr lang="en-US" sz="1200" b="1" kern="0" dirty="0">
              <a:solidFill>
                <a:srgbClr val="0063BE"/>
              </a:solidFill>
              <a:latin typeface="Calibiri"/>
            </a:endParaRPr>
          </a:p>
        </p:txBody>
      </p:sp>
      <p:sp>
        <p:nvSpPr>
          <p:cNvPr id="63" name="Rectangle 1"/>
          <p:cNvSpPr>
            <a:spLocks noChangeArrowheads="1"/>
          </p:cNvSpPr>
          <p:nvPr/>
        </p:nvSpPr>
        <p:spPr bwMode="auto">
          <a:xfrm>
            <a:off x="956585" y="1296182"/>
            <a:ext cx="46292" cy="287925"/>
          </a:xfrm>
          <a:prstGeom prst="rect">
            <a:avLst/>
          </a:prstGeom>
          <a:solidFill>
            <a:srgbClr val="0063BE"/>
          </a:solidFill>
          <a:ln w="3175" cap="flat" cmpd="sng" algn="ctr">
            <a:solidFill>
              <a:srgbClr val="0063BE"/>
            </a:solidFill>
            <a:prstDash val="solid"/>
            <a:headEnd/>
            <a:tailEnd/>
          </a:ln>
          <a:effectLst/>
          <a:extLst/>
        </p:spPr>
        <p:txBody>
          <a:bodyPr wrap="none" lIns="91234" tIns="45617" rIns="91234" bIns="45617" anchor="ctr"/>
          <a:lstStyle/>
          <a:p>
            <a:pPr defTabSz="912299">
              <a:buSzPct val="150000"/>
              <a:defRPr/>
            </a:pPr>
            <a:endParaRPr lang="en-US" sz="1200" b="1" kern="0" dirty="0">
              <a:solidFill>
                <a:sysClr val="windowText" lastClr="000000">
                  <a:lumMod val="95000"/>
                  <a:lumOff val="5000"/>
                </a:sysClr>
              </a:solidFill>
              <a:latin typeface="Calibiri"/>
            </a:endParaRPr>
          </a:p>
        </p:txBody>
      </p:sp>
      <p:sp>
        <p:nvSpPr>
          <p:cNvPr id="16" name="Rectangle 15"/>
          <p:cNvSpPr>
            <a:spLocks noChangeArrowheads="1"/>
          </p:cNvSpPr>
          <p:nvPr/>
        </p:nvSpPr>
        <p:spPr bwMode="auto">
          <a:xfrm>
            <a:off x="1054056" y="1636647"/>
            <a:ext cx="2894144" cy="287925"/>
          </a:xfrm>
          <a:prstGeom prst="rect">
            <a:avLst/>
          </a:prstGeom>
          <a:gradFill flip="none" rotWithShape="1">
            <a:gsLst>
              <a:gs pos="100000">
                <a:sysClr val="window" lastClr="FFFFFF">
                  <a:lumMod val="95000"/>
                </a:sysClr>
              </a:gs>
              <a:gs pos="0">
                <a:sysClr val="window" lastClr="FFFFFF">
                  <a:alpha val="0"/>
                </a:sysClr>
              </a:gs>
            </a:gsLst>
            <a:lin ang="10800000" scaled="1"/>
            <a:tileRect/>
          </a:gradFill>
          <a:effectLst/>
          <a:extLst/>
        </p:spPr>
        <p:txBody>
          <a:bodyPr wrap="square" lIns="91234" tIns="45617" rIns="91234" bIns="45617" anchor="ctr">
            <a:noAutofit/>
          </a:bodyPr>
          <a:lstStyle/>
          <a:p>
            <a:pPr defTabSz="912299">
              <a:defRPr/>
            </a:pPr>
            <a:r>
              <a:rPr lang="en-US" sz="1050" b="1" kern="0" dirty="0" smtClean="0">
                <a:solidFill>
                  <a:sysClr val="windowText" lastClr="000000"/>
                </a:solidFill>
              </a:rPr>
              <a:t>Patents filed</a:t>
            </a:r>
            <a:endParaRPr lang="en-US" sz="1050" b="1" kern="0" dirty="0">
              <a:solidFill>
                <a:sysClr val="windowText" lastClr="000000"/>
              </a:solidFill>
            </a:endParaRPr>
          </a:p>
        </p:txBody>
      </p:sp>
      <p:sp>
        <p:nvSpPr>
          <p:cNvPr id="17" name="Rectangle 1"/>
          <p:cNvSpPr>
            <a:spLocks noChangeArrowheads="1"/>
          </p:cNvSpPr>
          <p:nvPr/>
        </p:nvSpPr>
        <p:spPr bwMode="auto">
          <a:xfrm>
            <a:off x="3245" y="1636647"/>
            <a:ext cx="825737" cy="287925"/>
          </a:xfrm>
          <a:prstGeom prst="rect">
            <a:avLst/>
          </a:prstGeom>
          <a:noFill/>
          <a:ln w="10000" cap="flat" cmpd="sng" algn="ctr">
            <a:noFill/>
            <a:prstDash val="solid"/>
          </a:ln>
          <a:effectLst/>
          <a:extLst/>
        </p:spPr>
        <p:txBody>
          <a:bodyPr rot="0" spcFirstLastPara="0" vertOverflow="overflow" horzOverflow="overflow" vert="horz" wrap="square" lIns="51321" tIns="25661" rIns="51321" bIns="25661" numCol="1" spcCol="0" rtlCol="0" fromWordArt="0" anchor="ctr" anchorCtr="0" forceAA="0" compatLnSpc="1">
            <a:prstTxWarp prst="textNoShape">
              <a:avLst/>
            </a:prstTxWarp>
            <a:noAutofit/>
          </a:bodyPr>
          <a:lstStyle/>
          <a:p>
            <a:pPr algn="r" defTabSz="912299">
              <a:defRPr/>
            </a:pPr>
            <a:r>
              <a:rPr lang="en-US" sz="1200" b="1" kern="0" dirty="0" smtClean="0">
                <a:solidFill>
                  <a:srgbClr val="0063BE"/>
                </a:solidFill>
                <a:latin typeface="Calibiri"/>
              </a:rPr>
              <a:t>3,916</a:t>
            </a:r>
            <a:endParaRPr lang="en-US" sz="1200" b="1" kern="0" dirty="0">
              <a:solidFill>
                <a:srgbClr val="0063BE"/>
              </a:solidFill>
              <a:latin typeface="Calibiri"/>
            </a:endParaRPr>
          </a:p>
        </p:txBody>
      </p:sp>
      <p:sp>
        <p:nvSpPr>
          <p:cNvPr id="18" name="Rectangle 1"/>
          <p:cNvSpPr>
            <a:spLocks noChangeArrowheads="1"/>
          </p:cNvSpPr>
          <p:nvPr/>
        </p:nvSpPr>
        <p:spPr bwMode="auto">
          <a:xfrm>
            <a:off x="959830" y="1636647"/>
            <a:ext cx="46292" cy="287925"/>
          </a:xfrm>
          <a:prstGeom prst="rect">
            <a:avLst/>
          </a:prstGeom>
          <a:solidFill>
            <a:srgbClr val="0063BE"/>
          </a:solidFill>
          <a:ln w="3175" cap="flat" cmpd="sng" algn="ctr">
            <a:solidFill>
              <a:srgbClr val="0063BE"/>
            </a:solidFill>
            <a:prstDash val="solid"/>
            <a:headEnd/>
            <a:tailEnd/>
          </a:ln>
          <a:effectLst/>
          <a:extLst/>
        </p:spPr>
        <p:txBody>
          <a:bodyPr wrap="none" lIns="91234" tIns="45617" rIns="91234" bIns="45617" anchor="ctr"/>
          <a:lstStyle/>
          <a:p>
            <a:pPr defTabSz="912299">
              <a:buSzPct val="150000"/>
              <a:defRPr/>
            </a:pPr>
            <a:endParaRPr lang="en-US" sz="1200" b="1" kern="0" dirty="0">
              <a:solidFill>
                <a:sysClr val="windowText" lastClr="000000">
                  <a:lumMod val="95000"/>
                  <a:lumOff val="5000"/>
                </a:sysClr>
              </a:solidFill>
              <a:latin typeface="Calibiri"/>
            </a:endParaRPr>
          </a:p>
        </p:txBody>
      </p:sp>
    </p:spTree>
    <p:extLst>
      <p:ext uri="{BB962C8B-B14F-4D97-AF65-F5344CB8AC3E}">
        <p14:creationId xmlns:p14="http://schemas.microsoft.com/office/powerpoint/2010/main" val="10543395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TCS_Davos_CEO_Post_03.pd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44223" y="714376"/>
            <a:ext cx="2371155" cy="3387359"/>
          </a:xfrm>
          <a:prstGeom prst="rect">
            <a:avLst/>
          </a:prstGeom>
          <a:ln w="12700">
            <a:miter lim="400000"/>
          </a:ln>
        </p:spPr>
      </p:pic>
      <p:pic>
        <p:nvPicPr>
          <p:cNvPr id="120" name="TCS_Davos_CEO_Post_04.pd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3397" y="714376"/>
            <a:ext cx="2371155" cy="3387359"/>
          </a:xfrm>
          <a:prstGeom prst="rect">
            <a:avLst/>
          </a:prstGeom>
          <a:ln w="12700">
            <a:miter lim="400000"/>
          </a:ln>
        </p:spPr>
      </p:pic>
      <p:pic>
        <p:nvPicPr>
          <p:cNvPr id="121" name="TCS_Davos_CEO_Post_17.pdf"/>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86423" y="714369"/>
            <a:ext cx="2371155" cy="3387373"/>
          </a:xfrm>
          <a:prstGeom prst="rect">
            <a:avLst/>
          </a:prstGeom>
          <a:ln w="12700">
            <a:miter lim="400000"/>
          </a:ln>
        </p:spPr>
      </p:pic>
      <p:sp>
        <p:nvSpPr>
          <p:cNvPr id="2" name="Title 1"/>
          <p:cNvSpPr>
            <a:spLocks noGrp="1"/>
          </p:cNvSpPr>
          <p:nvPr>
            <p:ph type="title"/>
          </p:nvPr>
        </p:nvSpPr>
        <p:spPr/>
        <p:txBody>
          <a:bodyPr/>
          <a:lstStyle/>
          <a:p>
            <a:r>
              <a:rPr lang="en-US" dirty="0" smtClean="0"/>
              <a:t>Digital Inclusion</a:t>
            </a:r>
            <a:endParaRPr lang="en-US" dirty="0"/>
          </a:p>
        </p:txBody>
      </p:sp>
    </p:spTree>
    <p:extLst>
      <p:ext uri="{BB962C8B-B14F-4D97-AF65-F5344CB8AC3E}">
        <p14:creationId xmlns:p14="http://schemas.microsoft.com/office/powerpoint/2010/main" val="13201149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Shape 123"/>
          <p:cNvSpPr>
            <a:spLocks noGrp="1"/>
          </p:cNvSpPr>
          <p:nvPr>
            <p:ph type="title"/>
          </p:nvPr>
        </p:nvSpPr>
        <p:spPr>
          <a:prstGeom prst="rect">
            <a:avLst/>
          </a:prstGeom>
        </p:spPr>
        <p:txBody>
          <a:bodyPr/>
          <a:lstStyle/>
          <a:p>
            <a:endParaRPr/>
          </a:p>
        </p:txBody>
      </p:sp>
      <p:sp>
        <p:nvSpPr>
          <p:cNvPr id="124" name="Shape 124"/>
          <p:cNvSpPr>
            <a:spLocks noGrp="1"/>
          </p:cNvSpPr>
          <p:nvPr>
            <p:ph type="body" idx="1"/>
          </p:nvPr>
        </p:nvSpPr>
        <p:spPr>
          <a:prstGeom prst="rect">
            <a:avLst/>
          </a:prstGeom>
        </p:spPr>
        <p:txBody>
          <a:bodyPr/>
          <a:lstStyle/>
          <a:p>
            <a:endParaRPr/>
          </a:p>
        </p:txBody>
      </p:sp>
      <p:pic>
        <p:nvPicPr>
          <p:cNvPr id="125" name="TCS_Davos_CEO_Post_15.pd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0"/>
            <a:ext cx="4514851" cy="5143500"/>
          </a:xfrm>
          <a:prstGeom prst="rect">
            <a:avLst/>
          </a:prstGeom>
          <a:ln w="12700">
            <a:miter lim="400000"/>
          </a:ln>
        </p:spPr>
      </p:pic>
      <p:pic>
        <p:nvPicPr>
          <p:cNvPr id="126" name="TCS_Davos_CEO_Post_16.pd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14850" y="0"/>
            <a:ext cx="4629150" cy="5143500"/>
          </a:xfrm>
          <a:prstGeom prst="rect">
            <a:avLst/>
          </a:prstGeom>
          <a:ln w="12700">
            <a:miter lim="400000"/>
          </a:ln>
        </p:spPr>
      </p:pic>
    </p:spTree>
    <p:extLst>
      <p:ext uri="{BB962C8B-B14F-4D97-AF65-F5344CB8AC3E}">
        <p14:creationId xmlns:p14="http://schemas.microsoft.com/office/powerpoint/2010/main" val="1026739180"/>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Shape 128"/>
          <p:cNvSpPr>
            <a:spLocks noGrp="1"/>
          </p:cNvSpPr>
          <p:nvPr>
            <p:ph type="title"/>
          </p:nvPr>
        </p:nvSpPr>
        <p:spPr>
          <a:prstGeom prst="rect">
            <a:avLst/>
          </a:prstGeom>
        </p:spPr>
        <p:txBody>
          <a:bodyPr/>
          <a:lstStyle/>
          <a:p>
            <a:endParaRPr/>
          </a:p>
        </p:txBody>
      </p:sp>
      <p:sp>
        <p:nvSpPr>
          <p:cNvPr id="129" name="Shape 129"/>
          <p:cNvSpPr>
            <a:spLocks noGrp="1"/>
          </p:cNvSpPr>
          <p:nvPr>
            <p:ph type="body" idx="1"/>
          </p:nvPr>
        </p:nvSpPr>
        <p:spPr>
          <a:prstGeom prst="rect">
            <a:avLst/>
          </a:prstGeom>
        </p:spPr>
        <p:txBody>
          <a:bodyPr/>
          <a:lstStyle/>
          <a:p>
            <a:endParaRPr dirty="0"/>
          </a:p>
        </p:txBody>
      </p:sp>
      <p:pic>
        <p:nvPicPr>
          <p:cNvPr id="130" name="TCS_Davos_CEO_Post_13.pd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4594860" cy="5143500"/>
          </a:xfrm>
          <a:prstGeom prst="rect">
            <a:avLst/>
          </a:prstGeom>
          <a:ln w="12700">
            <a:miter lim="400000"/>
          </a:ln>
        </p:spPr>
      </p:pic>
      <p:pic>
        <p:nvPicPr>
          <p:cNvPr id="131" name="TCS_Davos_CEO_Post_14.pd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94860" y="0"/>
            <a:ext cx="4469130" cy="5143500"/>
          </a:xfrm>
          <a:prstGeom prst="rect">
            <a:avLst/>
          </a:prstGeom>
          <a:ln w="12700">
            <a:miter lim="400000"/>
          </a:ln>
        </p:spPr>
      </p:pic>
    </p:spTree>
    <p:extLst>
      <p:ext uri="{BB962C8B-B14F-4D97-AF65-F5344CB8AC3E}">
        <p14:creationId xmlns:p14="http://schemas.microsoft.com/office/powerpoint/2010/main" val="2866017293"/>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10.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11.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12.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ags/tag13.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14.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15.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16.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17.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18.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19.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2.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20.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21.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22.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23.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24.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3.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TuYFJcaVcUeQQET7VCIfsw"/>
  <p:tag name="VCT-RADIUS" val="3"/>
</p:tagLst>
</file>

<file path=ppt/tags/tag4.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5.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6.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7.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8.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ags/tag9.xml><?xml version="1.0" encoding="utf-8"?>
<p:tagLst xmlns:a="http://schemas.openxmlformats.org/drawingml/2006/main" xmlns:r="http://schemas.openxmlformats.org/officeDocument/2006/relationships" xmlns:p="http://schemas.openxmlformats.org/presentationml/2006/main">
  <p:tag name="VCT-RADIUS" val="3"/>
  <p:tag name="VCT_BODYSTYLE" val="1"/>
  <p:tag name="THINKCELLSHAPEDONOTDELETE" val="pW4pL8RiWx0aauUwl1xlFSw"/>
</p:tagLst>
</file>

<file path=ppt/theme/theme1.xml><?xml version="1.0" encoding="utf-8"?>
<a:theme xmlns:a="http://schemas.openxmlformats.org/drawingml/2006/main" name="Corp PPT Template 2017_16x9">
  <a:themeElements>
    <a:clrScheme name="TCS">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DCFF6"/>
        </a:solidFill>
        <a:ln w="9525">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Saffron 100%">
      <a:srgbClr val="FBB141"/>
    </a:custClr>
    <a:custClr name="TCS Saffron 70%">
      <a:srgbClr val="FCB853"/>
    </a:custClr>
    <a:custClr name="TCS Saffron 50%">
      <a:srgbClr val="FDB566"/>
    </a:custClr>
    <a:custClr name="TCS Saffron 30%">
      <a:srgbClr val="FDC577"/>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extLst>
    <a:ext uri="{05A4C25C-085E-4340-85A3-A5531E510DB2}">
      <thm15:themeFamily xmlns:thm15="http://schemas.microsoft.com/office/thememl/2012/main" name="Corp PPT Template 2014_16x9" id="{578D6915-CFB3-4FF3-9465-826AF60188D0}" vid="{B405F5B9-4CF2-4952-9031-4020D4C2ED2F}"/>
    </a:ext>
  </a:extLst>
</a:theme>
</file>

<file path=ppt/theme/theme2.xml><?xml version="1.0" encoding="utf-8"?>
<a:theme xmlns:a="http://schemas.openxmlformats.org/drawingml/2006/main" name="Separator Slide 1">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Saffron 100%">
      <a:srgbClr val="FBB141"/>
    </a:custClr>
    <a:custClr name="TCS Saffron 70%">
      <a:srgbClr val="FCB853"/>
    </a:custClr>
    <a:custClr name="TCS Saffron 50%">
      <a:srgbClr val="FDBF66"/>
    </a:custClr>
    <a:custClr name="TCS Saffron 30%">
      <a:srgbClr val="FDC577"/>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theme>
</file>

<file path=ppt/theme/theme3.xml><?xml version="1.0" encoding="utf-8"?>
<a:theme xmlns:a="http://schemas.openxmlformats.org/drawingml/2006/main" name="Separator Slide 3">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Saffron 100%">
      <a:srgbClr val="FBB141"/>
    </a:custClr>
    <a:custClr name="TCS Saffron 70%">
      <a:srgbClr val="FCB853"/>
    </a:custClr>
    <a:custClr name="TCS Saffron 50%">
      <a:srgbClr val="FDBF66"/>
    </a:custClr>
    <a:custClr name="TCS Saffron 30%">
      <a:srgbClr val="FDC577"/>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theme>
</file>

<file path=ppt/theme/theme4.xml><?xml version="1.0" encoding="utf-8"?>
<a:theme xmlns:a="http://schemas.openxmlformats.org/drawingml/2006/main" name="Separator Slide 4">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Saffron 100%">
      <a:srgbClr val="FBB141"/>
    </a:custClr>
    <a:custClr name="TCS Saffron 70%">
      <a:srgbClr val="FCB853"/>
    </a:custClr>
    <a:custClr name="TCS Saffron 50%">
      <a:srgbClr val="FDBF66"/>
    </a:custClr>
    <a:custClr name="TCS Saffron 30%">
      <a:srgbClr val="FDC577"/>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theme>
</file>

<file path=ppt/theme/theme5.xml><?xml version="1.0" encoding="utf-8"?>
<a:theme xmlns:a="http://schemas.openxmlformats.org/drawingml/2006/main" name="Thank You">
  <a:themeElements>
    <a:clrScheme name="Custom 2">
      <a:dk1>
        <a:srgbClr val="000000"/>
      </a:dk1>
      <a:lt1>
        <a:sysClr val="window" lastClr="FFFFFF"/>
      </a:lt1>
      <a:dk2>
        <a:srgbClr val="4E84C4"/>
      </a:dk2>
      <a:lt2>
        <a:srgbClr val="000000"/>
      </a:lt2>
      <a:accent1>
        <a:srgbClr val="0063BE"/>
      </a:accent1>
      <a:accent2>
        <a:srgbClr val="83389B"/>
      </a:accent2>
      <a:accent3>
        <a:srgbClr val="55A51C"/>
      </a:accent3>
      <a:accent4>
        <a:srgbClr val="D6492A"/>
      </a:accent4>
      <a:accent5>
        <a:srgbClr val="B9AFA4"/>
      </a:accent5>
      <a:accent6>
        <a:srgbClr val="974B07"/>
      </a:accent6>
      <a:hlink>
        <a:srgbClr val="0000FF"/>
      </a:hlink>
      <a:folHlink>
        <a:srgbClr val="800080"/>
      </a:folHlink>
    </a:clrScheme>
    <a:fontScheme name="Custom 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TCS Blue 100%">
      <a:srgbClr val="6DCFF6"/>
    </a:custClr>
    <a:custClr name="TCS Blue 100%">
      <a:srgbClr val="6DCFF6"/>
    </a:custClr>
    <a:custClr name="TCS Blue 70%">
      <a:srgbClr val="8ED2ED"/>
    </a:custClr>
    <a:custClr name="TCS Blue 50%">
      <a:srgbClr val="B0DFF3"/>
    </a:custClr>
    <a:custClr name="TCS Blue 30%">
      <a:srgbClr val="D1ECF9"/>
    </a:custClr>
    <a:custClr name="TCS Dark Blue 100%">
      <a:srgbClr val="0063BE"/>
    </a:custClr>
    <a:custClr name="TCS Dark Blue 70%">
      <a:srgbClr val="6D97D8"/>
    </a:custClr>
    <a:custClr name="TCS Dark Blue 50%">
      <a:srgbClr val="98B4E6"/>
    </a:custClr>
    <a:custClr name="TCS Dark Blue 30%">
      <a:srgbClr val="C1D2F1"/>
    </a:custClr>
    <a:custClr name="TCS Light Violet 100%">
      <a:srgbClr val="83389B"/>
    </a:custClr>
    <a:custClr name="TCS Light Violet 70%">
      <a:srgbClr val="B17AC6"/>
    </a:custClr>
    <a:custClr name="TCS Light Violet 50%">
      <a:srgbClr val="C69FD8"/>
    </a:custClr>
    <a:custClr name="TCS Light Violet 30%">
      <a:srgbClr val="DCC5E8"/>
    </a:custClr>
    <a:custClr name="TCS Green 100%">
      <a:srgbClr val="55A51C"/>
    </a:custClr>
    <a:custClr name="TCS Green 70%">
      <a:srgbClr val="89C35F"/>
    </a:custClr>
    <a:custClr name="TCS Green 50%">
      <a:srgbClr val="ABD38C"/>
    </a:custClr>
    <a:custClr name="TCS Green 30%">
      <a:srgbClr val="CCE5BA"/>
    </a:custClr>
    <a:custClr name="TCS Orange 100%">
      <a:srgbClr val="D6492A"/>
    </a:custClr>
    <a:custClr name="TCS Orange 70%">
      <a:srgbClr val="F1896C"/>
    </a:custClr>
    <a:custClr name="TCS Orange 50%">
      <a:srgbClr val="F7AC94"/>
    </a:custClr>
    <a:custClr name="TCS Orange 30%">
      <a:srgbClr val="FACDBF"/>
    </a:custClr>
    <a:custClr name="TCS Warm Grey 100%">
      <a:srgbClr val="B9AFA4"/>
    </a:custClr>
    <a:custClr name="TCS Warm Grey 70%">
      <a:srgbClr val="C9C3BC"/>
    </a:custClr>
    <a:custClr name="TCS Warm Grey 50%">
      <a:srgbClr val="D7D4CF"/>
    </a:custClr>
    <a:custClr name="TCS Warm Grey 30%">
      <a:srgbClr val="E4E6E3"/>
    </a:custClr>
    <a:custClr name="TCS Saffron 100%">
      <a:srgbClr val="FBB141"/>
    </a:custClr>
    <a:custClr name="TCS Saffron 70%">
      <a:srgbClr val="FCB853"/>
    </a:custClr>
    <a:custClr name="TCS Saffron 50%">
      <a:srgbClr val="FDB566"/>
    </a:custClr>
    <a:custClr name="TCS Saffron 30%">
      <a:srgbClr val="FDC577"/>
    </a:custClr>
    <a:custClr name="TCS Light Green 100%">
      <a:srgbClr val="CDCA2F"/>
    </a:custClr>
    <a:custClr name="TCS Light Green 70%">
      <a:srgbClr val="E4DD7B"/>
    </a:custClr>
    <a:custClr name="TCS Light Green 50%">
      <a:srgbClr val="EDE6A0"/>
    </a:custClr>
    <a:custClr name="TCS Light Green 30%">
      <a:srgbClr val="F5F0C8"/>
    </a:custClr>
    <a:custClr name="TCS Yellow 100%">
      <a:srgbClr val="FFDD3E"/>
    </a:custClr>
    <a:custClr name="TCS Yellow 70%">
      <a:srgbClr val="FDE97F"/>
    </a:custClr>
    <a:custClr name="TCS Yellow 50%">
      <a:srgbClr val="FCEFA4"/>
    </a:custClr>
    <a:custClr name="TCS Yellow 30%">
      <a:srgbClr val="FEF5CA"/>
    </a:custClr>
    <a:custClr name="TATA Blue 100%">
      <a:srgbClr val="4E84C4"/>
    </a:custClr>
    <a:custClr name="TATA Blue 70%">
      <a:srgbClr val="8BACE4"/>
    </a:custClr>
    <a:custClr name="TATA Blue 50%">
      <a:srgbClr val="ACC3EC"/>
    </a:custClr>
    <a:custClr name="TATA Blue 30%">
      <a:srgbClr val="CEDBF0"/>
    </a:custClr>
  </a:custClrLst>
  <a:extLst>
    <a:ext uri="{05A4C25C-085E-4340-85A3-A5531E510DB2}">
      <thm15:themeFamily xmlns:thm15="http://schemas.microsoft.com/office/thememl/2012/main" name="TCS Template 2014." id="{4DECABEB-9C5E-4D9D-A1A2-3CBA322E0007}" vid="{2F5473AA-0A36-4030-A975-2CEE7607762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rp PPT Template 2015_16x9</Template>
  <TotalTime>2705</TotalTime>
  <Words>395</Words>
  <Application>Microsoft Office PowerPoint</Application>
  <PresentationFormat>On-screen Show (16:9)</PresentationFormat>
  <Paragraphs>100</Paragraphs>
  <Slides>16</Slides>
  <Notes>1</Notes>
  <HiddenSlides>0</HiddenSlides>
  <MMClips>0</MMClips>
  <ScaleCrop>false</ScaleCrop>
  <HeadingPairs>
    <vt:vector size="6" baseType="variant">
      <vt:variant>
        <vt:lpstr>Fonts Used</vt:lpstr>
      </vt:variant>
      <vt:variant>
        <vt:i4>11</vt:i4>
      </vt:variant>
      <vt:variant>
        <vt:lpstr>Theme</vt:lpstr>
      </vt:variant>
      <vt:variant>
        <vt:i4>5</vt:i4>
      </vt:variant>
      <vt:variant>
        <vt:lpstr>Slide Titles</vt:lpstr>
      </vt:variant>
      <vt:variant>
        <vt:i4>16</vt:i4>
      </vt:variant>
    </vt:vector>
  </HeadingPairs>
  <TitlesOfParts>
    <vt:vector size="32" baseType="lpstr">
      <vt:lpstr>Arial</vt:lpstr>
      <vt:lpstr>Berlin Sans FB</vt:lpstr>
      <vt:lpstr>Calibiri</vt:lpstr>
      <vt:lpstr>Calibri</vt:lpstr>
      <vt:lpstr>Courier New</vt:lpstr>
      <vt:lpstr>Helvetica Light</vt:lpstr>
      <vt:lpstr>Myriad Pro</vt:lpstr>
      <vt:lpstr>Segoe UI</vt:lpstr>
      <vt:lpstr>Segoe UI Historic</vt:lpstr>
      <vt:lpstr>Verdana</vt:lpstr>
      <vt:lpstr>Wingdings</vt:lpstr>
      <vt:lpstr>Corp PPT Template 2017_16x9</vt:lpstr>
      <vt:lpstr>Separator Slide 1</vt:lpstr>
      <vt:lpstr>Separator Slide 3</vt:lpstr>
      <vt:lpstr>Separator Slide 4</vt:lpstr>
      <vt:lpstr>Thank You</vt:lpstr>
      <vt:lpstr>Introducing Tata Consultancy Services</vt:lpstr>
      <vt:lpstr>TATA Group : Leadership with values</vt:lpstr>
      <vt:lpstr>Unique and purpose-driven</vt:lpstr>
      <vt:lpstr>Tata Consultancy Services at-a-glance</vt:lpstr>
      <vt:lpstr>Industries we serve</vt:lpstr>
      <vt:lpstr>Large Research &amp; Innovation focus since 1981</vt:lpstr>
      <vt:lpstr>Digital Inclusion</vt:lpstr>
      <vt:lpstr>PowerPoint Presentation</vt:lpstr>
      <vt:lpstr>PowerPoint Presentation</vt:lpstr>
      <vt:lpstr>PowerPoint Presentation</vt:lpstr>
      <vt:lpstr>PowerPoint Presentation</vt:lpstr>
      <vt:lpstr>Culture of Life-Long-Learning</vt:lpstr>
      <vt:lpstr>Strong focus on community</vt:lpstr>
      <vt:lpstr>Strong presence in Nordics &amp; Denmark</vt:lpstr>
      <vt:lpstr>What motivates us in Denmark and Nordics</vt:lpstr>
      <vt:lpstr>Thank you</vt:lpstr>
    </vt:vector>
  </TitlesOfParts>
  <Company>T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CS</dc:title>
  <dc:creator>TCS</dc:creator>
  <cp:keywords>TCS</cp:keywords>
  <cp:lastModifiedBy>TCS</cp:lastModifiedBy>
  <cp:revision>214</cp:revision>
  <dcterms:created xsi:type="dcterms:W3CDTF">2015-09-29T05:13:53Z</dcterms:created>
  <dcterms:modified xsi:type="dcterms:W3CDTF">2018-10-11T11:20:35Z</dcterms:modified>
</cp:coreProperties>
</file>